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6.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7.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0.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2.xml" ContentType="application/vnd.openxmlformats-officedocument.presentationml.notesSlide+xml"/>
  <Override PartName="/ppt/charts/chart6.xml" ContentType="application/vnd.openxmlformats-officedocument.drawingml.chart+xml"/>
  <Override PartName="/ppt/drawings/drawing2.xml" ContentType="application/vnd.openxmlformats-officedocument.drawingml.chartshapes+xml"/>
  <Override PartName="/ppt/notesSlides/notesSlide2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drawings/drawing3.xml" ContentType="application/vnd.openxmlformats-officedocument.drawingml.chartshapes+xml"/>
  <Override PartName="/ppt/charts/chart9.xml" ContentType="application/vnd.openxmlformats-officedocument.drawingml.chart+xml"/>
  <Override PartName="/ppt/drawings/drawing4.xml" ContentType="application/vnd.openxmlformats-officedocument.drawingml.chartshape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charts/chart11.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6.xml" ContentType="application/vnd.openxmlformats-officedocument.presentationml.notesSlide+xml"/>
  <Override PartName="/ppt/charts/chart12.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7.xml" ContentType="application/vnd.openxmlformats-officedocument.presentationml.notesSlide+xml"/>
  <Override PartName="/ppt/comments/modernComment_120_8501089C.xml" ContentType="application/vnd.ms-powerpoint.comments+xml"/>
  <Override PartName="/ppt/notesSlides/notesSlide28.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omments/modernComment_11E_971CDC28.xml" ContentType="application/vnd.ms-powerpoint.comments+xml"/>
  <Override PartName="/ppt/notesSlides/notesSlide36.xml" ContentType="application/vnd.openxmlformats-officedocument.presentationml.notesSlide+xml"/>
  <Override PartName="/ppt/comments/modernComment_121_99B91BA8.xml" ContentType="application/vnd.ms-powerpoint.comments+xml"/>
  <Override PartName="/ppt/notesSlides/notesSlide37.xml" ContentType="application/vnd.openxmlformats-officedocument.presentationml.notesSlide+xml"/>
  <Override PartName="/ppt/comments/modernComment_125_658FD709.xml" ContentType="application/vnd.ms-powerpoint.comment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omments/modernComment_129_0.xml" ContentType="application/vnd.ms-powerpoint.comments+xml"/>
  <Override PartName="/ppt/comments/modernComment_12A_0.xml" ContentType="application/vnd.ms-powerpoint.comment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rts/chart15.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5.xml" ContentType="application/vnd.openxmlformats-officedocument.drawingml.chartshape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rts/chart16.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2.xml" ContentType="application/vnd.openxmlformats-officedocument.themeOverride+xml"/>
  <Override PartName="/ppt/charts/chart17.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3.xml" ContentType="application/vnd.openxmlformats-officedocument.themeOverride+xml"/>
  <Override PartName="/ppt/charts/chart18.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4.xml" ContentType="application/vnd.openxmlformats-officedocument.themeOverride+xml"/>
  <Override PartName="/ppt/charts/chart19.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5.xml" ContentType="application/vnd.openxmlformats-officedocument.themeOverride+xml"/>
  <Override PartName="/ppt/charts/chart20.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6.xml" ContentType="application/vnd.openxmlformats-officedocument.themeOverride+xml"/>
  <Override PartName="/ppt/charts/chart21.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7.xml" ContentType="application/vnd.openxmlformats-officedocument.themeOverride+xml"/>
  <Override PartName="/ppt/notesSlides/notesSlide48.xml" ContentType="application/vnd.openxmlformats-officedocument.presentationml.notesSlide+xml"/>
  <Override PartName="/ppt/comments/modernComment_13C_A2A1421D.xml" ContentType="application/vnd.ms-powerpoint.comments+xml"/>
  <Override PartName="/ppt/charts/chart22.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3.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4.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rts/chart24.xml" ContentType="application/vnd.openxmlformats-officedocument.drawingml.chart+xml"/>
  <Override PartName="/ppt/notesSlides/notesSlide53.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3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3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54.xml" ContentType="application/vnd.openxmlformats-officedocument.presentationml.notesSlide+xml"/>
  <Override PartName="/ppt/charts/chart32.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8.xml" ContentType="application/vnd.openxmlformats-officedocument.themeOverride+xml"/>
  <Override PartName="/ppt/notesSlides/notesSlide5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05" r:id="rId4"/>
    <p:sldMasterId id="2147483760" r:id="rId5"/>
    <p:sldMasterId id="2147483764" r:id="rId6"/>
    <p:sldMasterId id="2147483757" r:id="rId7"/>
    <p:sldMasterId id="2147483854" r:id="rId8"/>
    <p:sldMasterId id="2147483731" r:id="rId9"/>
    <p:sldMasterId id="2147483767" r:id="rId10"/>
    <p:sldMasterId id="2147483758" r:id="rId11"/>
    <p:sldMasterId id="2147483835" r:id="rId12"/>
  </p:sldMasterIdLst>
  <p:notesMasterIdLst>
    <p:notesMasterId r:id="rId113"/>
  </p:notesMasterIdLst>
  <p:handoutMasterIdLst>
    <p:handoutMasterId r:id="rId114"/>
  </p:handoutMasterIdLst>
  <p:sldIdLst>
    <p:sldId id="2147481955" r:id="rId13"/>
    <p:sldId id="266" r:id="rId14"/>
    <p:sldId id="2147482026" r:id="rId15"/>
    <p:sldId id="2147481957" r:id="rId16"/>
    <p:sldId id="2147482027" r:id="rId17"/>
    <p:sldId id="2147483647" r:id="rId18"/>
    <p:sldId id="275" r:id="rId19"/>
    <p:sldId id="263" r:id="rId20"/>
    <p:sldId id="259" r:id="rId21"/>
    <p:sldId id="294" r:id="rId22"/>
    <p:sldId id="256" r:id="rId23"/>
    <p:sldId id="267" r:id="rId24"/>
    <p:sldId id="2147480990" r:id="rId25"/>
    <p:sldId id="280" r:id="rId26"/>
    <p:sldId id="303" r:id="rId27"/>
    <p:sldId id="282" r:id="rId28"/>
    <p:sldId id="2147480994" r:id="rId29"/>
    <p:sldId id="2076137330" r:id="rId30"/>
    <p:sldId id="283" r:id="rId31"/>
    <p:sldId id="2147480995" r:id="rId32"/>
    <p:sldId id="2147483625" r:id="rId33"/>
    <p:sldId id="284" r:id="rId34"/>
    <p:sldId id="290" r:id="rId35"/>
    <p:sldId id="292" r:id="rId36"/>
    <p:sldId id="296" r:id="rId37"/>
    <p:sldId id="299" r:id="rId38"/>
    <p:sldId id="300" r:id="rId39"/>
    <p:sldId id="2147483622" r:id="rId40"/>
    <p:sldId id="313" r:id="rId41"/>
    <p:sldId id="305" r:id="rId42"/>
    <p:sldId id="258" r:id="rId43"/>
    <p:sldId id="308" r:id="rId44"/>
    <p:sldId id="2147483624" r:id="rId45"/>
    <p:sldId id="260" r:id="rId46"/>
    <p:sldId id="309" r:id="rId47"/>
    <p:sldId id="269" r:id="rId48"/>
    <p:sldId id="261" r:id="rId49"/>
    <p:sldId id="2147483632" r:id="rId50"/>
    <p:sldId id="288" r:id="rId51"/>
    <p:sldId id="264" r:id="rId52"/>
    <p:sldId id="265" r:id="rId53"/>
    <p:sldId id="287" r:id="rId54"/>
    <p:sldId id="262" r:id="rId55"/>
    <p:sldId id="2147483640" r:id="rId56"/>
    <p:sldId id="270" r:id="rId57"/>
    <p:sldId id="271" r:id="rId58"/>
    <p:sldId id="274" r:id="rId59"/>
    <p:sldId id="281" r:id="rId60"/>
    <p:sldId id="273" r:id="rId61"/>
    <p:sldId id="276" r:id="rId62"/>
    <p:sldId id="277" r:id="rId63"/>
    <p:sldId id="278" r:id="rId64"/>
    <p:sldId id="285" r:id="rId65"/>
    <p:sldId id="286" r:id="rId66"/>
    <p:sldId id="289" r:id="rId67"/>
    <p:sldId id="293" r:id="rId68"/>
    <p:sldId id="291" r:id="rId69"/>
    <p:sldId id="295" r:id="rId70"/>
    <p:sldId id="307" r:id="rId71"/>
    <p:sldId id="297" r:id="rId72"/>
    <p:sldId id="298" r:id="rId73"/>
    <p:sldId id="301" r:id="rId74"/>
    <p:sldId id="302" r:id="rId75"/>
    <p:sldId id="343" r:id="rId76"/>
    <p:sldId id="2147483646" r:id="rId77"/>
    <p:sldId id="306" r:id="rId78"/>
    <p:sldId id="323" r:id="rId79"/>
    <p:sldId id="325" r:id="rId80"/>
    <p:sldId id="310" r:id="rId81"/>
    <p:sldId id="311" r:id="rId82"/>
    <p:sldId id="2147471960" r:id="rId83"/>
    <p:sldId id="312" r:id="rId84"/>
    <p:sldId id="314" r:id="rId85"/>
    <p:sldId id="315" r:id="rId86"/>
    <p:sldId id="316" r:id="rId87"/>
    <p:sldId id="344" r:id="rId88"/>
    <p:sldId id="317" r:id="rId89"/>
    <p:sldId id="279" r:id="rId90"/>
    <p:sldId id="340" r:id="rId91"/>
    <p:sldId id="335" r:id="rId92"/>
    <p:sldId id="336" r:id="rId93"/>
    <p:sldId id="318" r:id="rId94"/>
    <p:sldId id="319" r:id="rId95"/>
    <p:sldId id="320" r:id="rId96"/>
    <p:sldId id="321" r:id="rId97"/>
    <p:sldId id="322" r:id="rId98"/>
    <p:sldId id="337" r:id="rId99"/>
    <p:sldId id="338" r:id="rId100"/>
    <p:sldId id="324" r:id="rId101"/>
    <p:sldId id="339" r:id="rId102"/>
    <p:sldId id="341" r:id="rId103"/>
    <p:sldId id="326" r:id="rId104"/>
    <p:sldId id="328" r:id="rId105"/>
    <p:sldId id="329" r:id="rId106"/>
    <p:sldId id="330" r:id="rId107"/>
    <p:sldId id="331" r:id="rId108"/>
    <p:sldId id="332" r:id="rId109"/>
    <p:sldId id="333" r:id="rId110"/>
    <p:sldId id="334" r:id="rId111"/>
    <p:sldId id="342" r:id="rId112"/>
  </p:sldIdLst>
  <p:sldSz cx="12192000" cy="6858000"/>
  <p:notesSz cx="6858000" cy="9144000"/>
  <p:embeddedFontLst>
    <p:embeddedFont>
      <p:font typeface="Arial Nova" panose="020F0502020204030204" pitchFamily="34" charset="0"/>
      <p:regular r:id="rId115"/>
      <p:bold r:id="rId116"/>
      <p:italic r:id="rId117"/>
      <p:boldItalic r:id="rId118"/>
    </p:embeddedFont>
    <p:embeddedFont>
      <p:font typeface="Century Gothic" panose="020B0502020202020204" pitchFamily="34" charset="0"/>
      <p:regular r:id="rId119"/>
      <p:bold r:id="rId120"/>
      <p:italic r:id="rId121"/>
      <p:boldItalic r:id="rId122"/>
    </p:embeddedFont>
    <p:embeddedFont>
      <p:font typeface="Helvetica" panose="020B0604020202020204" pitchFamily="34" charset="0"/>
      <p:regular r:id="rId123"/>
      <p:bold r:id="rId124"/>
      <p:italic r:id="rId125"/>
      <p:boldItalic r:id="rId126"/>
    </p:embeddedFont>
    <p:embeddedFont>
      <p:font typeface="Nunito" panose="020F0502020204030204" pitchFamily="2" charset="-94"/>
      <p:regular r:id="rId127"/>
      <p:bold r:id="rId128"/>
      <p:italic r:id="rId129"/>
      <p:boldItalic r:id="rId130"/>
    </p:embeddedFont>
    <p:embeddedFont>
      <p:font typeface="Pfizer Diatype" panose="020B0604020202020204" charset="-94"/>
      <p:regular r:id="rId131"/>
      <p:bold r:id="rId132"/>
      <p:italic r:id="rId133"/>
      <p:boldItalic r:id="rId134"/>
    </p:embeddedFont>
    <p:embeddedFont>
      <p:font typeface="Pfizer Diatype Office" panose="020B0604020202020204" charset="-94"/>
      <p:regular r:id="rId135"/>
      <p:bold r:id="rId136"/>
      <p:italic r:id="rId137"/>
      <p:boldItalic r:id="rId138"/>
    </p:embeddedFont>
    <p:embeddedFont>
      <p:font typeface="Pfizer Tomorrow" panose="020B0604020202020204" charset="-94"/>
      <p:regular r:id="rId139"/>
      <p:bold r:id="rId140"/>
      <p:italic r:id="rId141"/>
      <p:boldItalic r:id="rId142"/>
    </p:embeddedFont>
    <p:embeddedFont>
      <p:font typeface="Segoe UI" panose="020B0502040204020203" pitchFamily="34" charset="0"/>
      <p:regular r:id="rId143"/>
      <p:bold r:id="rId144"/>
      <p:italic r:id="rId145"/>
      <p:boldItalic r:id="rId146"/>
    </p:embeddedFont>
    <p:embeddedFont>
      <p:font typeface="Source Sans Pro" panose="020B0503030403020204" pitchFamily="34" charset="0"/>
      <p:regular r:id="rId147"/>
      <p:bold r:id="rId148"/>
      <p:italic r:id="rId149"/>
      <p:boldItalic r:id="rId150"/>
    </p:embeddedFont>
    <p:embeddedFont>
      <p:font typeface="Wingdings 2" panose="05020102010507070707" pitchFamily="18" charset="2"/>
      <p:regular r:id="rId151"/>
    </p:embeddedFont>
  </p:embeddedFontLst>
  <p:defaultTextStyle>
    <a:defPPr>
      <a:defRPr lang="en-US"/>
    </a:defPPr>
    <a:lvl1pPr marL="0" algn="l" defTabSz="228520" rtl="0" eaLnBrk="1" latinLnBrk="0" hangingPunct="1">
      <a:defRPr sz="900" kern="1200">
        <a:solidFill>
          <a:schemeClr val="tx1"/>
        </a:solidFill>
        <a:latin typeface="+mn-lt"/>
        <a:ea typeface="+mn-ea"/>
        <a:cs typeface="+mn-cs"/>
      </a:defRPr>
    </a:lvl1pPr>
    <a:lvl2pPr marL="228520" algn="l" defTabSz="228520" rtl="0" eaLnBrk="1" latinLnBrk="0" hangingPunct="1">
      <a:defRPr sz="900" kern="1200">
        <a:solidFill>
          <a:schemeClr val="tx1"/>
        </a:solidFill>
        <a:latin typeface="+mn-lt"/>
        <a:ea typeface="+mn-ea"/>
        <a:cs typeface="+mn-cs"/>
      </a:defRPr>
    </a:lvl2pPr>
    <a:lvl3pPr marL="457041" algn="l" defTabSz="228520" rtl="0" eaLnBrk="1" latinLnBrk="0" hangingPunct="1">
      <a:defRPr sz="900" kern="1200">
        <a:solidFill>
          <a:schemeClr val="tx1"/>
        </a:solidFill>
        <a:latin typeface="+mn-lt"/>
        <a:ea typeface="+mn-ea"/>
        <a:cs typeface="+mn-cs"/>
      </a:defRPr>
    </a:lvl3pPr>
    <a:lvl4pPr marL="685560" algn="l" defTabSz="228520" rtl="0" eaLnBrk="1" latinLnBrk="0" hangingPunct="1">
      <a:defRPr sz="900" kern="1200">
        <a:solidFill>
          <a:schemeClr val="tx1"/>
        </a:solidFill>
        <a:latin typeface="+mn-lt"/>
        <a:ea typeface="+mn-ea"/>
        <a:cs typeface="+mn-cs"/>
      </a:defRPr>
    </a:lvl4pPr>
    <a:lvl5pPr marL="914080" algn="l" defTabSz="228520" rtl="0" eaLnBrk="1" latinLnBrk="0" hangingPunct="1">
      <a:defRPr sz="900" kern="1200">
        <a:solidFill>
          <a:schemeClr val="tx1"/>
        </a:solidFill>
        <a:latin typeface="+mn-lt"/>
        <a:ea typeface="+mn-ea"/>
        <a:cs typeface="+mn-cs"/>
      </a:defRPr>
    </a:lvl5pPr>
    <a:lvl6pPr marL="1142599" algn="l" defTabSz="228520" rtl="0" eaLnBrk="1" latinLnBrk="0" hangingPunct="1">
      <a:defRPr sz="900" kern="1200">
        <a:solidFill>
          <a:schemeClr val="tx1"/>
        </a:solidFill>
        <a:latin typeface="+mn-lt"/>
        <a:ea typeface="+mn-ea"/>
        <a:cs typeface="+mn-cs"/>
      </a:defRPr>
    </a:lvl6pPr>
    <a:lvl7pPr marL="1371120" algn="l" defTabSz="228520" rtl="0" eaLnBrk="1" latinLnBrk="0" hangingPunct="1">
      <a:defRPr sz="900" kern="1200">
        <a:solidFill>
          <a:schemeClr val="tx1"/>
        </a:solidFill>
        <a:latin typeface="+mn-lt"/>
        <a:ea typeface="+mn-ea"/>
        <a:cs typeface="+mn-cs"/>
      </a:defRPr>
    </a:lvl7pPr>
    <a:lvl8pPr marL="1599640" algn="l" defTabSz="228520" rtl="0" eaLnBrk="1" latinLnBrk="0" hangingPunct="1">
      <a:defRPr sz="900" kern="1200">
        <a:solidFill>
          <a:schemeClr val="tx1"/>
        </a:solidFill>
        <a:latin typeface="+mn-lt"/>
        <a:ea typeface="+mn-ea"/>
        <a:cs typeface="+mn-cs"/>
      </a:defRPr>
    </a:lvl8pPr>
    <a:lvl9pPr marL="1828160" algn="l" defTabSz="22852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73BE28-8D19-F2FE-088D-6A4540B1309E}" name="Ariel Wakasa Gonzalez" initials="AW" userId="S::ariwakas@publicisgroupe.net::3c873ce8-fe15-42dd-abd1-2e919fcc12d3" providerId="AD"/>
  <p188:author id="{1CE01740-2ADB-2B03-9766-DB977A3F8064}" name="Nicolas Palacio" initials="" userId="S::nictruji@publicisgroupe.net::6b9c81d5-eefc-4f77-94c0-9794592403f1" providerId="AD"/>
  <p188:author id="{A0DC8C59-B865-8AB3-4774-981820AE7A92}" name="Wadhwa, Vaidehi" initials="VW" userId="S::WADHWV02@pfizer.com::2eaa6f88-02df-494b-ab14-c5fe822db49f" providerId="AD"/>
  <p188:author id="{186C9C92-2E87-B9DD-9740-78D5A8E7E5C0}" name="Lora Lukin" initials="" userId="S::lorlukin@publicisgroupe.net::0bfd6fb1-7171-4261-ade9-d004004e160a" providerId="AD"/>
  <p188:author id="{6FFC4793-A606-AC35-6EE8-5EF94D7BAF38}" name="Saydam, Onur" initials="OS" userId="S::SAYDAO@pfizer.com::21b48ecc-b54a-42eb-8c4c-805721cb8986" providerId="AD"/>
  <p188:author id="{F9426CC9-3235-CB2D-7E8C-1319DD0ABAB3}" name="Saydam, Onur" initials="SO" userId="S::saydao@pfizer.com::21b48ecc-b54a-42eb-8c4c-805721cb898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9F9F9"/>
    <a:srgbClr val="00009D"/>
    <a:srgbClr val="F2F2F2"/>
    <a:srgbClr val="000090"/>
    <a:srgbClr val="0000C9"/>
    <a:srgbClr val="002060"/>
    <a:srgbClr val="179A89"/>
    <a:srgbClr val="1E424E"/>
    <a:srgbClr val="0200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430AB4-3B31-40FC-B7D2-06B73B197EDF}" v="342" dt="2025-10-16T10:15:10.943"/>
    <p1510:client id="{9519AC38-BA4A-4316-BEB7-114F0D0C2E12}" v="10" dt="2025-10-16T13:18:30.334"/>
    <p1510:client id="{BFA4D403-1D0E-DE12-0782-DDF069CD9D65}" v="22" dt="2025-10-16T13:16:52.290"/>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sorterViewPr>
    <p:cViewPr>
      <p:scale>
        <a:sx n="100" d="100"/>
        <a:sy n="100" d="100"/>
      </p:scale>
      <p:origin x="0" y="-33552"/>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font" Target="fonts/font3.fntdata"/><Relationship Id="rId21" Type="http://schemas.openxmlformats.org/officeDocument/2006/relationships/slide" Target="slides/slide9.xml"/><Relationship Id="rId42" Type="http://schemas.openxmlformats.org/officeDocument/2006/relationships/slide" Target="slides/slide30.xml"/><Relationship Id="rId63" Type="http://schemas.openxmlformats.org/officeDocument/2006/relationships/slide" Target="slides/slide51.xml"/><Relationship Id="rId84" Type="http://schemas.openxmlformats.org/officeDocument/2006/relationships/slide" Target="slides/slide72.xml"/><Relationship Id="rId138" Type="http://schemas.openxmlformats.org/officeDocument/2006/relationships/font" Target="fonts/font24.fntdata"/><Relationship Id="rId107" Type="http://schemas.openxmlformats.org/officeDocument/2006/relationships/slide" Target="slides/slide95.xml"/><Relationship Id="rId11" Type="http://schemas.openxmlformats.org/officeDocument/2006/relationships/slideMaster" Target="slideMasters/slideMaster8.xml"/><Relationship Id="rId32" Type="http://schemas.openxmlformats.org/officeDocument/2006/relationships/slide" Target="slides/slide20.xml"/><Relationship Id="rId53" Type="http://schemas.openxmlformats.org/officeDocument/2006/relationships/slide" Target="slides/slide41.xml"/><Relationship Id="rId74" Type="http://schemas.openxmlformats.org/officeDocument/2006/relationships/slide" Target="slides/slide62.xml"/><Relationship Id="rId128" Type="http://schemas.openxmlformats.org/officeDocument/2006/relationships/font" Target="fonts/font14.fntdata"/><Relationship Id="rId149" Type="http://schemas.openxmlformats.org/officeDocument/2006/relationships/font" Target="fonts/font35.fntdata"/><Relationship Id="rId5" Type="http://schemas.openxmlformats.org/officeDocument/2006/relationships/slideMaster" Target="slideMasters/slideMaster2.xml"/><Relationship Id="rId95" Type="http://schemas.openxmlformats.org/officeDocument/2006/relationships/slide" Target="slides/slide83.xml"/><Relationship Id="rId22" Type="http://schemas.openxmlformats.org/officeDocument/2006/relationships/slide" Target="slides/slide10.xml"/><Relationship Id="rId43" Type="http://schemas.openxmlformats.org/officeDocument/2006/relationships/slide" Target="slides/slide31.xml"/><Relationship Id="rId64" Type="http://schemas.openxmlformats.org/officeDocument/2006/relationships/slide" Target="slides/slide52.xml"/><Relationship Id="rId118" Type="http://schemas.openxmlformats.org/officeDocument/2006/relationships/font" Target="fonts/font4.fntdata"/><Relationship Id="rId139" Type="http://schemas.openxmlformats.org/officeDocument/2006/relationships/font" Target="fonts/font25.fntdata"/><Relationship Id="rId80" Type="http://schemas.openxmlformats.org/officeDocument/2006/relationships/slide" Target="slides/slide68.xml"/><Relationship Id="rId85" Type="http://schemas.openxmlformats.org/officeDocument/2006/relationships/slide" Target="slides/slide73.xml"/><Relationship Id="rId150" Type="http://schemas.openxmlformats.org/officeDocument/2006/relationships/font" Target="fonts/font36.fntdata"/><Relationship Id="rId155" Type="http://schemas.openxmlformats.org/officeDocument/2006/relationships/tableStyles" Target="tableStyles.xml"/><Relationship Id="rId12" Type="http://schemas.openxmlformats.org/officeDocument/2006/relationships/slideMaster" Target="slideMasters/slideMaster9.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08" Type="http://schemas.openxmlformats.org/officeDocument/2006/relationships/slide" Target="slides/slide96.xml"/><Relationship Id="rId124" Type="http://schemas.openxmlformats.org/officeDocument/2006/relationships/font" Target="fonts/font10.fntdata"/><Relationship Id="rId129" Type="http://schemas.openxmlformats.org/officeDocument/2006/relationships/font" Target="fonts/font15.fntdata"/><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slide" Target="slides/slide79.xml"/><Relationship Id="rId96" Type="http://schemas.openxmlformats.org/officeDocument/2006/relationships/slide" Target="slides/slide84.xml"/><Relationship Id="rId140" Type="http://schemas.openxmlformats.org/officeDocument/2006/relationships/font" Target="fonts/font26.fntdata"/><Relationship Id="rId145" Type="http://schemas.openxmlformats.org/officeDocument/2006/relationships/font" Target="fonts/font31.fntdata"/><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1.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handoutMaster" Target="handoutMasters/handoutMaster1.xml"/><Relationship Id="rId119" Type="http://schemas.openxmlformats.org/officeDocument/2006/relationships/font" Target="fonts/font5.fntdata"/><Relationship Id="rId44" Type="http://schemas.openxmlformats.org/officeDocument/2006/relationships/slide" Target="slides/slide32.xml"/><Relationship Id="rId60" Type="http://schemas.openxmlformats.org/officeDocument/2006/relationships/slide" Target="slides/slide48.xml"/><Relationship Id="rId65" Type="http://schemas.openxmlformats.org/officeDocument/2006/relationships/slide" Target="slides/slide53.xml"/><Relationship Id="rId81" Type="http://schemas.openxmlformats.org/officeDocument/2006/relationships/slide" Target="slides/slide69.xml"/><Relationship Id="rId86" Type="http://schemas.openxmlformats.org/officeDocument/2006/relationships/slide" Target="slides/slide74.xml"/><Relationship Id="rId130" Type="http://schemas.openxmlformats.org/officeDocument/2006/relationships/font" Target="fonts/font16.fntdata"/><Relationship Id="rId135" Type="http://schemas.openxmlformats.org/officeDocument/2006/relationships/font" Target="fonts/font21.fntdata"/><Relationship Id="rId151" Type="http://schemas.openxmlformats.org/officeDocument/2006/relationships/font" Target="fonts/font37.fntdata"/><Relationship Id="rId156" Type="http://schemas.microsoft.com/office/2016/11/relationships/changesInfo" Target="changesInfos/changesInfo1.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slide" Target="slides/slide9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120" Type="http://schemas.openxmlformats.org/officeDocument/2006/relationships/font" Target="fonts/font6.fntdata"/><Relationship Id="rId125" Type="http://schemas.openxmlformats.org/officeDocument/2006/relationships/font" Target="fonts/font11.fntdata"/><Relationship Id="rId141" Type="http://schemas.openxmlformats.org/officeDocument/2006/relationships/font" Target="fonts/font27.fntdata"/><Relationship Id="rId146" Type="http://schemas.openxmlformats.org/officeDocument/2006/relationships/font" Target="fonts/font32.fntdata"/><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15" Type="http://schemas.openxmlformats.org/officeDocument/2006/relationships/font" Target="fonts/font1.fntdata"/><Relationship Id="rId131" Type="http://schemas.openxmlformats.org/officeDocument/2006/relationships/font" Target="fonts/font17.fntdata"/><Relationship Id="rId136" Type="http://schemas.openxmlformats.org/officeDocument/2006/relationships/font" Target="fonts/font22.fntdata"/><Relationship Id="rId157" Type="http://schemas.microsoft.com/office/2015/10/relationships/revisionInfo" Target="revisionInfo.xml"/><Relationship Id="rId61" Type="http://schemas.openxmlformats.org/officeDocument/2006/relationships/slide" Target="slides/slide49.xml"/><Relationship Id="rId82" Type="http://schemas.openxmlformats.org/officeDocument/2006/relationships/slide" Target="slides/slide70.xml"/><Relationship Id="rId152" Type="http://schemas.openxmlformats.org/officeDocument/2006/relationships/presProps" Target="presProps.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slide" Target="slides/slide93.xml"/><Relationship Id="rId126" Type="http://schemas.openxmlformats.org/officeDocument/2006/relationships/font" Target="fonts/font12.fntdata"/><Relationship Id="rId147" Type="http://schemas.openxmlformats.org/officeDocument/2006/relationships/font" Target="fonts/font33.fntdata"/><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121" Type="http://schemas.openxmlformats.org/officeDocument/2006/relationships/font" Target="fonts/font7.fntdata"/><Relationship Id="rId142" Type="http://schemas.openxmlformats.org/officeDocument/2006/relationships/font" Target="fonts/font28.fntdata"/><Relationship Id="rId3" Type="http://schemas.openxmlformats.org/officeDocument/2006/relationships/customXml" Target="../customXml/item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font" Target="fonts/font2.fntdata"/><Relationship Id="rId137" Type="http://schemas.openxmlformats.org/officeDocument/2006/relationships/font" Target="fonts/font23.fntdata"/><Relationship Id="rId158" Type="http://schemas.microsoft.com/office/2018/10/relationships/authors" Target="authors.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slide" Target="slides/slide99.xml"/><Relationship Id="rId132" Type="http://schemas.openxmlformats.org/officeDocument/2006/relationships/font" Target="fonts/font18.fntdata"/><Relationship Id="rId153" Type="http://schemas.openxmlformats.org/officeDocument/2006/relationships/viewProps" Target="viewProps.xml"/><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106" Type="http://schemas.openxmlformats.org/officeDocument/2006/relationships/slide" Target="slides/slide94.xml"/><Relationship Id="rId127" Type="http://schemas.openxmlformats.org/officeDocument/2006/relationships/font" Target="fonts/font13.fntdata"/><Relationship Id="rId10" Type="http://schemas.openxmlformats.org/officeDocument/2006/relationships/slideMaster" Target="slideMasters/slideMaster7.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78" Type="http://schemas.openxmlformats.org/officeDocument/2006/relationships/slide" Target="slides/slide66.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font" Target="fonts/font8.fntdata"/><Relationship Id="rId143" Type="http://schemas.openxmlformats.org/officeDocument/2006/relationships/font" Target="fonts/font29.fntdata"/><Relationship Id="rId148" Type="http://schemas.openxmlformats.org/officeDocument/2006/relationships/font" Target="fonts/font34.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4.xml"/><Relationship Id="rId47" Type="http://schemas.openxmlformats.org/officeDocument/2006/relationships/slide" Target="slides/slide35.xml"/><Relationship Id="rId68" Type="http://schemas.openxmlformats.org/officeDocument/2006/relationships/slide" Target="slides/slide56.xml"/><Relationship Id="rId89" Type="http://schemas.openxmlformats.org/officeDocument/2006/relationships/slide" Target="slides/slide77.xml"/><Relationship Id="rId112" Type="http://schemas.openxmlformats.org/officeDocument/2006/relationships/slide" Target="slides/slide100.xml"/><Relationship Id="rId133" Type="http://schemas.openxmlformats.org/officeDocument/2006/relationships/font" Target="fonts/font19.fntdata"/><Relationship Id="rId154" Type="http://schemas.openxmlformats.org/officeDocument/2006/relationships/theme" Target="theme/theme1.xml"/><Relationship Id="rId16" Type="http://schemas.openxmlformats.org/officeDocument/2006/relationships/slide" Target="slides/slide4.xml"/><Relationship Id="rId37" Type="http://schemas.openxmlformats.org/officeDocument/2006/relationships/slide" Target="slides/slide25.xml"/><Relationship Id="rId58" Type="http://schemas.openxmlformats.org/officeDocument/2006/relationships/slide" Target="slides/slide46.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font" Target="fonts/font9.fntdata"/><Relationship Id="rId144" Type="http://schemas.openxmlformats.org/officeDocument/2006/relationships/font" Target="fonts/font30.fntdata"/><Relationship Id="rId90" Type="http://schemas.openxmlformats.org/officeDocument/2006/relationships/slide" Target="slides/slide78.xml"/><Relationship Id="rId27" Type="http://schemas.openxmlformats.org/officeDocument/2006/relationships/slide" Target="slides/slide15.xml"/><Relationship Id="rId48" Type="http://schemas.openxmlformats.org/officeDocument/2006/relationships/slide" Target="slides/slide36.xml"/><Relationship Id="rId69" Type="http://schemas.openxmlformats.org/officeDocument/2006/relationships/slide" Target="slides/slide57.xml"/><Relationship Id="rId113" Type="http://schemas.openxmlformats.org/officeDocument/2006/relationships/notesMaster" Target="notesMasters/notesMaster1.xml"/><Relationship Id="rId134" Type="http://schemas.openxmlformats.org/officeDocument/2006/relationships/font" Target="fonts/font20.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zgen, Handenur" userId="693f6077-2094-4a4b-9c12-b1a0c4de2bbc" providerId="ADAL" clId="{5B430AB4-3B31-40FC-B7D2-06B73B197EDF}"/>
    <pc:docChg chg="undo redo custSel addSld delSld modSld sldOrd delSection modSection">
      <pc:chgData name="Sezgen, Handenur" userId="693f6077-2094-4a4b-9c12-b1a0c4de2bbc" providerId="ADAL" clId="{5B430AB4-3B31-40FC-B7D2-06B73B197EDF}" dt="2025-10-16T14:42:20.132" v="3714" actId="1076"/>
      <pc:docMkLst>
        <pc:docMk/>
      </pc:docMkLst>
      <pc:sldChg chg="addSp modSp">
        <pc:chgData name="Sezgen, Handenur" userId="693f6077-2094-4a4b-9c12-b1a0c4de2bbc" providerId="ADAL" clId="{5B430AB4-3B31-40FC-B7D2-06B73B197EDF}" dt="2025-10-16T10:10:09.841" v="3572"/>
        <pc:sldMkLst>
          <pc:docMk/>
          <pc:sldMk cId="1192064685" sldId="256"/>
        </pc:sldMkLst>
        <pc:grpChg chg="add mod">
          <ac:chgData name="Sezgen, Handenur" userId="693f6077-2094-4a4b-9c12-b1a0c4de2bbc" providerId="ADAL" clId="{5B430AB4-3B31-40FC-B7D2-06B73B197EDF}" dt="2025-10-16T10:10:09.841" v="3572"/>
          <ac:grpSpMkLst>
            <pc:docMk/>
            <pc:sldMk cId="1192064685" sldId="256"/>
            <ac:grpSpMk id="19" creationId="{9162D4EC-F7D2-D3F2-4D5F-864BA070C5FB}"/>
          </ac:grpSpMkLst>
        </pc:grpChg>
        <pc:picChg chg="mod">
          <ac:chgData name="Sezgen, Handenur" userId="693f6077-2094-4a4b-9c12-b1a0c4de2bbc" providerId="ADAL" clId="{5B430AB4-3B31-40FC-B7D2-06B73B197EDF}" dt="2025-10-16T10:10:09.841" v="3572"/>
          <ac:picMkLst>
            <pc:docMk/>
            <pc:sldMk cId="1192064685" sldId="256"/>
            <ac:picMk id="23" creationId="{F696BEC4-6FD4-3AD4-5E29-AD79CB0CCD1A}"/>
          </ac:picMkLst>
        </pc:picChg>
        <pc:picChg chg="mod">
          <ac:chgData name="Sezgen, Handenur" userId="693f6077-2094-4a4b-9c12-b1a0c4de2bbc" providerId="ADAL" clId="{5B430AB4-3B31-40FC-B7D2-06B73B197EDF}" dt="2025-10-16T10:10:09.841" v="3572"/>
          <ac:picMkLst>
            <pc:docMk/>
            <pc:sldMk cId="1192064685" sldId="256"/>
            <ac:picMk id="24" creationId="{7263E994-0B8B-ADF4-89B1-F46283917C6B}"/>
          </ac:picMkLst>
        </pc:picChg>
      </pc:sldChg>
      <pc:sldChg chg="addSp modSp">
        <pc:chgData name="Sezgen, Handenur" userId="693f6077-2094-4a4b-9c12-b1a0c4de2bbc" providerId="ADAL" clId="{5B430AB4-3B31-40FC-B7D2-06B73B197EDF}" dt="2025-10-16T10:10:08.716" v="3571"/>
        <pc:sldMkLst>
          <pc:docMk/>
          <pc:sldMk cId="776752373" sldId="257"/>
        </pc:sldMkLst>
        <pc:grpChg chg="add mod">
          <ac:chgData name="Sezgen, Handenur" userId="693f6077-2094-4a4b-9c12-b1a0c4de2bbc" providerId="ADAL" clId="{5B430AB4-3B31-40FC-B7D2-06B73B197EDF}" dt="2025-10-16T10:10:08.716" v="3571"/>
          <ac:grpSpMkLst>
            <pc:docMk/>
            <pc:sldMk cId="776752373" sldId="257"/>
            <ac:grpSpMk id="9" creationId="{DA496B14-42D8-9D8A-598E-A84323CB34DC}"/>
          </ac:grpSpMkLst>
        </pc:grpChg>
        <pc:picChg chg="mod">
          <ac:chgData name="Sezgen, Handenur" userId="693f6077-2094-4a4b-9c12-b1a0c4de2bbc" providerId="ADAL" clId="{5B430AB4-3B31-40FC-B7D2-06B73B197EDF}" dt="2025-10-16T10:10:08.716" v="3571"/>
          <ac:picMkLst>
            <pc:docMk/>
            <pc:sldMk cId="776752373" sldId="257"/>
            <ac:picMk id="15" creationId="{5C7A07DA-4123-08E1-D593-0CF4C73C70A6}"/>
          </ac:picMkLst>
        </pc:picChg>
        <pc:picChg chg="mod">
          <ac:chgData name="Sezgen, Handenur" userId="693f6077-2094-4a4b-9c12-b1a0c4de2bbc" providerId="ADAL" clId="{5B430AB4-3B31-40FC-B7D2-06B73B197EDF}" dt="2025-10-16T10:10:08.716" v="3571"/>
          <ac:picMkLst>
            <pc:docMk/>
            <pc:sldMk cId="776752373" sldId="257"/>
            <ac:picMk id="64" creationId="{BE6DDC36-243A-9D44-1965-6920C2F0B39D}"/>
          </ac:picMkLst>
        </pc:picChg>
      </pc:sldChg>
      <pc:sldChg chg="addSp delSp modSp mod modClrScheme chgLayout">
        <pc:chgData name="Sezgen, Handenur" userId="693f6077-2094-4a4b-9c12-b1a0c4de2bbc" providerId="ADAL" clId="{5B430AB4-3B31-40FC-B7D2-06B73B197EDF}" dt="2025-10-16T10:11:27.764" v="3635"/>
        <pc:sldMkLst>
          <pc:docMk/>
          <pc:sldMk cId="2603321057" sldId="258"/>
        </pc:sldMkLst>
        <pc:spChg chg="mod ord">
          <ac:chgData name="Sezgen, Handenur" userId="693f6077-2094-4a4b-9c12-b1a0c4de2bbc" providerId="ADAL" clId="{5B430AB4-3B31-40FC-B7D2-06B73B197EDF}" dt="2025-10-16T07:59:24.670" v="461" actId="700"/>
          <ac:spMkLst>
            <pc:docMk/>
            <pc:sldMk cId="2603321057" sldId="258"/>
            <ac:spMk id="2" creationId="{A735D1B8-AD22-C9D2-FD79-A1BDA8DB5205}"/>
          </ac:spMkLst>
        </pc:spChg>
        <pc:spChg chg="mod">
          <ac:chgData name="Sezgen, Handenur" userId="693f6077-2094-4a4b-9c12-b1a0c4de2bbc" providerId="ADAL" clId="{5B430AB4-3B31-40FC-B7D2-06B73B197EDF}" dt="2025-10-16T08:00:03.095" v="481" actId="1076"/>
          <ac:spMkLst>
            <pc:docMk/>
            <pc:sldMk cId="2603321057" sldId="258"/>
            <ac:spMk id="3" creationId="{2BF4045A-91C2-D3AB-04F1-28BDF1FC586F}"/>
          </ac:spMkLst>
        </pc:spChg>
        <pc:spChg chg="mod ord">
          <ac:chgData name="Sezgen, Handenur" userId="693f6077-2094-4a4b-9c12-b1a0c4de2bbc" providerId="ADAL" clId="{5B430AB4-3B31-40FC-B7D2-06B73B197EDF}" dt="2025-10-16T08:02:28.091" v="563" actId="1036"/>
          <ac:spMkLst>
            <pc:docMk/>
            <pc:sldMk cId="2603321057" sldId="258"/>
            <ac:spMk id="4" creationId="{2A3C39EC-BC32-63F1-6B62-0E3A41EB8929}"/>
          </ac:spMkLst>
        </pc:spChg>
        <pc:spChg chg="mod ord topLvl">
          <ac:chgData name="Sezgen, Handenur" userId="693f6077-2094-4a4b-9c12-b1a0c4de2bbc" providerId="ADAL" clId="{5B430AB4-3B31-40FC-B7D2-06B73B197EDF}" dt="2025-10-16T08:02:47.421" v="573" actId="403"/>
          <ac:spMkLst>
            <pc:docMk/>
            <pc:sldMk cId="2603321057" sldId="258"/>
            <ac:spMk id="5" creationId="{83BCC6A3-1948-6FD9-C18A-A762FCFF4318}"/>
          </ac:spMkLst>
        </pc:spChg>
        <pc:spChg chg="mod ord">
          <ac:chgData name="Sezgen, Handenur" userId="693f6077-2094-4a4b-9c12-b1a0c4de2bbc" providerId="ADAL" clId="{5B430AB4-3B31-40FC-B7D2-06B73B197EDF}" dt="2025-10-16T07:59:24.670" v="461" actId="700"/>
          <ac:spMkLst>
            <pc:docMk/>
            <pc:sldMk cId="2603321057" sldId="258"/>
            <ac:spMk id="6" creationId="{78000B9F-4BC4-8EDB-3210-EF73946BF83E}"/>
          </ac:spMkLst>
        </pc:spChg>
        <pc:spChg chg="mod topLvl">
          <ac:chgData name="Sezgen, Handenur" userId="693f6077-2094-4a4b-9c12-b1a0c4de2bbc" providerId="ADAL" clId="{5B430AB4-3B31-40FC-B7D2-06B73B197EDF}" dt="2025-10-16T08:02:33.397" v="564" actId="164"/>
          <ac:spMkLst>
            <pc:docMk/>
            <pc:sldMk cId="2603321057" sldId="258"/>
            <ac:spMk id="8" creationId="{83438E4B-98B7-B413-310F-F2513D88193A}"/>
          </ac:spMkLst>
        </pc:spChg>
        <pc:spChg chg="mod topLvl">
          <ac:chgData name="Sezgen, Handenur" userId="693f6077-2094-4a4b-9c12-b1a0c4de2bbc" providerId="ADAL" clId="{5B430AB4-3B31-40FC-B7D2-06B73B197EDF}" dt="2025-10-16T08:02:33.397" v="564" actId="164"/>
          <ac:spMkLst>
            <pc:docMk/>
            <pc:sldMk cId="2603321057" sldId="258"/>
            <ac:spMk id="15" creationId="{A4C7566C-8E0E-9406-603F-5C3BF276E8EA}"/>
          </ac:spMkLst>
        </pc:spChg>
        <pc:spChg chg="mod topLvl">
          <ac:chgData name="Sezgen, Handenur" userId="693f6077-2094-4a4b-9c12-b1a0c4de2bbc" providerId="ADAL" clId="{5B430AB4-3B31-40FC-B7D2-06B73B197EDF}" dt="2025-10-16T08:02:33.397" v="564" actId="164"/>
          <ac:spMkLst>
            <pc:docMk/>
            <pc:sldMk cId="2603321057" sldId="258"/>
            <ac:spMk id="18" creationId="{D997A21E-8832-F2F3-90F4-C8D2F431B094}"/>
          </ac:spMkLst>
        </pc:spChg>
        <pc:spChg chg="mod topLvl">
          <ac:chgData name="Sezgen, Handenur" userId="693f6077-2094-4a4b-9c12-b1a0c4de2bbc" providerId="ADAL" clId="{5B430AB4-3B31-40FC-B7D2-06B73B197EDF}" dt="2025-10-16T08:02:33.397" v="564" actId="164"/>
          <ac:spMkLst>
            <pc:docMk/>
            <pc:sldMk cId="2603321057" sldId="258"/>
            <ac:spMk id="19" creationId="{C7EAAD05-5C3F-E927-75CC-48CD036E831C}"/>
          </ac:spMkLst>
        </pc:spChg>
        <pc:spChg chg="mod topLvl">
          <ac:chgData name="Sezgen, Handenur" userId="693f6077-2094-4a4b-9c12-b1a0c4de2bbc" providerId="ADAL" clId="{5B430AB4-3B31-40FC-B7D2-06B73B197EDF}" dt="2025-10-16T08:02:33.397" v="564" actId="164"/>
          <ac:spMkLst>
            <pc:docMk/>
            <pc:sldMk cId="2603321057" sldId="258"/>
            <ac:spMk id="20" creationId="{55FFBC8F-EB30-0A0E-1824-D6B21694C07D}"/>
          </ac:spMkLst>
        </pc:spChg>
        <pc:spChg chg="mod topLvl">
          <ac:chgData name="Sezgen, Handenur" userId="693f6077-2094-4a4b-9c12-b1a0c4de2bbc" providerId="ADAL" clId="{5B430AB4-3B31-40FC-B7D2-06B73B197EDF}" dt="2025-10-16T08:02:33.397" v="564" actId="164"/>
          <ac:spMkLst>
            <pc:docMk/>
            <pc:sldMk cId="2603321057" sldId="258"/>
            <ac:spMk id="23" creationId="{CB653F9B-DD06-656F-08A3-6707AB96C2B1}"/>
          </ac:spMkLst>
        </pc:spChg>
        <pc:spChg chg="mod topLvl">
          <ac:chgData name="Sezgen, Handenur" userId="693f6077-2094-4a4b-9c12-b1a0c4de2bbc" providerId="ADAL" clId="{5B430AB4-3B31-40FC-B7D2-06B73B197EDF}" dt="2025-10-16T08:02:33.397" v="564" actId="164"/>
          <ac:spMkLst>
            <pc:docMk/>
            <pc:sldMk cId="2603321057" sldId="258"/>
            <ac:spMk id="24" creationId="{E1B82092-47BD-9D9E-C02B-978513281301}"/>
          </ac:spMkLst>
        </pc:spChg>
        <pc:grpChg chg="mod">
          <ac:chgData name="Sezgen, Handenur" userId="693f6077-2094-4a4b-9c12-b1a0c4de2bbc" providerId="ADAL" clId="{5B430AB4-3B31-40FC-B7D2-06B73B197EDF}" dt="2025-10-16T08:00:10.721" v="489" actId="14100"/>
          <ac:grpSpMkLst>
            <pc:docMk/>
            <pc:sldMk cId="2603321057" sldId="258"/>
            <ac:grpSpMk id="9" creationId="{290531FB-A488-57D3-C1C1-F000663C0DE7}"/>
          </ac:grpSpMkLst>
        </pc:grpChg>
        <pc:grpChg chg="add del mod">
          <ac:chgData name="Sezgen, Handenur" userId="693f6077-2094-4a4b-9c12-b1a0c4de2bbc" providerId="ADAL" clId="{5B430AB4-3B31-40FC-B7D2-06B73B197EDF}" dt="2025-10-16T08:00:37.999" v="494" actId="165"/>
          <ac:grpSpMkLst>
            <pc:docMk/>
            <pc:sldMk cId="2603321057" sldId="258"/>
            <ac:grpSpMk id="11" creationId="{CBB1CD7E-B098-B4B4-EAE7-BEF225945B64}"/>
          </ac:grpSpMkLst>
        </pc:grpChg>
        <pc:grpChg chg="add mod ord">
          <ac:chgData name="Sezgen, Handenur" userId="693f6077-2094-4a4b-9c12-b1a0c4de2bbc" providerId="ADAL" clId="{5B430AB4-3B31-40FC-B7D2-06B73B197EDF}" dt="2025-10-16T08:01:57.017" v="542" actId="164"/>
          <ac:grpSpMkLst>
            <pc:docMk/>
            <pc:sldMk cId="2603321057" sldId="258"/>
            <ac:grpSpMk id="12" creationId="{569DE828-193E-6EDA-C4EE-C250B0D3D113}"/>
          </ac:grpSpMkLst>
        </pc:grpChg>
        <pc:grpChg chg="add mod">
          <ac:chgData name="Sezgen, Handenur" userId="693f6077-2094-4a4b-9c12-b1a0c4de2bbc" providerId="ADAL" clId="{5B430AB4-3B31-40FC-B7D2-06B73B197EDF}" dt="2025-10-16T08:02:33.397" v="564" actId="164"/>
          <ac:grpSpMkLst>
            <pc:docMk/>
            <pc:sldMk cId="2603321057" sldId="258"/>
            <ac:grpSpMk id="16" creationId="{3D2B7E1C-3E81-1F9E-BCBF-0E9C6BCAB751}"/>
          </ac:grpSpMkLst>
        </pc:grpChg>
        <pc:grpChg chg="add mod">
          <ac:chgData name="Sezgen, Handenur" userId="693f6077-2094-4a4b-9c12-b1a0c4de2bbc" providerId="ADAL" clId="{5B430AB4-3B31-40FC-B7D2-06B73B197EDF}" dt="2025-10-16T08:02:37.472" v="570" actId="1038"/>
          <ac:grpSpMkLst>
            <pc:docMk/>
            <pc:sldMk cId="2603321057" sldId="258"/>
            <ac:grpSpMk id="17" creationId="{63410DE8-BF5A-9F96-063C-94022480239D}"/>
          </ac:grpSpMkLst>
        </pc:grpChg>
        <pc:graphicFrameChg chg="mod topLvl">
          <ac:chgData name="Sezgen, Handenur" userId="693f6077-2094-4a4b-9c12-b1a0c4de2bbc" providerId="ADAL" clId="{5B430AB4-3B31-40FC-B7D2-06B73B197EDF}" dt="2025-10-16T08:01:06.769" v="501" actId="164"/>
          <ac:graphicFrameMkLst>
            <pc:docMk/>
            <pc:sldMk cId="2603321057" sldId="258"/>
            <ac:graphicFrameMk id="7" creationId="{DF80B571-BEE6-308C-5FDD-9E4010D218F9}"/>
          </ac:graphicFrameMkLst>
        </pc:graphicFrameChg>
        <pc:graphicFrameChg chg="mod topLvl">
          <ac:chgData name="Sezgen, Handenur" userId="693f6077-2094-4a4b-9c12-b1a0c4de2bbc" providerId="ADAL" clId="{5B430AB4-3B31-40FC-B7D2-06B73B197EDF}" dt="2025-10-16T08:01:06.769" v="501" actId="164"/>
          <ac:graphicFrameMkLst>
            <pc:docMk/>
            <pc:sldMk cId="2603321057" sldId="258"/>
            <ac:graphicFrameMk id="13" creationId="{0EDB8EE4-B895-AED7-9E77-FC72B91B435B}"/>
          </ac:graphicFrameMkLst>
        </pc:graphicFrameChg>
        <pc:graphicFrameChg chg="mod topLvl">
          <ac:chgData name="Sezgen, Handenur" userId="693f6077-2094-4a4b-9c12-b1a0c4de2bbc" providerId="ADAL" clId="{5B430AB4-3B31-40FC-B7D2-06B73B197EDF}" dt="2025-10-16T08:01:06.769" v="501" actId="164"/>
          <ac:graphicFrameMkLst>
            <pc:docMk/>
            <pc:sldMk cId="2603321057" sldId="258"/>
            <ac:graphicFrameMk id="14" creationId="{3D35D32D-FB56-1F9F-8450-BB20EC6DC17F}"/>
          </ac:graphicFrameMkLst>
        </pc:graphicFrameChg>
        <pc:picChg chg="add mod">
          <ac:chgData name="Sezgen, Handenur" userId="693f6077-2094-4a4b-9c12-b1a0c4de2bbc" providerId="ADAL" clId="{5B430AB4-3B31-40FC-B7D2-06B73B197EDF}" dt="2025-10-16T10:11:27.764" v="3635"/>
          <ac:picMkLst>
            <pc:docMk/>
            <pc:sldMk cId="2603321057" sldId="258"/>
            <ac:picMk id="21" creationId="{4B6E1B0A-E98E-2D04-DA97-BF836D71D144}"/>
          </ac:picMkLst>
        </pc:picChg>
      </pc:sldChg>
      <pc:sldChg chg="addSp modSp">
        <pc:chgData name="Sezgen, Handenur" userId="693f6077-2094-4a4b-9c12-b1a0c4de2bbc" providerId="ADAL" clId="{5B430AB4-3B31-40FC-B7D2-06B73B197EDF}" dt="2025-10-16T10:10:06.351" v="3569"/>
        <pc:sldMkLst>
          <pc:docMk/>
          <pc:sldMk cId="1435825858" sldId="259"/>
        </pc:sldMkLst>
        <pc:grpChg chg="add mod">
          <ac:chgData name="Sezgen, Handenur" userId="693f6077-2094-4a4b-9c12-b1a0c4de2bbc" providerId="ADAL" clId="{5B430AB4-3B31-40FC-B7D2-06B73B197EDF}" dt="2025-10-16T10:10:06.351" v="3569"/>
          <ac:grpSpMkLst>
            <pc:docMk/>
            <pc:sldMk cId="1435825858" sldId="259"/>
            <ac:grpSpMk id="54" creationId="{31D9B256-F660-8E7B-BE7C-BC5545C40D9B}"/>
          </ac:grpSpMkLst>
        </pc:grpChg>
        <pc:picChg chg="mod">
          <ac:chgData name="Sezgen, Handenur" userId="693f6077-2094-4a4b-9c12-b1a0c4de2bbc" providerId="ADAL" clId="{5B430AB4-3B31-40FC-B7D2-06B73B197EDF}" dt="2025-10-16T10:10:06.351" v="3569"/>
          <ac:picMkLst>
            <pc:docMk/>
            <pc:sldMk cId="1435825858" sldId="259"/>
            <ac:picMk id="55" creationId="{9570D947-5546-9D43-A0EA-E1214E2A5429}"/>
          </ac:picMkLst>
        </pc:picChg>
        <pc:picChg chg="mod">
          <ac:chgData name="Sezgen, Handenur" userId="693f6077-2094-4a4b-9c12-b1a0c4de2bbc" providerId="ADAL" clId="{5B430AB4-3B31-40FC-B7D2-06B73B197EDF}" dt="2025-10-16T10:10:06.351" v="3569"/>
          <ac:picMkLst>
            <pc:docMk/>
            <pc:sldMk cId="1435825858" sldId="259"/>
            <ac:picMk id="58" creationId="{A17FF0FF-CB5D-B473-378D-0797BF23AEE5}"/>
          </ac:picMkLst>
        </pc:picChg>
      </pc:sldChg>
      <pc:sldChg chg="addSp delSp modSp mod modClrScheme chgLayout">
        <pc:chgData name="Sezgen, Handenur" userId="693f6077-2094-4a4b-9c12-b1a0c4de2bbc" providerId="ADAL" clId="{5B430AB4-3B31-40FC-B7D2-06B73B197EDF}" dt="2025-10-16T10:11:31.027" v="3638"/>
        <pc:sldMkLst>
          <pc:docMk/>
          <pc:sldMk cId="3341391499" sldId="260"/>
        </pc:sldMkLst>
        <pc:spChg chg="mod ord">
          <ac:chgData name="Sezgen, Handenur" userId="693f6077-2094-4a4b-9c12-b1a0c4de2bbc" providerId="ADAL" clId="{5B430AB4-3B31-40FC-B7D2-06B73B197EDF}" dt="2025-10-16T08:04:42.935" v="604" actId="1076"/>
          <ac:spMkLst>
            <pc:docMk/>
            <pc:sldMk cId="3341391499" sldId="260"/>
            <ac:spMk id="2" creationId="{E860F480-99F6-20F4-93B1-CF34209A2BB8}"/>
          </ac:spMkLst>
        </pc:spChg>
        <pc:spChg chg="add del mod">
          <ac:chgData name="Sezgen, Handenur" userId="693f6077-2094-4a4b-9c12-b1a0c4de2bbc" providerId="ADAL" clId="{5B430AB4-3B31-40FC-B7D2-06B73B197EDF}" dt="2025-10-16T08:03:46.362" v="596" actId="6264"/>
          <ac:spMkLst>
            <pc:docMk/>
            <pc:sldMk cId="3341391499" sldId="260"/>
            <ac:spMk id="3" creationId="{C576D14E-3376-0883-23C3-17D452A8BD29}"/>
          </ac:spMkLst>
        </pc:spChg>
        <pc:spChg chg="add del mod">
          <ac:chgData name="Sezgen, Handenur" userId="693f6077-2094-4a4b-9c12-b1a0c4de2bbc" providerId="ADAL" clId="{5B430AB4-3B31-40FC-B7D2-06B73B197EDF}" dt="2025-10-16T08:03:46.362" v="596" actId="6264"/>
          <ac:spMkLst>
            <pc:docMk/>
            <pc:sldMk cId="3341391499" sldId="260"/>
            <ac:spMk id="4" creationId="{34C80EA3-9231-10BD-B9CA-E481AF415F56}"/>
          </ac:spMkLst>
        </pc:spChg>
        <pc:spChg chg="mod">
          <ac:chgData name="Sezgen, Handenur" userId="693f6077-2094-4a4b-9c12-b1a0c4de2bbc" providerId="ADAL" clId="{5B430AB4-3B31-40FC-B7D2-06B73B197EDF}" dt="2025-10-16T08:03:54.684" v="600" actId="14100"/>
          <ac:spMkLst>
            <pc:docMk/>
            <pc:sldMk cId="3341391499" sldId="260"/>
            <ac:spMk id="6" creationId="{DB7F6660-1424-3F97-B63E-EA89B28FB95F}"/>
          </ac:spMkLst>
        </pc:spChg>
        <pc:spChg chg="mod ord">
          <ac:chgData name="Sezgen, Handenur" userId="693f6077-2094-4a4b-9c12-b1a0c4de2bbc" providerId="ADAL" clId="{5B430AB4-3B31-40FC-B7D2-06B73B197EDF}" dt="2025-10-16T08:03:46.362" v="596" actId="6264"/>
          <ac:spMkLst>
            <pc:docMk/>
            <pc:sldMk cId="3341391499" sldId="260"/>
            <ac:spMk id="7" creationId="{6403F0E1-C8B8-5E04-959A-30632069E5CB}"/>
          </ac:spMkLst>
        </pc:spChg>
        <pc:spChg chg="mod ord">
          <ac:chgData name="Sezgen, Handenur" userId="693f6077-2094-4a4b-9c12-b1a0c4de2bbc" providerId="ADAL" clId="{5B430AB4-3B31-40FC-B7D2-06B73B197EDF}" dt="2025-10-16T08:03:46.362" v="596" actId="6264"/>
          <ac:spMkLst>
            <pc:docMk/>
            <pc:sldMk cId="3341391499" sldId="260"/>
            <ac:spMk id="8" creationId="{6A448177-CB86-29AA-826A-3C31453B4198}"/>
          </ac:spMkLst>
        </pc:spChg>
        <pc:spChg chg="mod">
          <ac:chgData name="Sezgen, Handenur" userId="693f6077-2094-4a4b-9c12-b1a0c4de2bbc" providerId="ADAL" clId="{5B430AB4-3B31-40FC-B7D2-06B73B197EDF}" dt="2025-10-16T08:04:59.033" v="618" actId="1076"/>
          <ac:spMkLst>
            <pc:docMk/>
            <pc:sldMk cId="3341391499" sldId="260"/>
            <ac:spMk id="21" creationId="{5A195A85-BB9A-DB36-3D2E-60585D653EF8}"/>
          </ac:spMkLst>
        </pc:spChg>
        <pc:spChg chg="mod">
          <ac:chgData name="Sezgen, Handenur" userId="693f6077-2094-4a4b-9c12-b1a0c4de2bbc" providerId="ADAL" clId="{5B430AB4-3B31-40FC-B7D2-06B73B197EDF}" dt="2025-10-16T08:05:00.821" v="619" actId="1076"/>
          <ac:spMkLst>
            <pc:docMk/>
            <pc:sldMk cId="3341391499" sldId="260"/>
            <ac:spMk id="22" creationId="{94B8EC97-307C-41BE-E4E8-A720B8D5021E}"/>
          </ac:spMkLst>
        </pc:spChg>
        <pc:graphicFrameChg chg="mod">
          <ac:chgData name="Sezgen, Handenur" userId="693f6077-2094-4a4b-9c12-b1a0c4de2bbc" providerId="ADAL" clId="{5B430AB4-3B31-40FC-B7D2-06B73B197EDF}" dt="2025-10-16T08:04:53.746" v="617" actId="1035"/>
          <ac:graphicFrameMkLst>
            <pc:docMk/>
            <pc:sldMk cId="3341391499" sldId="260"/>
            <ac:graphicFrameMk id="5" creationId="{9149C1F9-A950-5AA0-C797-5ED77A04D6E7}"/>
          </ac:graphicFrameMkLst>
        </pc:graphicFrameChg>
        <pc:graphicFrameChg chg="mod">
          <ac:chgData name="Sezgen, Handenur" userId="693f6077-2094-4a4b-9c12-b1a0c4de2bbc" providerId="ADAL" clId="{5B430AB4-3B31-40FC-B7D2-06B73B197EDF}" dt="2025-10-16T08:04:53.746" v="617" actId="1035"/>
          <ac:graphicFrameMkLst>
            <pc:docMk/>
            <pc:sldMk cId="3341391499" sldId="260"/>
            <ac:graphicFrameMk id="9" creationId="{724A50A3-08F1-D9E2-35B4-9185DA38F1BC}"/>
          </ac:graphicFrameMkLst>
        </pc:graphicFrameChg>
        <pc:picChg chg="add mod">
          <ac:chgData name="Sezgen, Handenur" userId="693f6077-2094-4a4b-9c12-b1a0c4de2bbc" providerId="ADAL" clId="{5B430AB4-3B31-40FC-B7D2-06B73B197EDF}" dt="2025-10-16T10:11:31.027" v="3638"/>
          <ac:picMkLst>
            <pc:docMk/>
            <pc:sldMk cId="3341391499" sldId="260"/>
            <ac:picMk id="10" creationId="{252651CF-CFF6-C4DA-C67E-D2A6974D0F69}"/>
          </ac:picMkLst>
        </pc:picChg>
      </pc:sldChg>
      <pc:sldChg chg="addSp delSp modSp mod modClrScheme chgLayout">
        <pc:chgData name="Sezgen, Handenur" userId="693f6077-2094-4a4b-9c12-b1a0c4de2bbc" providerId="ADAL" clId="{5B430AB4-3B31-40FC-B7D2-06B73B197EDF}" dt="2025-10-16T10:12:33.932" v="3643"/>
        <pc:sldMkLst>
          <pc:docMk/>
          <pc:sldMk cId="3271086873" sldId="261"/>
        </pc:sldMkLst>
        <pc:spChg chg="mod ord">
          <ac:chgData name="Sezgen, Handenur" userId="693f6077-2094-4a4b-9c12-b1a0c4de2bbc" providerId="ADAL" clId="{5B430AB4-3B31-40FC-B7D2-06B73B197EDF}" dt="2025-10-16T08:13:17.158" v="838" actId="947"/>
          <ac:spMkLst>
            <pc:docMk/>
            <pc:sldMk cId="3271086873" sldId="261"/>
            <ac:spMk id="2" creationId="{5237EBBD-0633-F7CA-F9C6-E28EC01B3D56}"/>
          </ac:spMkLst>
        </pc:spChg>
        <pc:spChg chg="add del mod">
          <ac:chgData name="Sezgen, Handenur" userId="693f6077-2094-4a4b-9c12-b1a0c4de2bbc" providerId="ADAL" clId="{5B430AB4-3B31-40FC-B7D2-06B73B197EDF}" dt="2025-10-16T08:12:16.811" v="815" actId="6264"/>
          <ac:spMkLst>
            <pc:docMk/>
            <pc:sldMk cId="3271086873" sldId="261"/>
            <ac:spMk id="4" creationId="{ED0AE69A-6312-F019-1899-C32230D9976D}"/>
          </ac:spMkLst>
        </pc:spChg>
        <pc:spChg chg="mod">
          <ac:chgData name="Sezgen, Handenur" userId="693f6077-2094-4a4b-9c12-b1a0c4de2bbc" providerId="ADAL" clId="{5B430AB4-3B31-40FC-B7D2-06B73B197EDF}" dt="2025-10-16T08:12:20.630" v="816" actId="120"/>
          <ac:spMkLst>
            <pc:docMk/>
            <pc:sldMk cId="3271086873" sldId="261"/>
            <ac:spMk id="6" creationId="{01912E33-23BE-CA1E-3B77-E49FD3E4B6A2}"/>
          </ac:spMkLst>
        </pc:spChg>
        <pc:spChg chg="del mod">
          <ac:chgData name="Sezgen, Handenur" userId="693f6077-2094-4a4b-9c12-b1a0c4de2bbc" providerId="ADAL" clId="{5B430AB4-3B31-40FC-B7D2-06B73B197EDF}" dt="2025-10-16T08:12:46.720" v="830"/>
          <ac:spMkLst>
            <pc:docMk/>
            <pc:sldMk cId="3271086873" sldId="261"/>
            <ac:spMk id="7" creationId="{00000000-0000-0000-0000-000000000000}"/>
          </ac:spMkLst>
        </pc:spChg>
        <pc:spChg chg="del">
          <ac:chgData name="Sezgen, Handenur" userId="693f6077-2094-4a4b-9c12-b1a0c4de2bbc" providerId="ADAL" clId="{5B430AB4-3B31-40FC-B7D2-06B73B197EDF}" dt="2025-10-16T08:12:53.204" v="833" actId="478"/>
          <ac:spMkLst>
            <pc:docMk/>
            <pc:sldMk cId="3271086873" sldId="261"/>
            <ac:spMk id="8" creationId="{F6C7F30E-07A0-DDCA-5F8A-9975C6EC1204}"/>
          </ac:spMkLst>
        </pc:spChg>
        <pc:spChg chg="mod ord">
          <ac:chgData name="Sezgen, Handenur" userId="693f6077-2094-4a4b-9c12-b1a0c4de2bbc" providerId="ADAL" clId="{5B430AB4-3B31-40FC-B7D2-06B73B197EDF}" dt="2025-10-16T08:12:59.264" v="835" actId="255"/>
          <ac:spMkLst>
            <pc:docMk/>
            <pc:sldMk cId="3271086873" sldId="261"/>
            <ac:spMk id="9" creationId="{00000000-0000-0000-0000-000000000000}"/>
          </ac:spMkLst>
        </pc:spChg>
        <pc:picChg chg="mod ord">
          <ac:chgData name="Sezgen, Handenur" userId="693f6077-2094-4a4b-9c12-b1a0c4de2bbc" providerId="ADAL" clId="{5B430AB4-3B31-40FC-B7D2-06B73B197EDF}" dt="2025-10-16T08:13:04.251" v="837" actId="1076"/>
          <ac:picMkLst>
            <pc:docMk/>
            <pc:sldMk cId="3271086873" sldId="261"/>
            <ac:picMk id="5" creationId="{ADD7E152-297C-16AF-4C39-31311813A0D4}"/>
          </ac:picMkLst>
        </pc:picChg>
        <pc:picChg chg="add mod">
          <ac:chgData name="Sezgen, Handenur" userId="693f6077-2094-4a4b-9c12-b1a0c4de2bbc" providerId="ADAL" clId="{5B430AB4-3B31-40FC-B7D2-06B73B197EDF}" dt="2025-10-16T10:12:33.932" v="3643"/>
          <ac:picMkLst>
            <pc:docMk/>
            <pc:sldMk cId="3271086873" sldId="261"/>
            <ac:picMk id="10" creationId="{C5385DB8-DAD6-44C1-7BCA-37EC3B5E8103}"/>
          </ac:picMkLst>
        </pc:picChg>
      </pc:sldChg>
      <pc:sldChg chg="addSp delSp modSp mod modClrScheme chgLayout">
        <pc:chgData name="Sezgen, Handenur" userId="693f6077-2094-4a4b-9c12-b1a0c4de2bbc" providerId="ADAL" clId="{5B430AB4-3B31-40FC-B7D2-06B73B197EDF}" dt="2025-10-16T10:12:38.234" v="3648"/>
        <pc:sldMkLst>
          <pc:docMk/>
          <pc:sldMk cId="976122645" sldId="262"/>
        </pc:sldMkLst>
        <pc:spChg chg="mod ord">
          <ac:chgData name="Sezgen, Handenur" userId="693f6077-2094-4a4b-9c12-b1a0c4de2bbc" providerId="ADAL" clId="{5B430AB4-3B31-40FC-B7D2-06B73B197EDF}" dt="2025-10-16T08:20:25.417" v="910" actId="947"/>
          <ac:spMkLst>
            <pc:docMk/>
            <pc:sldMk cId="976122645" sldId="262"/>
            <ac:spMk id="2" creationId="{1FD35B4B-FD62-58C4-C49A-5B1DB80299D6}"/>
          </ac:spMkLst>
        </pc:spChg>
        <pc:spChg chg="mod ord">
          <ac:chgData name="Sezgen, Handenur" userId="693f6077-2094-4a4b-9c12-b1a0c4de2bbc" providerId="ADAL" clId="{5B430AB4-3B31-40FC-B7D2-06B73B197EDF}" dt="2025-10-16T08:19:00.766" v="909" actId="1076"/>
          <ac:spMkLst>
            <pc:docMk/>
            <pc:sldMk cId="976122645" sldId="262"/>
            <ac:spMk id="4" creationId="{CAFA2B26-AF65-1885-07D0-BD26599EDDB6}"/>
          </ac:spMkLst>
        </pc:spChg>
        <pc:spChg chg="add del mod">
          <ac:chgData name="Sezgen, Handenur" userId="693f6077-2094-4a4b-9c12-b1a0c4de2bbc" providerId="ADAL" clId="{5B430AB4-3B31-40FC-B7D2-06B73B197EDF}" dt="2025-10-16T08:18:39.270" v="900" actId="6264"/>
          <ac:spMkLst>
            <pc:docMk/>
            <pc:sldMk cId="976122645" sldId="262"/>
            <ac:spMk id="7" creationId="{3F101B63-5384-F2BF-0189-D1E92B068822}"/>
          </ac:spMkLst>
        </pc:spChg>
        <pc:spChg chg="add del mod">
          <ac:chgData name="Sezgen, Handenur" userId="693f6077-2094-4a4b-9c12-b1a0c4de2bbc" providerId="ADAL" clId="{5B430AB4-3B31-40FC-B7D2-06B73B197EDF}" dt="2025-10-16T08:18:39.270" v="900" actId="6264"/>
          <ac:spMkLst>
            <pc:docMk/>
            <pc:sldMk cId="976122645" sldId="262"/>
            <ac:spMk id="8" creationId="{F1138342-9D2A-EFBB-05AF-40E2B916D905}"/>
          </ac:spMkLst>
        </pc:spChg>
        <pc:picChg chg="add mod">
          <ac:chgData name="Sezgen, Handenur" userId="693f6077-2094-4a4b-9c12-b1a0c4de2bbc" providerId="ADAL" clId="{5B430AB4-3B31-40FC-B7D2-06B73B197EDF}" dt="2025-10-16T10:12:38.234" v="3648"/>
          <ac:picMkLst>
            <pc:docMk/>
            <pc:sldMk cId="976122645" sldId="262"/>
            <ac:picMk id="10" creationId="{F25F9776-1E8F-7AC7-F67F-EE8F8D0E865E}"/>
          </ac:picMkLst>
        </pc:picChg>
      </pc:sldChg>
      <pc:sldChg chg="addSp modSp">
        <pc:chgData name="Sezgen, Handenur" userId="693f6077-2094-4a4b-9c12-b1a0c4de2bbc" providerId="ADAL" clId="{5B430AB4-3B31-40FC-B7D2-06B73B197EDF}" dt="2025-10-16T10:10:04.881" v="3568"/>
        <pc:sldMkLst>
          <pc:docMk/>
          <pc:sldMk cId="3183850899" sldId="263"/>
        </pc:sldMkLst>
        <pc:grpChg chg="add mod">
          <ac:chgData name="Sezgen, Handenur" userId="693f6077-2094-4a4b-9c12-b1a0c4de2bbc" providerId="ADAL" clId="{5B430AB4-3B31-40FC-B7D2-06B73B197EDF}" dt="2025-10-16T10:10:04.881" v="3568"/>
          <ac:grpSpMkLst>
            <pc:docMk/>
            <pc:sldMk cId="3183850899" sldId="263"/>
            <ac:grpSpMk id="19" creationId="{4704BDA8-5905-6AD4-A086-E6EC9C330845}"/>
          </ac:grpSpMkLst>
        </pc:grpChg>
        <pc:picChg chg="mod">
          <ac:chgData name="Sezgen, Handenur" userId="693f6077-2094-4a4b-9c12-b1a0c4de2bbc" providerId="ADAL" clId="{5B430AB4-3B31-40FC-B7D2-06B73B197EDF}" dt="2025-10-16T10:10:04.881" v="3568"/>
          <ac:picMkLst>
            <pc:docMk/>
            <pc:sldMk cId="3183850899" sldId="263"/>
            <ac:picMk id="20" creationId="{D43439A2-5F90-C4FF-2C9F-6E309F9B8FDF}"/>
          </ac:picMkLst>
        </pc:picChg>
        <pc:picChg chg="mod">
          <ac:chgData name="Sezgen, Handenur" userId="693f6077-2094-4a4b-9c12-b1a0c4de2bbc" providerId="ADAL" clId="{5B430AB4-3B31-40FC-B7D2-06B73B197EDF}" dt="2025-10-16T10:10:04.881" v="3568"/>
          <ac:picMkLst>
            <pc:docMk/>
            <pc:sldMk cId="3183850899" sldId="263"/>
            <ac:picMk id="22" creationId="{1677FFB7-1070-3D8A-99B1-ED1DD9920CF0}"/>
          </ac:picMkLst>
        </pc:picChg>
      </pc:sldChg>
      <pc:sldChg chg="addSp delSp modSp mod modClrScheme chgLayout">
        <pc:chgData name="Sezgen, Handenur" userId="693f6077-2094-4a4b-9c12-b1a0c4de2bbc" providerId="ADAL" clId="{5B430AB4-3B31-40FC-B7D2-06B73B197EDF}" dt="2025-10-16T10:12:36.363" v="3646"/>
        <pc:sldMkLst>
          <pc:docMk/>
          <pc:sldMk cId="1742754464" sldId="264"/>
        </pc:sldMkLst>
        <pc:spChg chg="mod ord">
          <ac:chgData name="Sezgen, Handenur" userId="693f6077-2094-4a4b-9c12-b1a0c4de2bbc" providerId="ADAL" clId="{5B430AB4-3B31-40FC-B7D2-06B73B197EDF}" dt="2025-10-16T08:15:08.009" v="852" actId="700"/>
          <ac:spMkLst>
            <pc:docMk/>
            <pc:sldMk cId="1742754464" sldId="264"/>
            <ac:spMk id="2" creationId="{A1D04631-5790-68AE-26FF-17728D7016BF}"/>
          </ac:spMkLst>
        </pc:spChg>
        <pc:spChg chg="mod ord">
          <ac:chgData name="Sezgen, Handenur" userId="693f6077-2094-4a4b-9c12-b1a0c4de2bbc" providerId="ADAL" clId="{5B430AB4-3B31-40FC-B7D2-06B73B197EDF}" dt="2025-10-16T08:15:08.009" v="852" actId="700"/>
          <ac:spMkLst>
            <pc:docMk/>
            <pc:sldMk cId="1742754464" sldId="264"/>
            <ac:spMk id="3" creationId="{90182D71-96AF-C7C8-2ABF-7CB9CC066AF3}"/>
          </ac:spMkLst>
        </pc:spChg>
        <pc:spChg chg="mod">
          <ac:chgData name="Sezgen, Handenur" userId="693f6077-2094-4a4b-9c12-b1a0c4de2bbc" providerId="ADAL" clId="{5B430AB4-3B31-40FC-B7D2-06B73B197EDF}" dt="2025-10-16T08:15:46.945" v="870" actId="207"/>
          <ac:spMkLst>
            <pc:docMk/>
            <pc:sldMk cId="1742754464" sldId="264"/>
            <ac:spMk id="6" creationId="{AC6F83D7-3E8C-4CE4-FD6E-5ECC253EEC84}"/>
          </ac:spMkLst>
        </pc:spChg>
        <pc:spChg chg="mod">
          <ac:chgData name="Sezgen, Handenur" userId="693f6077-2094-4a4b-9c12-b1a0c4de2bbc" providerId="ADAL" clId="{5B430AB4-3B31-40FC-B7D2-06B73B197EDF}" dt="2025-10-16T08:15:14.808" v="855" actId="404"/>
          <ac:spMkLst>
            <pc:docMk/>
            <pc:sldMk cId="1742754464" sldId="264"/>
            <ac:spMk id="14" creationId="{164BCAE3-BAAE-45D2-1A05-EABA772743E2}"/>
          </ac:spMkLst>
        </pc:spChg>
        <pc:spChg chg="del">
          <ac:chgData name="Sezgen, Handenur" userId="693f6077-2094-4a4b-9c12-b1a0c4de2bbc" providerId="ADAL" clId="{5B430AB4-3B31-40FC-B7D2-06B73B197EDF}" dt="2025-10-16T08:15:35.711" v="867" actId="478"/>
          <ac:spMkLst>
            <pc:docMk/>
            <pc:sldMk cId="1742754464" sldId="264"/>
            <ac:spMk id="15" creationId="{1F2F68E5-28E6-1B6C-8100-EFBDC1024452}"/>
          </ac:spMkLst>
        </pc:spChg>
        <pc:spChg chg="mod">
          <ac:chgData name="Sezgen, Handenur" userId="693f6077-2094-4a4b-9c12-b1a0c4de2bbc" providerId="ADAL" clId="{5B430AB4-3B31-40FC-B7D2-06B73B197EDF}" dt="2025-10-16T08:15:39.280" v="868" actId="1076"/>
          <ac:spMkLst>
            <pc:docMk/>
            <pc:sldMk cId="1742754464" sldId="264"/>
            <ac:spMk id="16" creationId="{1236B12B-572C-502A-A452-092FEC87FAEE}"/>
          </ac:spMkLst>
        </pc:spChg>
        <pc:spChg chg="mod">
          <ac:chgData name="Sezgen, Handenur" userId="693f6077-2094-4a4b-9c12-b1a0c4de2bbc" providerId="ADAL" clId="{5B430AB4-3B31-40FC-B7D2-06B73B197EDF}" dt="2025-10-16T08:15:27.049" v="864" actId="1076"/>
          <ac:spMkLst>
            <pc:docMk/>
            <pc:sldMk cId="1742754464" sldId="264"/>
            <ac:spMk id="18" creationId="{9094F65D-6235-A896-D7CD-7E6B96D1BB58}"/>
          </ac:spMkLst>
        </pc:spChg>
        <pc:picChg chg="add mod">
          <ac:chgData name="Sezgen, Handenur" userId="693f6077-2094-4a4b-9c12-b1a0c4de2bbc" providerId="ADAL" clId="{5B430AB4-3B31-40FC-B7D2-06B73B197EDF}" dt="2025-10-16T10:12:36.363" v="3646"/>
          <ac:picMkLst>
            <pc:docMk/>
            <pc:sldMk cId="1742754464" sldId="264"/>
            <ac:picMk id="4" creationId="{C5BE394B-6DDB-BE1D-DE24-4F223B2A1919}"/>
          </ac:picMkLst>
        </pc:picChg>
      </pc:sldChg>
      <pc:sldChg chg="addSp delSp modSp mod modClrScheme chgLayout">
        <pc:chgData name="Sezgen, Handenur" userId="693f6077-2094-4a4b-9c12-b1a0c4de2bbc" providerId="ADAL" clId="{5B430AB4-3B31-40FC-B7D2-06B73B197EDF}" dt="2025-10-16T10:12:39.182" v="3649"/>
        <pc:sldMkLst>
          <pc:docMk/>
          <pc:sldMk cId="974344818" sldId="265"/>
        </pc:sldMkLst>
        <pc:spChg chg="mod ord">
          <ac:chgData name="Sezgen, Handenur" userId="693f6077-2094-4a4b-9c12-b1a0c4de2bbc" providerId="ADAL" clId="{5B430AB4-3B31-40FC-B7D2-06B73B197EDF}" dt="2025-10-16T08:20:32.428" v="912" actId="6264"/>
          <ac:spMkLst>
            <pc:docMk/>
            <pc:sldMk cId="974344818" sldId="265"/>
            <ac:spMk id="3" creationId="{1B3730D0-4E08-B2EF-A567-62562679E0F7}"/>
          </ac:spMkLst>
        </pc:spChg>
        <pc:spChg chg="add del mod ord">
          <ac:chgData name="Sezgen, Handenur" userId="693f6077-2094-4a4b-9c12-b1a0c4de2bbc" providerId="ADAL" clId="{5B430AB4-3B31-40FC-B7D2-06B73B197EDF}" dt="2025-10-16T08:20:32.428" v="912" actId="6264"/>
          <ac:spMkLst>
            <pc:docMk/>
            <pc:sldMk cId="974344818" sldId="265"/>
            <ac:spMk id="4" creationId="{1A94AADC-924E-A542-65C7-5DEC362B0986}"/>
          </ac:spMkLst>
        </pc:spChg>
        <pc:spChg chg="mod">
          <ac:chgData name="Sezgen, Handenur" userId="693f6077-2094-4a4b-9c12-b1a0c4de2bbc" providerId="ADAL" clId="{5B430AB4-3B31-40FC-B7D2-06B73B197EDF}" dt="2025-10-16T08:20:50.035" v="922" actId="1076"/>
          <ac:spMkLst>
            <pc:docMk/>
            <pc:sldMk cId="974344818" sldId="265"/>
            <ac:spMk id="5" creationId="{2B6ED795-3DDF-B1A7-2268-E6D16D11FF38}"/>
          </ac:spMkLst>
        </pc:spChg>
        <pc:spChg chg="mod">
          <ac:chgData name="Sezgen, Handenur" userId="693f6077-2094-4a4b-9c12-b1a0c4de2bbc" providerId="ADAL" clId="{5B430AB4-3B31-40FC-B7D2-06B73B197EDF}" dt="2025-10-16T08:20:34.111" v="913" actId="21"/>
          <ac:spMkLst>
            <pc:docMk/>
            <pc:sldMk cId="974344818" sldId="265"/>
            <ac:spMk id="6" creationId="{10544EA8-6754-CDA7-1F15-E3405B4CE51A}"/>
          </ac:spMkLst>
        </pc:spChg>
        <pc:spChg chg="mod">
          <ac:chgData name="Sezgen, Handenur" userId="693f6077-2094-4a4b-9c12-b1a0c4de2bbc" providerId="ADAL" clId="{5B430AB4-3B31-40FC-B7D2-06B73B197EDF}" dt="2025-10-16T08:20:43.901" v="919" actId="1076"/>
          <ac:spMkLst>
            <pc:docMk/>
            <pc:sldMk cId="974344818" sldId="265"/>
            <ac:spMk id="10" creationId="{8CCBCA0F-9E1B-E9AA-4033-6D328F521F29}"/>
          </ac:spMkLst>
        </pc:spChg>
        <pc:spChg chg="add del mod">
          <ac:chgData name="Sezgen, Handenur" userId="693f6077-2094-4a4b-9c12-b1a0c4de2bbc" providerId="ADAL" clId="{5B430AB4-3B31-40FC-B7D2-06B73B197EDF}" dt="2025-10-16T08:20:32.428" v="912" actId="6264"/>
          <ac:spMkLst>
            <pc:docMk/>
            <pc:sldMk cId="974344818" sldId="265"/>
            <ac:spMk id="11" creationId="{590B1F7E-7A01-D808-9F01-15A564A76CF1}"/>
          </ac:spMkLst>
        </pc:spChg>
        <pc:spChg chg="add mod ord">
          <ac:chgData name="Sezgen, Handenur" userId="693f6077-2094-4a4b-9c12-b1a0c4de2bbc" providerId="ADAL" clId="{5B430AB4-3B31-40FC-B7D2-06B73B197EDF}" dt="2025-10-16T08:20:38.451" v="918" actId="20577"/>
          <ac:spMkLst>
            <pc:docMk/>
            <pc:sldMk cId="974344818" sldId="265"/>
            <ac:spMk id="12" creationId="{8F3702EC-7AFA-EF5E-5BEE-7B79260FD4C2}"/>
          </ac:spMkLst>
        </pc:spChg>
        <pc:picChg chg="add mod">
          <ac:chgData name="Sezgen, Handenur" userId="693f6077-2094-4a4b-9c12-b1a0c4de2bbc" providerId="ADAL" clId="{5B430AB4-3B31-40FC-B7D2-06B73B197EDF}" dt="2025-10-16T10:12:39.182" v="3649"/>
          <ac:picMkLst>
            <pc:docMk/>
            <pc:sldMk cId="974344818" sldId="265"/>
            <ac:picMk id="13" creationId="{DF887CAB-5EB6-D77F-4DD4-DDAC7C2CC59B}"/>
          </ac:picMkLst>
        </pc:picChg>
      </pc:sldChg>
      <pc:sldChg chg="addSp delSp modSp new mod">
        <pc:chgData name="Sezgen, Handenur" userId="693f6077-2094-4a4b-9c12-b1a0c4de2bbc" providerId="ADAL" clId="{5B430AB4-3B31-40FC-B7D2-06B73B197EDF}" dt="2025-10-16T10:09:54.996" v="3564" actId="1076"/>
        <pc:sldMkLst>
          <pc:docMk/>
          <pc:sldMk cId="2704519066" sldId="266"/>
        </pc:sldMkLst>
        <pc:spChg chg="mod">
          <ac:chgData name="Sezgen, Handenur" userId="693f6077-2094-4a4b-9c12-b1a0c4de2bbc" providerId="ADAL" clId="{5B430AB4-3B31-40FC-B7D2-06B73B197EDF}" dt="2025-10-16T08:25:57.477" v="1084" actId="242"/>
          <ac:spMkLst>
            <pc:docMk/>
            <pc:sldMk cId="2704519066" sldId="266"/>
            <ac:spMk id="2" creationId="{CBACBBC0-0118-6A08-1E51-86DDBAE80292}"/>
          </ac:spMkLst>
        </pc:spChg>
        <pc:spChg chg="mod">
          <ac:chgData name="Sezgen, Handenur" userId="693f6077-2094-4a4b-9c12-b1a0c4de2bbc" providerId="ADAL" clId="{5B430AB4-3B31-40FC-B7D2-06B73B197EDF}" dt="2025-10-16T08:26:14.496" v="1089" actId="20577"/>
          <ac:spMkLst>
            <pc:docMk/>
            <pc:sldMk cId="2704519066" sldId="266"/>
            <ac:spMk id="3" creationId="{D10EFFE9-123D-C449-FCA9-0C5A9D61F34B}"/>
          </ac:spMkLst>
        </pc:spChg>
        <pc:spChg chg="del">
          <ac:chgData name="Sezgen, Handenur" userId="693f6077-2094-4a4b-9c12-b1a0c4de2bbc" providerId="ADAL" clId="{5B430AB4-3B31-40FC-B7D2-06B73B197EDF}" dt="2025-10-16T10:09:51.318" v="3562" actId="478"/>
          <ac:spMkLst>
            <pc:docMk/>
            <pc:sldMk cId="2704519066" sldId="266"/>
            <ac:spMk id="4" creationId="{A3B3BDD6-DAEF-BF8F-4C01-939BFBB9CF54}"/>
          </ac:spMkLst>
        </pc:spChg>
        <pc:grpChg chg="add mod">
          <ac:chgData name="Sezgen, Handenur" userId="693f6077-2094-4a4b-9c12-b1a0c4de2bbc" providerId="ADAL" clId="{5B430AB4-3B31-40FC-B7D2-06B73B197EDF}" dt="2025-10-16T10:09:48.069" v="3561"/>
          <ac:grpSpMkLst>
            <pc:docMk/>
            <pc:sldMk cId="2704519066" sldId="266"/>
            <ac:grpSpMk id="5" creationId="{A63DED7E-2A41-B3B4-BB3C-1132E2D6AB00}"/>
          </ac:grpSpMkLst>
        </pc:grpChg>
        <pc:grpChg chg="add mod">
          <ac:chgData name="Sezgen, Handenur" userId="693f6077-2094-4a4b-9c12-b1a0c4de2bbc" providerId="ADAL" clId="{5B430AB4-3B31-40FC-B7D2-06B73B197EDF}" dt="2025-10-16T10:09:54.996" v="3564" actId="1076"/>
          <ac:grpSpMkLst>
            <pc:docMk/>
            <pc:sldMk cId="2704519066" sldId="266"/>
            <ac:grpSpMk id="8" creationId="{EEEC1A83-2D12-4408-C0B3-E48C2C503DD5}"/>
          </ac:grpSpMkLst>
        </pc:grpChg>
        <pc:picChg chg="mod">
          <ac:chgData name="Sezgen, Handenur" userId="693f6077-2094-4a4b-9c12-b1a0c4de2bbc" providerId="ADAL" clId="{5B430AB4-3B31-40FC-B7D2-06B73B197EDF}" dt="2025-10-16T10:09:48.069" v="3561"/>
          <ac:picMkLst>
            <pc:docMk/>
            <pc:sldMk cId="2704519066" sldId="266"/>
            <ac:picMk id="6" creationId="{B89E8ED5-3288-7C75-46D0-7D2781B89AA7}"/>
          </ac:picMkLst>
        </pc:picChg>
        <pc:picChg chg="mod">
          <ac:chgData name="Sezgen, Handenur" userId="693f6077-2094-4a4b-9c12-b1a0c4de2bbc" providerId="ADAL" clId="{5B430AB4-3B31-40FC-B7D2-06B73B197EDF}" dt="2025-10-16T10:09:48.069" v="3561"/>
          <ac:picMkLst>
            <pc:docMk/>
            <pc:sldMk cId="2704519066" sldId="266"/>
            <ac:picMk id="7" creationId="{D5705E78-AF9D-F212-EC9C-DCDC02E63F9E}"/>
          </ac:picMkLst>
        </pc:picChg>
        <pc:picChg chg="mod">
          <ac:chgData name="Sezgen, Handenur" userId="693f6077-2094-4a4b-9c12-b1a0c4de2bbc" providerId="ADAL" clId="{5B430AB4-3B31-40FC-B7D2-06B73B197EDF}" dt="2025-10-16T10:09:51.720" v="3563"/>
          <ac:picMkLst>
            <pc:docMk/>
            <pc:sldMk cId="2704519066" sldId="266"/>
            <ac:picMk id="9" creationId="{458B07ED-A973-77C5-E9B5-3AAA98D97C00}"/>
          </ac:picMkLst>
        </pc:picChg>
        <pc:picChg chg="mod">
          <ac:chgData name="Sezgen, Handenur" userId="693f6077-2094-4a4b-9c12-b1a0c4de2bbc" providerId="ADAL" clId="{5B430AB4-3B31-40FC-B7D2-06B73B197EDF}" dt="2025-10-16T10:09:51.720" v="3563"/>
          <ac:picMkLst>
            <pc:docMk/>
            <pc:sldMk cId="2704519066" sldId="266"/>
            <ac:picMk id="10" creationId="{552ABE33-4BD5-3E96-9929-B36A014FD36E}"/>
          </ac:picMkLst>
        </pc:picChg>
      </pc:sldChg>
      <pc:sldChg chg="add del">
        <pc:chgData name="Sezgen, Handenur" userId="693f6077-2094-4a4b-9c12-b1a0c4de2bbc" providerId="ADAL" clId="{5B430AB4-3B31-40FC-B7D2-06B73B197EDF}" dt="2025-10-16T08:25:39.981" v="1045" actId="47"/>
        <pc:sldMkLst>
          <pc:docMk/>
          <pc:sldMk cId="4170988424" sldId="266"/>
        </pc:sldMkLst>
      </pc:sldChg>
      <pc:sldChg chg="addSp delSp modSp add mod">
        <pc:chgData name="Sezgen, Handenur" userId="693f6077-2094-4a4b-9c12-b1a0c4de2bbc" providerId="ADAL" clId="{5B430AB4-3B31-40FC-B7D2-06B73B197EDF}" dt="2025-10-16T10:10:52.713" v="3609" actId="1038"/>
        <pc:sldMkLst>
          <pc:docMk/>
          <pc:sldMk cId="2890702012" sldId="267"/>
        </pc:sldMkLst>
        <pc:spChg chg="add mod">
          <ac:chgData name="Sezgen, Handenur" userId="693f6077-2094-4a4b-9c12-b1a0c4de2bbc" providerId="ADAL" clId="{5B430AB4-3B31-40FC-B7D2-06B73B197EDF}" dt="2025-10-16T08:29:40.264" v="1154" actId="1076"/>
          <ac:spMkLst>
            <pc:docMk/>
            <pc:sldMk cId="2890702012" sldId="267"/>
            <ac:spMk id="4" creationId="{65766BB1-4B52-E96A-A8CB-E8A13409FA82}"/>
          </ac:spMkLst>
        </pc:spChg>
        <pc:spChg chg="mod">
          <ac:chgData name="Sezgen, Handenur" userId="693f6077-2094-4a4b-9c12-b1a0c4de2bbc" providerId="ADAL" clId="{5B430AB4-3B31-40FC-B7D2-06B73B197EDF}" dt="2025-10-16T08:27:09.991" v="1099" actId="113"/>
          <ac:spMkLst>
            <pc:docMk/>
            <pc:sldMk cId="2890702012" sldId="267"/>
            <ac:spMk id="24" creationId="{8A263ED4-8E21-FFFC-A758-831E80FB1DE9}"/>
          </ac:spMkLst>
        </pc:spChg>
        <pc:spChg chg="mod">
          <ac:chgData name="Sezgen, Handenur" userId="693f6077-2094-4a4b-9c12-b1a0c4de2bbc" providerId="ADAL" clId="{5B430AB4-3B31-40FC-B7D2-06B73B197EDF}" dt="2025-10-16T08:29:39.398" v="1151" actId="20577"/>
          <ac:spMkLst>
            <pc:docMk/>
            <pc:sldMk cId="2890702012" sldId="267"/>
            <ac:spMk id="29" creationId="{4044B949-A38B-C0D6-15BF-1E4B9AAE4762}"/>
          </ac:spMkLst>
        </pc:spChg>
        <pc:spChg chg="mod">
          <ac:chgData name="Sezgen, Handenur" userId="693f6077-2094-4a4b-9c12-b1a0c4de2bbc" providerId="ADAL" clId="{5B430AB4-3B31-40FC-B7D2-06B73B197EDF}" dt="2025-10-16T08:26:53.361" v="1096" actId="1076"/>
          <ac:spMkLst>
            <pc:docMk/>
            <pc:sldMk cId="2890702012" sldId="267"/>
            <ac:spMk id="43" creationId="{CE1E7BBF-C45B-72AB-25D3-06116273F1DD}"/>
          </ac:spMkLst>
        </pc:spChg>
        <pc:grpChg chg="add mod">
          <ac:chgData name="Sezgen, Handenur" userId="693f6077-2094-4a4b-9c12-b1a0c4de2bbc" providerId="ADAL" clId="{5B430AB4-3B31-40FC-B7D2-06B73B197EDF}" dt="2025-10-16T10:10:10.878" v="3573"/>
          <ac:grpSpMkLst>
            <pc:docMk/>
            <pc:sldMk cId="2890702012" sldId="267"/>
            <ac:grpSpMk id="5" creationId="{D2C883F8-2615-F4AA-8123-07E779B5DC4C}"/>
          </ac:grpSpMkLst>
        </pc:grpChg>
        <pc:grpChg chg="mod">
          <ac:chgData name="Sezgen, Handenur" userId="693f6077-2094-4a4b-9c12-b1a0c4de2bbc" providerId="ADAL" clId="{5B430AB4-3B31-40FC-B7D2-06B73B197EDF}" dt="2025-10-16T08:29:39.997" v="1153" actId="1076"/>
          <ac:grpSpMkLst>
            <pc:docMk/>
            <pc:sldMk cId="2890702012" sldId="267"/>
            <ac:grpSpMk id="41" creationId="{FF28F2F4-5FC2-4ED5-A004-021373489B75}"/>
          </ac:grpSpMkLst>
        </pc:grpChg>
        <pc:picChg chg="mod">
          <ac:chgData name="Sezgen, Handenur" userId="693f6077-2094-4a4b-9c12-b1a0c4de2bbc" providerId="ADAL" clId="{5B430AB4-3B31-40FC-B7D2-06B73B197EDF}" dt="2025-10-16T10:10:10.878" v="3573"/>
          <ac:picMkLst>
            <pc:docMk/>
            <pc:sldMk cId="2890702012" sldId="267"/>
            <ac:picMk id="6" creationId="{A2B396F5-4CDB-2B10-7364-E78BF2619F88}"/>
          </ac:picMkLst>
        </pc:picChg>
        <pc:picChg chg="mod">
          <ac:chgData name="Sezgen, Handenur" userId="693f6077-2094-4a4b-9c12-b1a0c4de2bbc" providerId="ADAL" clId="{5B430AB4-3B31-40FC-B7D2-06B73B197EDF}" dt="2025-10-16T10:10:10.878" v="3573"/>
          <ac:picMkLst>
            <pc:docMk/>
            <pc:sldMk cId="2890702012" sldId="267"/>
            <ac:picMk id="7" creationId="{9B527FD8-3886-B6A2-1F5E-BCAEEC81F44D}"/>
          </ac:picMkLst>
        </pc:picChg>
        <pc:picChg chg="del">
          <ac:chgData name="Sezgen, Handenur" userId="693f6077-2094-4a4b-9c12-b1a0c4de2bbc" providerId="ADAL" clId="{5B430AB4-3B31-40FC-B7D2-06B73B197EDF}" dt="2025-10-16T10:10:49.506" v="3579" actId="478"/>
          <ac:picMkLst>
            <pc:docMk/>
            <pc:sldMk cId="2890702012" sldId="267"/>
            <ac:picMk id="20" creationId="{9DC7A566-2C6C-E646-8145-EAACE600B785}"/>
          </ac:picMkLst>
        </pc:picChg>
        <pc:picChg chg="mod">
          <ac:chgData name="Sezgen, Handenur" userId="693f6077-2094-4a4b-9c12-b1a0c4de2bbc" providerId="ADAL" clId="{5B430AB4-3B31-40FC-B7D2-06B73B197EDF}" dt="2025-10-16T10:10:52.713" v="3609" actId="1038"/>
          <ac:picMkLst>
            <pc:docMk/>
            <pc:sldMk cId="2890702012" sldId="267"/>
            <ac:picMk id="21" creationId="{B6B35180-FF63-AA91-868A-0B513883B630}"/>
          </ac:picMkLst>
        </pc:picChg>
      </pc:sldChg>
      <pc:sldChg chg="addSp delSp modSp mod modClrScheme chgLayout">
        <pc:chgData name="Sezgen, Handenur" userId="693f6077-2094-4a4b-9c12-b1a0c4de2bbc" providerId="ADAL" clId="{5B430AB4-3B31-40FC-B7D2-06B73B197EDF}" dt="2025-10-16T10:11:31.956" v="3639"/>
        <pc:sldMkLst>
          <pc:docMk/>
          <pc:sldMk cId="4046445736" sldId="268"/>
        </pc:sldMkLst>
        <pc:spChg chg="add del mod ord">
          <ac:chgData name="Sezgen, Handenur" userId="693f6077-2094-4a4b-9c12-b1a0c4de2bbc" providerId="ADAL" clId="{5B430AB4-3B31-40FC-B7D2-06B73B197EDF}" dt="2025-10-16T08:05:20.008" v="624" actId="700"/>
          <ac:spMkLst>
            <pc:docMk/>
            <pc:sldMk cId="4046445736" sldId="268"/>
            <ac:spMk id="3" creationId="{C50E0202-8444-213D-1D63-E8B411F101DF}"/>
          </ac:spMkLst>
        </pc:spChg>
        <pc:spChg chg="add del mod ord">
          <ac:chgData name="Sezgen, Handenur" userId="693f6077-2094-4a4b-9c12-b1a0c4de2bbc" providerId="ADAL" clId="{5B430AB4-3B31-40FC-B7D2-06B73B197EDF}" dt="2025-10-16T08:07:45.676" v="648" actId="478"/>
          <ac:spMkLst>
            <pc:docMk/>
            <pc:sldMk cId="4046445736" sldId="268"/>
            <ac:spMk id="6" creationId="{E11E5F1A-1585-50CC-5EF4-7321343B7550}"/>
          </ac:spMkLst>
        </pc:spChg>
        <pc:picChg chg="mod modCrop">
          <ac:chgData name="Sezgen, Handenur" userId="693f6077-2094-4a4b-9c12-b1a0c4de2bbc" providerId="ADAL" clId="{5B430AB4-3B31-40FC-B7D2-06B73B197EDF}" dt="2025-10-16T08:08:44.838" v="695" actId="1076"/>
          <ac:picMkLst>
            <pc:docMk/>
            <pc:sldMk cId="4046445736" sldId="268"/>
            <ac:picMk id="2" creationId="{00000000-0000-0000-0000-000000000000}"/>
          </ac:picMkLst>
        </pc:picChg>
        <pc:picChg chg="add del mod modCrop">
          <ac:chgData name="Sezgen, Handenur" userId="693f6077-2094-4a4b-9c12-b1a0c4de2bbc" providerId="ADAL" clId="{5B430AB4-3B31-40FC-B7D2-06B73B197EDF}" dt="2025-10-16T08:08:30.349" v="690" actId="478"/>
          <ac:picMkLst>
            <pc:docMk/>
            <pc:sldMk cId="4046445736" sldId="268"/>
            <ac:picMk id="4" creationId="{9D9E3FBC-8844-402F-DE78-5628C442763E}"/>
          </ac:picMkLst>
        </pc:picChg>
        <pc:picChg chg="add mod modCrop">
          <ac:chgData name="Sezgen, Handenur" userId="693f6077-2094-4a4b-9c12-b1a0c4de2bbc" providerId="ADAL" clId="{5B430AB4-3B31-40FC-B7D2-06B73B197EDF}" dt="2025-10-16T08:08:13.779" v="682" actId="1076"/>
          <ac:picMkLst>
            <pc:docMk/>
            <pc:sldMk cId="4046445736" sldId="268"/>
            <ac:picMk id="5" creationId="{DEF02D32-B9E3-A69A-13EE-1853A1BC71B0}"/>
          </ac:picMkLst>
        </pc:picChg>
        <pc:picChg chg="add mod">
          <ac:chgData name="Sezgen, Handenur" userId="693f6077-2094-4a4b-9c12-b1a0c4de2bbc" providerId="ADAL" clId="{5B430AB4-3B31-40FC-B7D2-06B73B197EDF}" dt="2025-10-16T10:11:31.956" v="3639"/>
          <ac:picMkLst>
            <pc:docMk/>
            <pc:sldMk cId="4046445736" sldId="268"/>
            <ac:picMk id="7" creationId="{C349BA74-715C-876F-FB54-0A9373B8F66F}"/>
          </ac:picMkLst>
        </pc:picChg>
      </pc:sldChg>
      <pc:sldChg chg="delSp modSp add mod">
        <pc:chgData name="Sezgen, Handenur" userId="693f6077-2094-4a4b-9c12-b1a0c4de2bbc" providerId="ADAL" clId="{5B430AB4-3B31-40FC-B7D2-06B73B197EDF}" dt="2025-10-16T10:12:30.619" v="3642" actId="478"/>
        <pc:sldMkLst>
          <pc:docMk/>
          <pc:sldMk cId="4168559328" sldId="269"/>
        </pc:sldMkLst>
        <pc:spChg chg="mod">
          <ac:chgData name="Sezgen, Handenur" userId="693f6077-2094-4a4b-9c12-b1a0c4de2bbc" providerId="ADAL" clId="{5B430AB4-3B31-40FC-B7D2-06B73B197EDF}" dt="2025-10-16T08:27:37.313" v="1104" actId="14100"/>
          <ac:spMkLst>
            <pc:docMk/>
            <pc:sldMk cId="4168559328" sldId="269"/>
            <ac:spMk id="4" creationId="{B568B5C8-A876-630A-848C-B91218E12A62}"/>
          </ac:spMkLst>
        </pc:spChg>
        <pc:spChg chg="mod">
          <ac:chgData name="Sezgen, Handenur" userId="693f6077-2094-4a4b-9c12-b1a0c4de2bbc" providerId="ADAL" clId="{5B430AB4-3B31-40FC-B7D2-06B73B197EDF}" dt="2025-10-16T08:29:37.983" v="1148" actId="20577"/>
          <ac:spMkLst>
            <pc:docMk/>
            <pc:sldMk cId="4168559328" sldId="269"/>
            <ac:spMk id="29" creationId="{38C8D07E-FC78-6B73-4E9E-73BAA12FB3A2}"/>
          </ac:spMkLst>
        </pc:spChg>
        <pc:spChg chg="mod">
          <ac:chgData name="Sezgen, Handenur" userId="693f6077-2094-4a4b-9c12-b1a0c4de2bbc" providerId="ADAL" clId="{5B430AB4-3B31-40FC-B7D2-06B73B197EDF}" dt="2025-10-16T08:28:13.855" v="1128" actId="1076"/>
          <ac:spMkLst>
            <pc:docMk/>
            <pc:sldMk cId="4168559328" sldId="269"/>
            <ac:spMk id="43" creationId="{6B2C30C8-089A-359E-DCE1-9AECE2FA9EE5}"/>
          </ac:spMkLst>
        </pc:spChg>
        <pc:picChg chg="del">
          <ac:chgData name="Sezgen, Handenur" userId="693f6077-2094-4a4b-9c12-b1a0c4de2bbc" providerId="ADAL" clId="{5B430AB4-3B31-40FC-B7D2-06B73B197EDF}" dt="2025-10-16T10:12:30.619" v="3642" actId="478"/>
          <ac:picMkLst>
            <pc:docMk/>
            <pc:sldMk cId="4168559328" sldId="269"/>
            <ac:picMk id="21" creationId="{D6458CEC-9327-9A75-7D8C-1F4B61EE22D5}"/>
          </ac:picMkLst>
        </pc:picChg>
      </pc:sldChg>
      <pc:sldChg chg="addSp modSp mod modClrScheme chgLayout">
        <pc:chgData name="Sezgen, Handenur" userId="693f6077-2094-4a4b-9c12-b1a0c4de2bbc" providerId="ADAL" clId="{5B430AB4-3B31-40FC-B7D2-06B73B197EDF}" dt="2025-10-16T10:12:40.931" v="3651"/>
        <pc:sldMkLst>
          <pc:docMk/>
          <pc:sldMk cId="2674916693" sldId="270"/>
        </pc:sldMkLst>
        <pc:spChg chg="mod ord">
          <ac:chgData name="Sezgen, Handenur" userId="693f6077-2094-4a4b-9c12-b1a0c4de2bbc" providerId="ADAL" clId="{5B430AB4-3B31-40FC-B7D2-06B73B197EDF}" dt="2025-10-16T08:21:33.283" v="938" actId="700"/>
          <ac:spMkLst>
            <pc:docMk/>
            <pc:sldMk cId="2674916693" sldId="270"/>
            <ac:spMk id="2" creationId="{92CACF0F-B249-EA6A-6C2D-412FF3472B48}"/>
          </ac:spMkLst>
        </pc:spChg>
        <pc:spChg chg="mod ord">
          <ac:chgData name="Sezgen, Handenur" userId="693f6077-2094-4a4b-9c12-b1a0c4de2bbc" providerId="ADAL" clId="{5B430AB4-3B31-40FC-B7D2-06B73B197EDF}" dt="2025-10-16T08:21:33.283" v="938" actId="700"/>
          <ac:spMkLst>
            <pc:docMk/>
            <pc:sldMk cId="2674916693" sldId="270"/>
            <ac:spMk id="3" creationId="{471EF775-1220-0F16-090A-B34AB1DCC81E}"/>
          </ac:spMkLst>
        </pc:spChg>
        <pc:spChg chg="mod ord">
          <ac:chgData name="Sezgen, Handenur" userId="693f6077-2094-4a4b-9c12-b1a0c4de2bbc" providerId="ADAL" clId="{5B430AB4-3B31-40FC-B7D2-06B73B197EDF}" dt="2025-10-16T08:21:45.789" v="943" actId="207"/>
          <ac:spMkLst>
            <pc:docMk/>
            <pc:sldMk cId="2674916693" sldId="270"/>
            <ac:spMk id="4" creationId="{83C4F30C-8F8C-6CCF-3C35-22DAE6D1938D}"/>
          </ac:spMkLst>
        </pc:spChg>
        <pc:picChg chg="add mod">
          <ac:chgData name="Sezgen, Handenur" userId="693f6077-2094-4a4b-9c12-b1a0c4de2bbc" providerId="ADAL" clId="{5B430AB4-3B31-40FC-B7D2-06B73B197EDF}" dt="2025-10-16T10:12:40.931" v="3651"/>
          <ac:picMkLst>
            <pc:docMk/>
            <pc:sldMk cId="2674916693" sldId="270"/>
            <ac:picMk id="5" creationId="{2AB340E6-B61E-AAAB-B53B-16D010A7B78A}"/>
          </ac:picMkLst>
        </pc:picChg>
      </pc:sldChg>
      <pc:sldChg chg="addSp modSp mod">
        <pc:chgData name="Sezgen, Handenur" userId="693f6077-2094-4a4b-9c12-b1a0c4de2bbc" providerId="ADAL" clId="{5B430AB4-3B31-40FC-B7D2-06B73B197EDF}" dt="2025-10-16T10:12:41.752" v="3652"/>
        <pc:sldMkLst>
          <pc:docMk/>
          <pc:sldMk cId="1210701594" sldId="271"/>
        </pc:sldMkLst>
        <pc:picChg chg="mod modCrop">
          <ac:chgData name="Sezgen, Handenur" userId="693f6077-2094-4a4b-9c12-b1a0c4de2bbc" providerId="ADAL" clId="{5B430AB4-3B31-40FC-B7D2-06B73B197EDF}" dt="2025-10-16T08:22:37.540" v="966" actId="12788"/>
          <ac:picMkLst>
            <pc:docMk/>
            <pc:sldMk cId="1210701594" sldId="271"/>
            <ac:picMk id="2" creationId="{00000000-0000-0000-0000-000000000000}"/>
          </ac:picMkLst>
        </pc:picChg>
        <pc:picChg chg="add mod modCrop">
          <ac:chgData name="Sezgen, Handenur" userId="693f6077-2094-4a4b-9c12-b1a0c4de2bbc" providerId="ADAL" clId="{5B430AB4-3B31-40FC-B7D2-06B73B197EDF}" dt="2025-10-16T08:22:39.069" v="967" actId="12788"/>
          <ac:picMkLst>
            <pc:docMk/>
            <pc:sldMk cId="1210701594" sldId="271"/>
            <ac:picMk id="3" creationId="{F538F3A2-EAF5-E2ED-720D-38ACA1437A82}"/>
          </ac:picMkLst>
        </pc:picChg>
        <pc:picChg chg="add mod">
          <ac:chgData name="Sezgen, Handenur" userId="693f6077-2094-4a4b-9c12-b1a0c4de2bbc" providerId="ADAL" clId="{5B430AB4-3B31-40FC-B7D2-06B73B197EDF}" dt="2025-10-16T10:12:41.752" v="3652"/>
          <ac:picMkLst>
            <pc:docMk/>
            <pc:sldMk cId="1210701594" sldId="271"/>
            <ac:picMk id="4" creationId="{1B3A0E00-43CD-A336-1741-252860E72269}"/>
          </ac:picMkLst>
        </pc:picChg>
      </pc:sldChg>
      <pc:sldChg chg="addSp delSp modSp mod modClrScheme chgLayout">
        <pc:chgData name="Sezgen, Handenur" userId="693f6077-2094-4a4b-9c12-b1a0c4de2bbc" providerId="ADAL" clId="{5B430AB4-3B31-40FC-B7D2-06B73B197EDF}" dt="2025-10-16T10:12:44.111" v="3655"/>
        <pc:sldMkLst>
          <pc:docMk/>
          <pc:sldMk cId="3795578160" sldId="272"/>
        </pc:sldMkLst>
        <pc:spChg chg="mod ord">
          <ac:chgData name="Sezgen, Handenur" userId="693f6077-2094-4a4b-9c12-b1a0c4de2bbc" providerId="ADAL" clId="{5B430AB4-3B31-40FC-B7D2-06B73B197EDF}" dt="2025-10-16T08:23:51.043" v="1006" actId="947"/>
          <ac:spMkLst>
            <pc:docMk/>
            <pc:sldMk cId="3795578160" sldId="272"/>
            <ac:spMk id="2" creationId="{00935882-0DE3-9255-4B6F-1469E175BE7E}"/>
          </ac:spMkLst>
        </pc:spChg>
        <pc:spChg chg="mod ord">
          <ac:chgData name="Sezgen, Handenur" userId="693f6077-2094-4a4b-9c12-b1a0c4de2bbc" providerId="ADAL" clId="{5B430AB4-3B31-40FC-B7D2-06B73B197EDF}" dt="2025-10-16T08:23:45.926" v="1005" actId="6264"/>
          <ac:spMkLst>
            <pc:docMk/>
            <pc:sldMk cId="3795578160" sldId="272"/>
            <ac:spMk id="3" creationId="{71B1B3A0-DBE4-0FE7-8F20-A1394768817F}"/>
          </ac:spMkLst>
        </pc:spChg>
        <pc:spChg chg="add del mod">
          <ac:chgData name="Sezgen, Handenur" userId="693f6077-2094-4a4b-9c12-b1a0c4de2bbc" providerId="ADAL" clId="{5B430AB4-3B31-40FC-B7D2-06B73B197EDF}" dt="2025-10-16T08:23:45.926" v="1005" actId="6264"/>
          <ac:spMkLst>
            <pc:docMk/>
            <pc:sldMk cId="3795578160" sldId="272"/>
            <ac:spMk id="4" creationId="{E2B8AA20-D781-D1AA-8512-0B15C46A30A8}"/>
          </ac:spMkLst>
        </pc:spChg>
        <pc:spChg chg="add del mod">
          <ac:chgData name="Sezgen, Handenur" userId="693f6077-2094-4a4b-9c12-b1a0c4de2bbc" providerId="ADAL" clId="{5B430AB4-3B31-40FC-B7D2-06B73B197EDF}" dt="2025-10-16T08:23:45.926" v="1005" actId="6264"/>
          <ac:spMkLst>
            <pc:docMk/>
            <pc:sldMk cId="3795578160" sldId="272"/>
            <ac:spMk id="5" creationId="{F6C600C0-9139-D7A2-A193-0D53FF045A19}"/>
          </ac:spMkLst>
        </pc:spChg>
        <pc:spChg chg="mod">
          <ac:chgData name="Sezgen, Handenur" userId="693f6077-2094-4a4b-9c12-b1a0c4de2bbc" providerId="ADAL" clId="{5B430AB4-3B31-40FC-B7D2-06B73B197EDF}" dt="2025-10-16T08:24:04.094" v="1025" actId="1036"/>
          <ac:spMkLst>
            <pc:docMk/>
            <pc:sldMk cId="3795578160" sldId="272"/>
            <ac:spMk id="7" creationId="{53D43A39-E54D-C36B-2185-B1017D663F81}"/>
          </ac:spMkLst>
        </pc:spChg>
        <pc:spChg chg="mod">
          <ac:chgData name="Sezgen, Handenur" userId="693f6077-2094-4a4b-9c12-b1a0c4de2bbc" providerId="ADAL" clId="{5B430AB4-3B31-40FC-B7D2-06B73B197EDF}" dt="2025-10-16T08:24:04.094" v="1025" actId="1036"/>
          <ac:spMkLst>
            <pc:docMk/>
            <pc:sldMk cId="3795578160" sldId="272"/>
            <ac:spMk id="8" creationId="{A9FAE3F9-3A3D-4400-0AAF-1897DACE9A14}"/>
          </ac:spMkLst>
        </pc:spChg>
        <pc:spChg chg="mod">
          <ac:chgData name="Sezgen, Handenur" userId="693f6077-2094-4a4b-9c12-b1a0c4de2bbc" providerId="ADAL" clId="{5B430AB4-3B31-40FC-B7D2-06B73B197EDF}" dt="2025-10-16T08:24:04.094" v="1025" actId="1036"/>
          <ac:spMkLst>
            <pc:docMk/>
            <pc:sldMk cId="3795578160" sldId="272"/>
            <ac:spMk id="9" creationId="{5E23DEFE-5058-D869-BAD5-E2DCC77C4AF9}"/>
          </ac:spMkLst>
        </pc:spChg>
        <pc:spChg chg="mod">
          <ac:chgData name="Sezgen, Handenur" userId="693f6077-2094-4a4b-9c12-b1a0c4de2bbc" providerId="ADAL" clId="{5B430AB4-3B31-40FC-B7D2-06B73B197EDF}" dt="2025-10-16T08:24:04.094" v="1025" actId="1036"/>
          <ac:spMkLst>
            <pc:docMk/>
            <pc:sldMk cId="3795578160" sldId="272"/>
            <ac:spMk id="10" creationId="{4F5D0259-3803-DB96-73F4-1A7AF0D59F69}"/>
          </ac:spMkLst>
        </pc:spChg>
        <pc:spChg chg="mod">
          <ac:chgData name="Sezgen, Handenur" userId="693f6077-2094-4a4b-9c12-b1a0c4de2bbc" providerId="ADAL" clId="{5B430AB4-3B31-40FC-B7D2-06B73B197EDF}" dt="2025-10-16T08:24:04.094" v="1025" actId="1036"/>
          <ac:spMkLst>
            <pc:docMk/>
            <pc:sldMk cId="3795578160" sldId="272"/>
            <ac:spMk id="11" creationId="{AEA20D3D-53C6-38A7-0581-BC4FC9EFA5B5}"/>
          </ac:spMkLst>
        </pc:spChg>
        <pc:spChg chg="mod">
          <ac:chgData name="Sezgen, Handenur" userId="693f6077-2094-4a4b-9c12-b1a0c4de2bbc" providerId="ADAL" clId="{5B430AB4-3B31-40FC-B7D2-06B73B197EDF}" dt="2025-10-16T08:24:07.638" v="1026" actId="1076"/>
          <ac:spMkLst>
            <pc:docMk/>
            <pc:sldMk cId="3795578160" sldId="272"/>
            <ac:spMk id="12" creationId="{CD3B1CD0-F37F-ABBD-87B9-4281F1306B0F}"/>
          </ac:spMkLst>
        </pc:spChg>
        <pc:spChg chg="mod">
          <ac:chgData name="Sezgen, Handenur" userId="693f6077-2094-4a4b-9c12-b1a0c4de2bbc" providerId="ADAL" clId="{5B430AB4-3B31-40FC-B7D2-06B73B197EDF}" dt="2025-10-16T08:24:04.094" v="1025" actId="1036"/>
          <ac:spMkLst>
            <pc:docMk/>
            <pc:sldMk cId="3795578160" sldId="272"/>
            <ac:spMk id="14" creationId="{87B09BF3-6867-0029-7FFA-EF1653A83D59}"/>
          </ac:spMkLst>
        </pc:spChg>
        <pc:picChg chg="mod">
          <ac:chgData name="Sezgen, Handenur" userId="693f6077-2094-4a4b-9c12-b1a0c4de2bbc" providerId="ADAL" clId="{5B430AB4-3B31-40FC-B7D2-06B73B197EDF}" dt="2025-10-16T08:24:04.094" v="1025" actId="1036"/>
          <ac:picMkLst>
            <pc:docMk/>
            <pc:sldMk cId="3795578160" sldId="272"/>
            <ac:picMk id="13" creationId="{0F158C51-9CF3-A944-D9A6-51205B7FB036}"/>
          </ac:picMkLst>
        </pc:picChg>
        <pc:picChg chg="add mod">
          <ac:chgData name="Sezgen, Handenur" userId="693f6077-2094-4a4b-9c12-b1a0c4de2bbc" providerId="ADAL" clId="{5B430AB4-3B31-40FC-B7D2-06B73B197EDF}" dt="2025-10-16T10:12:44.111" v="3655"/>
          <ac:picMkLst>
            <pc:docMk/>
            <pc:sldMk cId="3795578160" sldId="272"/>
            <ac:picMk id="15" creationId="{2B347980-472F-FEE5-5AB8-CBCD9F0DDD48}"/>
          </ac:picMkLst>
        </pc:picChg>
      </pc:sldChg>
      <pc:sldChg chg="addSp modSp mod modClrScheme chgLayout">
        <pc:chgData name="Sezgen, Handenur" userId="693f6077-2094-4a4b-9c12-b1a0c4de2bbc" providerId="ADAL" clId="{5B430AB4-3B31-40FC-B7D2-06B73B197EDF}" dt="2025-10-16T10:12:44.835" v="3656"/>
        <pc:sldMkLst>
          <pc:docMk/>
          <pc:sldMk cId="3083404557" sldId="273"/>
        </pc:sldMkLst>
        <pc:spChg chg="mod ord">
          <ac:chgData name="Sezgen, Handenur" userId="693f6077-2094-4a4b-9c12-b1a0c4de2bbc" providerId="ADAL" clId="{5B430AB4-3B31-40FC-B7D2-06B73B197EDF}" dt="2025-10-16T08:24:13.416" v="1027" actId="700"/>
          <ac:spMkLst>
            <pc:docMk/>
            <pc:sldMk cId="3083404557" sldId="273"/>
            <ac:spMk id="3" creationId="{B71A0CE8-69EB-C255-5C53-A4D6AD271FD8}"/>
          </ac:spMkLst>
        </pc:spChg>
        <pc:spChg chg="mod ord">
          <ac:chgData name="Sezgen, Handenur" userId="693f6077-2094-4a4b-9c12-b1a0c4de2bbc" providerId="ADAL" clId="{5B430AB4-3B31-40FC-B7D2-06B73B197EDF}" dt="2025-10-16T08:24:13.416" v="1027" actId="700"/>
          <ac:spMkLst>
            <pc:docMk/>
            <pc:sldMk cId="3083404557" sldId="273"/>
            <ac:spMk id="19" creationId="{3B622CDF-E273-4454-F1CC-DC0EA79E728D}"/>
          </ac:spMkLst>
        </pc:spChg>
        <pc:spChg chg="mod ord">
          <ac:chgData name="Sezgen, Handenur" userId="693f6077-2094-4a4b-9c12-b1a0c4de2bbc" providerId="ADAL" clId="{5B430AB4-3B31-40FC-B7D2-06B73B197EDF}" dt="2025-10-16T08:24:28.143" v="1035" actId="113"/>
          <ac:spMkLst>
            <pc:docMk/>
            <pc:sldMk cId="3083404557" sldId="273"/>
            <ac:spMk id="31" creationId="{E382FBFB-918B-A490-DCB3-C247E8CFB661}"/>
          </ac:spMkLst>
        </pc:spChg>
        <pc:picChg chg="add mod">
          <ac:chgData name="Sezgen, Handenur" userId="693f6077-2094-4a4b-9c12-b1a0c4de2bbc" providerId="ADAL" clId="{5B430AB4-3B31-40FC-B7D2-06B73B197EDF}" dt="2025-10-16T10:12:44.835" v="3656"/>
          <ac:picMkLst>
            <pc:docMk/>
            <pc:sldMk cId="3083404557" sldId="273"/>
            <ac:picMk id="4" creationId="{C1E42A94-BF18-D2DA-5CC6-5E05CB073D70}"/>
          </ac:picMkLst>
        </pc:picChg>
      </pc:sldChg>
      <pc:sldChg chg="addSp modSp mod">
        <pc:chgData name="Sezgen, Handenur" userId="693f6077-2094-4a4b-9c12-b1a0c4de2bbc" providerId="ADAL" clId="{5B430AB4-3B31-40FC-B7D2-06B73B197EDF}" dt="2025-10-16T10:12:42.488" v="3653"/>
        <pc:sldMkLst>
          <pc:docMk/>
          <pc:sldMk cId="3609993946" sldId="274"/>
        </pc:sldMkLst>
        <pc:picChg chg="mod modCrop">
          <ac:chgData name="Sezgen, Handenur" userId="693f6077-2094-4a4b-9c12-b1a0c4de2bbc" providerId="ADAL" clId="{5B430AB4-3B31-40FC-B7D2-06B73B197EDF}" dt="2025-10-16T08:23:03.434" v="975" actId="1076"/>
          <ac:picMkLst>
            <pc:docMk/>
            <pc:sldMk cId="3609993946" sldId="274"/>
            <ac:picMk id="2" creationId="{00000000-0000-0000-0000-000000000000}"/>
          </ac:picMkLst>
        </pc:picChg>
        <pc:picChg chg="add mod">
          <ac:chgData name="Sezgen, Handenur" userId="693f6077-2094-4a4b-9c12-b1a0c4de2bbc" providerId="ADAL" clId="{5B430AB4-3B31-40FC-B7D2-06B73B197EDF}" dt="2025-10-16T08:23:04.887" v="976"/>
          <ac:picMkLst>
            <pc:docMk/>
            <pc:sldMk cId="3609993946" sldId="274"/>
            <ac:picMk id="3" creationId="{9FD91A9A-2DC2-51FD-FC5A-3351AA5D442F}"/>
          </ac:picMkLst>
        </pc:picChg>
        <pc:picChg chg="add mod modCrop">
          <ac:chgData name="Sezgen, Handenur" userId="693f6077-2094-4a4b-9c12-b1a0c4de2bbc" providerId="ADAL" clId="{5B430AB4-3B31-40FC-B7D2-06B73B197EDF}" dt="2025-10-16T08:23:28.158" v="999" actId="1038"/>
          <ac:picMkLst>
            <pc:docMk/>
            <pc:sldMk cId="3609993946" sldId="274"/>
            <ac:picMk id="4" creationId="{AA8146A3-EF24-7A87-4C7F-CD85883A9939}"/>
          </ac:picMkLst>
        </pc:picChg>
        <pc:picChg chg="add mod">
          <ac:chgData name="Sezgen, Handenur" userId="693f6077-2094-4a4b-9c12-b1a0c4de2bbc" providerId="ADAL" clId="{5B430AB4-3B31-40FC-B7D2-06B73B197EDF}" dt="2025-10-16T10:12:42.488" v="3653"/>
          <ac:picMkLst>
            <pc:docMk/>
            <pc:sldMk cId="3609993946" sldId="274"/>
            <ac:picMk id="5" creationId="{A0003CC9-357D-DA56-42F1-79120176D46D}"/>
          </ac:picMkLst>
        </pc:picChg>
      </pc:sldChg>
      <pc:sldChg chg="addSp modSp">
        <pc:chgData name="Sezgen, Handenur" userId="693f6077-2094-4a4b-9c12-b1a0c4de2bbc" providerId="ADAL" clId="{5B430AB4-3B31-40FC-B7D2-06B73B197EDF}" dt="2025-10-16T10:10:03.654" v="3567"/>
        <pc:sldMkLst>
          <pc:docMk/>
          <pc:sldMk cId="3192027504" sldId="275"/>
        </pc:sldMkLst>
        <pc:grpChg chg="add mod">
          <ac:chgData name="Sezgen, Handenur" userId="693f6077-2094-4a4b-9c12-b1a0c4de2bbc" providerId="ADAL" clId="{5B430AB4-3B31-40FC-B7D2-06B73B197EDF}" dt="2025-10-16T10:10:03.654" v="3567"/>
          <ac:grpSpMkLst>
            <pc:docMk/>
            <pc:sldMk cId="3192027504" sldId="275"/>
            <ac:grpSpMk id="17" creationId="{AF6F8E55-3A75-3CBD-78CF-932D0B7A096B}"/>
          </ac:grpSpMkLst>
        </pc:grpChg>
        <pc:picChg chg="mod">
          <ac:chgData name="Sezgen, Handenur" userId="693f6077-2094-4a4b-9c12-b1a0c4de2bbc" providerId="ADAL" clId="{5B430AB4-3B31-40FC-B7D2-06B73B197EDF}" dt="2025-10-16T10:10:03.654" v="3567"/>
          <ac:picMkLst>
            <pc:docMk/>
            <pc:sldMk cId="3192027504" sldId="275"/>
            <ac:picMk id="18" creationId="{70D143A8-B7B9-E080-D933-D66B5B71F0CF}"/>
          </ac:picMkLst>
        </pc:picChg>
        <pc:picChg chg="mod">
          <ac:chgData name="Sezgen, Handenur" userId="693f6077-2094-4a4b-9c12-b1a0c4de2bbc" providerId="ADAL" clId="{5B430AB4-3B31-40FC-B7D2-06B73B197EDF}" dt="2025-10-16T10:10:03.654" v="3567"/>
          <ac:picMkLst>
            <pc:docMk/>
            <pc:sldMk cId="3192027504" sldId="275"/>
            <ac:picMk id="19" creationId="{68FBD6DE-6CE2-69E1-D510-2D3F80FA9322}"/>
          </ac:picMkLst>
        </pc:picChg>
      </pc:sldChg>
      <pc:sldChg chg="addSp modSp mod modClrScheme chgLayout">
        <pc:chgData name="Sezgen, Handenur" userId="693f6077-2094-4a4b-9c12-b1a0c4de2bbc" providerId="ADAL" clId="{5B430AB4-3B31-40FC-B7D2-06B73B197EDF}" dt="2025-10-16T10:12:45.652" v="3657"/>
        <pc:sldMkLst>
          <pc:docMk/>
          <pc:sldMk cId="4038211719" sldId="276"/>
        </pc:sldMkLst>
        <pc:spChg chg="mod ord">
          <ac:chgData name="Sezgen, Handenur" userId="693f6077-2094-4a4b-9c12-b1a0c4de2bbc" providerId="ADAL" clId="{5B430AB4-3B31-40FC-B7D2-06B73B197EDF}" dt="2025-10-16T08:24:33.258" v="1036" actId="700"/>
          <ac:spMkLst>
            <pc:docMk/>
            <pc:sldMk cId="4038211719" sldId="276"/>
            <ac:spMk id="2" creationId="{0C9E3996-70A2-5A32-128A-5561149CD889}"/>
          </ac:spMkLst>
        </pc:spChg>
        <pc:spChg chg="mod ord">
          <ac:chgData name="Sezgen, Handenur" userId="693f6077-2094-4a4b-9c12-b1a0c4de2bbc" providerId="ADAL" clId="{5B430AB4-3B31-40FC-B7D2-06B73B197EDF}" dt="2025-10-16T08:24:33.258" v="1036" actId="700"/>
          <ac:spMkLst>
            <pc:docMk/>
            <pc:sldMk cId="4038211719" sldId="276"/>
            <ac:spMk id="3" creationId="{41302286-D2C3-D1A5-3EE8-9F7535A69ACD}"/>
          </ac:spMkLst>
        </pc:spChg>
        <pc:spChg chg="mod">
          <ac:chgData name="Sezgen, Handenur" userId="693f6077-2094-4a4b-9c12-b1a0c4de2bbc" providerId="ADAL" clId="{5B430AB4-3B31-40FC-B7D2-06B73B197EDF}" dt="2025-10-16T08:24:43.366" v="1038" actId="1076"/>
          <ac:spMkLst>
            <pc:docMk/>
            <pc:sldMk cId="4038211719" sldId="276"/>
            <ac:spMk id="17" creationId="{B686A25E-14C5-9C0D-21C6-1E28AF9A0B77}"/>
          </ac:spMkLst>
        </pc:spChg>
        <pc:spChg chg="mod">
          <ac:chgData name="Sezgen, Handenur" userId="693f6077-2094-4a4b-9c12-b1a0c4de2bbc" providerId="ADAL" clId="{5B430AB4-3B31-40FC-B7D2-06B73B197EDF}" dt="2025-10-16T08:24:39.877" v="1037" actId="1076"/>
          <ac:spMkLst>
            <pc:docMk/>
            <pc:sldMk cId="4038211719" sldId="276"/>
            <ac:spMk id="18" creationId="{3C7D1809-3E5C-708E-8B50-FC0112322598}"/>
          </ac:spMkLst>
        </pc:spChg>
        <pc:picChg chg="add mod">
          <ac:chgData name="Sezgen, Handenur" userId="693f6077-2094-4a4b-9c12-b1a0c4de2bbc" providerId="ADAL" clId="{5B430AB4-3B31-40FC-B7D2-06B73B197EDF}" dt="2025-10-16T10:12:45.652" v="3657"/>
          <ac:picMkLst>
            <pc:docMk/>
            <pc:sldMk cId="4038211719" sldId="276"/>
            <ac:picMk id="4" creationId="{C686C323-7EE5-B3AC-20FA-5321D884F383}"/>
          </ac:picMkLst>
        </pc:picChg>
      </pc:sldChg>
      <pc:sldChg chg="addSp delSp modSp add mod">
        <pc:chgData name="Sezgen, Handenur" userId="693f6077-2094-4a4b-9c12-b1a0c4de2bbc" providerId="ADAL" clId="{5B430AB4-3B31-40FC-B7D2-06B73B197EDF}" dt="2025-10-16T10:12:46.406" v="3658"/>
        <pc:sldMkLst>
          <pc:docMk/>
          <pc:sldMk cId="306638323" sldId="277"/>
        </pc:sldMkLst>
        <pc:spChg chg="del">
          <ac:chgData name="Sezgen, Handenur" userId="693f6077-2094-4a4b-9c12-b1a0c4de2bbc" providerId="ADAL" clId="{5B430AB4-3B31-40FC-B7D2-06B73B197EDF}" dt="2025-10-16T08:30:22.319" v="1164" actId="478"/>
          <ac:spMkLst>
            <pc:docMk/>
            <pc:sldMk cId="306638323" sldId="277"/>
            <ac:spMk id="4" creationId="{2F824608-35A1-EC05-D874-60ADF9D38656}"/>
          </ac:spMkLst>
        </pc:spChg>
        <pc:spChg chg="mod">
          <ac:chgData name="Sezgen, Handenur" userId="693f6077-2094-4a4b-9c12-b1a0c4de2bbc" providerId="ADAL" clId="{5B430AB4-3B31-40FC-B7D2-06B73B197EDF}" dt="2025-10-16T08:30:28.313" v="1167" actId="20577"/>
          <ac:spMkLst>
            <pc:docMk/>
            <pc:sldMk cId="306638323" sldId="277"/>
            <ac:spMk id="37" creationId="{BA021DC3-1AB2-4D03-70A6-CFBDF6A3B308}"/>
          </ac:spMkLst>
        </pc:spChg>
        <pc:spChg chg="mod">
          <ac:chgData name="Sezgen, Handenur" userId="693f6077-2094-4a4b-9c12-b1a0c4de2bbc" providerId="ADAL" clId="{5B430AB4-3B31-40FC-B7D2-06B73B197EDF}" dt="2025-10-16T08:30:21.100" v="1163" actId="14100"/>
          <ac:spMkLst>
            <pc:docMk/>
            <pc:sldMk cId="306638323" sldId="277"/>
            <ac:spMk id="43" creationId="{FE89B4E8-C973-4755-A5EC-819FB05C788A}"/>
          </ac:spMkLst>
        </pc:spChg>
        <pc:picChg chg="add mod">
          <ac:chgData name="Sezgen, Handenur" userId="693f6077-2094-4a4b-9c12-b1a0c4de2bbc" providerId="ADAL" clId="{5B430AB4-3B31-40FC-B7D2-06B73B197EDF}" dt="2025-10-16T10:12:46.406" v="3658"/>
          <ac:picMkLst>
            <pc:docMk/>
            <pc:sldMk cId="306638323" sldId="277"/>
            <ac:picMk id="5" creationId="{2F680513-26AF-3D8F-BDB0-73CC78477169}"/>
          </ac:picMkLst>
        </pc:picChg>
      </pc:sldChg>
      <pc:sldChg chg="addSp delSp modSp add mod">
        <pc:chgData name="Sezgen, Handenur" userId="693f6077-2094-4a4b-9c12-b1a0c4de2bbc" providerId="ADAL" clId="{5B430AB4-3B31-40FC-B7D2-06B73B197EDF}" dt="2025-10-16T10:12:53.566" v="3659"/>
        <pc:sldMkLst>
          <pc:docMk/>
          <pc:sldMk cId="3167614136" sldId="278"/>
        </pc:sldMkLst>
        <pc:spChg chg="mod">
          <ac:chgData name="Sezgen, Handenur" userId="693f6077-2094-4a4b-9c12-b1a0c4de2bbc" providerId="ADAL" clId="{5B430AB4-3B31-40FC-B7D2-06B73B197EDF}" dt="2025-10-16T08:38:39.594" v="1323" actId="404"/>
          <ac:spMkLst>
            <pc:docMk/>
            <pc:sldMk cId="3167614136" sldId="278"/>
            <ac:spMk id="2" creationId="{F05E106F-F399-0C93-DC30-BE5EBF710B8D}"/>
          </ac:spMkLst>
        </pc:spChg>
        <pc:spChg chg="mod">
          <ac:chgData name="Sezgen, Handenur" userId="693f6077-2094-4a4b-9c12-b1a0c4de2bbc" providerId="ADAL" clId="{5B430AB4-3B31-40FC-B7D2-06B73B197EDF}" dt="2025-10-16T08:33:03.824" v="1248"/>
          <ac:spMkLst>
            <pc:docMk/>
            <pc:sldMk cId="3167614136" sldId="278"/>
            <ac:spMk id="3" creationId="{1ABD0C3E-0721-7EA0-E8AB-447244B6B488}"/>
          </ac:spMkLst>
        </pc:spChg>
        <pc:spChg chg="del">
          <ac:chgData name="Sezgen, Handenur" userId="693f6077-2094-4a4b-9c12-b1a0c4de2bbc" providerId="ADAL" clId="{5B430AB4-3B31-40FC-B7D2-06B73B197EDF}" dt="2025-10-16T08:33:14.026" v="1250" actId="478"/>
          <ac:spMkLst>
            <pc:docMk/>
            <pc:sldMk cId="3167614136" sldId="278"/>
            <ac:spMk id="4" creationId="{C6E35050-CFB4-CCC7-DF72-7AC46A8D78B7}"/>
          </ac:spMkLst>
        </pc:spChg>
        <pc:picChg chg="add mod">
          <ac:chgData name="Sezgen, Handenur" userId="693f6077-2094-4a4b-9c12-b1a0c4de2bbc" providerId="ADAL" clId="{5B430AB4-3B31-40FC-B7D2-06B73B197EDF}" dt="2025-10-16T08:33:17.211" v="1252" actId="1076"/>
          <ac:picMkLst>
            <pc:docMk/>
            <pc:sldMk cId="3167614136" sldId="278"/>
            <ac:picMk id="5" creationId="{9A904C8A-F837-DAA4-EBE5-4AEEF1B1D809}"/>
          </ac:picMkLst>
        </pc:picChg>
        <pc:picChg chg="add mod">
          <ac:chgData name="Sezgen, Handenur" userId="693f6077-2094-4a4b-9c12-b1a0c4de2bbc" providerId="ADAL" clId="{5B430AB4-3B31-40FC-B7D2-06B73B197EDF}" dt="2025-10-16T10:12:53.566" v="3659"/>
          <ac:picMkLst>
            <pc:docMk/>
            <pc:sldMk cId="3167614136" sldId="278"/>
            <ac:picMk id="6" creationId="{3CBB9B09-5CD5-8F38-D743-D9E51B7CE97C}"/>
          </ac:picMkLst>
        </pc:picChg>
        <pc:picChg chg="add mod">
          <ac:chgData name="Sezgen, Handenur" userId="693f6077-2094-4a4b-9c12-b1a0c4de2bbc" providerId="ADAL" clId="{5B430AB4-3B31-40FC-B7D2-06B73B197EDF}" dt="2025-10-16T10:12:53.566" v="3659"/>
          <ac:picMkLst>
            <pc:docMk/>
            <pc:sldMk cId="3167614136" sldId="278"/>
            <ac:picMk id="7" creationId="{81ADDA33-195A-0D41-8AEC-832E6D60D25B}"/>
          </ac:picMkLst>
        </pc:picChg>
      </pc:sldChg>
      <pc:sldChg chg="add del">
        <pc:chgData name="Sezgen, Handenur" userId="693f6077-2094-4a4b-9c12-b1a0c4de2bbc" providerId="ADAL" clId="{5B430AB4-3B31-40FC-B7D2-06B73B197EDF}" dt="2025-10-16T08:33:49.495" v="1258" actId="47"/>
        <pc:sldMkLst>
          <pc:docMk/>
          <pc:sldMk cId="0" sldId="279"/>
        </pc:sldMkLst>
      </pc:sldChg>
      <pc:sldChg chg="delSp modSp del mod modClrScheme chgLayout">
        <pc:chgData name="Sezgen, Handenur" userId="693f6077-2094-4a4b-9c12-b1a0c4de2bbc" providerId="ADAL" clId="{5B430AB4-3B31-40FC-B7D2-06B73B197EDF}" dt="2025-10-16T08:26:42.666" v="1091" actId="47"/>
        <pc:sldMkLst>
          <pc:docMk/>
          <pc:sldMk cId="726452206" sldId="279"/>
        </pc:sldMkLst>
        <pc:spChg chg="mod ord">
          <ac:chgData name="Sezgen, Handenur" userId="693f6077-2094-4a4b-9c12-b1a0c4de2bbc" providerId="ADAL" clId="{5B430AB4-3B31-40FC-B7D2-06B73B197EDF}" dt="2025-10-16T07:37:39.004" v="7" actId="12789"/>
          <ac:spMkLst>
            <pc:docMk/>
            <pc:sldMk cId="726452206" sldId="279"/>
            <ac:spMk id="2" creationId="{547CFD70-0441-696A-E8A5-7A3A52B4588B}"/>
          </ac:spMkLst>
        </pc:spChg>
        <pc:spChg chg="del">
          <ac:chgData name="Sezgen, Handenur" userId="693f6077-2094-4a4b-9c12-b1a0c4de2bbc" providerId="ADAL" clId="{5B430AB4-3B31-40FC-B7D2-06B73B197EDF}" dt="2025-10-16T07:37:22.579" v="0" actId="700"/>
          <ac:spMkLst>
            <pc:docMk/>
            <pc:sldMk cId="726452206" sldId="279"/>
            <ac:spMk id="3" creationId="{846E4246-8A54-BFF6-01DF-10E01311C8BB}"/>
          </ac:spMkLst>
        </pc:spChg>
      </pc:sldChg>
      <pc:sldChg chg="addSp modSp add mod">
        <pc:chgData name="Sezgen, Handenur" userId="693f6077-2094-4a4b-9c12-b1a0c4de2bbc" providerId="ADAL" clId="{5B430AB4-3B31-40FC-B7D2-06B73B197EDF}" dt="2025-10-16T10:14:01.676" v="3684"/>
        <pc:sldMkLst>
          <pc:docMk/>
          <pc:sldMk cId="1603830564" sldId="279"/>
        </pc:sldMkLst>
        <pc:spChg chg="mod">
          <ac:chgData name="Sezgen, Handenur" userId="693f6077-2094-4a4b-9c12-b1a0c4de2bbc" providerId="ADAL" clId="{5B430AB4-3B31-40FC-B7D2-06B73B197EDF}" dt="2025-10-16T09:03:30.572" v="1837" actId="20577"/>
          <ac:spMkLst>
            <pc:docMk/>
            <pc:sldMk cId="1603830564" sldId="279"/>
            <ac:spMk id="2" creationId="{1BA17BE4-0230-D794-4D93-FDF161030E4B}"/>
          </ac:spMkLst>
        </pc:spChg>
        <pc:spChg chg="mod">
          <ac:chgData name="Sezgen, Handenur" userId="693f6077-2094-4a4b-9c12-b1a0c4de2bbc" providerId="ADAL" clId="{5B430AB4-3B31-40FC-B7D2-06B73B197EDF}" dt="2025-10-16T09:03:20.689" v="1834" actId="1076"/>
          <ac:spMkLst>
            <pc:docMk/>
            <pc:sldMk cId="1603830564" sldId="279"/>
            <ac:spMk id="12" creationId="{5D4A27D8-B10F-04E1-86EF-2C3C331CD9B2}"/>
          </ac:spMkLst>
        </pc:spChg>
        <pc:picChg chg="add mod">
          <ac:chgData name="Sezgen, Handenur" userId="693f6077-2094-4a4b-9c12-b1a0c4de2bbc" providerId="ADAL" clId="{5B430AB4-3B31-40FC-B7D2-06B73B197EDF}" dt="2025-10-16T10:14:01.676" v="3684"/>
          <ac:picMkLst>
            <pc:docMk/>
            <pc:sldMk cId="1603830564" sldId="279"/>
            <ac:picMk id="4" creationId="{422ABE59-FCDF-EA97-FD72-DE410B4CEB20}"/>
          </ac:picMkLst>
        </pc:picChg>
      </pc:sldChg>
      <pc:sldChg chg="addSp delSp modSp mod modClrScheme chgLayout">
        <pc:chgData name="Sezgen, Handenur" userId="693f6077-2094-4a4b-9c12-b1a0c4de2bbc" providerId="ADAL" clId="{5B430AB4-3B31-40FC-B7D2-06B73B197EDF}" dt="2025-10-16T10:11:00.766" v="3614"/>
        <pc:sldMkLst>
          <pc:docMk/>
          <pc:sldMk cId="894980697" sldId="280"/>
        </pc:sldMkLst>
        <pc:spChg chg="mod ord">
          <ac:chgData name="Sezgen, Handenur" userId="693f6077-2094-4a4b-9c12-b1a0c4de2bbc" providerId="ADAL" clId="{5B430AB4-3B31-40FC-B7D2-06B73B197EDF}" dt="2025-10-16T07:38:17.129" v="13" actId="700"/>
          <ac:spMkLst>
            <pc:docMk/>
            <pc:sldMk cId="894980697" sldId="280"/>
            <ac:spMk id="2" creationId="{6B8CBE36-A29E-82AC-CE6A-8D1142068EF0}"/>
          </ac:spMkLst>
        </pc:spChg>
        <pc:spChg chg="add del mod">
          <ac:chgData name="Sezgen, Handenur" userId="693f6077-2094-4a4b-9c12-b1a0c4de2bbc" providerId="ADAL" clId="{5B430AB4-3B31-40FC-B7D2-06B73B197EDF}" dt="2025-10-16T07:38:11.760" v="12" actId="6264"/>
          <ac:spMkLst>
            <pc:docMk/>
            <pc:sldMk cId="894980697" sldId="280"/>
            <ac:spMk id="48" creationId="{C4BCCEE9-BBB8-5C7B-36B8-440D7C5F5E9D}"/>
          </ac:spMkLst>
        </pc:spChg>
        <pc:spChg chg="mod">
          <ac:chgData name="Sezgen, Handenur" userId="693f6077-2094-4a4b-9c12-b1a0c4de2bbc" providerId="ADAL" clId="{5B430AB4-3B31-40FC-B7D2-06B73B197EDF}" dt="2025-10-16T07:38:22.560" v="15" actId="255"/>
          <ac:spMkLst>
            <pc:docMk/>
            <pc:sldMk cId="894980697" sldId="280"/>
            <ac:spMk id="77" creationId="{312BBE61-5D1A-9C74-4F7C-B3BB447294F1}"/>
          </ac:spMkLst>
        </pc:spChg>
        <pc:spChg chg="add del mod ord">
          <ac:chgData name="Sezgen, Handenur" userId="693f6077-2094-4a4b-9c12-b1a0c4de2bbc" providerId="ADAL" clId="{5B430AB4-3B31-40FC-B7D2-06B73B197EDF}" dt="2025-10-16T07:38:17.129" v="13" actId="700"/>
          <ac:spMkLst>
            <pc:docMk/>
            <pc:sldMk cId="894980697" sldId="280"/>
            <ac:spMk id="78" creationId="{B90D03DC-0A62-A641-7788-BB1643748D00}"/>
          </ac:spMkLst>
        </pc:spChg>
        <pc:grpChg chg="add del mod">
          <ac:chgData name="Sezgen, Handenur" userId="693f6077-2094-4a4b-9c12-b1a0c4de2bbc" providerId="ADAL" clId="{5B430AB4-3B31-40FC-B7D2-06B73B197EDF}" dt="2025-10-16T10:11:00.515" v="3613" actId="478"/>
          <ac:grpSpMkLst>
            <pc:docMk/>
            <pc:sldMk cId="894980697" sldId="280"/>
            <ac:grpSpMk id="79" creationId="{C5337F6C-CEB4-EF3A-2CB6-15C3EB81F2A0}"/>
          </ac:grpSpMkLst>
        </pc:grpChg>
        <pc:picChg chg="mod">
          <ac:chgData name="Sezgen, Handenur" userId="693f6077-2094-4a4b-9c12-b1a0c4de2bbc" providerId="ADAL" clId="{5B430AB4-3B31-40FC-B7D2-06B73B197EDF}" dt="2025-10-16T10:10:14.876" v="3575"/>
          <ac:picMkLst>
            <pc:docMk/>
            <pc:sldMk cId="894980697" sldId="280"/>
            <ac:picMk id="80" creationId="{4892D67D-B45E-7E2D-16F9-A7541539B9E6}"/>
          </ac:picMkLst>
        </pc:picChg>
        <pc:picChg chg="mod">
          <ac:chgData name="Sezgen, Handenur" userId="693f6077-2094-4a4b-9c12-b1a0c4de2bbc" providerId="ADAL" clId="{5B430AB4-3B31-40FC-B7D2-06B73B197EDF}" dt="2025-10-16T10:10:14.876" v="3575"/>
          <ac:picMkLst>
            <pc:docMk/>
            <pc:sldMk cId="894980697" sldId="280"/>
            <ac:picMk id="81" creationId="{4E1AB0AF-1457-2290-8F1E-AA8110AAAE2D}"/>
          </ac:picMkLst>
        </pc:picChg>
        <pc:picChg chg="add mod">
          <ac:chgData name="Sezgen, Handenur" userId="693f6077-2094-4a4b-9c12-b1a0c4de2bbc" providerId="ADAL" clId="{5B430AB4-3B31-40FC-B7D2-06B73B197EDF}" dt="2025-10-16T10:10:58.598" v="3612"/>
          <ac:picMkLst>
            <pc:docMk/>
            <pc:sldMk cId="894980697" sldId="280"/>
            <ac:picMk id="82" creationId="{76794E80-F2D1-B2CC-873A-83D7AF8D263E}"/>
          </ac:picMkLst>
        </pc:picChg>
        <pc:picChg chg="add mod">
          <ac:chgData name="Sezgen, Handenur" userId="693f6077-2094-4a4b-9c12-b1a0c4de2bbc" providerId="ADAL" clId="{5B430AB4-3B31-40FC-B7D2-06B73B197EDF}" dt="2025-10-16T10:11:00.766" v="3614"/>
          <ac:picMkLst>
            <pc:docMk/>
            <pc:sldMk cId="894980697" sldId="280"/>
            <ac:picMk id="83" creationId="{755E5788-30AE-7876-2422-EAE658219A1B}"/>
          </ac:picMkLst>
        </pc:picChg>
      </pc:sldChg>
      <pc:sldChg chg="addSp modSp mod modClrScheme chgLayout">
        <pc:chgData name="Sezgen, Handenur" userId="693f6077-2094-4a4b-9c12-b1a0c4de2bbc" providerId="ADAL" clId="{5B430AB4-3B31-40FC-B7D2-06B73B197EDF}" dt="2025-10-16T10:12:43.351" v="3654"/>
        <pc:sldMkLst>
          <pc:docMk/>
          <pc:sldMk cId="1262337345" sldId="281"/>
        </pc:sldMkLst>
        <pc:spChg chg="mod ord">
          <ac:chgData name="Sezgen, Handenur" userId="693f6077-2094-4a4b-9c12-b1a0c4de2bbc" providerId="ADAL" clId="{5B430AB4-3B31-40FC-B7D2-06B73B197EDF}" dt="2025-10-16T08:23:35.223" v="1002" actId="27636"/>
          <ac:spMkLst>
            <pc:docMk/>
            <pc:sldMk cId="1262337345" sldId="281"/>
            <ac:spMk id="2" creationId="{53BA7DF1-1729-26A0-F0C0-F35ED4E9CEFA}"/>
          </ac:spMkLst>
        </pc:spChg>
        <pc:spChg chg="mod ord">
          <ac:chgData name="Sezgen, Handenur" userId="693f6077-2094-4a4b-9c12-b1a0c4de2bbc" providerId="ADAL" clId="{5B430AB4-3B31-40FC-B7D2-06B73B197EDF}" dt="2025-10-16T08:23:35.050" v="1000" actId="700"/>
          <ac:spMkLst>
            <pc:docMk/>
            <pc:sldMk cId="1262337345" sldId="281"/>
            <ac:spMk id="3" creationId="{1719274D-B7E0-4BE0-2DD1-6C9F4ED49E05}"/>
          </ac:spMkLst>
        </pc:spChg>
        <pc:spChg chg="mod ord">
          <ac:chgData name="Sezgen, Handenur" userId="693f6077-2094-4a4b-9c12-b1a0c4de2bbc" providerId="ADAL" clId="{5B430AB4-3B31-40FC-B7D2-06B73B197EDF}" dt="2025-10-16T08:23:38.687" v="1003" actId="1076"/>
          <ac:spMkLst>
            <pc:docMk/>
            <pc:sldMk cId="1262337345" sldId="281"/>
            <ac:spMk id="14" creationId="{8C85C1C4-F357-8B75-F03D-8C73085BA991}"/>
          </ac:spMkLst>
        </pc:spChg>
        <pc:picChg chg="add mod">
          <ac:chgData name="Sezgen, Handenur" userId="693f6077-2094-4a4b-9c12-b1a0c4de2bbc" providerId="ADAL" clId="{5B430AB4-3B31-40FC-B7D2-06B73B197EDF}" dt="2025-10-16T10:12:43.351" v="3654"/>
          <ac:picMkLst>
            <pc:docMk/>
            <pc:sldMk cId="1262337345" sldId="281"/>
            <ac:picMk id="5" creationId="{B9A7D26D-2B72-B2C2-E1C3-3245EC24F84F}"/>
          </ac:picMkLst>
        </pc:picChg>
      </pc:sldChg>
      <pc:sldChg chg="addSp delSp modSp mod modClrScheme chgLayout">
        <pc:chgData name="Sezgen, Handenur" userId="693f6077-2094-4a4b-9c12-b1a0c4de2bbc" providerId="ADAL" clId="{5B430AB4-3B31-40FC-B7D2-06B73B197EDF}" dt="2025-10-16T10:11:07.597" v="3618"/>
        <pc:sldMkLst>
          <pc:docMk/>
          <pc:sldMk cId="3241607113" sldId="282"/>
        </pc:sldMkLst>
        <pc:spChg chg="mod ord">
          <ac:chgData name="Sezgen, Handenur" userId="693f6077-2094-4a4b-9c12-b1a0c4de2bbc" providerId="ADAL" clId="{5B430AB4-3B31-40FC-B7D2-06B73B197EDF}" dt="2025-10-16T07:40:14.014" v="52" actId="12"/>
          <ac:spMkLst>
            <pc:docMk/>
            <pc:sldMk cId="3241607113" sldId="282"/>
            <ac:spMk id="3" creationId="{09CC34EF-5831-ACA3-DE56-BDE42305FC09}"/>
          </ac:spMkLst>
        </pc:spChg>
        <pc:spChg chg="mod ord">
          <ac:chgData name="Sezgen, Handenur" userId="693f6077-2094-4a4b-9c12-b1a0c4de2bbc" providerId="ADAL" clId="{5B430AB4-3B31-40FC-B7D2-06B73B197EDF}" dt="2025-10-16T07:39:58.035" v="46" actId="700"/>
          <ac:spMkLst>
            <pc:docMk/>
            <pc:sldMk cId="3241607113" sldId="282"/>
            <ac:spMk id="4" creationId="{5AECFF58-1CAF-4CDB-9699-386CDED03B46}"/>
          </ac:spMkLst>
        </pc:spChg>
        <pc:spChg chg="mod">
          <ac:chgData name="Sezgen, Handenur" userId="693f6077-2094-4a4b-9c12-b1a0c4de2bbc" providerId="ADAL" clId="{5B430AB4-3B31-40FC-B7D2-06B73B197EDF}" dt="2025-10-16T07:40:20.755" v="53" actId="164"/>
          <ac:spMkLst>
            <pc:docMk/>
            <pc:sldMk cId="3241607113" sldId="282"/>
            <ac:spMk id="12" creationId="{EA2AE21B-BFFF-C0FC-5373-4814AF785411}"/>
          </ac:spMkLst>
        </pc:spChg>
        <pc:spChg chg="mod">
          <ac:chgData name="Sezgen, Handenur" userId="693f6077-2094-4a4b-9c12-b1a0c4de2bbc" providerId="ADAL" clId="{5B430AB4-3B31-40FC-B7D2-06B73B197EDF}" dt="2025-10-16T07:40:20.755" v="53" actId="164"/>
          <ac:spMkLst>
            <pc:docMk/>
            <pc:sldMk cId="3241607113" sldId="282"/>
            <ac:spMk id="13" creationId="{8827610E-293C-5C0A-CD9F-519D2E335903}"/>
          </ac:spMkLst>
        </pc:spChg>
        <pc:spChg chg="mod">
          <ac:chgData name="Sezgen, Handenur" userId="693f6077-2094-4a4b-9c12-b1a0c4de2bbc" providerId="ADAL" clId="{5B430AB4-3B31-40FC-B7D2-06B73B197EDF}" dt="2025-10-16T07:40:20.755" v="53" actId="164"/>
          <ac:spMkLst>
            <pc:docMk/>
            <pc:sldMk cId="3241607113" sldId="282"/>
            <ac:spMk id="14" creationId="{C2E35140-9001-5B4D-4724-6388B2AB0B49}"/>
          </ac:spMkLst>
        </pc:spChg>
        <pc:spChg chg="mod">
          <ac:chgData name="Sezgen, Handenur" userId="693f6077-2094-4a4b-9c12-b1a0c4de2bbc" providerId="ADAL" clId="{5B430AB4-3B31-40FC-B7D2-06B73B197EDF}" dt="2025-10-16T07:40:20.755" v="53" actId="164"/>
          <ac:spMkLst>
            <pc:docMk/>
            <pc:sldMk cId="3241607113" sldId="282"/>
            <ac:spMk id="16" creationId="{32554EBA-4B27-00B8-2F00-B49F2CE72C60}"/>
          </ac:spMkLst>
        </pc:spChg>
        <pc:spChg chg="mod">
          <ac:chgData name="Sezgen, Handenur" userId="693f6077-2094-4a4b-9c12-b1a0c4de2bbc" providerId="ADAL" clId="{5B430AB4-3B31-40FC-B7D2-06B73B197EDF}" dt="2025-10-16T07:40:20.755" v="53" actId="164"/>
          <ac:spMkLst>
            <pc:docMk/>
            <pc:sldMk cId="3241607113" sldId="282"/>
            <ac:spMk id="194" creationId="{E959B36A-8CCF-97B0-77D8-9F7022C2F7E9}"/>
          </ac:spMkLst>
        </pc:spChg>
        <pc:spChg chg="mod">
          <ac:chgData name="Sezgen, Handenur" userId="693f6077-2094-4a4b-9c12-b1a0c4de2bbc" providerId="ADAL" clId="{5B430AB4-3B31-40FC-B7D2-06B73B197EDF}" dt="2025-10-16T07:40:20.755" v="53" actId="164"/>
          <ac:spMkLst>
            <pc:docMk/>
            <pc:sldMk cId="3241607113" sldId="282"/>
            <ac:spMk id="195" creationId="{5711E295-5C46-DB17-4F9A-2D60C86D3002}"/>
          </ac:spMkLst>
        </pc:spChg>
        <pc:spChg chg="mod">
          <ac:chgData name="Sezgen, Handenur" userId="693f6077-2094-4a4b-9c12-b1a0c4de2bbc" providerId="ADAL" clId="{5B430AB4-3B31-40FC-B7D2-06B73B197EDF}" dt="2025-10-16T07:40:20.755" v="53" actId="164"/>
          <ac:spMkLst>
            <pc:docMk/>
            <pc:sldMk cId="3241607113" sldId="282"/>
            <ac:spMk id="196" creationId="{2DC986A1-CF8D-2EEB-642C-579C23439346}"/>
          </ac:spMkLst>
        </pc:spChg>
        <pc:spChg chg="mod">
          <ac:chgData name="Sezgen, Handenur" userId="693f6077-2094-4a4b-9c12-b1a0c4de2bbc" providerId="ADAL" clId="{5B430AB4-3B31-40FC-B7D2-06B73B197EDF}" dt="2025-10-16T07:40:20.755" v="53" actId="164"/>
          <ac:spMkLst>
            <pc:docMk/>
            <pc:sldMk cId="3241607113" sldId="282"/>
            <ac:spMk id="198" creationId="{FF850CF7-1157-0F80-3D1E-2B323E086B6A}"/>
          </ac:spMkLst>
        </pc:spChg>
        <pc:spChg chg="mod">
          <ac:chgData name="Sezgen, Handenur" userId="693f6077-2094-4a4b-9c12-b1a0c4de2bbc" providerId="ADAL" clId="{5B430AB4-3B31-40FC-B7D2-06B73B197EDF}" dt="2025-10-16T07:40:20.755" v="53" actId="164"/>
          <ac:spMkLst>
            <pc:docMk/>
            <pc:sldMk cId="3241607113" sldId="282"/>
            <ac:spMk id="199" creationId="{8059F544-2AA8-EBEB-3F51-1F5B03094203}"/>
          </ac:spMkLst>
        </pc:spChg>
        <pc:spChg chg="mod">
          <ac:chgData name="Sezgen, Handenur" userId="693f6077-2094-4a4b-9c12-b1a0c4de2bbc" providerId="ADAL" clId="{5B430AB4-3B31-40FC-B7D2-06B73B197EDF}" dt="2025-10-16T07:40:20.755" v="53" actId="164"/>
          <ac:spMkLst>
            <pc:docMk/>
            <pc:sldMk cId="3241607113" sldId="282"/>
            <ac:spMk id="220" creationId="{0CA5245A-D558-825B-D8AB-2DF90E461ECC}"/>
          </ac:spMkLst>
        </pc:spChg>
        <pc:grpChg chg="mod">
          <ac:chgData name="Sezgen, Handenur" userId="693f6077-2094-4a4b-9c12-b1a0c4de2bbc" providerId="ADAL" clId="{5B430AB4-3B31-40FC-B7D2-06B73B197EDF}" dt="2025-10-16T07:40:22.549" v="68" actId="1036"/>
          <ac:grpSpMkLst>
            <pc:docMk/>
            <pc:sldMk cId="3241607113" sldId="282"/>
            <ac:grpSpMk id="5" creationId="{FF179800-FCFA-AF14-EB91-B4CC32CBB8E0}"/>
          </ac:grpSpMkLst>
        </pc:grpChg>
        <pc:grpChg chg="add del mod">
          <ac:chgData name="Sezgen, Handenur" userId="693f6077-2094-4a4b-9c12-b1a0c4de2bbc" providerId="ADAL" clId="{5B430AB4-3B31-40FC-B7D2-06B73B197EDF}" dt="2025-10-16T10:11:07.323" v="3617" actId="478"/>
          <ac:grpSpMkLst>
            <pc:docMk/>
            <pc:sldMk cId="3241607113" sldId="282"/>
            <ac:grpSpMk id="7" creationId="{2329735B-0F30-EB3B-6CDC-028B0215CF29}"/>
          </ac:grpSpMkLst>
        </pc:grpChg>
        <pc:picChg chg="mod">
          <ac:chgData name="Sezgen, Handenur" userId="693f6077-2094-4a4b-9c12-b1a0c4de2bbc" providerId="ADAL" clId="{5B430AB4-3B31-40FC-B7D2-06B73B197EDF}" dt="2025-10-16T10:10:17.520" v="3577"/>
          <ac:picMkLst>
            <pc:docMk/>
            <pc:sldMk cId="3241607113" sldId="282"/>
            <ac:picMk id="8" creationId="{E5ADA927-BD72-C306-CA6E-388591B0BF72}"/>
          </ac:picMkLst>
        </pc:picChg>
        <pc:picChg chg="mod">
          <ac:chgData name="Sezgen, Handenur" userId="693f6077-2094-4a4b-9c12-b1a0c4de2bbc" providerId="ADAL" clId="{5B430AB4-3B31-40FC-B7D2-06B73B197EDF}" dt="2025-10-16T10:10:17.520" v="3577"/>
          <ac:picMkLst>
            <pc:docMk/>
            <pc:sldMk cId="3241607113" sldId="282"/>
            <ac:picMk id="9" creationId="{3100DEE8-8A32-C491-CB66-CFE115024509}"/>
          </ac:picMkLst>
        </pc:picChg>
        <pc:picChg chg="add mod">
          <ac:chgData name="Sezgen, Handenur" userId="693f6077-2094-4a4b-9c12-b1a0c4de2bbc" providerId="ADAL" clId="{5B430AB4-3B31-40FC-B7D2-06B73B197EDF}" dt="2025-10-16T10:11:07.597" v="3618"/>
          <ac:picMkLst>
            <pc:docMk/>
            <pc:sldMk cId="3241607113" sldId="282"/>
            <ac:picMk id="11" creationId="{713D2F95-34E2-747A-BA21-F84DBB2758F8}"/>
          </ac:picMkLst>
        </pc:picChg>
      </pc:sldChg>
      <pc:sldChg chg="addSp modSp mod modClrScheme chgLayout">
        <pc:chgData name="Sezgen, Handenur" userId="693f6077-2094-4a4b-9c12-b1a0c4de2bbc" providerId="ADAL" clId="{5B430AB4-3B31-40FC-B7D2-06B73B197EDF}" dt="2025-10-16T10:11:13.530" v="3621"/>
        <pc:sldMkLst>
          <pc:docMk/>
          <pc:sldMk cId="200586576" sldId="283"/>
        </pc:sldMkLst>
        <pc:spChg chg="mod ord">
          <ac:chgData name="Sezgen, Handenur" userId="693f6077-2094-4a4b-9c12-b1a0c4de2bbc" providerId="ADAL" clId="{5B430AB4-3B31-40FC-B7D2-06B73B197EDF}" dt="2025-10-16T07:41:49.859" v="126" actId="700"/>
          <ac:spMkLst>
            <pc:docMk/>
            <pc:sldMk cId="200586576" sldId="283"/>
            <ac:spMk id="4" creationId="{758C1E76-9C89-9896-7236-9114E14533F4}"/>
          </ac:spMkLst>
        </pc:spChg>
        <pc:spChg chg="mod ord">
          <ac:chgData name="Sezgen, Handenur" userId="693f6077-2094-4a4b-9c12-b1a0c4de2bbc" providerId="ADAL" clId="{5B430AB4-3B31-40FC-B7D2-06B73B197EDF}" dt="2025-10-16T07:41:57.164" v="131" actId="1076"/>
          <ac:spMkLst>
            <pc:docMk/>
            <pc:sldMk cId="200586576" sldId="283"/>
            <ac:spMk id="6" creationId="{D77AB6C7-0EC0-6BB0-6FCD-1AEFCF076341}"/>
          </ac:spMkLst>
        </pc:spChg>
        <pc:spChg chg="mod">
          <ac:chgData name="Sezgen, Handenur" userId="693f6077-2094-4a4b-9c12-b1a0c4de2bbc" providerId="ADAL" clId="{5B430AB4-3B31-40FC-B7D2-06B73B197EDF}" dt="2025-10-16T07:42:10.508" v="151" actId="1036"/>
          <ac:spMkLst>
            <pc:docMk/>
            <pc:sldMk cId="200586576" sldId="283"/>
            <ac:spMk id="7" creationId="{BB766485-4D7A-79C4-9F5E-66ECB1F06ECD}"/>
          </ac:spMkLst>
        </pc:spChg>
        <pc:spChg chg="mod">
          <ac:chgData name="Sezgen, Handenur" userId="693f6077-2094-4a4b-9c12-b1a0c4de2bbc" providerId="ADAL" clId="{5B430AB4-3B31-40FC-B7D2-06B73B197EDF}" dt="2025-10-16T07:42:13.530" v="152" actId="1076"/>
          <ac:spMkLst>
            <pc:docMk/>
            <pc:sldMk cId="200586576" sldId="283"/>
            <ac:spMk id="13" creationId="{FF67066B-925A-D0B3-0ED3-A55C47992FEB}"/>
          </ac:spMkLst>
        </pc:spChg>
        <pc:spChg chg="mod">
          <ac:chgData name="Sezgen, Handenur" userId="693f6077-2094-4a4b-9c12-b1a0c4de2bbc" providerId="ADAL" clId="{5B430AB4-3B31-40FC-B7D2-06B73B197EDF}" dt="2025-10-16T07:42:10.508" v="151" actId="1036"/>
          <ac:spMkLst>
            <pc:docMk/>
            <pc:sldMk cId="200586576" sldId="283"/>
            <ac:spMk id="14" creationId="{18660D4E-1840-561A-B3AA-55C8C3043B67}"/>
          </ac:spMkLst>
        </pc:spChg>
        <pc:spChg chg="mod">
          <ac:chgData name="Sezgen, Handenur" userId="693f6077-2094-4a4b-9c12-b1a0c4de2bbc" providerId="ADAL" clId="{5B430AB4-3B31-40FC-B7D2-06B73B197EDF}" dt="2025-10-16T07:42:10.508" v="151" actId="1036"/>
          <ac:spMkLst>
            <pc:docMk/>
            <pc:sldMk cId="200586576" sldId="283"/>
            <ac:spMk id="20" creationId="{0BC0884F-EE74-F681-AA7A-D546E2CB31AA}"/>
          </ac:spMkLst>
        </pc:spChg>
        <pc:spChg chg="mod">
          <ac:chgData name="Sezgen, Handenur" userId="693f6077-2094-4a4b-9c12-b1a0c4de2bbc" providerId="ADAL" clId="{5B430AB4-3B31-40FC-B7D2-06B73B197EDF}" dt="2025-10-16T07:42:10.508" v="151" actId="1036"/>
          <ac:spMkLst>
            <pc:docMk/>
            <pc:sldMk cId="200586576" sldId="283"/>
            <ac:spMk id="37" creationId="{90252103-DCA2-6096-B962-CDBF71E109EC}"/>
          </ac:spMkLst>
        </pc:spChg>
        <pc:spChg chg="mod">
          <ac:chgData name="Sezgen, Handenur" userId="693f6077-2094-4a4b-9c12-b1a0c4de2bbc" providerId="ADAL" clId="{5B430AB4-3B31-40FC-B7D2-06B73B197EDF}" dt="2025-10-16T07:42:10.508" v="151" actId="1036"/>
          <ac:spMkLst>
            <pc:docMk/>
            <pc:sldMk cId="200586576" sldId="283"/>
            <ac:spMk id="50" creationId="{6E9C0FFF-F041-9050-CBF7-663945424A77}"/>
          </ac:spMkLst>
        </pc:spChg>
        <pc:spChg chg="mod">
          <ac:chgData name="Sezgen, Handenur" userId="693f6077-2094-4a4b-9c12-b1a0c4de2bbc" providerId="ADAL" clId="{5B430AB4-3B31-40FC-B7D2-06B73B197EDF}" dt="2025-10-16T07:42:10.508" v="151" actId="1036"/>
          <ac:spMkLst>
            <pc:docMk/>
            <pc:sldMk cId="200586576" sldId="283"/>
            <ac:spMk id="51" creationId="{E988FF66-D8C7-BD16-B36F-F3B5C16F40C2}"/>
          </ac:spMkLst>
        </pc:spChg>
        <pc:spChg chg="mod">
          <ac:chgData name="Sezgen, Handenur" userId="693f6077-2094-4a4b-9c12-b1a0c4de2bbc" providerId="ADAL" clId="{5B430AB4-3B31-40FC-B7D2-06B73B197EDF}" dt="2025-10-16T07:42:10.508" v="151" actId="1036"/>
          <ac:spMkLst>
            <pc:docMk/>
            <pc:sldMk cId="200586576" sldId="283"/>
            <ac:spMk id="52" creationId="{A7CDFA19-4FED-4507-9E2D-441BE72A2BF3}"/>
          </ac:spMkLst>
        </pc:spChg>
        <pc:spChg chg="mod">
          <ac:chgData name="Sezgen, Handenur" userId="693f6077-2094-4a4b-9c12-b1a0c4de2bbc" providerId="ADAL" clId="{5B430AB4-3B31-40FC-B7D2-06B73B197EDF}" dt="2025-10-16T07:42:10.508" v="151" actId="1036"/>
          <ac:spMkLst>
            <pc:docMk/>
            <pc:sldMk cId="200586576" sldId="283"/>
            <ac:spMk id="53" creationId="{563F37BD-5D72-8225-B275-E57720197DC1}"/>
          </ac:spMkLst>
        </pc:spChg>
        <pc:picChg chg="add mod">
          <ac:chgData name="Sezgen, Handenur" userId="693f6077-2094-4a4b-9c12-b1a0c4de2bbc" providerId="ADAL" clId="{5B430AB4-3B31-40FC-B7D2-06B73B197EDF}" dt="2025-10-16T10:11:13.530" v="3621"/>
          <ac:picMkLst>
            <pc:docMk/>
            <pc:sldMk cId="200586576" sldId="283"/>
            <ac:picMk id="2" creationId="{122EDE11-A2D3-16C3-00C7-9369A5C57A9B}"/>
          </ac:picMkLst>
        </pc:picChg>
        <pc:picChg chg="mod">
          <ac:chgData name="Sezgen, Handenur" userId="693f6077-2094-4a4b-9c12-b1a0c4de2bbc" providerId="ADAL" clId="{5B430AB4-3B31-40FC-B7D2-06B73B197EDF}" dt="2025-10-16T07:42:10.508" v="151" actId="1036"/>
          <ac:picMkLst>
            <pc:docMk/>
            <pc:sldMk cId="200586576" sldId="283"/>
            <ac:picMk id="43" creationId="{9DF561B0-CD3A-91B9-7815-4699A8AAEB40}"/>
          </ac:picMkLst>
        </pc:picChg>
        <pc:picChg chg="mod">
          <ac:chgData name="Sezgen, Handenur" userId="693f6077-2094-4a4b-9c12-b1a0c4de2bbc" providerId="ADAL" clId="{5B430AB4-3B31-40FC-B7D2-06B73B197EDF}" dt="2025-10-16T07:42:10.508" v="151" actId="1036"/>
          <ac:picMkLst>
            <pc:docMk/>
            <pc:sldMk cId="200586576" sldId="283"/>
            <ac:picMk id="45" creationId="{4E9C30A2-6033-EAD5-44B5-83F2DC7F3E04}"/>
          </ac:picMkLst>
        </pc:picChg>
      </pc:sldChg>
      <pc:sldChg chg="addSp modSp mod modClrScheme chgLayout">
        <pc:chgData name="Sezgen, Handenur" userId="693f6077-2094-4a4b-9c12-b1a0c4de2bbc" providerId="ADAL" clId="{5B430AB4-3B31-40FC-B7D2-06B73B197EDF}" dt="2025-10-16T10:11:17.984" v="3625"/>
        <pc:sldMkLst>
          <pc:docMk/>
          <pc:sldMk cId="3100522091" sldId="284"/>
        </pc:sldMkLst>
        <pc:spChg chg="mod ord">
          <ac:chgData name="Sezgen, Handenur" userId="693f6077-2094-4a4b-9c12-b1a0c4de2bbc" providerId="ADAL" clId="{5B430AB4-3B31-40FC-B7D2-06B73B197EDF}" dt="2025-10-16T07:43:15.112" v="176" actId="700"/>
          <ac:spMkLst>
            <pc:docMk/>
            <pc:sldMk cId="3100522091" sldId="284"/>
            <ac:spMk id="2" creationId="{65D15288-924D-2E08-EF62-40D2E68095FB}"/>
          </ac:spMkLst>
        </pc:spChg>
        <pc:spChg chg="mod ord">
          <ac:chgData name="Sezgen, Handenur" userId="693f6077-2094-4a4b-9c12-b1a0c4de2bbc" providerId="ADAL" clId="{5B430AB4-3B31-40FC-B7D2-06B73B197EDF}" dt="2025-10-16T07:43:15.112" v="176" actId="700"/>
          <ac:spMkLst>
            <pc:docMk/>
            <pc:sldMk cId="3100522091" sldId="284"/>
            <ac:spMk id="4" creationId="{2A804616-3393-F601-CD59-1F7FF2FF27E7}"/>
          </ac:spMkLst>
        </pc:spChg>
        <pc:spChg chg="mod ord">
          <ac:chgData name="Sezgen, Handenur" userId="693f6077-2094-4a4b-9c12-b1a0c4de2bbc" providerId="ADAL" clId="{5B430AB4-3B31-40FC-B7D2-06B73B197EDF}" dt="2025-10-16T07:43:18.523" v="178" actId="1076"/>
          <ac:spMkLst>
            <pc:docMk/>
            <pc:sldMk cId="3100522091" sldId="284"/>
            <ac:spMk id="5" creationId="{7FDBCED5-5721-17AC-EA0F-8EFEA139DB55}"/>
          </ac:spMkLst>
        </pc:spChg>
        <pc:spChg chg="mod">
          <ac:chgData name="Sezgen, Handenur" userId="693f6077-2094-4a4b-9c12-b1a0c4de2bbc" providerId="ADAL" clId="{5B430AB4-3B31-40FC-B7D2-06B73B197EDF}" dt="2025-10-16T07:43:23.644" v="189" actId="1035"/>
          <ac:spMkLst>
            <pc:docMk/>
            <pc:sldMk cId="3100522091" sldId="284"/>
            <ac:spMk id="6" creationId="{A22CB195-93AA-F8CB-5DC3-26CC74EE4A86}"/>
          </ac:spMkLst>
        </pc:spChg>
        <pc:spChg chg="mod">
          <ac:chgData name="Sezgen, Handenur" userId="693f6077-2094-4a4b-9c12-b1a0c4de2bbc" providerId="ADAL" clId="{5B430AB4-3B31-40FC-B7D2-06B73B197EDF}" dt="2025-10-16T07:43:23.644" v="189" actId="1035"/>
          <ac:spMkLst>
            <pc:docMk/>
            <pc:sldMk cId="3100522091" sldId="284"/>
            <ac:spMk id="7" creationId="{C8E5841E-CB7D-09A4-068F-95233D6E4921}"/>
          </ac:spMkLst>
        </pc:spChg>
        <pc:spChg chg="mod">
          <ac:chgData name="Sezgen, Handenur" userId="693f6077-2094-4a4b-9c12-b1a0c4de2bbc" providerId="ADAL" clId="{5B430AB4-3B31-40FC-B7D2-06B73B197EDF}" dt="2025-10-16T07:43:23.644" v="189" actId="1035"/>
          <ac:spMkLst>
            <pc:docMk/>
            <pc:sldMk cId="3100522091" sldId="284"/>
            <ac:spMk id="9" creationId="{E038FCD1-282B-8CA9-7F6A-D1E9A813C2FB}"/>
          </ac:spMkLst>
        </pc:spChg>
        <pc:spChg chg="mod">
          <ac:chgData name="Sezgen, Handenur" userId="693f6077-2094-4a4b-9c12-b1a0c4de2bbc" providerId="ADAL" clId="{5B430AB4-3B31-40FC-B7D2-06B73B197EDF}" dt="2025-10-16T07:43:23.644" v="189" actId="1035"/>
          <ac:spMkLst>
            <pc:docMk/>
            <pc:sldMk cId="3100522091" sldId="284"/>
            <ac:spMk id="12" creationId="{A98838E5-5DD5-7567-8FFD-25C1A7659308}"/>
          </ac:spMkLst>
        </pc:spChg>
        <pc:spChg chg="mod">
          <ac:chgData name="Sezgen, Handenur" userId="693f6077-2094-4a4b-9c12-b1a0c4de2bbc" providerId="ADAL" clId="{5B430AB4-3B31-40FC-B7D2-06B73B197EDF}" dt="2025-10-16T07:43:23.644" v="189" actId="1035"/>
          <ac:spMkLst>
            <pc:docMk/>
            <pc:sldMk cId="3100522091" sldId="284"/>
            <ac:spMk id="13" creationId="{81706159-E86A-DABC-4D92-03FCDCA81452}"/>
          </ac:spMkLst>
        </pc:spChg>
        <pc:spChg chg="mod">
          <ac:chgData name="Sezgen, Handenur" userId="693f6077-2094-4a4b-9c12-b1a0c4de2bbc" providerId="ADAL" clId="{5B430AB4-3B31-40FC-B7D2-06B73B197EDF}" dt="2025-10-16T07:43:23.644" v="189" actId="1035"/>
          <ac:spMkLst>
            <pc:docMk/>
            <pc:sldMk cId="3100522091" sldId="284"/>
            <ac:spMk id="14" creationId="{876DEC53-6E45-19D6-14C7-7FA245E1F8F7}"/>
          </ac:spMkLst>
        </pc:spChg>
        <pc:spChg chg="mod">
          <ac:chgData name="Sezgen, Handenur" userId="693f6077-2094-4a4b-9c12-b1a0c4de2bbc" providerId="ADAL" clId="{5B430AB4-3B31-40FC-B7D2-06B73B197EDF}" dt="2025-10-16T07:43:23.644" v="189" actId="1035"/>
          <ac:spMkLst>
            <pc:docMk/>
            <pc:sldMk cId="3100522091" sldId="284"/>
            <ac:spMk id="15" creationId="{88719AE0-BBB5-65AE-030C-67B62D2F399D}"/>
          </ac:spMkLst>
        </pc:spChg>
        <pc:spChg chg="mod">
          <ac:chgData name="Sezgen, Handenur" userId="693f6077-2094-4a4b-9c12-b1a0c4de2bbc" providerId="ADAL" clId="{5B430AB4-3B31-40FC-B7D2-06B73B197EDF}" dt="2025-10-16T07:43:23.644" v="189" actId="1035"/>
          <ac:spMkLst>
            <pc:docMk/>
            <pc:sldMk cId="3100522091" sldId="284"/>
            <ac:spMk id="16" creationId="{A6FADEB3-ABE8-481B-3103-990E01FA8F53}"/>
          </ac:spMkLst>
        </pc:spChg>
        <pc:picChg chg="add mod">
          <ac:chgData name="Sezgen, Handenur" userId="693f6077-2094-4a4b-9c12-b1a0c4de2bbc" providerId="ADAL" clId="{5B430AB4-3B31-40FC-B7D2-06B73B197EDF}" dt="2025-10-16T10:11:17.984" v="3625"/>
          <ac:picMkLst>
            <pc:docMk/>
            <pc:sldMk cId="3100522091" sldId="284"/>
            <ac:picMk id="3" creationId="{7911BC87-EDDE-CB47-5A67-51C49CD540E3}"/>
          </ac:picMkLst>
        </pc:picChg>
        <pc:picChg chg="mod">
          <ac:chgData name="Sezgen, Handenur" userId="693f6077-2094-4a4b-9c12-b1a0c4de2bbc" providerId="ADAL" clId="{5B430AB4-3B31-40FC-B7D2-06B73B197EDF}" dt="2025-10-16T07:43:23.644" v="189" actId="1035"/>
          <ac:picMkLst>
            <pc:docMk/>
            <pc:sldMk cId="3100522091" sldId="284"/>
            <ac:picMk id="533" creationId="{5C5F7AA1-A90D-BF9B-4685-08B799226F31}"/>
          </ac:picMkLst>
        </pc:picChg>
        <pc:picChg chg="mod">
          <ac:chgData name="Sezgen, Handenur" userId="693f6077-2094-4a4b-9c12-b1a0c4de2bbc" providerId="ADAL" clId="{5B430AB4-3B31-40FC-B7D2-06B73B197EDF}" dt="2025-10-16T07:43:23.644" v="189" actId="1035"/>
          <ac:picMkLst>
            <pc:docMk/>
            <pc:sldMk cId="3100522091" sldId="284"/>
            <ac:picMk id="537" creationId="{5245C67F-5566-7EA1-8B5C-B5B24C31698C}"/>
          </ac:picMkLst>
        </pc:picChg>
      </pc:sldChg>
      <pc:sldChg chg="addSp delSp modSp add mod modClrScheme chgLayout">
        <pc:chgData name="Sezgen, Handenur" userId="693f6077-2094-4a4b-9c12-b1a0c4de2bbc" providerId="ADAL" clId="{5B430AB4-3B31-40FC-B7D2-06B73B197EDF}" dt="2025-10-16T10:12:56.495" v="3660"/>
        <pc:sldMkLst>
          <pc:docMk/>
          <pc:sldMk cId="0" sldId="285"/>
        </pc:sldMkLst>
        <pc:spChg chg="mod ord">
          <ac:chgData name="Sezgen, Handenur" userId="693f6077-2094-4a4b-9c12-b1a0c4de2bbc" providerId="ADAL" clId="{5B430AB4-3B31-40FC-B7D2-06B73B197EDF}" dt="2025-10-16T08:34:01.448" v="1260" actId="700"/>
          <ac:spMkLst>
            <pc:docMk/>
            <pc:sldMk cId="0" sldId="285"/>
            <ac:spMk id="2" creationId="{00000000-0000-0000-0000-000000000000}"/>
          </ac:spMkLst>
        </pc:spChg>
        <pc:spChg chg="mod ord">
          <ac:chgData name="Sezgen, Handenur" userId="693f6077-2094-4a4b-9c12-b1a0c4de2bbc" providerId="ADAL" clId="{5B430AB4-3B31-40FC-B7D2-06B73B197EDF}" dt="2025-10-16T08:34:17.224" v="1267" actId="947"/>
          <ac:spMkLst>
            <pc:docMk/>
            <pc:sldMk cId="0" sldId="285"/>
            <ac:spMk id="3" creationId="{00000000-0000-0000-0000-000000000000}"/>
          </ac:spMkLst>
        </pc:spChg>
        <pc:spChg chg="add del mod">
          <ac:chgData name="Sezgen, Handenur" userId="693f6077-2094-4a4b-9c12-b1a0c4de2bbc" providerId="ADAL" clId="{5B430AB4-3B31-40FC-B7D2-06B73B197EDF}" dt="2025-10-16T08:33:58.986" v="1259" actId="6264"/>
          <ac:spMkLst>
            <pc:docMk/>
            <pc:sldMk cId="0" sldId="285"/>
            <ac:spMk id="5" creationId="{E538D60C-43CA-5341-FAE9-1F1BBBAD1E79}"/>
          </ac:spMkLst>
        </pc:spChg>
        <pc:spChg chg="add del mod">
          <ac:chgData name="Sezgen, Handenur" userId="693f6077-2094-4a4b-9c12-b1a0c4de2bbc" providerId="ADAL" clId="{5B430AB4-3B31-40FC-B7D2-06B73B197EDF}" dt="2025-10-16T08:33:58.986" v="1259" actId="6264"/>
          <ac:spMkLst>
            <pc:docMk/>
            <pc:sldMk cId="0" sldId="285"/>
            <ac:spMk id="6" creationId="{B4163893-F998-C9FA-2947-CD6245D79575}"/>
          </ac:spMkLst>
        </pc:spChg>
        <pc:picChg chg="mod">
          <ac:chgData name="Sezgen, Handenur" userId="693f6077-2094-4a4b-9c12-b1a0c4de2bbc" providerId="ADAL" clId="{5B430AB4-3B31-40FC-B7D2-06B73B197EDF}" dt="2025-10-16T08:34:20.811" v="1268" actId="1076"/>
          <ac:picMkLst>
            <pc:docMk/>
            <pc:sldMk cId="0" sldId="285"/>
            <ac:picMk id="4" creationId="{11B91571-07A5-4CE1-A716-D14ABFDCC4E4}"/>
          </ac:picMkLst>
        </pc:picChg>
        <pc:picChg chg="add mod">
          <ac:chgData name="Sezgen, Handenur" userId="693f6077-2094-4a4b-9c12-b1a0c4de2bbc" providerId="ADAL" clId="{5B430AB4-3B31-40FC-B7D2-06B73B197EDF}" dt="2025-10-16T10:12:56.495" v="3660"/>
          <ac:picMkLst>
            <pc:docMk/>
            <pc:sldMk cId="0" sldId="285"/>
            <ac:picMk id="7" creationId="{8226111D-2FAE-FB54-1D92-A6DCC22B7F4A}"/>
          </ac:picMkLst>
        </pc:picChg>
        <pc:picChg chg="add mod">
          <ac:chgData name="Sezgen, Handenur" userId="693f6077-2094-4a4b-9c12-b1a0c4de2bbc" providerId="ADAL" clId="{5B430AB4-3B31-40FC-B7D2-06B73B197EDF}" dt="2025-10-16T10:12:56.495" v="3660"/>
          <ac:picMkLst>
            <pc:docMk/>
            <pc:sldMk cId="0" sldId="285"/>
            <ac:picMk id="8" creationId="{075FBDB9-1F17-3C68-918D-C5262550D4CA}"/>
          </ac:picMkLst>
        </pc:picChg>
      </pc:sldChg>
      <pc:sldChg chg="addSp delSp modSp add del mod modShow chgLayout">
        <pc:chgData name="Sezgen, Handenur" userId="693f6077-2094-4a4b-9c12-b1a0c4de2bbc" providerId="ADAL" clId="{5B430AB4-3B31-40FC-B7D2-06B73B197EDF}" dt="2025-10-16T13:57:09.582" v="3710" actId="47"/>
        <pc:sldMkLst>
          <pc:docMk/>
          <pc:sldMk cId="2535250984" sldId="286"/>
        </pc:sldMkLst>
        <pc:spChg chg="mod ord">
          <ac:chgData name="Sezgen, Handenur" userId="693f6077-2094-4a4b-9c12-b1a0c4de2bbc" providerId="ADAL" clId="{5B430AB4-3B31-40FC-B7D2-06B73B197EDF}" dt="2025-10-16T08:34:25.740" v="1269" actId="6264"/>
          <ac:spMkLst>
            <pc:docMk/>
            <pc:sldMk cId="2535250984" sldId="286"/>
            <ac:spMk id="2" creationId="{6EC633E2-4A54-93FD-5A96-DE6275D424C5}"/>
          </ac:spMkLst>
        </pc:spChg>
        <pc:spChg chg="add del mod">
          <ac:chgData name="Sezgen, Handenur" userId="693f6077-2094-4a4b-9c12-b1a0c4de2bbc" providerId="ADAL" clId="{5B430AB4-3B31-40FC-B7D2-06B73B197EDF}" dt="2025-10-16T08:34:25.740" v="1269" actId="6264"/>
          <ac:spMkLst>
            <pc:docMk/>
            <pc:sldMk cId="2535250984" sldId="286"/>
            <ac:spMk id="41" creationId="{1514712E-4A30-888B-0F46-FA3F0415E631}"/>
          </ac:spMkLst>
        </pc:spChg>
        <pc:spChg chg="add del mod">
          <ac:chgData name="Sezgen, Handenur" userId="693f6077-2094-4a4b-9c12-b1a0c4de2bbc" providerId="ADAL" clId="{5B430AB4-3B31-40FC-B7D2-06B73B197EDF}" dt="2025-10-16T08:34:25.740" v="1269" actId="6264"/>
          <ac:spMkLst>
            <pc:docMk/>
            <pc:sldMk cId="2535250984" sldId="286"/>
            <ac:spMk id="46" creationId="{06E3783B-92FC-07F5-E62C-67C02942F52F}"/>
          </ac:spMkLst>
        </pc:spChg>
        <pc:spChg chg="mod ord">
          <ac:chgData name="Sezgen, Handenur" userId="693f6077-2094-4a4b-9c12-b1a0c4de2bbc" providerId="ADAL" clId="{5B430AB4-3B31-40FC-B7D2-06B73B197EDF}" dt="2025-10-16T08:34:25.740" v="1269" actId="6264"/>
          <ac:spMkLst>
            <pc:docMk/>
            <pc:sldMk cId="2535250984" sldId="286"/>
            <ac:spMk id="61" creationId="{8689F739-1759-169C-39F5-5082590713CE}"/>
          </ac:spMkLst>
        </pc:spChg>
        <pc:spChg chg="mod">
          <ac:chgData name="Sezgen, Handenur" userId="693f6077-2094-4a4b-9c12-b1a0c4de2bbc" providerId="ADAL" clId="{5B430AB4-3B31-40FC-B7D2-06B73B197EDF}" dt="2025-10-16T08:38:50.695" v="1327" actId="1076"/>
          <ac:spMkLst>
            <pc:docMk/>
            <pc:sldMk cId="2535250984" sldId="286"/>
            <ac:spMk id="62" creationId="{D2991ED2-9124-EB1A-1FEF-790E7302AB65}"/>
          </ac:spMkLst>
        </pc:spChg>
        <pc:grpChg chg="mod">
          <ac:chgData name="Sezgen, Handenur" userId="693f6077-2094-4a4b-9c12-b1a0c4de2bbc" providerId="ADAL" clId="{5B430AB4-3B31-40FC-B7D2-06B73B197EDF}" dt="2025-10-16T08:38:58.935" v="1330" actId="14100"/>
          <ac:grpSpMkLst>
            <pc:docMk/>
            <pc:sldMk cId="2535250984" sldId="286"/>
            <ac:grpSpMk id="8" creationId="{F40AA6E5-7DC5-1B2E-7472-CB6C2250D45B}"/>
          </ac:grpSpMkLst>
        </pc:grpChg>
        <pc:picChg chg="add mod">
          <ac:chgData name="Sezgen, Handenur" userId="693f6077-2094-4a4b-9c12-b1a0c4de2bbc" providerId="ADAL" clId="{5B430AB4-3B31-40FC-B7D2-06B73B197EDF}" dt="2025-10-16T10:12:57.567" v="3661"/>
          <ac:picMkLst>
            <pc:docMk/>
            <pc:sldMk cId="2535250984" sldId="286"/>
            <ac:picMk id="60" creationId="{8B264775-8385-7E2B-106E-E8443A194333}"/>
          </ac:picMkLst>
        </pc:picChg>
        <pc:picChg chg="add mod">
          <ac:chgData name="Sezgen, Handenur" userId="693f6077-2094-4a4b-9c12-b1a0c4de2bbc" providerId="ADAL" clId="{5B430AB4-3B31-40FC-B7D2-06B73B197EDF}" dt="2025-10-16T10:12:57.567" v="3661"/>
          <ac:picMkLst>
            <pc:docMk/>
            <pc:sldMk cId="2535250984" sldId="286"/>
            <ac:picMk id="63" creationId="{70751B08-E730-03DE-11E3-DAA33CED2E4D}"/>
          </ac:picMkLst>
        </pc:picChg>
      </pc:sldChg>
      <pc:sldChg chg="addSp delSp modSp mod modClrScheme chgLayout">
        <pc:chgData name="Sezgen, Handenur" userId="693f6077-2094-4a4b-9c12-b1a0c4de2bbc" providerId="ADAL" clId="{5B430AB4-3B31-40FC-B7D2-06B73B197EDF}" dt="2025-10-16T10:12:37.285" v="3647"/>
        <pc:sldMkLst>
          <pc:docMk/>
          <pc:sldMk cId="4003507335" sldId="287"/>
        </pc:sldMkLst>
        <pc:spChg chg="mod ord">
          <ac:chgData name="Sezgen, Handenur" userId="693f6077-2094-4a4b-9c12-b1a0c4de2bbc" providerId="ADAL" clId="{5B430AB4-3B31-40FC-B7D2-06B73B197EDF}" dt="2025-10-16T08:16:10.415" v="877" actId="27636"/>
          <ac:spMkLst>
            <pc:docMk/>
            <pc:sldMk cId="4003507335" sldId="287"/>
            <ac:spMk id="2" creationId="{40003C98-7F32-E6FC-DA7C-01E8AAFD1916}"/>
          </ac:spMkLst>
        </pc:spChg>
        <pc:spChg chg="add del mod">
          <ac:chgData name="Sezgen, Handenur" userId="693f6077-2094-4a4b-9c12-b1a0c4de2bbc" providerId="ADAL" clId="{5B430AB4-3B31-40FC-B7D2-06B73B197EDF}" dt="2025-10-16T08:15:52.535" v="873" actId="6264"/>
          <ac:spMkLst>
            <pc:docMk/>
            <pc:sldMk cId="4003507335" sldId="287"/>
            <ac:spMk id="5" creationId="{C9000E67-363E-66C8-5491-E94EA500EC55}"/>
          </ac:spMkLst>
        </pc:spChg>
        <pc:spChg chg="add del mod">
          <ac:chgData name="Sezgen, Handenur" userId="693f6077-2094-4a4b-9c12-b1a0c4de2bbc" providerId="ADAL" clId="{5B430AB4-3B31-40FC-B7D2-06B73B197EDF}" dt="2025-10-16T08:15:52.535" v="873" actId="6264"/>
          <ac:spMkLst>
            <pc:docMk/>
            <pc:sldMk cId="4003507335" sldId="287"/>
            <ac:spMk id="6" creationId="{23351B96-0CFE-C13C-7FE7-9D3DF7AFF09A}"/>
          </ac:spMkLst>
        </pc:spChg>
        <pc:spChg chg="mod">
          <ac:chgData name="Sezgen, Handenur" userId="693f6077-2094-4a4b-9c12-b1a0c4de2bbc" providerId="ADAL" clId="{5B430AB4-3B31-40FC-B7D2-06B73B197EDF}" dt="2025-10-16T08:16:20.358" v="893" actId="1035"/>
          <ac:spMkLst>
            <pc:docMk/>
            <pc:sldMk cId="4003507335" sldId="287"/>
            <ac:spMk id="8" creationId="{51805129-8253-A63D-F012-24D919695468}"/>
          </ac:spMkLst>
        </pc:spChg>
        <pc:spChg chg="add del mod">
          <ac:chgData name="Sezgen, Handenur" userId="693f6077-2094-4a4b-9c12-b1a0c4de2bbc" providerId="ADAL" clId="{5B430AB4-3B31-40FC-B7D2-06B73B197EDF}" dt="2025-10-16T08:15:58.782" v="875" actId="6264"/>
          <ac:spMkLst>
            <pc:docMk/>
            <pc:sldMk cId="4003507335" sldId="287"/>
            <ac:spMk id="9" creationId="{F3D8F00F-E138-88D4-A5ED-A0AACF384CF1}"/>
          </ac:spMkLst>
        </pc:spChg>
        <pc:spChg chg="mod">
          <ac:chgData name="Sezgen, Handenur" userId="693f6077-2094-4a4b-9c12-b1a0c4de2bbc" providerId="ADAL" clId="{5B430AB4-3B31-40FC-B7D2-06B73B197EDF}" dt="2025-10-16T08:16:40.243" v="899" actId="20577"/>
          <ac:spMkLst>
            <pc:docMk/>
            <pc:sldMk cId="4003507335" sldId="287"/>
            <ac:spMk id="10" creationId="{D018053A-85DE-F5B0-6F11-1AA69236754C}"/>
          </ac:spMkLst>
        </pc:spChg>
        <pc:picChg chg="mod ord">
          <ac:chgData name="Sezgen, Handenur" userId="693f6077-2094-4a4b-9c12-b1a0c4de2bbc" providerId="ADAL" clId="{5B430AB4-3B31-40FC-B7D2-06B73B197EDF}" dt="2025-10-16T08:15:58.782" v="875" actId="6264"/>
          <ac:picMkLst>
            <pc:docMk/>
            <pc:sldMk cId="4003507335" sldId="287"/>
            <ac:picMk id="4" creationId="{F8E36145-E206-26A5-9429-8AA2FF43A3E1}"/>
          </ac:picMkLst>
        </pc:picChg>
        <pc:picChg chg="add mod">
          <ac:chgData name="Sezgen, Handenur" userId="693f6077-2094-4a4b-9c12-b1a0c4de2bbc" providerId="ADAL" clId="{5B430AB4-3B31-40FC-B7D2-06B73B197EDF}" dt="2025-10-16T10:12:37.285" v="3647"/>
          <ac:picMkLst>
            <pc:docMk/>
            <pc:sldMk cId="4003507335" sldId="287"/>
            <ac:picMk id="11" creationId="{610FCD49-C5E8-26F4-1F95-929A19E6683C}"/>
          </ac:picMkLst>
        </pc:picChg>
      </pc:sldChg>
      <pc:sldChg chg="addSp delSp modSp mod modClrScheme chgLayout">
        <pc:chgData name="Sezgen, Handenur" userId="693f6077-2094-4a4b-9c12-b1a0c4de2bbc" providerId="ADAL" clId="{5B430AB4-3B31-40FC-B7D2-06B73B197EDF}" dt="2025-10-16T10:12:34.688" v="3644"/>
        <pc:sldMkLst>
          <pc:docMk/>
          <pc:sldMk cId="2231437468" sldId="288"/>
        </pc:sldMkLst>
        <pc:spChg chg="add del mod">
          <ac:chgData name="Sezgen, Handenur" userId="693f6077-2094-4a4b-9c12-b1a0c4de2bbc" providerId="ADAL" clId="{5B430AB4-3B31-40FC-B7D2-06B73B197EDF}" dt="2025-10-16T08:14:27.724" v="842" actId="6264"/>
          <ac:spMkLst>
            <pc:docMk/>
            <pc:sldMk cId="2231437468" sldId="288"/>
            <ac:spMk id="3" creationId="{CD320E7E-7088-A511-42F4-624F42F7B39F}"/>
          </ac:spMkLst>
        </pc:spChg>
        <pc:spChg chg="mod">
          <ac:chgData name="Sezgen, Handenur" userId="693f6077-2094-4a4b-9c12-b1a0c4de2bbc" providerId="ADAL" clId="{5B430AB4-3B31-40FC-B7D2-06B73B197EDF}" dt="2025-10-16T08:14:30.410" v="843" actId="1076"/>
          <ac:spMkLst>
            <pc:docMk/>
            <pc:sldMk cId="2231437468" sldId="288"/>
            <ac:spMk id="5" creationId="{3E086FC5-B332-6C79-605C-5BB767D1E1FB}"/>
          </ac:spMkLst>
        </pc:spChg>
        <pc:spChg chg="mod ord">
          <ac:chgData name="Sezgen, Handenur" userId="693f6077-2094-4a4b-9c12-b1a0c4de2bbc" providerId="ADAL" clId="{5B430AB4-3B31-40FC-B7D2-06B73B197EDF}" dt="2025-10-16T08:14:27.724" v="842" actId="6264"/>
          <ac:spMkLst>
            <pc:docMk/>
            <pc:sldMk cId="2231437468" sldId="288"/>
            <ac:spMk id="17" creationId="{048159D3-6D3A-4C18-9E73-10E11F7AAD88}"/>
          </ac:spMkLst>
        </pc:spChg>
        <pc:picChg chg="add mod">
          <ac:chgData name="Sezgen, Handenur" userId="693f6077-2094-4a4b-9c12-b1a0c4de2bbc" providerId="ADAL" clId="{5B430AB4-3B31-40FC-B7D2-06B73B197EDF}" dt="2025-10-16T10:12:34.688" v="3644"/>
          <ac:picMkLst>
            <pc:docMk/>
            <pc:sldMk cId="2231437468" sldId="288"/>
            <ac:picMk id="14" creationId="{2FF91A86-427B-8BA5-877C-A91ED0704094}"/>
          </ac:picMkLst>
        </pc:picChg>
      </pc:sldChg>
      <pc:sldChg chg="addSp delSp modSp add del mod modShow chgLayout">
        <pc:chgData name="Sezgen, Handenur" userId="693f6077-2094-4a4b-9c12-b1a0c4de2bbc" providerId="ADAL" clId="{5B430AB4-3B31-40FC-B7D2-06B73B197EDF}" dt="2025-10-16T13:57:09.277" v="3709" actId="47"/>
        <pc:sldMkLst>
          <pc:docMk/>
          <pc:sldMk cId="2579045288" sldId="289"/>
        </pc:sldMkLst>
        <pc:spChg chg="add del mod">
          <ac:chgData name="Sezgen, Handenur" userId="693f6077-2094-4a4b-9c12-b1a0c4de2bbc" providerId="ADAL" clId="{5B430AB4-3B31-40FC-B7D2-06B73B197EDF}" dt="2025-10-16T08:39:05.015" v="1332" actId="6264"/>
          <ac:spMkLst>
            <pc:docMk/>
            <pc:sldMk cId="2579045288" sldId="289"/>
            <ac:spMk id="2" creationId="{82BA7268-1CDC-2D2B-3E25-A698FEBD6319}"/>
          </ac:spMkLst>
        </pc:spChg>
        <pc:spChg chg="del">
          <ac:chgData name="Sezgen, Handenur" userId="693f6077-2094-4a4b-9c12-b1a0c4de2bbc" providerId="ADAL" clId="{5B430AB4-3B31-40FC-B7D2-06B73B197EDF}" dt="2025-10-16T08:39:28.298" v="1349" actId="478"/>
          <ac:spMkLst>
            <pc:docMk/>
            <pc:sldMk cId="2579045288" sldId="289"/>
            <ac:spMk id="3" creationId="{5AA00172-7847-47D5-3AA0-127801E9C046}"/>
          </ac:spMkLst>
        </pc:spChg>
        <pc:spChg chg="mod ord">
          <ac:chgData name="Sezgen, Handenur" userId="693f6077-2094-4a4b-9c12-b1a0c4de2bbc" providerId="ADAL" clId="{5B430AB4-3B31-40FC-B7D2-06B73B197EDF}" dt="2025-10-16T08:39:11.616" v="1334" actId="242"/>
          <ac:spMkLst>
            <pc:docMk/>
            <pc:sldMk cId="2579045288" sldId="289"/>
            <ac:spMk id="4" creationId="{D434C17D-94FB-F821-8914-79A383199A40}"/>
          </ac:spMkLst>
        </pc:spChg>
        <pc:spChg chg="del">
          <ac:chgData name="Sezgen, Handenur" userId="693f6077-2094-4a4b-9c12-b1a0c4de2bbc" providerId="ADAL" clId="{5B430AB4-3B31-40FC-B7D2-06B73B197EDF}" dt="2025-10-16T08:40:18.209" v="1351" actId="478"/>
          <ac:spMkLst>
            <pc:docMk/>
            <pc:sldMk cId="2579045288" sldId="289"/>
            <ac:spMk id="5" creationId="{7164DE0F-D6D7-40CB-EDEE-D1D61DFABAA3}"/>
          </ac:spMkLst>
        </pc:spChg>
        <pc:spChg chg="del">
          <ac:chgData name="Sezgen, Handenur" userId="693f6077-2094-4a4b-9c12-b1a0c4de2bbc" providerId="ADAL" clId="{5B430AB4-3B31-40FC-B7D2-06B73B197EDF}" dt="2025-10-16T08:39:28.298" v="1349" actId="478"/>
          <ac:spMkLst>
            <pc:docMk/>
            <pc:sldMk cId="2579045288" sldId="289"/>
            <ac:spMk id="7" creationId="{56050130-205F-488E-3501-70E61FB4DCEB}"/>
          </ac:spMkLst>
        </pc:spChg>
        <pc:spChg chg="del mod">
          <ac:chgData name="Sezgen, Handenur" userId="693f6077-2094-4a4b-9c12-b1a0c4de2bbc" providerId="ADAL" clId="{5B430AB4-3B31-40FC-B7D2-06B73B197EDF}" dt="2025-10-16T08:39:28.298" v="1349" actId="478"/>
          <ac:spMkLst>
            <pc:docMk/>
            <pc:sldMk cId="2579045288" sldId="289"/>
            <ac:spMk id="8" creationId="{696AB3E4-B337-3CE0-3D27-166B60EF721D}"/>
          </ac:spMkLst>
        </pc:spChg>
        <pc:spChg chg="del">
          <ac:chgData name="Sezgen, Handenur" userId="693f6077-2094-4a4b-9c12-b1a0c4de2bbc" providerId="ADAL" clId="{5B430AB4-3B31-40FC-B7D2-06B73B197EDF}" dt="2025-10-16T08:39:28.298" v="1349" actId="478"/>
          <ac:spMkLst>
            <pc:docMk/>
            <pc:sldMk cId="2579045288" sldId="289"/>
            <ac:spMk id="9" creationId="{146ADD35-83AC-1C58-9034-D16C984C60D1}"/>
          </ac:spMkLst>
        </pc:spChg>
        <pc:spChg chg="del">
          <ac:chgData name="Sezgen, Handenur" userId="693f6077-2094-4a4b-9c12-b1a0c4de2bbc" providerId="ADAL" clId="{5B430AB4-3B31-40FC-B7D2-06B73B197EDF}" dt="2025-10-16T08:39:28.298" v="1349" actId="478"/>
          <ac:spMkLst>
            <pc:docMk/>
            <pc:sldMk cId="2579045288" sldId="289"/>
            <ac:spMk id="11" creationId="{89409413-6672-3A05-2B3B-AD11BDC80EA3}"/>
          </ac:spMkLst>
        </pc:spChg>
        <pc:spChg chg="del">
          <ac:chgData name="Sezgen, Handenur" userId="693f6077-2094-4a4b-9c12-b1a0c4de2bbc" providerId="ADAL" clId="{5B430AB4-3B31-40FC-B7D2-06B73B197EDF}" dt="2025-10-16T08:39:28.298" v="1349" actId="478"/>
          <ac:spMkLst>
            <pc:docMk/>
            <pc:sldMk cId="2579045288" sldId="289"/>
            <ac:spMk id="21" creationId="{F88E2C46-522B-6BFC-1556-2F49CA9EFEE8}"/>
          </ac:spMkLst>
        </pc:spChg>
        <pc:spChg chg="mod">
          <ac:chgData name="Sezgen, Handenur" userId="693f6077-2094-4a4b-9c12-b1a0c4de2bbc" providerId="ADAL" clId="{5B430AB4-3B31-40FC-B7D2-06B73B197EDF}" dt="2025-10-16T08:39:34.728" v="1350"/>
          <ac:spMkLst>
            <pc:docMk/>
            <pc:sldMk cId="2579045288" sldId="289"/>
            <ac:spMk id="237" creationId="{818B499C-481D-CF2F-44E6-1F1530316D00}"/>
          </ac:spMkLst>
        </pc:spChg>
        <pc:spChg chg="del">
          <ac:chgData name="Sezgen, Handenur" userId="693f6077-2094-4a4b-9c12-b1a0c4de2bbc" providerId="ADAL" clId="{5B430AB4-3B31-40FC-B7D2-06B73B197EDF}" dt="2025-10-16T08:39:28.298" v="1349" actId="478"/>
          <ac:spMkLst>
            <pc:docMk/>
            <pc:sldMk cId="2579045288" sldId="289"/>
            <ac:spMk id="259" creationId="{F1B22A49-DA45-3636-A062-7738CAC57F15}"/>
          </ac:spMkLst>
        </pc:spChg>
        <pc:spChg chg="mod">
          <ac:chgData name="Sezgen, Handenur" userId="693f6077-2094-4a4b-9c12-b1a0c4de2bbc" providerId="ADAL" clId="{5B430AB4-3B31-40FC-B7D2-06B73B197EDF}" dt="2025-10-16T08:39:34.728" v="1350"/>
          <ac:spMkLst>
            <pc:docMk/>
            <pc:sldMk cId="2579045288" sldId="289"/>
            <ac:spMk id="291" creationId="{16FAEA1D-197B-7A81-267A-7701FE01B997}"/>
          </ac:spMkLst>
        </pc:spChg>
        <pc:spChg chg="mod">
          <ac:chgData name="Sezgen, Handenur" userId="693f6077-2094-4a4b-9c12-b1a0c4de2bbc" providerId="ADAL" clId="{5B430AB4-3B31-40FC-B7D2-06B73B197EDF}" dt="2025-10-16T08:39:34.728" v="1350"/>
          <ac:spMkLst>
            <pc:docMk/>
            <pc:sldMk cId="2579045288" sldId="289"/>
            <ac:spMk id="299" creationId="{227FD324-4B70-533E-9BA0-25B21257210E}"/>
          </ac:spMkLst>
        </pc:spChg>
        <pc:spChg chg="mod">
          <ac:chgData name="Sezgen, Handenur" userId="693f6077-2094-4a4b-9c12-b1a0c4de2bbc" providerId="ADAL" clId="{5B430AB4-3B31-40FC-B7D2-06B73B197EDF}" dt="2025-10-16T08:39:34.728" v="1350"/>
          <ac:spMkLst>
            <pc:docMk/>
            <pc:sldMk cId="2579045288" sldId="289"/>
            <ac:spMk id="320" creationId="{8EE3D8F7-84CD-CE25-5DD5-C1C1333672F5}"/>
          </ac:spMkLst>
        </pc:spChg>
        <pc:spChg chg="mod">
          <ac:chgData name="Sezgen, Handenur" userId="693f6077-2094-4a4b-9c12-b1a0c4de2bbc" providerId="ADAL" clId="{5B430AB4-3B31-40FC-B7D2-06B73B197EDF}" dt="2025-10-16T08:39:34.728" v="1350"/>
          <ac:spMkLst>
            <pc:docMk/>
            <pc:sldMk cId="2579045288" sldId="289"/>
            <ac:spMk id="321" creationId="{AAE63873-9037-375F-9E4F-D3A49277EB13}"/>
          </ac:spMkLst>
        </pc:spChg>
        <pc:spChg chg="mod">
          <ac:chgData name="Sezgen, Handenur" userId="693f6077-2094-4a4b-9c12-b1a0c4de2bbc" providerId="ADAL" clId="{5B430AB4-3B31-40FC-B7D2-06B73B197EDF}" dt="2025-10-16T08:39:34.728" v="1350"/>
          <ac:spMkLst>
            <pc:docMk/>
            <pc:sldMk cId="2579045288" sldId="289"/>
            <ac:spMk id="328" creationId="{D1E36C30-90AE-B6CB-0BF9-29B82D0A1519}"/>
          </ac:spMkLst>
        </pc:spChg>
        <pc:spChg chg="mod">
          <ac:chgData name="Sezgen, Handenur" userId="693f6077-2094-4a4b-9c12-b1a0c4de2bbc" providerId="ADAL" clId="{5B430AB4-3B31-40FC-B7D2-06B73B197EDF}" dt="2025-10-16T08:39:34.728" v="1350"/>
          <ac:spMkLst>
            <pc:docMk/>
            <pc:sldMk cId="2579045288" sldId="289"/>
            <ac:spMk id="338" creationId="{C45BCD99-BCCB-D39F-3E48-418E7B532CED}"/>
          </ac:spMkLst>
        </pc:spChg>
        <pc:spChg chg="mod">
          <ac:chgData name="Sezgen, Handenur" userId="693f6077-2094-4a4b-9c12-b1a0c4de2bbc" providerId="ADAL" clId="{5B430AB4-3B31-40FC-B7D2-06B73B197EDF}" dt="2025-10-16T08:39:34.728" v="1350"/>
          <ac:spMkLst>
            <pc:docMk/>
            <pc:sldMk cId="2579045288" sldId="289"/>
            <ac:spMk id="383" creationId="{34EE7358-2AFF-3DFF-D0BE-E832DBC516C7}"/>
          </ac:spMkLst>
        </pc:spChg>
        <pc:spChg chg="mod">
          <ac:chgData name="Sezgen, Handenur" userId="693f6077-2094-4a4b-9c12-b1a0c4de2bbc" providerId="ADAL" clId="{5B430AB4-3B31-40FC-B7D2-06B73B197EDF}" dt="2025-10-16T08:39:34.728" v="1350"/>
          <ac:spMkLst>
            <pc:docMk/>
            <pc:sldMk cId="2579045288" sldId="289"/>
            <ac:spMk id="393" creationId="{8576BC9E-3D7E-04D7-3D4B-2B6E1404A7AB}"/>
          </ac:spMkLst>
        </pc:spChg>
        <pc:spChg chg="mod">
          <ac:chgData name="Sezgen, Handenur" userId="693f6077-2094-4a4b-9c12-b1a0c4de2bbc" providerId="ADAL" clId="{5B430AB4-3B31-40FC-B7D2-06B73B197EDF}" dt="2025-10-16T08:39:34.728" v="1350"/>
          <ac:spMkLst>
            <pc:docMk/>
            <pc:sldMk cId="2579045288" sldId="289"/>
            <ac:spMk id="434" creationId="{762875F4-919D-3D40-F85D-B3F3430766C4}"/>
          </ac:spMkLst>
        </pc:spChg>
        <pc:spChg chg="add mod">
          <ac:chgData name="Sezgen, Handenur" userId="693f6077-2094-4a4b-9c12-b1a0c4de2bbc" providerId="ADAL" clId="{5B430AB4-3B31-40FC-B7D2-06B73B197EDF}" dt="2025-10-16T08:40:20.312" v="1356" actId="1035"/>
          <ac:spMkLst>
            <pc:docMk/>
            <pc:sldMk cId="2579045288" sldId="289"/>
            <ac:spMk id="444" creationId="{FC9D5144-0DDF-3A33-4A9A-04B41C72C3DA}"/>
          </ac:spMkLst>
        </pc:spChg>
        <pc:grpChg chg="del mod">
          <ac:chgData name="Sezgen, Handenur" userId="693f6077-2094-4a4b-9c12-b1a0c4de2bbc" providerId="ADAL" clId="{5B430AB4-3B31-40FC-B7D2-06B73B197EDF}" dt="2025-10-16T08:39:28.298" v="1349" actId="478"/>
          <ac:grpSpMkLst>
            <pc:docMk/>
            <pc:sldMk cId="2579045288" sldId="289"/>
            <ac:grpSpMk id="6" creationId="{F1770D57-F6E5-1206-838A-7AEE4E5B2167}"/>
          </ac:grpSpMkLst>
        </pc:grpChg>
        <pc:grpChg chg="del">
          <ac:chgData name="Sezgen, Handenur" userId="693f6077-2094-4a4b-9c12-b1a0c4de2bbc" providerId="ADAL" clId="{5B430AB4-3B31-40FC-B7D2-06B73B197EDF}" dt="2025-10-16T08:39:28.298" v="1349" actId="478"/>
          <ac:grpSpMkLst>
            <pc:docMk/>
            <pc:sldMk cId="2579045288" sldId="289"/>
            <ac:grpSpMk id="10" creationId="{2CAB4BD9-A9A2-2AE8-E4BE-4FEC73DC6775}"/>
          </ac:grpSpMkLst>
        </pc:grpChg>
        <pc:picChg chg="del">
          <ac:chgData name="Sezgen, Handenur" userId="693f6077-2094-4a4b-9c12-b1a0c4de2bbc" providerId="ADAL" clId="{5B430AB4-3B31-40FC-B7D2-06B73B197EDF}" dt="2025-10-16T08:39:28.298" v="1349" actId="478"/>
          <ac:picMkLst>
            <pc:docMk/>
            <pc:sldMk cId="2579045288" sldId="289"/>
            <ac:picMk id="260" creationId="{3452525E-2CB9-CA6E-33A6-0251612865F6}"/>
          </ac:picMkLst>
        </pc:picChg>
        <pc:picChg chg="add mod">
          <ac:chgData name="Sezgen, Handenur" userId="693f6077-2094-4a4b-9c12-b1a0c4de2bbc" providerId="ADAL" clId="{5B430AB4-3B31-40FC-B7D2-06B73B197EDF}" dt="2025-10-16T10:12:58.659" v="3662"/>
          <ac:picMkLst>
            <pc:docMk/>
            <pc:sldMk cId="2579045288" sldId="289"/>
            <ac:picMk id="445" creationId="{77889566-E55E-D0C2-C6D2-08C62583443F}"/>
          </ac:picMkLst>
        </pc:picChg>
        <pc:picChg chg="add mod">
          <ac:chgData name="Sezgen, Handenur" userId="693f6077-2094-4a4b-9c12-b1a0c4de2bbc" providerId="ADAL" clId="{5B430AB4-3B31-40FC-B7D2-06B73B197EDF}" dt="2025-10-16T10:12:58.659" v="3662"/>
          <ac:picMkLst>
            <pc:docMk/>
            <pc:sldMk cId="2579045288" sldId="289"/>
            <ac:picMk id="446" creationId="{7E1BC7AC-30A0-66F7-D7B8-9884AEDE4991}"/>
          </ac:picMkLst>
        </pc:picChg>
      </pc:sldChg>
      <pc:sldChg chg="addSp modSp mod modClrScheme chgLayout">
        <pc:chgData name="Sezgen, Handenur" userId="693f6077-2094-4a4b-9c12-b1a0c4de2bbc" providerId="ADAL" clId="{5B430AB4-3B31-40FC-B7D2-06B73B197EDF}" dt="2025-10-16T10:11:18.961" v="3626"/>
        <pc:sldMkLst>
          <pc:docMk/>
          <pc:sldMk cId="1231633271" sldId="290"/>
        </pc:sldMkLst>
        <pc:spChg chg="mod ord">
          <ac:chgData name="Sezgen, Handenur" userId="693f6077-2094-4a4b-9c12-b1a0c4de2bbc" providerId="ADAL" clId="{5B430AB4-3B31-40FC-B7D2-06B73B197EDF}" dt="2025-10-16T07:43:32.946" v="193" actId="27636"/>
          <ac:spMkLst>
            <pc:docMk/>
            <pc:sldMk cId="1231633271" sldId="290"/>
            <ac:spMk id="2" creationId="{B55FC437-2317-027B-22A1-F06B237A5FB0}"/>
          </ac:spMkLst>
        </pc:spChg>
        <pc:spChg chg="mod ord">
          <ac:chgData name="Sezgen, Handenur" userId="693f6077-2094-4a4b-9c12-b1a0c4de2bbc" providerId="ADAL" clId="{5B430AB4-3B31-40FC-B7D2-06B73B197EDF}" dt="2025-10-16T07:43:29.812" v="191" actId="27636"/>
          <ac:spMkLst>
            <pc:docMk/>
            <pc:sldMk cId="1231633271" sldId="290"/>
            <ac:spMk id="3" creationId="{F042E34F-B24E-CC4A-3D34-DF15CF7EA0D9}"/>
          </ac:spMkLst>
        </pc:spChg>
        <pc:spChg chg="mod ord">
          <ac:chgData name="Sezgen, Handenur" userId="693f6077-2094-4a4b-9c12-b1a0c4de2bbc" providerId="ADAL" clId="{5B430AB4-3B31-40FC-B7D2-06B73B197EDF}" dt="2025-10-16T07:43:29.734" v="190" actId="700"/>
          <ac:spMkLst>
            <pc:docMk/>
            <pc:sldMk cId="1231633271" sldId="290"/>
            <ac:spMk id="4" creationId="{B77018AC-7CC8-B2B8-17F0-70772F4F0EEC}"/>
          </ac:spMkLst>
        </pc:spChg>
        <pc:spChg chg="add mod">
          <ac:chgData name="Sezgen, Handenur" userId="693f6077-2094-4a4b-9c12-b1a0c4de2bbc" providerId="ADAL" clId="{5B430AB4-3B31-40FC-B7D2-06B73B197EDF}" dt="2025-10-16T07:44:30.008" v="241" actId="1582"/>
          <ac:spMkLst>
            <pc:docMk/>
            <pc:sldMk cId="1231633271" sldId="290"/>
            <ac:spMk id="5" creationId="{2F54373B-08ED-2BE1-CF57-0D2684BFDAFA}"/>
          </ac:spMkLst>
        </pc:spChg>
        <pc:spChg chg="mod">
          <ac:chgData name="Sezgen, Handenur" userId="693f6077-2094-4a4b-9c12-b1a0c4de2bbc" providerId="ADAL" clId="{5B430AB4-3B31-40FC-B7D2-06B73B197EDF}" dt="2025-10-16T07:44:39.734" v="243" actId="404"/>
          <ac:spMkLst>
            <pc:docMk/>
            <pc:sldMk cId="1231633271" sldId="290"/>
            <ac:spMk id="9" creationId="{9EBA2A9A-6587-591D-494E-70809926DF85}"/>
          </ac:spMkLst>
        </pc:spChg>
        <pc:spChg chg="mod">
          <ac:chgData name="Sezgen, Handenur" userId="693f6077-2094-4a4b-9c12-b1a0c4de2bbc" providerId="ADAL" clId="{5B430AB4-3B31-40FC-B7D2-06B73B197EDF}" dt="2025-10-16T07:44:39.734" v="243" actId="404"/>
          <ac:spMkLst>
            <pc:docMk/>
            <pc:sldMk cId="1231633271" sldId="290"/>
            <ac:spMk id="10" creationId="{B90EBA01-BF79-E3B8-2C97-420FBAFF0687}"/>
          </ac:spMkLst>
        </pc:spChg>
        <pc:graphicFrameChg chg="mod">
          <ac:chgData name="Sezgen, Handenur" userId="693f6077-2094-4a4b-9c12-b1a0c4de2bbc" providerId="ADAL" clId="{5B430AB4-3B31-40FC-B7D2-06B73B197EDF}" dt="2025-10-16T07:43:56.190" v="225" actId="404"/>
          <ac:graphicFrameMkLst>
            <pc:docMk/>
            <pc:sldMk cId="1231633271" sldId="290"/>
            <ac:graphicFrameMk id="6" creationId="{3D8FAD81-AABA-A50E-4906-07E5FEFC5438}"/>
          </ac:graphicFrameMkLst>
        </pc:graphicFrameChg>
        <pc:graphicFrameChg chg="mod modGraphic">
          <ac:chgData name="Sezgen, Handenur" userId="693f6077-2094-4a4b-9c12-b1a0c4de2bbc" providerId="ADAL" clId="{5B430AB4-3B31-40FC-B7D2-06B73B197EDF}" dt="2025-10-16T07:44:00.501" v="226" actId="14100"/>
          <ac:graphicFrameMkLst>
            <pc:docMk/>
            <pc:sldMk cId="1231633271" sldId="290"/>
            <ac:graphicFrameMk id="7" creationId="{9B64DB39-A364-F9B7-9501-AA81CF010D9C}"/>
          </ac:graphicFrameMkLst>
        </pc:graphicFrameChg>
        <pc:picChg chg="add mod">
          <ac:chgData name="Sezgen, Handenur" userId="693f6077-2094-4a4b-9c12-b1a0c4de2bbc" providerId="ADAL" clId="{5B430AB4-3B31-40FC-B7D2-06B73B197EDF}" dt="2025-10-16T10:11:18.961" v="3626"/>
          <ac:picMkLst>
            <pc:docMk/>
            <pc:sldMk cId="1231633271" sldId="290"/>
            <ac:picMk id="8" creationId="{856F3A69-D62E-D670-AC9E-6B6DE5840571}"/>
          </ac:picMkLst>
        </pc:picChg>
      </pc:sldChg>
      <pc:sldChg chg="addSp delSp modSp add mod modShow chgLayout">
        <pc:chgData name="Sezgen, Handenur" userId="693f6077-2094-4a4b-9c12-b1a0c4de2bbc" providerId="ADAL" clId="{5B430AB4-3B31-40FC-B7D2-06B73B197EDF}" dt="2025-10-16T10:13:02.156" v="3664"/>
        <pc:sldMkLst>
          <pc:docMk/>
          <pc:sldMk cId="1869717682" sldId="291"/>
        </pc:sldMkLst>
        <pc:spChg chg="mod ord">
          <ac:chgData name="Sezgen, Handenur" userId="693f6077-2094-4a4b-9c12-b1a0c4de2bbc" providerId="ADAL" clId="{5B430AB4-3B31-40FC-B7D2-06B73B197EDF}" dt="2025-10-16T08:40:39.480" v="1359" actId="6264"/>
          <ac:spMkLst>
            <pc:docMk/>
            <pc:sldMk cId="1869717682" sldId="291"/>
            <ac:spMk id="4" creationId="{0CB76661-5EEB-DEBA-638C-A487F06E8D53}"/>
          </ac:spMkLst>
        </pc:spChg>
        <pc:spChg chg="del">
          <ac:chgData name="Sezgen, Handenur" userId="693f6077-2094-4a4b-9c12-b1a0c4de2bbc" providerId="ADAL" clId="{5B430AB4-3B31-40FC-B7D2-06B73B197EDF}" dt="2025-10-16T08:40:35.818" v="1357" actId="478"/>
          <ac:spMkLst>
            <pc:docMk/>
            <pc:sldMk cId="1869717682" sldId="291"/>
            <ac:spMk id="8" creationId="{36B60120-6C88-9C5A-ABA3-AD0406B76FB4}"/>
          </ac:spMkLst>
        </pc:spChg>
        <pc:spChg chg="mod">
          <ac:chgData name="Sezgen, Handenur" userId="693f6077-2094-4a4b-9c12-b1a0c4de2bbc" providerId="ADAL" clId="{5B430AB4-3B31-40FC-B7D2-06B73B197EDF}" dt="2025-10-16T08:40:36.644" v="1358"/>
          <ac:spMkLst>
            <pc:docMk/>
            <pc:sldMk cId="1869717682" sldId="291"/>
            <ac:spMk id="22" creationId="{A73EA91B-31DC-C936-D34B-E6D660C31FCF}"/>
          </ac:spMkLst>
        </pc:spChg>
        <pc:spChg chg="mod">
          <ac:chgData name="Sezgen, Handenur" userId="693f6077-2094-4a4b-9c12-b1a0c4de2bbc" providerId="ADAL" clId="{5B430AB4-3B31-40FC-B7D2-06B73B197EDF}" dt="2025-10-16T08:40:36.644" v="1358"/>
          <ac:spMkLst>
            <pc:docMk/>
            <pc:sldMk cId="1869717682" sldId="291"/>
            <ac:spMk id="27" creationId="{5055AF81-A517-345E-FBC2-0F4785D7D7EC}"/>
          </ac:spMkLst>
        </pc:spChg>
        <pc:spChg chg="mod">
          <ac:chgData name="Sezgen, Handenur" userId="693f6077-2094-4a4b-9c12-b1a0c4de2bbc" providerId="ADAL" clId="{5B430AB4-3B31-40FC-B7D2-06B73B197EDF}" dt="2025-10-16T08:40:36.644" v="1358"/>
          <ac:spMkLst>
            <pc:docMk/>
            <pc:sldMk cId="1869717682" sldId="291"/>
            <ac:spMk id="37" creationId="{4E63662B-DB47-474F-4BFE-EF3DE5FBA72F}"/>
          </ac:spMkLst>
        </pc:spChg>
        <pc:spChg chg="mod">
          <ac:chgData name="Sezgen, Handenur" userId="693f6077-2094-4a4b-9c12-b1a0c4de2bbc" providerId="ADAL" clId="{5B430AB4-3B31-40FC-B7D2-06B73B197EDF}" dt="2025-10-16T08:40:36.644" v="1358"/>
          <ac:spMkLst>
            <pc:docMk/>
            <pc:sldMk cId="1869717682" sldId="291"/>
            <ac:spMk id="38" creationId="{3CC2D30A-8676-54C3-B813-2D11BEF77FEC}"/>
          </ac:spMkLst>
        </pc:spChg>
        <pc:spChg chg="mod">
          <ac:chgData name="Sezgen, Handenur" userId="693f6077-2094-4a4b-9c12-b1a0c4de2bbc" providerId="ADAL" clId="{5B430AB4-3B31-40FC-B7D2-06B73B197EDF}" dt="2025-10-16T08:40:36.644" v="1358"/>
          <ac:spMkLst>
            <pc:docMk/>
            <pc:sldMk cId="1869717682" sldId="291"/>
            <ac:spMk id="74" creationId="{9C7D7E0B-605C-DEAF-BCB7-2FE3349FD213}"/>
          </ac:spMkLst>
        </pc:spChg>
        <pc:spChg chg="mod">
          <ac:chgData name="Sezgen, Handenur" userId="693f6077-2094-4a4b-9c12-b1a0c4de2bbc" providerId="ADAL" clId="{5B430AB4-3B31-40FC-B7D2-06B73B197EDF}" dt="2025-10-16T08:40:36.644" v="1358"/>
          <ac:spMkLst>
            <pc:docMk/>
            <pc:sldMk cId="1869717682" sldId="291"/>
            <ac:spMk id="79" creationId="{1E762FE8-9719-E59B-4E4C-97B141C1DDB9}"/>
          </ac:spMkLst>
        </pc:spChg>
        <pc:spChg chg="mod">
          <ac:chgData name="Sezgen, Handenur" userId="693f6077-2094-4a4b-9c12-b1a0c4de2bbc" providerId="ADAL" clId="{5B430AB4-3B31-40FC-B7D2-06B73B197EDF}" dt="2025-10-16T08:40:36.644" v="1358"/>
          <ac:spMkLst>
            <pc:docMk/>
            <pc:sldMk cId="1869717682" sldId="291"/>
            <ac:spMk id="90" creationId="{4C054ED3-D2A3-463E-A532-1739EDA93088}"/>
          </ac:spMkLst>
        </pc:spChg>
        <pc:spChg chg="mod">
          <ac:chgData name="Sezgen, Handenur" userId="693f6077-2094-4a4b-9c12-b1a0c4de2bbc" providerId="ADAL" clId="{5B430AB4-3B31-40FC-B7D2-06B73B197EDF}" dt="2025-10-16T08:40:36.644" v="1358"/>
          <ac:spMkLst>
            <pc:docMk/>
            <pc:sldMk cId="1869717682" sldId="291"/>
            <ac:spMk id="107" creationId="{FC74F612-1F7B-A397-7D09-05557E90072B}"/>
          </ac:spMkLst>
        </pc:spChg>
        <pc:spChg chg="mod">
          <ac:chgData name="Sezgen, Handenur" userId="693f6077-2094-4a4b-9c12-b1a0c4de2bbc" providerId="ADAL" clId="{5B430AB4-3B31-40FC-B7D2-06B73B197EDF}" dt="2025-10-16T08:40:36.644" v="1358"/>
          <ac:spMkLst>
            <pc:docMk/>
            <pc:sldMk cId="1869717682" sldId="291"/>
            <ac:spMk id="116" creationId="{A0805C3D-528F-B0E6-A9DB-2B6726BD6CE8}"/>
          </ac:spMkLst>
        </pc:spChg>
        <pc:spChg chg="mod">
          <ac:chgData name="Sezgen, Handenur" userId="693f6077-2094-4a4b-9c12-b1a0c4de2bbc" providerId="ADAL" clId="{5B430AB4-3B31-40FC-B7D2-06B73B197EDF}" dt="2025-10-16T08:40:36.644" v="1358"/>
          <ac:spMkLst>
            <pc:docMk/>
            <pc:sldMk cId="1869717682" sldId="291"/>
            <ac:spMk id="199" creationId="{EBCA3126-9A95-A632-1374-F4CBAE230543}"/>
          </ac:spMkLst>
        </pc:spChg>
        <pc:spChg chg="add del mod">
          <ac:chgData name="Sezgen, Handenur" userId="693f6077-2094-4a4b-9c12-b1a0c4de2bbc" providerId="ADAL" clId="{5B430AB4-3B31-40FC-B7D2-06B73B197EDF}" dt="2025-10-16T08:40:39.480" v="1359" actId="6264"/>
          <ac:spMkLst>
            <pc:docMk/>
            <pc:sldMk cId="1869717682" sldId="291"/>
            <ac:spMk id="202" creationId="{B0D247B9-A423-FC44-6A92-D1124EF3A618}"/>
          </ac:spMkLst>
        </pc:spChg>
        <pc:grpChg chg="del">
          <ac:chgData name="Sezgen, Handenur" userId="693f6077-2094-4a4b-9c12-b1a0c4de2bbc" providerId="ADAL" clId="{5B430AB4-3B31-40FC-B7D2-06B73B197EDF}" dt="2025-10-16T08:40:35.818" v="1357" actId="478"/>
          <ac:grpSpMkLst>
            <pc:docMk/>
            <pc:sldMk cId="1869717682" sldId="291"/>
            <ac:grpSpMk id="9" creationId="{171BDB6A-1BA5-49D2-E535-07B6A61FD4EC}"/>
          </ac:grpSpMkLst>
        </pc:grpChg>
        <pc:picChg chg="add mod">
          <ac:chgData name="Sezgen, Handenur" userId="693f6077-2094-4a4b-9c12-b1a0c4de2bbc" providerId="ADAL" clId="{5B430AB4-3B31-40FC-B7D2-06B73B197EDF}" dt="2025-10-16T10:13:02.156" v="3664"/>
          <ac:picMkLst>
            <pc:docMk/>
            <pc:sldMk cId="1869717682" sldId="291"/>
            <ac:picMk id="203" creationId="{539CAF0A-CB98-EA78-059B-87B92F720FC5}"/>
          </ac:picMkLst>
        </pc:picChg>
        <pc:picChg chg="add mod">
          <ac:chgData name="Sezgen, Handenur" userId="693f6077-2094-4a4b-9c12-b1a0c4de2bbc" providerId="ADAL" clId="{5B430AB4-3B31-40FC-B7D2-06B73B197EDF}" dt="2025-10-16T10:13:02.156" v="3664"/>
          <ac:picMkLst>
            <pc:docMk/>
            <pc:sldMk cId="1869717682" sldId="291"/>
            <ac:picMk id="204" creationId="{0A68E92D-DE9F-267F-AE33-BE842B4FA9FC}"/>
          </ac:picMkLst>
        </pc:picChg>
      </pc:sldChg>
      <pc:sldChg chg="addSp modSp mod modClrScheme chgLayout">
        <pc:chgData name="Sezgen, Handenur" userId="693f6077-2094-4a4b-9c12-b1a0c4de2bbc" providerId="ADAL" clId="{5B430AB4-3B31-40FC-B7D2-06B73B197EDF}" dt="2025-10-16T10:11:19.879" v="3627"/>
        <pc:sldMkLst>
          <pc:docMk/>
          <pc:sldMk cId="1296875035" sldId="292"/>
        </pc:sldMkLst>
        <pc:spChg chg="mod ord">
          <ac:chgData name="Sezgen, Handenur" userId="693f6077-2094-4a4b-9c12-b1a0c4de2bbc" providerId="ADAL" clId="{5B430AB4-3B31-40FC-B7D2-06B73B197EDF}" dt="2025-10-16T07:44:51.340" v="246" actId="27636"/>
          <ac:spMkLst>
            <pc:docMk/>
            <pc:sldMk cId="1296875035" sldId="292"/>
            <ac:spMk id="3" creationId="{2F668938-B823-4B81-47F0-3BE73F972605}"/>
          </ac:spMkLst>
        </pc:spChg>
        <pc:spChg chg="mod ord">
          <ac:chgData name="Sezgen, Handenur" userId="693f6077-2094-4a4b-9c12-b1a0c4de2bbc" providerId="ADAL" clId="{5B430AB4-3B31-40FC-B7D2-06B73B197EDF}" dt="2025-10-16T07:44:51.229" v="245" actId="700"/>
          <ac:spMkLst>
            <pc:docMk/>
            <pc:sldMk cId="1296875035" sldId="292"/>
            <ac:spMk id="4" creationId="{1ABCAAE3-E4EC-050C-7F6C-FCF32DE3622D}"/>
          </ac:spMkLst>
        </pc:spChg>
        <pc:picChg chg="add mod">
          <ac:chgData name="Sezgen, Handenur" userId="693f6077-2094-4a4b-9c12-b1a0c4de2bbc" providerId="ADAL" clId="{5B430AB4-3B31-40FC-B7D2-06B73B197EDF}" dt="2025-10-16T10:11:19.879" v="3627"/>
          <ac:picMkLst>
            <pc:docMk/>
            <pc:sldMk cId="1296875035" sldId="292"/>
            <ac:picMk id="2" creationId="{298374CC-C155-73FD-8539-1D32F45B1522}"/>
          </ac:picMkLst>
        </pc:picChg>
      </pc:sldChg>
      <pc:sldChg chg="addSp delSp modSp add mod setBg modClrScheme chgLayout">
        <pc:chgData name="Sezgen, Handenur" userId="693f6077-2094-4a4b-9c12-b1a0c4de2bbc" providerId="ADAL" clId="{5B430AB4-3B31-40FC-B7D2-06B73B197EDF}" dt="2025-10-16T10:13:01.268" v="3663"/>
        <pc:sldMkLst>
          <pc:docMk/>
          <pc:sldMk cId="1703925513" sldId="293"/>
        </pc:sldMkLst>
        <pc:spChg chg="add del mod">
          <ac:chgData name="Sezgen, Handenur" userId="693f6077-2094-4a4b-9c12-b1a0c4de2bbc" providerId="ADAL" clId="{5B430AB4-3B31-40FC-B7D2-06B73B197EDF}" dt="2025-10-16T08:35:53.900" v="1272" actId="6264"/>
          <ac:spMkLst>
            <pc:docMk/>
            <pc:sldMk cId="1703925513" sldId="293"/>
            <ac:spMk id="2" creationId="{D7CF097B-6E3C-81EE-606D-7F4478DB070A}"/>
          </ac:spMkLst>
        </pc:spChg>
        <pc:spChg chg="mod">
          <ac:chgData name="Sezgen, Handenur" userId="693f6077-2094-4a4b-9c12-b1a0c4de2bbc" providerId="ADAL" clId="{5B430AB4-3B31-40FC-B7D2-06B73B197EDF}" dt="2025-10-16T08:36:51.526" v="1309" actId="1076"/>
          <ac:spMkLst>
            <pc:docMk/>
            <pc:sldMk cId="1703925513" sldId="293"/>
            <ac:spMk id="4" creationId="{0A2E71D6-5448-98C4-A6EB-61C5DDDA63EF}"/>
          </ac:spMkLst>
        </pc:spChg>
        <pc:spChg chg="mod">
          <ac:chgData name="Sezgen, Handenur" userId="693f6077-2094-4a4b-9c12-b1a0c4de2bbc" providerId="ADAL" clId="{5B430AB4-3B31-40FC-B7D2-06B73B197EDF}" dt="2025-10-16T08:36:10.133" v="1279" actId="14100"/>
          <ac:spMkLst>
            <pc:docMk/>
            <pc:sldMk cId="1703925513" sldId="293"/>
            <ac:spMk id="5" creationId="{DCA636D3-0280-C1ED-DEFF-8659B6E049F4}"/>
          </ac:spMkLst>
        </pc:spChg>
        <pc:spChg chg="mod">
          <ac:chgData name="Sezgen, Handenur" userId="693f6077-2094-4a4b-9c12-b1a0c4de2bbc" providerId="ADAL" clId="{5B430AB4-3B31-40FC-B7D2-06B73B197EDF}" dt="2025-10-16T08:36:18.555" v="1283" actId="14100"/>
          <ac:spMkLst>
            <pc:docMk/>
            <pc:sldMk cId="1703925513" sldId="293"/>
            <ac:spMk id="21" creationId="{BE0216EC-2EBF-2199-23CC-BC1C2AE169B0}"/>
          </ac:spMkLst>
        </pc:spChg>
        <pc:spChg chg="mod">
          <ac:chgData name="Sezgen, Handenur" userId="693f6077-2094-4a4b-9c12-b1a0c4de2bbc" providerId="ADAL" clId="{5B430AB4-3B31-40FC-B7D2-06B73B197EDF}" dt="2025-10-16T08:36:31.815" v="1294" actId="14100"/>
          <ac:spMkLst>
            <pc:docMk/>
            <pc:sldMk cId="1703925513" sldId="293"/>
            <ac:spMk id="38" creationId="{34C6FD5A-9949-7FF0-835D-FC0FF29F797C}"/>
          </ac:spMkLst>
        </pc:spChg>
        <pc:spChg chg="mod">
          <ac:chgData name="Sezgen, Handenur" userId="693f6077-2094-4a4b-9c12-b1a0c4de2bbc" providerId="ADAL" clId="{5B430AB4-3B31-40FC-B7D2-06B73B197EDF}" dt="2025-10-16T08:36:38.853" v="1304" actId="1035"/>
          <ac:spMkLst>
            <pc:docMk/>
            <pc:sldMk cId="1703925513" sldId="293"/>
            <ac:spMk id="39" creationId="{94A557C2-83B3-D69C-AA51-D41F09313112}"/>
          </ac:spMkLst>
        </pc:spChg>
        <pc:spChg chg="mod ord">
          <ac:chgData name="Sezgen, Handenur" userId="693f6077-2094-4a4b-9c12-b1a0c4de2bbc" providerId="ADAL" clId="{5B430AB4-3B31-40FC-B7D2-06B73B197EDF}" dt="2025-10-16T08:36:56.531" v="1310" actId="947"/>
          <ac:spMkLst>
            <pc:docMk/>
            <pc:sldMk cId="1703925513" sldId="293"/>
            <ac:spMk id="52" creationId="{D25339F8-FCDE-D5E9-B7D5-1A962C8BF0BA}"/>
          </ac:spMkLst>
        </pc:spChg>
        <pc:grpChg chg="mod">
          <ac:chgData name="Sezgen, Handenur" userId="693f6077-2094-4a4b-9c12-b1a0c4de2bbc" providerId="ADAL" clId="{5B430AB4-3B31-40FC-B7D2-06B73B197EDF}" dt="2025-10-16T08:37:01.296" v="1319" actId="1035"/>
          <ac:grpSpMkLst>
            <pc:docMk/>
            <pc:sldMk cId="1703925513" sldId="293"/>
            <ac:grpSpMk id="51" creationId="{D01DFC5A-C03C-ECEB-A515-C1EA91E3F2A9}"/>
          </ac:grpSpMkLst>
        </pc:grpChg>
        <pc:picChg chg="add mod">
          <ac:chgData name="Sezgen, Handenur" userId="693f6077-2094-4a4b-9c12-b1a0c4de2bbc" providerId="ADAL" clId="{5B430AB4-3B31-40FC-B7D2-06B73B197EDF}" dt="2025-10-16T10:13:01.268" v="3663"/>
          <ac:picMkLst>
            <pc:docMk/>
            <pc:sldMk cId="1703925513" sldId="293"/>
            <ac:picMk id="3" creationId="{251DB26C-BD50-91D5-1038-7DE9D86A3F9E}"/>
          </ac:picMkLst>
        </pc:picChg>
        <pc:picChg chg="add mod">
          <ac:chgData name="Sezgen, Handenur" userId="693f6077-2094-4a4b-9c12-b1a0c4de2bbc" providerId="ADAL" clId="{5B430AB4-3B31-40FC-B7D2-06B73B197EDF}" dt="2025-10-16T10:13:01.268" v="3663"/>
          <ac:picMkLst>
            <pc:docMk/>
            <pc:sldMk cId="1703925513" sldId="293"/>
            <ac:picMk id="37" creationId="{F70F27FC-8C29-5B54-E04E-803D7E566FC6}"/>
          </ac:picMkLst>
        </pc:picChg>
      </pc:sldChg>
      <pc:sldChg chg="addSp modSp">
        <pc:chgData name="Sezgen, Handenur" userId="693f6077-2094-4a4b-9c12-b1a0c4de2bbc" providerId="ADAL" clId="{5B430AB4-3B31-40FC-B7D2-06B73B197EDF}" dt="2025-10-16T10:10:07.492" v="3570"/>
        <pc:sldMkLst>
          <pc:docMk/>
          <pc:sldMk cId="855042433" sldId="294"/>
        </pc:sldMkLst>
        <pc:grpChg chg="add mod">
          <ac:chgData name="Sezgen, Handenur" userId="693f6077-2094-4a4b-9c12-b1a0c4de2bbc" providerId="ADAL" clId="{5B430AB4-3B31-40FC-B7D2-06B73B197EDF}" dt="2025-10-16T10:10:07.492" v="3570"/>
          <ac:grpSpMkLst>
            <pc:docMk/>
            <pc:sldMk cId="855042433" sldId="294"/>
            <ac:grpSpMk id="14" creationId="{3D0F4889-55AD-9955-2259-B8C871C09536}"/>
          </ac:grpSpMkLst>
        </pc:grpChg>
        <pc:picChg chg="mod">
          <ac:chgData name="Sezgen, Handenur" userId="693f6077-2094-4a4b-9c12-b1a0c4de2bbc" providerId="ADAL" clId="{5B430AB4-3B31-40FC-B7D2-06B73B197EDF}" dt="2025-10-16T10:10:07.492" v="3570"/>
          <ac:picMkLst>
            <pc:docMk/>
            <pc:sldMk cId="855042433" sldId="294"/>
            <ac:picMk id="16" creationId="{E0FB0323-F92C-2357-4C76-E46FBDA4094B}"/>
          </ac:picMkLst>
        </pc:picChg>
        <pc:picChg chg="mod">
          <ac:chgData name="Sezgen, Handenur" userId="693f6077-2094-4a4b-9c12-b1a0c4de2bbc" providerId="ADAL" clId="{5B430AB4-3B31-40FC-B7D2-06B73B197EDF}" dt="2025-10-16T10:10:07.492" v="3570"/>
          <ac:picMkLst>
            <pc:docMk/>
            <pc:sldMk cId="855042433" sldId="294"/>
            <ac:picMk id="17" creationId="{EE64E907-2AB0-764B-B180-0744F01332A1}"/>
          </ac:picMkLst>
        </pc:picChg>
      </pc:sldChg>
      <pc:sldChg chg="addSp delSp modSp add mod chgLayout">
        <pc:chgData name="Sezgen, Handenur" userId="693f6077-2094-4a4b-9c12-b1a0c4de2bbc" providerId="ADAL" clId="{5B430AB4-3B31-40FC-B7D2-06B73B197EDF}" dt="2025-10-16T10:13:03.193" v="3665"/>
        <pc:sldMkLst>
          <pc:docMk/>
          <pc:sldMk cId="1379028894" sldId="295"/>
        </pc:sldMkLst>
        <pc:spChg chg="mod">
          <ac:chgData name="Sezgen, Handenur" userId="693f6077-2094-4a4b-9c12-b1a0c4de2bbc" providerId="ADAL" clId="{5B430AB4-3B31-40FC-B7D2-06B73B197EDF}" dt="2025-10-16T08:41:42.675" v="1376" actId="1076"/>
          <ac:spMkLst>
            <pc:docMk/>
            <pc:sldMk cId="1379028894" sldId="295"/>
            <ac:spMk id="2" creationId="{92FA8A34-7962-2BC5-D1BE-DC10504C066A}"/>
          </ac:spMkLst>
        </pc:spChg>
        <pc:spChg chg="add del mod">
          <ac:chgData name="Sezgen, Handenur" userId="693f6077-2094-4a4b-9c12-b1a0c4de2bbc" providerId="ADAL" clId="{5B430AB4-3B31-40FC-B7D2-06B73B197EDF}" dt="2025-10-16T08:40:45.774" v="1360" actId="6264"/>
          <ac:spMkLst>
            <pc:docMk/>
            <pc:sldMk cId="1379028894" sldId="295"/>
            <ac:spMk id="3" creationId="{5ABB6A92-0F5B-7C7A-6A3A-6963B9B8A72D}"/>
          </ac:spMkLst>
        </pc:spChg>
        <pc:spChg chg="mod">
          <ac:chgData name="Sezgen, Handenur" userId="693f6077-2094-4a4b-9c12-b1a0c4de2bbc" providerId="ADAL" clId="{5B430AB4-3B31-40FC-B7D2-06B73B197EDF}" dt="2025-10-16T08:41:36.934" v="1373" actId="1076"/>
          <ac:spMkLst>
            <pc:docMk/>
            <pc:sldMk cId="1379028894" sldId="295"/>
            <ac:spMk id="4" creationId="{DAC4FBE3-1415-23E6-A2EB-FEF3E84265D8}"/>
          </ac:spMkLst>
        </pc:spChg>
        <pc:spChg chg="add mod ord">
          <ac:chgData name="Sezgen, Handenur" userId="693f6077-2094-4a4b-9c12-b1a0c4de2bbc" providerId="ADAL" clId="{5B430AB4-3B31-40FC-B7D2-06B73B197EDF}" dt="2025-10-16T08:42:04.260" v="1379" actId="20577"/>
          <ac:spMkLst>
            <pc:docMk/>
            <pc:sldMk cId="1379028894" sldId="295"/>
            <ac:spMk id="6" creationId="{DEB0A5DA-4BDA-2AB9-E77C-D64FBAC59E5E}"/>
          </ac:spMkLst>
        </pc:spChg>
        <pc:spChg chg="add del mod">
          <ac:chgData name="Sezgen, Handenur" userId="693f6077-2094-4a4b-9c12-b1a0c4de2bbc" providerId="ADAL" clId="{5B430AB4-3B31-40FC-B7D2-06B73B197EDF}" dt="2025-10-16T08:40:53.668" v="1363" actId="6264"/>
          <ac:spMkLst>
            <pc:docMk/>
            <pc:sldMk cId="1379028894" sldId="295"/>
            <ac:spMk id="7" creationId="{E01EE0AF-AFD2-2360-FAAB-4D0E323C9ABC}"/>
          </ac:spMkLst>
        </pc:spChg>
        <pc:spChg chg="del">
          <ac:chgData name="Sezgen, Handenur" userId="693f6077-2094-4a4b-9c12-b1a0c4de2bbc" providerId="ADAL" clId="{5B430AB4-3B31-40FC-B7D2-06B73B197EDF}" dt="2025-10-16T08:40:51.706" v="1362" actId="478"/>
          <ac:spMkLst>
            <pc:docMk/>
            <pc:sldMk cId="1379028894" sldId="295"/>
            <ac:spMk id="8" creationId="{289CF08F-3471-321F-A806-2EA9E5DB2DD5}"/>
          </ac:spMkLst>
        </pc:spChg>
        <pc:spChg chg="add del mod">
          <ac:chgData name="Sezgen, Handenur" userId="693f6077-2094-4a4b-9c12-b1a0c4de2bbc" providerId="ADAL" clId="{5B430AB4-3B31-40FC-B7D2-06B73B197EDF}" dt="2025-10-16T08:40:53.668" v="1363" actId="6264"/>
          <ac:spMkLst>
            <pc:docMk/>
            <pc:sldMk cId="1379028894" sldId="295"/>
            <ac:spMk id="9" creationId="{F91D5B6F-0E62-1B28-4C60-63185B4863D2}"/>
          </ac:spMkLst>
        </pc:spChg>
        <pc:spChg chg="mod ord">
          <ac:chgData name="Sezgen, Handenur" userId="693f6077-2094-4a4b-9c12-b1a0c4de2bbc" providerId="ADAL" clId="{5B430AB4-3B31-40FC-B7D2-06B73B197EDF}" dt="2025-10-16T08:40:53.668" v="1363" actId="6264"/>
          <ac:spMkLst>
            <pc:docMk/>
            <pc:sldMk cId="1379028894" sldId="295"/>
            <ac:spMk id="25" creationId="{FA34E774-922D-2D94-B52C-2B968EE56828}"/>
          </ac:spMkLst>
        </pc:spChg>
        <pc:spChg chg="mod">
          <ac:chgData name="Sezgen, Handenur" userId="693f6077-2094-4a4b-9c12-b1a0c4de2bbc" providerId="ADAL" clId="{5B430AB4-3B31-40FC-B7D2-06B73B197EDF}" dt="2025-10-16T08:41:26.644" v="1371" actId="14100"/>
          <ac:spMkLst>
            <pc:docMk/>
            <pc:sldMk cId="1379028894" sldId="295"/>
            <ac:spMk id="27" creationId="{D2A1FAB8-CC52-8217-DC21-A3BB022993A5}"/>
          </ac:spMkLst>
        </pc:spChg>
        <pc:spChg chg="mod">
          <ac:chgData name="Sezgen, Handenur" userId="693f6077-2094-4a4b-9c12-b1a0c4de2bbc" providerId="ADAL" clId="{5B430AB4-3B31-40FC-B7D2-06B73B197EDF}" dt="2025-10-16T08:41:56.960" v="1378" actId="1076"/>
          <ac:spMkLst>
            <pc:docMk/>
            <pc:sldMk cId="1379028894" sldId="295"/>
            <ac:spMk id="28" creationId="{BF6B9F04-39BD-911E-CEA8-9AAFF53076B7}"/>
          </ac:spMkLst>
        </pc:spChg>
        <pc:spChg chg="mod">
          <ac:chgData name="Sezgen, Handenur" userId="693f6077-2094-4a4b-9c12-b1a0c4de2bbc" providerId="ADAL" clId="{5B430AB4-3B31-40FC-B7D2-06B73B197EDF}" dt="2025-10-16T08:41:19.123" v="1369" actId="1076"/>
          <ac:spMkLst>
            <pc:docMk/>
            <pc:sldMk cId="1379028894" sldId="295"/>
            <ac:spMk id="57" creationId="{7180C46A-F31E-4A1C-D135-C3F3A385201F}"/>
          </ac:spMkLst>
        </pc:spChg>
        <pc:grpChg chg="mod">
          <ac:chgData name="Sezgen, Handenur" userId="693f6077-2094-4a4b-9c12-b1a0c4de2bbc" providerId="ADAL" clId="{5B430AB4-3B31-40FC-B7D2-06B73B197EDF}" dt="2025-10-16T08:41:14.465" v="1368" actId="14100"/>
          <ac:grpSpMkLst>
            <pc:docMk/>
            <pc:sldMk cId="1379028894" sldId="295"/>
            <ac:grpSpMk id="5" creationId="{B6133E89-D9A0-0A6A-4BB8-D35DFC5AB0F9}"/>
          </ac:grpSpMkLst>
        </pc:grpChg>
        <pc:picChg chg="add mod">
          <ac:chgData name="Sezgen, Handenur" userId="693f6077-2094-4a4b-9c12-b1a0c4de2bbc" providerId="ADAL" clId="{5B430AB4-3B31-40FC-B7D2-06B73B197EDF}" dt="2025-10-16T10:13:03.193" v="3665"/>
          <ac:picMkLst>
            <pc:docMk/>
            <pc:sldMk cId="1379028894" sldId="295"/>
            <ac:picMk id="10" creationId="{EEF44AA8-712B-AEF2-E7BD-314CE8547803}"/>
          </ac:picMkLst>
        </pc:picChg>
        <pc:picChg chg="add mod">
          <ac:chgData name="Sezgen, Handenur" userId="693f6077-2094-4a4b-9c12-b1a0c4de2bbc" providerId="ADAL" clId="{5B430AB4-3B31-40FC-B7D2-06B73B197EDF}" dt="2025-10-16T10:13:03.193" v="3665"/>
          <ac:picMkLst>
            <pc:docMk/>
            <pc:sldMk cId="1379028894" sldId="295"/>
            <ac:picMk id="11" creationId="{6F2B7A68-2AF9-C8D3-F6EE-068320C03679}"/>
          </ac:picMkLst>
        </pc:picChg>
      </pc:sldChg>
      <pc:sldChg chg="addSp modSp mod modClrScheme chgLayout">
        <pc:chgData name="Sezgen, Handenur" userId="693f6077-2094-4a4b-9c12-b1a0c4de2bbc" providerId="ADAL" clId="{5B430AB4-3B31-40FC-B7D2-06B73B197EDF}" dt="2025-10-16T10:11:20.890" v="3628"/>
        <pc:sldMkLst>
          <pc:docMk/>
          <pc:sldMk cId="3186665955" sldId="296"/>
        </pc:sldMkLst>
        <pc:spChg chg="mod ord">
          <ac:chgData name="Sezgen, Handenur" userId="693f6077-2094-4a4b-9c12-b1a0c4de2bbc" providerId="ADAL" clId="{5B430AB4-3B31-40FC-B7D2-06B73B197EDF}" dt="2025-10-16T07:45:00.710" v="249" actId="1076"/>
          <ac:spMkLst>
            <pc:docMk/>
            <pc:sldMk cId="3186665955" sldId="296"/>
            <ac:spMk id="2" creationId="{152BDDA1-9984-B296-AB34-280AFE355A0F}"/>
          </ac:spMkLst>
        </pc:spChg>
        <pc:spChg chg="mod ord">
          <ac:chgData name="Sezgen, Handenur" userId="693f6077-2094-4a4b-9c12-b1a0c4de2bbc" providerId="ADAL" clId="{5B430AB4-3B31-40FC-B7D2-06B73B197EDF}" dt="2025-10-16T07:44:56.915" v="247" actId="700"/>
          <ac:spMkLst>
            <pc:docMk/>
            <pc:sldMk cId="3186665955" sldId="296"/>
            <ac:spMk id="6" creationId="{39EAF8B2-4353-6D30-5A90-F9F80A6454AC}"/>
          </ac:spMkLst>
        </pc:spChg>
        <pc:spChg chg="mod">
          <ac:chgData name="Sezgen, Handenur" userId="693f6077-2094-4a4b-9c12-b1a0c4de2bbc" providerId="ADAL" clId="{5B430AB4-3B31-40FC-B7D2-06B73B197EDF}" dt="2025-10-16T07:45:04.855" v="250" actId="1076"/>
          <ac:spMkLst>
            <pc:docMk/>
            <pc:sldMk cId="3186665955" sldId="296"/>
            <ac:spMk id="21" creationId="{1F0C7B5E-B2F8-FC6B-1BE8-204522C9A544}"/>
          </ac:spMkLst>
        </pc:spChg>
        <pc:spChg chg="mod">
          <ac:chgData name="Sezgen, Handenur" userId="693f6077-2094-4a4b-9c12-b1a0c4de2bbc" providerId="ADAL" clId="{5B430AB4-3B31-40FC-B7D2-06B73B197EDF}" dt="2025-10-16T07:45:12.897" v="253" actId="403"/>
          <ac:spMkLst>
            <pc:docMk/>
            <pc:sldMk cId="3186665955" sldId="296"/>
            <ac:spMk id="29" creationId="{E90F8E2A-895D-47E3-B378-4C9B3E054F09}"/>
          </ac:spMkLst>
        </pc:spChg>
        <pc:spChg chg="mod">
          <ac:chgData name="Sezgen, Handenur" userId="693f6077-2094-4a4b-9c12-b1a0c4de2bbc" providerId="ADAL" clId="{5B430AB4-3B31-40FC-B7D2-06B73B197EDF}" dt="2025-10-16T07:45:12.897" v="253" actId="403"/>
          <ac:spMkLst>
            <pc:docMk/>
            <pc:sldMk cId="3186665955" sldId="296"/>
            <ac:spMk id="31" creationId="{62253863-DAFF-0BBB-2FC3-A338554E9F54}"/>
          </ac:spMkLst>
        </pc:spChg>
        <pc:spChg chg="mod ord">
          <ac:chgData name="Sezgen, Handenur" userId="693f6077-2094-4a4b-9c12-b1a0c4de2bbc" providerId="ADAL" clId="{5B430AB4-3B31-40FC-B7D2-06B73B197EDF}" dt="2025-10-16T07:44:56.915" v="247" actId="700"/>
          <ac:spMkLst>
            <pc:docMk/>
            <pc:sldMk cId="3186665955" sldId="296"/>
            <ac:spMk id="89" creationId="{93698811-E390-1942-7E92-49A2BDB927EE}"/>
          </ac:spMkLst>
        </pc:spChg>
        <pc:picChg chg="add mod">
          <ac:chgData name="Sezgen, Handenur" userId="693f6077-2094-4a4b-9c12-b1a0c4de2bbc" providerId="ADAL" clId="{5B430AB4-3B31-40FC-B7D2-06B73B197EDF}" dt="2025-10-16T10:11:20.890" v="3628"/>
          <ac:picMkLst>
            <pc:docMk/>
            <pc:sldMk cId="3186665955" sldId="296"/>
            <ac:picMk id="3" creationId="{561C1F92-3B8B-5852-08BC-78B494EDFE76}"/>
          </ac:picMkLst>
        </pc:picChg>
      </pc:sldChg>
      <pc:sldChg chg="addSp modSp add mod modClrScheme modShow chgLayout">
        <pc:chgData name="Sezgen, Handenur" userId="693f6077-2094-4a4b-9c12-b1a0c4de2bbc" providerId="ADAL" clId="{5B430AB4-3B31-40FC-B7D2-06B73B197EDF}" dt="2025-10-16T10:13:05.381" v="3667"/>
        <pc:sldMkLst>
          <pc:docMk/>
          <pc:sldMk cId="0" sldId="297"/>
        </pc:sldMkLst>
        <pc:spChg chg="mod ord">
          <ac:chgData name="Sezgen, Handenur" userId="693f6077-2094-4a4b-9c12-b1a0c4de2bbc" providerId="ADAL" clId="{5B430AB4-3B31-40FC-B7D2-06B73B197EDF}" dt="2025-10-16T08:49:47.397" v="1516" actId="700"/>
          <ac:spMkLst>
            <pc:docMk/>
            <pc:sldMk cId="0" sldId="297"/>
            <ac:spMk id="2" creationId="{00000000-0000-0000-0000-000000000000}"/>
          </ac:spMkLst>
        </pc:spChg>
        <pc:spChg chg="mod ord">
          <ac:chgData name="Sezgen, Handenur" userId="693f6077-2094-4a4b-9c12-b1a0c4de2bbc" providerId="ADAL" clId="{5B430AB4-3B31-40FC-B7D2-06B73B197EDF}" dt="2025-10-16T08:50:57.088" v="1531" actId="20577"/>
          <ac:spMkLst>
            <pc:docMk/>
            <pc:sldMk cId="0" sldId="297"/>
            <ac:spMk id="3" creationId="{00000000-0000-0000-0000-000000000000}"/>
          </ac:spMkLst>
        </pc:spChg>
        <pc:picChg chg="add mod">
          <ac:chgData name="Sezgen, Handenur" userId="693f6077-2094-4a4b-9c12-b1a0c4de2bbc" providerId="ADAL" clId="{5B430AB4-3B31-40FC-B7D2-06B73B197EDF}" dt="2025-10-16T10:13:05.381" v="3667"/>
          <ac:picMkLst>
            <pc:docMk/>
            <pc:sldMk cId="0" sldId="297"/>
            <ac:picMk id="5" creationId="{0140F6AD-E276-BCA1-573F-B5ADB10B4720}"/>
          </ac:picMkLst>
        </pc:picChg>
        <pc:picChg chg="add mod">
          <ac:chgData name="Sezgen, Handenur" userId="693f6077-2094-4a4b-9c12-b1a0c4de2bbc" providerId="ADAL" clId="{5B430AB4-3B31-40FC-B7D2-06B73B197EDF}" dt="2025-10-16T10:13:05.381" v="3667"/>
          <ac:picMkLst>
            <pc:docMk/>
            <pc:sldMk cId="0" sldId="297"/>
            <ac:picMk id="6" creationId="{7D8175C2-E70B-0E16-5D81-23F75BC9C55B}"/>
          </ac:picMkLst>
        </pc:picChg>
      </pc:sldChg>
      <pc:sldChg chg="addSp modSp add mod modClrScheme modShow chgLayout">
        <pc:chgData name="Sezgen, Handenur" userId="693f6077-2094-4a4b-9c12-b1a0c4de2bbc" providerId="ADAL" clId="{5B430AB4-3B31-40FC-B7D2-06B73B197EDF}" dt="2025-10-16T10:13:10.812" v="3668"/>
        <pc:sldMkLst>
          <pc:docMk/>
          <pc:sldMk cId="0" sldId="298"/>
        </pc:sldMkLst>
        <pc:spChg chg="mod ord">
          <ac:chgData name="Sezgen, Handenur" userId="693f6077-2094-4a4b-9c12-b1a0c4de2bbc" providerId="ADAL" clId="{5B430AB4-3B31-40FC-B7D2-06B73B197EDF}" dt="2025-10-16T08:50:25.402" v="1524" actId="700"/>
          <ac:spMkLst>
            <pc:docMk/>
            <pc:sldMk cId="0" sldId="298"/>
            <ac:spMk id="2" creationId="{00000000-0000-0000-0000-000000000000}"/>
          </ac:spMkLst>
        </pc:spChg>
        <pc:spChg chg="mod ord">
          <ac:chgData name="Sezgen, Handenur" userId="693f6077-2094-4a4b-9c12-b1a0c4de2bbc" providerId="ADAL" clId="{5B430AB4-3B31-40FC-B7D2-06B73B197EDF}" dt="2025-10-16T08:50:51.921" v="1529" actId="20577"/>
          <ac:spMkLst>
            <pc:docMk/>
            <pc:sldMk cId="0" sldId="298"/>
            <ac:spMk id="3" creationId="{00000000-0000-0000-0000-000000000000}"/>
          </ac:spMkLst>
        </pc:spChg>
        <pc:picChg chg="add mod">
          <ac:chgData name="Sezgen, Handenur" userId="693f6077-2094-4a4b-9c12-b1a0c4de2bbc" providerId="ADAL" clId="{5B430AB4-3B31-40FC-B7D2-06B73B197EDF}" dt="2025-10-16T10:13:10.812" v="3668"/>
          <ac:picMkLst>
            <pc:docMk/>
            <pc:sldMk cId="0" sldId="298"/>
            <ac:picMk id="5" creationId="{A6F5B6C9-7967-8446-D059-67D132E316AC}"/>
          </ac:picMkLst>
        </pc:picChg>
        <pc:picChg chg="add mod">
          <ac:chgData name="Sezgen, Handenur" userId="693f6077-2094-4a4b-9c12-b1a0c4de2bbc" providerId="ADAL" clId="{5B430AB4-3B31-40FC-B7D2-06B73B197EDF}" dt="2025-10-16T10:13:10.812" v="3668"/>
          <ac:picMkLst>
            <pc:docMk/>
            <pc:sldMk cId="0" sldId="298"/>
            <ac:picMk id="6" creationId="{7160B52A-DE88-743C-AF7C-415E225C5110}"/>
          </ac:picMkLst>
        </pc:picChg>
      </pc:sldChg>
      <pc:sldChg chg="addSp delSp modSp mod modClrScheme chgLayout">
        <pc:chgData name="Sezgen, Handenur" userId="693f6077-2094-4a4b-9c12-b1a0c4de2bbc" providerId="ADAL" clId="{5B430AB4-3B31-40FC-B7D2-06B73B197EDF}" dt="2025-10-16T10:11:21.899" v="3629"/>
        <pc:sldMkLst>
          <pc:docMk/>
          <pc:sldMk cId="323286539" sldId="299"/>
        </pc:sldMkLst>
        <pc:spChg chg="mod ord">
          <ac:chgData name="Sezgen, Handenur" userId="693f6077-2094-4a4b-9c12-b1a0c4de2bbc" providerId="ADAL" clId="{5B430AB4-3B31-40FC-B7D2-06B73B197EDF}" dt="2025-10-16T07:45:23.473" v="257" actId="27636"/>
          <ac:spMkLst>
            <pc:docMk/>
            <pc:sldMk cId="323286539" sldId="299"/>
            <ac:spMk id="2" creationId="{63D2461E-A8CE-1096-2553-0D81491019D9}"/>
          </ac:spMkLst>
        </pc:spChg>
        <pc:spChg chg="mod ord">
          <ac:chgData name="Sezgen, Handenur" userId="693f6077-2094-4a4b-9c12-b1a0c4de2bbc" providerId="ADAL" clId="{5B430AB4-3B31-40FC-B7D2-06B73B197EDF}" dt="2025-10-16T07:47:26.340" v="282" actId="1076"/>
          <ac:spMkLst>
            <pc:docMk/>
            <pc:sldMk cId="323286539" sldId="299"/>
            <ac:spMk id="3" creationId="{C81F42BD-16F0-3387-DFE0-AC4D9E6904EC}"/>
          </ac:spMkLst>
        </pc:spChg>
        <pc:spChg chg="mod">
          <ac:chgData name="Sezgen, Handenur" userId="693f6077-2094-4a4b-9c12-b1a0c4de2bbc" providerId="ADAL" clId="{5B430AB4-3B31-40FC-B7D2-06B73B197EDF}" dt="2025-10-16T07:47:44.017" v="286" actId="404"/>
          <ac:spMkLst>
            <pc:docMk/>
            <pc:sldMk cId="323286539" sldId="299"/>
            <ac:spMk id="4" creationId="{D6489E0B-5734-5821-D352-3AA398CD9330}"/>
          </ac:spMkLst>
        </pc:spChg>
        <pc:spChg chg="mod ord">
          <ac:chgData name="Sezgen, Handenur" userId="693f6077-2094-4a4b-9c12-b1a0c4de2bbc" providerId="ADAL" clId="{5B430AB4-3B31-40FC-B7D2-06B73B197EDF}" dt="2025-10-16T07:45:23.379" v="256" actId="700"/>
          <ac:spMkLst>
            <pc:docMk/>
            <pc:sldMk cId="323286539" sldId="299"/>
            <ac:spMk id="5" creationId="{D30813B1-7D6D-2031-B3DA-7A6611DAC7EE}"/>
          </ac:spMkLst>
        </pc:spChg>
        <pc:spChg chg="mod">
          <ac:chgData name="Sezgen, Handenur" userId="693f6077-2094-4a4b-9c12-b1a0c4de2bbc" providerId="ADAL" clId="{5B430AB4-3B31-40FC-B7D2-06B73B197EDF}" dt="2025-10-16T07:47:22.309" v="281" actId="1037"/>
          <ac:spMkLst>
            <pc:docMk/>
            <pc:sldMk cId="323286539" sldId="299"/>
            <ac:spMk id="6" creationId="{995FDB82-5DD0-4E22-67CD-F38D87D62312}"/>
          </ac:spMkLst>
        </pc:spChg>
        <pc:spChg chg="add del mod">
          <ac:chgData name="Sezgen, Handenur" userId="693f6077-2094-4a4b-9c12-b1a0c4de2bbc" providerId="ADAL" clId="{5B430AB4-3B31-40FC-B7D2-06B73B197EDF}" dt="2025-10-16T07:45:20.622" v="254" actId="6264"/>
          <ac:spMkLst>
            <pc:docMk/>
            <pc:sldMk cId="323286539" sldId="299"/>
            <ac:spMk id="9" creationId="{EE409FB9-F813-5F16-0493-2F1B44B7218D}"/>
          </ac:spMkLst>
        </pc:spChg>
        <pc:spChg chg="add del mod">
          <ac:chgData name="Sezgen, Handenur" userId="693f6077-2094-4a4b-9c12-b1a0c4de2bbc" providerId="ADAL" clId="{5B430AB4-3B31-40FC-B7D2-06B73B197EDF}" dt="2025-10-16T07:45:20.622" v="254" actId="6264"/>
          <ac:spMkLst>
            <pc:docMk/>
            <pc:sldMk cId="323286539" sldId="299"/>
            <ac:spMk id="10" creationId="{4C4E3387-04BF-F4C2-F0DD-FAC195856474}"/>
          </ac:spMkLst>
        </pc:spChg>
        <pc:spChg chg="add del mod">
          <ac:chgData name="Sezgen, Handenur" userId="693f6077-2094-4a4b-9c12-b1a0c4de2bbc" providerId="ADAL" clId="{5B430AB4-3B31-40FC-B7D2-06B73B197EDF}" dt="2025-10-16T07:45:20.622" v="254" actId="6264"/>
          <ac:spMkLst>
            <pc:docMk/>
            <pc:sldMk cId="323286539" sldId="299"/>
            <ac:spMk id="11" creationId="{DEE1A870-CFF1-EA45-652F-6809588283E1}"/>
          </ac:spMkLst>
        </pc:spChg>
        <pc:spChg chg="mod">
          <ac:chgData name="Sezgen, Handenur" userId="693f6077-2094-4a4b-9c12-b1a0c4de2bbc" providerId="ADAL" clId="{5B430AB4-3B31-40FC-B7D2-06B73B197EDF}" dt="2025-10-16T07:47:33.145" v="283" actId="1076"/>
          <ac:spMkLst>
            <pc:docMk/>
            <pc:sldMk cId="323286539" sldId="299"/>
            <ac:spMk id="16" creationId="{71E407F2-1658-67D7-A78D-2998EFBB1F08}"/>
          </ac:spMkLst>
        </pc:spChg>
        <pc:spChg chg="mod">
          <ac:chgData name="Sezgen, Handenur" userId="693f6077-2094-4a4b-9c12-b1a0c4de2bbc" providerId="ADAL" clId="{5B430AB4-3B31-40FC-B7D2-06B73B197EDF}" dt="2025-10-16T07:46:18.333" v="267" actId="20577"/>
          <ac:spMkLst>
            <pc:docMk/>
            <pc:sldMk cId="323286539" sldId="299"/>
            <ac:spMk id="17" creationId="{801327CA-40B2-49AC-5B92-C8B1C8EEA03E}"/>
          </ac:spMkLst>
        </pc:spChg>
        <pc:graphicFrameChg chg="mod">
          <ac:chgData name="Sezgen, Handenur" userId="693f6077-2094-4a4b-9c12-b1a0c4de2bbc" providerId="ADAL" clId="{5B430AB4-3B31-40FC-B7D2-06B73B197EDF}" dt="2025-10-16T07:47:15.522" v="276" actId="14100"/>
          <ac:graphicFrameMkLst>
            <pc:docMk/>
            <pc:sldMk cId="323286539" sldId="299"/>
            <ac:graphicFrameMk id="7" creationId="{6B89C8EA-E19A-93DE-C2BA-284AF9FA62EB}"/>
          </ac:graphicFrameMkLst>
        </pc:graphicFrameChg>
        <pc:picChg chg="add mod">
          <ac:chgData name="Sezgen, Handenur" userId="693f6077-2094-4a4b-9c12-b1a0c4de2bbc" providerId="ADAL" clId="{5B430AB4-3B31-40FC-B7D2-06B73B197EDF}" dt="2025-10-16T10:11:21.899" v="3629"/>
          <ac:picMkLst>
            <pc:docMk/>
            <pc:sldMk cId="323286539" sldId="299"/>
            <ac:picMk id="12" creationId="{BD3DB404-F400-FE32-E227-65D424C70821}"/>
          </ac:picMkLst>
        </pc:picChg>
      </pc:sldChg>
      <pc:sldChg chg="addSp delSp modSp mod modClrScheme chgLayout">
        <pc:chgData name="Sezgen, Handenur" userId="693f6077-2094-4a4b-9c12-b1a0c4de2bbc" providerId="ADAL" clId="{5B430AB4-3B31-40FC-B7D2-06B73B197EDF}" dt="2025-10-16T10:11:22.848" v="3630"/>
        <pc:sldMkLst>
          <pc:docMk/>
          <pc:sldMk cId="1421685218" sldId="300"/>
        </pc:sldMkLst>
        <pc:spChg chg="mod ord">
          <ac:chgData name="Sezgen, Handenur" userId="693f6077-2094-4a4b-9c12-b1a0c4de2bbc" providerId="ADAL" clId="{5B430AB4-3B31-40FC-B7D2-06B73B197EDF}" dt="2025-10-16T07:51:33.680" v="395" actId="20577"/>
          <ac:spMkLst>
            <pc:docMk/>
            <pc:sldMk cId="1421685218" sldId="300"/>
            <ac:spMk id="2" creationId="{EFF49A2A-FC11-6D0F-6AB4-1057365134E9}"/>
          </ac:spMkLst>
        </pc:spChg>
        <pc:spChg chg="add del mod">
          <ac:chgData name="Sezgen, Handenur" userId="693f6077-2094-4a4b-9c12-b1a0c4de2bbc" providerId="ADAL" clId="{5B430AB4-3B31-40FC-B7D2-06B73B197EDF}" dt="2025-10-16T07:47:53.765" v="287" actId="6264"/>
          <ac:spMkLst>
            <pc:docMk/>
            <pc:sldMk cId="1421685218" sldId="300"/>
            <ac:spMk id="5" creationId="{40BE4FE4-6B70-9816-376A-8AA0E3C333B4}"/>
          </ac:spMkLst>
        </pc:spChg>
        <pc:spChg chg="add del mod">
          <ac:chgData name="Sezgen, Handenur" userId="693f6077-2094-4a4b-9c12-b1a0c4de2bbc" providerId="ADAL" clId="{5B430AB4-3B31-40FC-B7D2-06B73B197EDF}" dt="2025-10-16T07:47:53.765" v="287" actId="6264"/>
          <ac:spMkLst>
            <pc:docMk/>
            <pc:sldMk cId="1421685218" sldId="300"/>
            <ac:spMk id="8" creationId="{F29D99BB-5D47-33F3-F359-3F1AC858ADCF}"/>
          </ac:spMkLst>
        </pc:spChg>
        <pc:spChg chg="add mod">
          <ac:chgData name="Sezgen, Handenur" userId="693f6077-2094-4a4b-9c12-b1a0c4de2bbc" providerId="ADAL" clId="{5B430AB4-3B31-40FC-B7D2-06B73B197EDF}" dt="2025-10-16T07:50:34.448" v="393" actId="14100"/>
          <ac:spMkLst>
            <pc:docMk/>
            <pc:sldMk cId="1421685218" sldId="300"/>
            <ac:spMk id="9" creationId="{C18C0A39-D0B5-E30C-3BEE-1B03FF2AF1DE}"/>
          </ac:spMkLst>
        </pc:spChg>
        <pc:spChg chg="mod ord">
          <ac:chgData name="Sezgen, Handenur" userId="693f6077-2094-4a4b-9c12-b1a0c4de2bbc" providerId="ADAL" clId="{5B430AB4-3B31-40FC-B7D2-06B73B197EDF}" dt="2025-10-16T07:48:10.696" v="295" actId="1076"/>
          <ac:spMkLst>
            <pc:docMk/>
            <pc:sldMk cId="1421685218" sldId="300"/>
            <ac:spMk id="12" creationId="{FDB652FA-B2F6-BFF6-F5C1-F0DA271DAA28}"/>
          </ac:spMkLst>
        </pc:spChg>
        <pc:spChg chg="del mod">
          <ac:chgData name="Sezgen, Handenur" userId="693f6077-2094-4a4b-9c12-b1a0c4de2bbc" providerId="ADAL" clId="{5B430AB4-3B31-40FC-B7D2-06B73B197EDF}" dt="2025-10-16T07:50:16.055" v="386" actId="21"/>
          <ac:spMkLst>
            <pc:docMk/>
            <pc:sldMk cId="1421685218" sldId="300"/>
            <ac:spMk id="18" creationId="{89D50BF0-AAEB-4099-D8A3-733418F576B5}"/>
          </ac:spMkLst>
        </pc:spChg>
        <pc:grpChg chg="mod">
          <ac:chgData name="Sezgen, Handenur" userId="693f6077-2094-4a4b-9c12-b1a0c4de2bbc" providerId="ADAL" clId="{5B430AB4-3B31-40FC-B7D2-06B73B197EDF}" dt="2025-10-16T07:50:13.943" v="385" actId="1076"/>
          <ac:grpSpMkLst>
            <pc:docMk/>
            <pc:sldMk cId="1421685218" sldId="300"/>
            <ac:grpSpMk id="10" creationId="{1E5FD14A-9190-7DC2-E0EF-C3C9492FEB34}"/>
          </ac:grpSpMkLst>
        </pc:grpChg>
        <pc:graphicFrameChg chg="mod">
          <ac:chgData name="Sezgen, Handenur" userId="693f6077-2094-4a4b-9c12-b1a0c4de2bbc" providerId="ADAL" clId="{5B430AB4-3B31-40FC-B7D2-06B73B197EDF}" dt="2025-10-16T07:50:22.468" v="387"/>
          <ac:graphicFrameMkLst>
            <pc:docMk/>
            <pc:sldMk cId="1421685218" sldId="300"/>
            <ac:graphicFrameMk id="17" creationId="{7B38C6D4-090C-3EBF-2B6E-419D6A1F562D}"/>
          </ac:graphicFrameMkLst>
        </pc:graphicFrameChg>
        <pc:picChg chg="add mod">
          <ac:chgData name="Sezgen, Handenur" userId="693f6077-2094-4a4b-9c12-b1a0c4de2bbc" providerId="ADAL" clId="{5B430AB4-3B31-40FC-B7D2-06B73B197EDF}" dt="2025-10-16T10:11:22.848" v="3630"/>
          <ac:picMkLst>
            <pc:docMk/>
            <pc:sldMk cId="1421685218" sldId="300"/>
            <ac:picMk id="11" creationId="{7554328C-F90E-698B-07CC-65F17EF46738}"/>
          </ac:picMkLst>
        </pc:picChg>
      </pc:sldChg>
      <pc:sldChg chg="addSp delSp modSp add mod modClrScheme modShow chgLayout">
        <pc:chgData name="Sezgen, Handenur" userId="693f6077-2094-4a4b-9c12-b1a0c4de2bbc" providerId="ADAL" clId="{5B430AB4-3B31-40FC-B7D2-06B73B197EDF}" dt="2025-10-16T10:13:13.801" v="3669"/>
        <pc:sldMkLst>
          <pc:docMk/>
          <pc:sldMk cId="0" sldId="301"/>
        </pc:sldMkLst>
        <pc:spChg chg="mod ord">
          <ac:chgData name="Sezgen, Handenur" userId="693f6077-2094-4a4b-9c12-b1a0c4de2bbc" providerId="ADAL" clId="{5B430AB4-3B31-40FC-B7D2-06B73B197EDF}" dt="2025-10-16T08:51:03.348" v="1533" actId="700"/>
          <ac:spMkLst>
            <pc:docMk/>
            <pc:sldMk cId="0" sldId="301"/>
            <ac:spMk id="2" creationId="{00000000-0000-0000-0000-000000000000}"/>
          </ac:spMkLst>
        </pc:spChg>
        <pc:spChg chg="mod ord">
          <ac:chgData name="Sezgen, Handenur" userId="693f6077-2094-4a4b-9c12-b1a0c4de2bbc" providerId="ADAL" clId="{5B430AB4-3B31-40FC-B7D2-06B73B197EDF}" dt="2025-10-16T08:51:12.722" v="1536" actId="108"/>
          <ac:spMkLst>
            <pc:docMk/>
            <pc:sldMk cId="0" sldId="301"/>
            <ac:spMk id="3" creationId="{00000000-0000-0000-0000-000000000000}"/>
          </ac:spMkLst>
        </pc:spChg>
        <pc:spChg chg="add del mod">
          <ac:chgData name="Sezgen, Handenur" userId="693f6077-2094-4a4b-9c12-b1a0c4de2bbc" providerId="ADAL" clId="{5B430AB4-3B31-40FC-B7D2-06B73B197EDF}" dt="2025-10-16T08:51:01.393" v="1532" actId="6264"/>
          <ac:spMkLst>
            <pc:docMk/>
            <pc:sldMk cId="0" sldId="301"/>
            <ac:spMk id="4" creationId="{AE5E5DDB-0D2B-6ED5-D888-EC6E23BBE5F8}"/>
          </ac:spMkLst>
        </pc:spChg>
        <pc:spChg chg="add del mod">
          <ac:chgData name="Sezgen, Handenur" userId="693f6077-2094-4a4b-9c12-b1a0c4de2bbc" providerId="ADAL" clId="{5B430AB4-3B31-40FC-B7D2-06B73B197EDF}" dt="2025-10-16T08:51:01.393" v="1532" actId="6264"/>
          <ac:spMkLst>
            <pc:docMk/>
            <pc:sldMk cId="0" sldId="301"/>
            <ac:spMk id="5" creationId="{9842850F-6513-B718-C46F-016DAFAF7B8A}"/>
          </ac:spMkLst>
        </pc:spChg>
        <pc:picChg chg="add mod">
          <ac:chgData name="Sezgen, Handenur" userId="693f6077-2094-4a4b-9c12-b1a0c4de2bbc" providerId="ADAL" clId="{5B430AB4-3B31-40FC-B7D2-06B73B197EDF}" dt="2025-10-16T10:13:13.801" v="3669"/>
          <ac:picMkLst>
            <pc:docMk/>
            <pc:sldMk cId="0" sldId="301"/>
            <ac:picMk id="6" creationId="{76F4F5EE-76CD-87F7-3944-30537E524335}"/>
          </ac:picMkLst>
        </pc:picChg>
        <pc:picChg chg="add mod">
          <ac:chgData name="Sezgen, Handenur" userId="693f6077-2094-4a4b-9c12-b1a0c4de2bbc" providerId="ADAL" clId="{5B430AB4-3B31-40FC-B7D2-06B73B197EDF}" dt="2025-10-16T10:13:13.801" v="3669"/>
          <ac:picMkLst>
            <pc:docMk/>
            <pc:sldMk cId="0" sldId="301"/>
            <ac:picMk id="7" creationId="{C5CEC7A4-8A79-A1D7-5AFB-38C124C2136D}"/>
          </ac:picMkLst>
        </pc:picChg>
      </pc:sldChg>
      <pc:sldChg chg="addSp delSp modSp add mod modClrScheme chgLayout">
        <pc:chgData name="Sezgen, Handenur" userId="693f6077-2094-4a4b-9c12-b1a0c4de2bbc" providerId="ADAL" clId="{5B430AB4-3B31-40FC-B7D2-06B73B197EDF}" dt="2025-10-16T10:13:16.014" v="3670"/>
        <pc:sldMkLst>
          <pc:docMk/>
          <pc:sldMk cId="0" sldId="302"/>
        </pc:sldMkLst>
        <pc:spChg chg="mod ord">
          <ac:chgData name="Sezgen, Handenur" userId="693f6077-2094-4a4b-9c12-b1a0c4de2bbc" providerId="ADAL" clId="{5B430AB4-3B31-40FC-B7D2-06B73B197EDF}" dt="2025-10-16T08:51:18.993" v="1538" actId="700"/>
          <ac:spMkLst>
            <pc:docMk/>
            <pc:sldMk cId="0" sldId="302"/>
            <ac:spMk id="2" creationId="{00000000-0000-0000-0000-000000000000}"/>
          </ac:spMkLst>
        </pc:spChg>
        <pc:spChg chg="mod ord">
          <ac:chgData name="Sezgen, Handenur" userId="693f6077-2094-4a4b-9c12-b1a0c4de2bbc" providerId="ADAL" clId="{5B430AB4-3B31-40FC-B7D2-06B73B197EDF}" dt="2025-10-16T08:51:29.913" v="1540" actId="14100"/>
          <ac:spMkLst>
            <pc:docMk/>
            <pc:sldMk cId="0" sldId="302"/>
            <ac:spMk id="3" creationId="{00000000-0000-0000-0000-000000000000}"/>
          </ac:spMkLst>
        </pc:spChg>
        <pc:spChg chg="mod">
          <ac:chgData name="Sezgen, Handenur" userId="693f6077-2094-4a4b-9c12-b1a0c4de2bbc" providerId="ADAL" clId="{5B430AB4-3B31-40FC-B7D2-06B73B197EDF}" dt="2025-10-16T08:51:33.643" v="1541" actId="1076"/>
          <ac:spMkLst>
            <pc:docMk/>
            <pc:sldMk cId="0" sldId="302"/>
            <ac:spMk id="4" creationId="{D85A35B8-7CBB-77D6-D1B9-65A753226A38}"/>
          </ac:spMkLst>
        </pc:spChg>
        <pc:spChg chg="add del mod">
          <ac:chgData name="Sezgen, Handenur" userId="693f6077-2094-4a4b-9c12-b1a0c4de2bbc" providerId="ADAL" clId="{5B430AB4-3B31-40FC-B7D2-06B73B197EDF}" dt="2025-10-16T08:51:17.039" v="1537" actId="6264"/>
          <ac:spMkLst>
            <pc:docMk/>
            <pc:sldMk cId="0" sldId="302"/>
            <ac:spMk id="5" creationId="{2213FC2A-2686-5B04-66FA-839F421F28B0}"/>
          </ac:spMkLst>
        </pc:spChg>
        <pc:spChg chg="add del mod">
          <ac:chgData name="Sezgen, Handenur" userId="693f6077-2094-4a4b-9c12-b1a0c4de2bbc" providerId="ADAL" clId="{5B430AB4-3B31-40FC-B7D2-06B73B197EDF}" dt="2025-10-16T08:51:17.039" v="1537" actId="6264"/>
          <ac:spMkLst>
            <pc:docMk/>
            <pc:sldMk cId="0" sldId="302"/>
            <ac:spMk id="6" creationId="{FA9E9E00-150F-D65C-5D3B-D46401CE730A}"/>
          </ac:spMkLst>
        </pc:spChg>
        <pc:picChg chg="add mod">
          <ac:chgData name="Sezgen, Handenur" userId="693f6077-2094-4a4b-9c12-b1a0c4de2bbc" providerId="ADAL" clId="{5B430AB4-3B31-40FC-B7D2-06B73B197EDF}" dt="2025-10-16T10:13:16.014" v="3670"/>
          <ac:picMkLst>
            <pc:docMk/>
            <pc:sldMk cId="0" sldId="302"/>
            <ac:picMk id="7" creationId="{AF8DA88A-8D16-A11C-7180-4EFF3CDBC65E}"/>
          </ac:picMkLst>
        </pc:picChg>
        <pc:picChg chg="add mod">
          <ac:chgData name="Sezgen, Handenur" userId="693f6077-2094-4a4b-9c12-b1a0c4de2bbc" providerId="ADAL" clId="{5B430AB4-3B31-40FC-B7D2-06B73B197EDF}" dt="2025-10-16T10:13:16.014" v="3670"/>
          <ac:picMkLst>
            <pc:docMk/>
            <pc:sldMk cId="0" sldId="302"/>
            <ac:picMk id="8" creationId="{031A4E16-4C86-562F-44FD-05E1E0875041}"/>
          </ac:picMkLst>
        </pc:picChg>
      </pc:sldChg>
      <pc:sldChg chg="addSp delSp modSp mod modClrScheme chgLayout">
        <pc:chgData name="Sezgen, Handenur" userId="693f6077-2094-4a4b-9c12-b1a0c4de2bbc" providerId="ADAL" clId="{5B430AB4-3B31-40FC-B7D2-06B73B197EDF}" dt="2025-10-16T10:11:03.662" v="3616"/>
        <pc:sldMkLst>
          <pc:docMk/>
          <pc:sldMk cId="2072827768" sldId="303"/>
        </pc:sldMkLst>
        <pc:spChg chg="mod">
          <ac:chgData name="Sezgen, Handenur" userId="693f6077-2094-4a4b-9c12-b1a0c4de2bbc" providerId="ADAL" clId="{5B430AB4-3B31-40FC-B7D2-06B73B197EDF}" dt="2025-10-16T07:39:52.943" v="45" actId="1076"/>
          <ac:spMkLst>
            <pc:docMk/>
            <pc:sldMk cId="2072827768" sldId="303"/>
            <ac:spMk id="3" creationId="{C483D2C6-4DBA-79BD-4321-D455E2C08899}"/>
          </ac:spMkLst>
        </pc:spChg>
        <pc:spChg chg="mod ord">
          <ac:chgData name="Sezgen, Handenur" userId="693f6077-2094-4a4b-9c12-b1a0c4de2bbc" providerId="ADAL" clId="{5B430AB4-3B31-40FC-B7D2-06B73B197EDF}" dt="2025-10-16T07:38:27.948" v="16" actId="700"/>
          <ac:spMkLst>
            <pc:docMk/>
            <pc:sldMk cId="2072827768" sldId="303"/>
            <ac:spMk id="8" creationId="{43A2217D-FDC8-F9F3-65F7-B03C034D79D6}"/>
          </ac:spMkLst>
        </pc:spChg>
        <pc:grpChg chg="add del mod">
          <ac:chgData name="Sezgen, Handenur" userId="693f6077-2094-4a4b-9c12-b1a0c4de2bbc" providerId="ADAL" clId="{5B430AB4-3B31-40FC-B7D2-06B73B197EDF}" dt="2025-10-16T10:11:03.447" v="3615" actId="478"/>
          <ac:grpSpMkLst>
            <pc:docMk/>
            <pc:sldMk cId="2072827768" sldId="303"/>
            <ac:grpSpMk id="2" creationId="{28643D84-D3E4-59EA-93E2-4473A298ADE0}"/>
          </ac:grpSpMkLst>
        </pc:grpChg>
        <pc:picChg chg="mod">
          <ac:chgData name="Sezgen, Handenur" userId="693f6077-2094-4a4b-9c12-b1a0c4de2bbc" providerId="ADAL" clId="{5B430AB4-3B31-40FC-B7D2-06B73B197EDF}" dt="2025-10-16T10:10:16.270" v="3576"/>
          <ac:picMkLst>
            <pc:docMk/>
            <pc:sldMk cId="2072827768" sldId="303"/>
            <ac:picMk id="4" creationId="{099C9853-683A-8C0E-4D98-D3BC8F0E51FC}"/>
          </ac:picMkLst>
        </pc:picChg>
        <pc:picChg chg="mod">
          <ac:chgData name="Sezgen, Handenur" userId="693f6077-2094-4a4b-9c12-b1a0c4de2bbc" providerId="ADAL" clId="{5B430AB4-3B31-40FC-B7D2-06B73B197EDF}" dt="2025-10-16T10:10:16.270" v="3576"/>
          <ac:picMkLst>
            <pc:docMk/>
            <pc:sldMk cId="2072827768" sldId="303"/>
            <ac:picMk id="5" creationId="{A580D490-5A45-29F8-B93B-B08266BEE1AD}"/>
          </ac:picMkLst>
        </pc:picChg>
        <pc:picChg chg="add mod">
          <ac:chgData name="Sezgen, Handenur" userId="693f6077-2094-4a4b-9c12-b1a0c4de2bbc" providerId="ADAL" clId="{5B430AB4-3B31-40FC-B7D2-06B73B197EDF}" dt="2025-10-16T10:11:03.662" v="3616"/>
          <ac:picMkLst>
            <pc:docMk/>
            <pc:sldMk cId="2072827768" sldId="303"/>
            <ac:picMk id="6" creationId="{4495C56D-E30C-D85E-621E-82926C67F772}"/>
          </ac:picMkLst>
        </pc:picChg>
      </pc:sldChg>
      <pc:sldChg chg="addSp delSp modSp mod modClrScheme chgLayout">
        <pc:chgData name="Sezgen, Handenur" userId="693f6077-2094-4a4b-9c12-b1a0c4de2bbc" providerId="ADAL" clId="{5B430AB4-3B31-40FC-B7D2-06B73B197EDF}" dt="2025-10-16T10:11:23.763" v="3631"/>
        <pc:sldMkLst>
          <pc:docMk/>
          <pc:sldMk cId="3092541958" sldId="304"/>
        </pc:sldMkLst>
        <pc:spChg chg="mod ord">
          <ac:chgData name="Sezgen, Handenur" userId="693f6077-2094-4a4b-9c12-b1a0c4de2bbc" providerId="ADAL" clId="{5B430AB4-3B31-40FC-B7D2-06B73B197EDF}" dt="2025-10-16T07:51:46.919" v="398" actId="27636"/>
          <ac:spMkLst>
            <pc:docMk/>
            <pc:sldMk cId="3092541958" sldId="304"/>
            <ac:spMk id="2" creationId="{938F42C2-2FDD-78E9-A2B8-6DB87D75AA11}"/>
          </ac:spMkLst>
        </pc:spChg>
        <pc:spChg chg="mod ord">
          <ac:chgData name="Sezgen, Handenur" userId="693f6077-2094-4a4b-9c12-b1a0c4de2bbc" providerId="ADAL" clId="{5B430AB4-3B31-40FC-B7D2-06B73B197EDF}" dt="2025-10-16T07:51:46.716" v="397" actId="700"/>
          <ac:spMkLst>
            <pc:docMk/>
            <pc:sldMk cId="3092541958" sldId="304"/>
            <ac:spMk id="3" creationId="{40FAE080-C0E9-8B4F-CCC1-0DA5950099DF}"/>
          </ac:spMkLst>
        </pc:spChg>
        <pc:spChg chg="mod ord">
          <ac:chgData name="Sezgen, Handenur" userId="693f6077-2094-4a4b-9c12-b1a0c4de2bbc" providerId="ADAL" clId="{5B430AB4-3B31-40FC-B7D2-06B73B197EDF}" dt="2025-10-16T07:51:46.716" v="397" actId="700"/>
          <ac:spMkLst>
            <pc:docMk/>
            <pc:sldMk cId="3092541958" sldId="304"/>
            <ac:spMk id="5" creationId="{3B0EAFF3-29F8-3EF2-840A-3D4246846BE0}"/>
          </ac:spMkLst>
        </pc:spChg>
        <pc:spChg chg="del mod">
          <ac:chgData name="Sezgen, Handenur" userId="693f6077-2094-4a4b-9c12-b1a0c4de2bbc" providerId="ADAL" clId="{5B430AB4-3B31-40FC-B7D2-06B73B197EDF}" dt="2025-10-16T07:52:01.459" v="401" actId="478"/>
          <ac:spMkLst>
            <pc:docMk/>
            <pc:sldMk cId="3092541958" sldId="304"/>
            <ac:spMk id="8" creationId="{3C2F24CC-4850-539A-3854-0D0C6428F0B1}"/>
          </ac:spMkLst>
        </pc:spChg>
        <pc:graphicFrameChg chg="mod ord">
          <ac:chgData name="Sezgen, Handenur" userId="693f6077-2094-4a4b-9c12-b1a0c4de2bbc" providerId="ADAL" clId="{5B430AB4-3B31-40FC-B7D2-06B73B197EDF}" dt="2025-10-16T07:53:24.159" v="416" actId="12788"/>
          <ac:graphicFrameMkLst>
            <pc:docMk/>
            <pc:sldMk cId="3092541958" sldId="304"/>
            <ac:graphicFrameMk id="6" creationId="{B3CFFE95-8D38-D530-FEC2-F1F777ADE284}"/>
          </ac:graphicFrameMkLst>
        </pc:graphicFrameChg>
        <pc:picChg chg="add mod">
          <ac:chgData name="Sezgen, Handenur" userId="693f6077-2094-4a4b-9c12-b1a0c4de2bbc" providerId="ADAL" clId="{5B430AB4-3B31-40FC-B7D2-06B73B197EDF}" dt="2025-10-16T10:11:23.763" v="3631"/>
          <ac:picMkLst>
            <pc:docMk/>
            <pc:sldMk cId="3092541958" sldId="304"/>
            <ac:picMk id="4" creationId="{7442093F-AEF5-F8A2-BF5B-104508CCC1E8}"/>
          </ac:picMkLst>
        </pc:picChg>
      </pc:sldChg>
      <pc:sldChg chg="addSp modSp mod modClrScheme chgLayout">
        <pc:chgData name="Sezgen, Handenur" userId="693f6077-2094-4a4b-9c12-b1a0c4de2bbc" providerId="ADAL" clId="{5B430AB4-3B31-40FC-B7D2-06B73B197EDF}" dt="2025-10-16T10:11:26.761" v="3634"/>
        <pc:sldMkLst>
          <pc:docMk/>
          <pc:sldMk cId="3118683425" sldId="305"/>
        </pc:sldMkLst>
        <pc:spChg chg="mod ord">
          <ac:chgData name="Sezgen, Handenur" userId="693f6077-2094-4a4b-9c12-b1a0c4de2bbc" providerId="ADAL" clId="{5B430AB4-3B31-40FC-B7D2-06B73B197EDF}" dt="2025-10-16T07:59:06.540" v="456" actId="700"/>
          <ac:spMkLst>
            <pc:docMk/>
            <pc:sldMk cId="3118683425" sldId="305"/>
            <ac:spMk id="2" creationId="{ACF929A2-2145-BC16-C071-A821C23306A5}"/>
          </ac:spMkLst>
        </pc:spChg>
        <pc:spChg chg="mod ord">
          <ac:chgData name="Sezgen, Handenur" userId="693f6077-2094-4a4b-9c12-b1a0c4de2bbc" providerId="ADAL" clId="{5B430AB4-3B31-40FC-B7D2-06B73B197EDF}" dt="2025-10-16T07:59:10.595" v="458" actId="1076"/>
          <ac:spMkLst>
            <pc:docMk/>
            <pc:sldMk cId="3118683425" sldId="305"/>
            <ac:spMk id="3" creationId="{BE6CCD3C-845D-FC6F-9DF2-799BBC04160C}"/>
          </ac:spMkLst>
        </pc:spChg>
        <pc:spChg chg="mod">
          <ac:chgData name="Sezgen, Handenur" userId="693f6077-2094-4a4b-9c12-b1a0c4de2bbc" providerId="ADAL" clId="{5B430AB4-3B31-40FC-B7D2-06B73B197EDF}" dt="2025-10-16T07:59:03.142" v="455" actId="1076"/>
          <ac:spMkLst>
            <pc:docMk/>
            <pc:sldMk cId="3118683425" sldId="305"/>
            <ac:spMk id="7" creationId="{B20F8DD9-975A-3DC0-C976-37605AA6BDF2}"/>
          </ac:spMkLst>
        </pc:spChg>
        <pc:spChg chg="mod">
          <ac:chgData name="Sezgen, Handenur" userId="693f6077-2094-4a4b-9c12-b1a0c4de2bbc" providerId="ADAL" clId="{5B430AB4-3B31-40FC-B7D2-06B73B197EDF}" dt="2025-10-16T07:59:14.893" v="459" actId="1076"/>
          <ac:spMkLst>
            <pc:docMk/>
            <pc:sldMk cId="3118683425" sldId="305"/>
            <ac:spMk id="8" creationId="{B736DD2B-C909-8AEA-B98C-540E4C3A9A5D}"/>
          </ac:spMkLst>
        </pc:spChg>
        <pc:spChg chg="mod ord">
          <ac:chgData name="Sezgen, Handenur" userId="693f6077-2094-4a4b-9c12-b1a0c4de2bbc" providerId="ADAL" clId="{5B430AB4-3B31-40FC-B7D2-06B73B197EDF}" dt="2025-10-16T07:59:06.540" v="456" actId="700"/>
          <ac:spMkLst>
            <pc:docMk/>
            <pc:sldMk cId="3118683425" sldId="305"/>
            <ac:spMk id="9" creationId="{709AA828-A0CA-95AC-D5C6-799DF05F6D62}"/>
          </ac:spMkLst>
        </pc:spChg>
        <pc:graphicFrameChg chg="mod">
          <ac:chgData name="Sezgen, Handenur" userId="693f6077-2094-4a4b-9c12-b1a0c4de2bbc" providerId="ADAL" clId="{5B430AB4-3B31-40FC-B7D2-06B73B197EDF}" dt="2025-10-16T07:59:19.322" v="460" actId="1076"/>
          <ac:graphicFrameMkLst>
            <pc:docMk/>
            <pc:sldMk cId="3118683425" sldId="305"/>
            <ac:graphicFrameMk id="4" creationId="{58036743-4115-E67C-ACE1-D403594F7655}"/>
          </ac:graphicFrameMkLst>
        </pc:graphicFrameChg>
        <pc:picChg chg="add mod">
          <ac:chgData name="Sezgen, Handenur" userId="693f6077-2094-4a4b-9c12-b1a0c4de2bbc" providerId="ADAL" clId="{5B430AB4-3B31-40FC-B7D2-06B73B197EDF}" dt="2025-10-16T10:11:26.761" v="3634"/>
          <ac:picMkLst>
            <pc:docMk/>
            <pc:sldMk cId="3118683425" sldId="305"/>
            <ac:picMk id="5" creationId="{11728507-D040-A0B1-B539-9A8CE3295FD5}"/>
          </ac:picMkLst>
        </pc:picChg>
      </pc:sldChg>
      <pc:sldChg chg="addSp delSp modSp add mod modClrScheme chgLayout">
        <pc:chgData name="Sezgen, Handenur" userId="693f6077-2094-4a4b-9c12-b1a0c4de2bbc" providerId="ADAL" clId="{5B430AB4-3B31-40FC-B7D2-06B73B197EDF}" dt="2025-10-16T10:13:21.877" v="3673"/>
        <pc:sldMkLst>
          <pc:docMk/>
          <pc:sldMk cId="0" sldId="306"/>
        </pc:sldMkLst>
        <pc:spChg chg="mod ord">
          <ac:chgData name="Sezgen, Handenur" userId="693f6077-2094-4a4b-9c12-b1a0c4de2bbc" providerId="ADAL" clId="{5B430AB4-3B31-40FC-B7D2-06B73B197EDF}" dt="2025-10-16T08:52:08.333" v="1552" actId="700"/>
          <ac:spMkLst>
            <pc:docMk/>
            <pc:sldMk cId="0" sldId="306"/>
            <ac:spMk id="2" creationId="{00000000-0000-0000-0000-000000000000}"/>
          </ac:spMkLst>
        </pc:spChg>
        <pc:spChg chg="mod ord">
          <ac:chgData name="Sezgen, Handenur" userId="693f6077-2094-4a4b-9c12-b1a0c4de2bbc" providerId="ADAL" clId="{5B430AB4-3B31-40FC-B7D2-06B73B197EDF}" dt="2025-10-16T08:52:47.400" v="1563" actId="113"/>
          <ac:spMkLst>
            <pc:docMk/>
            <pc:sldMk cId="0" sldId="306"/>
            <ac:spMk id="3" creationId="{00000000-0000-0000-0000-000000000000}"/>
          </ac:spMkLst>
        </pc:spChg>
        <pc:spChg chg="mod">
          <ac:chgData name="Sezgen, Handenur" userId="693f6077-2094-4a4b-9c12-b1a0c4de2bbc" providerId="ADAL" clId="{5B430AB4-3B31-40FC-B7D2-06B73B197EDF}" dt="2025-10-16T08:52:24.150" v="1558" actId="255"/>
          <ac:spMkLst>
            <pc:docMk/>
            <pc:sldMk cId="0" sldId="306"/>
            <ac:spMk id="4" creationId="{B63859B8-DE7F-059D-4F1F-629578F466FB}"/>
          </ac:spMkLst>
        </pc:spChg>
        <pc:spChg chg="add del mod">
          <ac:chgData name="Sezgen, Handenur" userId="693f6077-2094-4a4b-9c12-b1a0c4de2bbc" providerId="ADAL" clId="{5B430AB4-3B31-40FC-B7D2-06B73B197EDF}" dt="2025-10-16T08:52:06.248" v="1551" actId="6264"/>
          <ac:spMkLst>
            <pc:docMk/>
            <pc:sldMk cId="0" sldId="306"/>
            <ac:spMk id="5" creationId="{31676E38-A51A-592E-39C3-7B837234BE8A}"/>
          </ac:spMkLst>
        </pc:spChg>
        <pc:spChg chg="add del mod">
          <ac:chgData name="Sezgen, Handenur" userId="693f6077-2094-4a4b-9c12-b1a0c4de2bbc" providerId="ADAL" clId="{5B430AB4-3B31-40FC-B7D2-06B73B197EDF}" dt="2025-10-16T08:52:06.248" v="1551" actId="6264"/>
          <ac:spMkLst>
            <pc:docMk/>
            <pc:sldMk cId="0" sldId="306"/>
            <ac:spMk id="6" creationId="{138BC7C6-557D-632E-5D12-B63D607D5C20}"/>
          </ac:spMkLst>
        </pc:spChg>
        <pc:spChg chg="add mod ord">
          <ac:chgData name="Sezgen, Handenur" userId="693f6077-2094-4a4b-9c12-b1a0c4de2bbc" providerId="ADAL" clId="{5B430AB4-3B31-40FC-B7D2-06B73B197EDF}" dt="2025-10-16T08:52:43.502" v="1562" actId="167"/>
          <ac:spMkLst>
            <pc:docMk/>
            <pc:sldMk cId="0" sldId="306"/>
            <ac:spMk id="7" creationId="{CB55E85D-C8D0-6C0A-E003-EA5F13B7B1B9}"/>
          </ac:spMkLst>
        </pc:spChg>
        <pc:picChg chg="add mod">
          <ac:chgData name="Sezgen, Handenur" userId="693f6077-2094-4a4b-9c12-b1a0c4de2bbc" providerId="ADAL" clId="{5B430AB4-3B31-40FC-B7D2-06B73B197EDF}" dt="2025-10-16T10:13:21.877" v="3673"/>
          <ac:picMkLst>
            <pc:docMk/>
            <pc:sldMk cId="0" sldId="306"/>
            <ac:picMk id="8" creationId="{85E7B3B3-BA5B-196D-563A-EC7EF70BEAF6}"/>
          </ac:picMkLst>
        </pc:picChg>
      </pc:sldChg>
      <pc:sldChg chg="addSp delSp modSp add mod modClrScheme chgLayout">
        <pc:chgData name="Sezgen, Handenur" userId="693f6077-2094-4a4b-9c12-b1a0c4de2bbc" providerId="ADAL" clId="{5B430AB4-3B31-40FC-B7D2-06B73B197EDF}" dt="2025-10-16T10:13:04.217" v="3666"/>
        <pc:sldMkLst>
          <pc:docMk/>
          <pc:sldMk cId="972846830" sldId="307"/>
        </pc:sldMkLst>
        <pc:spChg chg="mod">
          <ac:chgData name="Sezgen, Handenur" userId="693f6077-2094-4a4b-9c12-b1a0c4de2bbc" providerId="ADAL" clId="{5B430AB4-3B31-40FC-B7D2-06B73B197EDF}" dt="2025-10-16T08:49:32.258" v="1514" actId="1076"/>
          <ac:spMkLst>
            <pc:docMk/>
            <pc:sldMk cId="972846830" sldId="307"/>
            <ac:spMk id="2" creationId="{D973BE0B-2F49-8F59-1455-69E4E3637970}"/>
          </ac:spMkLst>
        </pc:spChg>
        <pc:spChg chg="add del mod ord">
          <ac:chgData name="Sezgen, Handenur" userId="693f6077-2094-4a4b-9c12-b1a0c4de2bbc" providerId="ADAL" clId="{5B430AB4-3B31-40FC-B7D2-06B73B197EDF}" dt="2025-10-16T08:42:30.499" v="1381" actId="700"/>
          <ac:spMkLst>
            <pc:docMk/>
            <pc:sldMk cId="972846830" sldId="307"/>
            <ac:spMk id="4" creationId="{4D0F738A-F6FC-771C-202F-7DB168F198BC}"/>
          </ac:spMkLst>
        </pc:spChg>
        <pc:spChg chg="mod">
          <ac:chgData name="Sezgen, Handenur" userId="693f6077-2094-4a4b-9c12-b1a0c4de2bbc" providerId="ADAL" clId="{5B430AB4-3B31-40FC-B7D2-06B73B197EDF}" dt="2025-10-16T08:49:32.258" v="1514" actId="1076"/>
          <ac:spMkLst>
            <pc:docMk/>
            <pc:sldMk cId="972846830" sldId="307"/>
            <ac:spMk id="5" creationId="{66C2738A-BDDD-067F-24B3-15AFECAC5FC8}"/>
          </ac:spMkLst>
        </pc:spChg>
        <pc:spChg chg="del mod">
          <ac:chgData name="Sezgen, Handenur" userId="693f6077-2094-4a4b-9c12-b1a0c4de2bbc" providerId="ADAL" clId="{5B430AB4-3B31-40FC-B7D2-06B73B197EDF}" dt="2025-10-16T08:42:35.658" v="1384"/>
          <ac:spMkLst>
            <pc:docMk/>
            <pc:sldMk cId="972846830" sldId="307"/>
            <ac:spMk id="6" creationId="{51BC79AB-7C35-4F20-5725-28F751D20D33}"/>
          </ac:spMkLst>
        </pc:spChg>
        <pc:spChg chg="add mod ord">
          <ac:chgData name="Sezgen, Handenur" userId="693f6077-2094-4a4b-9c12-b1a0c4de2bbc" providerId="ADAL" clId="{5B430AB4-3B31-40FC-B7D2-06B73B197EDF}" dt="2025-10-16T08:49:36.600" v="1515" actId="14100"/>
          <ac:spMkLst>
            <pc:docMk/>
            <pc:sldMk cId="972846830" sldId="307"/>
            <ac:spMk id="7" creationId="{A4054E9A-772C-D2BF-AE86-A9134B25FB97}"/>
          </ac:spMkLst>
        </pc:spChg>
        <pc:spChg chg="mod">
          <ac:chgData name="Sezgen, Handenur" userId="693f6077-2094-4a4b-9c12-b1a0c4de2bbc" providerId="ADAL" clId="{5B430AB4-3B31-40FC-B7D2-06B73B197EDF}" dt="2025-10-16T08:49:15.993" v="1510" actId="164"/>
          <ac:spMkLst>
            <pc:docMk/>
            <pc:sldMk cId="972846830" sldId="307"/>
            <ac:spMk id="22" creationId="{F5559D5B-1EA1-F614-519A-B13ED8BC3D3F}"/>
          </ac:spMkLst>
        </pc:spChg>
        <pc:spChg chg="mod">
          <ac:chgData name="Sezgen, Handenur" userId="693f6077-2094-4a4b-9c12-b1a0c4de2bbc" providerId="ADAL" clId="{5B430AB4-3B31-40FC-B7D2-06B73B197EDF}" dt="2025-10-16T08:49:15.993" v="1510" actId="164"/>
          <ac:spMkLst>
            <pc:docMk/>
            <pc:sldMk cId="972846830" sldId="307"/>
            <ac:spMk id="25" creationId="{55B10AB4-4D96-94F0-9D16-9AAA625B4E4E}"/>
          </ac:spMkLst>
        </pc:spChg>
        <pc:spChg chg="mod topLvl">
          <ac:chgData name="Sezgen, Handenur" userId="693f6077-2094-4a4b-9c12-b1a0c4de2bbc" providerId="ADAL" clId="{5B430AB4-3B31-40FC-B7D2-06B73B197EDF}" dt="2025-10-16T08:49:15.993" v="1510" actId="164"/>
          <ac:spMkLst>
            <pc:docMk/>
            <pc:sldMk cId="972846830" sldId="307"/>
            <ac:spMk id="26" creationId="{1B6C0342-E69D-1774-7D0A-80F3215DC793}"/>
          </ac:spMkLst>
        </pc:spChg>
        <pc:spChg chg="mod topLvl">
          <ac:chgData name="Sezgen, Handenur" userId="693f6077-2094-4a4b-9c12-b1a0c4de2bbc" providerId="ADAL" clId="{5B430AB4-3B31-40FC-B7D2-06B73B197EDF}" dt="2025-10-16T08:49:15.993" v="1510" actId="164"/>
          <ac:spMkLst>
            <pc:docMk/>
            <pc:sldMk cId="972846830" sldId="307"/>
            <ac:spMk id="27" creationId="{AB7BF7E2-C1BD-7D3C-CCC8-EE8930B1AA49}"/>
          </ac:spMkLst>
        </pc:spChg>
        <pc:spChg chg="mod">
          <ac:chgData name="Sezgen, Handenur" userId="693f6077-2094-4a4b-9c12-b1a0c4de2bbc" providerId="ADAL" clId="{5B430AB4-3B31-40FC-B7D2-06B73B197EDF}" dt="2025-10-16T08:49:15.993" v="1510" actId="164"/>
          <ac:spMkLst>
            <pc:docMk/>
            <pc:sldMk cId="972846830" sldId="307"/>
            <ac:spMk id="46" creationId="{E04B9E38-C364-C48D-CC57-80A83515F804}"/>
          </ac:spMkLst>
        </pc:spChg>
        <pc:spChg chg="mod">
          <ac:chgData name="Sezgen, Handenur" userId="693f6077-2094-4a4b-9c12-b1a0c4de2bbc" providerId="ADAL" clId="{5B430AB4-3B31-40FC-B7D2-06B73B197EDF}" dt="2025-10-16T08:49:15.993" v="1510" actId="164"/>
          <ac:spMkLst>
            <pc:docMk/>
            <pc:sldMk cId="972846830" sldId="307"/>
            <ac:spMk id="55" creationId="{69919A72-8C00-0D5D-4AD1-8D89FD0E37C7}"/>
          </ac:spMkLst>
        </pc:spChg>
        <pc:spChg chg="mod">
          <ac:chgData name="Sezgen, Handenur" userId="693f6077-2094-4a4b-9c12-b1a0c4de2bbc" providerId="ADAL" clId="{5B430AB4-3B31-40FC-B7D2-06B73B197EDF}" dt="2025-10-16T08:45:27.706" v="1445" actId="164"/>
          <ac:spMkLst>
            <pc:docMk/>
            <pc:sldMk cId="972846830" sldId="307"/>
            <ac:spMk id="58" creationId="{2F567F8C-2833-E60A-4652-A0972ADA1B67}"/>
          </ac:spMkLst>
        </pc:spChg>
        <pc:spChg chg="mod">
          <ac:chgData name="Sezgen, Handenur" userId="693f6077-2094-4a4b-9c12-b1a0c4de2bbc" providerId="ADAL" clId="{5B430AB4-3B31-40FC-B7D2-06B73B197EDF}" dt="2025-10-16T08:45:25.183" v="1443" actId="164"/>
          <ac:spMkLst>
            <pc:docMk/>
            <pc:sldMk cId="972846830" sldId="307"/>
            <ac:spMk id="60" creationId="{3615C2E4-111C-503A-96A5-DF1AD3D84B66}"/>
          </ac:spMkLst>
        </pc:spChg>
        <pc:spChg chg="mod">
          <ac:chgData name="Sezgen, Handenur" userId="693f6077-2094-4a4b-9c12-b1a0c4de2bbc" providerId="ADAL" clId="{5B430AB4-3B31-40FC-B7D2-06B73B197EDF}" dt="2025-10-16T08:45:27.706" v="1445" actId="164"/>
          <ac:spMkLst>
            <pc:docMk/>
            <pc:sldMk cId="972846830" sldId="307"/>
            <ac:spMk id="63" creationId="{AE8DCFEA-C371-82B5-6961-8450DC2F472D}"/>
          </ac:spMkLst>
        </pc:spChg>
        <pc:spChg chg="mod">
          <ac:chgData name="Sezgen, Handenur" userId="693f6077-2094-4a4b-9c12-b1a0c4de2bbc" providerId="ADAL" clId="{5B430AB4-3B31-40FC-B7D2-06B73B197EDF}" dt="2025-10-16T08:46:21.630" v="1477" actId="165"/>
          <ac:spMkLst>
            <pc:docMk/>
            <pc:sldMk cId="972846830" sldId="307"/>
            <ac:spMk id="64" creationId="{4232A1C9-5537-D33A-43AF-D6A5EA219532}"/>
          </ac:spMkLst>
        </pc:spChg>
        <pc:spChg chg="mod">
          <ac:chgData name="Sezgen, Handenur" userId="693f6077-2094-4a4b-9c12-b1a0c4de2bbc" providerId="ADAL" clId="{5B430AB4-3B31-40FC-B7D2-06B73B197EDF}" dt="2025-10-16T08:45:27.706" v="1445" actId="164"/>
          <ac:spMkLst>
            <pc:docMk/>
            <pc:sldMk cId="972846830" sldId="307"/>
            <ac:spMk id="66" creationId="{BC595F24-7E79-DF6C-1851-885E97A16AFA}"/>
          </ac:spMkLst>
        </pc:spChg>
        <pc:spChg chg="mod">
          <ac:chgData name="Sezgen, Handenur" userId="693f6077-2094-4a4b-9c12-b1a0c4de2bbc" providerId="ADAL" clId="{5B430AB4-3B31-40FC-B7D2-06B73B197EDF}" dt="2025-10-16T08:45:27.706" v="1445" actId="164"/>
          <ac:spMkLst>
            <pc:docMk/>
            <pc:sldMk cId="972846830" sldId="307"/>
            <ac:spMk id="71" creationId="{B7B5AE68-F9FF-04F0-5563-864DFCE0F05E}"/>
          </ac:spMkLst>
        </pc:spChg>
        <pc:spChg chg="mod">
          <ac:chgData name="Sezgen, Handenur" userId="693f6077-2094-4a4b-9c12-b1a0c4de2bbc" providerId="ADAL" clId="{5B430AB4-3B31-40FC-B7D2-06B73B197EDF}" dt="2025-10-16T08:46:21.630" v="1477" actId="165"/>
          <ac:spMkLst>
            <pc:docMk/>
            <pc:sldMk cId="972846830" sldId="307"/>
            <ac:spMk id="72" creationId="{DDE6A798-6A19-AC79-5989-AE2165430245}"/>
          </ac:spMkLst>
        </pc:spChg>
        <pc:spChg chg="mod">
          <ac:chgData name="Sezgen, Handenur" userId="693f6077-2094-4a4b-9c12-b1a0c4de2bbc" providerId="ADAL" clId="{5B430AB4-3B31-40FC-B7D2-06B73B197EDF}" dt="2025-10-16T08:45:27.706" v="1445" actId="164"/>
          <ac:spMkLst>
            <pc:docMk/>
            <pc:sldMk cId="972846830" sldId="307"/>
            <ac:spMk id="74" creationId="{DB2A178F-C585-40B2-7626-4871ED3B75A8}"/>
          </ac:spMkLst>
        </pc:spChg>
        <pc:spChg chg="mod">
          <ac:chgData name="Sezgen, Handenur" userId="693f6077-2094-4a4b-9c12-b1a0c4de2bbc" providerId="ADAL" clId="{5B430AB4-3B31-40FC-B7D2-06B73B197EDF}" dt="2025-10-16T08:46:21.630" v="1477" actId="165"/>
          <ac:spMkLst>
            <pc:docMk/>
            <pc:sldMk cId="972846830" sldId="307"/>
            <ac:spMk id="76" creationId="{13059534-3DC3-A5A6-6DEB-77CF9A1E67B2}"/>
          </ac:spMkLst>
        </pc:spChg>
        <pc:spChg chg="mod">
          <ac:chgData name="Sezgen, Handenur" userId="693f6077-2094-4a4b-9c12-b1a0c4de2bbc" providerId="ADAL" clId="{5B430AB4-3B31-40FC-B7D2-06B73B197EDF}" dt="2025-10-16T08:45:27.706" v="1445" actId="164"/>
          <ac:spMkLst>
            <pc:docMk/>
            <pc:sldMk cId="972846830" sldId="307"/>
            <ac:spMk id="77" creationId="{C30212B3-DA36-BBBE-CE5B-B0E1C56C98B6}"/>
          </ac:spMkLst>
        </pc:spChg>
        <pc:spChg chg="mod topLvl">
          <ac:chgData name="Sezgen, Handenur" userId="693f6077-2094-4a4b-9c12-b1a0c4de2bbc" providerId="ADAL" clId="{5B430AB4-3B31-40FC-B7D2-06B73B197EDF}" dt="2025-10-16T08:49:15.993" v="1510" actId="164"/>
          <ac:spMkLst>
            <pc:docMk/>
            <pc:sldMk cId="972846830" sldId="307"/>
            <ac:spMk id="79" creationId="{D40FA0C4-B0DA-3CC9-3CC8-A272E3DBADAC}"/>
          </ac:spMkLst>
        </pc:spChg>
        <pc:spChg chg="mod">
          <ac:chgData name="Sezgen, Handenur" userId="693f6077-2094-4a4b-9c12-b1a0c4de2bbc" providerId="ADAL" clId="{5B430AB4-3B31-40FC-B7D2-06B73B197EDF}" dt="2025-10-16T08:46:21.630" v="1477" actId="165"/>
          <ac:spMkLst>
            <pc:docMk/>
            <pc:sldMk cId="972846830" sldId="307"/>
            <ac:spMk id="81" creationId="{72CDBB3B-9ECA-2E77-B54E-B6D59671F300}"/>
          </ac:spMkLst>
        </pc:spChg>
        <pc:spChg chg="mod">
          <ac:chgData name="Sezgen, Handenur" userId="693f6077-2094-4a4b-9c12-b1a0c4de2bbc" providerId="ADAL" clId="{5B430AB4-3B31-40FC-B7D2-06B73B197EDF}" dt="2025-10-16T08:46:21.630" v="1477" actId="165"/>
          <ac:spMkLst>
            <pc:docMk/>
            <pc:sldMk cId="972846830" sldId="307"/>
            <ac:spMk id="84" creationId="{4CBFBC2C-EB87-E26E-9F36-E97916A28FC1}"/>
          </ac:spMkLst>
        </pc:spChg>
        <pc:spChg chg="mod topLvl">
          <ac:chgData name="Sezgen, Handenur" userId="693f6077-2094-4a4b-9c12-b1a0c4de2bbc" providerId="ADAL" clId="{5B430AB4-3B31-40FC-B7D2-06B73B197EDF}" dt="2025-10-16T08:49:15.993" v="1510" actId="164"/>
          <ac:spMkLst>
            <pc:docMk/>
            <pc:sldMk cId="972846830" sldId="307"/>
            <ac:spMk id="95" creationId="{F4487E09-A528-BD04-1A2F-D327DB1D89DC}"/>
          </ac:spMkLst>
        </pc:spChg>
        <pc:spChg chg="mod">
          <ac:chgData name="Sezgen, Handenur" userId="693f6077-2094-4a4b-9c12-b1a0c4de2bbc" providerId="ADAL" clId="{5B430AB4-3B31-40FC-B7D2-06B73B197EDF}" dt="2025-10-16T08:49:15.993" v="1510" actId="164"/>
          <ac:spMkLst>
            <pc:docMk/>
            <pc:sldMk cId="972846830" sldId="307"/>
            <ac:spMk id="105" creationId="{FBB3A329-6FD1-EA7D-00E5-08899937B90B}"/>
          </ac:spMkLst>
        </pc:spChg>
        <pc:spChg chg="mod topLvl">
          <ac:chgData name="Sezgen, Handenur" userId="693f6077-2094-4a4b-9c12-b1a0c4de2bbc" providerId="ADAL" clId="{5B430AB4-3B31-40FC-B7D2-06B73B197EDF}" dt="2025-10-16T08:49:15.993" v="1510" actId="164"/>
          <ac:spMkLst>
            <pc:docMk/>
            <pc:sldMk cId="972846830" sldId="307"/>
            <ac:spMk id="106" creationId="{A8A9A66B-B6D5-99EA-1745-FF89AB9FAC7D}"/>
          </ac:spMkLst>
        </pc:spChg>
        <pc:grpChg chg="mod">
          <ac:chgData name="Sezgen, Handenur" userId="693f6077-2094-4a4b-9c12-b1a0c4de2bbc" providerId="ADAL" clId="{5B430AB4-3B31-40FC-B7D2-06B73B197EDF}" dt="2025-10-16T08:43:30.798" v="1406" actId="14100"/>
          <ac:grpSpMkLst>
            <pc:docMk/>
            <pc:sldMk cId="972846830" sldId="307"/>
            <ac:grpSpMk id="3" creationId="{F20BE7FB-37D6-047D-8763-A471947F9342}"/>
          </ac:grpSpMkLst>
        </pc:grpChg>
        <pc:grpChg chg="add mod">
          <ac:chgData name="Sezgen, Handenur" userId="693f6077-2094-4a4b-9c12-b1a0c4de2bbc" providerId="ADAL" clId="{5B430AB4-3B31-40FC-B7D2-06B73B197EDF}" dt="2025-10-16T08:43:55.896" v="1411" actId="14100"/>
          <ac:grpSpMkLst>
            <pc:docMk/>
            <pc:sldMk cId="972846830" sldId="307"/>
            <ac:grpSpMk id="8" creationId="{33E37FF9-51F8-C5B2-86C3-4D8E4D9D54D3}"/>
          </ac:grpSpMkLst>
        </pc:grpChg>
        <pc:grpChg chg="add mod">
          <ac:chgData name="Sezgen, Handenur" userId="693f6077-2094-4a4b-9c12-b1a0c4de2bbc" providerId="ADAL" clId="{5B430AB4-3B31-40FC-B7D2-06B73B197EDF}" dt="2025-10-16T08:44:09.249" v="1414" actId="14100"/>
          <ac:grpSpMkLst>
            <pc:docMk/>
            <pc:sldMk cId="972846830" sldId="307"/>
            <ac:grpSpMk id="9" creationId="{84D9A113-FA71-4E91-448E-475D18325251}"/>
          </ac:grpSpMkLst>
        </pc:grpChg>
        <pc:grpChg chg="add mod">
          <ac:chgData name="Sezgen, Handenur" userId="693f6077-2094-4a4b-9c12-b1a0c4de2bbc" providerId="ADAL" clId="{5B430AB4-3B31-40FC-B7D2-06B73B197EDF}" dt="2025-10-16T08:44:16.519" v="1417" actId="14100"/>
          <ac:grpSpMkLst>
            <pc:docMk/>
            <pc:sldMk cId="972846830" sldId="307"/>
            <ac:grpSpMk id="10" creationId="{5DE93F72-22F0-FFD3-BD8E-48D00A855C18}"/>
          </ac:grpSpMkLst>
        </pc:grpChg>
        <pc:grpChg chg="add mod">
          <ac:chgData name="Sezgen, Handenur" userId="693f6077-2094-4a4b-9c12-b1a0c4de2bbc" providerId="ADAL" clId="{5B430AB4-3B31-40FC-B7D2-06B73B197EDF}" dt="2025-10-16T08:44:20.765" v="1419" actId="164"/>
          <ac:grpSpMkLst>
            <pc:docMk/>
            <pc:sldMk cId="972846830" sldId="307"/>
            <ac:grpSpMk id="11" creationId="{91CFA58B-6E33-AE73-AA0B-86AFAAB537F7}"/>
          </ac:grpSpMkLst>
        </pc:grpChg>
        <pc:grpChg chg="add mod">
          <ac:chgData name="Sezgen, Handenur" userId="693f6077-2094-4a4b-9c12-b1a0c4de2bbc" providerId="ADAL" clId="{5B430AB4-3B31-40FC-B7D2-06B73B197EDF}" dt="2025-10-16T08:45:19.337" v="1439" actId="164"/>
          <ac:grpSpMkLst>
            <pc:docMk/>
            <pc:sldMk cId="972846830" sldId="307"/>
            <ac:grpSpMk id="12" creationId="{B8CA7C3C-3022-DFF6-1688-07EC24963BFC}"/>
          </ac:grpSpMkLst>
        </pc:grpChg>
        <pc:grpChg chg="add mod">
          <ac:chgData name="Sezgen, Handenur" userId="693f6077-2094-4a4b-9c12-b1a0c4de2bbc" providerId="ADAL" clId="{5B430AB4-3B31-40FC-B7D2-06B73B197EDF}" dt="2025-10-16T08:45:32.586" v="1448" actId="465"/>
          <ac:grpSpMkLst>
            <pc:docMk/>
            <pc:sldMk cId="972846830" sldId="307"/>
            <ac:grpSpMk id="13" creationId="{97890FB0-7128-1D66-4924-17DE41BA87B4}"/>
          </ac:grpSpMkLst>
        </pc:grpChg>
        <pc:grpChg chg="add mod">
          <ac:chgData name="Sezgen, Handenur" userId="693f6077-2094-4a4b-9c12-b1a0c4de2bbc" providerId="ADAL" clId="{5B430AB4-3B31-40FC-B7D2-06B73B197EDF}" dt="2025-10-16T08:45:32.586" v="1448" actId="465"/>
          <ac:grpSpMkLst>
            <pc:docMk/>
            <pc:sldMk cId="972846830" sldId="307"/>
            <ac:grpSpMk id="14" creationId="{3D5319BA-7A5C-AD45-304B-B1F749868469}"/>
          </ac:grpSpMkLst>
        </pc:grpChg>
        <pc:grpChg chg="add mod">
          <ac:chgData name="Sezgen, Handenur" userId="693f6077-2094-4a4b-9c12-b1a0c4de2bbc" providerId="ADAL" clId="{5B430AB4-3B31-40FC-B7D2-06B73B197EDF}" dt="2025-10-16T08:45:27.007" v="1444" actId="164"/>
          <ac:grpSpMkLst>
            <pc:docMk/>
            <pc:sldMk cId="972846830" sldId="307"/>
            <ac:grpSpMk id="15" creationId="{DE6CD904-F932-6007-704E-871EF6FCBB42}"/>
          </ac:grpSpMkLst>
        </pc:grpChg>
        <pc:grpChg chg="add mod">
          <ac:chgData name="Sezgen, Handenur" userId="693f6077-2094-4a4b-9c12-b1a0c4de2bbc" providerId="ADAL" clId="{5B430AB4-3B31-40FC-B7D2-06B73B197EDF}" dt="2025-10-16T08:45:29.633" v="1447" actId="164"/>
          <ac:grpSpMkLst>
            <pc:docMk/>
            <pc:sldMk cId="972846830" sldId="307"/>
            <ac:grpSpMk id="16" creationId="{69A64413-3A96-2F93-D94E-1C77213E58F3}"/>
          </ac:grpSpMkLst>
        </pc:grpChg>
        <pc:grpChg chg="mod">
          <ac:chgData name="Sezgen, Handenur" userId="693f6077-2094-4a4b-9c12-b1a0c4de2bbc" providerId="ADAL" clId="{5B430AB4-3B31-40FC-B7D2-06B73B197EDF}" dt="2025-10-16T08:45:29.633" v="1447" actId="164"/>
          <ac:grpSpMkLst>
            <pc:docMk/>
            <pc:sldMk cId="972846830" sldId="307"/>
            <ac:grpSpMk id="28" creationId="{B4827D0D-5A36-7352-4020-DE0DCAAB5FE6}"/>
          </ac:grpSpMkLst>
        </pc:grpChg>
        <pc:grpChg chg="mod">
          <ac:chgData name="Sezgen, Handenur" userId="693f6077-2094-4a4b-9c12-b1a0c4de2bbc" providerId="ADAL" clId="{5B430AB4-3B31-40FC-B7D2-06B73B197EDF}" dt="2025-10-16T08:45:22.336" v="1441" actId="164"/>
          <ac:grpSpMkLst>
            <pc:docMk/>
            <pc:sldMk cId="972846830" sldId="307"/>
            <ac:grpSpMk id="80" creationId="{3A2F6C94-8B20-8203-876E-F07DFB7D3448}"/>
          </ac:grpSpMkLst>
        </pc:grpChg>
        <pc:picChg chg="add mod">
          <ac:chgData name="Sezgen, Handenur" userId="693f6077-2094-4a4b-9c12-b1a0c4de2bbc" providerId="ADAL" clId="{5B430AB4-3B31-40FC-B7D2-06B73B197EDF}" dt="2025-10-16T10:13:04.217" v="3666"/>
          <ac:picMkLst>
            <pc:docMk/>
            <pc:sldMk cId="972846830" sldId="307"/>
            <ac:picMk id="18" creationId="{93C41EFE-39F5-85A6-9FBF-52A7AA48040B}"/>
          </ac:picMkLst>
        </pc:picChg>
        <pc:picChg chg="add mod">
          <ac:chgData name="Sezgen, Handenur" userId="693f6077-2094-4a4b-9c12-b1a0c4de2bbc" providerId="ADAL" clId="{5B430AB4-3B31-40FC-B7D2-06B73B197EDF}" dt="2025-10-16T10:13:04.217" v="3666"/>
          <ac:picMkLst>
            <pc:docMk/>
            <pc:sldMk cId="972846830" sldId="307"/>
            <ac:picMk id="19" creationId="{7FC25BA2-6CEA-6662-E790-82B5C6FC047B}"/>
          </ac:picMkLst>
        </pc:picChg>
      </pc:sldChg>
      <pc:sldChg chg="addSp modSp mod modClrScheme chgLayout">
        <pc:chgData name="Sezgen, Handenur" userId="693f6077-2094-4a4b-9c12-b1a0c4de2bbc" providerId="ADAL" clId="{5B430AB4-3B31-40FC-B7D2-06B73B197EDF}" dt="2025-10-16T10:11:28.673" v="3636"/>
        <pc:sldMkLst>
          <pc:docMk/>
          <pc:sldMk cId="227070826" sldId="308"/>
        </pc:sldMkLst>
        <pc:spChg chg="mod ord">
          <ac:chgData name="Sezgen, Handenur" userId="693f6077-2094-4a4b-9c12-b1a0c4de2bbc" providerId="ADAL" clId="{5B430AB4-3B31-40FC-B7D2-06B73B197EDF}" dt="2025-10-16T08:03:21.627" v="588" actId="12"/>
          <ac:spMkLst>
            <pc:docMk/>
            <pc:sldMk cId="227070826" sldId="308"/>
            <ac:spMk id="2" creationId="{52A27B2B-6A16-8E19-1901-3555FD4FEF88}"/>
          </ac:spMkLst>
        </pc:spChg>
        <pc:spChg chg="mod ord">
          <ac:chgData name="Sezgen, Handenur" userId="693f6077-2094-4a4b-9c12-b1a0c4de2bbc" providerId="ADAL" clId="{5B430AB4-3B31-40FC-B7D2-06B73B197EDF}" dt="2025-10-16T08:02:57.587" v="574" actId="700"/>
          <ac:spMkLst>
            <pc:docMk/>
            <pc:sldMk cId="227070826" sldId="308"/>
            <ac:spMk id="3" creationId="{C4D8359B-987D-97BC-F421-CB0F3568CD95}"/>
          </ac:spMkLst>
        </pc:spChg>
        <pc:spChg chg="mod">
          <ac:chgData name="Sezgen, Handenur" userId="693f6077-2094-4a4b-9c12-b1a0c4de2bbc" providerId="ADAL" clId="{5B430AB4-3B31-40FC-B7D2-06B73B197EDF}" dt="2025-10-16T08:03:16.117" v="581" actId="14100"/>
          <ac:spMkLst>
            <pc:docMk/>
            <pc:sldMk cId="227070826" sldId="308"/>
            <ac:spMk id="7" creationId="{4EE0F146-67F8-7053-E195-9E59A8E1B4F6}"/>
          </ac:spMkLst>
        </pc:spChg>
        <pc:spChg chg="mod ord">
          <ac:chgData name="Sezgen, Handenur" userId="693f6077-2094-4a4b-9c12-b1a0c4de2bbc" providerId="ADAL" clId="{5B430AB4-3B31-40FC-B7D2-06B73B197EDF}" dt="2025-10-16T08:02:57.587" v="574" actId="700"/>
          <ac:spMkLst>
            <pc:docMk/>
            <pc:sldMk cId="227070826" sldId="308"/>
            <ac:spMk id="8" creationId="{CB5908A3-CB1B-BDCC-B479-D1A81D9EE591}"/>
          </ac:spMkLst>
        </pc:spChg>
        <pc:grpChg chg="mod">
          <ac:chgData name="Sezgen, Handenur" userId="693f6077-2094-4a4b-9c12-b1a0c4de2bbc" providerId="ADAL" clId="{5B430AB4-3B31-40FC-B7D2-06B73B197EDF}" dt="2025-10-16T08:03:14.069" v="580" actId="14100"/>
          <ac:grpSpMkLst>
            <pc:docMk/>
            <pc:sldMk cId="227070826" sldId="308"/>
            <ac:grpSpMk id="6" creationId="{986DDDB3-3DED-1853-3349-11EEEEDB572C}"/>
          </ac:grpSpMkLst>
        </pc:grpChg>
        <pc:picChg chg="add mod">
          <ac:chgData name="Sezgen, Handenur" userId="693f6077-2094-4a4b-9c12-b1a0c4de2bbc" providerId="ADAL" clId="{5B430AB4-3B31-40FC-B7D2-06B73B197EDF}" dt="2025-10-16T10:11:28.673" v="3636"/>
          <ac:picMkLst>
            <pc:docMk/>
            <pc:sldMk cId="227070826" sldId="308"/>
            <ac:picMk id="5" creationId="{074D6E0E-F9E3-AF52-DB95-61077A325B5C}"/>
          </ac:picMkLst>
        </pc:picChg>
      </pc:sldChg>
      <pc:sldChg chg="addSp delSp modSp mod modClrScheme chgLayout">
        <pc:chgData name="Sezgen, Handenur" userId="693f6077-2094-4a4b-9c12-b1a0c4de2bbc" providerId="ADAL" clId="{5B430AB4-3B31-40FC-B7D2-06B73B197EDF}" dt="2025-10-16T10:11:33.179" v="3640"/>
        <pc:sldMkLst>
          <pc:docMk/>
          <pc:sldMk cId="1135320022" sldId="309"/>
        </pc:sldMkLst>
        <pc:spChg chg="mod ord">
          <ac:chgData name="Sezgen, Handenur" userId="693f6077-2094-4a4b-9c12-b1a0c4de2bbc" providerId="ADAL" clId="{5B430AB4-3B31-40FC-B7D2-06B73B197EDF}" dt="2025-10-16T08:09:17.233" v="698" actId="27636"/>
          <ac:spMkLst>
            <pc:docMk/>
            <pc:sldMk cId="1135320022" sldId="309"/>
            <ac:spMk id="2" creationId="{DF85F5C7-7CEE-C288-B6B6-BE7335D5C87C}"/>
          </ac:spMkLst>
        </pc:spChg>
        <pc:spChg chg="mod ord">
          <ac:chgData name="Sezgen, Handenur" userId="693f6077-2094-4a4b-9c12-b1a0c4de2bbc" providerId="ADAL" clId="{5B430AB4-3B31-40FC-B7D2-06B73B197EDF}" dt="2025-10-16T08:09:31.555" v="709" actId="1076"/>
          <ac:spMkLst>
            <pc:docMk/>
            <pc:sldMk cId="1135320022" sldId="309"/>
            <ac:spMk id="3" creationId="{E8AD357C-C436-1C1F-B312-90D61140D74A}"/>
          </ac:spMkLst>
        </pc:spChg>
        <pc:spChg chg="add del mod">
          <ac:chgData name="Sezgen, Handenur" userId="693f6077-2094-4a4b-9c12-b1a0c4de2bbc" providerId="ADAL" clId="{5B430AB4-3B31-40FC-B7D2-06B73B197EDF}" dt="2025-10-16T08:09:17.183" v="697" actId="6264"/>
          <ac:spMkLst>
            <pc:docMk/>
            <pc:sldMk cId="1135320022" sldId="309"/>
            <ac:spMk id="4" creationId="{6178013C-181D-7350-43E9-7C68F15390C9}"/>
          </ac:spMkLst>
        </pc:spChg>
        <pc:spChg chg="mod">
          <ac:chgData name="Sezgen, Handenur" userId="693f6077-2094-4a4b-9c12-b1a0c4de2bbc" providerId="ADAL" clId="{5B430AB4-3B31-40FC-B7D2-06B73B197EDF}" dt="2025-10-16T08:09:49.130" v="714" actId="113"/>
          <ac:spMkLst>
            <pc:docMk/>
            <pc:sldMk cId="1135320022" sldId="309"/>
            <ac:spMk id="13" creationId="{E386477B-F2AC-F6F7-5463-F7285B73B1F4}"/>
          </ac:spMkLst>
        </pc:spChg>
        <pc:picChg chg="add mod">
          <ac:chgData name="Sezgen, Handenur" userId="693f6077-2094-4a4b-9c12-b1a0c4de2bbc" providerId="ADAL" clId="{5B430AB4-3B31-40FC-B7D2-06B73B197EDF}" dt="2025-10-16T10:11:33.179" v="3640"/>
          <ac:picMkLst>
            <pc:docMk/>
            <pc:sldMk cId="1135320022" sldId="309"/>
            <ac:picMk id="11" creationId="{58378C25-A320-D883-538B-E0E7026C9847}"/>
          </ac:picMkLst>
        </pc:picChg>
      </pc:sldChg>
      <pc:sldChg chg="addSp delSp modSp add mod modClrScheme chgLayout">
        <pc:chgData name="Sezgen, Handenur" userId="693f6077-2094-4a4b-9c12-b1a0c4de2bbc" providerId="ADAL" clId="{5B430AB4-3B31-40FC-B7D2-06B73B197EDF}" dt="2025-10-16T10:13:24.791" v="3676"/>
        <pc:sldMkLst>
          <pc:docMk/>
          <pc:sldMk cId="1531781458" sldId="310"/>
        </pc:sldMkLst>
        <pc:spChg chg="mod ord">
          <ac:chgData name="Sezgen, Handenur" userId="693f6077-2094-4a4b-9c12-b1a0c4de2bbc" providerId="ADAL" clId="{5B430AB4-3B31-40FC-B7D2-06B73B197EDF}" dt="2025-10-16T08:55:47.302" v="1684" actId="700"/>
          <ac:spMkLst>
            <pc:docMk/>
            <pc:sldMk cId="1531781458" sldId="310"/>
            <ac:spMk id="2" creationId="{66FCEE3F-6331-2740-4270-53190F342CA2}"/>
          </ac:spMkLst>
        </pc:spChg>
        <pc:spChg chg="mod ord">
          <ac:chgData name="Sezgen, Handenur" userId="693f6077-2094-4a4b-9c12-b1a0c4de2bbc" providerId="ADAL" clId="{5B430AB4-3B31-40FC-B7D2-06B73B197EDF}" dt="2025-10-16T08:55:47.302" v="1684" actId="700"/>
          <ac:spMkLst>
            <pc:docMk/>
            <pc:sldMk cId="1531781458" sldId="310"/>
            <ac:spMk id="3" creationId="{EB919013-1650-EFCD-3D9F-0430D9030E7B}"/>
          </ac:spMkLst>
        </pc:spChg>
        <pc:spChg chg="add del mod">
          <ac:chgData name="Sezgen, Handenur" userId="693f6077-2094-4a4b-9c12-b1a0c4de2bbc" providerId="ADAL" clId="{5B430AB4-3B31-40FC-B7D2-06B73B197EDF}" dt="2025-10-16T08:55:45.024" v="1683" actId="6264"/>
          <ac:spMkLst>
            <pc:docMk/>
            <pc:sldMk cId="1531781458" sldId="310"/>
            <ac:spMk id="4" creationId="{3D9E4429-0756-3A9B-57EF-184209EA97B3}"/>
          </ac:spMkLst>
        </pc:spChg>
        <pc:spChg chg="add del mod">
          <ac:chgData name="Sezgen, Handenur" userId="693f6077-2094-4a4b-9c12-b1a0c4de2bbc" providerId="ADAL" clId="{5B430AB4-3B31-40FC-B7D2-06B73B197EDF}" dt="2025-10-16T08:55:45.024" v="1683" actId="6264"/>
          <ac:spMkLst>
            <pc:docMk/>
            <pc:sldMk cId="1531781458" sldId="310"/>
            <ac:spMk id="5" creationId="{28CEC008-802A-224E-E1D3-795BB1408242}"/>
          </ac:spMkLst>
        </pc:spChg>
        <pc:spChg chg="mod">
          <ac:chgData name="Sezgen, Handenur" userId="693f6077-2094-4a4b-9c12-b1a0c4de2bbc" providerId="ADAL" clId="{5B430AB4-3B31-40FC-B7D2-06B73B197EDF}" dt="2025-10-16T08:55:50.840" v="1685" actId="1076"/>
          <ac:spMkLst>
            <pc:docMk/>
            <pc:sldMk cId="1531781458" sldId="310"/>
            <ac:spMk id="6" creationId="{9151F44D-B143-B18C-E8B6-5BA53D5887E4}"/>
          </ac:spMkLst>
        </pc:spChg>
        <pc:spChg chg="mod">
          <ac:chgData name="Sezgen, Handenur" userId="693f6077-2094-4a4b-9c12-b1a0c4de2bbc" providerId="ADAL" clId="{5B430AB4-3B31-40FC-B7D2-06B73B197EDF}" dt="2025-10-16T08:55:53.223" v="1686" actId="164"/>
          <ac:spMkLst>
            <pc:docMk/>
            <pc:sldMk cId="1531781458" sldId="310"/>
            <ac:spMk id="7" creationId="{81519548-6F5C-C6A5-CC1E-C4CF451E2E07}"/>
          </ac:spMkLst>
        </pc:spChg>
        <pc:spChg chg="mod">
          <ac:chgData name="Sezgen, Handenur" userId="693f6077-2094-4a4b-9c12-b1a0c4de2bbc" providerId="ADAL" clId="{5B430AB4-3B31-40FC-B7D2-06B73B197EDF}" dt="2025-10-16T08:55:53.223" v="1686" actId="164"/>
          <ac:spMkLst>
            <pc:docMk/>
            <pc:sldMk cId="1531781458" sldId="310"/>
            <ac:spMk id="8" creationId="{D2DF7825-B872-35F4-8425-195F87F2E334}"/>
          </ac:spMkLst>
        </pc:spChg>
        <pc:spChg chg="mod">
          <ac:chgData name="Sezgen, Handenur" userId="693f6077-2094-4a4b-9c12-b1a0c4de2bbc" providerId="ADAL" clId="{5B430AB4-3B31-40FC-B7D2-06B73B197EDF}" dt="2025-10-16T08:56:02.350" v="1690" actId="165"/>
          <ac:spMkLst>
            <pc:docMk/>
            <pc:sldMk cId="1531781458" sldId="310"/>
            <ac:spMk id="19" creationId="{7EF4B6DE-2616-FC07-26C7-876108F1B617}"/>
          </ac:spMkLst>
        </pc:spChg>
        <pc:spChg chg="mod">
          <ac:chgData name="Sezgen, Handenur" userId="693f6077-2094-4a4b-9c12-b1a0c4de2bbc" providerId="ADAL" clId="{5B430AB4-3B31-40FC-B7D2-06B73B197EDF}" dt="2025-10-16T08:56:02.350" v="1690" actId="165"/>
          <ac:spMkLst>
            <pc:docMk/>
            <pc:sldMk cId="1531781458" sldId="310"/>
            <ac:spMk id="24" creationId="{1F78FCFA-78E2-49E8-96FD-5D4DE581868A}"/>
          </ac:spMkLst>
        </pc:spChg>
        <pc:spChg chg="mod">
          <ac:chgData name="Sezgen, Handenur" userId="693f6077-2094-4a4b-9c12-b1a0c4de2bbc" providerId="ADAL" clId="{5B430AB4-3B31-40FC-B7D2-06B73B197EDF}" dt="2025-10-16T08:55:59.152" v="1689" actId="165"/>
          <ac:spMkLst>
            <pc:docMk/>
            <pc:sldMk cId="1531781458" sldId="310"/>
            <ac:spMk id="31" creationId="{FC18BD95-E24B-7B8C-139A-6D53B66F8D1F}"/>
          </ac:spMkLst>
        </pc:spChg>
        <pc:spChg chg="mod">
          <ac:chgData name="Sezgen, Handenur" userId="693f6077-2094-4a4b-9c12-b1a0c4de2bbc" providerId="ADAL" clId="{5B430AB4-3B31-40FC-B7D2-06B73B197EDF}" dt="2025-10-16T08:56:02.350" v="1690" actId="165"/>
          <ac:spMkLst>
            <pc:docMk/>
            <pc:sldMk cId="1531781458" sldId="310"/>
            <ac:spMk id="33" creationId="{B7DE45D4-48F2-26BB-DCCF-DB659C192620}"/>
          </ac:spMkLst>
        </pc:spChg>
        <pc:spChg chg="mod">
          <ac:chgData name="Sezgen, Handenur" userId="693f6077-2094-4a4b-9c12-b1a0c4de2bbc" providerId="ADAL" clId="{5B430AB4-3B31-40FC-B7D2-06B73B197EDF}" dt="2025-10-16T08:55:59.152" v="1689" actId="165"/>
          <ac:spMkLst>
            <pc:docMk/>
            <pc:sldMk cId="1531781458" sldId="310"/>
            <ac:spMk id="35" creationId="{E5A3655E-EE0E-9417-A14D-2CB88A464B70}"/>
          </ac:spMkLst>
        </pc:spChg>
        <pc:spChg chg="mod">
          <ac:chgData name="Sezgen, Handenur" userId="693f6077-2094-4a4b-9c12-b1a0c4de2bbc" providerId="ADAL" clId="{5B430AB4-3B31-40FC-B7D2-06B73B197EDF}" dt="2025-10-16T08:55:59.152" v="1689" actId="165"/>
          <ac:spMkLst>
            <pc:docMk/>
            <pc:sldMk cId="1531781458" sldId="310"/>
            <ac:spMk id="36" creationId="{5BAF575E-9634-B418-F9C7-7FA42247FBD7}"/>
          </ac:spMkLst>
        </pc:spChg>
        <pc:spChg chg="mod">
          <ac:chgData name="Sezgen, Handenur" userId="693f6077-2094-4a4b-9c12-b1a0c4de2bbc" providerId="ADAL" clId="{5B430AB4-3B31-40FC-B7D2-06B73B197EDF}" dt="2025-10-16T08:56:02.350" v="1690" actId="165"/>
          <ac:spMkLst>
            <pc:docMk/>
            <pc:sldMk cId="1531781458" sldId="310"/>
            <ac:spMk id="43" creationId="{0896454B-CF5F-D3C2-B37B-E97EA576C61A}"/>
          </ac:spMkLst>
        </pc:spChg>
        <pc:spChg chg="mod">
          <ac:chgData name="Sezgen, Handenur" userId="693f6077-2094-4a4b-9c12-b1a0c4de2bbc" providerId="ADAL" clId="{5B430AB4-3B31-40FC-B7D2-06B73B197EDF}" dt="2025-10-16T08:55:59.152" v="1689" actId="165"/>
          <ac:spMkLst>
            <pc:docMk/>
            <pc:sldMk cId="1531781458" sldId="310"/>
            <ac:spMk id="45" creationId="{84F60309-F19E-E07C-555F-1B38A2F992DF}"/>
          </ac:spMkLst>
        </pc:spChg>
        <pc:spChg chg="mod">
          <ac:chgData name="Sezgen, Handenur" userId="693f6077-2094-4a4b-9c12-b1a0c4de2bbc" providerId="ADAL" clId="{5B430AB4-3B31-40FC-B7D2-06B73B197EDF}" dt="2025-10-16T08:55:59.152" v="1689" actId="165"/>
          <ac:spMkLst>
            <pc:docMk/>
            <pc:sldMk cId="1531781458" sldId="310"/>
            <ac:spMk id="48" creationId="{F1B4BB47-0F4A-50B0-6E48-CEFDAD456B82}"/>
          </ac:spMkLst>
        </pc:spChg>
        <pc:spChg chg="mod">
          <ac:chgData name="Sezgen, Handenur" userId="693f6077-2094-4a4b-9c12-b1a0c4de2bbc" providerId="ADAL" clId="{5B430AB4-3B31-40FC-B7D2-06B73B197EDF}" dt="2025-10-16T08:55:53.223" v="1686" actId="164"/>
          <ac:spMkLst>
            <pc:docMk/>
            <pc:sldMk cId="1531781458" sldId="310"/>
            <ac:spMk id="50" creationId="{E768D6BE-6F70-E510-E600-2B07D065F903}"/>
          </ac:spMkLst>
        </pc:spChg>
        <pc:spChg chg="mod">
          <ac:chgData name="Sezgen, Handenur" userId="693f6077-2094-4a4b-9c12-b1a0c4de2bbc" providerId="ADAL" clId="{5B430AB4-3B31-40FC-B7D2-06B73B197EDF}" dt="2025-10-16T08:55:53.223" v="1686" actId="164"/>
          <ac:spMkLst>
            <pc:docMk/>
            <pc:sldMk cId="1531781458" sldId="310"/>
            <ac:spMk id="51" creationId="{0A1747EB-8008-9D87-0671-2232676D3DA0}"/>
          </ac:spMkLst>
        </pc:spChg>
        <pc:spChg chg="mod">
          <ac:chgData name="Sezgen, Handenur" userId="693f6077-2094-4a4b-9c12-b1a0c4de2bbc" providerId="ADAL" clId="{5B430AB4-3B31-40FC-B7D2-06B73B197EDF}" dt="2025-10-16T08:55:53.223" v="1686" actId="164"/>
          <ac:spMkLst>
            <pc:docMk/>
            <pc:sldMk cId="1531781458" sldId="310"/>
            <ac:spMk id="52" creationId="{CCB93A2C-D31A-F371-324C-2A88908F8390}"/>
          </ac:spMkLst>
        </pc:spChg>
        <pc:spChg chg="mod">
          <ac:chgData name="Sezgen, Handenur" userId="693f6077-2094-4a4b-9c12-b1a0c4de2bbc" providerId="ADAL" clId="{5B430AB4-3B31-40FC-B7D2-06B73B197EDF}" dt="2025-10-16T08:56:02.350" v="1690" actId="165"/>
          <ac:spMkLst>
            <pc:docMk/>
            <pc:sldMk cId="1531781458" sldId="310"/>
            <ac:spMk id="53" creationId="{7CBA1383-F3C0-FBB8-DE7E-85806B1CFEEF}"/>
          </ac:spMkLst>
        </pc:spChg>
        <pc:spChg chg="mod">
          <ac:chgData name="Sezgen, Handenur" userId="693f6077-2094-4a4b-9c12-b1a0c4de2bbc" providerId="ADAL" clId="{5B430AB4-3B31-40FC-B7D2-06B73B197EDF}" dt="2025-10-16T08:55:53.223" v="1686" actId="164"/>
          <ac:spMkLst>
            <pc:docMk/>
            <pc:sldMk cId="1531781458" sldId="310"/>
            <ac:spMk id="54" creationId="{61C5DB84-2B69-7E93-53EE-BD4D2417D79E}"/>
          </ac:spMkLst>
        </pc:spChg>
        <pc:spChg chg="mod">
          <ac:chgData name="Sezgen, Handenur" userId="693f6077-2094-4a4b-9c12-b1a0c4de2bbc" providerId="ADAL" clId="{5B430AB4-3B31-40FC-B7D2-06B73B197EDF}" dt="2025-10-16T08:55:53.223" v="1686" actId="164"/>
          <ac:spMkLst>
            <pc:docMk/>
            <pc:sldMk cId="1531781458" sldId="310"/>
            <ac:spMk id="55" creationId="{6FCBD9AA-DD2A-9C78-594A-B7C2EE96FFD6}"/>
          </ac:spMkLst>
        </pc:spChg>
        <pc:spChg chg="mod">
          <ac:chgData name="Sezgen, Handenur" userId="693f6077-2094-4a4b-9c12-b1a0c4de2bbc" providerId="ADAL" clId="{5B430AB4-3B31-40FC-B7D2-06B73B197EDF}" dt="2025-10-16T08:55:53.223" v="1686" actId="164"/>
          <ac:spMkLst>
            <pc:docMk/>
            <pc:sldMk cId="1531781458" sldId="310"/>
            <ac:spMk id="56" creationId="{B4D16610-D80B-DF14-1E88-79F6C7B5A76F}"/>
          </ac:spMkLst>
        </pc:spChg>
        <pc:spChg chg="mod">
          <ac:chgData name="Sezgen, Handenur" userId="693f6077-2094-4a4b-9c12-b1a0c4de2bbc" providerId="ADAL" clId="{5B430AB4-3B31-40FC-B7D2-06B73B197EDF}" dt="2025-10-16T08:55:59.152" v="1689" actId="165"/>
          <ac:spMkLst>
            <pc:docMk/>
            <pc:sldMk cId="1531781458" sldId="310"/>
            <ac:spMk id="60" creationId="{24AE60EA-64CC-4860-D3A0-6A1246D63E7A}"/>
          </ac:spMkLst>
        </pc:spChg>
        <pc:spChg chg="mod">
          <ac:chgData name="Sezgen, Handenur" userId="693f6077-2094-4a4b-9c12-b1a0c4de2bbc" providerId="ADAL" clId="{5B430AB4-3B31-40FC-B7D2-06B73B197EDF}" dt="2025-10-16T08:55:59.152" v="1689" actId="165"/>
          <ac:spMkLst>
            <pc:docMk/>
            <pc:sldMk cId="1531781458" sldId="310"/>
            <ac:spMk id="69" creationId="{527617AE-913C-3AE8-5A26-3339367F03AF}"/>
          </ac:spMkLst>
        </pc:spChg>
        <pc:spChg chg="mod">
          <ac:chgData name="Sezgen, Handenur" userId="693f6077-2094-4a4b-9c12-b1a0c4de2bbc" providerId="ADAL" clId="{5B430AB4-3B31-40FC-B7D2-06B73B197EDF}" dt="2025-10-16T08:56:02.350" v="1690" actId="165"/>
          <ac:spMkLst>
            <pc:docMk/>
            <pc:sldMk cId="1531781458" sldId="310"/>
            <ac:spMk id="78" creationId="{05649D3A-750B-66FD-E1F3-E117C7888856}"/>
          </ac:spMkLst>
        </pc:spChg>
        <pc:spChg chg="mod">
          <ac:chgData name="Sezgen, Handenur" userId="693f6077-2094-4a4b-9c12-b1a0c4de2bbc" providerId="ADAL" clId="{5B430AB4-3B31-40FC-B7D2-06B73B197EDF}" dt="2025-10-16T08:56:02.350" v="1690" actId="165"/>
          <ac:spMkLst>
            <pc:docMk/>
            <pc:sldMk cId="1531781458" sldId="310"/>
            <ac:spMk id="80" creationId="{192A61F7-0340-7B9A-287B-EBD531E5FB8E}"/>
          </ac:spMkLst>
        </pc:spChg>
        <pc:spChg chg="mod">
          <ac:chgData name="Sezgen, Handenur" userId="693f6077-2094-4a4b-9c12-b1a0c4de2bbc" providerId="ADAL" clId="{5B430AB4-3B31-40FC-B7D2-06B73B197EDF}" dt="2025-10-16T08:56:02.350" v="1690" actId="165"/>
          <ac:spMkLst>
            <pc:docMk/>
            <pc:sldMk cId="1531781458" sldId="310"/>
            <ac:spMk id="86" creationId="{7916F172-64A5-7A70-C8D7-AD51A6ABA483}"/>
          </ac:spMkLst>
        </pc:spChg>
        <pc:spChg chg="mod">
          <ac:chgData name="Sezgen, Handenur" userId="693f6077-2094-4a4b-9c12-b1a0c4de2bbc" providerId="ADAL" clId="{5B430AB4-3B31-40FC-B7D2-06B73B197EDF}" dt="2025-10-16T08:56:02.350" v="1690" actId="165"/>
          <ac:spMkLst>
            <pc:docMk/>
            <pc:sldMk cId="1531781458" sldId="310"/>
            <ac:spMk id="99" creationId="{280AD01D-10A7-2991-75AB-892C80C8181E}"/>
          </ac:spMkLst>
        </pc:spChg>
        <pc:spChg chg="mod">
          <ac:chgData name="Sezgen, Handenur" userId="693f6077-2094-4a4b-9c12-b1a0c4de2bbc" providerId="ADAL" clId="{5B430AB4-3B31-40FC-B7D2-06B73B197EDF}" dt="2025-10-16T08:55:59.152" v="1689" actId="165"/>
          <ac:spMkLst>
            <pc:docMk/>
            <pc:sldMk cId="1531781458" sldId="310"/>
            <ac:spMk id="104" creationId="{1EF585CA-80AA-089E-BF0A-EC168C207C2B}"/>
          </ac:spMkLst>
        </pc:spChg>
        <pc:spChg chg="mod">
          <ac:chgData name="Sezgen, Handenur" userId="693f6077-2094-4a4b-9c12-b1a0c4de2bbc" providerId="ADAL" clId="{5B430AB4-3B31-40FC-B7D2-06B73B197EDF}" dt="2025-10-16T08:55:59.152" v="1689" actId="165"/>
          <ac:spMkLst>
            <pc:docMk/>
            <pc:sldMk cId="1531781458" sldId="310"/>
            <ac:spMk id="106" creationId="{26E4DA25-0383-5094-C5C9-D3DA565904C2}"/>
          </ac:spMkLst>
        </pc:spChg>
        <pc:spChg chg="mod">
          <ac:chgData name="Sezgen, Handenur" userId="693f6077-2094-4a4b-9c12-b1a0c4de2bbc" providerId="ADAL" clId="{5B430AB4-3B31-40FC-B7D2-06B73B197EDF}" dt="2025-10-16T08:56:02.350" v="1690" actId="165"/>
          <ac:spMkLst>
            <pc:docMk/>
            <pc:sldMk cId="1531781458" sldId="310"/>
            <ac:spMk id="114" creationId="{9053D2FD-6C80-57B6-295D-250E4C57FE0E}"/>
          </ac:spMkLst>
        </pc:spChg>
        <pc:spChg chg="add del mod ord">
          <ac:chgData name="Sezgen, Handenur" userId="693f6077-2094-4a4b-9c12-b1a0c4de2bbc" providerId="ADAL" clId="{5B430AB4-3B31-40FC-B7D2-06B73B197EDF}" dt="2025-10-16T08:55:47.302" v="1684" actId="700"/>
          <ac:spMkLst>
            <pc:docMk/>
            <pc:sldMk cId="1531781458" sldId="310"/>
            <ac:spMk id="116" creationId="{46BA8956-770D-2277-9C18-152A75B82C89}"/>
          </ac:spMkLst>
        </pc:spChg>
        <pc:grpChg chg="mod">
          <ac:chgData name="Sezgen, Handenur" userId="693f6077-2094-4a4b-9c12-b1a0c4de2bbc" providerId="ADAL" clId="{5B430AB4-3B31-40FC-B7D2-06B73B197EDF}" dt="2025-10-16T08:55:53.223" v="1686" actId="164"/>
          <ac:grpSpMkLst>
            <pc:docMk/>
            <pc:sldMk cId="1531781458" sldId="310"/>
            <ac:grpSpMk id="90" creationId="{D15EE0BB-EDE8-5CEE-0DB5-6CD5F3CE68F3}"/>
          </ac:grpSpMkLst>
        </pc:grpChg>
        <pc:grpChg chg="mod">
          <ac:chgData name="Sezgen, Handenur" userId="693f6077-2094-4a4b-9c12-b1a0c4de2bbc" providerId="ADAL" clId="{5B430AB4-3B31-40FC-B7D2-06B73B197EDF}" dt="2025-10-16T08:56:08.731" v="1701" actId="1036"/>
          <ac:grpSpMkLst>
            <pc:docMk/>
            <pc:sldMk cId="1531781458" sldId="310"/>
            <ac:grpSpMk id="117" creationId="{E7C42DA8-4365-4301-9705-7A821CC68581}"/>
          </ac:grpSpMkLst>
        </pc:grpChg>
        <pc:picChg chg="add mod">
          <ac:chgData name="Sezgen, Handenur" userId="693f6077-2094-4a4b-9c12-b1a0c4de2bbc" providerId="ADAL" clId="{5B430AB4-3B31-40FC-B7D2-06B73B197EDF}" dt="2025-10-16T10:13:24.791" v="3676"/>
          <ac:picMkLst>
            <pc:docMk/>
            <pc:sldMk cId="1531781458" sldId="310"/>
            <ac:picMk id="118" creationId="{DC3E641E-8457-F2C8-5B65-12D539F307BE}"/>
          </ac:picMkLst>
        </pc:picChg>
      </pc:sldChg>
      <pc:sldChg chg="addSp delSp modSp add mod modClrScheme chgLayout">
        <pc:chgData name="Sezgen, Handenur" userId="693f6077-2094-4a4b-9c12-b1a0c4de2bbc" providerId="ADAL" clId="{5B430AB4-3B31-40FC-B7D2-06B73B197EDF}" dt="2025-10-16T10:13:25.530" v="3677"/>
        <pc:sldMkLst>
          <pc:docMk/>
          <pc:sldMk cId="2504044746" sldId="311"/>
        </pc:sldMkLst>
        <pc:spChg chg="mod ord">
          <ac:chgData name="Sezgen, Handenur" userId="693f6077-2094-4a4b-9c12-b1a0c4de2bbc" providerId="ADAL" clId="{5B430AB4-3B31-40FC-B7D2-06B73B197EDF}" dt="2025-10-16T08:57:01.500" v="1714" actId="700"/>
          <ac:spMkLst>
            <pc:docMk/>
            <pc:sldMk cId="2504044746" sldId="311"/>
            <ac:spMk id="2" creationId="{D1CF28CF-5128-CCB1-523D-34BEC74CB4A6}"/>
          </ac:spMkLst>
        </pc:spChg>
        <pc:spChg chg="mod ord">
          <ac:chgData name="Sezgen, Handenur" userId="693f6077-2094-4a4b-9c12-b1a0c4de2bbc" providerId="ADAL" clId="{5B430AB4-3B31-40FC-B7D2-06B73B197EDF}" dt="2025-10-16T08:57:01.500" v="1714" actId="700"/>
          <ac:spMkLst>
            <pc:docMk/>
            <pc:sldMk cId="2504044746" sldId="311"/>
            <ac:spMk id="3" creationId="{6BEA0F4A-B867-25A6-07C7-34F47DAD536C}"/>
          </ac:spMkLst>
        </pc:spChg>
        <pc:spChg chg="add del mod">
          <ac:chgData name="Sezgen, Handenur" userId="693f6077-2094-4a4b-9c12-b1a0c4de2bbc" providerId="ADAL" clId="{5B430AB4-3B31-40FC-B7D2-06B73B197EDF}" dt="2025-10-16T08:56:59.009" v="1713" actId="6264"/>
          <ac:spMkLst>
            <pc:docMk/>
            <pc:sldMk cId="2504044746" sldId="311"/>
            <ac:spMk id="4" creationId="{FFAFF148-6BF1-5BE0-E309-2D577F594FC8}"/>
          </ac:spMkLst>
        </pc:spChg>
        <pc:spChg chg="mod">
          <ac:chgData name="Sezgen, Handenur" userId="693f6077-2094-4a4b-9c12-b1a0c4de2bbc" providerId="ADAL" clId="{5B430AB4-3B31-40FC-B7D2-06B73B197EDF}" dt="2025-10-16T08:57:25.232" v="1721" actId="552"/>
          <ac:spMkLst>
            <pc:docMk/>
            <pc:sldMk cId="2504044746" sldId="311"/>
            <ac:spMk id="6" creationId="{84784F65-AD9E-DF0C-7965-9149A9F8377C}"/>
          </ac:spMkLst>
        </pc:spChg>
        <pc:spChg chg="add del mod">
          <ac:chgData name="Sezgen, Handenur" userId="693f6077-2094-4a4b-9c12-b1a0c4de2bbc" providerId="ADAL" clId="{5B430AB4-3B31-40FC-B7D2-06B73B197EDF}" dt="2025-10-16T08:56:59.009" v="1713" actId="6264"/>
          <ac:spMkLst>
            <pc:docMk/>
            <pc:sldMk cId="2504044746" sldId="311"/>
            <ac:spMk id="7" creationId="{B9C12C3D-D6BE-5A15-F948-1959B35C6D11}"/>
          </ac:spMkLst>
        </pc:spChg>
        <pc:spChg chg="add del mod ord">
          <ac:chgData name="Sezgen, Handenur" userId="693f6077-2094-4a4b-9c12-b1a0c4de2bbc" providerId="ADAL" clId="{5B430AB4-3B31-40FC-B7D2-06B73B197EDF}" dt="2025-10-16T08:57:01.500" v="1714" actId="700"/>
          <ac:spMkLst>
            <pc:docMk/>
            <pc:sldMk cId="2504044746" sldId="311"/>
            <ac:spMk id="8" creationId="{2A9A60E5-348E-611E-5517-C8E37759A313}"/>
          </ac:spMkLst>
        </pc:spChg>
        <pc:spChg chg="mod">
          <ac:chgData name="Sezgen, Handenur" userId="693f6077-2094-4a4b-9c12-b1a0c4de2bbc" providerId="ADAL" clId="{5B430AB4-3B31-40FC-B7D2-06B73B197EDF}" dt="2025-10-16T08:57:25.232" v="1721" actId="552"/>
          <ac:spMkLst>
            <pc:docMk/>
            <pc:sldMk cId="2504044746" sldId="311"/>
            <ac:spMk id="9" creationId="{C7C430D0-9BA9-1643-6B65-737E56244529}"/>
          </ac:spMkLst>
        </pc:spChg>
        <pc:graphicFrameChg chg="mod">
          <ac:chgData name="Sezgen, Handenur" userId="693f6077-2094-4a4b-9c12-b1a0c4de2bbc" providerId="ADAL" clId="{5B430AB4-3B31-40FC-B7D2-06B73B197EDF}" dt="2025-10-16T08:57:11.624" v="1718" actId="113"/>
          <ac:graphicFrameMkLst>
            <pc:docMk/>
            <pc:sldMk cId="2504044746" sldId="311"/>
            <ac:graphicFrameMk id="5" creationId="{57BFF7B0-9CE7-5221-3AD8-E9313A6F850A}"/>
          </ac:graphicFrameMkLst>
        </pc:graphicFrameChg>
        <pc:picChg chg="add mod">
          <ac:chgData name="Sezgen, Handenur" userId="693f6077-2094-4a4b-9c12-b1a0c4de2bbc" providerId="ADAL" clId="{5B430AB4-3B31-40FC-B7D2-06B73B197EDF}" dt="2025-10-16T10:13:25.530" v="3677"/>
          <ac:picMkLst>
            <pc:docMk/>
            <pc:sldMk cId="2504044746" sldId="311"/>
            <ac:picMk id="10" creationId="{701DCDFC-CEFC-7DFA-EC69-671EC3B3867C}"/>
          </ac:picMkLst>
        </pc:picChg>
      </pc:sldChg>
      <pc:sldChg chg="addSp delSp modSp add mod modClrScheme chgLayout">
        <pc:chgData name="Sezgen, Handenur" userId="693f6077-2094-4a4b-9c12-b1a0c4de2bbc" providerId="ADAL" clId="{5B430AB4-3B31-40FC-B7D2-06B73B197EDF}" dt="2025-10-16T10:13:27.200" v="3679"/>
        <pc:sldMkLst>
          <pc:docMk/>
          <pc:sldMk cId="0" sldId="312"/>
        </pc:sldMkLst>
        <pc:spChg chg="mod ord">
          <ac:chgData name="Sezgen, Handenur" userId="693f6077-2094-4a4b-9c12-b1a0c4de2bbc" providerId="ADAL" clId="{5B430AB4-3B31-40FC-B7D2-06B73B197EDF}" dt="2025-10-16T09:00:13.299" v="1782" actId="700"/>
          <ac:spMkLst>
            <pc:docMk/>
            <pc:sldMk cId="0" sldId="312"/>
            <ac:spMk id="2" creationId="{00000000-0000-0000-0000-000000000000}"/>
          </ac:spMkLst>
        </pc:spChg>
        <pc:spChg chg="mod ord">
          <ac:chgData name="Sezgen, Handenur" userId="693f6077-2094-4a4b-9c12-b1a0c4de2bbc" providerId="ADAL" clId="{5B430AB4-3B31-40FC-B7D2-06B73B197EDF}" dt="2025-10-16T09:00:34.903" v="1786" actId="12"/>
          <ac:spMkLst>
            <pc:docMk/>
            <pc:sldMk cId="0" sldId="312"/>
            <ac:spMk id="3" creationId="{00000000-0000-0000-0000-000000000000}"/>
          </ac:spMkLst>
        </pc:spChg>
        <pc:spChg chg="add del mod">
          <ac:chgData name="Sezgen, Handenur" userId="693f6077-2094-4a4b-9c12-b1a0c4de2bbc" providerId="ADAL" clId="{5B430AB4-3B31-40FC-B7D2-06B73B197EDF}" dt="2025-10-16T09:00:10.713" v="1781" actId="6264"/>
          <ac:spMkLst>
            <pc:docMk/>
            <pc:sldMk cId="0" sldId="312"/>
            <ac:spMk id="4" creationId="{99A56F14-9B25-FC42-61BF-A621E2C698DD}"/>
          </ac:spMkLst>
        </pc:spChg>
        <pc:spChg chg="add del mod">
          <ac:chgData name="Sezgen, Handenur" userId="693f6077-2094-4a4b-9c12-b1a0c4de2bbc" providerId="ADAL" clId="{5B430AB4-3B31-40FC-B7D2-06B73B197EDF}" dt="2025-10-16T09:00:10.713" v="1781" actId="6264"/>
          <ac:spMkLst>
            <pc:docMk/>
            <pc:sldMk cId="0" sldId="312"/>
            <ac:spMk id="5" creationId="{8C5F69AE-0562-3273-0DD3-DDE859376F22}"/>
          </ac:spMkLst>
        </pc:spChg>
        <pc:picChg chg="add mod">
          <ac:chgData name="Sezgen, Handenur" userId="693f6077-2094-4a4b-9c12-b1a0c4de2bbc" providerId="ADAL" clId="{5B430AB4-3B31-40FC-B7D2-06B73B197EDF}" dt="2025-10-16T10:13:27.200" v="3679"/>
          <ac:picMkLst>
            <pc:docMk/>
            <pc:sldMk cId="0" sldId="312"/>
            <ac:picMk id="6" creationId="{B440F26A-5E53-A807-D542-5D099ECC469E}"/>
          </ac:picMkLst>
        </pc:picChg>
      </pc:sldChg>
      <pc:sldChg chg="addSp modSp mod modClrScheme chgLayout">
        <pc:chgData name="Sezgen, Handenur" userId="693f6077-2094-4a4b-9c12-b1a0c4de2bbc" providerId="ADAL" clId="{5B430AB4-3B31-40FC-B7D2-06B73B197EDF}" dt="2025-10-16T10:11:25.948" v="3633"/>
        <pc:sldMkLst>
          <pc:docMk/>
          <pc:sldMk cId="1281242884" sldId="313"/>
        </pc:sldMkLst>
        <pc:spChg chg="mod ord">
          <ac:chgData name="Sezgen, Handenur" userId="693f6077-2094-4a4b-9c12-b1a0c4de2bbc" providerId="ADAL" clId="{5B430AB4-3B31-40FC-B7D2-06B73B197EDF}" dt="2025-10-16T07:57:27.610" v="435" actId="700"/>
          <ac:spMkLst>
            <pc:docMk/>
            <pc:sldMk cId="1281242884" sldId="313"/>
            <ac:spMk id="2" creationId="{689C4DDC-6DC1-2714-26C6-7BC812D64037}"/>
          </ac:spMkLst>
        </pc:spChg>
        <pc:spChg chg="mod">
          <ac:chgData name="Sezgen, Handenur" userId="693f6077-2094-4a4b-9c12-b1a0c4de2bbc" providerId="ADAL" clId="{5B430AB4-3B31-40FC-B7D2-06B73B197EDF}" dt="2025-10-16T07:57:16.127" v="427" actId="164"/>
          <ac:spMkLst>
            <pc:docMk/>
            <pc:sldMk cId="1281242884" sldId="313"/>
            <ac:spMk id="4" creationId="{4C58CC08-F451-5EC1-EB0E-49A62DE65746}"/>
          </ac:spMkLst>
        </pc:spChg>
        <pc:spChg chg="mod ord">
          <ac:chgData name="Sezgen, Handenur" userId="693f6077-2094-4a4b-9c12-b1a0c4de2bbc" providerId="ADAL" clId="{5B430AB4-3B31-40FC-B7D2-06B73B197EDF}" dt="2025-10-16T07:58:35.493" v="442" actId="12"/>
          <ac:spMkLst>
            <pc:docMk/>
            <pc:sldMk cId="1281242884" sldId="313"/>
            <ac:spMk id="5" creationId="{95C7BCE7-CE72-A779-EBDE-6E716440DF81}"/>
          </ac:spMkLst>
        </pc:spChg>
        <pc:spChg chg="mod">
          <ac:chgData name="Sezgen, Handenur" userId="693f6077-2094-4a4b-9c12-b1a0c4de2bbc" providerId="ADAL" clId="{5B430AB4-3B31-40FC-B7D2-06B73B197EDF}" dt="2025-10-16T07:57:16.127" v="427" actId="164"/>
          <ac:spMkLst>
            <pc:docMk/>
            <pc:sldMk cId="1281242884" sldId="313"/>
            <ac:spMk id="9" creationId="{A27855F8-6604-1435-FEA8-AFEC8FA2EBE5}"/>
          </ac:spMkLst>
        </pc:spChg>
        <pc:spChg chg="mod">
          <ac:chgData name="Sezgen, Handenur" userId="693f6077-2094-4a4b-9c12-b1a0c4de2bbc" providerId="ADAL" clId="{5B430AB4-3B31-40FC-B7D2-06B73B197EDF}" dt="2025-10-16T07:57:22.562" v="434" actId="404"/>
          <ac:spMkLst>
            <pc:docMk/>
            <pc:sldMk cId="1281242884" sldId="313"/>
            <ac:spMk id="20" creationId="{3EB38831-840A-CAE2-0FEA-59A3DC59DF82}"/>
          </ac:spMkLst>
        </pc:spChg>
        <pc:spChg chg="mod">
          <ac:chgData name="Sezgen, Handenur" userId="693f6077-2094-4a4b-9c12-b1a0c4de2bbc" providerId="ADAL" clId="{5B430AB4-3B31-40FC-B7D2-06B73B197EDF}" dt="2025-10-16T07:57:22.562" v="434" actId="404"/>
          <ac:spMkLst>
            <pc:docMk/>
            <pc:sldMk cId="1281242884" sldId="313"/>
            <ac:spMk id="1038" creationId="{6F6EB76F-7660-E7AF-4DB4-4ACB7B860BB6}"/>
          </ac:spMkLst>
        </pc:spChg>
        <pc:spChg chg="mod">
          <ac:chgData name="Sezgen, Handenur" userId="693f6077-2094-4a4b-9c12-b1a0c4de2bbc" providerId="ADAL" clId="{5B430AB4-3B31-40FC-B7D2-06B73B197EDF}" dt="2025-10-16T07:57:22.562" v="434" actId="404"/>
          <ac:spMkLst>
            <pc:docMk/>
            <pc:sldMk cId="1281242884" sldId="313"/>
            <ac:spMk id="1046" creationId="{77687241-2C8F-8DA6-D3F7-87E92E806ECE}"/>
          </ac:spMkLst>
        </pc:spChg>
        <pc:spChg chg="mod">
          <ac:chgData name="Sezgen, Handenur" userId="693f6077-2094-4a4b-9c12-b1a0c4de2bbc" providerId="ADAL" clId="{5B430AB4-3B31-40FC-B7D2-06B73B197EDF}" dt="2025-10-16T07:57:22.562" v="434" actId="404"/>
          <ac:spMkLst>
            <pc:docMk/>
            <pc:sldMk cId="1281242884" sldId="313"/>
            <ac:spMk id="1051" creationId="{19686A91-DA50-30A4-D89B-9CDFF1E26A5E}"/>
          </ac:spMkLst>
        </pc:spChg>
        <pc:spChg chg="mod">
          <ac:chgData name="Sezgen, Handenur" userId="693f6077-2094-4a4b-9c12-b1a0c4de2bbc" providerId="ADAL" clId="{5B430AB4-3B31-40FC-B7D2-06B73B197EDF}" dt="2025-10-16T07:57:22.562" v="434" actId="404"/>
          <ac:spMkLst>
            <pc:docMk/>
            <pc:sldMk cId="1281242884" sldId="313"/>
            <ac:spMk id="1090" creationId="{36ECB3A9-1A36-122E-0369-3CE28AA17F70}"/>
          </ac:spMkLst>
        </pc:spChg>
        <pc:spChg chg="mod">
          <ac:chgData name="Sezgen, Handenur" userId="693f6077-2094-4a4b-9c12-b1a0c4de2bbc" providerId="ADAL" clId="{5B430AB4-3B31-40FC-B7D2-06B73B197EDF}" dt="2025-10-16T07:57:22.562" v="434" actId="404"/>
          <ac:spMkLst>
            <pc:docMk/>
            <pc:sldMk cId="1281242884" sldId="313"/>
            <ac:spMk id="1093" creationId="{E66157D3-963B-F8C4-B914-71C34D4667FF}"/>
          </ac:spMkLst>
        </pc:spChg>
        <pc:spChg chg="mod">
          <ac:chgData name="Sezgen, Handenur" userId="693f6077-2094-4a4b-9c12-b1a0c4de2bbc" providerId="ADAL" clId="{5B430AB4-3B31-40FC-B7D2-06B73B197EDF}" dt="2025-10-16T07:57:22.562" v="434" actId="404"/>
          <ac:spMkLst>
            <pc:docMk/>
            <pc:sldMk cId="1281242884" sldId="313"/>
            <ac:spMk id="1100" creationId="{B9FE00A7-C993-4EFC-4F07-1C159EAB6B9D}"/>
          </ac:spMkLst>
        </pc:spChg>
        <pc:spChg chg="mod">
          <ac:chgData name="Sezgen, Handenur" userId="693f6077-2094-4a4b-9c12-b1a0c4de2bbc" providerId="ADAL" clId="{5B430AB4-3B31-40FC-B7D2-06B73B197EDF}" dt="2025-10-16T07:57:22.562" v="434" actId="404"/>
          <ac:spMkLst>
            <pc:docMk/>
            <pc:sldMk cId="1281242884" sldId="313"/>
            <ac:spMk id="1109" creationId="{01AB42EB-400D-DB8F-B6B9-8700F11D4B05}"/>
          </ac:spMkLst>
        </pc:spChg>
        <pc:spChg chg="mod">
          <ac:chgData name="Sezgen, Handenur" userId="693f6077-2094-4a4b-9c12-b1a0c4de2bbc" providerId="ADAL" clId="{5B430AB4-3B31-40FC-B7D2-06B73B197EDF}" dt="2025-10-16T07:57:22.562" v="434" actId="404"/>
          <ac:spMkLst>
            <pc:docMk/>
            <pc:sldMk cId="1281242884" sldId="313"/>
            <ac:spMk id="1132" creationId="{9CD12852-88E9-C502-E8B5-B0C0C29B8D32}"/>
          </ac:spMkLst>
        </pc:spChg>
        <pc:spChg chg="mod">
          <ac:chgData name="Sezgen, Handenur" userId="693f6077-2094-4a4b-9c12-b1a0c4de2bbc" providerId="ADAL" clId="{5B430AB4-3B31-40FC-B7D2-06B73B197EDF}" dt="2025-10-16T07:57:22.562" v="434" actId="404"/>
          <ac:spMkLst>
            <pc:docMk/>
            <pc:sldMk cId="1281242884" sldId="313"/>
            <ac:spMk id="1164" creationId="{3E00769B-43A1-EFE5-C2E8-6A2584E0F328}"/>
          </ac:spMkLst>
        </pc:spChg>
        <pc:grpChg chg="add mod">
          <ac:chgData name="Sezgen, Handenur" userId="693f6077-2094-4a4b-9c12-b1a0c4de2bbc" providerId="ADAL" clId="{5B430AB4-3B31-40FC-B7D2-06B73B197EDF}" dt="2025-10-16T07:57:19.826" v="433" actId="1036"/>
          <ac:grpSpMkLst>
            <pc:docMk/>
            <pc:sldMk cId="1281242884" sldId="313"/>
            <ac:grpSpMk id="3" creationId="{026CF4A7-34CE-3727-E5BF-29BB9C484684}"/>
          </ac:grpSpMkLst>
        </pc:grpChg>
        <pc:grpChg chg="mod">
          <ac:chgData name="Sezgen, Handenur" userId="693f6077-2094-4a4b-9c12-b1a0c4de2bbc" providerId="ADAL" clId="{5B430AB4-3B31-40FC-B7D2-06B73B197EDF}" dt="2025-10-16T07:57:16.127" v="427" actId="164"/>
          <ac:grpSpMkLst>
            <pc:docMk/>
            <pc:sldMk cId="1281242884" sldId="313"/>
            <ac:grpSpMk id="27" creationId="{D6CE0DEF-AD59-8B85-CFAB-3A270F9FDD52}"/>
          </ac:grpSpMkLst>
        </pc:grpChg>
        <pc:grpChg chg="mod">
          <ac:chgData name="Sezgen, Handenur" userId="693f6077-2094-4a4b-9c12-b1a0c4de2bbc" providerId="ADAL" clId="{5B430AB4-3B31-40FC-B7D2-06B73B197EDF}" dt="2025-10-16T07:57:16.127" v="427" actId="164"/>
          <ac:grpSpMkLst>
            <pc:docMk/>
            <pc:sldMk cId="1281242884" sldId="313"/>
            <ac:grpSpMk id="1179" creationId="{309B74D7-06C2-9C8A-6246-7B3013A0D8CF}"/>
          </ac:grpSpMkLst>
        </pc:grpChg>
        <pc:picChg chg="add mod">
          <ac:chgData name="Sezgen, Handenur" userId="693f6077-2094-4a4b-9c12-b1a0c4de2bbc" providerId="ADAL" clId="{5B430AB4-3B31-40FC-B7D2-06B73B197EDF}" dt="2025-10-16T10:11:25.948" v="3633"/>
          <ac:picMkLst>
            <pc:docMk/>
            <pc:sldMk cId="1281242884" sldId="313"/>
            <ac:picMk id="6" creationId="{CD142D84-2FD2-5FF1-2017-AB7AE9C1930B}"/>
          </ac:picMkLst>
        </pc:picChg>
        <pc:picChg chg="mod">
          <ac:chgData name="Sezgen, Handenur" userId="693f6077-2094-4a4b-9c12-b1a0c4de2bbc" providerId="ADAL" clId="{5B430AB4-3B31-40FC-B7D2-06B73B197EDF}" dt="2025-10-16T07:57:16.127" v="427" actId="164"/>
          <ac:picMkLst>
            <pc:docMk/>
            <pc:sldMk cId="1281242884" sldId="313"/>
            <ac:picMk id="7" creationId="{1311408E-195C-9600-C636-458D517D2151}"/>
          </ac:picMkLst>
        </pc:picChg>
      </pc:sldChg>
      <pc:sldChg chg="addSp delSp modSp add mod modClrScheme chgLayout">
        <pc:chgData name="Sezgen, Handenur" userId="693f6077-2094-4a4b-9c12-b1a0c4de2bbc" providerId="ADAL" clId="{5B430AB4-3B31-40FC-B7D2-06B73B197EDF}" dt="2025-10-16T10:13:29.357" v="3680"/>
        <pc:sldMkLst>
          <pc:docMk/>
          <pc:sldMk cId="1261490693" sldId="314"/>
        </pc:sldMkLst>
        <pc:spChg chg="mod ord">
          <ac:chgData name="Sezgen, Handenur" userId="693f6077-2094-4a4b-9c12-b1a0c4de2bbc" providerId="ADAL" clId="{5B430AB4-3B31-40FC-B7D2-06B73B197EDF}" dt="2025-10-16T09:00:47.948" v="1788" actId="700"/>
          <ac:spMkLst>
            <pc:docMk/>
            <pc:sldMk cId="1261490693" sldId="314"/>
            <ac:spMk id="2" creationId="{3DE87841-47CA-41BA-F077-2686FB717262}"/>
          </ac:spMkLst>
        </pc:spChg>
        <pc:spChg chg="add del mod">
          <ac:chgData name="Sezgen, Handenur" userId="693f6077-2094-4a4b-9c12-b1a0c4de2bbc" providerId="ADAL" clId="{5B430AB4-3B31-40FC-B7D2-06B73B197EDF}" dt="2025-10-16T09:00:44.582" v="1787" actId="6264"/>
          <ac:spMkLst>
            <pc:docMk/>
            <pc:sldMk cId="1261490693" sldId="314"/>
            <ac:spMk id="3" creationId="{DC12BCAF-DBE7-0FA7-8A0B-713029999D92}"/>
          </ac:spMkLst>
        </pc:spChg>
        <pc:spChg chg="mod">
          <ac:chgData name="Sezgen, Handenur" userId="693f6077-2094-4a4b-9c12-b1a0c4de2bbc" providerId="ADAL" clId="{5B430AB4-3B31-40FC-B7D2-06B73B197EDF}" dt="2025-10-16T09:00:57.253" v="1795" actId="164"/>
          <ac:spMkLst>
            <pc:docMk/>
            <pc:sldMk cId="1261490693" sldId="314"/>
            <ac:spMk id="4" creationId="{7522B6B4-AC58-A946-B17A-34176EE07D67}"/>
          </ac:spMkLst>
        </pc:spChg>
        <pc:spChg chg="mod ord">
          <ac:chgData name="Sezgen, Handenur" userId="693f6077-2094-4a4b-9c12-b1a0c4de2bbc" providerId="ADAL" clId="{5B430AB4-3B31-40FC-B7D2-06B73B197EDF}" dt="2025-10-16T09:00:52.992" v="1794" actId="27636"/>
          <ac:spMkLst>
            <pc:docMk/>
            <pc:sldMk cId="1261490693" sldId="314"/>
            <ac:spMk id="5" creationId="{0042DBC6-B63F-8257-D6D5-E39A2F5D971D}"/>
          </ac:spMkLst>
        </pc:spChg>
        <pc:spChg chg="add del mod">
          <ac:chgData name="Sezgen, Handenur" userId="693f6077-2094-4a4b-9c12-b1a0c4de2bbc" providerId="ADAL" clId="{5B430AB4-3B31-40FC-B7D2-06B73B197EDF}" dt="2025-10-16T09:00:44.582" v="1787" actId="6264"/>
          <ac:spMkLst>
            <pc:docMk/>
            <pc:sldMk cId="1261490693" sldId="314"/>
            <ac:spMk id="6" creationId="{98402136-20BA-F116-16BB-957D6A18745E}"/>
          </ac:spMkLst>
        </pc:spChg>
        <pc:spChg chg="add del mod">
          <ac:chgData name="Sezgen, Handenur" userId="693f6077-2094-4a4b-9c12-b1a0c4de2bbc" providerId="ADAL" clId="{5B430AB4-3B31-40FC-B7D2-06B73B197EDF}" dt="2025-10-16T09:00:44.582" v="1787" actId="6264"/>
          <ac:spMkLst>
            <pc:docMk/>
            <pc:sldMk cId="1261490693" sldId="314"/>
            <ac:spMk id="7" creationId="{D8F68E1D-A719-E170-E951-51E4DFE4193A}"/>
          </ac:spMkLst>
        </pc:spChg>
        <pc:spChg chg="mod ord">
          <ac:chgData name="Sezgen, Handenur" userId="693f6077-2094-4a4b-9c12-b1a0c4de2bbc" providerId="ADAL" clId="{5B430AB4-3B31-40FC-B7D2-06B73B197EDF}" dt="2025-10-16T09:00:47.948" v="1788" actId="700"/>
          <ac:spMkLst>
            <pc:docMk/>
            <pc:sldMk cId="1261490693" sldId="314"/>
            <ac:spMk id="17" creationId="{248047D7-660B-418F-8C59-B52D6506E4E1}"/>
          </ac:spMkLst>
        </pc:spChg>
        <pc:spChg chg="mod">
          <ac:chgData name="Sezgen, Handenur" userId="693f6077-2094-4a4b-9c12-b1a0c4de2bbc" providerId="ADAL" clId="{5B430AB4-3B31-40FC-B7D2-06B73B197EDF}" dt="2025-10-16T09:00:57.253" v="1795" actId="164"/>
          <ac:spMkLst>
            <pc:docMk/>
            <pc:sldMk cId="1261490693" sldId="314"/>
            <ac:spMk id="23" creationId="{00000000-0000-0000-0000-000000000000}"/>
          </ac:spMkLst>
        </pc:spChg>
        <pc:grpChg chg="add mod">
          <ac:chgData name="Sezgen, Handenur" userId="693f6077-2094-4a4b-9c12-b1a0c4de2bbc" providerId="ADAL" clId="{5B430AB4-3B31-40FC-B7D2-06B73B197EDF}" dt="2025-10-16T09:01:19.208" v="1806" actId="1076"/>
          <ac:grpSpMkLst>
            <pc:docMk/>
            <pc:sldMk cId="1261490693" sldId="314"/>
            <ac:grpSpMk id="8" creationId="{65E4EA4C-9E1A-DEA8-23FA-3B5CA39D06F5}"/>
          </ac:grpSpMkLst>
        </pc:grpChg>
        <pc:grpChg chg="mod">
          <ac:chgData name="Sezgen, Handenur" userId="693f6077-2094-4a4b-9c12-b1a0c4de2bbc" providerId="ADAL" clId="{5B430AB4-3B31-40FC-B7D2-06B73B197EDF}" dt="2025-10-16T09:00:57.253" v="1795" actId="164"/>
          <ac:grpSpMkLst>
            <pc:docMk/>
            <pc:sldMk cId="1261490693" sldId="314"/>
            <ac:grpSpMk id="9" creationId="{5C453A22-2DC6-4B4A-8DFE-59E66522ADC5}"/>
          </ac:grpSpMkLst>
        </pc:grpChg>
        <pc:grpChg chg="mod">
          <ac:chgData name="Sezgen, Handenur" userId="693f6077-2094-4a4b-9c12-b1a0c4de2bbc" providerId="ADAL" clId="{5B430AB4-3B31-40FC-B7D2-06B73B197EDF}" dt="2025-10-16T09:00:57.253" v="1795" actId="164"/>
          <ac:grpSpMkLst>
            <pc:docMk/>
            <pc:sldMk cId="1261490693" sldId="314"/>
            <ac:grpSpMk id="88" creationId="{A7B47B71-6589-455D-8C92-E859DBEC8199}"/>
          </ac:grpSpMkLst>
        </pc:grpChg>
        <pc:grpChg chg="mod">
          <ac:chgData name="Sezgen, Handenur" userId="693f6077-2094-4a4b-9c12-b1a0c4de2bbc" providerId="ADAL" clId="{5B430AB4-3B31-40FC-B7D2-06B73B197EDF}" dt="2025-10-16T09:00:57.253" v="1795" actId="164"/>
          <ac:grpSpMkLst>
            <pc:docMk/>
            <pc:sldMk cId="1261490693" sldId="314"/>
            <ac:grpSpMk id="94" creationId="{68A7A66C-8386-4266-8BFC-191F2A85DE41}"/>
          </ac:grpSpMkLst>
        </pc:grpChg>
        <pc:grpChg chg="mod">
          <ac:chgData name="Sezgen, Handenur" userId="693f6077-2094-4a4b-9c12-b1a0c4de2bbc" providerId="ADAL" clId="{5B430AB4-3B31-40FC-B7D2-06B73B197EDF}" dt="2025-10-16T09:00:57.253" v="1795" actId="164"/>
          <ac:grpSpMkLst>
            <pc:docMk/>
            <pc:sldMk cId="1261490693" sldId="314"/>
            <ac:grpSpMk id="97" creationId="{8FF4EA3A-EF48-48AC-8892-34BCE13FF6E1}"/>
          </ac:grpSpMkLst>
        </pc:grpChg>
        <pc:grpChg chg="mod">
          <ac:chgData name="Sezgen, Handenur" userId="693f6077-2094-4a4b-9c12-b1a0c4de2bbc" providerId="ADAL" clId="{5B430AB4-3B31-40FC-B7D2-06B73B197EDF}" dt="2025-10-16T09:00:57.253" v="1795" actId="164"/>
          <ac:grpSpMkLst>
            <pc:docMk/>
            <pc:sldMk cId="1261490693" sldId="314"/>
            <ac:grpSpMk id="109" creationId="{02E01D9B-33BD-4F51-A443-2BAF52B62AFE}"/>
          </ac:grpSpMkLst>
        </pc:grpChg>
        <pc:grpChg chg="mod">
          <ac:chgData name="Sezgen, Handenur" userId="693f6077-2094-4a4b-9c12-b1a0c4de2bbc" providerId="ADAL" clId="{5B430AB4-3B31-40FC-B7D2-06B73B197EDF}" dt="2025-10-16T09:00:57.253" v="1795" actId="164"/>
          <ac:grpSpMkLst>
            <pc:docMk/>
            <pc:sldMk cId="1261490693" sldId="314"/>
            <ac:grpSpMk id="112" creationId="{5FE1FD6D-0A08-4500-8EF2-3A337E531CF1}"/>
          </ac:grpSpMkLst>
        </pc:grpChg>
        <pc:graphicFrameChg chg="mod">
          <ac:chgData name="Sezgen, Handenur" userId="693f6077-2094-4a4b-9c12-b1a0c4de2bbc" providerId="ADAL" clId="{5B430AB4-3B31-40FC-B7D2-06B73B197EDF}" dt="2025-10-16T09:00:57.253" v="1795" actId="164"/>
          <ac:graphicFrameMkLst>
            <pc:docMk/>
            <pc:sldMk cId="1261490693" sldId="314"/>
            <ac:graphicFrameMk id="79" creationId="{4303DB82-DA70-4601-B7A0-7086155748C5}"/>
          </ac:graphicFrameMkLst>
        </pc:graphicFrameChg>
        <pc:picChg chg="add mod">
          <ac:chgData name="Sezgen, Handenur" userId="693f6077-2094-4a4b-9c12-b1a0c4de2bbc" providerId="ADAL" clId="{5B430AB4-3B31-40FC-B7D2-06B73B197EDF}" dt="2025-10-16T10:13:29.357" v="3680"/>
          <ac:picMkLst>
            <pc:docMk/>
            <pc:sldMk cId="1261490693" sldId="314"/>
            <ac:picMk id="10" creationId="{D995C7A0-C7DB-3317-6C3B-C642E392235B}"/>
          </ac:picMkLst>
        </pc:picChg>
      </pc:sldChg>
      <pc:sldChg chg="addSp modSp add mod modClrScheme chgLayout">
        <pc:chgData name="Sezgen, Handenur" userId="693f6077-2094-4a4b-9c12-b1a0c4de2bbc" providerId="ADAL" clId="{5B430AB4-3B31-40FC-B7D2-06B73B197EDF}" dt="2025-10-16T10:13:30.193" v="3681"/>
        <pc:sldMkLst>
          <pc:docMk/>
          <pc:sldMk cId="3507841097" sldId="315"/>
        </pc:sldMkLst>
        <pc:spChg chg="mod ord">
          <ac:chgData name="Sezgen, Handenur" userId="693f6077-2094-4a4b-9c12-b1a0c4de2bbc" providerId="ADAL" clId="{5B430AB4-3B31-40FC-B7D2-06B73B197EDF}" dt="2025-10-16T09:01:33.014" v="1809" actId="20577"/>
          <ac:spMkLst>
            <pc:docMk/>
            <pc:sldMk cId="3507841097" sldId="315"/>
            <ac:spMk id="2" creationId="{F1F56265-62E3-249F-4B3F-01F6EE66BBDF}"/>
          </ac:spMkLst>
        </pc:spChg>
        <pc:spChg chg="mod ord">
          <ac:chgData name="Sezgen, Handenur" userId="693f6077-2094-4a4b-9c12-b1a0c4de2bbc" providerId="ADAL" clId="{5B430AB4-3B31-40FC-B7D2-06B73B197EDF}" dt="2025-10-16T09:01:30.998" v="1807" actId="700"/>
          <ac:spMkLst>
            <pc:docMk/>
            <pc:sldMk cId="3507841097" sldId="315"/>
            <ac:spMk id="3" creationId="{D2B1D4D2-D007-84CE-AFB3-C037C5602974}"/>
          </ac:spMkLst>
        </pc:spChg>
        <pc:picChg chg="add mod">
          <ac:chgData name="Sezgen, Handenur" userId="693f6077-2094-4a4b-9c12-b1a0c4de2bbc" providerId="ADAL" clId="{5B430AB4-3B31-40FC-B7D2-06B73B197EDF}" dt="2025-10-16T10:13:30.193" v="3681"/>
          <ac:picMkLst>
            <pc:docMk/>
            <pc:sldMk cId="3507841097" sldId="315"/>
            <ac:picMk id="4" creationId="{C947E586-D02A-7AD7-BC87-E1C0F490552D}"/>
          </ac:picMkLst>
        </pc:picChg>
      </pc:sldChg>
      <pc:sldChg chg="addSp delSp modSp add mod modClrScheme chgLayout">
        <pc:chgData name="Sezgen, Handenur" userId="693f6077-2094-4a4b-9c12-b1a0c4de2bbc" providerId="ADAL" clId="{5B430AB4-3B31-40FC-B7D2-06B73B197EDF}" dt="2025-10-16T10:13:31.106" v="3682"/>
        <pc:sldMkLst>
          <pc:docMk/>
          <pc:sldMk cId="2728477213" sldId="316"/>
        </pc:sldMkLst>
        <pc:spChg chg="mod ord">
          <ac:chgData name="Sezgen, Handenur" userId="693f6077-2094-4a4b-9c12-b1a0c4de2bbc" providerId="ADAL" clId="{5B430AB4-3B31-40FC-B7D2-06B73B197EDF}" dt="2025-10-16T08:56:18.455" v="1703" actId="6264"/>
          <ac:spMkLst>
            <pc:docMk/>
            <pc:sldMk cId="2728477213" sldId="316"/>
            <ac:spMk id="2" creationId="{4940E4F4-447F-E4BE-DF0C-2871E89D64AB}"/>
          </ac:spMkLst>
        </pc:spChg>
        <pc:spChg chg="add del mod">
          <ac:chgData name="Sezgen, Handenur" userId="693f6077-2094-4a4b-9c12-b1a0c4de2bbc" providerId="ADAL" clId="{5B430AB4-3B31-40FC-B7D2-06B73B197EDF}" dt="2025-10-16T08:56:18.455" v="1703" actId="6264"/>
          <ac:spMkLst>
            <pc:docMk/>
            <pc:sldMk cId="2728477213" sldId="316"/>
            <ac:spMk id="3" creationId="{F2385F71-3DF6-5D1A-F8E2-A4F4B5160EAE}"/>
          </ac:spMkLst>
        </pc:spChg>
        <pc:spChg chg="mod">
          <ac:chgData name="Sezgen, Handenur" userId="693f6077-2094-4a4b-9c12-b1a0c4de2bbc" providerId="ADAL" clId="{5B430AB4-3B31-40FC-B7D2-06B73B197EDF}" dt="2025-10-16T08:56:32.451" v="1710" actId="1076"/>
          <ac:spMkLst>
            <pc:docMk/>
            <pc:sldMk cId="2728477213" sldId="316"/>
            <ac:spMk id="6" creationId="{9BE2084E-B32F-044F-004D-8E5FB10A0AEF}"/>
          </ac:spMkLst>
        </pc:spChg>
        <pc:spChg chg="mod">
          <ac:chgData name="Sezgen, Handenur" userId="693f6077-2094-4a4b-9c12-b1a0c4de2bbc" providerId="ADAL" clId="{5B430AB4-3B31-40FC-B7D2-06B73B197EDF}" dt="2025-10-16T08:56:32.451" v="1710" actId="1076"/>
          <ac:spMkLst>
            <pc:docMk/>
            <pc:sldMk cId="2728477213" sldId="316"/>
            <ac:spMk id="9" creationId="{E51CC81A-2099-50F4-6310-AD86458D4C7D}"/>
          </ac:spMkLst>
        </pc:spChg>
        <pc:graphicFrameChg chg="mod modGraphic">
          <ac:chgData name="Sezgen, Handenur" userId="693f6077-2094-4a4b-9c12-b1a0c4de2bbc" providerId="ADAL" clId="{5B430AB4-3B31-40FC-B7D2-06B73B197EDF}" dt="2025-10-16T08:56:37.229" v="1712" actId="14100"/>
          <ac:graphicFrameMkLst>
            <pc:docMk/>
            <pc:sldMk cId="2728477213" sldId="316"/>
            <ac:graphicFrameMk id="7" creationId="{84991911-03B2-8B89-0882-6CF6FE36029F}"/>
          </ac:graphicFrameMkLst>
        </pc:graphicFrameChg>
        <pc:picChg chg="add mod">
          <ac:chgData name="Sezgen, Handenur" userId="693f6077-2094-4a4b-9c12-b1a0c4de2bbc" providerId="ADAL" clId="{5B430AB4-3B31-40FC-B7D2-06B73B197EDF}" dt="2025-10-16T10:13:31.106" v="3682"/>
          <ac:picMkLst>
            <pc:docMk/>
            <pc:sldMk cId="2728477213" sldId="316"/>
            <ac:picMk id="4" creationId="{4BCED521-F788-A71B-D2F4-31069172D8A5}"/>
          </ac:picMkLst>
        </pc:picChg>
      </pc:sldChg>
      <pc:sldChg chg="addSp delSp modSp add mod modClrScheme chgLayout">
        <pc:chgData name="Sezgen, Handenur" userId="693f6077-2094-4a4b-9c12-b1a0c4de2bbc" providerId="ADAL" clId="{5B430AB4-3B31-40FC-B7D2-06B73B197EDF}" dt="2025-10-16T10:13:59.360" v="3683"/>
        <pc:sldMkLst>
          <pc:docMk/>
          <pc:sldMk cId="0" sldId="317"/>
        </pc:sldMkLst>
        <pc:spChg chg="mod ord">
          <ac:chgData name="Sezgen, Handenur" userId="693f6077-2094-4a4b-9c12-b1a0c4de2bbc" providerId="ADAL" clId="{5B430AB4-3B31-40FC-B7D2-06B73B197EDF}" dt="2025-10-16T09:01:42.706" v="1811" actId="700"/>
          <ac:spMkLst>
            <pc:docMk/>
            <pc:sldMk cId="0" sldId="317"/>
            <ac:spMk id="2" creationId="{00000000-0000-0000-0000-000000000000}"/>
          </ac:spMkLst>
        </pc:spChg>
        <pc:spChg chg="mod ord">
          <ac:chgData name="Sezgen, Handenur" userId="693f6077-2094-4a4b-9c12-b1a0c4de2bbc" providerId="ADAL" clId="{5B430AB4-3B31-40FC-B7D2-06B73B197EDF}" dt="2025-10-16T09:02:03.201" v="1826" actId="404"/>
          <ac:spMkLst>
            <pc:docMk/>
            <pc:sldMk cId="0" sldId="317"/>
            <ac:spMk id="3" creationId="{00000000-0000-0000-0000-000000000000}"/>
          </ac:spMkLst>
        </pc:spChg>
        <pc:spChg chg="add del mod">
          <ac:chgData name="Sezgen, Handenur" userId="693f6077-2094-4a4b-9c12-b1a0c4de2bbc" providerId="ADAL" clId="{5B430AB4-3B31-40FC-B7D2-06B73B197EDF}" dt="2025-10-16T09:01:40" v="1810" actId="6264"/>
          <ac:spMkLst>
            <pc:docMk/>
            <pc:sldMk cId="0" sldId="317"/>
            <ac:spMk id="4" creationId="{310EB83D-2373-C1BB-A976-A916F0A31A11}"/>
          </ac:spMkLst>
        </pc:spChg>
        <pc:spChg chg="add del mod">
          <ac:chgData name="Sezgen, Handenur" userId="693f6077-2094-4a4b-9c12-b1a0c4de2bbc" providerId="ADAL" clId="{5B430AB4-3B31-40FC-B7D2-06B73B197EDF}" dt="2025-10-16T09:01:40" v="1810" actId="6264"/>
          <ac:spMkLst>
            <pc:docMk/>
            <pc:sldMk cId="0" sldId="317"/>
            <ac:spMk id="5" creationId="{2BBEB93A-8FEE-D61D-D829-C1F59B3EE28E}"/>
          </ac:spMkLst>
        </pc:spChg>
        <pc:spChg chg="add mod ord">
          <ac:chgData name="Sezgen, Handenur" userId="693f6077-2094-4a4b-9c12-b1a0c4de2bbc" providerId="ADAL" clId="{5B430AB4-3B31-40FC-B7D2-06B73B197EDF}" dt="2025-10-16T09:02:26.983" v="1830" actId="14100"/>
          <ac:spMkLst>
            <pc:docMk/>
            <pc:sldMk cId="0" sldId="317"/>
            <ac:spMk id="6" creationId="{9BF869C0-0A60-042F-3DFA-0E4D1090A284}"/>
          </ac:spMkLst>
        </pc:spChg>
        <pc:picChg chg="add del mod">
          <ac:chgData name="Sezgen, Handenur" userId="693f6077-2094-4a4b-9c12-b1a0c4de2bbc" providerId="ADAL" clId="{5B430AB4-3B31-40FC-B7D2-06B73B197EDF}" dt="2025-10-16T10:02:00.687" v="3465" actId="21"/>
          <ac:picMkLst>
            <pc:docMk/>
            <pc:sldMk cId="0" sldId="317"/>
            <ac:picMk id="8" creationId="{BC15D9C2-5519-E8E8-DFAF-417BD9F56B0A}"/>
          </ac:picMkLst>
        </pc:picChg>
        <pc:picChg chg="add mod">
          <ac:chgData name="Sezgen, Handenur" userId="693f6077-2094-4a4b-9c12-b1a0c4de2bbc" providerId="ADAL" clId="{5B430AB4-3B31-40FC-B7D2-06B73B197EDF}" dt="2025-10-16T10:13:59.360" v="3683"/>
          <ac:picMkLst>
            <pc:docMk/>
            <pc:sldMk cId="0" sldId="317"/>
            <ac:picMk id="9" creationId="{B3281C09-F1BF-3F86-28CE-5F58E91C9610}"/>
          </ac:picMkLst>
        </pc:picChg>
      </pc:sldChg>
      <pc:sldChg chg="addSp delSp modSp add mod modClrScheme chgLayout">
        <pc:chgData name="Sezgen, Handenur" userId="693f6077-2094-4a4b-9c12-b1a0c4de2bbc" providerId="ADAL" clId="{5B430AB4-3B31-40FC-B7D2-06B73B197EDF}" dt="2025-10-16T10:14:09.486" v="3687"/>
        <pc:sldMkLst>
          <pc:docMk/>
          <pc:sldMk cId="2098737570" sldId="318"/>
        </pc:sldMkLst>
        <pc:spChg chg="mod ord">
          <ac:chgData name="Sezgen, Handenur" userId="693f6077-2094-4a4b-9c12-b1a0c4de2bbc" providerId="ADAL" clId="{5B430AB4-3B31-40FC-B7D2-06B73B197EDF}" dt="2025-10-16T09:25:01.329" v="2487" actId="947"/>
          <ac:spMkLst>
            <pc:docMk/>
            <pc:sldMk cId="2098737570" sldId="318"/>
            <ac:spMk id="2" creationId="{26711CEA-E31D-4787-9B31-38B63259A1FC}"/>
          </ac:spMkLst>
        </pc:spChg>
        <pc:spChg chg="mod ord">
          <ac:chgData name="Sezgen, Handenur" userId="693f6077-2094-4a4b-9c12-b1a0c4de2bbc" providerId="ADAL" clId="{5B430AB4-3B31-40FC-B7D2-06B73B197EDF}" dt="2025-10-16T09:24:29.933" v="2474" actId="700"/>
          <ac:spMkLst>
            <pc:docMk/>
            <pc:sldMk cId="2098737570" sldId="318"/>
            <ac:spMk id="3" creationId="{B2FCF90F-77DD-DEA9-912C-E7B9C7B98BBE}"/>
          </ac:spMkLst>
        </pc:spChg>
        <pc:spChg chg="mod">
          <ac:chgData name="Sezgen, Handenur" userId="693f6077-2094-4a4b-9c12-b1a0c4de2bbc" providerId="ADAL" clId="{5B430AB4-3B31-40FC-B7D2-06B73B197EDF}" dt="2025-10-16T09:24:05.290" v="2465" actId="1076"/>
          <ac:spMkLst>
            <pc:docMk/>
            <pc:sldMk cId="2098737570" sldId="318"/>
            <ac:spMk id="5" creationId="{68FE6150-A240-1EAA-CF12-CFBB0DBB9E56}"/>
          </ac:spMkLst>
        </pc:spChg>
        <pc:spChg chg="add del mod">
          <ac:chgData name="Sezgen, Handenur" userId="693f6077-2094-4a4b-9c12-b1a0c4de2bbc" providerId="ADAL" clId="{5B430AB4-3B31-40FC-B7D2-06B73B197EDF}" dt="2025-10-16T09:24:27.550" v="2473" actId="6264"/>
          <ac:spMkLst>
            <pc:docMk/>
            <pc:sldMk cId="2098737570" sldId="318"/>
            <ac:spMk id="6" creationId="{653D45AD-925A-D533-913B-FCDAADB0DEAD}"/>
          </ac:spMkLst>
        </pc:spChg>
        <pc:spChg chg="mod ord">
          <ac:chgData name="Sezgen, Handenur" userId="693f6077-2094-4a4b-9c12-b1a0c4de2bbc" providerId="ADAL" clId="{5B430AB4-3B31-40FC-B7D2-06B73B197EDF}" dt="2025-10-16T09:24:43.774" v="2485" actId="1076"/>
          <ac:spMkLst>
            <pc:docMk/>
            <pc:sldMk cId="2098737570" sldId="318"/>
            <ac:spMk id="7" creationId="{D8AA52D0-6A1E-BFB9-E63F-7A93B6A82372}"/>
          </ac:spMkLst>
        </pc:spChg>
        <pc:spChg chg="add del mod">
          <ac:chgData name="Sezgen, Handenur" userId="693f6077-2094-4a4b-9c12-b1a0c4de2bbc" providerId="ADAL" clId="{5B430AB4-3B31-40FC-B7D2-06B73B197EDF}" dt="2025-10-16T09:24:27.550" v="2473" actId="6264"/>
          <ac:spMkLst>
            <pc:docMk/>
            <pc:sldMk cId="2098737570" sldId="318"/>
            <ac:spMk id="9" creationId="{E312E8CC-93BD-399D-D693-138BBDBD72DE}"/>
          </ac:spMkLst>
        </pc:spChg>
        <pc:spChg chg="add del mod">
          <ac:chgData name="Sezgen, Handenur" userId="693f6077-2094-4a4b-9c12-b1a0c4de2bbc" providerId="ADAL" clId="{5B430AB4-3B31-40FC-B7D2-06B73B197EDF}" dt="2025-10-16T09:24:27.550" v="2473" actId="6264"/>
          <ac:spMkLst>
            <pc:docMk/>
            <pc:sldMk cId="2098737570" sldId="318"/>
            <ac:spMk id="10" creationId="{16360A10-533C-DD4D-8AFB-8632864D9B57}"/>
          </ac:spMkLst>
        </pc:spChg>
        <pc:spChg chg="mod">
          <ac:chgData name="Sezgen, Handenur" userId="693f6077-2094-4a4b-9c12-b1a0c4de2bbc" providerId="ADAL" clId="{5B430AB4-3B31-40FC-B7D2-06B73B197EDF}" dt="2025-10-16T09:24:11.682" v="2467" actId="164"/>
          <ac:spMkLst>
            <pc:docMk/>
            <pc:sldMk cId="2098737570" sldId="318"/>
            <ac:spMk id="66" creationId="{1EA2C78D-5660-F30F-74AF-7EA07E638562}"/>
          </ac:spMkLst>
        </pc:spChg>
        <pc:spChg chg="mod">
          <ac:chgData name="Sezgen, Handenur" userId="693f6077-2094-4a4b-9c12-b1a0c4de2bbc" providerId="ADAL" clId="{5B430AB4-3B31-40FC-B7D2-06B73B197EDF}" dt="2025-10-16T09:24:11.682" v="2467" actId="164"/>
          <ac:spMkLst>
            <pc:docMk/>
            <pc:sldMk cId="2098737570" sldId="318"/>
            <ac:spMk id="67" creationId="{90A87C0B-1280-7F1D-3767-AA6696E6498A}"/>
          </ac:spMkLst>
        </pc:spChg>
        <pc:spChg chg="mod">
          <ac:chgData name="Sezgen, Handenur" userId="693f6077-2094-4a4b-9c12-b1a0c4de2bbc" providerId="ADAL" clId="{5B430AB4-3B31-40FC-B7D2-06B73B197EDF}" dt="2025-10-16T09:24:11.682" v="2467" actId="164"/>
          <ac:spMkLst>
            <pc:docMk/>
            <pc:sldMk cId="2098737570" sldId="318"/>
            <ac:spMk id="68" creationId="{9A31740B-45A9-1EDD-4CB0-991CFA740303}"/>
          </ac:spMkLst>
        </pc:spChg>
        <pc:spChg chg="mod">
          <ac:chgData name="Sezgen, Handenur" userId="693f6077-2094-4a4b-9c12-b1a0c4de2bbc" providerId="ADAL" clId="{5B430AB4-3B31-40FC-B7D2-06B73B197EDF}" dt="2025-10-16T09:24:11.682" v="2467" actId="164"/>
          <ac:spMkLst>
            <pc:docMk/>
            <pc:sldMk cId="2098737570" sldId="318"/>
            <ac:spMk id="88" creationId="{F737CF0D-D3A0-BFBB-7899-2E6824D4BBDC}"/>
          </ac:spMkLst>
        </pc:spChg>
        <pc:spChg chg="mod">
          <ac:chgData name="Sezgen, Handenur" userId="693f6077-2094-4a4b-9c12-b1a0c4de2bbc" providerId="ADAL" clId="{5B430AB4-3B31-40FC-B7D2-06B73B197EDF}" dt="2025-10-16T09:24:11.682" v="2467" actId="164"/>
          <ac:spMkLst>
            <pc:docMk/>
            <pc:sldMk cId="2098737570" sldId="318"/>
            <ac:spMk id="90" creationId="{4A376854-CE6A-B9F7-C5C8-F910C1325C26}"/>
          </ac:spMkLst>
        </pc:spChg>
        <pc:spChg chg="mod">
          <ac:chgData name="Sezgen, Handenur" userId="693f6077-2094-4a4b-9c12-b1a0c4de2bbc" providerId="ADAL" clId="{5B430AB4-3B31-40FC-B7D2-06B73B197EDF}" dt="2025-10-16T09:24:11.682" v="2467" actId="164"/>
          <ac:spMkLst>
            <pc:docMk/>
            <pc:sldMk cId="2098737570" sldId="318"/>
            <ac:spMk id="97" creationId="{D1FD8113-A686-0FE3-FB70-BA5CE5607344}"/>
          </ac:spMkLst>
        </pc:spChg>
        <pc:grpChg chg="add mod">
          <ac:chgData name="Sezgen, Handenur" userId="693f6077-2094-4a4b-9c12-b1a0c4de2bbc" providerId="ADAL" clId="{5B430AB4-3B31-40FC-B7D2-06B73B197EDF}" dt="2025-10-16T09:24:17.698" v="2470" actId="14100"/>
          <ac:grpSpMkLst>
            <pc:docMk/>
            <pc:sldMk cId="2098737570" sldId="318"/>
            <ac:grpSpMk id="4" creationId="{932C5515-B44C-9A79-5163-702A38F1C0B2}"/>
          </ac:grpSpMkLst>
        </pc:grpChg>
        <pc:grpChg chg="mod">
          <ac:chgData name="Sezgen, Handenur" userId="693f6077-2094-4a4b-9c12-b1a0c4de2bbc" providerId="ADAL" clId="{5B430AB4-3B31-40FC-B7D2-06B73B197EDF}" dt="2025-10-16T09:24:11.682" v="2467" actId="164"/>
          <ac:grpSpMkLst>
            <pc:docMk/>
            <pc:sldMk cId="2098737570" sldId="318"/>
            <ac:grpSpMk id="50" creationId="{CB6AC0FD-87C0-BFD5-69A3-F919DDE6B83D}"/>
          </ac:grpSpMkLst>
        </pc:grpChg>
        <pc:grpChg chg="mod">
          <ac:chgData name="Sezgen, Handenur" userId="693f6077-2094-4a4b-9c12-b1a0c4de2bbc" providerId="ADAL" clId="{5B430AB4-3B31-40FC-B7D2-06B73B197EDF}" dt="2025-10-16T09:24:48.700" v="2486" actId="1076"/>
          <ac:grpSpMkLst>
            <pc:docMk/>
            <pc:sldMk cId="2098737570" sldId="318"/>
            <ac:grpSpMk id="55" creationId="{0891D3ED-0D69-E3F6-BF56-BD9E81228082}"/>
          </ac:grpSpMkLst>
        </pc:grpChg>
        <pc:grpChg chg="mod">
          <ac:chgData name="Sezgen, Handenur" userId="693f6077-2094-4a4b-9c12-b1a0c4de2bbc" providerId="ADAL" clId="{5B430AB4-3B31-40FC-B7D2-06B73B197EDF}" dt="2025-10-16T09:24:11.682" v="2467" actId="164"/>
          <ac:grpSpMkLst>
            <pc:docMk/>
            <pc:sldMk cId="2098737570" sldId="318"/>
            <ac:grpSpMk id="65" creationId="{9D570183-46A0-C67D-40E9-C4E4865B3129}"/>
          </ac:grpSpMkLst>
        </pc:grpChg>
        <pc:grpChg chg="mod">
          <ac:chgData name="Sezgen, Handenur" userId="693f6077-2094-4a4b-9c12-b1a0c4de2bbc" providerId="ADAL" clId="{5B430AB4-3B31-40FC-B7D2-06B73B197EDF}" dt="2025-10-16T09:24:11.682" v="2467" actId="164"/>
          <ac:grpSpMkLst>
            <pc:docMk/>
            <pc:sldMk cId="2098737570" sldId="318"/>
            <ac:grpSpMk id="69" creationId="{0C344456-8985-B663-859A-496182AB9FD8}"/>
          </ac:grpSpMkLst>
        </pc:grpChg>
        <pc:picChg chg="mod">
          <ac:chgData name="Sezgen, Handenur" userId="693f6077-2094-4a4b-9c12-b1a0c4de2bbc" providerId="ADAL" clId="{5B430AB4-3B31-40FC-B7D2-06B73B197EDF}" dt="2025-10-16T09:24:35.370" v="2482" actId="1035"/>
          <ac:picMkLst>
            <pc:docMk/>
            <pc:sldMk cId="2098737570" sldId="318"/>
            <ac:picMk id="8" creationId="{AE505DA1-9EE9-9BF0-7667-B82205AA3DC2}"/>
          </ac:picMkLst>
        </pc:picChg>
        <pc:picChg chg="add mod">
          <ac:chgData name="Sezgen, Handenur" userId="693f6077-2094-4a4b-9c12-b1a0c4de2bbc" providerId="ADAL" clId="{5B430AB4-3B31-40FC-B7D2-06B73B197EDF}" dt="2025-10-16T10:14:09.486" v="3687"/>
          <ac:picMkLst>
            <pc:docMk/>
            <pc:sldMk cId="2098737570" sldId="318"/>
            <ac:picMk id="11" creationId="{0932E575-2FCB-2217-E94F-1D3B78A3A6EE}"/>
          </ac:picMkLst>
        </pc:picChg>
      </pc:sldChg>
      <pc:sldChg chg="addSp delSp modSp add mod modClrScheme chgLayout">
        <pc:chgData name="Sezgen, Handenur" userId="693f6077-2094-4a4b-9c12-b1a0c4de2bbc" providerId="ADAL" clId="{5B430AB4-3B31-40FC-B7D2-06B73B197EDF}" dt="2025-10-16T10:14:10.484" v="3688"/>
        <pc:sldMkLst>
          <pc:docMk/>
          <pc:sldMk cId="3727289237" sldId="319"/>
        </pc:sldMkLst>
        <pc:spChg chg="mod ord">
          <ac:chgData name="Sezgen, Handenur" userId="693f6077-2094-4a4b-9c12-b1a0c4de2bbc" providerId="ADAL" clId="{5B430AB4-3B31-40FC-B7D2-06B73B197EDF}" dt="2025-10-16T09:25:16.091" v="2489" actId="700"/>
          <ac:spMkLst>
            <pc:docMk/>
            <pc:sldMk cId="3727289237" sldId="319"/>
            <ac:spMk id="2" creationId="{C1D590A6-ED1F-4DDE-2FA1-141CA69C7F02}"/>
          </ac:spMkLst>
        </pc:spChg>
        <pc:spChg chg="add del mod">
          <ac:chgData name="Sezgen, Handenur" userId="693f6077-2094-4a4b-9c12-b1a0c4de2bbc" providerId="ADAL" clId="{5B430AB4-3B31-40FC-B7D2-06B73B197EDF}" dt="2025-10-16T09:25:13.175" v="2488" actId="6264"/>
          <ac:spMkLst>
            <pc:docMk/>
            <pc:sldMk cId="3727289237" sldId="319"/>
            <ac:spMk id="3" creationId="{FD8EBFB0-E8D1-B211-A684-1436374DA997}"/>
          </ac:spMkLst>
        </pc:spChg>
        <pc:spChg chg="add del mod">
          <ac:chgData name="Sezgen, Handenur" userId="693f6077-2094-4a4b-9c12-b1a0c4de2bbc" providerId="ADAL" clId="{5B430AB4-3B31-40FC-B7D2-06B73B197EDF}" dt="2025-10-16T09:25:13.175" v="2488" actId="6264"/>
          <ac:spMkLst>
            <pc:docMk/>
            <pc:sldMk cId="3727289237" sldId="319"/>
            <ac:spMk id="4" creationId="{1C200FEF-44F4-47EE-06E7-AFAF37C7A337}"/>
          </ac:spMkLst>
        </pc:spChg>
        <pc:spChg chg="mod ord">
          <ac:chgData name="Sezgen, Handenur" userId="693f6077-2094-4a4b-9c12-b1a0c4de2bbc" providerId="ADAL" clId="{5B430AB4-3B31-40FC-B7D2-06B73B197EDF}" dt="2025-10-16T09:25:42.217" v="2499" actId="1076"/>
          <ac:spMkLst>
            <pc:docMk/>
            <pc:sldMk cId="3727289237" sldId="319"/>
            <ac:spMk id="5" creationId="{3D90041D-6C24-7822-EFA3-966979230859}"/>
          </ac:spMkLst>
        </pc:spChg>
        <pc:spChg chg="mod ord">
          <ac:chgData name="Sezgen, Handenur" userId="693f6077-2094-4a4b-9c12-b1a0c4de2bbc" providerId="ADAL" clId="{5B430AB4-3B31-40FC-B7D2-06B73B197EDF}" dt="2025-10-16T09:30:47.603" v="2650" actId="20577"/>
          <ac:spMkLst>
            <pc:docMk/>
            <pc:sldMk cId="3727289237" sldId="319"/>
            <ac:spMk id="6" creationId="{0A5E8F37-B260-B051-7825-2E8ABDF8F8A0}"/>
          </ac:spMkLst>
        </pc:spChg>
        <pc:spChg chg="add del mod">
          <ac:chgData name="Sezgen, Handenur" userId="693f6077-2094-4a4b-9c12-b1a0c4de2bbc" providerId="ADAL" clId="{5B430AB4-3B31-40FC-B7D2-06B73B197EDF}" dt="2025-10-16T09:25:13.175" v="2488" actId="6264"/>
          <ac:spMkLst>
            <pc:docMk/>
            <pc:sldMk cId="3727289237" sldId="319"/>
            <ac:spMk id="7" creationId="{45FE381B-697B-94E2-90DD-42755A4FEE4D}"/>
          </ac:spMkLst>
        </pc:spChg>
        <pc:spChg chg="mod">
          <ac:chgData name="Sezgen, Handenur" userId="693f6077-2094-4a4b-9c12-b1a0c4de2bbc" providerId="ADAL" clId="{5B430AB4-3B31-40FC-B7D2-06B73B197EDF}" dt="2025-10-16T09:25:47.850" v="2500" actId="1076"/>
          <ac:spMkLst>
            <pc:docMk/>
            <pc:sldMk cId="3727289237" sldId="319"/>
            <ac:spMk id="10" creationId="{D7A19B8C-A807-AA1A-C7A1-3A7C72355FA7}"/>
          </ac:spMkLst>
        </pc:spChg>
        <pc:spChg chg="add mod">
          <ac:chgData name="Sezgen, Handenur" userId="693f6077-2094-4a4b-9c12-b1a0c4de2bbc" providerId="ADAL" clId="{5B430AB4-3B31-40FC-B7D2-06B73B197EDF}" dt="2025-10-16T09:28:31.239" v="2556" actId="14100"/>
          <ac:spMkLst>
            <pc:docMk/>
            <pc:sldMk cId="3727289237" sldId="319"/>
            <ac:spMk id="12" creationId="{05E82B2F-F470-A369-ABAA-0E2AFE311903}"/>
          </ac:spMkLst>
        </pc:spChg>
        <pc:spChg chg="mod">
          <ac:chgData name="Sezgen, Handenur" userId="693f6077-2094-4a4b-9c12-b1a0c4de2bbc" providerId="ADAL" clId="{5B430AB4-3B31-40FC-B7D2-06B73B197EDF}" dt="2025-10-16T09:25:47.850" v="2500" actId="1076"/>
          <ac:spMkLst>
            <pc:docMk/>
            <pc:sldMk cId="3727289237" sldId="319"/>
            <ac:spMk id="13" creationId="{4C2DDDA7-5565-5108-EDF2-4D97973E94AC}"/>
          </ac:spMkLst>
        </pc:spChg>
        <pc:spChg chg="add mod">
          <ac:chgData name="Sezgen, Handenur" userId="693f6077-2094-4a4b-9c12-b1a0c4de2bbc" providerId="ADAL" clId="{5B430AB4-3B31-40FC-B7D2-06B73B197EDF}" dt="2025-10-16T09:29:27.178" v="2572" actId="14100"/>
          <ac:spMkLst>
            <pc:docMk/>
            <pc:sldMk cId="3727289237" sldId="319"/>
            <ac:spMk id="14" creationId="{7DD22115-1DF8-47D7-7DF0-D80582852318}"/>
          </ac:spMkLst>
        </pc:spChg>
        <pc:spChg chg="mod">
          <ac:chgData name="Sezgen, Handenur" userId="693f6077-2094-4a4b-9c12-b1a0c4de2bbc" providerId="ADAL" clId="{5B430AB4-3B31-40FC-B7D2-06B73B197EDF}" dt="2025-10-16T09:25:47.850" v="2500" actId="1076"/>
          <ac:spMkLst>
            <pc:docMk/>
            <pc:sldMk cId="3727289237" sldId="319"/>
            <ac:spMk id="21" creationId="{C3434936-3B11-22F1-FFC4-65F6A26857BC}"/>
          </ac:spMkLst>
        </pc:spChg>
        <pc:spChg chg="add mod ord">
          <ac:chgData name="Sezgen, Handenur" userId="693f6077-2094-4a4b-9c12-b1a0c4de2bbc" providerId="ADAL" clId="{5B430AB4-3B31-40FC-B7D2-06B73B197EDF}" dt="2025-10-16T09:30:12.880" v="2591" actId="14100"/>
          <ac:spMkLst>
            <pc:docMk/>
            <pc:sldMk cId="3727289237" sldId="319"/>
            <ac:spMk id="23" creationId="{056C83F5-18EA-D045-86E4-5300B95BA877}"/>
          </ac:spMkLst>
        </pc:spChg>
        <pc:spChg chg="mod">
          <ac:chgData name="Sezgen, Handenur" userId="693f6077-2094-4a4b-9c12-b1a0c4de2bbc" providerId="ADAL" clId="{5B430AB4-3B31-40FC-B7D2-06B73B197EDF}" dt="2025-10-16T09:28:42.066" v="2559" actId="207"/>
          <ac:spMkLst>
            <pc:docMk/>
            <pc:sldMk cId="3727289237" sldId="319"/>
            <ac:spMk id="25" creationId="{F8541515-7B6A-2C13-8D83-7A642F1586FD}"/>
          </ac:spMkLst>
        </pc:spChg>
        <pc:spChg chg="mod">
          <ac:chgData name="Sezgen, Handenur" userId="693f6077-2094-4a4b-9c12-b1a0c4de2bbc" providerId="ADAL" clId="{5B430AB4-3B31-40FC-B7D2-06B73B197EDF}" dt="2025-10-16T09:27:37.991" v="2542" actId="207"/>
          <ac:spMkLst>
            <pc:docMk/>
            <pc:sldMk cId="3727289237" sldId="319"/>
            <ac:spMk id="26" creationId="{58B2B33D-9D5E-BB5E-CC39-4045E54C6A5B}"/>
          </ac:spMkLst>
        </pc:spChg>
        <pc:spChg chg="mod">
          <ac:chgData name="Sezgen, Handenur" userId="693f6077-2094-4a4b-9c12-b1a0c4de2bbc" providerId="ADAL" clId="{5B430AB4-3B31-40FC-B7D2-06B73B197EDF}" dt="2025-10-16T09:27:47.144" v="2543" actId="207"/>
          <ac:spMkLst>
            <pc:docMk/>
            <pc:sldMk cId="3727289237" sldId="319"/>
            <ac:spMk id="27" creationId="{D5B35CAE-C22E-2D10-57EF-BAB31D3E6E07}"/>
          </ac:spMkLst>
        </pc:spChg>
        <pc:spChg chg="mod">
          <ac:chgData name="Sezgen, Handenur" userId="693f6077-2094-4a4b-9c12-b1a0c4de2bbc" providerId="ADAL" clId="{5B430AB4-3B31-40FC-B7D2-06B73B197EDF}" dt="2025-10-16T09:27:51.531" v="2544" actId="207"/>
          <ac:spMkLst>
            <pc:docMk/>
            <pc:sldMk cId="3727289237" sldId="319"/>
            <ac:spMk id="28" creationId="{BA7A50F6-F9CE-AC83-E18D-A2E1A2006E8B}"/>
          </ac:spMkLst>
        </pc:spChg>
        <pc:spChg chg="mod">
          <ac:chgData name="Sezgen, Handenur" userId="693f6077-2094-4a4b-9c12-b1a0c4de2bbc" providerId="ADAL" clId="{5B430AB4-3B31-40FC-B7D2-06B73B197EDF}" dt="2025-10-16T09:29:18.912" v="2569" actId="14100"/>
          <ac:spMkLst>
            <pc:docMk/>
            <pc:sldMk cId="3727289237" sldId="319"/>
            <ac:spMk id="29" creationId="{787C4882-4E22-A009-4A30-4761FD03CD7C}"/>
          </ac:spMkLst>
        </pc:spChg>
        <pc:spChg chg="mod">
          <ac:chgData name="Sezgen, Handenur" userId="693f6077-2094-4a4b-9c12-b1a0c4de2bbc" providerId="ADAL" clId="{5B430AB4-3B31-40FC-B7D2-06B73B197EDF}" dt="2025-10-16T09:27:58.313" v="2546" actId="1076"/>
          <ac:spMkLst>
            <pc:docMk/>
            <pc:sldMk cId="3727289237" sldId="319"/>
            <ac:spMk id="30" creationId="{A0046A74-FA9C-0EFF-0215-2789080CE19D}"/>
          </ac:spMkLst>
        </pc:spChg>
        <pc:spChg chg="add mod ord">
          <ac:chgData name="Sezgen, Handenur" userId="693f6077-2094-4a4b-9c12-b1a0c4de2bbc" providerId="ADAL" clId="{5B430AB4-3B31-40FC-B7D2-06B73B197EDF}" dt="2025-10-16T09:30:12.880" v="2591" actId="14100"/>
          <ac:spMkLst>
            <pc:docMk/>
            <pc:sldMk cId="3727289237" sldId="319"/>
            <ac:spMk id="31" creationId="{AA858D2E-3BB1-BEF6-DA34-57F56A27B7C6}"/>
          </ac:spMkLst>
        </pc:spChg>
        <pc:spChg chg="mod">
          <ac:chgData name="Sezgen, Handenur" userId="693f6077-2094-4a4b-9c12-b1a0c4de2bbc" providerId="ADAL" clId="{5B430AB4-3B31-40FC-B7D2-06B73B197EDF}" dt="2025-10-16T09:29:19.512" v="2571" actId="14100"/>
          <ac:spMkLst>
            <pc:docMk/>
            <pc:sldMk cId="3727289237" sldId="319"/>
            <ac:spMk id="32" creationId="{5CB696A2-83E6-9563-1A41-1E4BD3F3CFE0}"/>
          </ac:spMkLst>
        </pc:spChg>
        <pc:spChg chg="mod">
          <ac:chgData name="Sezgen, Handenur" userId="693f6077-2094-4a4b-9c12-b1a0c4de2bbc" providerId="ADAL" clId="{5B430AB4-3B31-40FC-B7D2-06B73B197EDF}" dt="2025-10-16T09:25:47.850" v="2500" actId="1076"/>
          <ac:spMkLst>
            <pc:docMk/>
            <pc:sldMk cId="3727289237" sldId="319"/>
            <ac:spMk id="33" creationId="{A9F7F537-720A-C1F7-3735-91DD5AAA3AAC}"/>
          </ac:spMkLst>
        </pc:spChg>
        <pc:spChg chg="mod">
          <ac:chgData name="Sezgen, Handenur" userId="693f6077-2094-4a4b-9c12-b1a0c4de2bbc" providerId="ADAL" clId="{5B430AB4-3B31-40FC-B7D2-06B73B197EDF}" dt="2025-10-16T09:29:19.261" v="2570" actId="14100"/>
          <ac:spMkLst>
            <pc:docMk/>
            <pc:sldMk cId="3727289237" sldId="319"/>
            <ac:spMk id="35" creationId="{0C3472DB-735F-D9E7-D6BA-37A03131C687}"/>
          </ac:spMkLst>
        </pc:spChg>
        <pc:spChg chg="mod">
          <ac:chgData name="Sezgen, Handenur" userId="693f6077-2094-4a4b-9c12-b1a0c4de2bbc" providerId="ADAL" clId="{5B430AB4-3B31-40FC-B7D2-06B73B197EDF}" dt="2025-10-16T09:27:31.711" v="2541" actId="242"/>
          <ac:spMkLst>
            <pc:docMk/>
            <pc:sldMk cId="3727289237" sldId="319"/>
            <ac:spMk id="47" creationId="{47E4BD28-7826-258C-8131-1ADBE66AD810}"/>
          </ac:spMkLst>
        </pc:spChg>
        <pc:spChg chg="mod">
          <ac:chgData name="Sezgen, Handenur" userId="693f6077-2094-4a4b-9c12-b1a0c4de2bbc" providerId="ADAL" clId="{5B430AB4-3B31-40FC-B7D2-06B73B197EDF}" dt="2025-10-16T09:27:31.711" v="2541" actId="242"/>
          <ac:spMkLst>
            <pc:docMk/>
            <pc:sldMk cId="3727289237" sldId="319"/>
            <ac:spMk id="51" creationId="{3F38DF1E-AF78-1FB6-98F4-36C556E70D87}"/>
          </ac:spMkLst>
        </pc:spChg>
        <pc:spChg chg="mod">
          <ac:chgData name="Sezgen, Handenur" userId="693f6077-2094-4a4b-9c12-b1a0c4de2bbc" providerId="ADAL" clId="{5B430AB4-3B31-40FC-B7D2-06B73B197EDF}" dt="2025-10-16T09:27:31.711" v="2541" actId="242"/>
          <ac:spMkLst>
            <pc:docMk/>
            <pc:sldMk cId="3727289237" sldId="319"/>
            <ac:spMk id="52" creationId="{5C8E950B-EF16-56DD-6610-351F1247212B}"/>
          </ac:spMkLst>
        </pc:spChg>
        <pc:spChg chg="mod">
          <ac:chgData name="Sezgen, Handenur" userId="693f6077-2094-4a4b-9c12-b1a0c4de2bbc" providerId="ADAL" clId="{5B430AB4-3B31-40FC-B7D2-06B73B197EDF}" dt="2025-10-16T09:27:31.711" v="2541" actId="242"/>
          <ac:spMkLst>
            <pc:docMk/>
            <pc:sldMk cId="3727289237" sldId="319"/>
            <ac:spMk id="53" creationId="{0910AC11-6C2D-568E-E474-58593880BC69}"/>
          </ac:spMkLst>
        </pc:spChg>
        <pc:picChg chg="del mod">
          <ac:chgData name="Sezgen, Handenur" userId="693f6077-2094-4a4b-9c12-b1a0c4de2bbc" providerId="ADAL" clId="{5B430AB4-3B31-40FC-B7D2-06B73B197EDF}" dt="2025-10-16T09:25:24.031" v="2493" actId="478"/>
          <ac:picMkLst>
            <pc:docMk/>
            <pc:sldMk cId="3727289237" sldId="319"/>
            <ac:picMk id="8" creationId="{A66912D0-AEA3-1855-FAE9-EDA62A38F871}"/>
          </ac:picMkLst>
        </pc:picChg>
        <pc:picChg chg="add mod">
          <ac:chgData name="Sezgen, Handenur" userId="693f6077-2094-4a4b-9c12-b1a0c4de2bbc" providerId="ADAL" clId="{5B430AB4-3B31-40FC-B7D2-06B73B197EDF}" dt="2025-10-16T09:25:28.526" v="2494"/>
          <ac:picMkLst>
            <pc:docMk/>
            <pc:sldMk cId="3727289237" sldId="319"/>
            <ac:picMk id="11" creationId="{9CF0B81A-A4FF-436D-7D70-90D6C7663325}"/>
          </ac:picMkLst>
        </pc:picChg>
        <pc:picChg chg="add mod">
          <ac:chgData name="Sezgen, Handenur" userId="693f6077-2094-4a4b-9c12-b1a0c4de2bbc" providerId="ADAL" clId="{5B430AB4-3B31-40FC-B7D2-06B73B197EDF}" dt="2025-10-16T10:14:10.484" v="3688"/>
          <ac:picMkLst>
            <pc:docMk/>
            <pc:sldMk cId="3727289237" sldId="319"/>
            <ac:picMk id="34" creationId="{98D40EA0-9600-9B1F-2823-15C6E2E7C321}"/>
          </ac:picMkLst>
        </pc:picChg>
        <pc:cxnChg chg="mod">
          <ac:chgData name="Sezgen, Handenur" userId="693f6077-2094-4a4b-9c12-b1a0c4de2bbc" providerId="ADAL" clId="{5B430AB4-3B31-40FC-B7D2-06B73B197EDF}" dt="2025-10-16T09:29:02.399" v="2565" actId="14100"/>
          <ac:cxnSpMkLst>
            <pc:docMk/>
            <pc:sldMk cId="3727289237" sldId="319"/>
            <ac:cxnSpMk id="57" creationId="{EEA6CFE2-B2A3-0071-1CA7-6F99651F2192}"/>
          </ac:cxnSpMkLst>
        </pc:cxnChg>
      </pc:sldChg>
      <pc:sldChg chg="addSp modSp add mod modClrScheme chgLayout">
        <pc:chgData name="Sezgen, Handenur" userId="693f6077-2094-4a4b-9c12-b1a0c4de2bbc" providerId="ADAL" clId="{5B430AB4-3B31-40FC-B7D2-06B73B197EDF}" dt="2025-10-16T10:14:11.368" v="3689"/>
        <pc:sldMkLst>
          <pc:docMk/>
          <pc:sldMk cId="0" sldId="320"/>
        </pc:sldMkLst>
        <pc:spChg chg="mod ord">
          <ac:chgData name="Sezgen, Handenur" userId="693f6077-2094-4a4b-9c12-b1a0c4de2bbc" providerId="ADAL" clId="{5B430AB4-3B31-40FC-B7D2-06B73B197EDF}" dt="2025-10-16T09:31:50.822" v="2679" actId="20577"/>
          <ac:spMkLst>
            <pc:docMk/>
            <pc:sldMk cId="0" sldId="320"/>
            <ac:spMk id="2" creationId="{00000000-0000-0000-0000-000000000000}"/>
          </ac:spMkLst>
        </pc:spChg>
        <pc:spChg chg="mod ord">
          <ac:chgData name="Sezgen, Handenur" userId="693f6077-2094-4a4b-9c12-b1a0c4de2bbc" providerId="ADAL" clId="{5B430AB4-3B31-40FC-B7D2-06B73B197EDF}" dt="2025-10-16T09:31:44.440" v="2670" actId="6549"/>
          <ac:spMkLst>
            <pc:docMk/>
            <pc:sldMk cId="0" sldId="320"/>
            <ac:spMk id="3" creationId="{00000000-0000-0000-0000-000000000000}"/>
          </ac:spMkLst>
        </pc:spChg>
        <pc:picChg chg="add mod">
          <ac:chgData name="Sezgen, Handenur" userId="693f6077-2094-4a4b-9c12-b1a0c4de2bbc" providerId="ADAL" clId="{5B430AB4-3B31-40FC-B7D2-06B73B197EDF}" dt="2025-10-16T09:37:46.157" v="2803"/>
          <ac:picMkLst>
            <pc:docMk/>
            <pc:sldMk cId="0" sldId="320"/>
            <ac:picMk id="4" creationId="{55F1A8A7-B7DB-11BB-587E-1D1F6DB55D30}"/>
          </ac:picMkLst>
        </pc:picChg>
        <pc:picChg chg="add mod">
          <ac:chgData name="Sezgen, Handenur" userId="693f6077-2094-4a4b-9c12-b1a0c4de2bbc" providerId="ADAL" clId="{5B430AB4-3B31-40FC-B7D2-06B73B197EDF}" dt="2025-10-16T10:14:11.368" v="3689"/>
          <ac:picMkLst>
            <pc:docMk/>
            <pc:sldMk cId="0" sldId="320"/>
            <ac:picMk id="5" creationId="{062DEB92-EC86-2551-2AFA-E3BF3D765437}"/>
          </ac:picMkLst>
        </pc:picChg>
      </pc:sldChg>
      <pc:sldChg chg="addSp delSp modSp add mod modClrScheme chgLayout">
        <pc:chgData name="Sezgen, Handenur" userId="693f6077-2094-4a4b-9c12-b1a0c4de2bbc" providerId="ADAL" clId="{5B430AB4-3B31-40FC-B7D2-06B73B197EDF}" dt="2025-10-16T10:14:12.304" v="3690"/>
        <pc:sldMkLst>
          <pc:docMk/>
          <pc:sldMk cId="2416573023" sldId="321"/>
        </pc:sldMkLst>
        <pc:spChg chg="mod ord">
          <ac:chgData name="Sezgen, Handenur" userId="693f6077-2094-4a4b-9c12-b1a0c4de2bbc" providerId="ADAL" clId="{5B430AB4-3B31-40FC-B7D2-06B73B197EDF}" dt="2025-10-16T09:36:53.586" v="2770" actId="700"/>
          <ac:spMkLst>
            <pc:docMk/>
            <pc:sldMk cId="2416573023" sldId="321"/>
            <ac:spMk id="2" creationId="{27E5FDDB-8277-F808-E0CB-884701049560}"/>
          </ac:spMkLst>
        </pc:spChg>
        <pc:spChg chg="add del mod">
          <ac:chgData name="Sezgen, Handenur" userId="693f6077-2094-4a4b-9c12-b1a0c4de2bbc" providerId="ADAL" clId="{5B430AB4-3B31-40FC-B7D2-06B73B197EDF}" dt="2025-10-16T09:36:50.582" v="2769" actId="6264"/>
          <ac:spMkLst>
            <pc:docMk/>
            <pc:sldMk cId="2416573023" sldId="321"/>
            <ac:spMk id="3" creationId="{54FB862E-833B-EEB1-FBC7-6178A99863B3}"/>
          </ac:spMkLst>
        </pc:spChg>
        <pc:spChg chg="add del mod">
          <ac:chgData name="Sezgen, Handenur" userId="693f6077-2094-4a4b-9c12-b1a0c4de2bbc" providerId="ADAL" clId="{5B430AB4-3B31-40FC-B7D2-06B73B197EDF}" dt="2025-10-16T09:36:50.582" v="2769" actId="6264"/>
          <ac:spMkLst>
            <pc:docMk/>
            <pc:sldMk cId="2416573023" sldId="321"/>
            <ac:spMk id="4" creationId="{41FE3E9B-C4F8-BB05-5BF4-A23F7F41AF3D}"/>
          </ac:spMkLst>
        </pc:spChg>
        <pc:spChg chg="add del mod">
          <ac:chgData name="Sezgen, Handenur" userId="693f6077-2094-4a4b-9c12-b1a0c4de2bbc" providerId="ADAL" clId="{5B430AB4-3B31-40FC-B7D2-06B73B197EDF}" dt="2025-10-16T09:36:50.582" v="2769" actId="6264"/>
          <ac:spMkLst>
            <pc:docMk/>
            <pc:sldMk cId="2416573023" sldId="321"/>
            <ac:spMk id="6" creationId="{02E6643F-4F4E-26EA-BE50-BFF2B4E4A192}"/>
          </ac:spMkLst>
        </pc:spChg>
        <pc:spChg chg="mod ord">
          <ac:chgData name="Sezgen, Handenur" userId="693f6077-2094-4a4b-9c12-b1a0c4de2bbc" providerId="ADAL" clId="{5B430AB4-3B31-40FC-B7D2-06B73B197EDF}" dt="2025-10-16T09:37:36.332" v="2800" actId="14100"/>
          <ac:spMkLst>
            <pc:docMk/>
            <pc:sldMk cId="2416573023" sldId="321"/>
            <ac:spMk id="12" creationId="{61D3040B-DE86-ABA8-3E23-8FD05953266F}"/>
          </ac:spMkLst>
        </pc:spChg>
        <pc:spChg chg="mod ord">
          <ac:chgData name="Sezgen, Handenur" userId="693f6077-2094-4a4b-9c12-b1a0c4de2bbc" providerId="ADAL" clId="{5B430AB4-3B31-40FC-B7D2-06B73B197EDF}" dt="2025-10-16T09:39:33.745" v="2850" actId="1076"/>
          <ac:spMkLst>
            <pc:docMk/>
            <pc:sldMk cId="2416573023" sldId="321"/>
            <ac:spMk id="13" creationId="{8C972FE6-3EB6-8857-3A7C-46A7820BAA24}"/>
          </ac:spMkLst>
        </pc:spChg>
        <pc:graphicFrameChg chg="mod modGraphic">
          <ac:chgData name="Sezgen, Handenur" userId="693f6077-2094-4a4b-9c12-b1a0c4de2bbc" providerId="ADAL" clId="{5B430AB4-3B31-40FC-B7D2-06B73B197EDF}" dt="2025-10-16T09:39:37.637" v="2851" actId="14100"/>
          <ac:graphicFrameMkLst>
            <pc:docMk/>
            <pc:sldMk cId="2416573023" sldId="321"/>
            <ac:graphicFrameMk id="19" creationId="{5A61B7A0-BA4F-B437-D219-58CC6BCFC9DE}"/>
          </ac:graphicFrameMkLst>
        </pc:graphicFrameChg>
        <pc:graphicFrameChg chg="mod">
          <ac:chgData name="Sezgen, Handenur" userId="693f6077-2094-4a4b-9c12-b1a0c4de2bbc" providerId="ADAL" clId="{5B430AB4-3B31-40FC-B7D2-06B73B197EDF}" dt="2025-10-16T09:39:19.695" v="2846" actId="1036"/>
          <ac:graphicFrameMkLst>
            <pc:docMk/>
            <pc:sldMk cId="2416573023" sldId="321"/>
            <ac:graphicFrameMk id="20" creationId="{5F0F8FE9-6B71-848C-258E-8A9B0BC4B74A}"/>
          </ac:graphicFrameMkLst>
        </pc:graphicFrameChg>
        <pc:picChg chg="del mod">
          <ac:chgData name="Sezgen, Handenur" userId="693f6077-2094-4a4b-9c12-b1a0c4de2bbc" providerId="ADAL" clId="{5B430AB4-3B31-40FC-B7D2-06B73B197EDF}" dt="2025-10-16T09:37:38.944" v="2802" actId="478"/>
          <ac:picMkLst>
            <pc:docMk/>
            <pc:sldMk cId="2416573023" sldId="321"/>
            <ac:picMk id="5" creationId="{D649327E-BF42-4F96-9795-4465A3D59464}"/>
          </ac:picMkLst>
        </pc:picChg>
        <pc:picChg chg="add mod">
          <ac:chgData name="Sezgen, Handenur" userId="693f6077-2094-4a4b-9c12-b1a0c4de2bbc" providerId="ADAL" clId="{5B430AB4-3B31-40FC-B7D2-06B73B197EDF}" dt="2025-10-16T09:37:47.807" v="2804"/>
          <ac:picMkLst>
            <pc:docMk/>
            <pc:sldMk cId="2416573023" sldId="321"/>
            <ac:picMk id="7" creationId="{2F5ABD82-2FF7-BEDB-B8E0-049BF3BCB66D}"/>
          </ac:picMkLst>
        </pc:picChg>
        <pc:picChg chg="add mod">
          <ac:chgData name="Sezgen, Handenur" userId="693f6077-2094-4a4b-9c12-b1a0c4de2bbc" providerId="ADAL" clId="{5B430AB4-3B31-40FC-B7D2-06B73B197EDF}" dt="2025-10-16T10:14:12.304" v="3690"/>
          <ac:picMkLst>
            <pc:docMk/>
            <pc:sldMk cId="2416573023" sldId="321"/>
            <ac:picMk id="8" creationId="{9B4951E7-EAB3-9720-2986-CE9FC53C6C87}"/>
          </ac:picMkLst>
        </pc:picChg>
      </pc:sldChg>
      <pc:sldChg chg="addSp delSp modSp add mod modClrScheme chgLayout">
        <pc:chgData name="Sezgen, Handenur" userId="693f6077-2094-4a4b-9c12-b1a0c4de2bbc" providerId="ADAL" clId="{5B430AB4-3B31-40FC-B7D2-06B73B197EDF}" dt="2025-10-16T10:14:13.146" v="3691"/>
        <pc:sldMkLst>
          <pc:docMk/>
          <pc:sldMk cId="3970560548" sldId="322"/>
        </pc:sldMkLst>
        <pc:spChg chg="mod ord">
          <ac:chgData name="Sezgen, Handenur" userId="693f6077-2094-4a4b-9c12-b1a0c4de2bbc" providerId="ADAL" clId="{5B430AB4-3B31-40FC-B7D2-06B73B197EDF}" dt="2025-10-16T09:39:48.100" v="2853" actId="700"/>
          <ac:spMkLst>
            <pc:docMk/>
            <pc:sldMk cId="3970560548" sldId="322"/>
            <ac:spMk id="2" creationId="{3985E2FF-DAFA-185A-D52F-E694C2F5528A}"/>
          </ac:spMkLst>
        </pc:spChg>
        <pc:spChg chg="mod ord">
          <ac:chgData name="Sezgen, Handenur" userId="693f6077-2094-4a4b-9c12-b1a0c4de2bbc" providerId="ADAL" clId="{5B430AB4-3B31-40FC-B7D2-06B73B197EDF}" dt="2025-10-16T09:40:39.506" v="2883" actId="113"/>
          <ac:spMkLst>
            <pc:docMk/>
            <pc:sldMk cId="3970560548" sldId="322"/>
            <ac:spMk id="3" creationId="{633C5F26-352D-63C0-C4C5-BD26366C9E79}"/>
          </ac:spMkLst>
        </pc:spChg>
        <pc:spChg chg="mod ord">
          <ac:chgData name="Sezgen, Handenur" userId="693f6077-2094-4a4b-9c12-b1a0c4de2bbc" providerId="ADAL" clId="{5B430AB4-3B31-40FC-B7D2-06B73B197EDF}" dt="2025-10-16T09:39:48.100" v="2853" actId="700"/>
          <ac:spMkLst>
            <pc:docMk/>
            <pc:sldMk cId="3970560548" sldId="322"/>
            <ac:spMk id="4" creationId="{88F83DDE-9BAC-289F-D435-927EBED4C861}"/>
          </ac:spMkLst>
        </pc:spChg>
        <pc:spChg chg="add del mod">
          <ac:chgData name="Sezgen, Handenur" userId="693f6077-2094-4a4b-9c12-b1a0c4de2bbc" providerId="ADAL" clId="{5B430AB4-3B31-40FC-B7D2-06B73B197EDF}" dt="2025-10-16T09:39:45.704" v="2852" actId="6264"/>
          <ac:spMkLst>
            <pc:docMk/>
            <pc:sldMk cId="3970560548" sldId="322"/>
            <ac:spMk id="5" creationId="{E5A4C26C-2CA8-58EF-E1A4-A82C85D91D66}"/>
          </ac:spMkLst>
        </pc:spChg>
        <pc:spChg chg="add del mod">
          <ac:chgData name="Sezgen, Handenur" userId="693f6077-2094-4a4b-9c12-b1a0c4de2bbc" providerId="ADAL" clId="{5B430AB4-3B31-40FC-B7D2-06B73B197EDF}" dt="2025-10-16T09:39:45.704" v="2852" actId="6264"/>
          <ac:spMkLst>
            <pc:docMk/>
            <pc:sldMk cId="3970560548" sldId="322"/>
            <ac:spMk id="6" creationId="{4729D022-2307-597A-7EFF-19A77123B15C}"/>
          </ac:spMkLst>
        </pc:spChg>
        <pc:spChg chg="add del mod">
          <ac:chgData name="Sezgen, Handenur" userId="693f6077-2094-4a4b-9c12-b1a0c4de2bbc" providerId="ADAL" clId="{5B430AB4-3B31-40FC-B7D2-06B73B197EDF}" dt="2025-10-16T09:39:45.704" v="2852" actId="6264"/>
          <ac:spMkLst>
            <pc:docMk/>
            <pc:sldMk cId="3970560548" sldId="322"/>
            <ac:spMk id="7" creationId="{A8CD529F-92AF-0C6C-0CE2-BAD26D6FD644}"/>
          </ac:spMkLst>
        </pc:spChg>
        <pc:graphicFrameChg chg="mod">
          <ac:chgData name="Sezgen, Handenur" userId="693f6077-2094-4a4b-9c12-b1a0c4de2bbc" providerId="ADAL" clId="{5B430AB4-3B31-40FC-B7D2-06B73B197EDF}" dt="2025-10-16T09:40:23.764" v="2877" actId="1035"/>
          <ac:graphicFrameMkLst>
            <pc:docMk/>
            <pc:sldMk cId="3970560548" sldId="322"/>
            <ac:graphicFrameMk id="11" creationId="{D9C9ED46-D6D9-1720-ADCC-959D13539D48}"/>
          </ac:graphicFrameMkLst>
        </pc:graphicFrameChg>
        <pc:graphicFrameChg chg="mod modGraphic">
          <ac:chgData name="Sezgen, Handenur" userId="693f6077-2094-4a4b-9c12-b1a0c4de2bbc" providerId="ADAL" clId="{5B430AB4-3B31-40FC-B7D2-06B73B197EDF}" dt="2025-10-16T09:40:02.556" v="2859" actId="14100"/>
          <ac:graphicFrameMkLst>
            <pc:docMk/>
            <pc:sldMk cId="3970560548" sldId="322"/>
            <ac:graphicFrameMk id="14" creationId="{D298D5B2-B81A-18C9-56BA-3809B999ED1B}"/>
          </ac:graphicFrameMkLst>
        </pc:graphicFrameChg>
        <pc:picChg chg="del">
          <ac:chgData name="Sezgen, Handenur" userId="693f6077-2094-4a4b-9c12-b1a0c4de2bbc" providerId="ADAL" clId="{5B430AB4-3B31-40FC-B7D2-06B73B197EDF}" dt="2025-10-16T09:39:54.735" v="2856" actId="478"/>
          <ac:picMkLst>
            <pc:docMk/>
            <pc:sldMk cId="3970560548" sldId="322"/>
            <ac:picMk id="8" creationId="{38105DC6-92AE-0E97-607A-AD9CF57BFAC7}"/>
          </ac:picMkLst>
        </pc:picChg>
        <pc:picChg chg="add mod">
          <ac:chgData name="Sezgen, Handenur" userId="693f6077-2094-4a4b-9c12-b1a0c4de2bbc" providerId="ADAL" clId="{5B430AB4-3B31-40FC-B7D2-06B73B197EDF}" dt="2025-10-16T09:39:53.205" v="2855"/>
          <ac:picMkLst>
            <pc:docMk/>
            <pc:sldMk cId="3970560548" sldId="322"/>
            <ac:picMk id="9" creationId="{2558B98B-7AC1-B63F-BBA2-2FC47C03D54A}"/>
          </ac:picMkLst>
        </pc:picChg>
        <pc:picChg chg="add mod">
          <ac:chgData name="Sezgen, Handenur" userId="693f6077-2094-4a4b-9c12-b1a0c4de2bbc" providerId="ADAL" clId="{5B430AB4-3B31-40FC-B7D2-06B73B197EDF}" dt="2025-10-16T10:14:13.146" v="3691"/>
          <ac:picMkLst>
            <pc:docMk/>
            <pc:sldMk cId="3970560548" sldId="322"/>
            <ac:picMk id="10" creationId="{C879BFEF-F593-6C45-F63F-5FDD8B4D2176}"/>
          </ac:picMkLst>
        </pc:picChg>
      </pc:sldChg>
      <pc:sldChg chg="addSp delSp modSp add mod modClrScheme chgLayout">
        <pc:chgData name="Sezgen, Handenur" userId="693f6077-2094-4a4b-9c12-b1a0c4de2bbc" providerId="ADAL" clId="{5B430AB4-3B31-40FC-B7D2-06B73B197EDF}" dt="2025-10-16T10:13:22.789" v="3674"/>
        <pc:sldMkLst>
          <pc:docMk/>
          <pc:sldMk cId="928601155" sldId="323"/>
        </pc:sldMkLst>
        <pc:spChg chg="mod ord">
          <ac:chgData name="Sezgen, Handenur" userId="693f6077-2094-4a4b-9c12-b1a0c4de2bbc" providerId="ADAL" clId="{5B430AB4-3B31-40FC-B7D2-06B73B197EDF}" dt="2025-10-16T08:52:58.574" v="1564" actId="700"/>
          <ac:spMkLst>
            <pc:docMk/>
            <pc:sldMk cId="928601155" sldId="323"/>
            <ac:spMk id="2" creationId="{04D7016B-3115-2E92-4B28-71E1F9AD4D34}"/>
          </ac:spMkLst>
        </pc:spChg>
        <pc:spChg chg="mod">
          <ac:chgData name="Sezgen, Handenur" userId="693f6077-2094-4a4b-9c12-b1a0c4de2bbc" providerId="ADAL" clId="{5B430AB4-3B31-40FC-B7D2-06B73B197EDF}" dt="2025-10-16T08:53:32.395" v="1629" actId="113"/>
          <ac:spMkLst>
            <pc:docMk/>
            <pc:sldMk cId="928601155" sldId="323"/>
            <ac:spMk id="3" creationId="{5C5BCC41-A5D1-D6A3-21AA-E8F625B25211}"/>
          </ac:spMkLst>
        </pc:spChg>
        <pc:spChg chg="mod topLvl">
          <ac:chgData name="Sezgen, Handenur" userId="693f6077-2094-4a4b-9c12-b1a0c4de2bbc" providerId="ADAL" clId="{5B430AB4-3B31-40FC-B7D2-06B73B197EDF}" dt="2025-10-16T08:53:45.818" v="1640" actId="165"/>
          <ac:spMkLst>
            <pc:docMk/>
            <pc:sldMk cId="928601155" sldId="323"/>
            <ac:spMk id="11" creationId="{09335A65-8B55-D46C-A8E9-EB1DD1BD409F}"/>
          </ac:spMkLst>
        </pc:spChg>
        <pc:spChg chg="mod">
          <ac:chgData name="Sezgen, Handenur" userId="693f6077-2094-4a4b-9c12-b1a0c4de2bbc" providerId="ADAL" clId="{5B430AB4-3B31-40FC-B7D2-06B73B197EDF}" dt="2025-10-16T08:53:16.644" v="1568" actId="164"/>
          <ac:spMkLst>
            <pc:docMk/>
            <pc:sldMk cId="928601155" sldId="323"/>
            <ac:spMk id="15" creationId="{00772FAE-C4BA-EFAE-7506-AC1F62808D1D}"/>
          </ac:spMkLst>
        </pc:spChg>
        <pc:spChg chg="mod topLvl">
          <ac:chgData name="Sezgen, Handenur" userId="693f6077-2094-4a4b-9c12-b1a0c4de2bbc" providerId="ADAL" clId="{5B430AB4-3B31-40FC-B7D2-06B73B197EDF}" dt="2025-10-16T08:53:45.818" v="1640" actId="165"/>
          <ac:spMkLst>
            <pc:docMk/>
            <pc:sldMk cId="928601155" sldId="323"/>
            <ac:spMk id="16" creationId="{6925AC15-403D-E4E9-28B3-3900854E70F4}"/>
          </ac:spMkLst>
        </pc:spChg>
        <pc:spChg chg="mod topLvl">
          <ac:chgData name="Sezgen, Handenur" userId="693f6077-2094-4a4b-9c12-b1a0c4de2bbc" providerId="ADAL" clId="{5B430AB4-3B31-40FC-B7D2-06B73B197EDF}" dt="2025-10-16T08:53:45.818" v="1640" actId="165"/>
          <ac:spMkLst>
            <pc:docMk/>
            <pc:sldMk cId="928601155" sldId="323"/>
            <ac:spMk id="19" creationId="{9A6E48C7-E935-302B-5D6F-538686669F85}"/>
          </ac:spMkLst>
        </pc:spChg>
        <pc:spChg chg="mod topLvl">
          <ac:chgData name="Sezgen, Handenur" userId="693f6077-2094-4a4b-9c12-b1a0c4de2bbc" providerId="ADAL" clId="{5B430AB4-3B31-40FC-B7D2-06B73B197EDF}" dt="2025-10-16T08:53:45.818" v="1640" actId="165"/>
          <ac:spMkLst>
            <pc:docMk/>
            <pc:sldMk cId="928601155" sldId="323"/>
            <ac:spMk id="27" creationId="{C83798C0-DD09-E78D-4184-87B42E4A176A}"/>
          </ac:spMkLst>
        </pc:spChg>
        <pc:spChg chg="mod topLvl">
          <ac:chgData name="Sezgen, Handenur" userId="693f6077-2094-4a4b-9c12-b1a0c4de2bbc" providerId="ADAL" clId="{5B430AB4-3B31-40FC-B7D2-06B73B197EDF}" dt="2025-10-16T08:53:45.818" v="1640" actId="165"/>
          <ac:spMkLst>
            <pc:docMk/>
            <pc:sldMk cId="928601155" sldId="323"/>
            <ac:spMk id="29" creationId="{97F43499-C33D-E445-E222-2A91010F2811}"/>
          </ac:spMkLst>
        </pc:spChg>
        <pc:spChg chg="mod">
          <ac:chgData name="Sezgen, Handenur" userId="693f6077-2094-4a4b-9c12-b1a0c4de2bbc" providerId="ADAL" clId="{5B430AB4-3B31-40FC-B7D2-06B73B197EDF}" dt="2025-10-16T08:53:16.644" v="1568" actId="164"/>
          <ac:spMkLst>
            <pc:docMk/>
            <pc:sldMk cId="928601155" sldId="323"/>
            <ac:spMk id="30" creationId="{90F2F8E7-5530-D8FE-139E-1491B2995074}"/>
          </ac:spMkLst>
        </pc:spChg>
        <pc:spChg chg="mod topLvl">
          <ac:chgData name="Sezgen, Handenur" userId="693f6077-2094-4a4b-9c12-b1a0c4de2bbc" providerId="ADAL" clId="{5B430AB4-3B31-40FC-B7D2-06B73B197EDF}" dt="2025-10-16T08:53:45.818" v="1640" actId="165"/>
          <ac:spMkLst>
            <pc:docMk/>
            <pc:sldMk cId="928601155" sldId="323"/>
            <ac:spMk id="33" creationId="{07981B9A-2C29-03D9-0A4D-53D2E2FA0953}"/>
          </ac:spMkLst>
        </pc:spChg>
        <pc:spChg chg="mod topLvl">
          <ac:chgData name="Sezgen, Handenur" userId="693f6077-2094-4a4b-9c12-b1a0c4de2bbc" providerId="ADAL" clId="{5B430AB4-3B31-40FC-B7D2-06B73B197EDF}" dt="2025-10-16T08:53:45.818" v="1640" actId="165"/>
          <ac:spMkLst>
            <pc:docMk/>
            <pc:sldMk cId="928601155" sldId="323"/>
            <ac:spMk id="37" creationId="{2CC89702-36C4-4E8F-2B85-9E9741A8FDE8}"/>
          </ac:spMkLst>
        </pc:spChg>
        <pc:spChg chg="mod">
          <ac:chgData name="Sezgen, Handenur" userId="693f6077-2094-4a4b-9c12-b1a0c4de2bbc" providerId="ADAL" clId="{5B430AB4-3B31-40FC-B7D2-06B73B197EDF}" dt="2025-10-16T08:54:50.416" v="1668" actId="207"/>
          <ac:spMkLst>
            <pc:docMk/>
            <pc:sldMk cId="928601155" sldId="323"/>
            <ac:spMk id="39" creationId="{9A197D20-B873-F3EA-D58F-84DD7700762F}"/>
          </ac:spMkLst>
        </pc:spChg>
        <pc:spChg chg="mod topLvl">
          <ac:chgData name="Sezgen, Handenur" userId="693f6077-2094-4a4b-9c12-b1a0c4de2bbc" providerId="ADAL" clId="{5B430AB4-3B31-40FC-B7D2-06B73B197EDF}" dt="2025-10-16T08:53:45.818" v="1640" actId="165"/>
          <ac:spMkLst>
            <pc:docMk/>
            <pc:sldMk cId="928601155" sldId="323"/>
            <ac:spMk id="41" creationId="{65C10BDF-AFEF-403E-4603-66C28ECDF7D8}"/>
          </ac:spMkLst>
        </pc:spChg>
        <pc:spChg chg="mod">
          <ac:chgData name="Sezgen, Handenur" userId="693f6077-2094-4a4b-9c12-b1a0c4de2bbc" providerId="ADAL" clId="{5B430AB4-3B31-40FC-B7D2-06B73B197EDF}" dt="2025-10-16T08:53:27.821" v="1622" actId="1076"/>
          <ac:spMkLst>
            <pc:docMk/>
            <pc:sldMk cId="928601155" sldId="323"/>
            <ac:spMk id="42" creationId="{AF7B56E6-390D-73B8-1E1F-8CE3BD26254A}"/>
          </ac:spMkLst>
        </pc:spChg>
        <pc:spChg chg="mod topLvl">
          <ac:chgData name="Sezgen, Handenur" userId="693f6077-2094-4a4b-9c12-b1a0c4de2bbc" providerId="ADAL" clId="{5B430AB4-3B31-40FC-B7D2-06B73B197EDF}" dt="2025-10-16T08:54:34.158" v="1665" actId="113"/>
          <ac:spMkLst>
            <pc:docMk/>
            <pc:sldMk cId="928601155" sldId="323"/>
            <ac:spMk id="44" creationId="{33BC9C2C-C33F-A9DA-EEC7-0EB9A7B124FD}"/>
          </ac:spMkLst>
        </pc:spChg>
        <pc:spChg chg="mod">
          <ac:chgData name="Sezgen, Handenur" userId="693f6077-2094-4a4b-9c12-b1a0c4de2bbc" providerId="ADAL" clId="{5B430AB4-3B31-40FC-B7D2-06B73B197EDF}" dt="2025-10-16T08:53:52.094" v="1656" actId="571"/>
          <ac:spMkLst>
            <pc:docMk/>
            <pc:sldMk cId="928601155" sldId="323"/>
            <ac:spMk id="45" creationId="{E8232794-1013-BE36-F51D-ED824618C296}"/>
          </ac:spMkLst>
        </pc:spChg>
        <pc:spChg chg="mod topLvl">
          <ac:chgData name="Sezgen, Handenur" userId="693f6077-2094-4a4b-9c12-b1a0c4de2bbc" providerId="ADAL" clId="{5B430AB4-3B31-40FC-B7D2-06B73B197EDF}" dt="2025-10-16T08:54:28.202" v="1663" actId="12789"/>
          <ac:spMkLst>
            <pc:docMk/>
            <pc:sldMk cId="928601155" sldId="323"/>
            <ac:spMk id="46" creationId="{B69042B9-0607-0050-544E-46ABA0CEE520}"/>
          </ac:spMkLst>
        </pc:spChg>
        <pc:spChg chg="mod">
          <ac:chgData name="Sezgen, Handenur" userId="693f6077-2094-4a4b-9c12-b1a0c4de2bbc" providerId="ADAL" clId="{5B430AB4-3B31-40FC-B7D2-06B73B197EDF}" dt="2025-10-16T08:53:52.094" v="1656" actId="571"/>
          <ac:spMkLst>
            <pc:docMk/>
            <pc:sldMk cId="928601155" sldId="323"/>
            <ac:spMk id="47" creationId="{D0531DED-839E-7EAA-83FE-2EAF53D5F134}"/>
          </ac:spMkLst>
        </pc:spChg>
        <pc:spChg chg="mod">
          <ac:chgData name="Sezgen, Handenur" userId="693f6077-2094-4a4b-9c12-b1a0c4de2bbc" providerId="ADAL" clId="{5B430AB4-3B31-40FC-B7D2-06B73B197EDF}" dt="2025-10-16T08:53:52.094" v="1656" actId="571"/>
          <ac:spMkLst>
            <pc:docMk/>
            <pc:sldMk cId="928601155" sldId="323"/>
            <ac:spMk id="51" creationId="{D2881288-D470-E84B-5165-A023899224A5}"/>
          </ac:spMkLst>
        </pc:spChg>
        <pc:spChg chg="mod">
          <ac:chgData name="Sezgen, Handenur" userId="693f6077-2094-4a4b-9c12-b1a0c4de2bbc" providerId="ADAL" clId="{5B430AB4-3B31-40FC-B7D2-06B73B197EDF}" dt="2025-10-16T08:53:52.094" v="1656" actId="571"/>
          <ac:spMkLst>
            <pc:docMk/>
            <pc:sldMk cId="928601155" sldId="323"/>
            <ac:spMk id="52" creationId="{0C9A6169-3206-99CF-3E32-FF92D0BDC668}"/>
          </ac:spMkLst>
        </pc:spChg>
        <pc:spChg chg="mod">
          <ac:chgData name="Sezgen, Handenur" userId="693f6077-2094-4a4b-9c12-b1a0c4de2bbc" providerId="ADAL" clId="{5B430AB4-3B31-40FC-B7D2-06B73B197EDF}" dt="2025-10-16T08:53:52.094" v="1656" actId="571"/>
          <ac:spMkLst>
            <pc:docMk/>
            <pc:sldMk cId="928601155" sldId="323"/>
            <ac:spMk id="53" creationId="{B66C5DE8-9768-B70C-7422-A49D403CBA8B}"/>
          </ac:spMkLst>
        </pc:spChg>
        <pc:spChg chg="mod topLvl">
          <ac:chgData name="Sezgen, Handenur" userId="693f6077-2094-4a4b-9c12-b1a0c4de2bbc" providerId="ADAL" clId="{5B430AB4-3B31-40FC-B7D2-06B73B197EDF}" dt="2025-10-16T08:54:31.620" v="1664" actId="113"/>
          <ac:spMkLst>
            <pc:docMk/>
            <pc:sldMk cId="928601155" sldId="323"/>
            <ac:spMk id="66" creationId="{09AF3830-07C8-A4FB-E73E-C17448ADAD4C}"/>
          </ac:spMkLst>
        </pc:spChg>
        <pc:spChg chg="mod">
          <ac:chgData name="Sezgen, Handenur" userId="693f6077-2094-4a4b-9c12-b1a0c4de2bbc" providerId="ADAL" clId="{5B430AB4-3B31-40FC-B7D2-06B73B197EDF}" dt="2025-10-16T08:54:00.396" v="1658" actId="165"/>
          <ac:spMkLst>
            <pc:docMk/>
            <pc:sldMk cId="928601155" sldId="323"/>
            <ac:spMk id="68" creationId="{42747EDA-B2B2-0978-C438-CD6E020CE0A9}"/>
          </ac:spMkLst>
        </pc:spChg>
        <pc:spChg chg="mod">
          <ac:chgData name="Sezgen, Handenur" userId="693f6077-2094-4a4b-9c12-b1a0c4de2bbc" providerId="ADAL" clId="{5B430AB4-3B31-40FC-B7D2-06B73B197EDF}" dt="2025-10-16T08:54:00.396" v="1658" actId="165"/>
          <ac:spMkLst>
            <pc:docMk/>
            <pc:sldMk cId="928601155" sldId="323"/>
            <ac:spMk id="69" creationId="{28DEEE2A-5A3B-262A-73EA-C5576C00B231}"/>
          </ac:spMkLst>
        </pc:spChg>
        <pc:grpChg chg="mod">
          <ac:chgData name="Sezgen, Handenur" userId="693f6077-2094-4a4b-9c12-b1a0c4de2bbc" providerId="ADAL" clId="{5B430AB4-3B31-40FC-B7D2-06B73B197EDF}" dt="2025-10-16T08:53:42.544" v="1639" actId="14100"/>
          <ac:grpSpMkLst>
            <pc:docMk/>
            <pc:sldMk cId="928601155" sldId="323"/>
            <ac:grpSpMk id="4" creationId="{C6A07AB2-FE8D-12CB-FC32-FA5D7649DD95}"/>
          </ac:grpSpMkLst>
        </pc:grpChg>
        <pc:grpChg chg="add mod">
          <ac:chgData name="Sezgen, Handenur" userId="693f6077-2094-4a4b-9c12-b1a0c4de2bbc" providerId="ADAL" clId="{5B430AB4-3B31-40FC-B7D2-06B73B197EDF}" dt="2025-10-16T08:53:52.094" v="1656" actId="571"/>
          <ac:grpSpMkLst>
            <pc:docMk/>
            <pc:sldMk cId="928601155" sldId="323"/>
            <ac:grpSpMk id="35" creationId="{EBA2572B-4ABB-E2FA-4F1A-880BF91675EB}"/>
          </ac:grpSpMkLst>
        </pc:grpChg>
        <pc:grpChg chg="del mod">
          <ac:chgData name="Sezgen, Handenur" userId="693f6077-2094-4a4b-9c12-b1a0c4de2bbc" providerId="ADAL" clId="{5B430AB4-3B31-40FC-B7D2-06B73B197EDF}" dt="2025-10-16T08:54:00.396" v="1658" actId="165"/>
          <ac:grpSpMkLst>
            <pc:docMk/>
            <pc:sldMk cId="928601155" sldId="323"/>
            <ac:grpSpMk id="43" creationId="{A1E8729C-7DBE-4AB3-F6EC-AE55226B566D}"/>
          </ac:grpSpMkLst>
        </pc:grpChg>
        <pc:grpChg chg="del mod">
          <ac:chgData name="Sezgen, Handenur" userId="693f6077-2094-4a4b-9c12-b1a0c4de2bbc" providerId="ADAL" clId="{5B430AB4-3B31-40FC-B7D2-06B73B197EDF}" dt="2025-10-16T08:54:00.396" v="1658" actId="165"/>
          <ac:grpSpMkLst>
            <pc:docMk/>
            <pc:sldMk cId="928601155" sldId="323"/>
            <ac:grpSpMk id="48" creationId="{2C2CE471-1D95-D400-9441-8B8878A620FA}"/>
          </ac:grpSpMkLst>
        </pc:grpChg>
        <pc:grpChg chg="add mod">
          <ac:chgData name="Sezgen, Handenur" userId="693f6077-2094-4a4b-9c12-b1a0c4de2bbc" providerId="ADAL" clId="{5B430AB4-3B31-40FC-B7D2-06B73B197EDF}" dt="2025-10-16T08:53:52.094" v="1656" actId="571"/>
          <ac:grpSpMkLst>
            <pc:docMk/>
            <pc:sldMk cId="928601155" sldId="323"/>
            <ac:grpSpMk id="49" creationId="{B4B96F94-95D8-759A-FEF9-02D4CE6E51D1}"/>
          </ac:grpSpMkLst>
        </pc:grpChg>
        <pc:grpChg chg="mod">
          <ac:chgData name="Sezgen, Handenur" userId="693f6077-2094-4a4b-9c12-b1a0c4de2bbc" providerId="ADAL" clId="{5B430AB4-3B31-40FC-B7D2-06B73B197EDF}" dt="2025-10-16T08:53:52.094" v="1656" actId="571"/>
          <ac:grpSpMkLst>
            <pc:docMk/>
            <pc:sldMk cId="928601155" sldId="323"/>
            <ac:grpSpMk id="50" creationId="{20A663A0-5333-A8DC-1F9C-A57D9EDDC210}"/>
          </ac:grpSpMkLst>
        </pc:grpChg>
        <pc:grpChg chg="mod topLvl">
          <ac:chgData name="Sezgen, Handenur" userId="693f6077-2094-4a4b-9c12-b1a0c4de2bbc" providerId="ADAL" clId="{5B430AB4-3B31-40FC-B7D2-06B73B197EDF}" dt="2025-10-16T08:54:28.202" v="1663" actId="12789"/>
          <ac:grpSpMkLst>
            <pc:docMk/>
            <pc:sldMk cId="928601155" sldId="323"/>
            <ac:grpSpMk id="67" creationId="{92E87E3D-A7FC-AA94-DDDC-D82CD7DD4BE7}"/>
          </ac:grpSpMkLst>
        </pc:grpChg>
        <pc:picChg chg="add mod">
          <ac:chgData name="Sezgen, Handenur" userId="693f6077-2094-4a4b-9c12-b1a0c4de2bbc" providerId="ADAL" clId="{5B430AB4-3B31-40FC-B7D2-06B73B197EDF}" dt="2025-10-16T10:13:22.789" v="3674"/>
          <ac:picMkLst>
            <pc:docMk/>
            <pc:sldMk cId="928601155" sldId="323"/>
            <ac:picMk id="54" creationId="{E004A0F4-377C-39EA-FAEF-2ECF1785CF3D}"/>
          </ac:picMkLst>
        </pc:picChg>
      </pc:sldChg>
      <pc:sldChg chg="addSp delSp modSp add mod modAnim">
        <pc:chgData name="Sezgen, Handenur" userId="693f6077-2094-4a4b-9c12-b1a0c4de2bbc" providerId="ADAL" clId="{5B430AB4-3B31-40FC-B7D2-06B73B197EDF}" dt="2025-10-16T10:14:21.089" v="3693" actId="1076"/>
        <pc:sldMkLst>
          <pc:docMk/>
          <pc:sldMk cId="580663534" sldId="324"/>
        </pc:sldMkLst>
        <pc:spChg chg="mod">
          <ac:chgData name="Sezgen, Handenur" userId="693f6077-2094-4a4b-9c12-b1a0c4de2bbc" providerId="ADAL" clId="{5B430AB4-3B31-40FC-B7D2-06B73B197EDF}" dt="2025-10-16T09:44:09.278" v="3049"/>
          <ac:spMkLst>
            <pc:docMk/>
            <pc:sldMk cId="580663534" sldId="324"/>
            <ac:spMk id="2" creationId="{2660BB19-5D80-881B-D47E-57AAC4F000D0}"/>
          </ac:spMkLst>
        </pc:spChg>
        <pc:spChg chg="add mod topLvl">
          <ac:chgData name="Sezgen, Handenur" userId="693f6077-2094-4a4b-9c12-b1a0c4de2bbc" providerId="ADAL" clId="{5B430AB4-3B31-40FC-B7D2-06B73B197EDF}" dt="2025-10-16T09:46:33.596" v="3124" actId="1035"/>
          <ac:spMkLst>
            <pc:docMk/>
            <pc:sldMk cId="580663534" sldId="324"/>
            <ac:spMk id="4" creationId="{D484A838-7634-6BCA-3EC2-45DC17963B9A}"/>
          </ac:spMkLst>
        </pc:spChg>
        <pc:spChg chg="add mod topLvl">
          <ac:chgData name="Sezgen, Handenur" userId="693f6077-2094-4a4b-9c12-b1a0c4de2bbc" providerId="ADAL" clId="{5B430AB4-3B31-40FC-B7D2-06B73B197EDF}" dt="2025-10-16T09:46:33.596" v="3124" actId="1035"/>
          <ac:spMkLst>
            <pc:docMk/>
            <pc:sldMk cId="580663534" sldId="324"/>
            <ac:spMk id="6" creationId="{612A5BFA-8F68-BEFC-5A0D-50F9BECD0387}"/>
          </ac:spMkLst>
        </pc:spChg>
        <pc:spChg chg="del">
          <ac:chgData name="Sezgen, Handenur" userId="693f6077-2094-4a4b-9c12-b1a0c4de2bbc" providerId="ADAL" clId="{5B430AB4-3B31-40FC-B7D2-06B73B197EDF}" dt="2025-10-16T09:44:24.381" v="3050" actId="478"/>
          <ac:spMkLst>
            <pc:docMk/>
            <pc:sldMk cId="580663534" sldId="324"/>
            <ac:spMk id="7" creationId="{10E65AFA-E974-8B66-55EE-A748E67A43A2}"/>
          </ac:spMkLst>
        </pc:spChg>
        <pc:spChg chg="del mod topLvl">
          <ac:chgData name="Sezgen, Handenur" userId="693f6077-2094-4a4b-9c12-b1a0c4de2bbc" providerId="ADAL" clId="{5B430AB4-3B31-40FC-B7D2-06B73B197EDF}" dt="2025-10-16T09:45:14.465" v="3071" actId="478"/>
          <ac:spMkLst>
            <pc:docMk/>
            <pc:sldMk cId="580663534" sldId="324"/>
            <ac:spMk id="9" creationId="{5C154C85-45E2-EAE0-B60D-063095A29088}"/>
          </ac:spMkLst>
        </pc:spChg>
        <pc:spChg chg="add mod topLvl">
          <ac:chgData name="Sezgen, Handenur" userId="693f6077-2094-4a4b-9c12-b1a0c4de2bbc" providerId="ADAL" clId="{5B430AB4-3B31-40FC-B7D2-06B73B197EDF}" dt="2025-10-16T09:46:33.596" v="3124" actId="1035"/>
          <ac:spMkLst>
            <pc:docMk/>
            <pc:sldMk cId="580663534" sldId="324"/>
            <ac:spMk id="12" creationId="{FE9ECF43-75FB-A947-1007-32D7DDD4FE86}"/>
          </ac:spMkLst>
        </pc:spChg>
        <pc:spChg chg="add mod topLvl">
          <ac:chgData name="Sezgen, Handenur" userId="693f6077-2094-4a4b-9c12-b1a0c4de2bbc" providerId="ADAL" clId="{5B430AB4-3B31-40FC-B7D2-06B73B197EDF}" dt="2025-10-16T09:46:33.596" v="3124" actId="1035"/>
          <ac:spMkLst>
            <pc:docMk/>
            <pc:sldMk cId="580663534" sldId="324"/>
            <ac:spMk id="13" creationId="{BCF31BC5-F24B-D15E-1C18-84A9C8248FE0}"/>
          </ac:spMkLst>
        </pc:spChg>
        <pc:spChg chg="add mod topLvl">
          <ac:chgData name="Sezgen, Handenur" userId="693f6077-2094-4a4b-9c12-b1a0c4de2bbc" providerId="ADAL" clId="{5B430AB4-3B31-40FC-B7D2-06B73B197EDF}" dt="2025-10-16T09:46:33.596" v="3124" actId="1035"/>
          <ac:spMkLst>
            <pc:docMk/>
            <pc:sldMk cId="580663534" sldId="324"/>
            <ac:spMk id="14" creationId="{AA00382A-618C-DBA4-CE19-4795E4107796}"/>
          </ac:spMkLst>
        </pc:spChg>
        <pc:spChg chg="mod topLvl">
          <ac:chgData name="Sezgen, Handenur" userId="693f6077-2094-4a4b-9c12-b1a0c4de2bbc" providerId="ADAL" clId="{5B430AB4-3B31-40FC-B7D2-06B73B197EDF}" dt="2025-10-16T09:46:33.596" v="3124" actId="1035"/>
          <ac:spMkLst>
            <pc:docMk/>
            <pc:sldMk cId="580663534" sldId="324"/>
            <ac:spMk id="16" creationId="{3528766E-2CD4-DAA5-5D71-BE64C67336E5}"/>
          </ac:spMkLst>
        </pc:spChg>
        <pc:spChg chg="mod">
          <ac:chgData name="Sezgen, Handenur" userId="693f6077-2094-4a4b-9c12-b1a0c4de2bbc" providerId="ADAL" clId="{5B430AB4-3B31-40FC-B7D2-06B73B197EDF}" dt="2025-10-16T10:14:21.089" v="3693" actId="1076"/>
          <ac:spMkLst>
            <pc:docMk/>
            <pc:sldMk cId="580663534" sldId="324"/>
            <ac:spMk id="17" creationId="{0A8FCF1F-C4C1-D1EF-E619-F6F05BE4D35F}"/>
          </ac:spMkLst>
        </pc:spChg>
        <pc:spChg chg="add del mod">
          <ac:chgData name="Sezgen, Handenur" userId="693f6077-2094-4a4b-9c12-b1a0c4de2bbc" providerId="ADAL" clId="{5B430AB4-3B31-40FC-B7D2-06B73B197EDF}" dt="2025-10-16T09:44:45.783" v="3060" actId="21"/>
          <ac:spMkLst>
            <pc:docMk/>
            <pc:sldMk cId="580663534" sldId="324"/>
            <ac:spMk id="20" creationId="{743B94ED-6919-7686-7B81-7D8D35228D4F}"/>
          </ac:spMkLst>
        </pc:spChg>
        <pc:spChg chg="add mod topLvl">
          <ac:chgData name="Sezgen, Handenur" userId="693f6077-2094-4a4b-9c12-b1a0c4de2bbc" providerId="ADAL" clId="{5B430AB4-3B31-40FC-B7D2-06B73B197EDF}" dt="2025-10-16T09:46:33.596" v="3124" actId="1035"/>
          <ac:spMkLst>
            <pc:docMk/>
            <pc:sldMk cId="580663534" sldId="324"/>
            <ac:spMk id="21" creationId="{FAF091B5-8877-42E9-6185-F8A6C2756632}"/>
          </ac:spMkLst>
        </pc:spChg>
        <pc:spChg chg="add mod topLvl">
          <ac:chgData name="Sezgen, Handenur" userId="693f6077-2094-4a4b-9c12-b1a0c4de2bbc" providerId="ADAL" clId="{5B430AB4-3B31-40FC-B7D2-06B73B197EDF}" dt="2025-10-16T09:46:33.596" v="3124" actId="1035"/>
          <ac:spMkLst>
            <pc:docMk/>
            <pc:sldMk cId="580663534" sldId="324"/>
            <ac:spMk id="22" creationId="{19518DBC-6D02-4B6E-5B25-8E8B352CBB0C}"/>
          </ac:spMkLst>
        </pc:spChg>
        <pc:spChg chg="add mod topLvl">
          <ac:chgData name="Sezgen, Handenur" userId="693f6077-2094-4a4b-9c12-b1a0c4de2bbc" providerId="ADAL" clId="{5B430AB4-3B31-40FC-B7D2-06B73B197EDF}" dt="2025-10-16T09:46:33.596" v="3124" actId="1035"/>
          <ac:spMkLst>
            <pc:docMk/>
            <pc:sldMk cId="580663534" sldId="324"/>
            <ac:spMk id="23" creationId="{BE1C8ADE-8661-0845-F88E-AA9860263FA6}"/>
          </ac:spMkLst>
        </pc:spChg>
        <pc:spChg chg="add mod topLvl">
          <ac:chgData name="Sezgen, Handenur" userId="693f6077-2094-4a4b-9c12-b1a0c4de2bbc" providerId="ADAL" clId="{5B430AB4-3B31-40FC-B7D2-06B73B197EDF}" dt="2025-10-16T09:46:33.596" v="3124" actId="1035"/>
          <ac:spMkLst>
            <pc:docMk/>
            <pc:sldMk cId="580663534" sldId="324"/>
            <ac:spMk id="24" creationId="{3E10F8AA-52F8-54C7-55C8-159CFA47924C}"/>
          </ac:spMkLst>
        </pc:spChg>
        <pc:spChg chg="add mod">
          <ac:chgData name="Sezgen, Handenur" userId="693f6077-2094-4a4b-9c12-b1a0c4de2bbc" providerId="ADAL" clId="{5B430AB4-3B31-40FC-B7D2-06B73B197EDF}" dt="2025-10-16T09:49:16.249" v="3202" actId="113"/>
          <ac:spMkLst>
            <pc:docMk/>
            <pc:sldMk cId="580663534" sldId="324"/>
            <ac:spMk id="27" creationId="{71C212E9-B073-B16A-6A8C-D8665E7CE61F}"/>
          </ac:spMkLst>
        </pc:spChg>
        <pc:grpChg chg="mod">
          <ac:chgData name="Sezgen, Handenur" userId="693f6077-2094-4a4b-9c12-b1a0c4de2bbc" providerId="ADAL" clId="{5B430AB4-3B31-40FC-B7D2-06B73B197EDF}" dt="2025-10-16T09:44:35.076" v="3055" actId="14100"/>
          <ac:grpSpMkLst>
            <pc:docMk/>
            <pc:sldMk cId="580663534" sldId="324"/>
            <ac:grpSpMk id="25" creationId="{39CEEED7-5272-021D-56BB-0FF59690A0BE}"/>
          </ac:grpSpMkLst>
        </pc:grpChg>
        <pc:grpChg chg="mod">
          <ac:chgData name="Sezgen, Handenur" userId="693f6077-2094-4a4b-9c12-b1a0c4de2bbc" providerId="ADAL" clId="{5B430AB4-3B31-40FC-B7D2-06B73B197EDF}" dt="2025-10-16T09:44:52.957" v="3063" actId="14100"/>
          <ac:grpSpMkLst>
            <pc:docMk/>
            <pc:sldMk cId="580663534" sldId="324"/>
            <ac:grpSpMk id="26" creationId="{6B6AC93D-903E-0CEF-B801-343D42E78340}"/>
          </ac:grpSpMkLst>
        </pc:grpChg>
        <pc:graphicFrameChg chg="mod">
          <ac:chgData name="Sezgen, Handenur" userId="693f6077-2094-4a4b-9c12-b1a0c4de2bbc" providerId="ADAL" clId="{5B430AB4-3B31-40FC-B7D2-06B73B197EDF}" dt="2025-10-16T09:45:38.595" v="3092" actId="1035"/>
          <ac:graphicFrameMkLst>
            <pc:docMk/>
            <pc:sldMk cId="580663534" sldId="324"/>
            <ac:graphicFrameMk id="10" creationId="{F401C53F-EE4E-2FFB-0D41-4FC3AFA557C2}"/>
          </ac:graphicFrameMkLst>
        </pc:graphicFrameChg>
        <pc:graphicFrameChg chg="mod">
          <ac:chgData name="Sezgen, Handenur" userId="693f6077-2094-4a4b-9c12-b1a0c4de2bbc" providerId="ADAL" clId="{5B430AB4-3B31-40FC-B7D2-06B73B197EDF}" dt="2025-10-16T09:45:38.595" v="3092" actId="1035"/>
          <ac:graphicFrameMkLst>
            <pc:docMk/>
            <pc:sldMk cId="580663534" sldId="324"/>
            <ac:graphicFrameMk id="11" creationId="{03850F14-D02B-1141-D40D-949F26F55108}"/>
          </ac:graphicFrameMkLst>
        </pc:graphicFrameChg>
        <pc:graphicFrameChg chg="mod">
          <ac:chgData name="Sezgen, Handenur" userId="693f6077-2094-4a4b-9c12-b1a0c4de2bbc" providerId="ADAL" clId="{5B430AB4-3B31-40FC-B7D2-06B73B197EDF}" dt="2025-10-16T09:45:38.595" v="3092" actId="1035"/>
          <ac:graphicFrameMkLst>
            <pc:docMk/>
            <pc:sldMk cId="580663534" sldId="324"/>
            <ac:graphicFrameMk id="18" creationId="{3B05ECCA-B3A9-28D4-52CA-51E94F4F58D1}"/>
          </ac:graphicFrameMkLst>
        </pc:graphicFrameChg>
        <pc:graphicFrameChg chg="mod">
          <ac:chgData name="Sezgen, Handenur" userId="693f6077-2094-4a4b-9c12-b1a0c4de2bbc" providerId="ADAL" clId="{5B430AB4-3B31-40FC-B7D2-06B73B197EDF}" dt="2025-10-16T09:45:04.886" v="3069" actId="14100"/>
          <ac:graphicFrameMkLst>
            <pc:docMk/>
            <pc:sldMk cId="580663534" sldId="324"/>
            <ac:graphicFrameMk id="19" creationId="{E776EED2-5D19-BCF3-FB16-3CD2F80F2C2A}"/>
          </ac:graphicFrameMkLst>
        </pc:graphicFrameChg>
        <pc:picChg chg="del">
          <ac:chgData name="Sezgen, Handenur" userId="693f6077-2094-4a4b-9c12-b1a0c4de2bbc" providerId="ADAL" clId="{5B430AB4-3B31-40FC-B7D2-06B73B197EDF}" dt="2025-10-16T09:44:24.381" v="3050" actId="478"/>
          <ac:picMkLst>
            <pc:docMk/>
            <pc:sldMk cId="580663534" sldId="324"/>
            <ac:picMk id="5" creationId="{B00CA7E4-A290-62FD-A7C3-7D021AF2A041}"/>
          </ac:picMkLst>
        </pc:picChg>
      </pc:sldChg>
      <pc:sldChg chg="modSp add del mod">
        <pc:chgData name="Sezgen, Handenur" userId="693f6077-2094-4a4b-9c12-b1a0c4de2bbc" providerId="ADAL" clId="{5B430AB4-3B31-40FC-B7D2-06B73B197EDF}" dt="2025-10-16T09:43:45.343" v="3043" actId="47"/>
        <pc:sldMkLst>
          <pc:docMk/>
          <pc:sldMk cId="1048562694" sldId="324"/>
        </pc:sldMkLst>
        <pc:grpChg chg="mod">
          <ac:chgData name="Sezgen, Handenur" userId="693f6077-2094-4a4b-9c12-b1a0c4de2bbc" providerId="ADAL" clId="{5B430AB4-3B31-40FC-B7D2-06B73B197EDF}" dt="2025-10-16T09:40:54.329" v="2886" actId="1076"/>
          <ac:grpSpMkLst>
            <pc:docMk/>
            <pc:sldMk cId="1048562694" sldId="324"/>
            <ac:grpSpMk id="40" creationId="{C3EC102C-0C27-E3CE-5B25-1B21F11B246D}"/>
          </ac:grpSpMkLst>
        </pc:grpChg>
      </pc:sldChg>
      <pc:sldChg chg="addSp delSp modSp add mod modClrScheme chgLayout">
        <pc:chgData name="Sezgen, Handenur" userId="693f6077-2094-4a4b-9c12-b1a0c4de2bbc" providerId="ADAL" clId="{5B430AB4-3B31-40FC-B7D2-06B73B197EDF}" dt="2025-10-16T10:13:23.955" v="3675"/>
        <pc:sldMkLst>
          <pc:docMk/>
          <pc:sldMk cId="127721360" sldId="325"/>
        </pc:sldMkLst>
        <pc:spChg chg="mod ord">
          <ac:chgData name="Sezgen, Handenur" userId="693f6077-2094-4a4b-9c12-b1a0c4de2bbc" providerId="ADAL" clId="{5B430AB4-3B31-40FC-B7D2-06B73B197EDF}" dt="2025-10-16T08:55:30.625" v="1682" actId="20577"/>
          <ac:spMkLst>
            <pc:docMk/>
            <pc:sldMk cId="127721360" sldId="325"/>
            <ac:spMk id="2" creationId="{3B930ABA-EB23-1211-258A-3074B75FF90B}"/>
          </ac:spMkLst>
        </pc:spChg>
        <pc:spChg chg="add del mod">
          <ac:chgData name="Sezgen, Handenur" userId="693f6077-2094-4a4b-9c12-b1a0c4de2bbc" providerId="ADAL" clId="{5B430AB4-3B31-40FC-B7D2-06B73B197EDF}" dt="2025-10-16T08:55:00.264" v="1669" actId="6264"/>
          <ac:spMkLst>
            <pc:docMk/>
            <pc:sldMk cId="127721360" sldId="325"/>
            <ac:spMk id="3" creationId="{1A3F5FCC-D4E4-D3E5-6F30-8AC3532A0685}"/>
          </ac:spMkLst>
        </pc:spChg>
        <pc:spChg chg="mod">
          <ac:chgData name="Sezgen, Handenur" userId="693f6077-2094-4a4b-9c12-b1a0c4de2bbc" providerId="ADAL" clId="{5B430AB4-3B31-40FC-B7D2-06B73B197EDF}" dt="2025-10-16T08:55:17.127" v="1678" actId="6549"/>
          <ac:spMkLst>
            <pc:docMk/>
            <pc:sldMk cId="127721360" sldId="325"/>
            <ac:spMk id="4" creationId="{CF93F722-E373-2DD0-D6CC-721D82D4A42F}"/>
          </ac:spMkLst>
        </pc:spChg>
        <pc:spChg chg="mod">
          <ac:chgData name="Sezgen, Handenur" userId="693f6077-2094-4a4b-9c12-b1a0c4de2bbc" providerId="ADAL" clId="{5B430AB4-3B31-40FC-B7D2-06B73B197EDF}" dt="2025-10-16T08:55:09.959" v="1676" actId="1076"/>
          <ac:spMkLst>
            <pc:docMk/>
            <pc:sldMk cId="127721360" sldId="325"/>
            <ac:spMk id="5" creationId="{64663944-E50D-96A8-FF3D-1943847E384E}"/>
          </ac:spMkLst>
        </pc:spChg>
        <pc:spChg chg="mod">
          <ac:chgData name="Sezgen, Handenur" userId="693f6077-2094-4a4b-9c12-b1a0c4de2bbc" providerId="ADAL" clId="{5B430AB4-3B31-40FC-B7D2-06B73B197EDF}" dt="2025-10-16T08:55:15.976" v="1677" actId="1076"/>
          <ac:spMkLst>
            <pc:docMk/>
            <pc:sldMk cId="127721360" sldId="325"/>
            <ac:spMk id="7" creationId="{BED851E3-115B-E69C-1987-F61CBCA69208}"/>
          </ac:spMkLst>
        </pc:spChg>
        <pc:spChg chg="mod">
          <ac:chgData name="Sezgen, Handenur" userId="693f6077-2094-4a4b-9c12-b1a0c4de2bbc" providerId="ADAL" clId="{5B430AB4-3B31-40FC-B7D2-06B73B197EDF}" dt="2025-10-16T08:55:15.976" v="1677" actId="1076"/>
          <ac:spMkLst>
            <pc:docMk/>
            <pc:sldMk cId="127721360" sldId="325"/>
            <ac:spMk id="8" creationId="{6D27F350-9DE3-AECC-DDB0-DD08C0AA1A0A}"/>
          </ac:spMkLst>
        </pc:spChg>
        <pc:spChg chg="add del mod ord">
          <ac:chgData name="Sezgen, Handenur" userId="693f6077-2094-4a4b-9c12-b1a0c4de2bbc" providerId="ADAL" clId="{5B430AB4-3B31-40FC-B7D2-06B73B197EDF}" dt="2025-10-16T08:55:02.364" v="1670" actId="700"/>
          <ac:spMkLst>
            <pc:docMk/>
            <pc:sldMk cId="127721360" sldId="325"/>
            <ac:spMk id="9" creationId="{4817A250-DCF7-5854-6523-8A4D04FDFB9D}"/>
          </ac:spMkLst>
        </pc:spChg>
        <pc:spChg chg="mod">
          <ac:chgData name="Sezgen, Handenur" userId="693f6077-2094-4a4b-9c12-b1a0c4de2bbc" providerId="ADAL" clId="{5B430AB4-3B31-40FC-B7D2-06B73B197EDF}" dt="2025-10-16T08:55:22.488" v="1681" actId="14100"/>
          <ac:spMkLst>
            <pc:docMk/>
            <pc:sldMk cId="127721360" sldId="325"/>
            <ac:spMk id="10" creationId="{D77E330E-D78E-7643-7902-BA0347769641}"/>
          </ac:spMkLst>
        </pc:spChg>
        <pc:graphicFrameChg chg="mod modGraphic">
          <ac:chgData name="Sezgen, Handenur" userId="693f6077-2094-4a4b-9c12-b1a0c4de2bbc" providerId="ADAL" clId="{5B430AB4-3B31-40FC-B7D2-06B73B197EDF}" dt="2025-10-16T08:55:22.488" v="1681" actId="14100"/>
          <ac:graphicFrameMkLst>
            <pc:docMk/>
            <pc:sldMk cId="127721360" sldId="325"/>
            <ac:graphicFrameMk id="6" creationId="{B631596D-95BA-9BD9-7612-DB92EC215C17}"/>
          </ac:graphicFrameMkLst>
        </pc:graphicFrameChg>
        <pc:picChg chg="add mod">
          <ac:chgData name="Sezgen, Handenur" userId="693f6077-2094-4a4b-9c12-b1a0c4de2bbc" providerId="ADAL" clId="{5B430AB4-3B31-40FC-B7D2-06B73B197EDF}" dt="2025-10-16T10:13:23.955" v="3675"/>
          <ac:picMkLst>
            <pc:docMk/>
            <pc:sldMk cId="127721360" sldId="325"/>
            <ac:picMk id="11" creationId="{C22EEF19-3D2F-87C6-9179-5184201DFDE3}"/>
          </ac:picMkLst>
        </pc:picChg>
      </pc:sldChg>
      <pc:sldChg chg="addSp delSp modSp add mod modClrScheme chgLayout">
        <pc:chgData name="Sezgen, Handenur" userId="693f6077-2094-4a4b-9c12-b1a0c4de2bbc" providerId="ADAL" clId="{5B430AB4-3B31-40FC-B7D2-06B73B197EDF}" dt="2025-10-16T10:14:49.393" v="3695"/>
        <pc:sldMkLst>
          <pc:docMk/>
          <pc:sldMk cId="0" sldId="326"/>
        </pc:sldMkLst>
        <pc:spChg chg="mod ord">
          <ac:chgData name="Sezgen, Handenur" userId="693f6077-2094-4a4b-9c12-b1a0c4de2bbc" providerId="ADAL" clId="{5B430AB4-3B31-40FC-B7D2-06B73B197EDF}" dt="2025-10-16T09:49:35.139" v="3205" actId="6264"/>
          <ac:spMkLst>
            <pc:docMk/>
            <pc:sldMk cId="0" sldId="326"/>
            <ac:spMk id="2" creationId="{00000000-0000-0000-0000-000000000000}"/>
          </ac:spMkLst>
        </pc:spChg>
        <pc:spChg chg="mod ord">
          <ac:chgData name="Sezgen, Handenur" userId="693f6077-2094-4a4b-9c12-b1a0c4de2bbc" providerId="ADAL" clId="{5B430AB4-3B31-40FC-B7D2-06B73B197EDF}" dt="2025-10-16T09:50:17.137" v="3224" actId="27636"/>
          <ac:spMkLst>
            <pc:docMk/>
            <pc:sldMk cId="0" sldId="326"/>
            <ac:spMk id="3" creationId="{00000000-0000-0000-0000-000000000000}"/>
          </ac:spMkLst>
        </pc:spChg>
        <pc:spChg chg="add del mod">
          <ac:chgData name="Sezgen, Handenur" userId="693f6077-2094-4a4b-9c12-b1a0c4de2bbc" providerId="ADAL" clId="{5B430AB4-3B31-40FC-B7D2-06B73B197EDF}" dt="2025-10-16T09:49:35.139" v="3205" actId="6264"/>
          <ac:spMkLst>
            <pc:docMk/>
            <pc:sldMk cId="0" sldId="326"/>
            <ac:spMk id="4" creationId="{7EDB8F40-E488-D84B-A9E2-4CEF8F98CE32}"/>
          </ac:spMkLst>
        </pc:spChg>
        <pc:picChg chg="add mod">
          <ac:chgData name="Sezgen, Handenur" userId="693f6077-2094-4a4b-9c12-b1a0c4de2bbc" providerId="ADAL" clId="{5B430AB4-3B31-40FC-B7D2-06B73B197EDF}" dt="2025-10-16T10:14:35.638" v="3694"/>
          <ac:picMkLst>
            <pc:docMk/>
            <pc:sldMk cId="0" sldId="326"/>
            <ac:picMk id="5" creationId="{4DC6FC5F-3A31-79E9-0AF1-B7EBCE672D1F}"/>
          </ac:picMkLst>
        </pc:picChg>
        <pc:picChg chg="add mod">
          <ac:chgData name="Sezgen, Handenur" userId="693f6077-2094-4a4b-9c12-b1a0c4de2bbc" providerId="ADAL" clId="{5B430AB4-3B31-40FC-B7D2-06B73B197EDF}" dt="2025-10-16T10:14:49.393" v="3695"/>
          <ac:picMkLst>
            <pc:docMk/>
            <pc:sldMk cId="0" sldId="326"/>
            <ac:picMk id="6" creationId="{297075CE-6E06-C747-FDB8-027F8B0708D6}"/>
          </ac:picMkLst>
        </pc:picChg>
        <pc:picChg chg="add mod">
          <ac:chgData name="Sezgen, Handenur" userId="693f6077-2094-4a4b-9c12-b1a0c4de2bbc" providerId="ADAL" clId="{5B430AB4-3B31-40FC-B7D2-06B73B197EDF}" dt="2025-10-16T10:14:49.393" v="3695"/>
          <ac:picMkLst>
            <pc:docMk/>
            <pc:sldMk cId="0" sldId="326"/>
            <ac:picMk id="7" creationId="{A59D6773-C35D-012F-7E74-04DDCBC4366B}"/>
          </ac:picMkLst>
        </pc:picChg>
      </pc:sldChg>
      <pc:sldChg chg="addSp modSp mod modClrScheme chgLayout">
        <pc:chgData name="Sezgen, Handenur" userId="693f6077-2094-4a4b-9c12-b1a0c4de2bbc" providerId="ADAL" clId="{5B430AB4-3B31-40FC-B7D2-06B73B197EDF}" dt="2025-10-16T10:11:16.918" v="3624"/>
        <pc:sldMkLst>
          <pc:docMk/>
          <pc:sldMk cId="869057623" sldId="327"/>
        </pc:sldMkLst>
        <pc:spChg chg="mod ord">
          <ac:chgData name="Sezgen, Handenur" userId="693f6077-2094-4a4b-9c12-b1a0c4de2bbc" providerId="ADAL" clId="{5B430AB4-3B31-40FC-B7D2-06B73B197EDF}" dt="2025-10-16T07:43:08.192" v="175" actId="1076"/>
          <ac:spMkLst>
            <pc:docMk/>
            <pc:sldMk cId="869057623" sldId="327"/>
            <ac:spMk id="3" creationId="{5274055F-F472-00B3-73AE-5F3C4233C3DF}"/>
          </ac:spMkLst>
        </pc:spChg>
        <pc:spChg chg="mod ord">
          <ac:chgData name="Sezgen, Handenur" userId="693f6077-2094-4a4b-9c12-b1a0c4de2bbc" providerId="ADAL" clId="{5B430AB4-3B31-40FC-B7D2-06B73B197EDF}" dt="2025-10-16T07:43:04.044" v="173" actId="700"/>
          <ac:spMkLst>
            <pc:docMk/>
            <pc:sldMk cId="869057623" sldId="327"/>
            <ac:spMk id="4" creationId="{0DF199C0-C8FB-27FA-E74C-AEE1BAC18D6A}"/>
          </ac:spMkLst>
        </pc:spChg>
        <pc:picChg chg="add mod">
          <ac:chgData name="Sezgen, Handenur" userId="693f6077-2094-4a4b-9c12-b1a0c4de2bbc" providerId="ADAL" clId="{5B430AB4-3B31-40FC-B7D2-06B73B197EDF}" dt="2025-10-16T10:11:16.918" v="3624"/>
          <ac:picMkLst>
            <pc:docMk/>
            <pc:sldMk cId="869057623" sldId="327"/>
            <ac:picMk id="5" creationId="{2B8A3AA5-E9F0-042B-43FA-043BD141FA18}"/>
          </ac:picMkLst>
        </pc:picChg>
      </pc:sldChg>
      <pc:sldChg chg="addSp modSp add mod modClrScheme chgLayout">
        <pc:chgData name="Sezgen, Handenur" userId="693f6077-2094-4a4b-9c12-b1a0c4de2bbc" providerId="ADAL" clId="{5B430AB4-3B31-40FC-B7D2-06B73B197EDF}" dt="2025-10-16T10:14:51.007" v="3696"/>
        <pc:sldMkLst>
          <pc:docMk/>
          <pc:sldMk cId="0" sldId="328"/>
        </pc:sldMkLst>
        <pc:spChg chg="mod ord">
          <ac:chgData name="Sezgen, Handenur" userId="693f6077-2094-4a4b-9c12-b1a0c4de2bbc" providerId="ADAL" clId="{5B430AB4-3B31-40FC-B7D2-06B73B197EDF}" dt="2025-10-16T09:52:02.562" v="3225" actId="700"/>
          <ac:spMkLst>
            <pc:docMk/>
            <pc:sldMk cId="0" sldId="328"/>
            <ac:spMk id="2" creationId="{00000000-0000-0000-0000-000000000000}"/>
          </ac:spMkLst>
        </pc:spChg>
        <pc:spChg chg="mod ord">
          <ac:chgData name="Sezgen, Handenur" userId="693f6077-2094-4a4b-9c12-b1a0c4de2bbc" providerId="ADAL" clId="{5B430AB4-3B31-40FC-B7D2-06B73B197EDF}" dt="2025-10-16T09:52:05.405" v="3226" actId="14100"/>
          <ac:spMkLst>
            <pc:docMk/>
            <pc:sldMk cId="0" sldId="328"/>
            <ac:spMk id="3" creationId="{00000000-0000-0000-0000-000000000000}"/>
          </ac:spMkLst>
        </pc:spChg>
        <pc:picChg chg="add mod">
          <ac:chgData name="Sezgen, Handenur" userId="693f6077-2094-4a4b-9c12-b1a0c4de2bbc" providerId="ADAL" clId="{5B430AB4-3B31-40FC-B7D2-06B73B197EDF}" dt="2025-10-16T10:14:51.007" v="3696"/>
          <ac:picMkLst>
            <pc:docMk/>
            <pc:sldMk cId="0" sldId="328"/>
            <ac:picMk id="4" creationId="{7A74DD2E-4C58-D1B2-470D-3A6318000FF7}"/>
          </ac:picMkLst>
        </pc:picChg>
        <pc:picChg chg="add mod">
          <ac:chgData name="Sezgen, Handenur" userId="693f6077-2094-4a4b-9c12-b1a0c4de2bbc" providerId="ADAL" clId="{5B430AB4-3B31-40FC-B7D2-06B73B197EDF}" dt="2025-10-16T10:14:51.007" v="3696"/>
          <ac:picMkLst>
            <pc:docMk/>
            <pc:sldMk cId="0" sldId="328"/>
            <ac:picMk id="5" creationId="{C0B3F9D8-A2B8-6564-80B3-CF8A9598DB78}"/>
          </ac:picMkLst>
        </pc:picChg>
      </pc:sldChg>
      <pc:sldChg chg="addSp delSp modSp add mod modClrScheme chgLayout">
        <pc:chgData name="Sezgen, Handenur" userId="693f6077-2094-4a4b-9c12-b1a0c4de2bbc" providerId="ADAL" clId="{5B430AB4-3B31-40FC-B7D2-06B73B197EDF}" dt="2025-10-16T10:15:00.042" v="3700" actId="478"/>
        <pc:sldMkLst>
          <pc:docMk/>
          <pc:sldMk cId="4265405270" sldId="329"/>
        </pc:sldMkLst>
        <pc:spChg chg="mod ord">
          <ac:chgData name="Sezgen, Handenur" userId="693f6077-2094-4a4b-9c12-b1a0c4de2bbc" providerId="ADAL" clId="{5B430AB4-3B31-40FC-B7D2-06B73B197EDF}" dt="2025-10-16T09:52:09.322" v="3228" actId="27636"/>
          <ac:spMkLst>
            <pc:docMk/>
            <pc:sldMk cId="4265405270" sldId="329"/>
            <ac:spMk id="2" creationId="{09CE02F4-EA9A-7859-4FB6-4D9CFC17E469}"/>
          </ac:spMkLst>
        </pc:spChg>
        <pc:spChg chg="mod ord">
          <ac:chgData name="Sezgen, Handenur" userId="693f6077-2094-4a4b-9c12-b1a0c4de2bbc" providerId="ADAL" clId="{5B430AB4-3B31-40FC-B7D2-06B73B197EDF}" dt="2025-10-16T09:52:09.259" v="3227" actId="700"/>
          <ac:spMkLst>
            <pc:docMk/>
            <pc:sldMk cId="4265405270" sldId="329"/>
            <ac:spMk id="3" creationId="{B2F21804-3869-C4D5-CC60-BC180FF90211}"/>
          </ac:spMkLst>
        </pc:spChg>
        <pc:picChg chg="add mod">
          <ac:chgData name="Sezgen, Handenur" userId="693f6077-2094-4a4b-9c12-b1a0c4de2bbc" providerId="ADAL" clId="{5B430AB4-3B31-40FC-B7D2-06B73B197EDF}" dt="2025-10-16T10:14:52.370" v="3697"/>
          <ac:picMkLst>
            <pc:docMk/>
            <pc:sldMk cId="4265405270" sldId="329"/>
            <ac:picMk id="4" creationId="{1A015EAF-226B-AA9C-2E4D-C251C9D02845}"/>
          </ac:picMkLst>
        </pc:picChg>
        <pc:picChg chg="add del mod">
          <ac:chgData name="Sezgen, Handenur" userId="693f6077-2094-4a4b-9c12-b1a0c4de2bbc" providerId="ADAL" clId="{5B430AB4-3B31-40FC-B7D2-06B73B197EDF}" dt="2025-10-16T10:15:00.042" v="3700" actId="478"/>
          <ac:picMkLst>
            <pc:docMk/>
            <pc:sldMk cId="4265405270" sldId="329"/>
            <ac:picMk id="17" creationId="{5251E59C-0100-EC8A-C3E5-C965C2E5E4B8}"/>
          </ac:picMkLst>
        </pc:picChg>
      </pc:sldChg>
      <pc:sldChg chg="addSp delSp modSp add mod chgLayout">
        <pc:chgData name="Sezgen, Handenur" userId="693f6077-2094-4a4b-9c12-b1a0c4de2bbc" providerId="ADAL" clId="{5B430AB4-3B31-40FC-B7D2-06B73B197EDF}" dt="2025-10-16T10:14:56.902" v="3698"/>
        <pc:sldMkLst>
          <pc:docMk/>
          <pc:sldMk cId="395552158" sldId="330"/>
        </pc:sldMkLst>
        <pc:spChg chg="mod ord">
          <ac:chgData name="Sezgen, Handenur" userId="693f6077-2094-4a4b-9c12-b1a0c4de2bbc" providerId="ADAL" clId="{5B430AB4-3B31-40FC-B7D2-06B73B197EDF}" dt="2025-10-16T09:52:19.266" v="3231" actId="6264"/>
          <ac:spMkLst>
            <pc:docMk/>
            <pc:sldMk cId="395552158" sldId="330"/>
            <ac:spMk id="2" creationId="{6CB09A53-FFBD-18B4-17A8-6D2E2021EEBF}"/>
          </ac:spMkLst>
        </pc:spChg>
        <pc:spChg chg="mod ord">
          <ac:chgData name="Sezgen, Handenur" userId="693f6077-2094-4a4b-9c12-b1a0c4de2bbc" providerId="ADAL" clId="{5B430AB4-3B31-40FC-B7D2-06B73B197EDF}" dt="2025-10-16T10:00:12.322" v="3429" actId="20577"/>
          <ac:spMkLst>
            <pc:docMk/>
            <pc:sldMk cId="395552158" sldId="330"/>
            <ac:spMk id="3" creationId="{F9C10D93-D31C-A958-11E9-25A3808E389A}"/>
          </ac:spMkLst>
        </pc:spChg>
        <pc:spChg chg="mod">
          <ac:chgData name="Sezgen, Handenur" userId="693f6077-2094-4a4b-9c12-b1a0c4de2bbc" providerId="ADAL" clId="{5B430AB4-3B31-40FC-B7D2-06B73B197EDF}" dt="2025-10-16T09:53:18.462" v="3253" actId="1076"/>
          <ac:spMkLst>
            <pc:docMk/>
            <pc:sldMk cId="395552158" sldId="330"/>
            <ac:spMk id="4" creationId="{70021338-38DD-4129-7726-6D1EA2C50B06}"/>
          </ac:spMkLst>
        </pc:spChg>
        <pc:spChg chg="del mod">
          <ac:chgData name="Sezgen, Handenur" userId="693f6077-2094-4a4b-9c12-b1a0c4de2bbc" providerId="ADAL" clId="{5B430AB4-3B31-40FC-B7D2-06B73B197EDF}" dt="2025-10-16T09:52:26.736" v="3235" actId="478"/>
          <ac:spMkLst>
            <pc:docMk/>
            <pc:sldMk cId="395552158" sldId="330"/>
            <ac:spMk id="5" creationId="{CF347CDE-D2AE-A558-8F4D-5BEEACD02FE8}"/>
          </ac:spMkLst>
        </pc:spChg>
        <pc:spChg chg="mod">
          <ac:chgData name="Sezgen, Handenur" userId="693f6077-2094-4a4b-9c12-b1a0c4de2bbc" providerId="ADAL" clId="{5B430AB4-3B31-40FC-B7D2-06B73B197EDF}" dt="2025-10-16T09:55:03.107" v="3306" actId="20577"/>
          <ac:spMkLst>
            <pc:docMk/>
            <pc:sldMk cId="395552158" sldId="330"/>
            <ac:spMk id="7" creationId="{EF7FD24D-36F6-7024-03A3-41441B2B3657}"/>
          </ac:spMkLst>
        </pc:spChg>
        <pc:spChg chg="mod">
          <ac:chgData name="Sezgen, Handenur" userId="693f6077-2094-4a4b-9c12-b1a0c4de2bbc" providerId="ADAL" clId="{5B430AB4-3B31-40FC-B7D2-06B73B197EDF}" dt="2025-10-16T09:55:15.168" v="3309" actId="14100"/>
          <ac:spMkLst>
            <pc:docMk/>
            <pc:sldMk cId="395552158" sldId="330"/>
            <ac:spMk id="8" creationId="{211DB327-6BBB-5DDC-4314-ED4916681D2C}"/>
          </ac:spMkLst>
        </pc:spChg>
        <pc:spChg chg="mod">
          <ac:chgData name="Sezgen, Handenur" userId="693f6077-2094-4a4b-9c12-b1a0c4de2bbc" providerId="ADAL" clId="{5B430AB4-3B31-40FC-B7D2-06B73B197EDF}" dt="2025-10-16T09:53:21.391" v="3254" actId="1076"/>
          <ac:spMkLst>
            <pc:docMk/>
            <pc:sldMk cId="395552158" sldId="330"/>
            <ac:spMk id="9" creationId="{E3354DF0-5D79-17B7-15BB-3C236D5562CB}"/>
          </ac:spMkLst>
        </pc:spChg>
        <pc:spChg chg="mod">
          <ac:chgData name="Sezgen, Handenur" userId="693f6077-2094-4a4b-9c12-b1a0c4de2bbc" providerId="ADAL" clId="{5B430AB4-3B31-40FC-B7D2-06B73B197EDF}" dt="2025-10-16T09:52:34.432" v="3241" actId="113"/>
          <ac:spMkLst>
            <pc:docMk/>
            <pc:sldMk cId="395552158" sldId="330"/>
            <ac:spMk id="10" creationId="{CCB21698-2B27-740C-DDDA-048209485942}"/>
          </ac:spMkLst>
        </pc:spChg>
        <pc:spChg chg="add del mod">
          <ac:chgData name="Sezgen, Handenur" userId="693f6077-2094-4a4b-9c12-b1a0c4de2bbc" providerId="ADAL" clId="{5B430AB4-3B31-40FC-B7D2-06B73B197EDF}" dt="2025-10-16T09:52:19.266" v="3231" actId="6264"/>
          <ac:spMkLst>
            <pc:docMk/>
            <pc:sldMk cId="395552158" sldId="330"/>
            <ac:spMk id="11" creationId="{6FA3C357-8D12-AEE6-001C-FA37D0430A63}"/>
          </ac:spMkLst>
        </pc:spChg>
        <pc:spChg chg="mod topLvl">
          <ac:chgData name="Sezgen, Handenur" userId="693f6077-2094-4a4b-9c12-b1a0c4de2bbc" providerId="ADAL" clId="{5B430AB4-3B31-40FC-B7D2-06B73B197EDF}" dt="2025-10-16T09:55:42.422" v="3311" actId="1076"/>
          <ac:spMkLst>
            <pc:docMk/>
            <pc:sldMk cId="395552158" sldId="330"/>
            <ac:spMk id="12" creationId="{1217132F-D76E-9828-B43A-0FBAF9232893}"/>
          </ac:spMkLst>
        </pc:spChg>
        <pc:spChg chg="mod topLvl">
          <ac:chgData name="Sezgen, Handenur" userId="693f6077-2094-4a4b-9c12-b1a0c4de2bbc" providerId="ADAL" clId="{5B430AB4-3B31-40FC-B7D2-06B73B197EDF}" dt="2025-10-16T09:59:42.457" v="3404" actId="114"/>
          <ac:spMkLst>
            <pc:docMk/>
            <pc:sldMk cId="395552158" sldId="330"/>
            <ac:spMk id="13" creationId="{41F270D5-B680-0EAA-D5B6-FFAF03BEE886}"/>
          </ac:spMkLst>
        </pc:spChg>
        <pc:spChg chg="add del mod">
          <ac:chgData name="Sezgen, Handenur" userId="693f6077-2094-4a4b-9c12-b1a0c4de2bbc" providerId="ADAL" clId="{5B430AB4-3B31-40FC-B7D2-06B73B197EDF}" dt="2025-10-16T09:52:19.266" v="3231" actId="6264"/>
          <ac:spMkLst>
            <pc:docMk/>
            <pc:sldMk cId="395552158" sldId="330"/>
            <ac:spMk id="14" creationId="{334D905D-E5E7-8294-F188-9DBFCF58F773}"/>
          </ac:spMkLst>
        </pc:spChg>
        <pc:spChg chg="mod">
          <ac:chgData name="Sezgen, Handenur" userId="693f6077-2094-4a4b-9c12-b1a0c4de2bbc" providerId="ADAL" clId="{5B430AB4-3B31-40FC-B7D2-06B73B197EDF}" dt="2025-10-16T10:00:18.658" v="3437" actId="1037"/>
          <ac:spMkLst>
            <pc:docMk/>
            <pc:sldMk cId="395552158" sldId="330"/>
            <ac:spMk id="37" creationId="{F0E6B366-6098-444C-F9FD-8E90E2AAC723}"/>
          </ac:spMkLst>
        </pc:spChg>
        <pc:spChg chg="mod topLvl">
          <ac:chgData name="Sezgen, Handenur" userId="693f6077-2094-4a4b-9c12-b1a0c4de2bbc" providerId="ADAL" clId="{5B430AB4-3B31-40FC-B7D2-06B73B197EDF}" dt="2025-10-16T09:59:55.159" v="3409" actId="14100"/>
          <ac:spMkLst>
            <pc:docMk/>
            <pc:sldMk cId="395552158" sldId="330"/>
            <ac:spMk id="41" creationId="{60D892F7-9CEF-CF5B-3E46-2B24469D3087}"/>
          </ac:spMkLst>
        </pc:spChg>
        <pc:grpChg chg="mod topLvl">
          <ac:chgData name="Sezgen, Handenur" userId="693f6077-2094-4a4b-9c12-b1a0c4de2bbc" providerId="ADAL" clId="{5B430AB4-3B31-40FC-B7D2-06B73B197EDF}" dt="2025-10-16T09:59:50.610" v="3405" actId="1076"/>
          <ac:grpSpMkLst>
            <pc:docMk/>
            <pc:sldMk cId="395552158" sldId="330"/>
            <ac:grpSpMk id="6" creationId="{8154908D-65FB-1A0E-2F90-3A6E5D455E0C}"/>
          </ac:grpSpMkLst>
        </pc:grpChg>
        <pc:grpChg chg="add del mod">
          <ac:chgData name="Sezgen, Handenur" userId="693f6077-2094-4a4b-9c12-b1a0c4de2bbc" providerId="ADAL" clId="{5B430AB4-3B31-40FC-B7D2-06B73B197EDF}" dt="2025-10-16T09:52:54.510" v="3247" actId="165"/>
          <ac:grpSpMkLst>
            <pc:docMk/>
            <pc:sldMk cId="395552158" sldId="330"/>
            <ac:grpSpMk id="15" creationId="{6B92E1FC-E63C-0BE4-71B0-5FE3E2A72E72}"/>
          </ac:grpSpMkLst>
        </pc:grpChg>
        <pc:picChg chg="add mod">
          <ac:chgData name="Sezgen, Handenur" userId="693f6077-2094-4a4b-9c12-b1a0c4de2bbc" providerId="ADAL" clId="{5B430AB4-3B31-40FC-B7D2-06B73B197EDF}" dt="2025-10-16T10:14:56.902" v="3698"/>
          <ac:picMkLst>
            <pc:docMk/>
            <pc:sldMk cId="395552158" sldId="330"/>
            <ac:picMk id="18" creationId="{F38F16C8-97D2-4479-7C0D-C7C3346D1F34}"/>
          </ac:picMkLst>
        </pc:picChg>
        <pc:picChg chg="add mod">
          <ac:chgData name="Sezgen, Handenur" userId="693f6077-2094-4a4b-9c12-b1a0c4de2bbc" providerId="ADAL" clId="{5B430AB4-3B31-40FC-B7D2-06B73B197EDF}" dt="2025-10-16T10:14:56.902" v="3698"/>
          <ac:picMkLst>
            <pc:docMk/>
            <pc:sldMk cId="395552158" sldId="330"/>
            <ac:picMk id="19" creationId="{495E5032-628E-A589-5A44-4D7105951663}"/>
          </ac:picMkLst>
        </pc:picChg>
        <pc:cxnChg chg="add mod">
          <ac:chgData name="Sezgen, Handenur" userId="693f6077-2094-4a4b-9c12-b1a0c4de2bbc" providerId="ADAL" clId="{5B430AB4-3B31-40FC-B7D2-06B73B197EDF}" dt="2025-10-16T10:00:24.562" v="3439" actId="208"/>
          <ac:cxnSpMkLst>
            <pc:docMk/>
            <pc:sldMk cId="395552158" sldId="330"/>
            <ac:cxnSpMk id="17" creationId="{B20B577B-D50C-EBC9-296B-6D38491FCBC1}"/>
          </ac:cxnSpMkLst>
        </pc:cxnChg>
      </pc:sldChg>
      <pc:sldChg chg="addSp delSp modSp add mod modClrScheme chgLayout">
        <pc:chgData name="Sezgen, Handenur" userId="693f6077-2094-4a4b-9c12-b1a0c4de2bbc" providerId="ADAL" clId="{5B430AB4-3B31-40FC-B7D2-06B73B197EDF}" dt="2025-10-16T10:15:05.568" v="3702"/>
        <pc:sldMkLst>
          <pc:docMk/>
          <pc:sldMk cId="0" sldId="331"/>
        </pc:sldMkLst>
        <pc:spChg chg="mod ord">
          <ac:chgData name="Sezgen, Handenur" userId="693f6077-2094-4a4b-9c12-b1a0c4de2bbc" providerId="ADAL" clId="{5B430AB4-3B31-40FC-B7D2-06B73B197EDF}" dt="2025-10-16T10:00:33.197" v="3441" actId="700"/>
          <ac:spMkLst>
            <pc:docMk/>
            <pc:sldMk cId="0" sldId="331"/>
            <ac:spMk id="2" creationId="{00000000-0000-0000-0000-000000000000}"/>
          </ac:spMkLst>
        </pc:spChg>
        <pc:spChg chg="mod ord">
          <ac:chgData name="Sezgen, Handenur" userId="693f6077-2094-4a4b-9c12-b1a0c4de2bbc" providerId="ADAL" clId="{5B430AB4-3B31-40FC-B7D2-06B73B197EDF}" dt="2025-10-16T10:00:40.891" v="3443" actId="14100"/>
          <ac:spMkLst>
            <pc:docMk/>
            <pc:sldMk cId="0" sldId="331"/>
            <ac:spMk id="3" creationId="{00000000-0000-0000-0000-000000000000}"/>
          </ac:spMkLst>
        </pc:spChg>
        <pc:spChg chg="add del mod">
          <ac:chgData name="Sezgen, Handenur" userId="693f6077-2094-4a4b-9c12-b1a0c4de2bbc" providerId="ADAL" clId="{5B430AB4-3B31-40FC-B7D2-06B73B197EDF}" dt="2025-10-16T10:00:30.649" v="3440" actId="6264"/>
          <ac:spMkLst>
            <pc:docMk/>
            <pc:sldMk cId="0" sldId="331"/>
            <ac:spMk id="4" creationId="{F358AE83-9CF9-AEEC-4975-3A9E5D1B696D}"/>
          </ac:spMkLst>
        </pc:spChg>
        <pc:spChg chg="add del mod">
          <ac:chgData name="Sezgen, Handenur" userId="693f6077-2094-4a4b-9c12-b1a0c4de2bbc" providerId="ADAL" clId="{5B430AB4-3B31-40FC-B7D2-06B73B197EDF}" dt="2025-10-16T10:00:30.649" v="3440" actId="6264"/>
          <ac:spMkLst>
            <pc:docMk/>
            <pc:sldMk cId="0" sldId="331"/>
            <ac:spMk id="5" creationId="{9CA21E61-8BD1-4B27-7B4F-C0246893376F}"/>
          </ac:spMkLst>
        </pc:spChg>
        <pc:picChg chg="add mod">
          <ac:chgData name="Sezgen, Handenur" userId="693f6077-2094-4a4b-9c12-b1a0c4de2bbc" providerId="ADAL" clId="{5B430AB4-3B31-40FC-B7D2-06B73B197EDF}" dt="2025-10-16T10:15:03.859" v="3701"/>
          <ac:picMkLst>
            <pc:docMk/>
            <pc:sldMk cId="0" sldId="331"/>
            <ac:picMk id="6" creationId="{0974AEDC-53A6-6661-C626-16477A1A53BD}"/>
          </ac:picMkLst>
        </pc:picChg>
        <pc:picChg chg="add mod">
          <ac:chgData name="Sezgen, Handenur" userId="693f6077-2094-4a4b-9c12-b1a0c4de2bbc" providerId="ADAL" clId="{5B430AB4-3B31-40FC-B7D2-06B73B197EDF}" dt="2025-10-16T10:15:03.859" v="3701"/>
          <ac:picMkLst>
            <pc:docMk/>
            <pc:sldMk cId="0" sldId="331"/>
            <ac:picMk id="7" creationId="{9B11B665-8382-AA43-63A3-23FC25BE20E2}"/>
          </ac:picMkLst>
        </pc:picChg>
        <pc:picChg chg="add mod">
          <ac:chgData name="Sezgen, Handenur" userId="693f6077-2094-4a4b-9c12-b1a0c4de2bbc" providerId="ADAL" clId="{5B430AB4-3B31-40FC-B7D2-06B73B197EDF}" dt="2025-10-16T10:15:05.568" v="3702"/>
          <ac:picMkLst>
            <pc:docMk/>
            <pc:sldMk cId="0" sldId="331"/>
            <ac:picMk id="8" creationId="{149B1FD0-D47B-A12F-D552-96999EDEEDD5}"/>
          </ac:picMkLst>
        </pc:picChg>
        <pc:picChg chg="add mod">
          <ac:chgData name="Sezgen, Handenur" userId="693f6077-2094-4a4b-9c12-b1a0c4de2bbc" providerId="ADAL" clId="{5B430AB4-3B31-40FC-B7D2-06B73B197EDF}" dt="2025-10-16T10:15:05.568" v="3702"/>
          <ac:picMkLst>
            <pc:docMk/>
            <pc:sldMk cId="0" sldId="331"/>
            <ac:picMk id="9" creationId="{7AEACCF9-1030-FA10-3D82-947DD6329377}"/>
          </ac:picMkLst>
        </pc:picChg>
      </pc:sldChg>
      <pc:sldChg chg="addSp delSp modSp add mod modClrScheme chgLayout">
        <pc:chgData name="Sezgen, Handenur" userId="693f6077-2094-4a4b-9c12-b1a0c4de2bbc" providerId="ADAL" clId="{5B430AB4-3B31-40FC-B7D2-06B73B197EDF}" dt="2025-10-16T10:15:08.157" v="3703"/>
        <pc:sldMkLst>
          <pc:docMk/>
          <pc:sldMk cId="0" sldId="332"/>
        </pc:sldMkLst>
        <pc:spChg chg="mod ord">
          <ac:chgData name="Sezgen, Handenur" userId="693f6077-2094-4a4b-9c12-b1a0c4de2bbc" providerId="ADAL" clId="{5B430AB4-3B31-40FC-B7D2-06B73B197EDF}" dt="2025-10-16T10:00:52.064" v="3447" actId="700"/>
          <ac:spMkLst>
            <pc:docMk/>
            <pc:sldMk cId="0" sldId="332"/>
            <ac:spMk id="2" creationId="{00000000-0000-0000-0000-000000000000}"/>
          </ac:spMkLst>
        </pc:spChg>
        <pc:spChg chg="mod ord">
          <ac:chgData name="Sezgen, Handenur" userId="693f6077-2094-4a4b-9c12-b1a0c4de2bbc" providerId="ADAL" clId="{5B430AB4-3B31-40FC-B7D2-06B73B197EDF}" dt="2025-10-16T10:00:55.628" v="3448" actId="14100"/>
          <ac:spMkLst>
            <pc:docMk/>
            <pc:sldMk cId="0" sldId="332"/>
            <ac:spMk id="3" creationId="{00000000-0000-0000-0000-000000000000}"/>
          </ac:spMkLst>
        </pc:spChg>
        <pc:spChg chg="add del mod">
          <ac:chgData name="Sezgen, Handenur" userId="693f6077-2094-4a4b-9c12-b1a0c4de2bbc" providerId="ADAL" clId="{5B430AB4-3B31-40FC-B7D2-06B73B197EDF}" dt="2025-10-16T10:00:49.956" v="3446" actId="6264"/>
          <ac:spMkLst>
            <pc:docMk/>
            <pc:sldMk cId="0" sldId="332"/>
            <ac:spMk id="4" creationId="{5C7CA879-0CA1-B107-72CD-1F97AF48C905}"/>
          </ac:spMkLst>
        </pc:spChg>
        <pc:spChg chg="add del mod">
          <ac:chgData name="Sezgen, Handenur" userId="693f6077-2094-4a4b-9c12-b1a0c4de2bbc" providerId="ADAL" clId="{5B430AB4-3B31-40FC-B7D2-06B73B197EDF}" dt="2025-10-16T10:00:49.956" v="3446" actId="6264"/>
          <ac:spMkLst>
            <pc:docMk/>
            <pc:sldMk cId="0" sldId="332"/>
            <ac:spMk id="5" creationId="{373AF156-4B08-B74A-74B0-ACDF8D9796ED}"/>
          </ac:spMkLst>
        </pc:spChg>
        <pc:picChg chg="add mod">
          <ac:chgData name="Sezgen, Handenur" userId="693f6077-2094-4a4b-9c12-b1a0c4de2bbc" providerId="ADAL" clId="{5B430AB4-3B31-40FC-B7D2-06B73B197EDF}" dt="2025-10-16T10:15:08.157" v="3703"/>
          <ac:picMkLst>
            <pc:docMk/>
            <pc:sldMk cId="0" sldId="332"/>
            <ac:picMk id="6" creationId="{E6A76EE0-A754-4838-1FBB-58E4C67CC649}"/>
          </ac:picMkLst>
        </pc:picChg>
        <pc:picChg chg="add mod">
          <ac:chgData name="Sezgen, Handenur" userId="693f6077-2094-4a4b-9c12-b1a0c4de2bbc" providerId="ADAL" clId="{5B430AB4-3B31-40FC-B7D2-06B73B197EDF}" dt="2025-10-16T10:15:08.157" v="3703"/>
          <ac:picMkLst>
            <pc:docMk/>
            <pc:sldMk cId="0" sldId="332"/>
            <ac:picMk id="7" creationId="{FAC59B51-817D-086B-449F-E761B8C41EA1}"/>
          </ac:picMkLst>
        </pc:picChg>
      </pc:sldChg>
      <pc:sldChg chg="addSp delSp modSp add mod modClrScheme chgLayout">
        <pc:chgData name="Sezgen, Handenur" userId="693f6077-2094-4a4b-9c12-b1a0c4de2bbc" providerId="ADAL" clId="{5B430AB4-3B31-40FC-B7D2-06B73B197EDF}" dt="2025-10-16T10:15:10.018" v="3704"/>
        <pc:sldMkLst>
          <pc:docMk/>
          <pc:sldMk cId="0" sldId="333"/>
        </pc:sldMkLst>
        <pc:spChg chg="mod ord">
          <ac:chgData name="Sezgen, Handenur" userId="693f6077-2094-4a4b-9c12-b1a0c4de2bbc" providerId="ADAL" clId="{5B430AB4-3B31-40FC-B7D2-06B73B197EDF}" dt="2025-10-16T10:01:03.053" v="3450" actId="700"/>
          <ac:spMkLst>
            <pc:docMk/>
            <pc:sldMk cId="0" sldId="333"/>
            <ac:spMk id="2" creationId="{00000000-0000-0000-0000-000000000000}"/>
          </ac:spMkLst>
        </pc:spChg>
        <pc:spChg chg="mod ord">
          <ac:chgData name="Sezgen, Handenur" userId="693f6077-2094-4a4b-9c12-b1a0c4de2bbc" providerId="ADAL" clId="{5B430AB4-3B31-40FC-B7D2-06B73B197EDF}" dt="2025-10-16T10:01:08.907" v="3456" actId="403"/>
          <ac:spMkLst>
            <pc:docMk/>
            <pc:sldMk cId="0" sldId="333"/>
            <ac:spMk id="3" creationId="{00000000-0000-0000-0000-000000000000}"/>
          </ac:spMkLst>
        </pc:spChg>
        <pc:spChg chg="add del mod">
          <ac:chgData name="Sezgen, Handenur" userId="693f6077-2094-4a4b-9c12-b1a0c4de2bbc" providerId="ADAL" clId="{5B430AB4-3B31-40FC-B7D2-06B73B197EDF}" dt="2025-10-16T10:01:00.733" v="3449" actId="6264"/>
          <ac:spMkLst>
            <pc:docMk/>
            <pc:sldMk cId="0" sldId="333"/>
            <ac:spMk id="4" creationId="{23395F49-AAD7-E7DF-2EFC-B925F6C5AC4A}"/>
          </ac:spMkLst>
        </pc:spChg>
        <pc:spChg chg="add del mod">
          <ac:chgData name="Sezgen, Handenur" userId="693f6077-2094-4a4b-9c12-b1a0c4de2bbc" providerId="ADAL" clId="{5B430AB4-3B31-40FC-B7D2-06B73B197EDF}" dt="2025-10-16T10:01:00.733" v="3449" actId="6264"/>
          <ac:spMkLst>
            <pc:docMk/>
            <pc:sldMk cId="0" sldId="333"/>
            <ac:spMk id="5" creationId="{ECE19435-F73C-ADBD-B5B6-898B6784BBFA}"/>
          </ac:spMkLst>
        </pc:spChg>
        <pc:picChg chg="add mod">
          <ac:chgData name="Sezgen, Handenur" userId="693f6077-2094-4a4b-9c12-b1a0c4de2bbc" providerId="ADAL" clId="{5B430AB4-3B31-40FC-B7D2-06B73B197EDF}" dt="2025-10-16T10:15:10.018" v="3704"/>
          <ac:picMkLst>
            <pc:docMk/>
            <pc:sldMk cId="0" sldId="333"/>
            <ac:picMk id="6" creationId="{B80CEA19-895E-65B6-60B8-E95E09CC1C1F}"/>
          </ac:picMkLst>
        </pc:picChg>
        <pc:picChg chg="add mod">
          <ac:chgData name="Sezgen, Handenur" userId="693f6077-2094-4a4b-9c12-b1a0c4de2bbc" providerId="ADAL" clId="{5B430AB4-3B31-40FC-B7D2-06B73B197EDF}" dt="2025-10-16T10:15:10.018" v="3704"/>
          <ac:picMkLst>
            <pc:docMk/>
            <pc:sldMk cId="0" sldId="333"/>
            <ac:picMk id="7" creationId="{7703A97E-D5D7-BD01-4422-88551E7DE669}"/>
          </ac:picMkLst>
        </pc:picChg>
      </pc:sldChg>
      <pc:sldChg chg="addSp delSp modSp add mod modClrScheme chgLayout">
        <pc:chgData name="Sezgen, Handenur" userId="693f6077-2094-4a4b-9c12-b1a0c4de2bbc" providerId="ADAL" clId="{5B430AB4-3B31-40FC-B7D2-06B73B197EDF}" dt="2025-10-16T10:15:10.943" v="3705"/>
        <pc:sldMkLst>
          <pc:docMk/>
          <pc:sldMk cId="0" sldId="334"/>
        </pc:sldMkLst>
        <pc:spChg chg="mod ord">
          <ac:chgData name="Sezgen, Handenur" userId="693f6077-2094-4a4b-9c12-b1a0c4de2bbc" providerId="ADAL" clId="{5B430AB4-3B31-40FC-B7D2-06B73B197EDF}" dt="2025-10-16T10:07:48.649" v="3499" actId="700"/>
          <ac:spMkLst>
            <pc:docMk/>
            <pc:sldMk cId="0" sldId="334"/>
            <ac:spMk id="2" creationId="{00000000-0000-0000-0000-000000000000}"/>
          </ac:spMkLst>
        </pc:spChg>
        <pc:spChg chg="mod ord">
          <ac:chgData name="Sezgen, Handenur" userId="693f6077-2094-4a4b-9c12-b1a0c4de2bbc" providerId="ADAL" clId="{5B430AB4-3B31-40FC-B7D2-06B73B197EDF}" dt="2025-10-16T10:07:54.448" v="3501" actId="242"/>
          <ac:spMkLst>
            <pc:docMk/>
            <pc:sldMk cId="0" sldId="334"/>
            <ac:spMk id="3" creationId="{00000000-0000-0000-0000-000000000000}"/>
          </ac:spMkLst>
        </pc:spChg>
        <pc:spChg chg="add del mod">
          <ac:chgData name="Sezgen, Handenur" userId="693f6077-2094-4a4b-9c12-b1a0c4de2bbc" providerId="ADAL" clId="{5B430AB4-3B31-40FC-B7D2-06B73B197EDF}" dt="2025-10-16T10:01:13.565" v="3457" actId="6264"/>
          <ac:spMkLst>
            <pc:docMk/>
            <pc:sldMk cId="0" sldId="334"/>
            <ac:spMk id="4" creationId="{CFD6BBA6-75F2-A5DC-FDE6-FA8306EBFD69}"/>
          </ac:spMkLst>
        </pc:spChg>
        <pc:spChg chg="add del mod">
          <ac:chgData name="Sezgen, Handenur" userId="693f6077-2094-4a4b-9c12-b1a0c4de2bbc" providerId="ADAL" clId="{5B430AB4-3B31-40FC-B7D2-06B73B197EDF}" dt="2025-10-16T10:01:13.565" v="3457" actId="6264"/>
          <ac:spMkLst>
            <pc:docMk/>
            <pc:sldMk cId="0" sldId="334"/>
            <ac:spMk id="5" creationId="{0628E15F-D812-2BCF-C165-259BF14F64F5}"/>
          </ac:spMkLst>
        </pc:spChg>
        <pc:picChg chg="add mod">
          <ac:chgData name="Sezgen, Handenur" userId="693f6077-2094-4a4b-9c12-b1a0c4de2bbc" providerId="ADAL" clId="{5B430AB4-3B31-40FC-B7D2-06B73B197EDF}" dt="2025-10-16T10:15:10.943" v="3705"/>
          <ac:picMkLst>
            <pc:docMk/>
            <pc:sldMk cId="0" sldId="334"/>
            <ac:picMk id="6" creationId="{6B0D7D41-3E0A-97E8-5667-7399C40E049A}"/>
          </ac:picMkLst>
        </pc:picChg>
        <pc:picChg chg="add mod">
          <ac:chgData name="Sezgen, Handenur" userId="693f6077-2094-4a4b-9c12-b1a0c4de2bbc" providerId="ADAL" clId="{5B430AB4-3B31-40FC-B7D2-06B73B197EDF}" dt="2025-10-16T10:15:10.943" v="3705"/>
          <ac:picMkLst>
            <pc:docMk/>
            <pc:sldMk cId="0" sldId="334"/>
            <ac:picMk id="7" creationId="{E0B2D2D5-4B03-CBC8-2575-3125FA910BC8}"/>
          </ac:picMkLst>
        </pc:picChg>
      </pc:sldChg>
      <pc:sldChg chg="modSp add mod">
        <pc:chgData name="Sezgen, Handenur" userId="693f6077-2094-4a4b-9c12-b1a0c4de2bbc" providerId="ADAL" clId="{5B430AB4-3B31-40FC-B7D2-06B73B197EDF}" dt="2025-10-16T09:04:30.475" v="1900" actId="20577"/>
        <pc:sldMkLst>
          <pc:docMk/>
          <pc:sldMk cId="1829491644" sldId="335"/>
        </pc:sldMkLst>
        <pc:spChg chg="mod">
          <ac:chgData name="Sezgen, Handenur" userId="693f6077-2094-4a4b-9c12-b1a0c4de2bbc" providerId="ADAL" clId="{5B430AB4-3B31-40FC-B7D2-06B73B197EDF}" dt="2025-10-16T09:04:30.475" v="1900" actId="20577"/>
          <ac:spMkLst>
            <pc:docMk/>
            <pc:sldMk cId="1829491644" sldId="335"/>
            <ac:spMk id="2" creationId="{40658D39-C847-107F-EAF2-2B89E67DFACD}"/>
          </ac:spMkLst>
        </pc:spChg>
        <pc:spChg chg="mod">
          <ac:chgData name="Sezgen, Handenur" userId="693f6077-2094-4a4b-9c12-b1a0c4de2bbc" providerId="ADAL" clId="{5B430AB4-3B31-40FC-B7D2-06B73B197EDF}" dt="2025-10-16T09:03:59.640" v="1840" actId="20577"/>
          <ac:spMkLst>
            <pc:docMk/>
            <pc:sldMk cId="1829491644" sldId="335"/>
            <ac:spMk id="4" creationId="{64B8231D-07D6-0657-9128-22AC46BD21FD}"/>
          </ac:spMkLst>
        </pc:spChg>
        <pc:spChg chg="mod">
          <ac:chgData name="Sezgen, Handenur" userId="693f6077-2094-4a4b-9c12-b1a0c4de2bbc" providerId="ADAL" clId="{5B430AB4-3B31-40FC-B7D2-06B73B197EDF}" dt="2025-10-16T09:03:53.247" v="1839" actId="1076"/>
          <ac:spMkLst>
            <pc:docMk/>
            <pc:sldMk cId="1829491644" sldId="335"/>
            <ac:spMk id="7" creationId="{4F4385A8-6DE8-2285-4BF4-1EA17015B37D}"/>
          </ac:spMkLst>
        </pc:spChg>
      </pc:sldChg>
      <pc:sldChg chg="addSp delSp modSp add mod">
        <pc:chgData name="Sezgen, Handenur" userId="693f6077-2094-4a4b-9c12-b1a0c4de2bbc" providerId="ADAL" clId="{5B430AB4-3B31-40FC-B7D2-06B73B197EDF}" dt="2025-10-16T10:14:08.492" v="3686"/>
        <pc:sldMkLst>
          <pc:docMk/>
          <pc:sldMk cId="1683777987" sldId="336"/>
        </pc:sldMkLst>
        <pc:spChg chg="del">
          <ac:chgData name="Sezgen, Handenur" userId="693f6077-2094-4a4b-9c12-b1a0c4de2bbc" providerId="ADAL" clId="{5B430AB4-3B31-40FC-B7D2-06B73B197EDF}" dt="2025-10-16T09:07:47.221" v="1920" actId="478"/>
          <ac:spMkLst>
            <pc:docMk/>
            <pc:sldMk cId="1683777987" sldId="336"/>
            <ac:spMk id="2" creationId="{2322DB7B-D9C4-B6F6-F970-808B836AFCD9}"/>
          </ac:spMkLst>
        </pc:spChg>
        <pc:spChg chg="del">
          <ac:chgData name="Sezgen, Handenur" userId="693f6077-2094-4a4b-9c12-b1a0c4de2bbc" providerId="ADAL" clId="{5B430AB4-3B31-40FC-B7D2-06B73B197EDF}" dt="2025-10-16T09:07:47.221" v="1920" actId="478"/>
          <ac:spMkLst>
            <pc:docMk/>
            <pc:sldMk cId="1683777987" sldId="336"/>
            <ac:spMk id="3" creationId="{D392CDA7-A489-C720-4927-6517D7C3E8F3}"/>
          </ac:spMkLst>
        </pc:spChg>
        <pc:spChg chg="del">
          <ac:chgData name="Sezgen, Handenur" userId="693f6077-2094-4a4b-9c12-b1a0c4de2bbc" providerId="ADAL" clId="{5B430AB4-3B31-40FC-B7D2-06B73B197EDF}" dt="2025-10-16T09:07:47.221" v="1920" actId="478"/>
          <ac:spMkLst>
            <pc:docMk/>
            <pc:sldMk cId="1683777987" sldId="336"/>
            <ac:spMk id="4" creationId="{CC1D7A49-BF01-FF2E-7024-6CA0B923D7CA}"/>
          </ac:spMkLst>
        </pc:spChg>
        <pc:spChg chg="del">
          <ac:chgData name="Sezgen, Handenur" userId="693f6077-2094-4a4b-9c12-b1a0c4de2bbc" providerId="ADAL" clId="{5B430AB4-3B31-40FC-B7D2-06B73B197EDF}" dt="2025-10-16T09:07:47.221" v="1920" actId="478"/>
          <ac:spMkLst>
            <pc:docMk/>
            <pc:sldMk cId="1683777987" sldId="336"/>
            <ac:spMk id="5" creationId="{611AB0D3-E05E-4DCC-DE65-55FE12826447}"/>
          </ac:spMkLst>
        </pc:spChg>
        <pc:spChg chg="mod">
          <ac:chgData name="Sezgen, Handenur" userId="693f6077-2094-4a4b-9c12-b1a0c4de2bbc" providerId="ADAL" clId="{5B430AB4-3B31-40FC-B7D2-06B73B197EDF}" dt="2025-10-16T09:10:18.550" v="2004" actId="27636"/>
          <ac:spMkLst>
            <pc:docMk/>
            <pc:sldMk cId="1683777987" sldId="336"/>
            <ac:spMk id="6" creationId="{41ED5914-4304-AAFB-BE2C-8799A3D0E566}"/>
          </ac:spMkLst>
        </pc:spChg>
        <pc:spChg chg="add mod">
          <ac:chgData name="Sezgen, Handenur" userId="693f6077-2094-4a4b-9c12-b1a0c4de2bbc" providerId="ADAL" clId="{5B430AB4-3B31-40FC-B7D2-06B73B197EDF}" dt="2025-10-16T09:33:37.641" v="2758" actId="1035"/>
          <ac:spMkLst>
            <pc:docMk/>
            <pc:sldMk cId="1683777987" sldId="336"/>
            <ac:spMk id="9" creationId="{341557C9-C9B5-3722-8D88-E9F0E6CD704E}"/>
          </ac:spMkLst>
        </pc:spChg>
        <pc:spChg chg="add mod">
          <ac:chgData name="Sezgen, Handenur" userId="693f6077-2094-4a4b-9c12-b1a0c4de2bbc" providerId="ADAL" clId="{5B430AB4-3B31-40FC-B7D2-06B73B197EDF}" dt="2025-10-16T09:33:19.008" v="2737" actId="1035"/>
          <ac:spMkLst>
            <pc:docMk/>
            <pc:sldMk cId="1683777987" sldId="336"/>
            <ac:spMk id="10" creationId="{3179A132-12CB-F4AF-3E44-9E4E2173B794}"/>
          </ac:spMkLst>
        </pc:spChg>
        <pc:spChg chg="add mod">
          <ac:chgData name="Sezgen, Handenur" userId="693f6077-2094-4a4b-9c12-b1a0c4de2bbc" providerId="ADAL" clId="{5B430AB4-3B31-40FC-B7D2-06B73B197EDF}" dt="2025-10-16T09:33:23.378" v="2744" actId="1036"/>
          <ac:spMkLst>
            <pc:docMk/>
            <pc:sldMk cId="1683777987" sldId="336"/>
            <ac:spMk id="11" creationId="{A906D774-3964-8BBE-9E57-494C77D621D4}"/>
          </ac:spMkLst>
        </pc:spChg>
        <pc:spChg chg="add mod">
          <ac:chgData name="Sezgen, Handenur" userId="693f6077-2094-4a4b-9c12-b1a0c4de2bbc" providerId="ADAL" clId="{5B430AB4-3B31-40FC-B7D2-06B73B197EDF}" dt="2025-10-16T09:33:34.262" v="2755" actId="1035"/>
          <ac:spMkLst>
            <pc:docMk/>
            <pc:sldMk cId="1683777987" sldId="336"/>
            <ac:spMk id="12" creationId="{086731E2-037E-B55B-D2A4-59648E694823}"/>
          </ac:spMkLst>
        </pc:spChg>
        <pc:spChg chg="add mod">
          <ac:chgData name="Sezgen, Handenur" userId="693f6077-2094-4a4b-9c12-b1a0c4de2bbc" providerId="ADAL" clId="{5B430AB4-3B31-40FC-B7D2-06B73B197EDF}" dt="2025-10-16T09:32:40.172" v="2697" actId="1035"/>
          <ac:spMkLst>
            <pc:docMk/>
            <pc:sldMk cId="1683777987" sldId="336"/>
            <ac:spMk id="13" creationId="{97A82F70-DDD9-47D6-6D16-639197A50BD2}"/>
          </ac:spMkLst>
        </pc:spChg>
        <pc:spChg chg="add mod">
          <ac:chgData name="Sezgen, Handenur" userId="693f6077-2094-4a4b-9c12-b1a0c4de2bbc" providerId="ADAL" clId="{5B430AB4-3B31-40FC-B7D2-06B73B197EDF}" dt="2025-10-16T09:32:29.251" v="2685" actId="120"/>
          <ac:spMkLst>
            <pc:docMk/>
            <pc:sldMk cId="1683777987" sldId="336"/>
            <ac:spMk id="14" creationId="{AC25C064-648D-8643-A3B0-7436B5448CB4}"/>
          </ac:spMkLst>
        </pc:spChg>
        <pc:spChg chg="add mod">
          <ac:chgData name="Sezgen, Handenur" userId="693f6077-2094-4a4b-9c12-b1a0c4de2bbc" providerId="ADAL" clId="{5B430AB4-3B31-40FC-B7D2-06B73B197EDF}" dt="2025-10-16T09:33:30.588" v="2750" actId="1036"/>
          <ac:spMkLst>
            <pc:docMk/>
            <pc:sldMk cId="1683777987" sldId="336"/>
            <ac:spMk id="15" creationId="{9CAFBE86-1B0D-49CA-6B39-8DA4E8E78FA3}"/>
          </ac:spMkLst>
        </pc:spChg>
        <pc:graphicFrameChg chg="mod modGraphic">
          <ac:chgData name="Sezgen, Handenur" userId="693f6077-2094-4a4b-9c12-b1a0c4de2bbc" providerId="ADAL" clId="{5B430AB4-3B31-40FC-B7D2-06B73B197EDF}" dt="2025-10-16T09:35:58.613" v="2760" actId="1076"/>
          <ac:graphicFrameMkLst>
            <pc:docMk/>
            <pc:sldMk cId="1683777987" sldId="336"/>
            <ac:graphicFrameMk id="7" creationId="{8D781986-6474-8238-E058-FCC0C900EB50}"/>
          </ac:graphicFrameMkLst>
        </pc:graphicFrameChg>
        <pc:picChg chg="add mod">
          <ac:chgData name="Sezgen, Handenur" userId="693f6077-2094-4a4b-9c12-b1a0c4de2bbc" providerId="ADAL" clId="{5B430AB4-3B31-40FC-B7D2-06B73B197EDF}" dt="2025-10-16T10:14:08.492" v="3686"/>
          <ac:picMkLst>
            <pc:docMk/>
            <pc:sldMk cId="1683777987" sldId="336"/>
            <ac:picMk id="16" creationId="{DEBB3886-D79C-D7E0-354B-D665F7ADB63F}"/>
          </ac:picMkLst>
        </pc:picChg>
      </pc:sldChg>
      <pc:sldChg chg="addSp modSp add mod">
        <pc:chgData name="Sezgen, Handenur" userId="693f6077-2094-4a4b-9c12-b1a0c4de2bbc" providerId="ADAL" clId="{5B430AB4-3B31-40FC-B7D2-06B73B197EDF}" dt="2025-10-16T10:14:14.069" v="3692"/>
        <pc:sldMkLst>
          <pc:docMk/>
          <pc:sldMk cId="1863289343" sldId="337"/>
        </pc:sldMkLst>
        <pc:spChg chg="mod">
          <ac:chgData name="Sezgen, Handenur" userId="693f6077-2094-4a4b-9c12-b1a0c4de2bbc" providerId="ADAL" clId="{5B430AB4-3B31-40FC-B7D2-06B73B197EDF}" dt="2025-10-16T09:42:18.007" v="3003" actId="14100"/>
          <ac:spMkLst>
            <pc:docMk/>
            <pc:sldMk cId="1863289343" sldId="337"/>
            <ac:spMk id="2" creationId="{79F5D409-33DF-FB05-CD92-DCE0D5BBC41D}"/>
          </ac:spMkLst>
        </pc:spChg>
        <pc:spChg chg="mod">
          <ac:chgData name="Sezgen, Handenur" userId="693f6077-2094-4a4b-9c12-b1a0c4de2bbc" providerId="ADAL" clId="{5B430AB4-3B31-40FC-B7D2-06B73B197EDF}" dt="2025-10-16T09:42:15.695" v="3002" actId="20577"/>
          <ac:spMkLst>
            <pc:docMk/>
            <pc:sldMk cId="1863289343" sldId="337"/>
            <ac:spMk id="9" creationId="{0644FCD3-CCC9-3435-DBB2-86CDA5A8CE42}"/>
          </ac:spMkLst>
        </pc:spChg>
        <pc:picChg chg="add mod">
          <ac:chgData name="Sezgen, Handenur" userId="693f6077-2094-4a4b-9c12-b1a0c4de2bbc" providerId="ADAL" clId="{5B430AB4-3B31-40FC-B7D2-06B73B197EDF}" dt="2025-10-16T09:42:21.989" v="3004"/>
          <ac:picMkLst>
            <pc:docMk/>
            <pc:sldMk cId="1863289343" sldId="337"/>
            <ac:picMk id="4" creationId="{D1931CF3-12FF-0617-F1E9-2CF5E86E7DCE}"/>
          </ac:picMkLst>
        </pc:picChg>
        <pc:picChg chg="add mod">
          <ac:chgData name="Sezgen, Handenur" userId="693f6077-2094-4a4b-9c12-b1a0c4de2bbc" providerId="ADAL" clId="{5B430AB4-3B31-40FC-B7D2-06B73B197EDF}" dt="2025-10-16T10:14:14.069" v="3692"/>
          <ac:picMkLst>
            <pc:docMk/>
            <pc:sldMk cId="1863289343" sldId="337"/>
            <ac:picMk id="5" creationId="{197FFFAB-77E8-49B2-2A52-B0DF5564B6EB}"/>
          </ac:picMkLst>
        </pc:picChg>
      </pc:sldChg>
      <pc:sldChg chg="addSp delSp modSp add mod">
        <pc:chgData name="Sezgen, Handenur" userId="693f6077-2094-4a4b-9c12-b1a0c4de2bbc" providerId="ADAL" clId="{5B430AB4-3B31-40FC-B7D2-06B73B197EDF}" dt="2025-10-16T09:43:40.185" v="3042" actId="14100"/>
        <pc:sldMkLst>
          <pc:docMk/>
          <pc:sldMk cId="3653779215" sldId="338"/>
        </pc:sldMkLst>
        <pc:spChg chg="mod">
          <ac:chgData name="Sezgen, Handenur" userId="693f6077-2094-4a4b-9c12-b1a0c4de2bbc" providerId="ADAL" clId="{5B430AB4-3B31-40FC-B7D2-06B73B197EDF}" dt="2025-10-16T09:42:50.539" v="3007"/>
          <ac:spMkLst>
            <pc:docMk/>
            <pc:sldMk cId="3653779215" sldId="338"/>
            <ac:spMk id="2" creationId="{D6351232-3EC1-5FD7-B206-F29143E437FA}"/>
          </ac:spMkLst>
        </pc:spChg>
        <pc:spChg chg="add mod">
          <ac:chgData name="Sezgen, Handenur" userId="693f6077-2094-4a4b-9c12-b1a0c4de2bbc" providerId="ADAL" clId="{5B430AB4-3B31-40FC-B7D2-06B73B197EDF}" dt="2025-10-16T09:43:09.065" v="3010" actId="1076"/>
          <ac:spMkLst>
            <pc:docMk/>
            <pc:sldMk cId="3653779215" sldId="338"/>
            <ac:spMk id="5" creationId="{167642CE-8CA4-DE67-F192-07EC25BB792F}"/>
          </ac:spMkLst>
        </pc:spChg>
        <pc:spChg chg="del">
          <ac:chgData name="Sezgen, Handenur" userId="693f6077-2094-4a4b-9c12-b1a0c4de2bbc" providerId="ADAL" clId="{5B430AB4-3B31-40FC-B7D2-06B73B197EDF}" dt="2025-10-16T09:43:12.811" v="3011" actId="478"/>
          <ac:spMkLst>
            <pc:docMk/>
            <pc:sldMk cId="3653779215" sldId="338"/>
            <ac:spMk id="6" creationId="{DFC95400-F4AC-3661-9F16-4D9D91505A44}"/>
          </ac:spMkLst>
        </pc:spChg>
        <pc:spChg chg="mod">
          <ac:chgData name="Sezgen, Handenur" userId="693f6077-2094-4a4b-9c12-b1a0c4de2bbc" providerId="ADAL" clId="{5B430AB4-3B31-40FC-B7D2-06B73B197EDF}" dt="2025-10-16T09:43:29.110" v="3015" actId="1076"/>
          <ac:spMkLst>
            <pc:docMk/>
            <pc:sldMk cId="3653779215" sldId="338"/>
            <ac:spMk id="9" creationId="{36EAE43B-FEB0-3837-BC1D-B4F81F2F0899}"/>
          </ac:spMkLst>
        </pc:spChg>
        <pc:spChg chg="mod">
          <ac:chgData name="Sezgen, Handenur" userId="693f6077-2094-4a4b-9c12-b1a0c4de2bbc" providerId="ADAL" clId="{5B430AB4-3B31-40FC-B7D2-06B73B197EDF}" dt="2025-10-16T09:43:40.185" v="3042" actId="14100"/>
          <ac:spMkLst>
            <pc:docMk/>
            <pc:sldMk cId="3653779215" sldId="338"/>
            <ac:spMk id="10" creationId="{E9B87718-BDE5-7219-9E4B-F3401E7FDA44}"/>
          </ac:spMkLst>
        </pc:spChg>
        <pc:picChg chg="mod">
          <ac:chgData name="Sezgen, Handenur" userId="693f6077-2094-4a4b-9c12-b1a0c4de2bbc" providerId="ADAL" clId="{5B430AB4-3B31-40FC-B7D2-06B73B197EDF}" dt="2025-10-16T09:43:33.713" v="3040" actId="1038"/>
          <ac:picMkLst>
            <pc:docMk/>
            <pc:sldMk cId="3653779215" sldId="338"/>
            <ac:picMk id="4" creationId="{FCD0F53C-7C86-24AA-A49C-BE7310B17F06}"/>
          </ac:picMkLst>
        </pc:picChg>
        <pc:picChg chg="add mod">
          <ac:chgData name="Sezgen, Handenur" userId="693f6077-2094-4a4b-9c12-b1a0c4de2bbc" providerId="ADAL" clId="{5B430AB4-3B31-40FC-B7D2-06B73B197EDF}" dt="2025-10-16T09:43:09.065" v="3010" actId="1076"/>
          <ac:picMkLst>
            <pc:docMk/>
            <pc:sldMk cId="3653779215" sldId="338"/>
            <ac:picMk id="7" creationId="{95204F9A-D614-DEE0-FF0B-570D50AECC64}"/>
          </ac:picMkLst>
        </pc:picChg>
      </pc:sldChg>
      <pc:sldChg chg="addSp delSp modSp add mod modAnim">
        <pc:chgData name="Sezgen, Handenur" userId="693f6077-2094-4a4b-9c12-b1a0c4de2bbc" providerId="ADAL" clId="{5B430AB4-3B31-40FC-B7D2-06B73B197EDF}" dt="2025-10-16T09:49:08.577" v="3200" actId="113"/>
        <pc:sldMkLst>
          <pc:docMk/>
          <pc:sldMk cId="206427884" sldId="339"/>
        </pc:sldMkLst>
        <pc:spChg chg="mod">
          <ac:chgData name="Sezgen, Handenur" userId="693f6077-2094-4a4b-9c12-b1a0c4de2bbc" providerId="ADAL" clId="{5B430AB4-3B31-40FC-B7D2-06B73B197EDF}" dt="2025-10-16T09:46:50.016" v="3129"/>
          <ac:spMkLst>
            <pc:docMk/>
            <pc:sldMk cId="206427884" sldId="339"/>
            <ac:spMk id="2" creationId="{0EF15109-48B8-6CB7-878A-858FAD44C125}"/>
          </ac:spMkLst>
        </pc:spChg>
        <pc:spChg chg="add mod">
          <ac:chgData name="Sezgen, Handenur" userId="693f6077-2094-4a4b-9c12-b1a0c4de2bbc" providerId="ADAL" clId="{5B430AB4-3B31-40FC-B7D2-06B73B197EDF}" dt="2025-10-16T09:47:07.626" v="3139" actId="1076"/>
          <ac:spMkLst>
            <pc:docMk/>
            <pc:sldMk cId="206427884" sldId="339"/>
            <ac:spMk id="5" creationId="{F2F6B320-21FA-1A7C-F89D-0BE197D5974E}"/>
          </ac:spMkLst>
        </pc:spChg>
        <pc:spChg chg="add mod">
          <ac:chgData name="Sezgen, Handenur" userId="693f6077-2094-4a4b-9c12-b1a0c4de2bbc" providerId="ADAL" clId="{5B430AB4-3B31-40FC-B7D2-06B73B197EDF}" dt="2025-10-16T09:48:00.884" v="3179" actId="14100"/>
          <ac:spMkLst>
            <pc:docMk/>
            <pc:sldMk cId="206427884" sldId="339"/>
            <ac:spMk id="7" creationId="{4B8C219C-39CF-B46F-0FBC-0DC082938633}"/>
          </ac:spMkLst>
        </pc:spChg>
        <pc:spChg chg="mod topLvl">
          <ac:chgData name="Sezgen, Handenur" userId="693f6077-2094-4a4b-9c12-b1a0c4de2bbc" providerId="ADAL" clId="{5B430AB4-3B31-40FC-B7D2-06B73B197EDF}" dt="2025-10-16T09:47:47.594" v="3166" actId="1038"/>
          <ac:spMkLst>
            <pc:docMk/>
            <pc:sldMk cId="206427884" sldId="339"/>
            <ac:spMk id="15" creationId="{733F455F-BE9D-5325-3E77-6885CA59A0BB}"/>
          </ac:spMkLst>
        </pc:spChg>
        <pc:spChg chg="mod topLvl">
          <ac:chgData name="Sezgen, Handenur" userId="693f6077-2094-4a4b-9c12-b1a0c4de2bbc" providerId="ADAL" clId="{5B430AB4-3B31-40FC-B7D2-06B73B197EDF}" dt="2025-10-16T09:47:47.594" v="3166" actId="1038"/>
          <ac:spMkLst>
            <pc:docMk/>
            <pc:sldMk cId="206427884" sldId="339"/>
            <ac:spMk id="16" creationId="{ADC5058C-7C4D-B981-0981-2DE3E8381524}"/>
          </ac:spMkLst>
        </pc:spChg>
        <pc:spChg chg="mod topLvl">
          <ac:chgData name="Sezgen, Handenur" userId="693f6077-2094-4a4b-9c12-b1a0c4de2bbc" providerId="ADAL" clId="{5B430AB4-3B31-40FC-B7D2-06B73B197EDF}" dt="2025-10-16T09:47:42.189" v="3160" actId="1038"/>
          <ac:spMkLst>
            <pc:docMk/>
            <pc:sldMk cId="206427884" sldId="339"/>
            <ac:spMk id="17" creationId="{767F47DD-45EE-70EB-A82E-71BA0020665C}"/>
          </ac:spMkLst>
        </pc:spChg>
        <pc:spChg chg="mod topLvl">
          <ac:chgData name="Sezgen, Handenur" userId="693f6077-2094-4a4b-9c12-b1a0c4de2bbc" providerId="ADAL" clId="{5B430AB4-3B31-40FC-B7D2-06B73B197EDF}" dt="2025-10-16T09:47:42.189" v="3160" actId="1038"/>
          <ac:spMkLst>
            <pc:docMk/>
            <pc:sldMk cId="206427884" sldId="339"/>
            <ac:spMk id="18" creationId="{780BB9C7-D269-F7EE-6055-2648545A5952}"/>
          </ac:spMkLst>
        </pc:spChg>
        <pc:spChg chg="add del mod">
          <ac:chgData name="Sezgen, Handenur" userId="693f6077-2094-4a4b-9c12-b1a0c4de2bbc" providerId="ADAL" clId="{5B430AB4-3B31-40FC-B7D2-06B73B197EDF}" dt="2025-10-16T09:47:51.593" v="3167" actId="478"/>
          <ac:spMkLst>
            <pc:docMk/>
            <pc:sldMk cId="206427884" sldId="339"/>
            <ac:spMk id="19" creationId="{9510C6C6-7D93-60A1-90A5-88ED2E84B4C3}"/>
          </ac:spMkLst>
        </pc:spChg>
        <pc:spChg chg="add mod">
          <ac:chgData name="Sezgen, Handenur" userId="693f6077-2094-4a4b-9c12-b1a0c4de2bbc" providerId="ADAL" clId="{5B430AB4-3B31-40FC-B7D2-06B73B197EDF}" dt="2025-10-16T09:48:14.176" v="3183"/>
          <ac:spMkLst>
            <pc:docMk/>
            <pc:sldMk cId="206427884" sldId="339"/>
            <ac:spMk id="21" creationId="{6521AF45-6160-1706-70EE-BEA3BAC90FFC}"/>
          </ac:spMkLst>
        </pc:spChg>
        <pc:spChg chg="add mod">
          <ac:chgData name="Sezgen, Handenur" userId="693f6077-2094-4a4b-9c12-b1a0c4de2bbc" providerId="ADAL" clId="{5B430AB4-3B31-40FC-B7D2-06B73B197EDF}" dt="2025-10-16T09:48:14.176" v="3183"/>
          <ac:spMkLst>
            <pc:docMk/>
            <pc:sldMk cId="206427884" sldId="339"/>
            <ac:spMk id="22" creationId="{29DD5C05-508B-F06C-7A31-323C643A6620}"/>
          </ac:spMkLst>
        </pc:spChg>
        <pc:spChg chg="add mod">
          <ac:chgData name="Sezgen, Handenur" userId="693f6077-2094-4a4b-9c12-b1a0c4de2bbc" providerId="ADAL" clId="{5B430AB4-3B31-40FC-B7D2-06B73B197EDF}" dt="2025-10-16T09:49:08.577" v="3200" actId="113"/>
          <ac:spMkLst>
            <pc:docMk/>
            <pc:sldMk cId="206427884" sldId="339"/>
            <ac:spMk id="24" creationId="{82068314-5E76-35FE-5061-0CF45E06CDD6}"/>
          </ac:spMkLst>
        </pc:spChg>
        <pc:grpChg chg="del mod">
          <ac:chgData name="Sezgen, Handenur" userId="693f6077-2094-4a4b-9c12-b1a0c4de2bbc" providerId="ADAL" clId="{5B430AB4-3B31-40FC-B7D2-06B73B197EDF}" dt="2025-10-16T09:47:14.187" v="3141" actId="165"/>
          <ac:grpSpMkLst>
            <pc:docMk/>
            <pc:sldMk cId="206427884" sldId="339"/>
            <ac:grpSpMk id="8" creationId="{1DFACB7C-0BCB-91B0-894D-5DD8346F805D}"/>
          </ac:grpSpMkLst>
        </pc:grpChg>
        <pc:grpChg chg="del mod topLvl">
          <ac:chgData name="Sezgen, Handenur" userId="693f6077-2094-4a4b-9c12-b1a0c4de2bbc" providerId="ADAL" clId="{5B430AB4-3B31-40FC-B7D2-06B73B197EDF}" dt="2025-10-16T09:47:15.900" v="3142" actId="165"/>
          <ac:grpSpMkLst>
            <pc:docMk/>
            <pc:sldMk cId="206427884" sldId="339"/>
            <ac:grpSpMk id="13" creationId="{6589AB2E-3953-3925-BAB8-DD452755E9C1}"/>
          </ac:grpSpMkLst>
        </pc:grpChg>
        <pc:grpChg chg="del mod topLvl">
          <ac:chgData name="Sezgen, Handenur" userId="693f6077-2094-4a4b-9c12-b1a0c4de2bbc" providerId="ADAL" clId="{5B430AB4-3B31-40FC-B7D2-06B73B197EDF}" dt="2025-10-16T09:47:15.900" v="3142" actId="165"/>
          <ac:grpSpMkLst>
            <pc:docMk/>
            <pc:sldMk cId="206427884" sldId="339"/>
            <ac:grpSpMk id="14" creationId="{0CD153A4-B3B1-64F6-7EDD-33C2CED8575B}"/>
          </ac:grpSpMkLst>
        </pc:grpChg>
        <pc:graphicFrameChg chg="mod topLvl">
          <ac:chgData name="Sezgen, Handenur" userId="693f6077-2094-4a4b-9c12-b1a0c4de2bbc" providerId="ADAL" clId="{5B430AB4-3B31-40FC-B7D2-06B73B197EDF}" dt="2025-10-16T09:47:26.195" v="3152" actId="1076"/>
          <ac:graphicFrameMkLst>
            <pc:docMk/>
            <pc:sldMk cId="206427884" sldId="339"/>
            <ac:graphicFrameMk id="11" creationId="{189E9047-B521-3669-8C55-18A936198B0D}"/>
          </ac:graphicFrameMkLst>
        </pc:graphicFrameChg>
        <pc:graphicFrameChg chg="mod topLvl">
          <ac:chgData name="Sezgen, Handenur" userId="693f6077-2094-4a4b-9c12-b1a0c4de2bbc" providerId="ADAL" clId="{5B430AB4-3B31-40FC-B7D2-06B73B197EDF}" dt="2025-10-16T09:47:26.195" v="3152" actId="1076"/>
          <ac:graphicFrameMkLst>
            <pc:docMk/>
            <pc:sldMk cId="206427884" sldId="339"/>
            <ac:graphicFrameMk id="12" creationId="{EF63F593-A4C0-B2C4-223A-79BFDF3E658B}"/>
          </ac:graphicFrameMkLst>
        </pc:graphicFrameChg>
        <pc:graphicFrameChg chg="add mod">
          <ac:chgData name="Sezgen, Handenur" userId="693f6077-2094-4a4b-9c12-b1a0c4de2bbc" providerId="ADAL" clId="{5B430AB4-3B31-40FC-B7D2-06B73B197EDF}" dt="2025-10-16T09:48:14.176" v="3183"/>
          <ac:graphicFrameMkLst>
            <pc:docMk/>
            <pc:sldMk cId="206427884" sldId="339"/>
            <ac:graphicFrameMk id="20" creationId="{BA30053F-27E8-3B48-B093-2AE5AA5EDF70}"/>
          </ac:graphicFrameMkLst>
        </pc:graphicFrameChg>
        <pc:graphicFrameChg chg="add mod">
          <ac:chgData name="Sezgen, Handenur" userId="693f6077-2094-4a4b-9c12-b1a0c4de2bbc" providerId="ADAL" clId="{5B430AB4-3B31-40FC-B7D2-06B73B197EDF}" dt="2025-10-16T09:48:14.176" v="3183"/>
          <ac:graphicFrameMkLst>
            <pc:docMk/>
            <pc:sldMk cId="206427884" sldId="339"/>
            <ac:graphicFrameMk id="23" creationId="{8D3100DE-297F-AF60-E2F5-78C334957E03}"/>
          </ac:graphicFrameMkLst>
        </pc:graphicFrameChg>
        <pc:picChg chg="add del mod modCrop">
          <ac:chgData name="Sezgen, Handenur" userId="693f6077-2094-4a4b-9c12-b1a0c4de2bbc" providerId="ADAL" clId="{5B430AB4-3B31-40FC-B7D2-06B73B197EDF}" dt="2025-10-16T09:48:33.128" v="3185" actId="732"/>
          <ac:picMkLst>
            <pc:docMk/>
            <pc:sldMk cId="206427884" sldId="339"/>
            <ac:picMk id="4" creationId="{CC03C5C6-C521-AD23-285C-9D3DE15BB59E}"/>
          </ac:picMkLst>
        </pc:picChg>
      </pc:sldChg>
      <pc:sldChg chg="addSp modSp add">
        <pc:chgData name="Sezgen, Handenur" userId="693f6077-2094-4a4b-9c12-b1a0c4de2bbc" providerId="ADAL" clId="{5B430AB4-3B31-40FC-B7D2-06B73B197EDF}" dt="2025-10-16T10:14:03.629" v="3685"/>
        <pc:sldMkLst>
          <pc:docMk/>
          <pc:sldMk cId="3192247328" sldId="340"/>
        </pc:sldMkLst>
        <pc:picChg chg="add mod">
          <ac:chgData name="Sezgen, Handenur" userId="693f6077-2094-4a4b-9c12-b1a0c4de2bbc" providerId="ADAL" clId="{5B430AB4-3B31-40FC-B7D2-06B73B197EDF}" dt="2025-10-16T10:14:03.629" v="3685"/>
          <ac:picMkLst>
            <pc:docMk/>
            <pc:sldMk cId="3192247328" sldId="340"/>
            <ac:picMk id="4" creationId="{B2A817A4-4F14-D9E3-9B8A-A59C277F864F}"/>
          </ac:picMkLst>
        </pc:picChg>
      </pc:sldChg>
      <pc:sldChg chg="addSp modSp add mod">
        <pc:chgData name="Sezgen, Handenur" userId="693f6077-2094-4a4b-9c12-b1a0c4de2bbc" providerId="ADAL" clId="{5B430AB4-3B31-40FC-B7D2-06B73B197EDF}" dt="2025-10-16T14:09:23.973" v="3711" actId="1076"/>
        <pc:sldMkLst>
          <pc:docMk/>
          <pc:sldMk cId="1412578664" sldId="341"/>
        </pc:sldMkLst>
        <pc:spChg chg="mod">
          <ac:chgData name="Sezgen, Handenur" userId="693f6077-2094-4a4b-9c12-b1a0c4de2bbc" providerId="ADAL" clId="{5B430AB4-3B31-40FC-B7D2-06B73B197EDF}" dt="2025-10-16T10:03:30.872" v="3476" actId="20577"/>
          <ac:spMkLst>
            <pc:docMk/>
            <pc:sldMk cId="1412578664" sldId="341"/>
            <ac:spMk id="2" creationId="{FD2161C2-35E6-AE80-8498-FD8F73EAEB45}"/>
          </ac:spMkLst>
        </pc:spChg>
        <pc:picChg chg="add mod">
          <ac:chgData name="Sezgen, Handenur" userId="693f6077-2094-4a4b-9c12-b1a0c4de2bbc" providerId="ADAL" clId="{5B430AB4-3B31-40FC-B7D2-06B73B197EDF}" dt="2025-10-16T14:09:23.973" v="3711" actId="1076"/>
          <ac:picMkLst>
            <pc:docMk/>
            <pc:sldMk cId="1412578664" sldId="341"/>
            <ac:picMk id="8" creationId="{2A87EAD5-A8F3-365B-B454-AD35A70052FF}"/>
          </ac:picMkLst>
        </pc:picChg>
      </pc:sldChg>
      <pc:sldChg chg="addSp delSp modSp new mod modClrScheme chgLayout">
        <pc:chgData name="Sezgen, Handenur" userId="693f6077-2094-4a4b-9c12-b1a0c4de2bbc" providerId="ADAL" clId="{5B430AB4-3B31-40FC-B7D2-06B73B197EDF}" dt="2025-10-16T10:08:05.124" v="3513" actId="20577"/>
        <pc:sldMkLst>
          <pc:docMk/>
          <pc:sldMk cId="640476629" sldId="342"/>
        </pc:sldMkLst>
        <pc:spChg chg="del mod ord">
          <ac:chgData name="Sezgen, Handenur" userId="693f6077-2094-4a4b-9c12-b1a0c4de2bbc" providerId="ADAL" clId="{5B430AB4-3B31-40FC-B7D2-06B73B197EDF}" dt="2025-10-16T10:08:01.285" v="3502" actId="700"/>
          <ac:spMkLst>
            <pc:docMk/>
            <pc:sldMk cId="640476629" sldId="342"/>
            <ac:spMk id="2" creationId="{E5D3645B-67FF-3986-0C1D-313C3C7340DD}"/>
          </ac:spMkLst>
        </pc:spChg>
        <pc:spChg chg="del">
          <ac:chgData name="Sezgen, Handenur" userId="693f6077-2094-4a4b-9c12-b1a0c4de2bbc" providerId="ADAL" clId="{5B430AB4-3B31-40FC-B7D2-06B73B197EDF}" dt="2025-10-16T10:08:01.285" v="3502" actId="700"/>
          <ac:spMkLst>
            <pc:docMk/>
            <pc:sldMk cId="640476629" sldId="342"/>
            <ac:spMk id="3" creationId="{C55508E3-A9F4-FA32-666C-8D57B3DE0473}"/>
          </ac:spMkLst>
        </pc:spChg>
        <pc:spChg chg="add mod ord">
          <ac:chgData name="Sezgen, Handenur" userId="693f6077-2094-4a4b-9c12-b1a0c4de2bbc" providerId="ADAL" clId="{5B430AB4-3B31-40FC-B7D2-06B73B197EDF}" dt="2025-10-16T10:08:05.124" v="3513" actId="20577"/>
          <ac:spMkLst>
            <pc:docMk/>
            <pc:sldMk cId="640476629" sldId="342"/>
            <ac:spMk id="4" creationId="{8BC68B39-99CE-422A-2D36-72F73EF54078}"/>
          </ac:spMkLst>
        </pc:spChg>
      </pc:sldChg>
      <pc:sldChg chg="addSp delSp modSp add mod">
        <pc:chgData name="Sezgen, Handenur" userId="693f6077-2094-4a4b-9c12-b1a0c4de2bbc" providerId="ADAL" clId="{5B430AB4-3B31-40FC-B7D2-06B73B197EDF}" dt="2025-10-16T10:09:16.479" v="3544" actId="1076"/>
        <pc:sldMkLst>
          <pc:docMk/>
          <pc:sldMk cId="76041804" sldId="343"/>
        </pc:sldMkLst>
        <pc:spChg chg="del mod">
          <ac:chgData name="Sezgen, Handenur" userId="693f6077-2094-4a4b-9c12-b1a0c4de2bbc" providerId="ADAL" clId="{5B430AB4-3B31-40FC-B7D2-06B73B197EDF}" dt="2025-10-16T10:09:10.045" v="3532" actId="478"/>
          <ac:spMkLst>
            <pc:docMk/>
            <pc:sldMk cId="76041804" sldId="343"/>
            <ac:spMk id="2" creationId="{71CF76A7-8684-0588-B353-906659704496}"/>
          </ac:spMkLst>
        </pc:spChg>
        <pc:picChg chg="add mod">
          <ac:chgData name="Sezgen, Handenur" userId="693f6077-2094-4a4b-9c12-b1a0c4de2bbc" providerId="ADAL" clId="{5B430AB4-3B31-40FC-B7D2-06B73B197EDF}" dt="2025-10-16T10:09:16.479" v="3544" actId="1076"/>
          <ac:picMkLst>
            <pc:docMk/>
            <pc:sldMk cId="76041804" sldId="343"/>
            <ac:picMk id="3" creationId="{1357E25C-D754-03E4-60AC-0BBE089538A9}"/>
          </ac:picMkLst>
        </pc:picChg>
        <pc:picChg chg="add del mod">
          <ac:chgData name="Sezgen, Handenur" userId="693f6077-2094-4a4b-9c12-b1a0c4de2bbc" providerId="ADAL" clId="{5B430AB4-3B31-40FC-B7D2-06B73B197EDF}" dt="2025-10-16T10:09:11.691" v="3533" actId="21"/>
          <ac:picMkLst>
            <pc:docMk/>
            <pc:sldMk cId="76041804" sldId="343"/>
            <ac:picMk id="4" creationId="{6005B248-7A7E-C789-EC85-868FC4DFA442}"/>
          </ac:picMkLst>
        </pc:picChg>
      </pc:sldChg>
      <pc:sldChg chg="addSp delSp modSp add mod ord">
        <pc:chgData name="Sezgen, Handenur" userId="693f6077-2094-4a4b-9c12-b1a0c4de2bbc" providerId="ADAL" clId="{5B430AB4-3B31-40FC-B7D2-06B73B197EDF}" dt="2025-10-16T10:09:30.815" v="3559" actId="1076"/>
        <pc:sldMkLst>
          <pc:docMk/>
          <pc:sldMk cId="473685036" sldId="344"/>
        </pc:sldMkLst>
        <pc:picChg chg="del">
          <ac:chgData name="Sezgen, Handenur" userId="693f6077-2094-4a4b-9c12-b1a0c4de2bbc" providerId="ADAL" clId="{5B430AB4-3B31-40FC-B7D2-06B73B197EDF}" dt="2025-10-16T10:09:26.753" v="3548" actId="478"/>
          <ac:picMkLst>
            <pc:docMk/>
            <pc:sldMk cId="473685036" sldId="344"/>
            <ac:picMk id="3" creationId="{672729A9-412E-EA7D-6954-7A5E19B10F7C}"/>
          </ac:picMkLst>
        </pc:picChg>
        <pc:picChg chg="add mod">
          <ac:chgData name="Sezgen, Handenur" userId="693f6077-2094-4a4b-9c12-b1a0c4de2bbc" providerId="ADAL" clId="{5B430AB4-3B31-40FC-B7D2-06B73B197EDF}" dt="2025-10-16T10:09:30.815" v="3559" actId="1076"/>
          <ac:picMkLst>
            <pc:docMk/>
            <pc:sldMk cId="473685036" sldId="344"/>
            <ac:picMk id="4" creationId="{6005B248-7A7E-C789-EC85-868FC4DFA442}"/>
          </ac:picMkLst>
        </pc:picChg>
      </pc:sldChg>
      <pc:sldChg chg="addSp delSp modSp del mod modClrScheme chgLayout">
        <pc:chgData name="Sezgen, Handenur" userId="693f6077-2094-4a4b-9c12-b1a0c4de2bbc" providerId="ADAL" clId="{5B430AB4-3B31-40FC-B7D2-06B73B197EDF}" dt="2025-10-16T08:27:29.223" v="1102" actId="47"/>
        <pc:sldMkLst>
          <pc:docMk/>
          <pc:sldMk cId="10406142" sldId="1051"/>
        </pc:sldMkLst>
        <pc:spChg chg="mod ord">
          <ac:chgData name="Sezgen, Handenur" userId="693f6077-2094-4a4b-9c12-b1a0c4de2bbc" providerId="ADAL" clId="{5B430AB4-3B31-40FC-B7D2-06B73B197EDF}" dt="2025-10-16T08:11:40.407" v="812" actId="1076"/>
          <ac:spMkLst>
            <pc:docMk/>
            <pc:sldMk cId="10406142" sldId="1051"/>
            <ac:spMk id="2" creationId="{00000000-0000-0000-0000-000000000000}"/>
          </ac:spMkLst>
        </pc:spChg>
        <pc:spChg chg="add del mod">
          <ac:chgData name="Sezgen, Handenur" userId="693f6077-2094-4a4b-9c12-b1a0c4de2bbc" providerId="ADAL" clId="{5B430AB4-3B31-40FC-B7D2-06B73B197EDF}" dt="2025-10-16T08:11:31.304" v="807" actId="6264"/>
          <ac:spMkLst>
            <pc:docMk/>
            <pc:sldMk cId="10406142" sldId="1051"/>
            <ac:spMk id="4" creationId="{E90ACB19-0CA0-06CA-3111-974B604BC1B4}"/>
          </ac:spMkLst>
        </pc:spChg>
      </pc:sldChg>
      <pc:sldChg chg="addSp delSp modSp mod modClrScheme chgLayout">
        <pc:chgData name="Sezgen, Handenur" userId="693f6077-2094-4a4b-9c12-b1a0c4de2bbc" providerId="ADAL" clId="{5B430AB4-3B31-40FC-B7D2-06B73B197EDF}" dt="2025-10-16T10:11:12.476" v="3620"/>
        <pc:sldMkLst>
          <pc:docMk/>
          <pc:sldMk cId="1491542538" sldId="2076137330"/>
        </pc:sldMkLst>
        <pc:spChg chg="mod">
          <ac:chgData name="Sezgen, Handenur" userId="693f6077-2094-4a4b-9c12-b1a0c4de2bbc" providerId="ADAL" clId="{5B430AB4-3B31-40FC-B7D2-06B73B197EDF}" dt="2025-10-16T07:41:15.047" v="106" actId="1037"/>
          <ac:spMkLst>
            <pc:docMk/>
            <pc:sldMk cId="1491542538" sldId="2076137330"/>
            <ac:spMk id="2" creationId="{8D6282D3-C1C5-2622-991B-5623A25812E2}"/>
          </ac:spMkLst>
        </pc:spChg>
        <pc:spChg chg="mod ord">
          <ac:chgData name="Sezgen, Handenur" userId="693f6077-2094-4a4b-9c12-b1a0c4de2bbc" providerId="ADAL" clId="{5B430AB4-3B31-40FC-B7D2-06B73B197EDF}" dt="2025-10-16T07:40:49.711" v="76" actId="700"/>
          <ac:spMkLst>
            <pc:docMk/>
            <pc:sldMk cId="1491542538" sldId="2076137330"/>
            <ac:spMk id="5" creationId="{E0C5A1CE-82AE-9E49-1892-7B85BA3A3066}"/>
          </ac:spMkLst>
        </pc:spChg>
        <pc:spChg chg="mod">
          <ac:chgData name="Sezgen, Handenur" userId="693f6077-2094-4a4b-9c12-b1a0c4de2bbc" providerId="ADAL" clId="{5B430AB4-3B31-40FC-B7D2-06B73B197EDF}" dt="2025-10-16T07:41:21.790" v="117" actId="1036"/>
          <ac:spMkLst>
            <pc:docMk/>
            <pc:sldMk cId="1491542538" sldId="2076137330"/>
            <ac:spMk id="6" creationId="{CE6934CB-D421-2978-D0C3-50EE36EDC3D5}"/>
          </ac:spMkLst>
        </pc:spChg>
        <pc:spChg chg="add del mod">
          <ac:chgData name="Sezgen, Handenur" userId="693f6077-2094-4a4b-9c12-b1a0c4de2bbc" providerId="ADAL" clId="{5B430AB4-3B31-40FC-B7D2-06B73B197EDF}" dt="2025-10-16T07:40:46.706" v="75" actId="6264"/>
          <ac:spMkLst>
            <pc:docMk/>
            <pc:sldMk cId="1491542538" sldId="2076137330"/>
            <ac:spMk id="7" creationId="{842A01F7-BEAB-A1C7-C394-08E8D4260D85}"/>
          </ac:spMkLst>
        </pc:spChg>
        <pc:spChg chg="add del mod ord">
          <ac:chgData name="Sezgen, Handenur" userId="693f6077-2094-4a4b-9c12-b1a0c4de2bbc" providerId="ADAL" clId="{5B430AB4-3B31-40FC-B7D2-06B73B197EDF}" dt="2025-10-16T07:40:49.711" v="76" actId="700"/>
          <ac:spMkLst>
            <pc:docMk/>
            <pc:sldMk cId="1491542538" sldId="2076137330"/>
            <ac:spMk id="8" creationId="{E7FFE67F-8F8C-0B8C-3DC4-85F23F24EAD4}"/>
          </ac:spMkLst>
        </pc:spChg>
        <pc:spChg chg="add del mod ord">
          <ac:chgData name="Sezgen, Handenur" userId="693f6077-2094-4a4b-9c12-b1a0c4de2bbc" providerId="ADAL" clId="{5B430AB4-3B31-40FC-B7D2-06B73B197EDF}" dt="2025-10-16T07:40:49.711" v="76" actId="700"/>
          <ac:spMkLst>
            <pc:docMk/>
            <pc:sldMk cId="1491542538" sldId="2076137330"/>
            <ac:spMk id="9" creationId="{224884B5-EECD-4D07-AD8E-D6FAF78276BB}"/>
          </ac:spMkLst>
        </pc:spChg>
        <pc:spChg chg="mod">
          <ac:chgData name="Sezgen, Handenur" userId="693f6077-2094-4a4b-9c12-b1a0c4de2bbc" providerId="ADAL" clId="{5B430AB4-3B31-40FC-B7D2-06B73B197EDF}" dt="2025-10-16T07:41:04.560" v="96" actId="1036"/>
          <ac:spMkLst>
            <pc:docMk/>
            <pc:sldMk cId="1491542538" sldId="2076137330"/>
            <ac:spMk id="10" creationId="{7011C316-6922-114F-A47C-A69115265454}"/>
          </ac:spMkLst>
        </pc:spChg>
        <pc:spChg chg="mod">
          <ac:chgData name="Sezgen, Handenur" userId="693f6077-2094-4a4b-9c12-b1a0c4de2bbc" providerId="ADAL" clId="{5B430AB4-3B31-40FC-B7D2-06B73B197EDF}" dt="2025-10-16T07:41:10.292" v="97" actId="1076"/>
          <ac:spMkLst>
            <pc:docMk/>
            <pc:sldMk cId="1491542538" sldId="2076137330"/>
            <ac:spMk id="12" creationId="{47E30981-80D3-7A45-103D-6DF844F0553F}"/>
          </ac:spMkLst>
        </pc:spChg>
        <pc:spChg chg="mod">
          <ac:chgData name="Sezgen, Handenur" userId="693f6077-2094-4a4b-9c12-b1a0c4de2bbc" providerId="ADAL" clId="{5B430AB4-3B31-40FC-B7D2-06B73B197EDF}" dt="2025-10-16T07:40:51.630" v="77" actId="21"/>
          <ac:spMkLst>
            <pc:docMk/>
            <pc:sldMk cId="1491542538" sldId="2076137330"/>
            <ac:spMk id="13" creationId="{FF72FD8D-D4B3-44CC-1CA2-958B7F731334}"/>
          </ac:spMkLst>
        </pc:spChg>
        <pc:spChg chg="mod">
          <ac:chgData name="Sezgen, Handenur" userId="693f6077-2094-4a4b-9c12-b1a0c4de2bbc" providerId="ADAL" clId="{5B430AB4-3B31-40FC-B7D2-06B73B197EDF}" dt="2025-10-16T07:41:21.790" v="117" actId="1036"/>
          <ac:spMkLst>
            <pc:docMk/>
            <pc:sldMk cId="1491542538" sldId="2076137330"/>
            <ac:spMk id="14" creationId="{C9D9AE63-FCA0-778C-5B98-57F61D2187F8}"/>
          </ac:spMkLst>
        </pc:spChg>
        <pc:spChg chg="add mod ord">
          <ac:chgData name="Sezgen, Handenur" userId="693f6077-2094-4a4b-9c12-b1a0c4de2bbc" providerId="ADAL" clId="{5B430AB4-3B31-40FC-B7D2-06B73B197EDF}" dt="2025-10-16T07:40:57.948" v="82" actId="207"/>
          <ac:spMkLst>
            <pc:docMk/>
            <pc:sldMk cId="1491542538" sldId="2076137330"/>
            <ac:spMk id="15" creationId="{2EABF2CD-0B3D-DDBA-9166-250463BBF844}"/>
          </ac:spMkLst>
        </pc:spChg>
        <pc:spChg chg="mod">
          <ac:chgData name="Sezgen, Handenur" userId="693f6077-2094-4a4b-9c12-b1a0c4de2bbc" providerId="ADAL" clId="{5B430AB4-3B31-40FC-B7D2-06B73B197EDF}" dt="2025-10-16T07:41:37.671" v="122" actId="1076"/>
          <ac:spMkLst>
            <pc:docMk/>
            <pc:sldMk cId="1491542538" sldId="2076137330"/>
            <ac:spMk id="16" creationId="{51FD5936-E602-7077-F866-AAD70FB5D620}"/>
          </ac:spMkLst>
        </pc:spChg>
        <pc:spChg chg="mod">
          <ac:chgData name="Sezgen, Handenur" userId="693f6077-2094-4a4b-9c12-b1a0c4de2bbc" providerId="ADAL" clId="{5B430AB4-3B31-40FC-B7D2-06B73B197EDF}" dt="2025-10-16T07:41:21.790" v="117" actId="1036"/>
          <ac:spMkLst>
            <pc:docMk/>
            <pc:sldMk cId="1491542538" sldId="2076137330"/>
            <ac:spMk id="17" creationId="{786C59FE-9002-2E2E-FE4F-EA5E4EB270EE}"/>
          </ac:spMkLst>
        </pc:spChg>
        <pc:graphicFrameChg chg="mod">
          <ac:chgData name="Sezgen, Handenur" userId="693f6077-2094-4a4b-9c12-b1a0c4de2bbc" providerId="ADAL" clId="{5B430AB4-3B31-40FC-B7D2-06B73B197EDF}" dt="2025-10-16T07:41:04.560" v="96" actId="1036"/>
          <ac:graphicFrameMkLst>
            <pc:docMk/>
            <pc:sldMk cId="1491542538" sldId="2076137330"/>
            <ac:graphicFrameMk id="11" creationId="{98D4CB60-F770-059C-F1C8-5E66A319A2FF}"/>
          </ac:graphicFrameMkLst>
        </pc:graphicFrameChg>
        <pc:picChg chg="add mod">
          <ac:chgData name="Sezgen, Handenur" userId="693f6077-2094-4a4b-9c12-b1a0c4de2bbc" providerId="ADAL" clId="{5B430AB4-3B31-40FC-B7D2-06B73B197EDF}" dt="2025-10-16T10:11:12.476" v="3620"/>
          <ac:picMkLst>
            <pc:docMk/>
            <pc:sldMk cId="1491542538" sldId="2076137330"/>
            <ac:picMk id="18" creationId="{8B591792-85A6-CED9-10AB-B3BC809362ED}"/>
          </ac:picMkLst>
        </pc:picChg>
      </pc:sldChg>
      <pc:sldChg chg="addSp delSp modSp mod modClrScheme chgLayout">
        <pc:chgData name="Sezgen, Handenur" userId="693f6077-2094-4a4b-9c12-b1a0c4de2bbc" providerId="ADAL" clId="{5B430AB4-3B31-40FC-B7D2-06B73B197EDF}" dt="2025-10-16T10:11:34.161" v="3641"/>
        <pc:sldMkLst>
          <pc:docMk/>
          <pc:sldMk cId="4156081089" sldId="2147470171"/>
        </pc:sldMkLst>
        <pc:spChg chg="mod ord">
          <ac:chgData name="Sezgen, Handenur" userId="693f6077-2094-4a4b-9c12-b1a0c4de2bbc" providerId="ADAL" clId="{5B430AB4-3B31-40FC-B7D2-06B73B197EDF}" dt="2025-10-16T08:10:13.115" v="722" actId="1076"/>
          <ac:spMkLst>
            <pc:docMk/>
            <pc:sldMk cId="4156081089" sldId="2147470171"/>
            <ac:spMk id="2" creationId="{41BE00BB-9F20-8D02-2B03-B66975CBF314}"/>
          </ac:spMkLst>
        </pc:spChg>
        <pc:spChg chg="add del mod">
          <ac:chgData name="Sezgen, Handenur" userId="693f6077-2094-4a4b-9c12-b1a0c4de2bbc" providerId="ADAL" clId="{5B430AB4-3B31-40FC-B7D2-06B73B197EDF}" dt="2025-10-16T08:09:56.662" v="715" actId="6264"/>
          <ac:spMkLst>
            <pc:docMk/>
            <pc:sldMk cId="4156081089" sldId="2147470171"/>
            <ac:spMk id="3" creationId="{A68BE2EE-8A3F-D85F-4F3F-4751E1003B6D}"/>
          </ac:spMkLst>
        </pc:spChg>
        <pc:spChg chg="mod ord">
          <ac:chgData name="Sezgen, Handenur" userId="693f6077-2094-4a4b-9c12-b1a0c4de2bbc" providerId="ADAL" clId="{5B430AB4-3B31-40FC-B7D2-06B73B197EDF}" dt="2025-10-16T08:09:59.911" v="717" actId="27636"/>
          <ac:spMkLst>
            <pc:docMk/>
            <pc:sldMk cId="4156081089" sldId="2147470171"/>
            <ac:spMk id="5" creationId="{EC0A06C4-66A2-4577-AE15-E2DB61A38F96}"/>
          </ac:spMkLst>
        </pc:spChg>
        <pc:spChg chg="mod">
          <ac:chgData name="Sezgen, Handenur" userId="693f6077-2094-4a4b-9c12-b1a0c4de2bbc" providerId="ADAL" clId="{5B430AB4-3B31-40FC-B7D2-06B73B197EDF}" dt="2025-10-16T08:10:55.993" v="766" actId="255"/>
          <ac:spMkLst>
            <pc:docMk/>
            <pc:sldMk cId="4156081089" sldId="2147470171"/>
            <ac:spMk id="7" creationId="{9ED8C6B7-94D3-CD49-C53F-7527910A1E0C}"/>
          </ac:spMkLst>
        </pc:spChg>
        <pc:spChg chg="mod">
          <ac:chgData name="Sezgen, Handenur" userId="693f6077-2094-4a4b-9c12-b1a0c4de2bbc" providerId="ADAL" clId="{5B430AB4-3B31-40FC-B7D2-06B73B197EDF}" dt="2025-10-16T08:10:44.189" v="761" actId="164"/>
          <ac:spMkLst>
            <pc:docMk/>
            <pc:sldMk cId="4156081089" sldId="2147470171"/>
            <ac:spMk id="9" creationId="{CF730FF0-D45A-AFF4-F98F-EC69C49E3F4F}"/>
          </ac:spMkLst>
        </pc:spChg>
        <pc:spChg chg="mod">
          <ac:chgData name="Sezgen, Handenur" userId="693f6077-2094-4a4b-9c12-b1a0c4de2bbc" providerId="ADAL" clId="{5B430AB4-3B31-40FC-B7D2-06B73B197EDF}" dt="2025-10-16T08:10:20.519" v="726" actId="14100"/>
          <ac:spMkLst>
            <pc:docMk/>
            <pc:sldMk cId="4156081089" sldId="2147470171"/>
            <ac:spMk id="12" creationId="{F76176DC-327A-3A5A-5099-7B294F9BA273}"/>
          </ac:spMkLst>
        </pc:spChg>
        <pc:spChg chg="mod">
          <ac:chgData name="Sezgen, Handenur" userId="693f6077-2094-4a4b-9c12-b1a0c4de2bbc" providerId="ADAL" clId="{5B430AB4-3B31-40FC-B7D2-06B73B197EDF}" dt="2025-10-16T08:10:20.519" v="726" actId="14100"/>
          <ac:spMkLst>
            <pc:docMk/>
            <pc:sldMk cId="4156081089" sldId="2147470171"/>
            <ac:spMk id="13" creationId="{28F8BE10-B8CA-3C65-218C-B9A0408A8BA7}"/>
          </ac:spMkLst>
        </pc:spChg>
        <pc:spChg chg="mod">
          <ac:chgData name="Sezgen, Handenur" userId="693f6077-2094-4a4b-9c12-b1a0c4de2bbc" providerId="ADAL" clId="{5B430AB4-3B31-40FC-B7D2-06B73B197EDF}" dt="2025-10-16T08:10:20.519" v="726" actId="14100"/>
          <ac:spMkLst>
            <pc:docMk/>
            <pc:sldMk cId="4156081089" sldId="2147470171"/>
            <ac:spMk id="14" creationId="{43BFE3E2-B100-3683-321B-53E0162FC2E9}"/>
          </ac:spMkLst>
        </pc:spChg>
        <pc:spChg chg="mod">
          <ac:chgData name="Sezgen, Handenur" userId="693f6077-2094-4a4b-9c12-b1a0c4de2bbc" providerId="ADAL" clId="{5B430AB4-3B31-40FC-B7D2-06B73B197EDF}" dt="2025-10-16T08:10:20.519" v="726" actId="14100"/>
          <ac:spMkLst>
            <pc:docMk/>
            <pc:sldMk cId="4156081089" sldId="2147470171"/>
            <ac:spMk id="15" creationId="{8F75CA55-B9C9-D298-EA0A-DB348FD78C4B}"/>
          </ac:spMkLst>
        </pc:spChg>
        <pc:spChg chg="mod">
          <ac:chgData name="Sezgen, Handenur" userId="693f6077-2094-4a4b-9c12-b1a0c4de2bbc" providerId="ADAL" clId="{5B430AB4-3B31-40FC-B7D2-06B73B197EDF}" dt="2025-10-16T08:10:20.519" v="726" actId="14100"/>
          <ac:spMkLst>
            <pc:docMk/>
            <pc:sldMk cId="4156081089" sldId="2147470171"/>
            <ac:spMk id="16" creationId="{16E88AEC-14E2-3D08-B9E8-FBFEBACDA95F}"/>
          </ac:spMkLst>
        </pc:spChg>
        <pc:spChg chg="add del mod">
          <ac:chgData name="Sezgen, Handenur" userId="693f6077-2094-4a4b-9c12-b1a0c4de2bbc" providerId="ADAL" clId="{5B430AB4-3B31-40FC-B7D2-06B73B197EDF}" dt="2025-10-16T08:09:56.662" v="715" actId="6264"/>
          <ac:spMkLst>
            <pc:docMk/>
            <pc:sldMk cId="4156081089" sldId="2147470171"/>
            <ac:spMk id="17" creationId="{F3C30968-BDCD-6CED-6F59-CF9F57BFDE71}"/>
          </ac:spMkLst>
        </pc:spChg>
        <pc:spChg chg="mod">
          <ac:chgData name="Sezgen, Handenur" userId="693f6077-2094-4a4b-9c12-b1a0c4de2bbc" providerId="ADAL" clId="{5B430AB4-3B31-40FC-B7D2-06B73B197EDF}" dt="2025-10-16T08:10:59.875" v="767" actId="164"/>
          <ac:spMkLst>
            <pc:docMk/>
            <pc:sldMk cId="4156081089" sldId="2147470171"/>
            <ac:spMk id="23" creationId="{32BBC380-D498-440B-A5F9-6C0F3299AB39}"/>
          </ac:spMkLst>
        </pc:spChg>
        <pc:spChg chg="mod">
          <ac:chgData name="Sezgen, Handenur" userId="693f6077-2094-4a4b-9c12-b1a0c4de2bbc" providerId="ADAL" clId="{5B430AB4-3B31-40FC-B7D2-06B73B197EDF}" dt="2025-10-16T08:11:18.162" v="797" actId="1036"/>
          <ac:spMkLst>
            <pc:docMk/>
            <pc:sldMk cId="4156081089" sldId="2147470171"/>
            <ac:spMk id="28" creationId="{223A8A7D-327D-D1B7-CA68-904C9814B05D}"/>
          </ac:spMkLst>
        </pc:spChg>
        <pc:spChg chg="mod">
          <ac:chgData name="Sezgen, Handenur" userId="693f6077-2094-4a4b-9c12-b1a0c4de2bbc" providerId="ADAL" clId="{5B430AB4-3B31-40FC-B7D2-06B73B197EDF}" dt="2025-10-16T08:10:44.189" v="761" actId="164"/>
          <ac:spMkLst>
            <pc:docMk/>
            <pc:sldMk cId="4156081089" sldId="2147470171"/>
            <ac:spMk id="33" creationId="{09280721-AF06-21F1-CE52-A5DEB1AD8DE5}"/>
          </ac:spMkLst>
        </pc:spChg>
        <pc:spChg chg="mod">
          <ac:chgData name="Sezgen, Handenur" userId="693f6077-2094-4a4b-9c12-b1a0c4de2bbc" providerId="ADAL" clId="{5B430AB4-3B31-40FC-B7D2-06B73B197EDF}" dt="2025-10-16T08:10:44.189" v="761" actId="164"/>
          <ac:spMkLst>
            <pc:docMk/>
            <pc:sldMk cId="4156081089" sldId="2147470171"/>
            <ac:spMk id="34" creationId="{96703FE5-9537-30CF-DBC8-6B4088D7D58C}"/>
          </ac:spMkLst>
        </pc:spChg>
        <pc:spChg chg="mod">
          <ac:chgData name="Sezgen, Handenur" userId="693f6077-2094-4a4b-9c12-b1a0c4de2bbc" providerId="ADAL" clId="{5B430AB4-3B31-40FC-B7D2-06B73B197EDF}" dt="2025-10-16T08:10:44.189" v="761" actId="164"/>
          <ac:spMkLst>
            <pc:docMk/>
            <pc:sldMk cId="4156081089" sldId="2147470171"/>
            <ac:spMk id="35" creationId="{3FA64E37-4D57-BB54-6A6F-ED8721A14745}"/>
          </ac:spMkLst>
        </pc:spChg>
        <pc:spChg chg="mod">
          <ac:chgData name="Sezgen, Handenur" userId="693f6077-2094-4a4b-9c12-b1a0c4de2bbc" providerId="ADAL" clId="{5B430AB4-3B31-40FC-B7D2-06B73B197EDF}" dt="2025-10-16T08:10:55.993" v="766" actId="255"/>
          <ac:spMkLst>
            <pc:docMk/>
            <pc:sldMk cId="4156081089" sldId="2147470171"/>
            <ac:spMk id="39" creationId="{502B625D-8E8A-CCAD-A99F-417EBB4FC173}"/>
          </ac:spMkLst>
        </pc:spChg>
        <pc:spChg chg="mod">
          <ac:chgData name="Sezgen, Handenur" userId="693f6077-2094-4a4b-9c12-b1a0c4de2bbc" providerId="ADAL" clId="{5B430AB4-3B31-40FC-B7D2-06B73B197EDF}" dt="2025-10-16T08:11:05.863" v="787" actId="164"/>
          <ac:spMkLst>
            <pc:docMk/>
            <pc:sldMk cId="4156081089" sldId="2147470171"/>
            <ac:spMk id="42" creationId="{67AA8D1B-8EC4-40F9-FB6A-707167832834}"/>
          </ac:spMkLst>
        </pc:spChg>
        <pc:grpChg chg="mod">
          <ac:chgData name="Sezgen, Handenur" userId="693f6077-2094-4a4b-9c12-b1a0c4de2bbc" providerId="ADAL" clId="{5B430AB4-3B31-40FC-B7D2-06B73B197EDF}" dt="2025-10-16T08:10:59.875" v="767" actId="164"/>
          <ac:grpSpMkLst>
            <pc:docMk/>
            <pc:sldMk cId="4156081089" sldId="2147470171"/>
            <ac:grpSpMk id="6" creationId="{DCDD2507-2E4E-FEED-815F-E135F069F536}"/>
          </ac:grpSpMkLst>
        </pc:grpChg>
        <pc:grpChg chg="add mod">
          <ac:chgData name="Sezgen, Handenur" userId="693f6077-2094-4a4b-9c12-b1a0c4de2bbc" providerId="ADAL" clId="{5B430AB4-3B31-40FC-B7D2-06B73B197EDF}" dt="2025-10-16T08:10:48.633" v="765" actId="14100"/>
          <ac:grpSpMkLst>
            <pc:docMk/>
            <pc:sldMk cId="4156081089" sldId="2147470171"/>
            <ac:grpSpMk id="18" creationId="{93E2938A-69A4-EEEE-5B94-13A33C07EAA0}"/>
          </ac:grpSpMkLst>
        </pc:grpChg>
        <pc:grpChg chg="add mod">
          <ac:chgData name="Sezgen, Handenur" userId="693f6077-2094-4a4b-9c12-b1a0c4de2bbc" providerId="ADAL" clId="{5B430AB4-3B31-40FC-B7D2-06B73B197EDF}" dt="2025-10-16T08:11:02.703" v="786" actId="1037"/>
          <ac:grpSpMkLst>
            <pc:docMk/>
            <pc:sldMk cId="4156081089" sldId="2147470171"/>
            <ac:grpSpMk id="19" creationId="{FB7CD30C-3FB7-1014-BAF9-4D6BA4508D35}"/>
          </ac:grpSpMkLst>
        </pc:grpChg>
        <pc:grpChg chg="add mod">
          <ac:chgData name="Sezgen, Handenur" userId="693f6077-2094-4a4b-9c12-b1a0c4de2bbc" providerId="ADAL" clId="{5B430AB4-3B31-40FC-B7D2-06B73B197EDF}" dt="2025-10-16T08:11:10.695" v="788" actId="14100"/>
          <ac:grpSpMkLst>
            <pc:docMk/>
            <pc:sldMk cId="4156081089" sldId="2147470171"/>
            <ac:grpSpMk id="20" creationId="{FF63A3E3-F019-FF78-7AC5-C26EA7B67382}"/>
          </ac:grpSpMkLst>
        </pc:grpChg>
        <pc:grpChg chg="mod">
          <ac:chgData name="Sezgen, Handenur" userId="693f6077-2094-4a4b-9c12-b1a0c4de2bbc" providerId="ADAL" clId="{5B430AB4-3B31-40FC-B7D2-06B73B197EDF}" dt="2025-10-16T08:10:44.189" v="761" actId="164"/>
          <ac:grpSpMkLst>
            <pc:docMk/>
            <pc:sldMk cId="4156081089" sldId="2147470171"/>
            <ac:grpSpMk id="30" creationId="{7F00EC50-62FC-0C55-6E14-C983A9925AEF}"/>
          </ac:grpSpMkLst>
        </pc:grpChg>
        <pc:grpChg chg="mod">
          <ac:chgData name="Sezgen, Handenur" userId="693f6077-2094-4a4b-9c12-b1a0c4de2bbc" providerId="ADAL" clId="{5B430AB4-3B31-40FC-B7D2-06B73B197EDF}" dt="2025-10-16T08:11:05.863" v="787" actId="164"/>
          <ac:grpSpMkLst>
            <pc:docMk/>
            <pc:sldMk cId="4156081089" sldId="2147470171"/>
            <ac:grpSpMk id="38" creationId="{12E41A1C-A472-2DCC-CE41-5CB22153A321}"/>
          </ac:grpSpMkLst>
        </pc:grpChg>
        <pc:graphicFrameChg chg="mod">
          <ac:chgData name="Sezgen, Handenur" userId="693f6077-2094-4a4b-9c12-b1a0c4de2bbc" providerId="ADAL" clId="{5B430AB4-3B31-40FC-B7D2-06B73B197EDF}" dt="2025-10-16T08:10:36.960" v="756" actId="1037"/>
          <ac:graphicFrameMkLst>
            <pc:docMk/>
            <pc:sldMk cId="4156081089" sldId="2147470171"/>
            <ac:graphicFrameMk id="11" creationId="{B038A5B5-E795-7EB0-A55B-993BE426C3AB}"/>
          </ac:graphicFrameMkLst>
        </pc:graphicFrameChg>
        <pc:graphicFrameChg chg="mod">
          <ac:chgData name="Sezgen, Handenur" userId="693f6077-2094-4a4b-9c12-b1a0c4de2bbc" providerId="ADAL" clId="{5B430AB4-3B31-40FC-B7D2-06B73B197EDF}" dt="2025-10-16T08:10:44.189" v="761" actId="164"/>
          <ac:graphicFrameMkLst>
            <pc:docMk/>
            <pc:sldMk cId="4156081089" sldId="2147470171"/>
            <ac:graphicFrameMk id="29" creationId="{C7EAA128-4D1C-9B51-610F-D60AFA83512D}"/>
          </ac:graphicFrameMkLst>
        </pc:graphicFrameChg>
        <pc:graphicFrameChg chg="mod">
          <ac:chgData name="Sezgen, Handenur" userId="693f6077-2094-4a4b-9c12-b1a0c4de2bbc" providerId="ADAL" clId="{5B430AB4-3B31-40FC-B7D2-06B73B197EDF}" dt="2025-10-16T08:11:23.072" v="804" actId="1036"/>
          <ac:graphicFrameMkLst>
            <pc:docMk/>
            <pc:sldMk cId="4156081089" sldId="2147470171"/>
            <ac:graphicFrameMk id="36" creationId="{55A0D6CD-2D83-DAC0-DEA7-E29ABA02B5F5}"/>
          </ac:graphicFrameMkLst>
        </pc:graphicFrameChg>
        <pc:graphicFrameChg chg="mod">
          <ac:chgData name="Sezgen, Handenur" userId="693f6077-2094-4a4b-9c12-b1a0c4de2bbc" providerId="ADAL" clId="{5B430AB4-3B31-40FC-B7D2-06B73B197EDF}" dt="2025-10-16T08:11:23.072" v="804" actId="1036"/>
          <ac:graphicFrameMkLst>
            <pc:docMk/>
            <pc:sldMk cId="4156081089" sldId="2147470171"/>
            <ac:graphicFrameMk id="37" creationId="{490F400B-AF41-9F14-8322-B20DBE0E552C}"/>
          </ac:graphicFrameMkLst>
        </pc:graphicFrameChg>
        <pc:picChg chg="add mod">
          <ac:chgData name="Sezgen, Handenur" userId="693f6077-2094-4a4b-9c12-b1a0c4de2bbc" providerId="ADAL" clId="{5B430AB4-3B31-40FC-B7D2-06B73B197EDF}" dt="2025-10-16T10:11:34.161" v="3641"/>
          <ac:picMkLst>
            <pc:docMk/>
            <pc:sldMk cId="4156081089" sldId="2147470171"/>
            <ac:picMk id="21" creationId="{2B97B088-2DC2-9B57-C525-55E03E3B83CF}"/>
          </ac:picMkLst>
        </pc:picChg>
      </pc:sldChg>
      <pc:sldChg chg="addSp delSp modSp add del mod">
        <pc:chgData name="Sezgen, Handenur" userId="693f6077-2094-4a4b-9c12-b1a0c4de2bbc" providerId="ADAL" clId="{5B430AB4-3B31-40FC-B7D2-06B73B197EDF}" dt="2025-10-16T09:32:04.497" v="2680" actId="47"/>
        <pc:sldMkLst>
          <pc:docMk/>
          <pc:sldMk cId="1838043391" sldId="2147471183"/>
        </pc:sldMkLst>
        <pc:spChg chg="mod">
          <ac:chgData name="Sezgen, Handenur" userId="693f6077-2094-4a4b-9c12-b1a0c4de2bbc" providerId="ADAL" clId="{5B430AB4-3B31-40FC-B7D2-06B73B197EDF}" dt="2025-10-16T09:07:00.764" v="1909" actId="1076"/>
          <ac:spMkLst>
            <pc:docMk/>
            <pc:sldMk cId="1838043391" sldId="2147471183"/>
            <ac:spMk id="5" creationId="{7BE9F498-F621-210F-27EB-21A6650EF903}"/>
          </ac:spMkLst>
        </pc:spChg>
        <pc:spChg chg="mod">
          <ac:chgData name="Sezgen, Handenur" userId="693f6077-2094-4a4b-9c12-b1a0c4de2bbc" providerId="ADAL" clId="{5B430AB4-3B31-40FC-B7D2-06B73B197EDF}" dt="2025-10-16T09:06:54.514" v="1908" actId="14100"/>
          <ac:spMkLst>
            <pc:docMk/>
            <pc:sldMk cId="1838043391" sldId="2147471183"/>
            <ac:spMk id="6" creationId="{8DF99A78-2667-5D3D-E648-3565DC0B1248}"/>
          </ac:spMkLst>
        </pc:spChg>
        <pc:spChg chg="mod">
          <ac:chgData name="Sezgen, Handenur" userId="693f6077-2094-4a4b-9c12-b1a0c4de2bbc" providerId="ADAL" clId="{5B430AB4-3B31-40FC-B7D2-06B73B197EDF}" dt="2025-10-16T09:06:50.548" v="1907" actId="242"/>
          <ac:spMkLst>
            <pc:docMk/>
            <pc:sldMk cId="1838043391" sldId="2147471183"/>
            <ac:spMk id="8" creationId="{E43449B5-2655-CE32-E8EF-D6E56F635C8C}"/>
          </ac:spMkLst>
        </pc:spChg>
        <pc:spChg chg="add del mod">
          <ac:chgData name="Sezgen, Handenur" userId="693f6077-2094-4a4b-9c12-b1a0c4de2bbc" providerId="ADAL" clId="{5B430AB4-3B31-40FC-B7D2-06B73B197EDF}" dt="2025-10-16T09:07:36.177" v="1918" actId="478"/>
          <ac:spMkLst>
            <pc:docMk/>
            <pc:sldMk cId="1838043391" sldId="2147471183"/>
            <ac:spMk id="9" creationId="{399EF985-5453-D652-A7CD-E7E6EB89FF05}"/>
          </ac:spMkLst>
        </pc:spChg>
        <pc:graphicFrameChg chg="mod modGraphic">
          <ac:chgData name="Sezgen, Handenur" userId="693f6077-2094-4a4b-9c12-b1a0c4de2bbc" providerId="ADAL" clId="{5B430AB4-3B31-40FC-B7D2-06B73B197EDF}" dt="2025-10-16T09:06:39.313" v="1902" actId="14100"/>
          <ac:graphicFrameMkLst>
            <pc:docMk/>
            <pc:sldMk cId="1838043391" sldId="2147471183"/>
            <ac:graphicFrameMk id="7" creationId="{681B0FDA-1103-1E2D-5267-918A9D47E00E}"/>
          </ac:graphicFrameMkLst>
        </pc:graphicFrameChg>
      </pc:sldChg>
      <pc:sldChg chg="addSp delSp modSp add mod modClrScheme chgLayout">
        <pc:chgData name="Sezgen, Handenur" userId="693f6077-2094-4a4b-9c12-b1a0c4de2bbc" providerId="ADAL" clId="{5B430AB4-3B31-40FC-B7D2-06B73B197EDF}" dt="2025-10-16T10:13:26.317" v="3678"/>
        <pc:sldMkLst>
          <pc:docMk/>
          <pc:sldMk cId="1221363044" sldId="2147471960"/>
        </pc:sldMkLst>
        <pc:spChg chg="mod ord">
          <ac:chgData name="Sezgen, Handenur" userId="693f6077-2094-4a4b-9c12-b1a0c4de2bbc" providerId="ADAL" clId="{5B430AB4-3B31-40FC-B7D2-06B73B197EDF}" dt="2025-10-16T08:57:31.820" v="1722" actId="700"/>
          <ac:spMkLst>
            <pc:docMk/>
            <pc:sldMk cId="1221363044" sldId="2147471960"/>
            <ac:spMk id="2" creationId="{4A7C6804-A439-4415-9310-22AA2D2C025C}"/>
          </ac:spMkLst>
        </pc:spChg>
        <pc:spChg chg="mod topLvl">
          <ac:chgData name="Sezgen, Handenur" userId="693f6077-2094-4a4b-9c12-b1a0c4de2bbc" providerId="ADAL" clId="{5B430AB4-3B31-40FC-B7D2-06B73B197EDF}" dt="2025-10-16T08:59:17.556" v="1773" actId="1036"/>
          <ac:spMkLst>
            <pc:docMk/>
            <pc:sldMk cId="1221363044" sldId="2147471960"/>
            <ac:spMk id="3" creationId="{4087E049-B653-6D74-464A-533A30657BFA}"/>
          </ac:spMkLst>
        </pc:spChg>
        <pc:spChg chg="mod topLvl">
          <ac:chgData name="Sezgen, Handenur" userId="693f6077-2094-4a4b-9c12-b1a0c4de2bbc" providerId="ADAL" clId="{5B430AB4-3B31-40FC-B7D2-06B73B197EDF}" dt="2025-10-16T08:58:03.971" v="1740" actId="1076"/>
          <ac:spMkLst>
            <pc:docMk/>
            <pc:sldMk cId="1221363044" sldId="2147471960"/>
            <ac:spMk id="4" creationId="{CA37B222-9D79-9F57-C192-BFE027F09132}"/>
          </ac:spMkLst>
        </pc:spChg>
        <pc:spChg chg="mod ord">
          <ac:chgData name="Sezgen, Handenur" userId="693f6077-2094-4a4b-9c12-b1a0c4de2bbc" providerId="ADAL" clId="{5B430AB4-3B31-40FC-B7D2-06B73B197EDF}" dt="2025-10-16T08:57:31.930" v="1723" actId="27636"/>
          <ac:spMkLst>
            <pc:docMk/>
            <pc:sldMk cId="1221363044" sldId="2147471960"/>
            <ac:spMk id="5" creationId="{FC2D5967-3BDF-489E-B1C2-905CA97A02D0}"/>
          </ac:spMkLst>
        </pc:spChg>
        <pc:spChg chg="mod topLvl">
          <ac:chgData name="Sezgen, Handenur" userId="693f6077-2094-4a4b-9c12-b1a0c4de2bbc" providerId="ADAL" clId="{5B430AB4-3B31-40FC-B7D2-06B73B197EDF}" dt="2025-10-16T08:59:00.357" v="1761" actId="552"/>
          <ac:spMkLst>
            <pc:docMk/>
            <pc:sldMk cId="1221363044" sldId="2147471960"/>
            <ac:spMk id="7" creationId="{ADAF6DBD-051A-5AEE-1B9B-E1CAC8C35D71}"/>
          </ac:spMkLst>
        </pc:spChg>
        <pc:spChg chg="mod topLvl">
          <ac:chgData name="Sezgen, Handenur" userId="693f6077-2094-4a4b-9c12-b1a0c4de2bbc" providerId="ADAL" clId="{5B430AB4-3B31-40FC-B7D2-06B73B197EDF}" dt="2025-10-16T08:59:48.211" v="1779" actId="14100"/>
          <ac:spMkLst>
            <pc:docMk/>
            <pc:sldMk cId="1221363044" sldId="2147471960"/>
            <ac:spMk id="8" creationId="{54E00574-FFEB-A7BB-6CDF-8EC4B8CEAA01}"/>
          </ac:spMkLst>
        </pc:spChg>
        <pc:spChg chg="mod topLvl">
          <ac:chgData name="Sezgen, Handenur" userId="693f6077-2094-4a4b-9c12-b1a0c4de2bbc" providerId="ADAL" clId="{5B430AB4-3B31-40FC-B7D2-06B73B197EDF}" dt="2025-10-16T08:58:45.946" v="1755" actId="14100"/>
          <ac:spMkLst>
            <pc:docMk/>
            <pc:sldMk cId="1221363044" sldId="2147471960"/>
            <ac:spMk id="9" creationId="{B382CCC5-1C2E-8A89-2C71-618662972500}"/>
          </ac:spMkLst>
        </pc:spChg>
        <pc:spChg chg="mod topLvl">
          <ac:chgData name="Sezgen, Handenur" userId="693f6077-2094-4a4b-9c12-b1a0c4de2bbc" providerId="ADAL" clId="{5B430AB4-3B31-40FC-B7D2-06B73B197EDF}" dt="2025-10-16T08:59:48.211" v="1779" actId="14100"/>
          <ac:spMkLst>
            <pc:docMk/>
            <pc:sldMk cId="1221363044" sldId="2147471960"/>
            <ac:spMk id="10" creationId="{25BF4477-1735-780B-DB12-6DEACA88A44C}"/>
          </ac:spMkLst>
        </pc:spChg>
        <pc:spChg chg="mod topLvl">
          <ac:chgData name="Sezgen, Handenur" userId="693f6077-2094-4a4b-9c12-b1a0c4de2bbc" providerId="ADAL" clId="{5B430AB4-3B31-40FC-B7D2-06B73B197EDF}" dt="2025-10-16T08:59:17.556" v="1773" actId="1036"/>
          <ac:spMkLst>
            <pc:docMk/>
            <pc:sldMk cId="1221363044" sldId="2147471960"/>
            <ac:spMk id="11" creationId="{AB505B67-741D-80DF-EAB1-0F9AA0B6FE6B}"/>
          </ac:spMkLst>
        </pc:spChg>
        <pc:spChg chg="mod topLvl">
          <ac:chgData name="Sezgen, Handenur" userId="693f6077-2094-4a4b-9c12-b1a0c4de2bbc" providerId="ADAL" clId="{5B430AB4-3B31-40FC-B7D2-06B73B197EDF}" dt="2025-10-16T08:59:40.168" v="1778" actId="14100"/>
          <ac:spMkLst>
            <pc:docMk/>
            <pc:sldMk cId="1221363044" sldId="2147471960"/>
            <ac:spMk id="12" creationId="{D02F55DF-5B4C-2072-1F59-9ECCFC4DC79B}"/>
          </ac:spMkLst>
        </pc:spChg>
        <pc:spChg chg="mod topLvl">
          <ac:chgData name="Sezgen, Handenur" userId="693f6077-2094-4a4b-9c12-b1a0c4de2bbc" providerId="ADAL" clId="{5B430AB4-3B31-40FC-B7D2-06B73B197EDF}" dt="2025-10-16T08:59:36.954" v="1777" actId="14100"/>
          <ac:spMkLst>
            <pc:docMk/>
            <pc:sldMk cId="1221363044" sldId="2147471960"/>
            <ac:spMk id="13" creationId="{BB971B28-3633-BF39-F540-F8D4D20065D9}"/>
          </ac:spMkLst>
        </pc:spChg>
        <pc:spChg chg="mod topLvl">
          <ac:chgData name="Sezgen, Handenur" userId="693f6077-2094-4a4b-9c12-b1a0c4de2bbc" providerId="ADAL" clId="{5B430AB4-3B31-40FC-B7D2-06B73B197EDF}" dt="2025-10-16T08:59:40.168" v="1778" actId="14100"/>
          <ac:spMkLst>
            <pc:docMk/>
            <pc:sldMk cId="1221363044" sldId="2147471960"/>
            <ac:spMk id="14" creationId="{0E43AFCE-6CD6-7507-7225-0B50ACC7C3E1}"/>
          </ac:spMkLst>
        </pc:spChg>
        <pc:spChg chg="mod topLvl">
          <ac:chgData name="Sezgen, Handenur" userId="693f6077-2094-4a4b-9c12-b1a0c4de2bbc" providerId="ADAL" clId="{5B430AB4-3B31-40FC-B7D2-06B73B197EDF}" dt="2025-10-16T09:00:06.342" v="1780" actId="113"/>
          <ac:spMkLst>
            <pc:docMk/>
            <pc:sldMk cId="1221363044" sldId="2147471960"/>
            <ac:spMk id="16" creationId="{50329D50-E603-0BFA-75E0-5F74C9786148}"/>
          </ac:spMkLst>
        </pc:spChg>
        <pc:grpChg chg="del mod">
          <ac:chgData name="Sezgen, Handenur" userId="693f6077-2094-4a4b-9c12-b1a0c4de2bbc" providerId="ADAL" clId="{5B430AB4-3B31-40FC-B7D2-06B73B197EDF}" dt="2025-10-16T08:58:27.239" v="1748" actId="165"/>
          <ac:grpSpMkLst>
            <pc:docMk/>
            <pc:sldMk cId="1221363044" sldId="2147471960"/>
            <ac:grpSpMk id="6" creationId="{FE1B4C12-77EC-0467-D093-97043E6114C5}"/>
          </ac:grpSpMkLst>
        </pc:grpChg>
        <pc:grpChg chg="add mod">
          <ac:chgData name="Sezgen, Handenur" userId="693f6077-2094-4a4b-9c12-b1a0c4de2bbc" providerId="ADAL" clId="{5B430AB4-3B31-40FC-B7D2-06B73B197EDF}" dt="2025-10-16T08:57:44.976" v="1728" actId="14100"/>
          <ac:grpSpMkLst>
            <pc:docMk/>
            <pc:sldMk cId="1221363044" sldId="2147471960"/>
            <ac:grpSpMk id="15" creationId="{DEBDDA20-0126-9B3F-9693-B666B2D90B98}"/>
          </ac:grpSpMkLst>
        </pc:grpChg>
        <pc:picChg chg="add mod">
          <ac:chgData name="Sezgen, Handenur" userId="693f6077-2094-4a4b-9c12-b1a0c4de2bbc" providerId="ADAL" clId="{5B430AB4-3B31-40FC-B7D2-06B73B197EDF}" dt="2025-10-16T10:13:26.317" v="3678"/>
          <ac:picMkLst>
            <pc:docMk/>
            <pc:sldMk cId="1221363044" sldId="2147471960"/>
            <ac:picMk id="17" creationId="{DA40F988-2FF5-7FCE-41F0-6EBE48C1F11C}"/>
          </ac:picMkLst>
        </pc:picChg>
      </pc:sldChg>
      <pc:sldChg chg="addSp delSp modSp mod modClrScheme chgLayout">
        <pc:chgData name="Sezgen, Handenur" userId="693f6077-2094-4a4b-9c12-b1a0c4de2bbc" providerId="ADAL" clId="{5B430AB4-3B31-40FC-B7D2-06B73B197EDF}" dt="2025-10-16T10:10:56.860" v="3611"/>
        <pc:sldMkLst>
          <pc:docMk/>
          <pc:sldMk cId="463401164" sldId="2147480990"/>
        </pc:sldMkLst>
        <pc:spChg chg="mod ord">
          <ac:chgData name="Sezgen, Handenur" userId="693f6077-2094-4a4b-9c12-b1a0c4de2bbc" providerId="ADAL" clId="{5B430AB4-3B31-40FC-B7D2-06B73B197EDF}" dt="2025-10-16T07:37:45.957" v="8" actId="700"/>
          <ac:spMkLst>
            <pc:docMk/>
            <pc:sldMk cId="463401164" sldId="2147480990"/>
            <ac:spMk id="5" creationId="{E28758B9-5442-1D79-D588-D9B42B3AC363}"/>
          </ac:spMkLst>
        </pc:spChg>
        <pc:spChg chg="mod ord">
          <ac:chgData name="Sezgen, Handenur" userId="693f6077-2094-4a4b-9c12-b1a0c4de2bbc" providerId="ADAL" clId="{5B430AB4-3B31-40FC-B7D2-06B73B197EDF}" dt="2025-10-16T07:38:07.267" v="11" actId="255"/>
          <ac:spMkLst>
            <pc:docMk/>
            <pc:sldMk cId="463401164" sldId="2147480990"/>
            <ac:spMk id="12" creationId="{6A6B4A13-DDFB-4A00-8509-09BB7F0C0CF4}"/>
          </ac:spMkLst>
        </pc:spChg>
        <pc:grpChg chg="add del mod">
          <ac:chgData name="Sezgen, Handenur" userId="693f6077-2094-4a4b-9c12-b1a0c4de2bbc" providerId="ADAL" clId="{5B430AB4-3B31-40FC-B7D2-06B73B197EDF}" dt="2025-10-16T10:10:56.577" v="3610" actId="478"/>
          <ac:grpSpMkLst>
            <pc:docMk/>
            <pc:sldMk cId="463401164" sldId="2147480990"/>
            <ac:grpSpMk id="4" creationId="{27039B72-6F42-1E90-3883-D08969F3CFF4}"/>
          </ac:grpSpMkLst>
        </pc:grpChg>
        <pc:picChg chg="mod">
          <ac:chgData name="Sezgen, Handenur" userId="693f6077-2094-4a4b-9c12-b1a0c4de2bbc" providerId="ADAL" clId="{5B430AB4-3B31-40FC-B7D2-06B73B197EDF}" dt="2025-10-16T10:10:12.874" v="3574"/>
          <ac:picMkLst>
            <pc:docMk/>
            <pc:sldMk cId="463401164" sldId="2147480990"/>
            <ac:picMk id="21" creationId="{29C014E6-6B73-2070-59D5-DCAF39F658A9}"/>
          </ac:picMkLst>
        </pc:picChg>
        <pc:picChg chg="mod">
          <ac:chgData name="Sezgen, Handenur" userId="693f6077-2094-4a4b-9c12-b1a0c4de2bbc" providerId="ADAL" clId="{5B430AB4-3B31-40FC-B7D2-06B73B197EDF}" dt="2025-10-16T10:10:12.874" v="3574"/>
          <ac:picMkLst>
            <pc:docMk/>
            <pc:sldMk cId="463401164" sldId="2147480990"/>
            <ac:picMk id="25" creationId="{43FE5FD5-39DC-EEFB-424B-86518885F77D}"/>
          </ac:picMkLst>
        </pc:picChg>
        <pc:picChg chg="add mod">
          <ac:chgData name="Sezgen, Handenur" userId="693f6077-2094-4a4b-9c12-b1a0c4de2bbc" providerId="ADAL" clId="{5B430AB4-3B31-40FC-B7D2-06B73B197EDF}" dt="2025-10-16T10:10:56.860" v="3611"/>
          <ac:picMkLst>
            <pc:docMk/>
            <pc:sldMk cId="463401164" sldId="2147480990"/>
            <ac:picMk id="26" creationId="{6E57BA52-56BC-40C1-DD6C-AF1623B7EDED}"/>
          </ac:picMkLst>
        </pc:picChg>
      </pc:sldChg>
      <pc:sldChg chg="addSp delSp modSp mod modClrScheme chgLayout">
        <pc:chgData name="Sezgen, Handenur" userId="693f6077-2094-4a4b-9c12-b1a0c4de2bbc" providerId="ADAL" clId="{5B430AB4-3B31-40FC-B7D2-06B73B197EDF}" dt="2025-10-16T10:11:10.306" v="3619"/>
        <pc:sldMkLst>
          <pc:docMk/>
          <pc:sldMk cId="3513074375" sldId="2147480994"/>
        </pc:sldMkLst>
        <pc:spChg chg="mod ord">
          <ac:chgData name="Sezgen, Handenur" userId="693f6077-2094-4a4b-9c12-b1a0c4de2bbc" providerId="ADAL" clId="{5B430AB4-3B31-40FC-B7D2-06B73B197EDF}" dt="2025-10-16T07:40:38.231" v="74" actId="14100"/>
          <ac:spMkLst>
            <pc:docMk/>
            <pc:sldMk cId="3513074375" sldId="2147480994"/>
            <ac:spMk id="2" creationId="{210D946C-4661-6054-F217-8B31DAD1EBC0}"/>
          </ac:spMkLst>
        </pc:spChg>
        <pc:spChg chg="del">
          <ac:chgData name="Sezgen, Handenur" userId="693f6077-2094-4a4b-9c12-b1a0c4de2bbc" providerId="ADAL" clId="{5B430AB4-3B31-40FC-B7D2-06B73B197EDF}" dt="2025-10-16T07:40:30.496" v="69" actId="700"/>
          <ac:spMkLst>
            <pc:docMk/>
            <pc:sldMk cId="3513074375" sldId="2147480994"/>
            <ac:spMk id="3" creationId="{6F6F2B57-341D-9DF4-72C1-2EB78F2BD48E}"/>
          </ac:spMkLst>
        </pc:spChg>
        <pc:grpChg chg="add mod">
          <ac:chgData name="Sezgen, Handenur" userId="693f6077-2094-4a4b-9c12-b1a0c4de2bbc" providerId="ADAL" clId="{5B430AB4-3B31-40FC-B7D2-06B73B197EDF}" dt="2025-10-16T10:10:32.648" v="3578"/>
          <ac:grpSpMkLst>
            <pc:docMk/>
            <pc:sldMk cId="3513074375" sldId="2147480994"/>
            <ac:grpSpMk id="4" creationId="{7A9BD92F-DC27-4F7F-0107-2638265545A4}"/>
          </ac:grpSpMkLst>
        </pc:grpChg>
        <pc:picChg chg="mod">
          <ac:chgData name="Sezgen, Handenur" userId="693f6077-2094-4a4b-9c12-b1a0c4de2bbc" providerId="ADAL" clId="{5B430AB4-3B31-40FC-B7D2-06B73B197EDF}" dt="2025-10-16T10:10:32.648" v="3578"/>
          <ac:picMkLst>
            <pc:docMk/>
            <pc:sldMk cId="3513074375" sldId="2147480994"/>
            <ac:picMk id="5" creationId="{22BB7963-0BD5-2139-63B6-F1FA1FCC1F14}"/>
          </ac:picMkLst>
        </pc:picChg>
        <pc:picChg chg="mod">
          <ac:chgData name="Sezgen, Handenur" userId="693f6077-2094-4a4b-9c12-b1a0c4de2bbc" providerId="ADAL" clId="{5B430AB4-3B31-40FC-B7D2-06B73B197EDF}" dt="2025-10-16T10:10:32.648" v="3578"/>
          <ac:picMkLst>
            <pc:docMk/>
            <pc:sldMk cId="3513074375" sldId="2147480994"/>
            <ac:picMk id="6" creationId="{01B4553F-F62B-F28A-28B2-F4F9BA43EE81}"/>
          </ac:picMkLst>
        </pc:picChg>
        <pc:picChg chg="add mod">
          <ac:chgData name="Sezgen, Handenur" userId="693f6077-2094-4a4b-9c12-b1a0c4de2bbc" providerId="ADAL" clId="{5B430AB4-3B31-40FC-B7D2-06B73B197EDF}" dt="2025-10-16T10:11:10.306" v="3619"/>
          <ac:picMkLst>
            <pc:docMk/>
            <pc:sldMk cId="3513074375" sldId="2147480994"/>
            <ac:picMk id="7" creationId="{FE8FE68F-5023-B52F-B999-26009FBAC6F9}"/>
          </ac:picMkLst>
        </pc:picChg>
      </pc:sldChg>
      <pc:sldChg chg="addSp modSp mod modClrScheme chgLayout">
        <pc:chgData name="Sezgen, Handenur" userId="693f6077-2094-4a4b-9c12-b1a0c4de2bbc" providerId="ADAL" clId="{5B430AB4-3B31-40FC-B7D2-06B73B197EDF}" dt="2025-10-16T10:11:14.567" v="3622"/>
        <pc:sldMkLst>
          <pc:docMk/>
          <pc:sldMk cId="3447837839" sldId="2147480995"/>
        </pc:sldMkLst>
        <pc:spChg chg="mod">
          <ac:chgData name="Sezgen, Handenur" userId="693f6077-2094-4a4b-9c12-b1a0c4de2bbc" providerId="ADAL" clId="{5B430AB4-3B31-40FC-B7D2-06B73B197EDF}" dt="2025-10-16T07:42:27.537" v="167" actId="1035"/>
          <ac:spMkLst>
            <pc:docMk/>
            <pc:sldMk cId="3447837839" sldId="2147480995"/>
            <ac:spMk id="2" creationId="{D80307EC-85CF-EC0F-4392-7DF71D34EAB2}"/>
          </ac:spMkLst>
        </pc:spChg>
        <pc:spChg chg="mod ord">
          <ac:chgData name="Sezgen, Handenur" userId="693f6077-2094-4a4b-9c12-b1a0c4de2bbc" providerId="ADAL" clId="{5B430AB4-3B31-40FC-B7D2-06B73B197EDF}" dt="2025-10-16T07:42:19.977" v="155" actId="27636"/>
          <ac:spMkLst>
            <pc:docMk/>
            <pc:sldMk cId="3447837839" sldId="2147480995"/>
            <ac:spMk id="5" creationId="{431211B8-F9ED-ECE6-9C83-8CB31F14DFD6}"/>
          </ac:spMkLst>
        </pc:spChg>
        <pc:spChg chg="mod">
          <ac:chgData name="Sezgen, Handenur" userId="693f6077-2094-4a4b-9c12-b1a0c4de2bbc" providerId="ADAL" clId="{5B430AB4-3B31-40FC-B7D2-06B73B197EDF}" dt="2025-10-16T07:42:23.192" v="156" actId="1076"/>
          <ac:spMkLst>
            <pc:docMk/>
            <pc:sldMk cId="3447837839" sldId="2147480995"/>
            <ac:spMk id="10" creationId="{52ED7299-100E-A839-0BC4-10D8D92D04E0}"/>
          </ac:spMkLst>
        </pc:spChg>
        <pc:picChg chg="add mod">
          <ac:chgData name="Sezgen, Handenur" userId="693f6077-2094-4a4b-9c12-b1a0c4de2bbc" providerId="ADAL" clId="{5B430AB4-3B31-40FC-B7D2-06B73B197EDF}" dt="2025-10-16T10:11:14.567" v="3622"/>
          <ac:picMkLst>
            <pc:docMk/>
            <pc:sldMk cId="3447837839" sldId="2147480995"/>
            <ac:picMk id="4" creationId="{98A64F76-949C-E3F6-1302-AB0515D56224}"/>
          </ac:picMkLst>
        </pc:picChg>
      </pc:sldChg>
      <pc:sldChg chg="modSp mod">
        <pc:chgData name="Sezgen, Handenur" userId="693f6077-2094-4a4b-9c12-b1a0c4de2bbc" providerId="ADAL" clId="{5B430AB4-3B31-40FC-B7D2-06B73B197EDF}" dt="2025-10-16T14:42:20.132" v="3714" actId="1076"/>
        <pc:sldMkLst>
          <pc:docMk/>
          <pc:sldMk cId="4058047470" sldId="2147481955"/>
        </pc:sldMkLst>
        <pc:spChg chg="mod">
          <ac:chgData name="Sezgen, Handenur" userId="693f6077-2094-4a4b-9c12-b1a0c4de2bbc" providerId="ADAL" clId="{5B430AB4-3B31-40FC-B7D2-06B73B197EDF}" dt="2025-10-16T14:42:04.623" v="3712" actId="20577"/>
          <ac:spMkLst>
            <pc:docMk/>
            <pc:sldMk cId="4058047470" sldId="2147481955"/>
            <ac:spMk id="9" creationId="{9EAC96C1-A83C-6320-E2C4-930F855122A0}"/>
          </ac:spMkLst>
        </pc:spChg>
        <pc:picChg chg="mod">
          <ac:chgData name="Sezgen, Handenur" userId="693f6077-2094-4a4b-9c12-b1a0c4de2bbc" providerId="ADAL" clId="{5B430AB4-3B31-40FC-B7D2-06B73B197EDF}" dt="2025-10-16T14:42:10.989" v="3713" actId="1076"/>
          <ac:picMkLst>
            <pc:docMk/>
            <pc:sldMk cId="4058047470" sldId="2147481955"/>
            <ac:picMk id="21" creationId="{C40DF106-F4EE-B56D-EB8B-059657C13999}"/>
          </ac:picMkLst>
        </pc:picChg>
        <pc:cxnChg chg="mod">
          <ac:chgData name="Sezgen, Handenur" userId="693f6077-2094-4a4b-9c12-b1a0c4de2bbc" providerId="ADAL" clId="{5B430AB4-3B31-40FC-B7D2-06B73B197EDF}" dt="2025-10-16T14:42:20.132" v="3714" actId="1076"/>
          <ac:cxnSpMkLst>
            <pc:docMk/>
            <pc:sldMk cId="4058047470" sldId="2147481955"/>
            <ac:cxnSpMk id="10" creationId="{736AE67A-1518-0FE2-24C2-F53162D00B51}"/>
          </ac:cxnSpMkLst>
        </pc:cxnChg>
      </pc:sldChg>
      <pc:sldChg chg="add del">
        <pc:chgData name="Sezgen, Handenur" userId="693f6077-2094-4a4b-9c12-b1a0c4de2bbc" providerId="ADAL" clId="{5B430AB4-3B31-40FC-B7D2-06B73B197EDF}" dt="2025-10-16T09:03:41.367" v="1838" actId="47"/>
        <pc:sldMkLst>
          <pc:docMk/>
          <pc:sldMk cId="2654698745" sldId="2147481963"/>
        </pc:sldMkLst>
      </pc:sldChg>
      <pc:sldChg chg="modSp add del mod">
        <pc:chgData name="Sezgen, Handenur" userId="693f6077-2094-4a4b-9c12-b1a0c4de2bbc" providerId="ADAL" clId="{5B430AB4-3B31-40FC-B7D2-06B73B197EDF}" dt="2025-10-16T09:42:24.230" v="3005" actId="47"/>
        <pc:sldMkLst>
          <pc:docMk/>
          <pc:sldMk cId="909996039" sldId="2147481964"/>
        </pc:sldMkLst>
        <pc:picChg chg="mod">
          <ac:chgData name="Sezgen, Handenur" userId="693f6077-2094-4a4b-9c12-b1a0c4de2bbc" providerId="ADAL" clId="{5B430AB4-3B31-40FC-B7D2-06B73B197EDF}" dt="2025-10-16T09:40:50.076" v="2884" actId="1076"/>
          <ac:picMkLst>
            <pc:docMk/>
            <pc:sldMk cId="909996039" sldId="2147481964"/>
            <ac:picMk id="3" creationId="{D2163A63-CC52-A3E4-D331-F90E47B42C18}"/>
          </ac:picMkLst>
        </pc:picChg>
      </pc:sldChg>
      <pc:sldChg chg="add del">
        <pc:chgData name="Sezgen, Handenur" userId="693f6077-2094-4a4b-9c12-b1a0c4de2bbc" providerId="ADAL" clId="{5B430AB4-3B31-40FC-B7D2-06B73B197EDF}" dt="2025-10-16T09:49:25.924" v="3203" actId="47"/>
        <pc:sldMkLst>
          <pc:docMk/>
          <pc:sldMk cId="4253104420" sldId="2147481965"/>
        </pc:sldMkLst>
      </pc:sldChg>
      <pc:sldChg chg="del">
        <pc:chgData name="Sezgen, Handenur" userId="693f6077-2094-4a4b-9c12-b1a0c4de2bbc" providerId="ADAL" clId="{5B430AB4-3B31-40FC-B7D2-06B73B197EDF}" dt="2025-10-16T10:05:16.053" v="3493" actId="47"/>
        <pc:sldMkLst>
          <pc:docMk/>
          <pc:sldMk cId="874697269" sldId="2147481967"/>
        </pc:sldMkLst>
      </pc:sldChg>
      <pc:sldChg chg="del">
        <pc:chgData name="Sezgen, Handenur" userId="693f6077-2094-4a4b-9c12-b1a0c4de2bbc" providerId="ADAL" clId="{5B430AB4-3B31-40FC-B7D2-06B73B197EDF}" dt="2025-10-16T10:05:16.053" v="3493" actId="47"/>
        <pc:sldMkLst>
          <pc:docMk/>
          <pc:sldMk cId="1712309987" sldId="2147481968"/>
        </pc:sldMkLst>
      </pc:sldChg>
      <pc:sldChg chg="del">
        <pc:chgData name="Sezgen, Handenur" userId="693f6077-2094-4a4b-9c12-b1a0c4de2bbc" providerId="ADAL" clId="{5B430AB4-3B31-40FC-B7D2-06B73B197EDF}" dt="2025-10-16T10:05:16.053" v="3493" actId="47"/>
        <pc:sldMkLst>
          <pc:docMk/>
          <pc:sldMk cId="1348692726" sldId="2147481969"/>
        </pc:sldMkLst>
      </pc:sldChg>
      <pc:sldChg chg="del">
        <pc:chgData name="Sezgen, Handenur" userId="693f6077-2094-4a4b-9c12-b1a0c4de2bbc" providerId="ADAL" clId="{5B430AB4-3B31-40FC-B7D2-06B73B197EDF}" dt="2025-10-16T10:05:16.053" v="3493" actId="47"/>
        <pc:sldMkLst>
          <pc:docMk/>
          <pc:sldMk cId="590030244" sldId="2147481970"/>
        </pc:sldMkLst>
      </pc:sldChg>
      <pc:sldChg chg="del">
        <pc:chgData name="Sezgen, Handenur" userId="693f6077-2094-4a4b-9c12-b1a0c4de2bbc" providerId="ADAL" clId="{5B430AB4-3B31-40FC-B7D2-06B73B197EDF}" dt="2025-10-16T10:05:16.053" v="3493" actId="47"/>
        <pc:sldMkLst>
          <pc:docMk/>
          <pc:sldMk cId="3543778394" sldId="2147481971"/>
        </pc:sldMkLst>
      </pc:sldChg>
      <pc:sldChg chg="del">
        <pc:chgData name="Sezgen, Handenur" userId="693f6077-2094-4a4b-9c12-b1a0c4de2bbc" providerId="ADAL" clId="{5B430AB4-3B31-40FC-B7D2-06B73B197EDF}" dt="2025-10-16T10:05:16.053" v="3493" actId="47"/>
        <pc:sldMkLst>
          <pc:docMk/>
          <pc:sldMk cId="3784160072" sldId="2147481972"/>
        </pc:sldMkLst>
      </pc:sldChg>
      <pc:sldChg chg="del">
        <pc:chgData name="Sezgen, Handenur" userId="693f6077-2094-4a4b-9c12-b1a0c4de2bbc" providerId="ADAL" clId="{5B430AB4-3B31-40FC-B7D2-06B73B197EDF}" dt="2025-10-16T10:05:16.053" v="3493" actId="47"/>
        <pc:sldMkLst>
          <pc:docMk/>
          <pc:sldMk cId="307979506" sldId="2147481973"/>
        </pc:sldMkLst>
      </pc:sldChg>
      <pc:sldChg chg="del">
        <pc:chgData name="Sezgen, Handenur" userId="693f6077-2094-4a4b-9c12-b1a0c4de2bbc" providerId="ADAL" clId="{5B430AB4-3B31-40FC-B7D2-06B73B197EDF}" dt="2025-10-16T10:05:16.053" v="3493" actId="47"/>
        <pc:sldMkLst>
          <pc:docMk/>
          <pc:sldMk cId="4187372277" sldId="2147481974"/>
        </pc:sldMkLst>
      </pc:sldChg>
      <pc:sldChg chg="del">
        <pc:chgData name="Sezgen, Handenur" userId="693f6077-2094-4a4b-9c12-b1a0c4de2bbc" providerId="ADAL" clId="{5B430AB4-3B31-40FC-B7D2-06B73B197EDF}" dt="2025-10-16T10:05:16.053" v="3493" actId="47"/>
        <pc:sldMkLst>
          <pc:docMk/>
          <pc:sldMk cId="1646853589" sldId="2147481975"/>
        </pc:sldMkLst>
      </pc:sldChg>
      <pc:sldChg chg="del">
        <pc:chgData name="Sezgen, Handenur" userId="693f6077-2094-4a4b-9c12-b1a0c4de2bbc" providerId="ADAL" clId="{5B430AB4-3B31-40FC-B7D2-06B73B197EDF}" dt="2025-10-16T10:05:16.053" v="3493" actId="47"/>
        <pc:sldMkLst>
          <pc:docMk/>
          <pc:sldMk cId="3315888089" sldId="2147481976"/>
        </pc:sldMkLst>
      </pc:sldChg>
      <pc:sldChg chg="del">
        <pc:chgData name="Sezgen, Handenur" userId="693f6077-2094-4a4b-9c12-b1a0c4de2bbc" providerId="ADAL" clId="{5B430AB4-3B31-40FC-B7D2-06B73B197EDF}" dt="2025-10-16T10:05:16.053" v="3493" actId="47"/>
        <pc:sldMkLst>
          <pc:docMk/>
          <pc:sldMk cId="4187926103" sldId="2147481977"/>
        </pc:sldMkLst>
      </pc:sldChg>
      <pc:sldChg chg="del">
        <pc:chgData name="Sezgen, Handenur" userId="693f6077-2094-4a4b-9c12-b1a0c4de2bbc" providerId="ADAL" clId="{5B430AB4-3B31-40FC-B7D2-06B73B197EDF}" dt="2025-10-16T10:05:16.053" v="3493" actId="47"/>
        <pc:sldMkLst>
          <pc:docMk/>
          <pc:sldMk cId="774097968" sldId="2147481978"/>
        </pc:sldMkLst>
      </pc:sldChg>
      <pc:sldChg chg="del">
        <pc:chgData name="Sezgen, Handenur" userId="693f6077-2094-4a4b-9c12-b1a0c4de2bbc" providerId="ADAL" clId="{5B430AB4-3B31-40FC-B7D2-06B73B197EDF}" dt="2025-10-16T10:05:16.053" v="3493" actId="47"/>
        <pc:sldMkLst>
          <pc:docMk/>
          <pc:sldMk cId="544059870" sldId="2147481979"/>
        </pc:sldMkLst>
      </pc:sldChg>
      <pc:sldChg chg="del">
        <pc:chgData name="Sezgen, Handenur" userId="693f6077-2094-4a4b-9c12-b1a0c4de2bbc" providerId="ADAL" clId="{5B430AB4-3B31-40FC-B7D2-06B73B197EDF}" dt="2025-10-16T10:05:16.053" v="3493" actId="47"/>
        <pc:sldMkLst>
          <pc:docMk/>
          <pc:sldMk cId="1402943846" sldId="2147481980"/>
        </pc:sldMkLst>
      </pc:sldChg>
      <pc:sldChg chg="del">
        <pc:chgData name="Sezgen, Handenur" userId="693f6077-2094-4a4b-9c12-b1a0c4de2bbc" providerId="ADAL" clId="{5B430AB4-3B31-40FC-B7D2-06B73B197EDF}" dt="2025-10-16T10:05:16.053" v="3493" actId="47"/>
        <pc:sldMkLst>
          <pc:docMk/>
          <pc:sldMk cId="2540546428" sldId="2147481981"/>
        </pc:sldMkLst>
      </pc:sldChg>
      <pc:sldChg chg="del">
        <pc:chgData name="Sezgen, Handenur" userId="693f6077-2094-4a4b-9c12-b1a0c4de2bbc" providerId="ADAL" clId="{5B430AB4-3B31-40FC-B7D2-06B73B197EDF}" dt="2025-10-16T10:05:16.053" v="3493" actId="47"/>
        <pc:sldMkLst>
          <pc:docMk/>
          <pc:sldMk cId="2629439860" sldId="2147481982"/>
        </pc:sldMkLst>
      </pc:sldChg>
      <pc:sldChg chg="del">
        <pc:chgData name="Sezgen, Handenur" userId="693f6077-2094-4a4b-9c12-b1a0c4de2bbc" providerId="ADAL" clId="{5B430AB4-3B31-40FC-B7D2-06B73B197EDF}" dt="2025-10-16T10:05:16.053" v="3493" actId="47"/>
        <pc:sldMkLst>
          <pc:docMk/>
          <pc:sldMk cId="1701493250" sldId="2147481983"/>
        </pc:sldMkLst>
      </pc:sldChg>
      <pc:sldChg chg="del">
        <pc:chgData name="Sezgen, Handenur" userId="693f6077-2094-4a4b-9c12-b1a0c4de2bbc" providerId="ADAL" clId="{5B430AB4-3B31-40FC-B7D2-06B73B197EDF}" dt="2025-10-16T10:05:16.053" v="3493" actId="47"/>
        <pc:sldMkLst>
          <pc:docMk/>
          <pc:sldMk cId="2442385628" sldId="2147481984"/>
        </pc:sldMkLst>
      </pc:sldChg>
      <pc:sldChg chg="del">
        <pc:chgData name="Sezgen, Handenur" userId="693f6077-2094-4a4b-9c12-b1a0c4de2bbc" providerId="ADAL" clId="{5B430AB4-3B31-40FC-B7D2-06B73B197EDF}" dt="2025-10-16T10:05:16.053" v="3493" actId="47"/>
        <pc:sldMkLst>
          <pc:docMk/>
          <pc:sldMk cId="3408213524" sldId="2147481985"/>
        </pc:sldMkLst>
      </pc:sldChg>
      <pc:sldChg chg="del">
        <pc:chgData name="Sezgen, Handenur" userId="693f6077-2094-4a4b-9c12-b1a0c4de2bbc" providerId="ADAL" clId="{5B430AB4-3B31-40FC-B7D2-06B73B197EDF}" dt="2025-10-16T10:05:16.053" v="3493" actId="47"/>
        <pc:sldMkLst>
          <pc:docMk/>
          <pc:sldMk cId="1988581240" sldId="2147481986"/>
        </pc:sldMkLst>
      </pc:sldChg>
      <pc:sldChg chg="del">
        <pc:chgData name="Sezgen, Handenur" userId="693f6077-2094-4a4b-9c12-b1a0c4de2bbc" providerId="ADAL" clId="{5B430AB4-3B31-40FC-B7D2-06B73B197EDF}" dt="2025-10-16T10:05:16.053" v="3493" actId="47"/>
        <pc:sldMkLst>
          <pc:docMk/>
          <pc:sldMk cId="3925622620" sldId="2147481987"/>
        </pc:sldMkLst>
      </pc:sldChg>
      <pc:sldChg chg="del">
        <pc:chgData name="Sezgen, Handenur" userId="693f6077-2094-4a4b-9c12-b1a0c4de2bbc" providerId="ADAL" clId="{5B430AB4-3B31-40FC-B7D2-06B73B197EDF}" dt="2025-10-16T10:05:16.053" v="3493" actId="47"/>
        <pc:sldMkLst>
          <pc:docMk/>
          <pc:sldMk cId="3398576354" sldId="2147481988"/>
        </pc:sldMkLst>
      </pc:sldChg>
      <pc:sldChg chg="del">
        <pc:chgData name="Sezgen, Handenur" userId="693f6077-2094-4a4b-9c12-b1a0c4de2bbc" providerId="ADAL" clId="{5B430AB4-3B31-40FC-B7D2-06B73B197EDF}" dt="2025-10-16T10:05:16.053" v="3493" actId="47"/>
        <pc:sldMkLst>
          <pc:docMk/>
          <pc:sldMk cId="2064070406" sldId="2147481989"/>
        </pc:sldMkLst>
      </pc:sldChg>
      <pc:sldChg chg="del">
        <pc:chgData name="Sezgen, Handenur" userId="693f6077-2094-4a4b-9c12-b1a0c4de2bbc" providerId="ADAL" clId="{5B430AB4-3B31-40FC-B7D2-06B73B197EDF}" dt="2025-10-16T10:05:16.053" v="3493" actId="47"/>
        <pc:sldMkLst>
          <pc:docMk/>
          <pc:sldMk cId="3957465125" sldId="2147481990"/>
        </pc:sldMkLst>
      </pc:sldChg>
      <pc:sldChg chg="del">
        <pc:chgData name="Sezgen, Handenur" userId="693f6077-2094-4a4b-9c12-b1a0c4de2bbc" providerId="ADAL" clId="{5B430AB4-3B31-40FC-B7D2-06B73B197EDF}" dt="2025-10-16T10:05:16.053" v="3493" actId="47"/>
        <pc:sldMkLst>
          <pc:docMk/>
          <pc:sldMk cId="2057626483" sldId="2147481991"/>
        </pc:sldMkLst>
      </pc:sldChg>
      <pc:sldChg chg="del">
        <pc:chgData name="Sezgen, Handenur" userId="693f6077-2094-4a4b-9c12-b1a0c4de2bbc" providerId="ADAL" clId="{5B430AB4-3B31-40FC-B7D2-06B73B197EDF}" dt="2025-10-16T10:05:16.053" v="3493" actId="47"/>
        <pc:sldMkLst>
          <pc:docMk/>
          <pc:sldMk cId="2382955161" sldId="2147481992"/>
        </pc:sldMkLst>
      </pc:sldChg>
      <pc:sldChg chg="del">
        <pc:chgData name="Sezgen, Handenur" userId="693f6077-2094-4a4b-9c12-b1a0c4de2bbc" providerId="ADAL" clId="{5B430AB4-3B31-40FC-B7D2-06B73B197EDF}" dt="2025-10-16T10:05:16.053" v="3493" actId="47"/>
        <pc:sldMkLst>
          <pc:docMk/>
          <pc:sldMk cId="704506334" sldId="2147481993"/>
        </pc:sldMkLst>
      </pc:sldChg>
      <pc:sldChg chg="del">
        <pc:chgData name="Sezgen, Handenur" userId="693f6077-2094-4a4b-9c12-b1a0c4de2bbc" providerId="ADAL" clId="{5B430AB4-3B31-40FC-B7D2-06B73B197EDF}" dt="2025-10-16T10:05:16.053" v="3493" actId="47"/>
        <pc:sldMkLst>
          <pc:docMk/>
          <pc:sldMk cId="3657835915" sldId="2147481994"/>
        </pc:sldMkLst>
      </pc:sldChg>
      <pc:sldChg chg="del">
        <pc:chgData name="Sezgen, Handenur" userId="693f6077-2094-4a4b-9c12-b1a0c4de2bbc" providerId="ADAL" clId="{5B430AB4-3B31-40FC-B7D2-06B73B197EDF}" dt="2025-10-16T10:05:16.053" v="3493" actId="47"/>
        <pc:sldMkLst>
          <pc:docMk/>
          <pc:sldMk cId="1419954686" sldId="2147481995"/>
        </pc:sldMkLst>
      </pc:sldChg>
      <pc:sldChg chg="del">
        <pc:chgData name="Sezgen, Handenur" userId="693f6077-2094-4a4b-9c12-b1a0c4de2bbc" providerId="ADAL" clId="{5B430AB4-3B31-40FC-B7D2-06B73B197EDF}" dt="2025-10-16T10:05:16.053" v="3493" actId="47"/>
        <pc:sldMkLst>
          <pc:docMk/>
          <pc:sldMk cId="321532897" sldId="2147481996"/>
        </pc:sldMkLst>
      </pc:sldChg>
      <pc:sldChg chg="del">
        <pc:chgData name="Sezgen, Handenur" userId="693f6077-2094-4a4b-9c12-b1a0c4de2bbc" providerId="ADAL" clId="{5B430AB4-3B31-40FC-B7D2-06B73B197EDF}" dt="2025-10-16T10:05:16.053" v="3493" actId="47"/>
        <pc:sldMkLst>
          <pc:docMk/>
          <pc:sldMk cId="3051232704" sldId="2147481997"/>
        </pc:sldMkLst>
      </pc:sldChg>
      <pc:sldChg chg="del">
        <pc:chgData name="Sezgen, Handenur" userId="693f6077-2094-4a4b-9c12-b1a0c4de2bbc" providerId="ADAL" clId="{5B430AB4-3B31-40FC-B7D2-06B73B197EDF}" dt="2025-10-16T10:05:16.053" v="3493" actId="47"/>
        <pc:sldMkLst>
          <pc:docMk/>
          <pc:sldMk cId="2269012873" sldId="2147481998"/>
        </pc:sldMkLst>
      </pc:sldChg>
      <pc:sldChg chg="del">
        <pc:chgData name="Sezgen, Handenur" userId="693f6077-2094-4a4b-9c12-b1a0c4de2bbc" providerId="ADAL" clId="{5B430AB4-3B31-40FC-B7D2-06B73B197EDF}" dt="2025-10-16T10:05:16.053" v="3493" actId="47"/>
        <pc:sldMkLst>
          <pc:docMk/>
          <pc:sldMk cId="4062890599" sldId="2147481999"/>
        </pc:sldMkLst>
      </pc:sldChg>
      <pc:sldChg chg="del">
        <pc:chgData name="Sezgen, Handenur" userId="693f6077-2094-4a4b-9c12-b1a0c4de2bbc" providerId="ADAL" clId="{5B430AB4-3B31-40FC-B7D2-06B73B197EDF}" dt="2025-10-16T10:05:16.053" v="3493" actId="47"/>
        <pc:sldMkLst>
          <pc:docMk/>
          <pc:sldMk cId="3161308464" sldId="2147482000"/>
        </pc:sldMkLst>
      </pc:sldChg>
      <pc:sldChg chg="del">
        <pc:chgData name="Sezgen, Handenur" userId="693f6077-2094-4a4b-9c12-b1a0c4de2bbc" providerId="ADAL" clId="{5B430AB4-3B31-40FC-B7D2-06B73B197EDF}" dt="2025-10-16T10:05:21.234" v="3494" actId="47"/>
        <pc:sldMkLst>
          <pc:docMk/>
          <pc:sldMk cId="3210104612" sldId="2147482001"/>
        </pc:sldMkLst>
      </pc:sldChg>
      <pc:sldChg chg="del">
        <pc:chgData name="Sezgen, Handenur" userId="693f6077-2094-4a4b-9c12-b1a0c4de2bbc" providerId="ADAL" clId="{5B430AB4-3B31-40FC-B7D2-06B73B197EDF}" dt="2025-10-16T10:05:21.234" v="3494" actId="47"/>
        <pc:sldMkLst>
          <pc:docMk/>
          <pc:sldMk cId="1152657244" sldId="2147482002"/>
        </pc:sldMkLst>
      </pc:sldChg>
      <pc:sldChg chg="del">
        <pc:chgData name="Sezgen, Handenur" userId="693f6077-2094-4a4b-9c12-b1a0c4de2bbc" providerId="ADAL" clId="{5B430AB4-3B31-40FC-B7D2-06B73B197EDF}" dt="2025-10-16T10:05:21.234" v="3494" actId="47"/>
        <pc:sldMkLst>
          <pc:docMk/>
          <pc:sldMk cId="1245052402" sldId="2147482003"/>
        </pc:sldMkLst>
      </pc:sldChg>
      <pc:sldChg chg="del">
        <pc:chgData name="Sezgen, Handenur" userId="693f6077-2094-4a4b-9c12-b1a0c4de2bbc" providerId="ADAL" clId="{5B430AB4-3B31-40FC-B7D2-06B73B197EDF}" dt="2025-10-16T10:05:21.234" v="3494" actId="47"/>
        <pc:sldMkLst>
          <pc:docMk/>
          <pc:sldMk cId="540323474" sldId="2147482004"/>
        </pc:sldMkLst>
      </pc:sldChg>
      <pc:sldChg chg="del">
        <pc:chgData name="Sezgen, Handenur" userId="693f6077-2094-4a4b-9c12-b1a0c4de2bbc" providerId="ADAL" clId="{5B430AB4-3B31-40FC-B7D2-06B73B197EDF}" dt="2025-10-16T10:05:21.234" v="3494" actId="47"/>
        <pc:sldMkLst>
          <pc:docMk/>
          <pc:sldMk cId="3333735" sldId="2147482005"/>
        </pc:sldMkLst>
      </pc:sldChg>
      <pc:sldChg chg="del">
        <pc:chgData name="Sezgen, Handenur" userId="693f6077-2094-4a4b-9c12-b1a0c4de2bbc" providerId="ADAL" clId="{5B430AB4-3B31-40FC-B7D2-06B73B197EDF}" dt="2025-10-16T10:05:21.234" v="3494" actId="47"/>
        <pc:sldMkLst>
          <pc:docMk/>
          <pc:sldMk cId="3208841124" sldId="2147482006"/>
        </pc:sldMkLst>
      </pc:sldChg>
      <pc:sldChg chg="del">
        <pc:chgData name="Sezgen, Handenur" userId="693f6077-2094-4a4b-9c12-b1a0c4de2bbc" providerId="ADAL" clId="{5B430AB4-3B31-40FC-B7D2-06B73B197EDF}" dt="2025-10-16T10:05:21.234" v="3494" actId="47"/>
        <pc:sldMkLst>
          <pc:docMk/>
          <pc:sldMk cId="654857055" sldId="2147482007"/>
        </pc:sldMkLst>
      </pc:sldChg>
      <pc:sldChg chg="del">
        <pc:chgData name="Sezgen, Handenur" userId="693f6077-2094-4a4b-9c12-b1a0c4de2bbc" providerId="ADAL" clId="{5B430AB4-3B31-40FC-B7D2-06B73B197EDF}" dt="2025-10-16T10:05:21.234" v="3494" actId="47"/>
        <pc:sldMkLst>
          <pc:docMk/>
          <pc:sldMk cId="2967416967" sldId="2147482008"/>
        </pc:sldMkLst>
      </pc:sldChg>
      <pc:sldChg chg="del">
        <pc:chgData name="Sezgen, Handenur" userId="693f6077-2094-4a4b-9c12-b1a0c4de2bbc" providerId="ADAL" clId="{5B430AB4-3B31-40FC-B7D2-06B73B197EDF}" dt="2025-10-16T10:05:21.234" v="3494" actId="47"/>
        <pc:sldMkLst>
          <pc:docMk/>
          <pc:sldMk cId="2461208684" sldId="2147482009"/>
        </pc:sldMkLst>
      </pc:sldChg>
      <pc:sldChg chg="del">
        <pc:chgData name="Sezgen, Handenur" userId="693f6077-2094-4a4b-9c12-b1a0c4de2bbc" providerId="ADAL" clId="{5B430AB4-3B31-40FC-B7D2-06B73B197EDF}" dt="2025-10-16T10:05:21.234" v="3494" actId="47"/>
        <pc:sldMkLst>
          <pc:docMk/>
          <pc:sldMk cId="2491654587" sldId="2147482010"/>
        </pc:sldMkLst>
      </pc:sldChg>
      <pc:sldChg chg="del">
        <pc:chgData name="Sezgen, Handenur" userId="693f6077-2094-4a4b-9c12-b1a0c4de2bbc" providerId="ADAL" clId="{5B430AB4-3B31-40FC-B7D2-06B73B197EDF}" dt="2025-10-16T10:05:21.234" v="3494" actId="47"/>
        <pc:sldMkLst>
          <pc:docMk/>
          <pc:sldMk cId="65594485" sldId="2147482011"/>
        </pc:sldMkLst>
      </pc:sldChg>
      <pc:sldChg chg="del">
        <pc:chgData name="Sezgen, Handenur" userId="693f6077-2094-4a4b-9c12-b1a0c4de2bbc" providerId="ADAL" clId="{5B430AB4-3B31-40FC-B7D2-06B73B197EDF}" dt="2025-10-16T10:05:21.234" v="3494" actId="47"/>
        <pc:sldMkLst>
          <pc:docMk/>
          <pc:sldMk cId="1923498654" sldId="2147482012"/>
        </pc:sldMkLst>
      </pc:sldChg>
      <pc:sldChg chg="del">
        <pc:chgData name="Sezgen, Handenur" userId="693f6077-2094-4a4b-9c12-b1a0c4de2bbc" providerId="ADAL" clId="{5B430AB4-3B31-40FC-B7D2-06B73B197EDF}" dt="2025-10-16T10:05:21.234" v="3494" actId="47"/>
        <pc:sldMkLst>
          <pc:docMk/>
          <pc:sldMk cId="1810069413" sldId="2147482013"/>
        </pc:sldMkLst>
      </pc:sldChg>
      <pc:sldChg chg="del">
        <pc:chgData name="Sezgen, Handenur" userId="693f6077-2094-4a4b-9c12-b1a0c4de2bbc" providerId="ADAL" clId="{5B430AB4-3B31-40FC-B7D2-06B73B197EDF}" dt="2025-10-16T10:05:21.234" v="3494" actId="47"/>
        <pc:sldMkLst>
          <pc:docMk/>
          <pc:sldMk cId="3690033654" sldId="2147482014"/>
        </pc:sldMkLst>
      </pc:sldChg>
      <pc:sldChg chg="del">
        <pc:chgData name="Sezgen, Handenur" userId="693f6077-2094-4a4b-9c12-b1a0c4de2bbc" providerId="ADAL" clId="{5B430AB4-3B31-40FC-B7D2-06B73B197EDF}" dt="2025-10-16T10:05:21.234" v="3494" actId="47"/>
        <pc:sldMkLst>
          <pc:docMk/>
          <pc:sldMk cId="3490346852" sldId="2147482015"/>
        </pc:sldMkLst>
      </pc:sldChg>
      <pc:sldChg chg="del">
        <pc:chgData name="Sezgen, Handenur" userId="693f6077-2094-4a4b-9c12-b1a0c4de2bbc" providerId="ADAL" clId="{5B430AB4-3B31-40FC-B7D2-06B73B197EDF}" dt="2025-10-16T10:05:21.234" v="3494" actId="47"/>
        <pc:sldMkLst>
          <pc:docMk/>
          <pc:sldMk cId="2006655845" sldId="2147482016"/>
        </pc:sldMkLst>
      </pc:sldChg>
      <pc:sldChg chg="del">
        <pc:chgData name="Sezgen, Handenur" userId="693f6077-2094-4a4b-9c12-b1a0c4de2bbc" providerId="ADAL" clId="{5B430AB4-3B31-40FC-B7D2-06B73B197EDF}" dt="2025-10-16T10:05:21.234" v="3494" actId="47"/>
        <pc:sldMkLst>
          <pc:docMk/>
          <pc:sldMk cId="3931012366" sldId="2147482017"/>
        </pc:sldMkLst>
      </pc:sldChg>
      <pc:sldChg chg="del">
        <pc:chgData name="Sezgen, Handenur" userId="693f6077-2094-4a4b-9c12-b1a0c4de2bbc" providerId="ADAL" clId="{5B430AB4-3B31-40FC-B7D2-06B73B197EDF}" dt="2025-10-16T10:05:21.234" v="3494" actId="47"/>
        <pc:sldMkLst>
          <pc:docMk/>
          <pc:sldMk cId="2144474024" sldId="2147482018"/>
        </pc:sldMkLst>
      </pc:sldChg>
      <pc:sldChg chg="del">
        <pc:chgData name="Sezgen, Handenur" userId="693f6077-2094-4a4b-9c12-b1a0c4de2bbc" providerId="ADAL" clId="{5B430AB4-3B31-40FC-B7D2-06B73B197EDF}" dt="2025-10-16T10:05:21.234" v="3494" actId="47"/>
        <pc:sldMkLst>
          <pc:docMk/>
          <pc:sldMk cId="1549597862" sldId="2147482019"/>
        </pc:sldMkLst>
      </pc:sldChg>
      <pc:sldChg chg="del">
        <pc:chgData name="Sezgen, Handenur" userId="693f6077-2094-4a4b-9c12-b1a0c4de2bbc" providerId="ADAL" clId="{5B430AB4-3B31-40FC-B7D2-06B73B197EDF}" dt="2025-10-16T10:05:21.234" v="3494" actId="47"/>
        <pc:sldMkLst>
          <pc:docMk/>
          <pc:sldMk cId="2727862682" sldId="2147482020"/>
        </pc:sldMkLst>
      </pc:sldChg>
      <pc:sldChg chg="del">
        <pc:chgData name="Sezgen, Handenur" userId="693f6077-2094-4a4b-9c12-b1a0c4de2bbc" providerId="ADAL" clId="{5B430AB4-3B31-40FC-B7D2-06B73B197EDF}" dt="2025-10-16T10:05:21.234" v="3494" actId="47"/>
        <pc:sldMkLst>
          <pc:docMk/>
          <pc:sldMk cId="226022480" sldId="2147482021"/>
        </pc:sldMkLst>
      </pc:sldChg>
      <pc:sldChg chg="del">
        <pc:chgData name="Sezgen, Handenur" userId="693f6077-2094-4a4b-9c12-b1a0c4de2bbc" providerId="ADAL" clId="{5B430AB4-3B31-40FC-B7D2-06B73B197EDF}" dt="2025-10-16T10:05:21.234" v="3494" actId="47"/>
        <pc:sldMkLst>
          <pc:docMk/>
          <pc:sldMk cId="3777557938" sldId="2147482022"/>
        </pc:sldMkLst>
      </pc:sldChg>
      <pc:sldChg chg="del">
        <pc:chgData name="Sezgen, Handenur" userId="693f6077-2094-4a4b-9c12-b1a0c4de2bbc" providerId="ADAL" clId="{5B430AB4-3B31-40FC-B7D2-06B73B197EDF}" dt="2025-10-16T10:05:21.234" v="3494" actId="47"/>
        <pc:sldMkLst>
          <pc:docMk/>
          <pc:sldMk cId="1887178761" sldId="2147482023"/>
        </pc:sldMkLst>
      </pc:sldChg>
      <pc:sldChg chg="del">
        <pc:chgData name="Sezgen, Handenur" userId="693f6077-2094-4a4b-9c12-b1a0c4de2bbc" providerId="ADAL" clId="{5B430AB4-3B31-40FC-B7D2-06B73B197EDF}" dt="2025-10-16T10:05:21.234" v="3494" actId="47"/>
        <pc:sldMkLst>
          <pc:docMk/>
          <pc:sldMk cId="1352859106" sldId="2147482024"/>
        </pc:sldMkLst>
      </pc:sldChg>
      <pc:sldChg chg="del">
        <pc:chgData name="Sezgen, Handenur" userId="693f6077-2094-4a4b-9c12-b1a0c4de2bbc" providerId="ADAL" clId="{5B430AB4-3B31-40FC-B7D2-06B73B197EDF}" dt="2025-10-16T10:05:21.234" v="3494" actId="47"/>
        <pc:sldMkLst>
          <pc:docMk/>
          <pc:sldMk cId="720856996" sldId="2147482025"/>
        </pc:sldMkLst>
      </pc:sldChg>
      <pc:sldChg chg="addSp modSp mod">
        <pc:chgData name="Sezgen, Handenur" userId="693f6077-2094-4a4b-9c12-b1a0c4de2bbc" providerId="ADAL" clId="{5B430AB4-3B31-40FC-B7D2-06B73B197EDF}" dt="2025-10-16T10:09:43.354" v="3560" actId="164"/>
        <pc:sldMkLst>
          <pc:docMk/>
          <pc:sldMk cId="1777774353" sldId="2147482026"/>
        </pc:sldMkLst>
        <pc:spChg chg="mod">
          <ac:chgData name="Sezgen, Handenur" userId="693f6077-2094-4a4b-9c12-b1a0c4de2bbc" providerId="ADAL" clId="{5B430AB4-3B31-40FC-B7D2-06B73B197EDF}" dt="2025-10-16T08:27:14.372" v="1100" actId="113"/>
          <ac:spMkLst>
            <pc:docMk/>
            <pc:sldMk cId="1777774353" sldId="2147482026"/>
            <ac:spMk id="17" creationId="{FD8DC796-E08D-F0D8-1C8D-469E956568AD}"/>
          </ac:spMkLst>
        </pc:spChg>
        <pc:spChg chg="mod">
          <ac:chgData name="Sezgen, Handenur" userId="693f6077-2094-4a4b-9c12-b1a0c4de2bbc" providerId="ADAL" clId="{5B430AB4-3B31-40FC-B7D2-06B73B197EDF}" dt="2025-10-16T08:29:40.815" v="1156" actId="20577"/>
          <ac:spMkLst>
            <pc:docMk/>
            <pc:sldMk cId="1777774353" sldId="2147482026"/>
            <ac:spMk id="29" creationId="{3492E276-3E03-0A88-D033-38D660515D9D}"/>
          </ac:spMkLst>
        </pc:spChg>
        <pc:spChg chg="add mod">
          <ac:chgData name="Sezgen, Handenur" userId="693f6077-2094-4a4b-9c12-b1a0c4de2bbc" providerId="ADAL" clId="{5B430AB4-3B31-40FC-B7D2-06B73B197EDF}" dt="2025-10-16T08:29:49.093" v="1161" actId="1076"/>
          <ac:spMkLst>
            <pc:docMk/>
            <pc:sldMk cId="1777774353" sldId="2147482026"/>
            <ac:spMk id="43" creationId="{240EF197-2781-A229-5590-B9C20F217E25}"/>
          </ac:spMkLst>
        </pc:spChg>
        <pc:grpChg chg="add mod">
          <ac:chgData name="Sezgen, Handenur" userId="693f6077-2094-4a4b-9c12-b1a0c4de2bbc" providerId="ADAL" clId="{5B430AB4-3B31-40FC-B7D2-06B73B197EDF}" dt="2025-10-16T10:09:43.354" v="3560" actId="164"/>
          <ac:grpSpMkLst>
            <pc:docMk/>
            <pc:sldMk cId="1777774353" sldId="2147482026"/>
            <ac:grpSpMk id="44" creationId="{6FE59D24-2C27-4E76-18D3-F44A056E631E}"/>
          </ac:grpSpMkLst>
        </pc:grpChg>
        <pc:picChg chg="mod">
          <ac:chgData name="Sezgen, Handenur" userId="693f6077-2094-4a4b-9c12-b1a0c4de2bbc" providerId="ADAL" clId="{5B430AB4-3B31-40FC-B7D2-06B73B197EDF}" dt="2025-10-16T10:09:43.354" v="3560" actId="164"/>
          <ac:picMkLst>
            <pc:docMk/>
            <pc:sldMk cId="1777774353" sldId="2147482026"/>
            <ac:picMk id="20" creationId="{F463B485-8D27-5096-D054-0AF01C3431C3}"/>
          </ac:picMkLst>
        </pc:picChg>
        <pc:picChg chg="mod">
          <ac:chgData name="Sezgen, Handenur" userId="693f6077-2094-4a4b-9c12-b1a0c4de2bbc" providerId="ADAL" clId="{5B430AB4-3B31-40FC-B7D2-06B73B197EDF}" dt="2025-10-16T10:09:43.354" v="3560" actId="164"/>
          <ac:picMkLst>
            <pc:docMk/>
            <pc:sldMk cId="1777774353" sldId="2147482026"/>
            <ac:picMk id="21" creationId="{45116E2D-5E20-5C5B-B765-A4DB52A850DE}"/>
          </ac:picMkLst>
        </pc:picChg>
      </pc:sldChg>
      <pc:sldChg chg="addSp modSp">
        <pc:chgData name="Sezgen, Handenur" userId="693f6077-2094-4a4b-9c12-b1a0c4de2bbc" providerId="ADAL" clId="{5B430AB4-3B31-40FC-B7D2-06B73B197EDF}" dt="2025-10-16T10:09:58.417" v="3565"/>
        <pc:sldMkLst>
          <pc:docMk/>
          <pc:sldMk cId="2553807683" sldId="2147482027"/>
        </pc:sldMkLst>
        <pc:grpChg chg="add mod">
          <ac:chgData name="Sezgen, Handenur" userId="693f6077-2094-4a4b-9c12-b1a0c4de2bbc" providerId="ADAL" clId="{5B430AB4-3B31-40FC-B7D2-06B73B197EDF}" dt="2025-10-16T10:09:58.417" v="3565"/>
          <ac:grpSpMkLst>
            <pc:docMk/>
            <pc:sldMk cId="2553807683" sldId="2147482027"/>
            <ac:grpSpMk id="6" creationId="{DB7DECA8-2066-D2E8-050B-D0B6A691E1A7}"/>
          </ac:grpSpMkLst>
        </pc:grpChg>
        <pc:picChg chg="mod">
          <ac:chgData name="Sezgen, Handenur" userId="693f6077-2094-4a4b-9c12-b1a0c4de2bbc" providerId="ADAL" clId="{5B430AB4-3B31-40FC-B7D2-06B73B197EDF}" dt="2025-10-16T10:09:58.417" v="3565"/>
          <ac:picMkLst>
            <pc:docMk/>
            <pc:sldMk cId="2553807683" sldId="2147482027"/>
            <ac:picMk id="7" creationId="{B5054D06-3328-63EB-A12B-59AFDD2C4044}"/>
          </ac:picMkLst>
        </pc:picChg>
        <pc:picChg chg="mod">
          <ac:chgData name="Sezgen, Handenur" userId="693f6077-2094-4a4b-9c12-b1a0c4de2bbc" providerId="ADAL" clId="{5B430AB4-3B31-40FC-B7D2-06B73B197EDF}" dt="2025-10-16T10:09:58.417" v="3565"/>
          <ac:picMkLst>
            <pc:docMk/>
            <pc:sldMk cId="2553807683" sldId="2147482027"/>
            <ac:picMk id="8" creationId="{D3263776-1ECC-6DC0-CAAB-E27EC89FA433}"/>
          </ac:picMkLst>
        </pc:picChg>
      </pc:sldChg>
      <pc:sldChg chg="addSp delSp modSp mod modClrScheme chgLayout">
        <pc:chgData name="Sezgen, Handenur" userId="693f6077-2094-4a4b-9c12-b1a0c4de2bbc" providerId="ADAL" clId="{5B430AB4-3B31-40FC-B7D2-06B73B197EDF}" dt="2025-10-16T10:11:24.677" v="3632"/>
        <pc:sldMkLst>
          <pc:docMk/>
          <pc:sldMk cId="2791044449" sldId="2147483622"/>
        </pc:sldMkLst>
        <pc:spChg chg="mod ord">
          <ac:chgData name="Sezgen, Handenur" userId="693f6077-2094-4a4b-9c12-b1a0c4de2bbc" providerId="ADAL" clId="{5B430AB4-3B31-40FC-B7D2-06B73B197EDF}" dt="2025-10-16T07:53:51.445" v="426" actId="1076"/>
          <ac:spMkLst>
            <pc:docMk/>
            <pc:sldMk cId="2791044449" sldId="2147483622"/>
            <ac:spMk id="2" creationId="{6215F760-A567-CBFF-A023-079DD4C5C944}"/>
          </ac:spMkLst>
        </pc:spChg>
        <pc:spChg chg="del">
          <ac:chgData name="Sezgen, Handenur" userId="693f6077-2094-4a4b-9c12-b1a0c4de2bbc" providerId="ADAL" clId="{5B430AB4-3B31-40FC-B7D2-06B73B197EDF}" dt="2025-10-16T07:53:34.211" v="417" actId="700"/>
          <ac:spMkLst>
            <pc:docMk/>
            <pc:sldMk cId="2791044449" sldId="2147483622"/>
            <ac:spMk id="3" creationId="{2EEE27B2-9B5B-C46D-3AB2-A33008E6D629}"/>
          </ac:spMkLst>
        </pc:spChg>
        <pc:picChg chg="add mod">
          <ac:chgData name="Sezgen, Handenur" userId="693f6077-2094-4a4b-9c12-b1a0c4de2bbc" providerId="ADAL" clId="{5B430AB4-3B31-40FC-B7D2-06B73B197EDF}" dt="2025-10-16T10:11:24.677" v="3632"/>
          <ac:picMkLst>
            <pc:docMk/>
            <pc:sldMk cId="2791044449" sldId="2147483622"/>
            <ac:picMk id="4" creationId="{81D80D71-423C-C0B7-5C1A-EDCCC92A8B9E}"/>
          </ac:picMkLst>
        </pc:picChg>
      </pc:sldChg>
      <pc:sldChg chg="addSp delSp modSp mod modClrScheme chgLayout">
        <pc:chgData name="Sezgen, Handenur" userId="693f6077-2094-4a4b-9c12-b1a0c4de2bbc" providerId="ADAL" clId="{5B430AB4-3B31-40FC-B7D2-06B73B197EDF}" dt="2025-10-16T10:11:29.639" v="3637"/>
        <pc:sldMkLst>
          <pc:docMk/>
          <pc:sldMk cId="3770093651" sldId="2147483624"/>
        </pc:sldMkLst>
        <pc:spChg chg="mod ord">
          <ac:chgData name="Sezgen, Handenur" userId="693f6077-2094-4a4b-9c12-b1a0c4de2bbc" providerId="ADAL" clId="{5B430AB4-3B31-40FC-B7D2-06B73B197EDF}" dt="2025-10-16T08:03:37.507" v="593" actId="14100"/>
          <ac:spMkLst>
            <pc:docMk/>
            <pc:sldMk cId="3770093651" sldId="2147483624"/>
            <ac:spMk id="2" creationId="{8D79DB44-063D-5BD0-A01E-05433179258C}"/>
          </ac:spMkLst>
        </pc:spChg>
        <pc:spChg chg="del">
          <ac:chgData name="Sezgen, Handenur" userId="693f6077-2094-4a4b-9c12-b1a0c4de2bbc" providerId="ADAL" clId="{5B430AB4-3B31-40FC-B7D2-06B73B197EDF}" dt="2025-10-16T08:03:29.846" v="589" actId="700"/>
          <ac:spMkLst>
            <pc:docMk/>
            <pc:sldMk cId="3770093651" sldId="2147483624"/>
            <ac:spMk id="3" creationId="{F39F0291-4CEE-33FC-EFAC-DE39B40C3462}"/>
          </ac:spMkLst>
        </pc:spChg>
        <pc:picChg chg="add mod">
          <ac:chgData name="Sezgen, Handenur" userId="693f6077-2094-4a4b-9c12-b1a0c4de2bbc" providerId="ADAL" clId="{5B430AB4-3B31-40FC-B7D2-06B73B197EDF}" dt="2025-10-16T10:11:29.639" v="3637"/>
          <ac:picMkLst>
            <pc:docMk/>
            <pc:sldMk cId="3770093651" sldId="2147483624"/>
            <ac:picMk id="4" creationId="{9A3D504F-BE9B-C9CC-400A-71AAA54C4B91}"/>
          </ac:picMkLst>
        </pc:picChg>
      </pc:sldChg>
      <pc:sldChg chg="addSp delSp modSp mod modClrScheme chgLayout">
        <pc:chgData name="Sezgen, Handenur" userId="693f6077-2094-4a4b-9c12-b1a0c4de2bbc" providerId="ADAL" clId="{5B430AB4-3B31-40FC-B7D2-06B73B197EDF}" dt="2025-10-16T10:11:15.541" v="3623"/>
        <pc:sldMkLst>
          <pc:docMk/>
          <pc:sldMk cId="3509172464" sldId="2147483625"/>
        </pc:sldMkLst>
        <pc:spChg chg="mod ord">
          <ac:chgData name="Sezgen, Handenur" userId="693f6077-2094-4a4b-9c12-b1a0c4de2bbc" providerId="ADAL" clId="{5B430AB4-3B31-40FC-B7D2-06B73B197EDF}" dt="2025-10-16T07:42:44.327" v="172" actId="207"/>
          <ac:spMkLst>
            <pc:docMk/>
            <pc:sldMk cId="3509172464" sldId="2147483625"/>
            <ac:spMk id="2" creationId="{331A0EA5-FD42-ACA1-E872-6AC73901EA46}"/>
          </ac:spMkLst>
        </pc:spChg>
        <pc:spChg chg="del">
          <ac:chgData name="Sezgen, Handenur" userId="693f6077-2094-4a4b-9c12-b1a0c4de2bbc" providerId="ADAL" clId="{5B430AB4-3B31-40FC-B7D2-06B73B197EDF}" dt="2025-10-16T07:42:35.544" v="168" actId="700"/>
          <ac:spMkLst>
            <pc:docMk/>
            <pc:sldMk cId="3509172464" sldId="2147483625"/>
            <ac:spMk id="3" creationId="{F8A9AB36-D17C-4A41-79F1-03E7BFEB1A1C}"/>
          </ac:spMkLst>
        </pc:spChg>
        <pc:picChg chg="add mod">
          <ac:chgData name="Sezgen, Handenur" userId="693f6077-2094-4a4b-9c12-b1a0c4de2bbc" providerId="ADAL" clId="{5B430AB4-3B31-40FC-B7D2-06B73B197EDF}" dt="2025-10-16T10:11:15.541" v="3623"/>
          <ac:picMkLst>
            <pc:docMk/>
            <pc:sldMk cId="3509172464" sldId="2147483625"/>
            <ac:picMk id="4" creationId="{719DD765-0E62-B72E-C05E-6E42D461CF6F}"/>
          </ac:picMkLst>
        </pc:picChg>
      </pc:sldChg>
      <pc:sldChg chg="addSp delSp modSp mod modClrScheme chgLayout">
        <pc:chgData name="Sezgen, Handenur" userId="693f6077-2094-4a4b-9c12-b1a0c4de2bbc" providerId="ADAL" clId="{5B430AB4-3B31-40FC-B7D2-06B73B197EDF}" dt="2025-10-16T10:12:35.485" v="3645"/>
        <pc:sldMkLst>
          <pc:docMk/>
          <pc:sldMk cId="4128382826" sldId="2147483632"/>
        </pc:sldMkLst>
        <pc:spChg chg="mod ord">
          <ac:chgData name="Sezgen, Handenur" userId="693f6077-2094-4a4b-9c12-b1a0c4de2bbc" providerId="ADAL" clId="{5B430AB4-3B31-40FC-B7D2-06B73B197EDF}" dt="2025-10-16T08:15:01" v="851" actId="947"/>
          <ac:spMkLst>
            <pc:docMk/>
            <pc:sldMk cId="4128382826" sldId="2147483632"/>
            <ac:spMk id="2" creationId="{00000000-0000-0000-0000-000000000000}"/>
          </ac:spMkLst>
        </pc:spChg>
        <pc:spChg chg="add del mod">
          <ac:chgData name="Sezgen, Handenur" userId="693f6077-2094-4a4b-9c12-b1a0c4de2bbc" providerId="ADAL" clId="{5B430AB4-3B31-40FC-B7D2-06B73B197EDF}" dt="2025-10-16T08:14:54.194" v="850" actId="6264"/>
          <ac:spMkLst>
            <pc:docMk/>
            <pc:sldMk cId="4128382826" sldId="2147483632"/>
            <ac:spMk id="3" creationId="{B773E41A-62A6-5063-52E9-0D9C3491F903}"/>
          </ac:spMkLst>
        </pc:spChg>
        <pc:spChg chg="mod">
          <ac:chgData name="Sezgen, Handenur" userId="693f6077-2094-4a4b-9c12-b1a0c4de2bbc" providerId="ADAL" clId="{5B430AB4-3B31-40FC-B7D2-06B73B197EDF}" dt="2025-10-16T08:14:43.784" v="846" actId="255"/>
          <ac:spMkLst>
            <pc:docMk/>
            <pc:sldMk cId="4128382826" sldId="2147483632"/>
            <ac:spMk id="5" creationId="{00000000-0000-0000-0000-000000000000}"/>
          </ac:spMkLst>
        </pc:spChg>
        <pc:picChg chg="add mod">
          <ac:chgData name="Sezgen, Handenur" userId="693f6077-2094-4a4b-9c12-b1a0c4de2bbc" providerId="ADAL" clId="{5B430AB4-3B31-40FC-B7D2-06B73B197EDF}" dt="2025-10-16T10:12:35.485" v="3645"/>
          <ac:picMkLst>
            <pc:docMk/>
            <pc:sldMk cId="4128382826" sldId="2147483632"/>
            <ac:picMk id="12" creationId="{03684280-234F-6F6B-3CA5-D4180A202B89}"/>
          </ac:picMkLst>
        </pc:picChg>
      </pc:sldChg>
      <pc:sldChg chg="addSp modSp mod modClrScheme chgLayout">
        <pc:chgData name="Sezgen, Handenur" userId="693f6077-2094-4a4b-9c12-b1a0c4de2bbc" providerId="ADAL" clId="{5B430AB4-3B31-40FC-B7D2-06B73B197EDF}" dt="2025-10-16T10:12:40.069" v="3650"/>
        <pc:sldMkLst>
          <pc:docMk/>
          <pc:sldMk cId="1216526157" sldId="2147483640"/>
        </pc:sldMkLst>
        <pc:spChg chg="mod ord">
          <ac:chgData name="Sezgen, Handenur" userId="693f6077-2094-4a4b-9c12-b1a0c4de2bbc" providerId="ADAL" clId="{5B430AB4-3B31-40FC-B7D2-06B73B197EDF}" dt="2025-10-16T08:20:56.020" v="923" actId="700"/>
          <ac:spMkLst>
            <pc:docMk/>
            <pc:sldMk cId="1216526157" sldId="2147483640"/>
            <ac:spMk id="2" creationId="{CBC26315-864C-F476-8BF4-9A6404482DEB}"/>
          </ac:spMkLst>
        </pc:spChg>
        <pc:spChg chg="mod ord">
          <ac:chgData name="Sezgen, Handenur" userId="693f6077-2094-4a4b-9c12-b1a0c4de2bbc" providerId="ADAL" clId="{5B430AB4-3B31-40FC-B7D2-06B73B197EDF}" dt="2025-10-16T08:21:16.504" v="936" actId="207"/>
          <ac:spMkLst>
            <pc:docMk/>
            <pc:sldMk cId="1216526157" sldId="2147483640"/>
            <ac:spMk id="19" creationId="{8AE11FE9-A1E3-068F-0C18-29CBFE535E9B}"/>
          </ac:spMkLst>
        </pc:spChg>
        <pc:spChg chg="mod">
          <ac:chgData name="Sezgen, Handenur" userId="693f6077-2094-4a4b-9c12-b1a0c4de2bbc" providerId="ADAL" clId="{5B430AB4-3B31-40FC-B7D2-06B73B197EDF}" dt="2025-10-16T08:21:03.791" v="933" actId="113"/>
          <ac:spMkLst>
            <pc:docMk/>
            <pc:sldMk cId="1216526157" sldId="2147483640"/>
            <ac:spMk id="26" creationId="{196E7B55-DAC3-65FC-DBD0-699D0F727F7A}"/>
          </ac:spMkLst>
        </pc:spChg>
        <pc:spChg chg="mod ord">
          <ac:chgData name="Sezgen, Handenur" userId="693f6077-2094-4a4b-9c12-b1a0c4de2bbc" providerId="ADAL" clId="{5B430AB4-3B31-40FC-B7D2-06B73B197EDF}" dt="2025-10-16T08:20:56.146" v="925" actId="27636"/>
          <ac:spMkLst>
            <pc:docMk/>
            <pc:sldMk cId="1216526157" sldId="2147483640"/>
            <ac:spMk id="63" creationId="{80437118-F880-F811-1094-51317FCEC5FD}"/>
          </ac:spMkLst>
        </pc:spChg>
        <pc:grpChg chg="mod">
          <ac:chgData name="Sezgen, Handenur" userId="693f6077-2094-4a4b-9c12-b1a0c4de2bbc" providerId="ADAL" clId="{5B430AB4-3B31-40FC-B7D2-06B73B197EDF}" dt="2025-10-16T08:21:22.976" v="937" actId="1076"/>
          <ac:grpSpMkLst>
            <pc:docMk/>
            <pc:sldMk cId="1216526157" sldId="2147483640"/>
            <ac:grpSpMk id="7" creationId="{E17BC185-CD1A-8724-9B4A-E625E25C1D72}"/>
          </ac:grpSpMkLst>
        </pc:grpChg>
        <pc:picChg chg="add mod">
          <ac:chgData name="Sezgen, Handenur" userId="693f6077-2094-4a4b-9c12-b1a0c4de2bbc" providerId="ADAL" clId="{5B430AB4-3B31-40FC-B7D2-06B73B197EDF}" dt="2025-10-16T10:12:40.069" v="3650"/>
          <ac:picMkLst>
            <pc:docMk/>
            <pc:sldMk cId="1216526157" sldId="2147483640"/>
            <ac:picMk id="4" creationId="{5D51E8F8-2672-3961-511B-927F23F326DD}"/>
          </ac:picMkLst>
        </pc:picChg>
      </pc:sldChg>
      <pc:sldChg chg="add del">
        <pc:chgData name="Sezgen, Handenur" userId="693f6077-2094-4a4b-9c12-b1a0c4de2bbc" providerId="ADAL" clId="{5B430AB4-3B31-40FC-B7D2-06B73B197EDF}" dt="2025-10-16T09:49:25.924" v="3203" actId="47"/>
        <pc:sldMkLst>
          <pc:docMk/>
          <pc:sldMk cId="3056270366" sldId="2147483645"/>
        </pc:sldMkLst>
      </pc:sldChg>
      <pc:sldChg chg="addSp delSp modSp add mod modClrScheme chgLayout">
        <pc:chgData name="Sezgen, Handenur" userId="693f6077-2094-4a4b-9c12-b1a0c4de2bbc" providerId="ADAL" clId="{5B430AB4-3B31-40FC-B7D2-06B73B197EDF}" dt="2025-10-16T10:13:19.766" v="3672" actId="478"/>
        <pc:sldMkLst>
          <pc:docMk/>
          <pc:sldMk cId="1722433450" sldId="2147483646"/>
        </pc:sldMkLst>
        <pc:spChg chg="mod ord">
          <ac:chgData name="Sezgen, Handenur" userId="693f6077-2094-4a4b-9c12-b1a0c4de2bbc" providerId="ADAL" clId="{5B430AB4-3B31-40FC-B7D2-06B73B197EDF}" dt="2025-10-16T08:51:48.993" v="1543" actId="6264"/>
          <ac:spMkLst>
            <pc:docMk/>
            <pc:sldMk cId="1722433450" sldId="2147483646"/>
            <ac:spMk id="2" creationId="{AA37B61E-295D-687B-E519-4E1B5ACE8009}"/>
          </ac:spMkLst>
        </pc:spChg>
        <pc:spChg chg="add del mod">
          <ac:chgData name="Sezgen, Handenur" userId="693f6077-2094-4a4b-9c12-b1a0c4de2bbc" providerId="ADAL" clId="{5B430AB4-3B31-40FC-B7D2-06B73B197EDF}" dt="2025-10-16T08:51:48.993" v="1543" actId="6264"/>
          <ac:spMkLst>
            <pc:docMk/>
            <pc:sldMk cId="1722433450" sldId="2147483646"/>
            <ac:spMk id="3" creationId="{4893798D-4F99-5676-0354-58CDBBEE7A06}"/>
          </ac:spMkLst>
        </pc:spChg>
        <pc:spChg chg="mod">
          <ac:chgData name="Sezgen, Handenur" userId="693f6077-2094-4a4b-9c12-b1a0c4de2bbc" providerId="ADAL" clId="{5B430AB4-3B31-40FC-B7D2-06B73B197EDF}" dt="2025-10-16T08:51:59.194" v="1550" actId="1076"/>
          <ac:spMkLst>
            <pc:docMk/>
            <pc:sldMk cId="1722433450" sldId="2147483646"/>
            <ac:spMk id="6" creationId="{ADC7CEA5-EF99-C778-B6E2-BE7C02E00302}"/>
          </ac:spMkLst>
        </pc:spChg>
        <pc:picChg chg="add mod">
          <ac:chgData name="Sezgen, Handenur" userId="693f6077-2094-4a4b-9c12-b1a0c4de2bbc" providerId="ADAL" clId="{5B430AB4-3B31-40FC-B7D2-06B73B197EDF}" dt="2025-10-16T10:13:18.130" v="3671"/>
          <ac:picMkLst>
            <pc:docMk/>
            <pc:sldMk cId="1722433450" sldId="2147483646"/>
            <ac:picMk id="4" creationId="{228B0D2E-950D-E7A1-5626-BF37975FAB76}"/>
          </ac:picMkLst>
        </pc:picChg>
        <pc:picChg chg="add del mod">
          <ac:chgData name="Sezgen, Handenur" userId="693f6077-2094-4a4b-9c12-b1a0c4de2bbc" providerId="ADAL" clId="{5B430AB4-3B31-40FC-B7D2-06B73B197EDF}" dt="2025-10-16T10:13:19.766" v="3672" actId="478"/>
          <ac:picMkLst>
            <pc:docMk/>
            <pc:sldMk cId="1722433450" sldId="2147483646"/>
            <ac:picMk id="5" creationId="{2D4A4E58-FEBD-93BC-3663-E7A38C726AB5}"/>
          </ac:picMkLst>
        </pc:picChg>
      </pc:sldChg>
      <pc:sldChg chg="addSp modSp">
        <pc:chgData name="Sezgen, Handenur" userId="693f6077-2094-4a4b-9c12-b1a0c4de2bbc" providerId="ADAL" clId="{5B430AB4-3B31-40FC-B7D2-06B73B197EDF}" dt="2025-10-16T10:10:01.283" v="3566"/>
        <pc:sldMkLst>
          <pc:docMk/>
          <pc:sldMk cId="2034787635" sldId="2147483647"/>
        </pc:sldMkLst>
        <pc:grpChg chg="add mod">
          <ac:chgData name="Sezgen, Handenur" userId="693f6077-2094-4a4b-9c12-b1a0c4de2bbc" providerId="ADAL" clId="{5B430AB4-3B31-40FC-B7D2-06B73B197EDF}" dt="2025-10-16T10:10:01.283" v="3566"/>
          <ac:grpSpMkLst>
            <pc:docMk/>
            <pc:sldMk cId="2034787635" sldId="2147483647"/>
            <ac:grpSpMk id="7" creationId="{08465C6F-6A33-049B-4893-6D91A32BAF36}"/>
          </ac:grpSpMkLst>
        </pc:grpChg>
        <pc:picChg chg="mod">
          <ac:chgData name="Sezgen, Handenur" userId="693f6077-2094-4a4b-9c12-b1a0c4de2bbc" providerId="ADAL" clId="{5B430AB4-3B31-40FC-B7D2-06B73B197EDF}" dt="2025-10-16T10:10:01.283" v="3566"/>
          <ac:picMkLst>
            <pc:docMk/>
            <pc:sldMk cId="2034787635" sldId="2147483647"/>
            <ac:picMk id="8" creationId="{3FDD2095-6956-A40A-82E2-F4292E960D54}"/>
          </ac:picMkLst>
        </pc:picChg>
        <pc:picChg chg="mod">
          <ac:chgData name="Sezgen, Handenur" userId="693f6077-2094-4a4b-9c12-b1a0c4de2bbc" providerId="ADAL" clId="{5B430AB4-3B31-40FC-B7D2-06B73B197EDF}" dt="2025-10-16T10:10:01.283" v="3566"/>
          <ac:picMkLst>
            <pc:docMk/>
            <pc:sldMk cId="2034787635" sldId="2147483647"/>
            <ac:picMk id="10" creationId="{A7BFE328-AAF0-1670-AD4C-E29E2E318A9F}"/>
          </ac:picMkLst>
        </pc:picChg>
      </pc:sldChg>
      <pc:sldMasterChg chg="delSldLayout">
        <pc:chgData name="Sezgen, Handenur" userId="693f6077-2094-4a4b-9c12-b1a0c4de2bbc" providerId="ADAL" clId="{5B430AB4-3B31-40FC-B7D2-06B73B197EDF}" dt="2025-10-16T09:49:25.924" v="3203" actId="47"/>
        <pc:sldMasterMkLst>
          <pc:docMk/>
          <pc:sldMasterMk cId="4186901532" sldId="2147483758"/>
        </pc:sldMasterMkLst>
        <pc:sldLayoutChg chg="del">
          <pc:chgData name="Sezgen, Handenur" userId="693f6077-2094-4a4b-9c12-b1a0c4de2bbc" providerId="ADAL" clId="{5B430AB4-3B31-40FC-B7D2-06B73B197EDF}" dt="2025-10-16T09:42:24.230" v="3005" actId="47"/>
          <pc:sldLayoutMkLst>
            <pc:docMk/>
            <pc:sldMasterMk cId="4186901532" sldId="2147483758"/>
            <pc:sldLayoutMk cId="658149739" sldId="2147483877"/>
          </pc:sldLayoutMkLst>
        </pc:sldLayoutChg>
        <pc:sldLayoutChg chg="del">
          <pc:chgData name="Sezgen, Handenur" userId="693f6077-2094-4a4b-9c12-b1a0c4de2bbc" providerId="ADAL" clId="{5B430AB4-3B31-40FC-B7D2-06B73B197EDF}" dt="2025-10-16T09:49:25.924" v="3203" actId="47"/>
          <pc:sldLayoutMkLst>
            <pc:docMk/>
            <pc:sldMasterMk cId="4186901532" sldId="2147483758"/>
            <pc:sldLayoutMk cId="123617845" sldId="2147483878"/>
          </pc:sldLayoutMkLst>
        </pc:sldLayoutChg>
      </pc:sldMasterChg>
    </pc:docChg>
  </pc:docChgLst>
  <pc:docChgLst>
    <pc:chgData name="Kirkali, Tolga" userId="S::krkalt@pfizer.com::52766762-8060-44fe-8ea1-54c9f475d97f" providerId="AD" clId="Web-{BFA4D403-1D0E-DE12-0782-DDF069CD9D65}"/>
    <pc:docChg chg="modSld">
      <pc:chgData name="Kirkali, Tolga" userId="S::krkalt@pfizer.com::52766762-8060-44fe-8ea1-54c9f475d97f" providerId="AD" clId="Web-{BFA4D403-1D0E-DE12-0782-DDF069CD9D65}" dt="2025-10-16T13:16:52.290" v="21"/>
      <pc:docMkLst>
        <pc:docMk/>
      </pc:docMkLst>
      <pc:sldChg chg="delSp modSp">
        <pc:chgData name="Kirkali, Tolga" userId="S::krkalt@pfizer.com::52766762-8060-44fe-8ea1-54c9f475d97f" providerId="AD" clId="Web-{BFA4D403-1D0E-DE12-0782-DDF069CD9D65}" dt="2025-10-16T13:16:52.290" v="21"/>
        <pc:sldMkLst>
          <pc:docMk/>
          <pc:sldMk cId="1261490693" sldId="314"/>
        </pc:sldMkLst>
        <pc:spChg chg="topLvl">
          <ac:chgData name="Kirkali, Tolga" userId="S::krkalt@pfizer.com::52766762-8060-44fe-8ea1-54c9f475d97f" providerId="AD" clId="Web-{BFA4D403-1D0E-DE12-0782-DDF069CD9D65}" dt="2025-10-16T13:16:52.290" v="21"/>
          <ac:spMkLst>
            <pc:docMk/>
            <pc:sldMk cId="1261490693" sldId="314"/>
            <ac:spMk id="4" creationId="{7522B6B4-AC58-A946-B17A-34176EE07D67}"/>
          </ac:spMkLst>
        </pc:spChg>
        <pc:spChg chg="topLvl">
          <ac:chgData name="Kirkali, Tolga" userId="S::krkalt@pfizer.com::52766762-8060-44fe-8ea1-54c9f475d97f" providerId="AD" clId="Web-{BFA4D403-1D0E-DE12-0782-DDF069CD9D65}" dt="2025-10-16T13:16:52.290" v="21"/>
          <ac:spMkLst>
            <pc:docMk/>
            <pc:sldMk cId="1261490693" sldId="314"/>
            <ac:spMk id="23" creationId="{00000000-0000-0000-0000-000000000000}"/>
          </ac:spMkLst>
        </pc:spChg>
        <pc:grpChg chg="del">
          <ac:chgData name="Kirkali, Tolga" userId="S::krkalt@pfizer.com::52766762-8060-44fe-8ea1-54c9f475d97f" providerId="AD" clId="Web-{BFA4D403-1D0E-DE12-0782-DDF069CD9D65}" dt="2025-10-16T13:16:52.290" v="21"/>
          <ac:grpSpMkLst>
            <pc:docMk/>
            <pc:sldMk cId="1261490693" sldId="314"/>
            <ac:grpSpMk id="8" creationId="{65E4EA4C-9E1A-DEA8-23FA-3B5CA39D06F5}"/>
          </ac:grpSpMkLst>
        </pc:grpChg>
        <pc:grpChg chg="topLvl">
          <ac:chgData name="Kirkali, Tolga" userId="S::krkalt@pfizer.com::52766762-8060-44fe-8ea1-54c9f475d97f" providerId="AD" clId="Web-{BFA4D403-1D0E-DE12-0782-DDF069CD9D65}" dt="2025-10-16T13:16:52.290" v="21"/>
          <ac:grpSpMkLst>
            <pc:docMk/>
            <pc:sldMk cId="1261490693" sldId="314"/>
            <ac:grpSpMk id="9" creationId="{5C453A22-2DC6-4B4A-8DFE-59E66522ADC5}"/>
          </ac:grpSpMkLst>
        </pc:grpChg>
        <pc:grpChg chg="topLvl">
          <ac:chgData name="Kirkali, Tolga" userId="S::krkalt@pfizer.com::52766762-8060-44fe-8ea1-54c9f475d97f" providerId="AD" clId="Web-{BFA4D403-1D0E-DE12-0782-DDF069CD9D65}" dt="2025-10-16T13:16:52.290" v="21"/>
          <ac:grpSpMkLst>
            <pc:docMk/>
            <pc:sldMk cId="1261490693" sldId="314"/>
            <ac:grpSpMk id="82" creationId="{62FC1924-D539-455A-B1AF-B329C84D547D}"/>
          </ac:grpSpMkLst>
        </pc:grpChg>
        <pc:grpChg chg="topLvl">
          <ac:chgData name="Kirkali, Tolga" userId="S::krkalt@pfizer.com::52766762-8060-44fe-8ea1-54c9f475d97f" providerId="AD" clId="Web-{BFA4D403-1D0E-DE12-0782-DDF069CD9D65}" dt="2025-10-16T13:16:52.290" v="21"/>
          <ac:grpSpMkLst>
            <pc:docMk/>
            <pc:sldMk cId="1261490693" sldId="314"/>
            <ac:grpSpMk id="85" creationId="{46B2106B-13EE-48B4-B7BC-F3B6D4ED425C}"/>
          </ac:grpSpMkLst>
        </pc:grpChg>
        <pc:grpChg chg="topLvl">
          <ac:chgData name="Kirkali, Tolga" userId="S::krkalt@pfizer.com::52766762-8060-44fe-8ea1-54c9f475d97f" providerId="AD" clId="Web-{BFA4D403-1D0E-DE12-0782-DDF069CD9D65}" dt="2025-10-16T13:16:52.290" v="21"/>
          <ac:grpSpMkLst>
            <pc:docMk/>
            <pc:sldMk cId="1261490693" sldId="314"/>
            <ac:grpSpMk id="88" creationId="{A7B47B71-6589-455D-8C92-E859DBEC8199}"/>
          </ac:grpSpMkLst>
        </pc:grpChg>
        <pc:grpChg chg="topLvl">
          <ac:chgData name="Kirkali, Tolga" userId="S::krkalt@pfizer.com::52766762-8060-44fe-8ea1-54c9f475d97f" providerId="AD" clId="Web-{BFA4D403-1D0E-DE12-0782-DDF069CD9D65}" dt="2025-10-16T13:16:52.290" v="21"/>
          <ac:grpSpMkLst>
            <pc:docMk/>
            <pc:sldMk cId="1261490693" sldId="314"/>
            <ac:grpSpMk id="91" creationId="{0D4CFFFB-BF24-45E8-9FD9-BC3D7E74F9F9}"/>
          </ac:grpSpMkLst>
        </pc:grpChg>
        <pc:grpChg chg="topLvl">
          <ac:chgData name="Kirkali, Tolga" userId="S::krkalt@pfizer.com::52766762-8060-44fe-8ea1-54c9f475d97f" providerId="AD" clId="Web-{BFA4D403-1D0E-DE12-0782-DDF069CD9D65}" dt="2025-10-16T13:16:52.290" v="21"/>
          <ac:grpSpMkLst>
            <pc:docMk/>
            <pc:sldMk cId="1261490693" sldId="314"/>
            <ac:grpSpMk id="94" creationId="{68A7A66C-8386-4266-8BFC-191F2A85DE41}"/>
          </ac:grpSpMkLst>
        </pc:grpChg>
        <pc:graphicFrameChg chg="topLvl">
          <ac:chgData name="Kirkali, Tolga" userId="S::krkalt@pfizer.com::52766762-8060-44fe-8ea1-54c9f475d97f" providerId="AD" clId="Web-{BFA4D403-1D0E-DE12-0782-DDF069CD9D65}" dt="2025-10-16T13:16:52.290" v="21"/>
          <ac:graphicFrameMkLst>
            <pc:docMk/>
            <pc:sldMk cId="1261490693" sldId="314"/>
            <ac:graphicFrameMk id="79" creationId="{4303DB82-DA70-4601-B7A0-7086155748C5}"/>
          </ac:graphicFrameMkLst>
        </pc:graphicFrameChg>
        <pc:cxnChg chg="mod">
          <ac:chgData name="Kirkali, Tolga" userId="S::krkalt@pfizer.com::52766762-8060-44fe-8ea1-54c9f475d97f" providerId="AD" clId="Web-{BFA4D403-1D0E-DE12-0782-DDF069CD9D65}" dt="2025-10-16T13:16:37.477" v="14" actId="1076"/>
          <ac:cxnSpMkLst>
            <pc:docMk/>
            <pc:sldMk cId="1261490693" sldId="314"/>
            <ac:cxnSpMk id="119" creationId="{BDC8ABD5-4D93-449B-B6F0-928D74781EFF}"/>
          </ac:cxnSpMkLst>
        </pc:cxnChg>
        <pc:cxnChg chg="mod">
          <ac:chgData name="Kirkali, Tolga" userId="S::krkalt@pfizer.com::52766762-8060-44fe-8ea1-54c9f475d97f" providerId="AD" clId="Web-{BFA4D403-1D0E-DE12-0782-DDF069CD9D65}" dt="2025-10-16T13:16:37.759" v="15" actId="1076"/>
          <ac:cxnSpMkLst>
            <pc:docMk/>
            <pc:sldMk cId="1261490693" sldId="314"/>
            <ac:cxnSpMk id="121" creationId="{4672C2C4-9547-4440-A08C-B0D20CCDAB68}"/>
          </ac:cxnSpMkLst>
        </pc:cxnChg>
        <pc:cxnChg chg="mod">
          <ac:chgData name="Kirkali, Tolga" userId="S::krkalt@pfizer.com::52766762-8060-44fe-8ea1-54c9f475d97f" providerId="AD" clId="Web-{BFA4D403-1D0E-DE12-0782-DDF069CD9D65}" dt="2025-10-16T13:16:38.056" v="16" actId="1076"/>
          <ac:cxnSpMkLst>
            <pc:docMk/>
            <pc:sldMk cId="1261490693" sldId="314"/>
            <ac:cxnSpMk id="122" creationId="{88AAF397-E1E1-444E-BE8D-D2A12963DA2B}"/>
          </ac:cxnSpMkLst>
        </pc:cxnChg>
        <pc:cxnChg chg="mod">
          <ac:chgData name="Kirkali, Tolga" userId="S::krkalt@pfizer.com::52766762-8060-44fe-8ea1-54c9f475d97f" providerId="AD" clId="Web-{BFA4D403-1D0E-DE12-0782-DDF069CD9D65}" dt="2025-10-16T13:16:38.368" v="17" actId="1076"/>
          <ac:cxnSpMkLst>
            <pc:docMk/>
            <pc:sldMk cId="1261490693" sldId="314"/>
            <ac:cxnSpMk id="123" creationId="{F76EB031-32CD-4AF4-A82A-43CDEA12A29A}"/>
          </ac:cxnSpMkLst>
        </pc:cxnChg>
        <pc:cxnChg chg="mod">
          <ac:chgData name="Kirkali, Tolga" userId="S::krkalt@pfizer.com::52766762-8060-44fe-8ea1-54c9f475d97f" providerId="AD" clId="Web-{BFA4D403-1D0E-DE12-0782-DDF069CD9D65}" dt="2025-10-16T13:16:38.649" v="18" actId="1076"/>
          <ac:cxnSpMkLst>
            <pc:docMk/>
            <pc:sldMk cId="1261490693" sldId="314"/>
            <ac:cxnSpMk id="124" creationId="{5FB081C0-CCB5-4ABE-B01D-BA8ADB665EA3}"/>
          </ac:cxnSpMkLst>
        </pc:cxnChg>
        <pc:cxnChg chg="mod">
          <ac:chgData name="Kirkali, Tolga" userId="S::krkalt@pfizer.com::52766762-8060-44fe-8ea1-54c9f475d97f" providerId="AD" clId="Web-{BFA4D403-1D0E-DE12-0782-DDF069CD9D65}" dt="2025-10-16T13:16:38.962" v="19" actId="1076"/>
          <ac:cxnSpMkLst>
            <pc:docMk/>
            <pc:sldMk cId="1261490693" sldId="314"/>
            <ac:cxnSpMk id="125" creationId="{C520F7F9-29B9-4D2E-BAAA-92ECCB292D08}"/>
          </ac:cxnSpMkLst>
        </pc:cxnChg>
        <pc:cxnChg chg="mod">
          <ac:chgData name="Kirkali, Tolga" userId="S::krkalt@pfizer.com::52766762-8060-44fe-8ea1-54c9f475d97f" providerId="AD" clId="Web-{BFA4D403-1D0E-DE12-0782-DDF069CD9D65}" dt="2025-10-16T13:16:39.306" v="20" actId="1076"/>
          <ac:cxnSpMkLst>
            <pc:docMk/>
            <pc:sldMk cId="1261490693" sldId="314"/>
            <ac:cxnSpMk id="126" creationId="{0C0C53B6-1F7D-4563-A2C0-9DD2278E97FC}"/>
          </ac:cxnSpMkLst>
        </pc:cxnChg>
      </pc:sldChg>
    </pc:docChg>
  </pc:docChgLst>
  <pc:docChgLst>
    <pc:chgData name="Kirkali, Tolga" userId="52766762-8060-44fe-8ea1-54c9f475d97f" providerId="ADAL" clId="{9519AC38-BA4A-4316-BEB7-114F0D0C2E12}"/>
    <pc:docChg chg="modSld">
      <pc:chgData name="Kirkali, Tolga" userId="52766762-8060-44fe-8ea1-54c9f475d97f" providerId="ADAL" clId="{9519AC38-BA4A-4316-BEB7-114F0D0C2E12}" dt="2025-10-16T13:18:30.334" v="9" actId="1035"/>
      <pc:docMkLst>
        <pc:docMk/>
      </pc:docMkLst>
      <pc:sldChg chg="modSp mod">
        <pc:chgData name="Kirkali, Tolga" userId="52766762-8060-44fe-8ea1-54c9f475d97f" providerId="ADAL" clId="{9519AC38-BA4A-4316-BEB7-114F0D0C2E12}" dt="2025-10-16T13:18:30.334" v="9" actId="1035"/>
        <pc:sldMkLst>
          <pc:docMk/>
          <pc:sldMk cId="1261490693" sldId="314"/>
        </pc:sldMkLst>
        <pc:grpChg chg="mod">
          <ac:chgData name="Kirkali, Tolga" userId="52766762-8060-44fe-8ea1-54c9f475d97f" providerId="ADAL" clId="{9519AC38-BA4A-4316-BEB7-114F0D0C2E12}" dt="2025-10-16T13:18:30.334" v="9" actId="1035"/>
          <ac:grpSpMkLst>
            <pc:docMk/>
            <pc:sldMk cId="1261490693" sldId="314"/>
            <ac:grpSpMk id="9" creationId="{5C453A22-2DC6-4B4A-8DFE-59E66522ADC5}"/>
          </ac:grpSpMkLst>
        </pc:grpChg>
        <pc:grpChg chg="mod">
          <ac:chgData name="Kirkali, Tolga" userId="52766762-8060-44fe-8ea1-54c9f475d97f" providerId="ADAL" clId="{9519AC38-BA4A-4316-BEB7-114F0D0C2E12}" dt="2025-10-16T13:18:30.334" v="9" actId="1035"/>
          <ac:grpSpMkLst>
            <pc:docMk/>
            <pc:sldMk cId="1261490693" sldId="314"/>
            <ac:grpSpMk id="82" creationId="{62FC1924-D539-455A-B1AF-B329C84D547D}"/>
          </ac:grpSpMkLst>
        </pc:grpChg>
        <pc:grpChg chg="mod">
          <ac:chgData name="Kirkali, Tolga" userId="52766762-8060-44fe-8ea1-54c9f475d97f" providerId="ADAL" clId="{9519AC38-BA4A-4316-BEB7-114F0D0C2E12}" dt="2025-10-16T13:18:30.334" v="9" actId="1035"/>
          <ac:grpSpMkLst>
            <pc:docMk/>
            <pc:sldMk cId="1261490693" sldId="314"/>
            <ac:grpSpMk id="85" creationId="{46B2106B-13EE-48B4-B7BC-F3B6D4ED425C}"/>
          </ac:grpSpMkLst>
        </pc:grpChg>
        <pc:grpChg chg="mod">
          <ac:chgData name="Kirkali, Tolga" userId="52766762-8060-44fe-8ea1-54c9f475d97f" providerId="ADAL" clId="{9519AC38-BA4A-4316-BEB7-114F0D0C2E12}" dt="2025-10-16T13:18:30.334" v="9" actId="1035"/>
          <ac:grpSpMkLst>
            <pc:docMk/>
            <pc:sldMk cId="1261490693" sldId="314"/>
            <ac:grpSpMk id="88" creationId="{A7B47B71-6589-455D-8C92-E859DBEC8199}"/>
          </ac:grpSpMkLst>
        </pc:grpChg>
        <pc:grpChg chg="mod">
          <ac:chgData name="Kirkali, Tolga" userId="52766762-8060-44fe-8ea1-54c9f475d97f" providerId="ADAL" clId="{9519AC38-BA4A-4316-BEB7-114F0D0C2E12}" dt="2025-10-16T13:18:30.334" v="9" actId="1035"/>
          <ac:grpSpMkLst>
            <pc:docMk/>
            <pc:sldMk cId="1261490693" sldId="314"/>
            <ac:grpSpMk id="91" creationId="{0D4CFFFB-BF24-45E8-9FD9-BC3D7E74F9F9}"/>
          </ac:grpSpMkLst>
        </pc:grpChg>
        <pc:grpChg chg="mod">
          <ac:chgData name="Kirkali, Tolga" userId="52766762-8060-44fe-8ea1-54c9f475d97f" providerId="ADAL" clId="{9519AC38-BA4A-4316-BEB7-114F0D0C2E12}" dt="2025-10-16T13:18:30.334" v="9" actId="1035"/>
          <ac:grpSpMkLst>
            <pc:docMk/>
            <pc:sldMk cId="1261490693" sldId="314"/>
            <ac:grpSpMk id="94" creationId="{68A7A66C-8386-4266-8BFC-191F2A85DE41}"/>
          </ac:grpSpMkLst>
        </pc:grpChg>
        <pc:grpChg chg="mod">
          <ac:chgData name="Kirkali, Tolga" userId="52766762-8060-44fe-8ea1-54c9f475d97f" providerId="ADAL" clId="{9519AC38-BA4A-4316-BEB7-114F0D0C2E12}" dt="2025-10-16T13:18:30.334" v="9" actId="1035"/>
          <ac:grpSpMkLst>
            <pc:docMk/>
            <pc:sldMk cId="1261490693" sldId="314"/>
            <ac:grpSpMk id="97" creationId="{8FF4EA3A-EF48-48AC-8892-34BCE13FF6E1}"/>
          </ac:grpSpMkLst>
        </pc:grpChg>
        <pc:grpChg chg="mod">
          <ac:chgData name="Kirkali, Tolga" userId="52766762-8060-44fe-8ea1-54c9f475d97f" providerId="ADAL" clId="{9519AC38-BA4A-4316-BEB7-114F0D0C2E12}" dt="2025-10-16T13:18:30.334" v="9" actId="1035"/>
          <ac:grpSpMkLst>
            <pc:docMk/>
            <pc:sldMk cId="1261490693" sldId="314"/>
            <ac:grpSpMk id="109" creationId="{02E01D9B-33BD-4F51-A443-2BAF52B62AFE}"/>
          </ac:grpSpMkLst>
        </pc:grpChg>
        <pc:grpChg chg="mod">
          <ac:chgData name="Kirkali, Tolga" userId="52766762-8060-44fe-8ea1-54c9f475d97f" providerId="ADAL" clId="{9519AC38-BA4A-4316-BEB7-114F0D0C2E12}" dt="2025-10-16T13:18:30.334" v="9" actId="1035"/>
          <ac:grpSpMkLst>
            <pc:docMk/>
            <pc:sldMk cId="1261490693" sldId="314"/>
            <ac:grpSpMk id="112" creationId="{5FE1FD6D-0A08-4500-8EF2-3A337E531CF1}"/>
          </ac:grpSpMkLst>
        </pc:grpChg>
        <pc:grpChg chg="mod">
          <ac:chgData name="Kirkali, Tolga" userId="52766762-8060-44fe-8ea1-54c9f475d97f" providerId="ADAL" clId="{9519AC38-BA4A-4316-BEB7-114F0D0C2E12}" dt="2025-10-16T13:18:30.334" v="9" actId="1035"/>
          <ac:grpSpMkLst>
            <pc:docMk/>
            <pc:sldMk cId="1261490693" sldId="314"/>
            <ac:grpSpMk id="115" creationId="{389CEAE3-6F8C-4E60-A258-A37A79D7BFC6}"/>
          </ac:grpSpMkLst>
        </pc:gr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5.xml"/><Relationship Id="rId1" Type="http://schemas.microsoft.com/office/2011/relationships/chartStyle" Target="style5.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6.xml"/><Relationship Id="rId1" Type="http://schemas.microsoft.com/office/2011/relationships/chartStyle" Target="style6.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5.xm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4.xml"/><Relationship Id="rId1" Type="http://schemas.microsoft.com/office/2011/relationships/chartStyle" Target="style1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5.xml"/><Relationship Id="rId1" Type="http://schemas.microsoft.com/office/2011/relationships/chartStyle" Target="style15.xml"/></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17.xml"/><Relationship Id="rId1" Type="http://schemas.microsoft.com/office/2011/relationships/chartStyle" Target="style1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8.xml"/><Relationship Id="rId1" Type="http://schemas.microsoft.com/office/2011/relationships/chartStyle" Target="style1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9.xml"/><Relationship Id="rId1" Type="http://schemas.microsoft.com/office/2011/relationships/chartStyle" Target="style1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0.xml"/><Relationship Id="rId1" Type="http://schemas.microsoft.com/office/2011/relationships/chartStyle" Target="style2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1.xml"/><Relationship Id="rId1" Type="http://schemas.microsoft.com/office/2011/relationships/chartStyle" Target="style21.xml"/></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package" Target="../embeddings/Microsoft_Excel_Worksheet31.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1.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59637232094464"/>
          <c:y val="6.3760964912280768E-2"/>
          <c:w val="0.82128086791139632"/>
          <c:h val="0.79252616038126722"/>
        </c:manualLayout>
      </c:layout>
      <c:barChart>
        <c:barDir val="col"/>
        <c:grouping val="clustered"/>
        <c:varyColors val="0"/>
        <c:ser>
          <c:idx val="0"/>
          <c:order val="0"/>
          <c:tx>
            <c:strRef>
              <c:f>Sheet1!$B$1</c:f>
              <c:strCache>
                <c:ptCount val="1"/>
                <c:pt idx="0">
                  <c:v>2021</c:v>
                </c:pt>
              </c:strCache>
            </c:strRef>
          </c:tx>
          <c:spPr>
            <a:solidFill>
              <a:schemeClr val="accent1"/>
            </a:solidFill>
            <a:ln>
              <a:noFill/>
            </a:ln>
            <a:effectLst/>
          </c:spPr>
          <c:invertIfNegative val="0"/>
          <c:cat>
            <c:strRef>
              <c:f>Sheet1!$A$2:$A$4</c:f>
              <c:strCache>
                <c:ptCount val="3"/>
                <c:pt idx="0">
                  <c:v>15–49 </c:v>
                </c:pt>
                <c:pt idx="1">
                  <c:v>50–69</c:v>
                </c:pt>
                <c:pt idx="2">
                  <c:v>≥70</c:v>
                </c:pt>
              </c:strCache>
            </c:strRef>
          </c:cat>
          <c:val>
            <c:numRef>
              <c:f>Sheet1!$B$2:$B$4</c:f>
              <c:numCache>
                <c:formatCode>General</c:formatCode>
                <c:ptCount val="3"/>
                <c:pt idx="0">
                  <c:v>2249.6</c:v>
                </c:pt>
                <c:pt idx="1">
                  <c:v>6366.3</c:v>
                </c:pt>
                <c:pt idx="2">
                  <c:v>18897.7</c:v>
                </c:pt>
              </c:numCache>
            </c:numRef>
          </c:val>
          <c:extLst>
            <c:ext xmlns:c16="http://schemas.microsoft.com/office/drawing/2014/chart" uri="{C3380CC4-5D6E-409C-BE32-E72D297353CC}">
              <c16:uniqueId val="{00000000-E4A7-4B55-BF17-EBD7F7EB522D}"/>
            </c:ext>
          </c:extLst>
        </c:ser>
        <c:dLbls>
          <c:showLegendKey val="0"/>
          <c:showVal val="0"/>
          <c:showCatName val="0"/>
          <c:showSerName val="0"/>
          <c:showPercent val="0"/>
          <c:showBubbleSize val="0"/>
        </c:dLbls>
        <c:gapWidth val="219"/>
        <c:overlap val="-27"/>
        <c:axId val="143529856"/>
        <c:axId val="143531392"/>
      </c:barChart>
      <c:catAx>
        <c:axId val="14352985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lang="en-US" sz="1000" b="0" i="0" u="none" strike="noStrike" kern="1200" baseline="0">
                <a:solidFill>
                  <a:schemeClr val="tx1">
                    <a:lumMod val="65000"/>
                    <a:lumOff val="35000"/>
                  </a:schemeClr>
                </a:solidFill>
                <a:latin typeface="+mn-lt"/>
                <a:ea typeface="+mn-ea"/>
                <a:cs typeface="+mn-cs"/>
              </a:defRPr>
            </a:pPr>
            <a:endParaRPr lang="tr-TR"/>
          </a:p>
        </c:txPr>
        <c:crossAx val="143531392"/>
        <c:crosses val="autoZero"/>
        <c:auto val="1"/>
        <c:lblAlgn val="ctr"/>
        <c:lblOffset val="100"/>
        <c:noMultiLvlLbl val="0"/>
      </c:catAx>
      <c:valAx>
        <c:axId val="143531392"/>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a:solidFill>
                  <a:schemeClr val="tx1">
                    <a:lumMod val="65000"/>
                    <a:lumOff val="35000"/>
                  </a:schemeClr>
                </a:solidFill>
                <a:latin typeface="+mn-lt"/>
                <a:ea typeface="+mn-ea"/>
                <a:cs typeface="+mn-cs"/>
              </a:defRPr>
            </a:pPr>
            <a:endParaRPr lang="tr-TR"/>
          </a:p>
        </c:txPr>
        <c:crossAx val="1435298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tr-T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902650341165327E-2"/>
          <c:y val="0.27895786032880893"/>
          <c:w val="0.88530993457279661"/>
          <c:h val="0.56800090172777451"/>
        </c:manualLayout>
      </c:layout>
      <c:barChart>
        <c:barDir val="col"/>
        <c:grouping val="clustered"/>
        <c:varyColors val="0"/>
        <c:ser>
          <c:idx val="0"/>
          <c:order val="0"/>
          <c:tx>
            <c:strRef>
              <c:f>Sheet1!$B$1</c:f>
              <c:strCache>
                <c:ptCount val="1"/>
                <c:pt idx="0">
                  <c:v>RSV</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200" b="0" i="0" u="none" strike="noStrike" kern="1200" baseline="0">
                    <a:solidFill>
                      <a:schemeClr val="tx1"/>
                    </a:solidFill>
                    <a:latin typeface="+mn-lt"/>
                    <a:ea typeface="+mn-ea"/>
                    <a:cs typeface="+mn-cs"/>
                  </a:defRPr>
                </a:pPr>
                <a:endParaRPr lang="tr-T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60–64</c:v>
                </c:pt>
                <c:pt idx="1">
                  <c:v>65–74</c:v>
                </c:pt>
                <c:pt idx="2">
                  <c:v>≥75</c:v>
                </c:pt>
              </c:strCache>
            </c:strRef>
          </c:cat>
          <c:val>
            <c:numRef>
              <c:f>Sheet1!$B$2:$B$4</c:f>
              <c:numCache>
                <c:formatCode>0%</c:formatCode>
                <c:ptCount val="3"/>
                <c:pt idx="0">
                  <c:v>0.16</c:v>
                </c:pt>
                <c:pt idx="1">
                  <c:v>0.2100000000000001</c:v>
                </c:pt>
                <c:pt idx="2">
                  <c:v>0.15000000000000011</c:v>
                </c:pt>
              </c:numCache>
            </c:numRef>
          </c:val>
          <c:extLst>
            <c:ext xmlns:c16="http://schemas.microsoft.com/office/drawing/2014/chart" uri="{C3380CC4-5D6E-409C-BE32-E72D297353CC}">
              <c16:uniqueId val="{00000000-677F-4DCF-BFA8-65D8E3D6A241}"/>
            </c:ext>
          </c:extLst>
        </c:ser>
        <c:ser>
          <c:idx val="1"/>
          <c:order val="1"/>
          <c:tx>
            <c:strRef>
              <c:f>Sheet1!$C$1</c:f>
              <c:strCache>
                <c:ptCount val="1"/>
                <c:pt idx="0">
                  <c:v>Influenz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200" b="0" i="0" u="none" strike="noStrike" kern="1200" baseline="0">
                    <a:solidFill>
                      <a:schemeClr val="tx1"/>
                    </a:solidFill>
                    <a:latin typeface="+mn-lt"/>
                    <a:ea typeface="+mn-ea"/>
                    <a:cs typeface="+mn-cs"/>
                  </a:defRPr>
                </a:pPr>
                <a:endParaRPr lang="tr-T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60–64</c:v>
                </c:pt>
                <c:pt idx="1">
                  <c:v>65–74</c:v>
                </c:pt>
                <c:pt idx="2">
                  <c:v>≥75</c:v>
                </c:pt>
              </c:strCache>
            </c:strRef>
          </c:cat>
          <c:val>
            <c:numRef>
              <c:f>Sheet1!$C$2:$C$4</c:f>
              <c:numCache>
                <c:formatCode>0%</c:formatCode>
                <c:ptCount val="3"/>
                <c:pt idx="0">
                  <c:v>0.1800000000000001</c:v>
                </c:pt>
                <c:pt idx="1">
                  <c:v>0.17</c:v>
                </c:pt>
                <c:pt idx="2">
                  <c:v>0.11</c:v>
                </c:pt>
              </c:numCache>
            </c:numRef>
          </c:val>
          <c:extLst>
            <c:ext xmlns:c16="http://schemas.microsoft.com/office/drawing/2014/chart" uri="{C3380CC4-5D6E-409C-BE32-E72D297353CC}">
              <c16:uniqueId val="{00000001-677F-4DCF-BFA8-65D8E3D6A241}"/>
            </c:ext>
          </c:extLst>
        </c:ser>
        <c:ser>
          <c:idx val="2"/>
          <c:order val="2"/>
          <c:tx>
            <c:strRef>
              <c:f>Sheet1!$D$1</c:f>
              <c:strCache>
                <c:ptCount val="1"/>
                <c:pt idx="0">
                  <c:v>COVID</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200" b="0" i="0" u="none" strike="noStrike" kern="1200" baseline="0">
                    <a:solidFill>
                      <a:schemeClr val="tx1"/>
                    </a:solidFill>
                    <a:latin typeface="+mn-lt"/>
                    <a:ea typeface="+mn-ea"/>
                    <a:cs typeface="+mn-cs"/>
                  </a:defRPr>
                </a:pPr>
                <a:endParaRPr lang="tr-T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60–64</c:v>
                </c:pt>
                <c:pt idx="1">
                  <c:v>65–74</c:v>
                </c:pt>
                <c:pt idx="2">
                  <c:v>≥75</c:v>
                </c:pt>
              </c:strCache>
            </c:strRef>
          </c:cat>
          <c:val>
            <c:numRef>
              <c:f>Sheet1!$D$2:$D$4</c:f>
              <c:numCache>
                <c:formatCode>0%</c:formatCode>
                <c:ptCount val="3"/>
                <c:pt idx="0">
                  <c:v>0.2</c:v>
                </c:pt>
                <c:pt idx="1">
                  <c:v>0.19</c:v>
                </c:pt>
                <c:pt idx="2">
                  <c:v>0.11</c:v>
                </c:pt>
              </c:numCache>
            </c:numRef>
          </c:val>
          <c:extLst>
            <c:ext xmlns:c16="http://schemas.microsoft.com/office/drawing/2014/chart" uri="{C3380CC4-5D6E-409C-BE32-E72D297353CC}">
              <c16:uniqueId val="{00000002-677F-4DCF-BFA8-65D8E3D6A241}"/>
            </c:ext>
          </c:extLst>
        </c:ser>
        <c:dLbls>
          <c:showLegendKey val="0"/>
          <c:showVal val="0"/>
          <c:showCatName val="0"/>
          <c:showSerName val="0"/>
          <c:showPercent val="0"/>
          <c:showBubbleSize val="0"/>
        </c:dLbls>
        <c:gapWidth val="219"/>
        <c:overlap val="-27"/>
        <c:axId val="280972288"/>
        <c:axId val="281003136"/>
      </c:barChart>
      <c:catAx>
        <c:axId val="28097228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tr-TR"/>
          </a:p>
        </c:txPr>
        <c:crossAx val="281003136"/>
        <c:crosses val="autoZero"/>
        <c:auto val="1"/>
        <c:lblAlgn val="ctr"/>
        <c:lblOffset val="0"/>
        <c:noMultiLvlLbl val="0"/>
      </c:catAx>
      <c:valAx>
        <c:axId val="281003136"/>
        <c:scaling>
          <c:orientation val="minMax"/>
          <c:max val="0.4"/>
          <c:min val="0"/>
        </c:scaling>
        <c:delete val="0"/>
        <c:axPos val="l"/>
        <c:title>
          <c:tx>
            <c:rich>
              <a:bodyPr rot="-5400000" spcFirstLastPara="1" vertOverflow="ellipsis" vert="horz" wrap="square" anchor="ctr" anchorCtr="1"/>
              <a:lstStyle/>
              <a:p>
                <a:pPr>
                  <a:defRPr lang="en-US" sz="1100" b="1" i="0" u="none" strike="noStrike" kern="1200" baseline="0">
                    <a:solidFill>
                      <a:schemeClr val="tx1"/>
                    </a:solidFill>
                    <a:latin typeface="+mn-lt"/>
                    <a:ea typeface="+mn-ea"/>
                    <a:cs typeface="+mn-cs"/>
                  </a:defRPr>
                </a:pPr>
                <a:r>
                  <a:rPr lang="en-US" sz="1000" b="1" err="1">
                    <a:solidFill>
                      <a:schemeClr val="tx1"/>
                    </a:solidFill>
                  </a:rPr>
                  <a:t>Hastaneye</a:t>
                </a:r>
                <a:r>
                  <a:rPr lang="en-US" sz="1000" b="1">
                    <a:solidFill>
                      <a:schemeClr val="tx1"/>
                    </a:solidFill>
                  </a:rPr>
                  <a:t> </a:t>
                </a:r>
                <a:r>
                  <a:rPr lang="en-US" sz="1000" b="1" err="1">
                    <a:solidFill>
                      <a:schemeClr val="tx1"/>
                    </a:solidFill>
                  </a:rPr>
                  <a:t>yatışı</a:t>
                </a:r>
                <a:r>
                  <a:rPr lang="en-US" sz="1000" b="1">
                    <a:solidFill>
                      <a:schemeClr val="tx1"/>
                    </a:solidFill>
                  </a:rPr>
                  <a:t> </a:t>
                </a:r>
                <a:r>
                  <a:rPr lang="en-US" sz="1000" b="1" err="1">
                    <a:solidFill>
                      <a:schemeClr val="tx1"/>
                    </a:solidFill>
                  </a:rPr>
                  <a:t>olan</a:t>
                </a:r>
                <a:r>
                  <a:rPr lang="en-US" sz="1000" b="1">
                    <a:solidFill>
                      <a:schemeClr val="tx1"/>
                    </a:solidFill>
                  </a:rPr>
                  <a:t> </a:t>
                </a:r>
                <a:r>
                  <a:rPr lang="en-US" sz="1000" b="1" err="1">
                    <a:solidFill>
                      <a:schemeClr val="tx1"/>
                    </a:solidFill>
                  </a:rPr>
                  <a:t>hastaların</a:t>
                </a:r>
                <a:r>
                  <a:rPr lang="en-US" sz="1000" b="1">
                    <a:solidFill>
                      <a:schemeClr val="tx1"/>
                    </a:solidFill>
                  </a:rPr>
                  <a:t> </a:t>
                </a:r>
                <a:r>
                  <a:rPr lang="en-US" sz="1000" b="1" err="1">
                    <a:solidFill>
                      <a:schemeClr val="tx1"/>
                    </a:solidFill>
                  </a:rPr>
                  <a:t>YBÜ’ye</a:t>
                </a:r>
                <a:r>
                  <a:rPr lang="en-US" sz="1000" b="1" baseline="0">
                    <a:solidFill>
                      <a:schemeClr val="tx1"/>
                    </a:solidFill>
                  </a:rPr>
                  <a:t> </a:t>
                </a:r>
                <a:r>
                  <a:rPr lang="tr-TR" sz="1000" b="1" baseline="0">
                    <a:solidFill>
                      <a:schemeClr val="tx1"/>
                    </a:solidFill>
                  </a:rPr>
                  <a:t>k</a:t>
                </a:r>
                <a:r>
                  <a:rPr lang="en-US" sz="1000" b="1" baseline="0" err="1">
                    <a:solidFill>
                      <a:schemeClr val="tx1"/>
                    </a:solidFill>
                  </a:rPr>
                  <a:t>abul</a:t>
                </a:r>
                <a:r>
                  <a:rPr lang="en-US" sz="1000" b="1" baseline="0">
                    <a:solidFill>
                      <a:schemeClr val="tx1"/>
                    </a:solidFill>
                  </a:rPr>
                  <a:t> </a:t>
                </a:r>
                <a:r>
                  <a:rPr lang="en-US" sz="1000" b="1" baseline="0" err="1">
                    <a:solidFill>
                      <a:schemeClr val="tx1"/>
                    </a:solidFill>
                  </a:rPr>
                  <a:t>oranları</a:t>
                </a:r>
                <a:endParaRPr lang="en-US" sz="1000" b="1">
                  <a:solidFill>
                    <a:schemeClr val="tx1"/>
                  </a:solidFill>
                </a:endParaRPr>
              </a:p>
            </c:rich>
          </c:tx>
          <c:layout>
            <c:manualLayout>
              <c:xMode val="edge"/>
              <c:yMode val="edge"/>
              <c:x val="2.3152673323968077E-2"/>
              <c:y val="0.20973776031345384"/>
            </c:manualLayout>
          </c:layout>
          <c:overlay val="0"/>
          <c:spPr>
            <a:noFill/>
            <a:ln>
              <a:noFill/>
            </a:ln>
            <a:effectLst/>
          </c:spPr>
          <c:txPr>
            <a:bodyPr rot="-5400000" spcFirstLastPara="1" vertOverflow="ellipsis" vert="horz" wrap="square" anchor="ctr" anchorCtr="1"/>
            <a:lstStyle/>
            <a:p>
              <a:pPr>
                <a:defRPr lang="en-US" sz="11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9525">
            <a:solidFill>
              <a:schemeClr val="tx1"/>
            </a:solidFill>
          </a:ln>
          <a:effectLst/>
        </c:spPr>
        <c:txPr>
          <a:bodyPr rot="-60000000" spcFirstLastPara="1" vertOverflow="ellipsis" vert="horz" wrap="square" anchor="ctr" anchorCtr="1"/>
          <a:lstStyle/>
          <a:p>
            <a:pPr>
              <a:defRPr lang="en-US" sz="1100" b="0" i="0" u="none" strike="noStrike" kern="1200" baseline="0">
                <a:solidFill>
                  <a:schemeClr val="tx1"/>
                </a:solidFill>
                <a:latin typeface="+mn-lt"/>
                <a:ea typeface="+mn-ea"/>
                <a:cs typeface="+mn-cs"/>
              </a:defRPr>
            </a:pPr>
            <a:endParaRPr lang="tr-TR"/>
          </a:p>
        </c:txPr>
        <c:crossAx val="280972288"/>
        <c:crosses val="autoZero"/>
        <c:crossBetween val="between"/>
        <c:majorUnit val="0.1"/>
      </c:valAx>
      <c:spPr>
        <a:noFill/>
        <a:ln>
          <a:noFill/>
        </a:ln>
        <a:effectLst/>
      </c:spPr>
    </c:plotArea>
    <c:legend>
      <c:legendPos val="b"/>
      <c:layout>
        <c:manualLayout>
          <c:xMode val="edge"/>
          <c:yMode val="edge"/>
          <c:x val="0.89181749409853317"/>
          <c:y val="0.25067810506411919"/>
          <c:w val="8.7233426504014402E-2"/>
          <c:h val="0.29669355747709425"/>
        </c:manualLayout>
      </c:layout>
      <c:overlay val="0"/>
      <c:spPr>
        <a:noFill/>
        <a:ln>
          <a:noFill/>
        </a:ln>
        <a:effectLst/>
      </c:spPr>
      <c:txPr>
        <a:bodyPr rot="0" spcFirstLastPara="1" vertOverflow="ellipsis" vert="horz" wrap="square" anchor="ctr" anchorCtr="1"/>
        <a:lstStyle/>
        <a:p>
          <a:pPr>
            <a:defRPr lang="en-US" sz="1400" b="0" i="0" u="none" strike="noStrike" kern="1200" baseline="0">
              <a:solidFill>
                <a:schemeClr val="tx1"/>
              </a:solidFill>
              <a:latin typeface="+mn-lt"/>
              <a:ea typeface="+mn-ea"/>
              <a:cs typeface="+mn-cs"/>
            </a:defRPr>
          </a:pPr>
          <a:endParaRPr lang="tr-T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tr-T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902650341165327E-2"/>
          <c:y val="0.27895786032880893"/>
          <c:w val="0.88530993457279661"/>
          <c:h val="0.56800090172777451"/>
        </c:manualLayout>
      </c:layout>
      <c:barChart>
        <c:barDir val="col"/>
        <c:grouping val="clustered"/>
        <c:varyColors val="0"/>
        <c:ser>
          <c:idx val="0"/>
          <c:order val="0"/>
          <c:tx>
            <c:strRef>
              <c:f>Sheet1!$B$1</c:f>
              <c:strCache>
                <c:ptCount val="1"/>
                <c:pt idx="0">
                  <c:v>RSV</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200" b="0" i="0" u="none" strike="noStrike" kern="1200" baseline="0">
                    <a:solidFill>
                      <a:schemeClr val="tx1"/>
                    </a:solidFill>
                    <a:latin typeface="+mn-lt"/>
                    <a:ea typeface="+mn-ea"/>
                    <a:cs typeface="+mn-cs"/>
                  </a:defRPr>
                </a:pPr>
                <a:endParaRPr lang="tr-T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60–64</c:v>
                </c:pt>
                <c:pt idx="1">
                  <c:v>65–74</c:v>
                </c:pt>
                <c:pt idx="2">
                  <c:v>≥75</c:v>
                </c:pt>
              </c:strCache>
            </c:strRef>
          </c:cat>
          <c:val>
            <c:numRef>
              <c:f>Sheet1!$B$2:$B$4</c:f>
              <c:numCache>
                <c:formatCode>0%</c:formatCode>
                <c:ptCount val="3"/>
                <c:pt idx="0">
                  <c:v>2.0000000000000011E-2</c:v>
                </c:pt>
                <c:pt idx="1">
                  <c:v>4.0000000000000022E-2</c:v>
                </c:pt>
                <c:pt idx="2">
                  <c:v>6.0000000000000032E-2</c:v>
                </c:pt>
              </c:numCache>
            </c:numRef>
          </c:val>
          <c:extLst>
            <c:ext xmlns:c16="http://schemas.microsoft.com/office/drawing/2014/chart" uri="{C3380CC4-5D6E-409C-BE32-E72D297353CC}">
              <c16:uniqueId val="{00000000-A857-4B4B-B09A-1667B5DC9DF2}"/>
            </c:ext>
          </c:extLst>
        </c:ser>
        <c:ser>
          <c:idx val="1"/>
          <c:order val="1"/>
          <c:tx>
            <c:strRef>
              <c:f>Sheet1!$C$1</c:f>
              <c:strCache>
                <c:ptCount val="1"/>
                <c:pt idx="0">
                  <c:v>Influenz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200" b="0" i="0" u="none" strike="noStrike" kern="1200" baseline="0">
                    <a:solidFill>
                      <a:schemeClr val="tx1"/>
                    </a:solidFill>
                    <a:latin typeface="+mn-lt"/>
                    <a:ea typeface="+mn-ea"/>
                    <a:cs typeface="+mn-cs"/>
                  </a:defRPr>
                </a:pPr>
                <a:endParaRPr lang="tr-T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60–64</c:v>
                </c:pt>
                <c:pt idx="1">
                  <c:v>65–74</c:v>
                </c:pt>
                <c:pt idx="2">
                  <c:v>≥75</c:v>
                </c:pt>
              </c:strCache>
            </c:strRef>
          </c:cat>
          <c:val>
            <c:numRef>
              <c:f>Sheet1!$C$2:$C$4</c:f>
              <c:numCache>
                <c:formatCode>0%</c:formatCode>
                <c:ptCount val="3"/>
                <c:pt idx="0">
                  <c:v>3.0000000000000002E-2</c:v>
                </c:pt>
                <c:pt idx="1">
                  <c:v>3.0000000000000002E-2</c:v>
                </c:pt>
                <c:pt idx="2">
                  <c:v>0.05</c:v>
                </c:pt>
              </c:numCache>
            </c:numRef>
          </c:val>
          <c:extLst>
            <c:ext xmlns:c16="http://schemas.microsoft.com/office/drawing/2014/chart" uri="{C3380CC4-5D6E-409C-BE32-E72D297353CC}">
              <c16:uniqueId val="{00000001-A857-4B4B-B09A-1667B5DC9DF2}"/>
            </c:ext>
          </c:extLst>
        </c:ser>
        <c:ser>
          <c:idx val="2"/>
          <c:order val="2"/>
          <c:tx>
            <c:strRef>
              <c:f>Sheet1!$D$1</c:f>
              <c:strCache>
                <c:ptCount val="1"/>
                <c:pt idx="0">
                  <c:v>COVID</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200" b="0" i="0" u="none" strike="noStrike" kern="1200" baseline="0">
                    <a:solidFill>
                      <a:schemeClr val="tx1"/>
                    </a:solidFill>
                    <a:latin typeface="+mn-lt"/>
                    <a:ea typeface="+mn-ea"/>
                    <a:cs typeface="+mn-cs"/>
                  </a:defRPr>
                </a:pPr>
                <a:endParaRPr lang="tr-T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60–64</c:v>
                </c:pt>
                <c:pt idx="1">
                  <c:v>65–74</c:v>
                </c:pt>
                <c:pt idx="2">
                  <c:v>≥75</c:v>
                </c:pt>
              </c:strCache>
            </c:strRef>
          </c:cat>
          <c:val>
            <c:numRef>
              <c:f>Sheet1!$D$2:$D$4</c:f>
              <c:numCache>
                <c:formatCode>0%</c:formatCode>
                <c:ptCount val="3"/>
                <c:pt idx="0">
                  <c:v>4.0000000000000022E-2</c:v>
                </c:pt>
                <c:pt idx="1">
                  <c:v>6.0000000000000032E-2</c:v>
                </c:pt>
                <c:pt idx="2">
                  <c:v>4.0000000000000022E-2</c:v>
                </c:pt>
              </c:numCache>
            </c:numRef>
          </c:val>
          <c:extLst>
            <c:ext xmlns:c16="http://schemas.microsoft.com/office/drawing/2014/chart" uri="{C3380CC4-5D6E-409C-BE32-E72D297353CC}">
              <c16:uniqueId val="{00000002-A857-4B4B-B09A-1667B5DC9DF2}"/>
            </c:ext>
          </c:extLst>
        </c:ser>
        <c:dLbls>
          <c:showLegendKey val="0"/>
          <c:showVal val="0"/>
          <c:showCatName val="0"/>
          <c:showSerName val="0"/>
          <c:showPercent val="0"/>
          <c:showBubbleSize val="0"/>
        </c:dLbls>
        <c:gapWidth val="219"/>
        <c:overlap val="-27"/>
        <c:axId val="281680896"/>
        <c:axId val="281706496"/>
      </c:barChart>
      <c:catAx>
        <c:axId val="28168089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tr-TR"/>
          </a:p>
        </c:txPr>
        <c:crossAx val="281706496"/>
        <c:crosses val="autoZero"/>
        <c:auto val="1"/>
        <c:lblAlgn val="ctr"/>
        <c:lblOffset val="0"/>
        <c:noMultiLvlLbl val="0"/>
      </c:catAx>
      <c:valAx>
        <c:axId val="281706496"/>
        <c:scaling>
          <c:orientation val="minMax"/>
          <c:max val="0.4"/>
          <c:min val="0"/>
        </c:scaling>
        <c:delete val="0"/>
        <c:axPos val="l"/>
        <c:title>
          <c:tx>
            <c:rich>
              <a:bodyPr rot="-5400000" spcFirstLastPara="1" vertOverflow="ellipsis" vert="horz" wrap="square" anchor="ctr" anchorCtr="1"/>
              <a:lstStyle/>
              <a:p>
                <a:pPr>
                  <a:defRPr lang="en-US" sz="1100" b="1" i="0" u="none" strike="noStrike" kern="1200" baseline="0">
                    <a:solidFill>
                      <a:schemeClr val="tx1"/>
                    </a:solidFill>
                    <a:latin typeface="+mn-lt"/>
                    <a:ea typeface="+mn-ea"/>
                    <a:cs typeface="+mn-cs"/>
                  </a:defRPr>
                </a:pPr>
                <a:r>
                  <a:rPr lang="en-US" sz="1000" b="1" err="1">
                    <a:solidFill>
                      <a:schemeClr val="tx1"/>
                    </a:solidFill>
                  </a:rPr>
                  <a:t>Hastade</a:t>
                </a:r>
                <a:r>
                  <a:rPr lang="en-US" sz="1000" b="1" baseline="0">
                    <a:solidFill>
                      <a:schemeClr val="tx1"/>
                    </a:solidFill>
                  </a:rPr>
                  <a:t> </a:t>
                </a:r>
                <a:r>
                  <a:rPr lang="en-US" sz="1000" b="1" baseline="0" err="1">
                    <a:solidFill>
                      <a:schemeClr val="tx1"/>
                    </a:solidFill>
                  </a:rPr>
                  <a:t>yatan</a:t>
                </a:r>
                <a:r>
                  <a:rPr lang="en-US" sz="1000" b="1" baseline="0">
                    <a:solidFill>
                      <a:schemeClr val="tx1"/>
                    </a:solidFill>
                  </a:rPr>
                  <a:t> </a:t>
                </a:r>
                <a:r>
                  <a:rPr lang="en-US" sz="1000" b="1" baseline="0" err="1">
                    <a:solidFill>
                      <a:schemeClr val="tx1"/>
                    </a:solidFill>
                  </a:rPr>
                  <a:t>bireylerin</a:t>
                </a:r>
                <a:endParaRPr lang="tr-TR" sz="1000" b="1" baseline="0">
                  <a:solidFill>
                    <a:schemeClr val="tx1"/>
                  </a:solidFill>
                </a:endParaRPr>
              </a:p>
              <a:p>
                <a:pPr>
                  <a:defRPr lang="en-US" sz="1100" b="1">
                    <a:solidFill>
                      <a:schemeClr val="tx1"/>
                    </a:solidFill>
                  </a:defRPr>
                </a:pPr>
                <a:r>
                  <a:rPr lang="en-US" sz="1000" b="1" baseline="0">
                    <a:solidFill>
                      <a:schemeClr val="tx1"/>
                    </a:solidFill>
                  </a:rPr>
                  <a:t> </a:t>
                </a:r>
                <a:r>
                  <a:rPr lang="en-US" sz="1000" b="1" baseline="0" err="1">
                    <a:solidFill>
                      <a:schemeClr val="tx1"/>
                    </a:solidFill>
                  </a:rPr>
                  <a:t>hastane</a:t>
                </a:r>
                <a:r>
                  <a:rPr lang="en-US" sz="1000" b="1" baseline="0">
                    <a:solidFill>
                      <a:schemeClr val="tx1"/>
                    </a:solidFill>
                  </a:rPr>
                  <a:t> </a:t>
                </a:r>
                <a:r>
                  <a:rPr lang="en-US" sz="1000" b="1" baseline="0" err="1">
                    <a:solidFill>
                      <a:schemeClr val="tx1"/>
                    </a:solidFill>
                  </a:rPr>
                  <a:t>içi</a:t>
                </a:r>
                <a:r>
                  <a:rPr lang="en-US" sz="1000" b="1" baseline="0">
                    <a:solidFill>
                      <a:schemeClr val="tx1"/>
                    </a:solidFill>
                  </a:rPr>
                  <a:t> </a:t>
                </a:r>
                <a:r>
                  <a:rPr lang="en-US" sz="1000" b="1" baseline="0" err="1">
                    <a:solidFill>
                      <a:schemeClr val="tx1"/>
                    </a:solidFill>
                  </a:rPr>
                  <a:t>ölüm</a:t>
                </a:r>
                <a:r>
                  <a:rPr lang="en-US" sz="1000" b="1" baseline="0">
                    <a:solidFill>
                      <a:schemeClr val="tx1"/>
                    </a:solidFill>
                  </a:rPr>
                  <a:t> </a:t>
                </a:r>
                <a:r>
                  <a:rPr lang="en-US" sz="1000" b="1" baseline="0" err="1">
                    <a:solidFill>
                      <a:schemeClr val="tx1"/>
                    </a:solidFill>
                  </a:rPr>
                  <a:t>oranları</a:t>
                </a:r>
                <a:endParaRPr lang="en-US" sz="1000" b="1">
                  <a:solidFill>
                    <a:schemeClr val="tx1"/>
                  </a:solidFill>
                </a:endParaRPr>
              </a:p>
            </c:rich>
          </c:tx>
          <c:layout>
            <c:manualLayout>
              <c:xMode val="edge"/>
              <c:yMode val="edge"/>
              <c:x val="1.9814823818929132E-2"/>
              <c:y val="0.33822922489218932"/>
            </c:manualLayout>
          </c:layout>
          <c:overlay val="0"/>
          <c:spPr>
            <a:noFill/>
            <a:ln>
              <a:noFill/>
            </a:ln>
            <a:effectLst/>
          </c:spPr>
          <c:txPr>
            <a:bodyPr rot="-5400000" spcFirstLastPara="1" vertOverflow="ellipsis" vert="horz" wrap="square" anchor="ctr" anchorCtr="1"/>
            <a:lstStyle/>
            <a:p>
              <a:pPr>
                <a:defRPr lang="en-US" sz="1100" b="1" i="0" u="none" strike="noStrike" kern="1200" baseline="0">
                  <a:solidFill>
                    <a:schemeClr val="tx1"/>
                  </a:solidFill>
                  <a:latin typeface="+mn-lt"/>
                  <a:ea typeface="+mn-ea"/>
                  <a:cs typeface="+mn-cs"/>
                </a:defRPr>
              </a:pPr>
              <a:endParaRPr lang="tr-TR"/>
            </a:p>
          </c:txPr>
        </c:title>
        <c:numFmt formatCode="0%" sourceLinked="0"/>
        <c:majorTickMark val="out"/>
        <c:minorTickMark val="none"/>
        <c:tickLblPos val="nextTo"/>
        <c:spPr>
          <a:noFill/>
          <a:ln w="9525">
            <a:solidFill>
              <a:schemeClr val="tx1"/>
            </a:solidFill>
          </a:ln>
          <a:effectLst/>
        </c:spPr>
        <c:txPr>
          <a:bodyPr rot="-60000000" spcFirstLastPara="1" vertOverflow="ellipsis" vert="horz" wrap="square" anchor="ctr" anchorCtr="1"/>
          <a:lstStyle/>
          <a:p>
            <a:pPr>
              <a:defRPr lang="en-US" sz="1100" b="0" i="0" u="none" strike="noStrike" kern="1200" baseline="0">
                <a:solidFill>
                  <a:schemeClr val="tx1"/>
                </a:solidFill>
                <a:latin typeface="+mn-lt"/>
                <a:ea typeface="+mn-ea"/>
                <a:cs typeface="+mn-cs"/>
              </a:defRPr>
            </a:pPr>
            <a:endParaRPr lang="tr-TR"/>
          </a:p>
        </c:txPr>
        <c:crossAx val="281680896"/>
        <c:crosses val="autoZero"/>
        <c:crossBetween val="between"/>
        <c:majorUnit val="0.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tr-T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SV (n=152)</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75000"/>
                        <a:lumOff val="25000"/>
                      </a:schemeClr>
                    </a:solidFill>
                    <a:latin typeface="+mn-lt"/>
                    <a:ea typeface="+mn-ea"/>
                    <a:cs typeface="+mn-cs"/>
                  </a:defRPr>
                </a:pPr>
                <a:endParaRPr lang="tr-T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Hastaneye Yatırıldı</c:v>
                </c:pt>
                <c:pt idx="1">
                  <c:v>Acil Servisten Taburcu Edildi</c:v>
                </c:pt>
                <c:pt idx="2">
                  <c:v>Ek Oksijen İhtiyacı</c:v>
                </c:pt>
                <c:pt idx="3">
                  <c:v>Non-invaziv Ventilasyon</c:v>
                </c:pt>
                <c:pt idx="4">
                  <c:v>Yoğun Bakım Ünitesi (YBÜ) Kabulü</c:v>
                </c:pt>
                <c:pt idx="5">
                  <c:v>İnvaziv Ventilasyon</c:v>
                </c:pt>
                <c:pt idx="6">
                  <c:v>Pnömoni</c:v>
                </c:pt>
              </c:strCache>
            </c:strRef>
          </c:cat>
          <c:val>
            <c:numRef>
              <c:f>Sheet1!$B$2:$B$8</c:f>
              <c:numCache>
                <c:formatCode>0.0%</c:formatCode>
                <c:ptCount val="7"/>
                <c:pt idx="0">
                  <c:v>0.84200000000000041</c:v>
                </c:pt>
                <c:pt idx="1">
                  <c:v>0.15800000000000011</c:v>
                </c:pt>
                <c:pt idx="2">
                  <c:v>0.50700000000000001</c:v>
                </c:pt>
                <c:pt idx="3">
                  <c:v>0.112</c:v>
                </c:pt>
                <c:pt idx="4">
                  <c:v>3.9000000000000014E-2</c:v>
                </c:pt>
                <c:pt idx="5">
                  <c:v>1.2999999999999998E-2</c:v>
                </c:pt>
                <c:pt idx="6">
                  <c:v>0.37500000000000022</c:v>
                </c:pt>
              </c:numCache>
            </c:numRef>
          </c:val>
          <c:extLst>
            <c:ext xmlns:c16="http://schemas.microsoft.com/office/drawing/2014/chart" uri="{C3380CC4-5D6E-409C-BE32-E72D297353CC}">
              <c16:uniqueId val="{00000000-8A3F-4EEC-8A87-34CA4DD5DD29}"/>
            </c:ext>
          </c:extLst>
        </c:ser>
        <c:ser>
          <c:idx val="1"/>
          <c:order val="1"/>
          <c:tx>
            <c:strRef>
              <c:f>Sheet1!$C$1</c:f>
              <c:strCache>
                <c:ptCount val="1"/>
                <c:pt idx="0">
                  <c:v>Influenza (n=573)</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75000"/>
                        <a:lumOff val="25000"/>
                      </a:schemeClr>
                    </a:solidFill>
                    <a:latin typeface="+mn-lt"/>
                    <a:ea typeface="+mn-ea"/>
                    <a:cs typeface="+mn-cs"/>
                  </a:defRPr>
                </a:pPr>
                <a:endParaRPr lang="tr-T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Hastaneye Yatırıldı</c:v>
                </c:pt>
                <c:pt idx="1">
                  <c:v>Acil Servisten Taburcu Edildi</c:v>
                </c:pt>
                <c:pt idx="2">
                  <c:v>Ek Oksijen İhtiyacı</c:v>
                </c:pt>
                <c:pt idx="3">
                  <c:v>Non-invaziv Ventilasyon</c:v>
                </c:pt>
                <c:pt idx="4">
                  <c:v>Yoğun Bakım Ünitesi (YBÜ) Kabulü</c:v>
                </c:pt>
                <c:pt idx="5">
                  <c:v>İnvaziv Ventilasyon</c:v>
                </c:pt>
                <c:pt idx="6">
                  <c:v>Pnömoni</c:v>
                </c:pt>
              </c:strCache>
            </c:strRef>
          </c:cat>
          <c:val>
            <c:numRef>
              <c:f>Sheet1!$C$2:$C$8</c:f>
              <c:numCache>
                <c:formatCode>0.0%</c:formatCode>
                <c:ptCount val="7"/>
                <c:pt idx="0">
                  <c:v>0.66000000000000059</c:v>
                </c:pt>
                <c:pt idx="1">
                  <c:v>0.34</c:v>
                </c:pt>
                <c:pt idx="2">
                  <c:v>0.31200000000000022</c:v>
                </c:pt>
                <c:pt idx="3">
                  <c:v>8.7000000000000022E-2</c:v>
                </c:pt>
                <c:pt idx="4">
                  <c:v>4.0000000000000022E-2</c:v>
                </c:pt>
                <c:pt idx="5">
                  <c:v>7.0000000000000036E-3</c:v>
                </c:pt>
                <c:pt idx="6">
                  <c:v>0.23200000000000001</c:v>
                </c:pt>
              </c:numCache>
            </c:numRef>
          </c:val>
          <c:extLst>
            <c:ext xmlns:c16="http://schemas.microsoft.com/office/drawing/2014/chart" uri="{C3380CC4-5D6E-409C-BE32-E72D297353CC}">
              <c16:uniqueId val="{00000001-8A3F-4EEC-8A87-34CA4DD5DD29}"/>
            </c:ext>
          </c:extLst>
        </c:ser>
        <c:dLbls>
          <c:showLegendKey val="0"/>
          <c:showVal val="1"/>
          <c:showCatName val="0"/>
          <c:showSerName val="0"/>
          <c:showPercent val="0"/>
          <c:showBubbleSize val="0"/>
        </c:dLbls>
        <c:gapWidth val="174"/>
        <c:overlap val="-54"/>
        <c:axId val="282201472"/>
        <c:axId val="281896064"/>
      </c:barChart>
      <c:catAx>
        <c:axId val="28220147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en-US" sz="1197" b="0" i="0" u="none" strike="noStrike" kern="1200" baseline="0">
                <a:solidFill>
                  <a:schemeClr val="tx1"/>
                </a:solidFill>
                <a:latin typeface="+mn-lt"/>
                <a:ea typeface="+mn-ea"/>
                <a:cs typeface="+mn-cs"/>
              </a:defRPr>
            </a:pPr>
            <a:endParaRPr lang="tr-TR"/>
          </a:p>
        </c:txPr>
        <c:crossAx val="281896064"/>
        <c:crosses val="autoZero"/>
        <c:auto val="1"/>
        <c:lblAlgn val="ctr"/>
        <c:lblOffset val="100"/>
        <c:noMultiLvlLbl val="0"/>
      </c:catAx>
      <c:valAx>
        <c:axId val="281896064"/>
        <c:scaling>
          <c:orientation val="minMax"/>
          <c:max val="1"/>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en-US" sz="1197" b="0" i="0" u="none" strike="noStrike" kern="1200" baseline="0">
                <a:solidFill>
                  <a:schemeClr val="tx1"/>
                </a:solidFill>
                <a:latin typeface="+mn-lt"/>
                <a:ea typeface="+mn-ea"/>
                <a:cs typeface="+mn-cs"/>
              </a:defRPr>
            </a:pPr>
            <a:endParaRPr lang="tr-TR"/>
          </a:p>
        </c:txPr>
        <c:crossAx val="282201472"/>
        <c:crosses val="autoZero"/>
        <c:crossBetween val="between"/>
      </c:valAx>
      <c:spPr>
        <a:noFill/>
        <a:ln>
          <a:noFill/>
        </a:ln>
        <a:effectLst/>
      </c:spPr>
    </c:plotArea>
    <c:legend>
      <c:legendPos val="b"/>
      <c:layout>
        <c:manualLayout>
          <c:xMode val="edge"/>
          <c:yMode val="edge"/>
          <c:x val="0.74337930610236225"/>
          <c:y val="0.11585229356223589"/>
          <c:w val="0.22261638779527576"/>
          <c:h val="0.10836650416052512"/>
        </c:manualLayout>
      </c:layout>
      <c:overlay val="0"/>
      <c:spPr>
        <a:noFill/>
        <a:ln>
          <a:noFill/>
        </a:ln>
        <a:effectLst/>
      </c:spPr>
      <c:txPr>
        <a:bodyPr rot="0" spcFirstLastPara="1" vertOverflow="ellipsis" vert="horz" wrap="square" anchor="ctr" anchorCtr="1"/>
        <a:lstStyle/>
        <a:p>
          <a:pPr>
            <a:defRPr lang="en-US" sz="1197" b="0" i="0" u="none" strike="noStrike" kern="1200" baseline="0">
              <a:solidFill>
                <a:schemeClr val="tx1"/>
              </a:solidFill>
              <a:latin typeface="+mn-lt"/>
              <a:ea typeface="+mn-ea"/>
              <a:cs typeface="+mn-cs"/>
            </a:defRPr>
          </a:pPr>
          <a:endParaRPr lang="tr-T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tr-T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603889709990828E-2"/>
          <c:y val="9.5003885875074523E-2"/>
          <c:w val="0.84106184807820505"/>
          <c:h val="0.81437804495942101"/>
        </c:manualLayout>
      </c:layout>
      <c:pieChart>
        <c:varyColors val="1"/>
        <c:ser>
          <c:idx val="0"/>
          <c:order val="0"/>
          <c:tx>
            <c:strRef>
              <c:f>Sheet1!$B$1</c:f>
              <c:strCache>
                <c:ptCount val="1"/>
                <c:pt idx="0">
                  <c:v>S Pnemoniae</c:v>
                </c:pt>
              </c:strCache>
            </c:strRef>
          </c:tx>
          <c:spPr>
            <a:solidFill>
              <a:schemeClr val="accent1"/>
            </a:solidFill>
            <a:ln>
              <a:solidFill>
                <a:schemeClr val="accent1"/>
              </a:solidFill>
            </a:ln>
          </c:spPr>
          <c:explosion val="3"/>
          <c:dPt>
            <c:idx val="10"/>
            <c:bubble3D val="0"/>
            <c:spPr>
              <a:solidFill>
                <a:schemeClr val="bg1">
                  <a:lumMod val="75000"/>
                </a:schemeClr>
              </a:solidFill>
              <a:ln>
                <a:solidFill>
                  <a:schemeClr val="bg1">
                    <a:lumMod val="75000"/>
                  </a:schemeClr>
                </a:solidFill>
              </a:ln>
            </c:spPr>
            <c:extLst>
              <c:ext xmlns:c16="http://schemas.microsoft.com/office/drawing/2014/chart" uri="{C3380CC4-5D6E-409C-BE32-E72D297353CC}">
                <c16:uniqueId val="{00000001-28BF-4AFD-9544-8C0672E50CB2}"/>
              </c:ext>
            </c:extLst>
          </c:dPt>
          <c:cat>
            <c:strRef>
              <c:f>Sheet1!$A$2:$A$12</c:f>
              <c:strCache>
                <c:ptCount val="11"/>
                <c:pt idx="0">
                  <c:v>S pneumoniae</c:v>
                </c:pt>
                <c:pt idx="10">
                  <c:v>No pathogen identified</c:v>
                </c:pt>
              </c:strCache>
            </c:strRef>
          </c:cat>
          <c:val>
            <c:numRef>
              <c:f>Sheet1!$B$2:$B$12</c:f>
              <c:numCache>
                <c:formatCode>General</c:formatCode>
                <c:ptCount val="11"/>
                <c:pt idx="0" formatCode="#,##0.0">
                  <c:v>50</c:v>
                </c:pt>
                <c:pt idx="10" formatCode="#,##0.0">
                  <c:v>50</c:v>
                </c:pt>
              </c:numCache>
            </c:numRef>
          </c:val>
          <c:extLst>
            <c:ext xmlns:c16="http://schemas.microsoft.com/office/drawing/2014/chart" uri="{C3380CC4-5D6E-409C-BE32-E72D297353CC}">
              <c16:uniqueId val="{00000002-28BF-4AFD-9544-8C0672E50CB2}"/>
            </c:ext>
          </c:extLst>
        </c:ser>
        <c:dLbls>
          <c:showLegendKey val="0"/>
          <c:showVal val="0"/>
          <c:showCatName val="0"/>
          <c:showSerName val="0"/>
          <c:showPercent val="0"/>
          <c:showBubbleSize val="0"/>
          <c:showLeaderLines val="0"/>
        </c:dLbls>
        <c:firstSliceAng val="335"/>
      </c:pieChart>
    </c:plotArea>
    <c:plotVisOnly val="1"/>
    <c:dispBlanksAs val="zero"/>
    <c:showDLblsOverMax val="0"/>
  </c:chart>
  <c:txPr>
    <a:bodyPr/>
    <a:lstStyle/>
    <a:p>
      <a:pPr>
        <a:defRPr sz="1800"/>
      </a:pPr>
      <a:endParaRPr lang="tr-T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55523327576131E-2"/>
          <c:y val="2.9198238750607532E-2"/>
          <c:w val="0.93313656947333057"/>
          <c:h val="0.78540450366942982"/>
        </c:manualLayout>
      </c:layout>
      <c:barChart>
        <c:barDir val="bar"/>
        <c:grouping val="clustered"/>
        <c:varyColors val="0"/>
        <c:ser>
          <c:idx val="0"/>
          <c:order val="0"/>
          <c:tx>
            <c:strRef>
              <c:f>Sheet1!$B$1</c:f>
              <c:strCache>
                <c:ptCount val="1"/>
                <c:pt idx="0">
                  <c:v>Causative organism</c:v>
                </c:pt>
              </c:strCache>
            </c:strRef>
          </c:tx>
          <c:spPr>
            <a:solidFill>
              <a:schemeClr val="accent3"/>
            </a:solidFill>
          </c:spPr>
          <c:invertIfNegative val="0"/>
          <c:dPt>
            <c:idx val="9"/>
            <c:invertIfNegative val="0"/>
            <c:bubble3D val="0"/>
            <c:spPr>
              <a:solidFill>
                <a:schemeClr val="accent2">
                  <a:lumMod val="75000"/>
                </a:schemeClr>
              </a:solidFill>
            </c:spPr>
            <c:extLst>
              <c:ext xmlns:c16="http://schemas.microsoft.com/office/drawing/2014/chart" uri="{C3380CC4-5D6E-409C-BE32-E72D297353CC}">
                <c16:uniqueId val="{00000001-BC6E-48AE-86EB-186B91564B98}"/>
              </c:ext>
            </c:extLst>
          </c:dPt>
          <c:cat>
            <c:strRef>
              <c:f>Sheet1!$A$2:$A$11</c:f>
              <c:strCache>
                <c:ptCount val="10"/>
                <c:pt idx="0">
                  <c:v>Viruses</c:v>
                </c:pt>
                <c:pt idx="1">
                  <c:v>C burnetti</c:v>
                </c:pt>
                <c:pt idx="2">
                  <c:v>Chlamydophila spp</c:v>
                </c:pt>
                <c:pt idx="3">
                  <c:v>M pneumoniae</c:v>
                </c:pt>
                <c:pt idx="4">
                  <c:v>Gram-negative bacilli</c:v>
                </c:pt>
                <c:pt idx="5">
                  <c:v>M catarrhalis</c:v>
                </c:pt>
                <c:pt idx="6">
                  <c:v>Staphylococcus spp</c:v>
                </c:pt>
                <c:pt idx="7">
                  <c:v>Legionella spp</c:v>
                </c:pt>
                <c:pt idx="8">
                  <c:v>H influenzae</c:v>
                </c:pt>
                <c:pt idx="9">
                  <c:v>S pneumoniae</c:v>
                </c:pt>
              </c:strCache>
            </c:strRef>
          </c:cat>
          <c:val>
            <c:numRef>
              <c:f>Sheet1!$B$2:$B$11</c:f>
              <c:numCache>
                <c:formatCode>#,##0.0</c:formatCode>
                <c:ptCount val="10"/>
                <c:pt idx="0">
                  <c:v>7</c:v>
                </c:pt>
                <c:pt idx="1">
                  <c:v>3.5</c:v>
                </c:pt>
                <c:pt idx="2">
                  <c:v>6.5</c:v>
                </c:pt>
                <c:pt idx="3">
                  <c:v>8</c:v>
                </c:pt>
                <c:pt idx="4">
                  <c:v>9.75</c:v>
                </c:pt>
                <c:pt idx="5">
                  <c:v>3.5</c:v>
                </c:pt>
                <c:pt idx="6">
                  <c:v>5</c:v>
                </c:pt>
                <c:pt idx="7">
                  <c:v>8</c:v>
                </c:pt>
                <c:pt idx="8">
                  <c:v>9</c:v>
                </c:pt>
                <c:pt idx="9">
                  <c:v>35</c:v>
                </c:pt>
              </c:numCache>
            </c:numRef>
          </c:val>
          <c:extLst>
            <c:ext xmlns:c16="http://schemas.microsoft.com/office/drawing/2014/chart" uri="{C3380CC4-5D6E-409C-BE32-E72D297353CC}">
              <c16:uniqueId val="{00000002-BC6E-48AE-86EB-186B91564B98}"/>
            </c:ext>
          </c:extLst>
        </c:ser>
        <c:dLbls>
          <c:showLegendKey val="0"/>
          <c:showVal val="0"/>
          <c:showCatName val="0"/>
          <c:showSerName val="0"/>
          <c:showPercent val="0"/>
          <c:showBubbleSize val="0"/>
        </c:dLbls>
        <c:gapWidth val="48"/>
        <c:axId val="282361856"/>
        <c:axId val="282364544"/>
      </c:barChart>
      <c:catAx>
        <c:axId val="282361856"/>
        <c:scaling>
          <c:orientation val="minMax"/>
        </c:scaling>
        <c:delete val="0"/>
        <c:axPos val="l"/>
        <c:numFmt formatCode="General" sourceLinked="0"/>
        <c:majorTickMark val="out"/>
        <c:minorTickMark val="none"/>
        <c:tickLblPos val="none"/>
        <c:spPr>
          <a:ln w="12700">
            <a:solidFill>
              <a:schemeClr val="tx1"/>
            </a:solidFill>
          </a:ln>
        </c:spPr>
        <c:txPr>
          <a:bodyPr/>
          <a:lstStyle/>
          <a:p>
            <a:pPr>
              <a:defRPr lang="en-US" sz="1200" i="1"/>
            </a:pPr>
            <a:endParaRPr lang="tr-TR"/>
          </a:p>
        </c:txPr>
        <c:crossAx val="282364544"/>
        <c:crosses val="autoZero"/>
        <c:auto val="1"/>
        <c:lblAlgn val="ctr"/>
        <c:lblOffset val="100"/>
        <c:noMultiLvlLbl val="0"/>
      </c:catAx>
      <c:valAx>
        <c:axId val="282364544"/>
        <c:scaling>
          <c:orientation val="minMax"/>
          <c:max val="40"/>
        </c:scaling>
        <c:delete val="0"/>
        <c:axPos val="b"/>
        <c:title>
          <c:tx>
            <c:rich>
              <a:bodyPr/>
              <a:lstStyle/>
              <a:p>
                <a:pPr>
                  <a:defRPr lang="en-US" sz="1400"/>
                </a:pPr>
                <a:r>
                  <a:rPr lang="tr-TR" sz="1400"/>
                  <a:t>Ortalama </a:t>
                </a:r>
                <a:r>
                  <a:rPr lang="en-US" sz="1400"/>
                  <a:t>%</a:t>
                </a:r>
              </a:p>
            </c:rich>
          </c:tx>
          <c:layout>
            <c:manualLayout>
              <c:xMode val="edge"/>
              <c:yMode val="edge"/>
              <c:x val="0.34314667618381289"/>
              <c:y val="0.90422686071487235"/>
            </c:manualLayout>
          </c:layout>
          <c:overlay val="0"/>
        </c:title>
        <c:numFmt formatCode="#,##0" sourceLinked="0"/>
        <c:majorTickMark val="out"/>
        <c:minorTickMark val="none"/>
        <c:tickLblPos val="nextTo"/>
        <c:spPr>
          <a:ln w="12700">
            <a:solidFill>
              <a:schemeClr val="tx1"/>
            </a:solidFill>
          </a:ln>
        </c:spPr>
        <c:txPr>
          <a:bodyPr/>
          <a:lstStyle/>
          <a:p>
            <a:pPr>
              <a:defRPr lang="en-US" sz="1400"/>
            </a:pPr>
            <a:endParaRPr lang="tr-TR"/>
          </a:p>
        </c:txPr>
        <c:crossAx val="282361856"/>
        <c:crosses val="autoZero"/>
        <c:crossBetween val="between"/>
        <c:majorUnit val="5"/>
      </c:valAx>
    </c:plotArea>
    <c:plotVisOnly val="1"/>
    <c:dispBlanksAs val="gap"/>
    <c:showDLblsOverMax val="0"/>
  </c:chart>
  <c:txPr>
    <a:bodyPr/>
    <a:lstStyle/>
    <a:p>
      <a:pPr>
        <a:defRPr sz="1800"/>
      </a:pPr>
      <a:endParaRPr lang="tr-T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999935519892365E-2"/>
          <c:y val="0.11830535571542765"/>
          <c:w val="0.9069029592566733"/>
          <c:h val="0.73308005564052692"/>
        </c:manualLayout>
      </c:layout>
      <c:barChart>
        <c:barDir val="col"/>
        <c:grouping val="clustered"/>
        <c:varyColors val="0"/>
        <c:ser>
          <c:idx val="0"/>
          <c:order val="0"/>
          <c:tx>
            <c:strRef>
              <c:f>Sheet1!$A$2</c:f>
              <c:strCache>
                <c:ptCount val="1"/>
                <c:pt idx="0">
                  <c:v>PCV13</c:v>
                </c:pt>
              </c:strCache>
            </c:strRef>
          </c:tx>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Times New Roman" panose="02020603050405020304"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lt;65</c:v>
                </c:pt>
                <c:pt idx="1">
                  <c:v>65 yaş ve üzeri</c:v>
                </c:pt>
                <c:pt idx="2">
                  <c:v>18 yaş ve üzeri</c:v>
                </c:pt>
              </c:strCache>
            </c:strRef>
          </c:cat>
          <c:val>
            <c:numRef>
              <c:f>Sheet1!$B$2:$D$2</c:f>
              <c:numCache>
                <c:formatCode>0.0%</c:formatCode>
                <c:ptCount val="3"/>
                <c:pt idx="0">
                  <c:v>0.628</c:v>
                </c:pt>
                <c:pt idx="1">
                  <c:v>0.66</c:v>
                </c:pt>
                <c:pt idx="2">
                  <c:v>0.63900000000000001</c:v>
                </c:pt>
              </c:numCache>
            </c:numRef>
          </c:val>
          <c:extLst>
            <c:ext xmlns:c16="http://schemas.microsoft.com/office/drawing/2014/chart" uri="{C3380CC4-5D6E-409C-BE32-E72D297353CC}">
              <c16:uniqueId val="{00000000-02FF-4927-AF70-C85614DEC94E}"/>
            </c:ext>
          </c:extLst>
        </c:ser>
        <c:ser>
          <c:idx val="1"/>
          <c:order val="1"/>
          <c:tx>
            <c:strRef>
              <c:f>Sheet1!$A$3</c:f>
              <c:strCache>
                <c:ptCount val="1"/>
                <c:pt idx="0">
                  <c:v>PCV15</c:v>
                </c:pt>
              </c:strCache>
            </c:strRef>
          </c:tx>
          <c:spPr>
            <a:solidFill>
              <a:schemeClr val="accent2"/>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Times New Roman" panose="02020603050405020304"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lt;65</c:v>
                </c:pt>
                <c:pt idx="1">
                  <c:v>65 yaş ve üzeri</c:v>
                </c:pt>
                <c:pt idx="2">
                  <c:v>18 yaş ve üzeri</c:v>
                </c:pt>
              </c:strCache>
            </c:strRef>
          </c:cat>
          <c:val>
            <c:numRef>
              <c:f>Sheet1!$B$3:$D$3</c:f>
              <c:numCache>
                <c:formatCode>0.0%</c:formatCode>
                <c:ptCount val="3"/>
                <c:pt idx="0">
                  <c:v>0.65100000000000002</c:v>
                </c:pt>
                <c:pt idx="1">
                  <c:v>0.69499999999999995</c:v>
                </c:pt>
                <c:pt idx="2">
                  <c:v>0.66600000000000004</c:v>
                </c:pt>
              </c:numCache>
            </c:numRef>
          </c:val>
          <c:extLst>
            <c:ext xmlns:c16="http://schemas.microsoft.com/office/drawing/2014/chart" uri="{C3380CC4-5D6E-409C-BE32-E72D297353CC}">
              <c16:uniqueId val="{00000001-02FF-4927-AF70-C85614DEC94E}"/>
            </c:ext>
          </c:extLst>
        </c:ser>
        <c:ser>
          <c:idx val="2"/>
          <c:order val="2"/>
          <c:tx>
            <c:strRef>
              <c:f>Sheet1!$A$4</c:f>
              <c:strCache>
                <c:ptCount val="1"/>
                <c:pt idx="0">
                  <c:v>PCV20</c:v>
                </c:pt>
              </c:strCache>
            </c:strRef>
          </c:tx>
          <c:spPr>
            <a:solidFill>
              <a:schemeClr val="accent3"/>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Times New Roman" panose="02020603050405020304"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lt;65</c:v>
                </c:pt>
                <c:pt idx="1">
                  <c:v>65 yaş ve üzeri</c:v>
                </c:pt>
                <c:pt idx="2">
                  <c:v>18 yaş ve üzeri</c:v>
                </c:pt>
              </c:strCache>
            </c:strRef>
          </c:cat>
          <c:val>
            <c:numRef>
              <c:f>Sheet1!$B$4:$D$4</c:f>
              <c:numCache>
                <c:formatCode>0.0%</c:formatCode>
                <c:ptCount val="3"/>
                <c:pt idx="0">
                  <c:v>0.71</c:v>
                </c:pt>
                <c:pt idx="1">
                  <c:v>0.80100000000000005</c:v>
                </c:pt>
                <c:pt idx="2">
                  <c:v>0.74099999999999999</c:v>
                </c:pt>
              </c:numCache>
            </c:numRef>
          </c:val>
          <c:extLst>
            <c:ext xmlns:c16="http://schemas.microsoft.com/office/drawing/2014/chart" uri="{C3380CC4-5D6E-409C-BE32-E72D297353CC}">
              <c16:uniqueId val="{00000002-02FF-4927-AF70-C85614DEC94E}"/>
            </c:ext>
          </c:extLst>
        </c:ser>
        <c:ser>
          <c:idx val="3"/>
          <c:order val="3"/>
          <c:tx>
            <c:strRef>
              <c:f>Sheet1!$A$5</c:f>
              <c:strCache>
                <c:ptCount val="1"/>
                <c:pt idx="0">
                  <c:v>PSV23</c:v>
                </c:pt>
              </c:strCache>
            </c:strRef>
          </c:tx>
          <c:spPr>
            <a:solidFill>
              <a:schemeClr val="accent4"/>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Times New Roman" panose="02020603050405020304"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lt;65</c:v>
                </c:pt>
                <c:pt idx="1">
                  <c:v>65 yaş ve üzeri</c:v>
                </c:pt>
                <c:pt idx="2">
                  <c:v>18 yaş ve üzeri</c:v>
                </c:pt>
              </c:strCache>
            </c:strRef>
          </c:cat>
          <c:val>
            <c:numRef>
              <c:f>Sheet1!$B$5:$D$5</c:f>
              <c:numCache>
                <c:formatCode>0.0%</c:formatCode>
                <c:ptCount val="3"/>
                <c:pt idx="0">
                  <c:v>0.74299999999999999</c:v>
                </c:pt>
                <c:pt idx="1">
                  <c:v>0.78700000000000003</c:v>
                </c:pt>
                <c:pt idx="2">
                  <c:v>0.75900000000000001</c:v>
                </c:pt>
              </c:numCache>
            </c:numRef>
          </c:val>
          <c:extLst>
            <c:ext xmlns:c16="http://schemas.microsoft.com/office/drawing/2014/chart" uri="{C3380CC4-5D6E-409C-BE32-E72D297353CC}">
              <c16:uniqueId val="{00000003-02FF-4927-AF70-C85614DEC94E}"/>
            </c:ext>
          </c:extLst>
        </c:ser>
        <c:dLbls>
          <c:showLegendKey val="0"/>
          <c:showVal val="0"/>
          <c:showCatName val="0"/>
          <c:showSerName val="0"/>
          <c:showPercent val="0"/>
          <c:showBubbleSize val="0"/>
        </c:dLbls>
        <c:gapWidth val="219"/>
        <c:overlap val="-27"/>
        <c:axId val="411552399"/>
        <c:axId val="391897327"/>
      </c:barChart>
      <c:catAx>
        <c:axId val="411552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Times New Roman" panose="02020603050405020304" pitchFamily="18" charset="0"/>
                <a:ea typeface="+mn-ea"/>
                <a:cs typeface="+mn-cs"/>
              </a:defRPr>
            </a:pPr>
            <a:endParaRPr lang="en-US"/>
          </a:p>
        </c:txPr>
        <c:crossAx val="391897327"/>
        <c:crosses val="autoZero"/>
        <c:auto val="1"/>
        <c:lblAlgn val="ctr"/>
        <c:lblOffset val="100"/>
        <c:noMultiLvlLbl val="0"/>
      </c:catAx>
      <c:valAx>
        <c:axId val="391897327"/>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imes New Roman" panose="02020603050405020304" pitchFamily="18" charset="0"/>
                <a:ea typeface="+mn-ea"/>
                <a:cs typeface="+mn-cs"/>
              </a:defRPr>
            </a:pPr>
            <a:endParaRPr lang="en-US"/>
          </a:p>
        </c:txPr>
        <c:crossAx val="4115523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ysClr val="windowText" lastClr="000000"/>
              </a:solidFill>
              <a:latin typeface="Times New Roman" panose="02020603050405020304" pitchFamily="18"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18495667928935144"/>
          <c:y val="4.1866595647679618E-2"/>
          <c:w val="0.78172153193405669"/>
          <c:h val="0.63373951078149471"/>
        </c:manualLayout>
      </c:layout>
      <c:barChart>
        <c:barDir val="col"/>
        <c:grouping val="stacked"/>
        <c:varyColors val="0"/>
        <c:ser>
          <c:idx val="0"/>
          <c:order val="0"/>
          <c:tx>
            <c:strRef>
              <c:f>Sheet1!$B$1</c:f>
              <c:strCache>
                <c:ptCount val="1"/>
                <c:pt idx="0">
                  <c:v>Mild or ≥38.0°C to 38.4°C </c:v>
                </c:pt>
              </c:strCache>
            </c:strRef>
          </c:tx>
          <c:spPr>
            <a:solidFill>
              <a:schemeClr val="accent3"/>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B$2:$B$9</c:f>
              <c:numCache>
                <c:formatCode>General</c:formatCode>
                <c:ptCount val="8"/>
                <c:pt idx="0">
                  <c:v>18.8</c:v>
                </c:pt>
                <c:pt idx="1">
                  <c:v>20.5</c:v>
                </c:pt>
                <c:pt idx="2">
                  <c:v>21.5</c:v>
                </c:pt>
                <c:pt idx="3">
                  <c:v>16.100000000000001</c:v>
                </c:pt>
                <c:pt idx="4">
                  <c:v>36.4</c:v>
                </c:pt>
                <c:pt idx="5">
                  <c:v>42</c:v>
                </c:pt>
                <c:pt idx="6">
                  <c:v>6.3</c:v>
                </c:pt>
                <c:pt idx="7">
                  <c:v>8.9</c:v>
                </c:pt>
              </c:numCache>
            </c:numRef>
          </c:val>
          <c:extLst>
            <c:ext xmlns:c16="http://schemas.microsoft.com/office/drawing/2014/chart" uri="{C3380CC4-5D6E-409C-BE32-E72D297353CC}">
              <c16:uniqueId val="{00000000-5B01-4485-9838-0BF406655E9C}"/>
            </c:ext>
          </c:extLst>
        </c:ser>
        <c:ser>
          <c:idx val="1"/>
          <c:order val="1"/>
          <c:tx>
            <c:strRef>
              <c:f>Sheet1!$C$1</c:f>
              <c:strCache>
                <c:ptCount val="1"/>
                <c:pt idx="0">
                  <c:v>Moderate or &gt;38.4°C to 38.9°C</c:v>
                </c:pt>
              </c:strCache>
            </c:strRef>
          </c:tx>
          <c:spPr>
            <a:solidFill>
              <a:schemeClr val="accent1"/>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C$2:$C$9</c:f>
              <c:numCache>
                <c:formatCode>General</c:formatCode>
                <c:ptCount val="8"/>
                <c:pt idx="0">
                  <c:v>22.1</c:v>
                </c:pt>
                <c:pt idx="1">
                  <c:v>19.600000000000001</c:v>
                </c:pt>
                <c:pt idx="2">
                  <c:v>14.6</c:v>
                </c:pt>
                <c:pt idx="3">
                  <c:v>17</c:v>
                </c:pt>
                <c:pt idx="4">
                  <c:v>29</c:v>
                </c:pt>
                <c:pt idx="5">
                  <c:v>31.3</c:v>
                </c:pt>
                <c:pt idx="6">
                  <c:v>7.2</c:v>
                </c:pt>
                <c:pt idx="7">
                  <c:v>8</c:v>
                </c:pt>
              </c:numCache>
            </c:numRef>
          </c:val>
          <c:extLst>
            <c:ext xmlns:c16="http://schemas.microsoft.com/office/drawing/2014/chart" uri="{C3380CC4-5D6E-409C-BE32-E72D297353CC}">
              <c16:uniqueId val="{00000001-5B01-4485-9838-0BF406655E9C}"/>
            </c:ext>
          </c:extLst>
        </c:ser>
        <c:ser>
          <c:idx val="2"/>
          <c:order val="2"/>
          <c:tx>
            <c:strRef>
              <c:f>Sheet1!$D$1</c:f>
              <c:strCache>
                <c:ptCount val="1"/>
                <c:pt idx="0">
                  <c:v>Severe or &gt;38.9°C to 40.0°C</c:v>
                </c:pt>
              </c:strCache>
            </c:strRef>
          </c:tx>
          <c:spPr>
            <a:solidFill>
              <a:srgbClr val="FF0000"/>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D$2:$D$9</c:f>
              <c:numCache>
                <c:formatCode>General</c:formatCode>
                <c:ptCount val="8"/>
                <c:pt idx="0">
                  <c:v>1.8</c:v>
                </c:pt>
                <c:pt idx="1">
                  <c:v>3.6</c:v>
                </c:pt>
                <c:pt idx="2">
                  <c:v>2.7</c:v>
                </c:pt>
                <c:pt idx="3">
                  <c:v>0.9</c:v>
                </c:pt>
                <c:pt idx="4">
                  <c:v>1.2</c:v>
                </c:pt>
                <c:pt idx="5">
                  <c:v>0.9</c:v>
                </c:pt>
                <c:pt idx="6">
                  <c:v>0</c:v>
                </c:pt>
                <c:pt idx="7">
                  <c:v>0.9</c:v>
                </c:pt>
              </c:numCache>
            </c:numRef>
          </c:val>
          <c:extLst>
            <c:ext xmlns:c16="http://schemas.microsoft.com/office/drawing/2014/chart" uri="{C3380CC4-5D6E-409C-BE32-E72D297353CC}">
              <c16:uniqueId val="{00000002-5B01-4485-9838-0BF406655E9C}"/>
            </c:ext>
          </c:extLst>
        </c:ser>
        <c:ser>
          <c:idx val="3"/>
          <c:order val="3"/>
          <c:tx>
            <c:strRef>
              <c:f>Sheet1!$E$1</c:f>
              <c:strCache>
                <c:ptCount val="1"/>
                <c:pt idx="0">
                  <c:v>Column1</c:v>
                </c:pt>
              </c:strCache>
            </c:strRef>
          </c:tx>
          <c:spPr>
            <a:solidFill>
              <a:schemeClr val="accent4"/>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E$2:$E$9</c:f>
              <c:numCache>
                <c:formatCode>General</c:formatCode>
                <c:ptCount val="8"/>
              </c:numCache>
            </c:numRef>
          </c:val>
          <c:extLst>
            <c:ext xmlns:c16="http://schemas.microsoft.com/office/drawing/2014/chart" uri="{C3380CC4-5D6E-409C-BE32-E72D297353CC}">
              <c16:uniqueId val="{00000003-5B01-4485-9838-0BF406655E9C}"/>
            </c:ext>
          </c:extLst>
        </c:ser>
        <c:dLbls>
          <c:showLegendKey val="0"/>
          <c:showVal val="0"/>
          <c:showCatName val="0"/>
          <c:showSerName val="0"/>
          <c:showPercent val="0"/>
          <c:showBubbleSize val="0"/>
        </c:dLbls>
        <c:gapWidth val="100"/>
        <c:overlap val="100"/>
        <c:axId val="321209816"/>
        <c:axId val="321210144"/>
      </c:barChart>
      <c:catAx>
        <c:axId val="32120981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21210144"/>
        <c:crosses val="autoZero"/>
        <c:auto val="1"/>
        <c:lblAlgn val="ctr"/>
        <c:lblOffset val="100"/>
        <c:noMultiLvlLbl val="0"/>
      </c:catAx>
      <c:valAx>
        <c:axId val="321210144"/>
        <c:scaling>
          <c:orientation val="minMax"/>
          <c:max val="1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22000">
                <a:solidFill>
                  <a:schemeClr val="tx1"/>
                </a:solidFill>
                <a:latin typeface="+mn-lt"/>
                <a:ea typeface="+mn-ea"/>
                <a:cs typeface="+mn-cs"/>
              </a:defRPr>
            </a:pPr>
            <a:endParaRPr lang="en-US"/>
          </a:p>
        </c:txPr>
        <c:crossAx val="321209816"/>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aseline="22000">
          <a:solidFill>
            <a:schemeClr val="tx1"/>
          </a:solidFill>
        </a:defRPr>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18495667928935144"/>
          <c:y val="4.1866595647679618E-2"/>
          <c:w val="0.78172153193405669"/>
          <c:h val="0.63373951078149471"/>
        </c:manualLayout>
      </c:layout>
      <c:barChart>
        <c:barDir val="col"/>
        <c:grouping val="stacked"/>
        <c:varyColors val="0"/>
        <c:ser>
          <c:idx val="0"/>
          <c:order val="0"/>
          <c:tx>
            <c:strRef>
              <c:f>Sheet1!$B$1</c:f>
              <c:strCache>
                <c:ptCount val="1"/>
                <c:pt idx="0">
                  <c:v>Mild or ≥38.0°C to 38.4°C </c:v>
                </c:pt>
              </c:strCache>
            </c:strRef>
          </c:tx>
          <c:spPr>
            <a:solidFill>
              <a:schemeClr val="accent3"/>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B$2:$B$9</c:f>
              <c:numCache>
                <c:formatCode>General</c:formatCode>
                <c:ptCount val="8"/>
                <c:pt idx="0">
                  <c:v>21.1</c:v>
                </c:pt>
                <c:pt idx="1">
                  <c:v>18</c:v>
                </c:pt>
                <c:pt idx="2">
                  <c:v>20.5</c:v>
                </c:pt>
                <c:pt idx="3">
                  <c:v>21.6</c:v>
                </c:pt>
                <c:pt idx="4">
                  <c:v>33.799999999999997</c:v>
                </c:pt>
                <c:pt idx="5">
                  <c:v>31.5</c:v>
                </c:pt>
                <c:pt idx="6">
                  <c:v>10.6</c:v>
                </c:pt>
                <c:pt idx="7">
                  <c:v>12.6</c:v>
                </c:pt>
              </c:numCache>
            </c:numRef>
          </c:val>
          <c:extLst>
            <c:ext xmlns:c16="http://schemas.microsoft.com/office/drawing/2014/chart" uri="{C3380CC4-5D6E-409C-BE32-E72D297353CC}">
              <c16:uniqueId val="{00000000-D82B-4907-9CF1-82772F4AA04F}"/>
            </c:ext>
          </c:extLst>
        </c:ser>
        <c:ser>
          <c:idx val="1"/>
          <c:order val="1"/>
          <c:tx>
            <c:strRef>
              <c:f>Sheet1!$C$1</c:f>
              <c:strCache>
                <c:ptCount val="1"/>
                <c:pt idx="0">
                  <c:v>Moderate or &gt;38.4°C to 38.9°C</c:v>
                </c:pt>
              </c:strCache>
            </c:strRef>
          </c:tx>
          <c:spPr>
            <a:solidFill>
              <a:schemeClr val="accent1"/>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C$2:$C$9</c:f>
              <c:numCache>
                <c:formatCode>General</c:formatCode>
                <c:ptCount val="8"/>
                <c:pt idx="0">
                  <c:v>17.2</c:v>
                </c:pt>
                <c:pt idx="1">
                  <c:v>15.3</c:v>
                </c:pt>
                <c:pt idx="2">
                  <c:v>10.9</c:v>
                </c:pt>
                <c:pt idx="3">
                  <c:v>13.5</c:v>
                </c:pt>
                <c:pt idx="4">
                  <c:v>15.4</c:v>
                </c:pt>
                <c:pt idx="5">
                  <c:v>17.100000000000001</c:v>
                </c:pt>
                <c:pt idx="6">
                  <c:v>4.8</c:v>
                </c:pt>
                <c:pt idx="7">
                  <c:v>7.2</c:v>
                </c:pt>
              </c:numCache>
            </c:numRef>
          </c:val>
          <c:extLst>
            <c:ext xmlns:c16="http://schemas.microsoft.com/office/drawing/2014/chart" uri="{C3380CC4-5D6E-409C-BE32-E72D297353CC}">
              <c16:uniqueId val="{00000001-D82B-4907-9CF1-82772F4AA04F}"/>
            </c:ext>
          </c:extLst>
        </c:ser>
        <c:ser>
          <c:idx val="2"/>
          <c:order val="2"/>
          <c:tx>
            <c:strRef>
              <c:f>Sheet1!$D$1</c:f>
              <c:strCache>
                <c:ptCount val="1"/>
                <c:pt idx="0">
                  <c:v>Severe or &gt;38.9°C to 40.0°C</c:v>
                </c:pt>
              </c:strCache>
            </c:strRef>
          </c:tx>
          <c:spPr>
            <a:solidFill>
              <a:srgbClr val="FF0000"/>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D$2:$D$9</c:f>
              <c:numCache>
                <c:formatCode>General</c:formatCode>
                <c:ptCount val="8"/>
                <c:pt idx="0">
                  <c:v>0.9</c:v>
                </c:pt>
                <c:pt idx="1">
                  <c:v>2.7</c:v>
                </c:pt>
                <c:pt idx="2">
                  <c:v>0.9</c:v>
                </c:pt>
                <c:pt idx="3">
                  <c:v>0.9</c:v>
                </c:pt>
                <c:pt idx="4">
                  <c:v>0.6</c:v>
                </c:pt>
                <c:pt idx="5">
                  <c:v>0.9</c:v>
                </c:pt>
                <c:pt idx="6">
                  <c:v>0</c:v>
                </c:pt>
                <c:pt idx="7">
                  <c:v>0.9</c:v>
                </c:pt>
              </c:numCache>
            </c:numRef>
          </c:val>
          <c:extLst>
            <c:ext xmlns:c16="http://schemas.microsoft.com/office/drawing/2014/chart" uri="{C3380CC4-5D6E-409C-BE32-E72D297353CC}">
              <c16:uniqueId val="{00000002-D82B-4907-9CF1-82772F4AA04F}"/>
            </c:ext>
          </c:extLst>
        </c:ser>
        <c:ser>
          <c:idx val="3"/>
          <c:order val="3"/>
          <c:tx>
            <c:strRef>
              <c:f>Sheet1!$E$1</c:f>
              <c:strCache>
                <c:ptCount val="1"/>
                <c:pt idx="0">
                  <c:v>Column1</c:v>
                </c:pt>
              </c:strCache>
            </c:strRef>
          </c:tx>
          <c:spPr>
            <a:solidFill>
              <a:srgbClr val="C00000"/>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E$2:$E$9</c:f>
              <c:numCache>
                <c:formatCode>General</c:formatCode>
                <c:ptCount val="8"/>
              </c:numCache>
            </c:numRef>
          </c:val>
          <c:extLst>
            <c:ext xmlns:c16="http://schemas.microsoft.com/office/drawing/2014/chart" uri="{C3380CC4-5D6E-409C-BE32-E72D297353CC}">
              <c16:uniqueId val="{00000003-D82B-4907-9CF1-82772F4AA04F}"/>
            </c:ext>
          </c:extLst>
        </c:ser>
        <c:dLbls>
          <c:showLegendKey val="0"/>
          <c:showVal val="0"/>
          <c:showCatName val="0"/>
          <c:showSerName val="0"/>
          <c:showPercent val="0"/>
          <c:showBubbleSize val="0"/>
        </c:dLbls>
        <c:gapWidth val="100"/>
        <c:overlap val="100"/>
        <c:axId val="321209816"/>
        <c:axId val="321210144"/>
      </c:barChart>
      <c:catAx>
        <c:axId val="32120981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21210144"/>
        <c:crosses val="autoZero"/>
        <c:auto val="1"/>
        <c:lblAlgn val="ctr"/>
        <c:lblOffset val="100"/>
        <c:noMultiLvlLbl val="0"/>
      </c:catAx>
      <c:valAx>
        <c:axId val="321210144"/>
        <c:scaling>
          <c:orientation val="minMax"/>
          <c:max val="1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21209816"/>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barChart>
        <c:barDir val="col"/>
        <c:grouping val="stacked"/>
        <c:varyColors val="0"/>
        <c:ser>
          <c:idx val="0"/>
          <c:order val="0"/>
          <c:tx>
            <c:strRef>
              <c:f>Sheet1!$B$1</c:f>
              <c:strCache>
                <c:ptCount val="1"/>
                <c:pt idx="0">
                  <c:v>Mild</c:v>
                </c:pt>
              </c:strCache>
            </c:strRef>
          </c:tx>
          <c:spPr>
            <a:solidFill>
              <a:schemeClr val="accent3"/>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B$2:$B$7</c:f>
              <c:numCache>
                <c:formatCode>General</c:formatCode>
                <c:ptCount val="6"/>
                <c:pt idx="0">
                  <c:v>3.7</c:v>
                </c:pt>
                <c:pt idx="1">
                  <c:v>3.8</c:v>
                </c:pt>
                <c:pt idx="2">
                  <c:v>4.8</c:v>
                </c:pt>
                <c:pt idx="3">
                  <c:v>4.9000000000000004</c:v>
                </c:pt>
                <c:pt idx="4">
                  <c:v>45.3</c:v>
                </c:pt>
                <c:pt idx="5">
                  <c:v>44.6</c:v>
                </c:pt>
              </c:numCache>
            </c:numRef>
          </c:val>
          <c:extLst>
            <c:ext xmlns:c16="http://schemas.microsoft.com/office/drawing/2014/chart" uri="{C3380CC4-5D6E-409C-BE32-E72D297353CC}">
              <c16:uniqueId val="{00000000-58E5-4795-9BC9-E7ADAE97AB4D}"/>
            </c:ext>
          </c:extLst>
        </c:ser>
        <c:ser>
          <c:idx val="1"/>
          <c:order val="1"/>
          <c:tx>
            <c:strRef>
              <c:f>Sheet1!$C$1</c:f>
              <c:strCache>
                <c:ptCount val="1"/>
                <c:pt idx="0">
                  <c:v>Moderate</c:v>
                </c:pt>
              </c:strCache>
            </c:strRef>
          </c:tx>
          <c:spPr>
            <a:solidFill>
              <a:schemeClr val="accent1"/>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C$2:$C$7</c:f>
              <c:numCache>
                <c:formatCode>General</c:formatCode>
                <c:ptCount val="6"/>
                <c:pt idx="0">
                  <c:v>2.8</c:v>
                </c:pt>
                <c:pt idx="1">
                  <c:v>2.2000000000000002</c:v>
                </c:pt>
                <c:pt idx="2">
                  <c:v>2.4</c:v>
                </c:pt>
                <c:pt idx="3">
                  <c:v>2.8</c:v>
                </c:pt>
                <c:pt idx="4">
                  <c:v>9.9</c:v>
                </c:pt>
                <c:pt idx="5">
                  <c:v>9.1999999999999993</c:v>
                </c:pt>
              </c:numCache>
            </c:numRef>
          </c:val>
          <c:extLst>
            <c:ext xmlns:c16="http://schemas.microsoft.com/office/drawing/2014/chart" uri="{C3380CC4-5D6E-409C-BE32-E72D297353CC}">
              <c16:uniqueId val="{00000001-58E5-4795-9BC9-E7ADAE97AB4D}"/>
            </c:ext>
          </c:extLst>
        </c:ser>
        <c:ser>
          <c:idx val="2"/>
          <c:order val="2"/>
          <c:tx>
            <c:strRef>
              <c:f>Sheet1!$D$1</c:f>
              <c:strCache>
                <c:ptCount val="1"/>
                <c:pt idx="0">
                  <c:v>Severe</c:v>
                </c:pt>
              </c:strCache>
            </c:strRef>
          </c:tx>
          <c:spPr>
            <a:solidFill>
              <a:srgbClr val="FF0000"/>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D$2:$D$7</c:f>
              <c:numCache>
                <c:formatCode>General</c:formatCode>
                <c:ptCount val="6"/>
                <c:pt idx="0">
                  <c:v>0.8</c:v>
                </c:pt>
                <c:pt idx="1">
                  <c:v>0.2</c:v>
                </c:pt>
                <c:pt idx="2">
                  <c:v>0.3</c:v>
                </c:pt>
                <c:pt idx="3">
                  <c:v>0.3</c:v>
                </c:pt>
                <c:pt idx="4">
                  <c:v>0.2</c:v>
                </c:pt>
                <c:pt idx="5">
                  <c:v>0.3</c:v>
                </c:pt>
              </c:numCache>
            </c:numRef>
          </c:val>
          <c:extLst>
            <c:ext xmlns:c16="http://schemas.microsoft.com/office/drawing/2014/chart" uri="{C3380CC4-5D6E-409C-BE32-E72D297353CC}">
              <c16:uniqueId val="{00000002-58E5-4795-9BC9-E7ADAE97AB4D}"/>
            </c:ext>
          </c:extLst>
        </c:ser>
        <c:dLbls>
          <c:showLegendKey val="0"/>
          <c:showVal val="0"/>
          <c:showCatName val="0"/>
          <c:showSerName val="0"/>
          <c:showPercent val="0"/>
          <c:showBubbleSize val="0"/>
        </c:dLbls>
        <c:gapWidth val="100"/>
        <c:overlap val="100"/>
        <c:axId val="321209816"/>
        <c:axId val="321210144"/>
      </c:barChart>
      <c:catAx>
        <c:axId val="32120981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21210144"/>
        <c:crosses val="autoZero"/>
        <c:auto val="1"/>
        <c:lblAlgn val="ctr"/>
        <c:lblOffset val="100"/>
        <c:noMultiLvlLbl val="0"/>
      </c:catAx>
      <c:valAx>
        <c:axId val="321210144"/>
        <c:scaling>
          <c:orientation val="minMax"/>
          <c:max val="100"/>
        </c:scaling>
        <c:delete val="0"/>
        <c:axPos val="l"/>
        <c:title>
          <c:tx>
            <c:rich>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endParaRPr lang="en-US" b="1"/>
              </a:p>
            </c:rich>
          </c:tx>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21209816"/>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21369888383119204"/>
          <c:y val="4.1866595647679618E-2"/>
          <c:w val="0.74780113284202909"/>
          <c:h val="0.65634070155323943"/>
        </c:manualLayout>
      </c:layout>
      <c:barChart>
        <c:barDir val="col"/>
        <c:grouping val="stacked"/>
        <c:varyColors val="0"/>
        <c:ser>
          <c:idx val="0"/>
          <c:order val="0"/>
          <c:tx>
            <c:strRef>
              <c:f>Sheet1!$B$1</c:f>
              <c:strCache>
                <c:ptCount val="1"/>
                <c:pt idx="0">
                  <c:v>Mild</c:v>
                </c:pt>
              </c:strCache>
            </c:strRef>
          </c:tx>
          <c:spPr>
            <a:solidFill>
              <a:schemeClr val="accent3"/>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B$2:$B$7</c:f>
              <c:numCache>
                <c:formatCode>General</c:formatCode>
                <c:ptCount val="6"/>
                <c:pt idx="0">
                  <c:v>5.0999999999999996</c:v>
                </c:pt>
                <c:pt idx="1">
                  <c:v>2.7</c:v>
                </c:pt>
                <c:pt idx="2">
                  <c:v>5.7</c:v>
                </c:pt>
                <c:pt idx="3">
                  <c:v>7.2</c:v>
                </c:pt>
                <c:pt idx="4">
                  <c:v>53.5</c:v>
                </c:pt>
                <c:pt idx="5">
                  <c:v>52.3</c:v>
                </c:pt>
              </c:numCache>
            </c:numRef>
          </c:val>
          <c:extLst>
            <c:ext xmlns:c16="http://schemas.microsoft.com/office/drawing/2014/chart" uri="{C3380CC4-5D6E-409C-BE32-E72D297353CC}">
              <c16:uniqueId val="{00000000-9A21-442C-B5A4-86713F19119D}"/>
            </c:ext>
          </c:extLst>
        </c:ser>
        <c:ser>
          <c:idx val="1"/>
          <c:order val="1"/>
          <c:tx>
            <c:strRef>
              <c:f>Sheet1!$C$1</c:f>
              <c:strCache>
                <c:ptCount val="1"/>
                <c:pt idx="0">
                  <c:v>Moderate</c:v>
                </c:pt>
              </c:strCache>
            </c:strRef>
          </c:tx>
          <c:spPr>
            <a:solidFill>
              <a:schemeClr val="accent1"/>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C$2:$C$7</c:f>
              <c:numCache>
                <c:formatCode>General</c:formatCode>
                <c:ptCount val="6"/>
                <c:pt idx="0">
                  <c:v>2.7</c:v>
                </c:pt>
                <c:pt idx="1">
                  <c:v>2.7</c:v>
                </c:pt>
                <c:pt idx="2">
                  <c:v>3</c:v>
                </c:pt>
                <c:pt idx="3">
                  <c:v>3.6</c:v>
                </c:pt>
                <c:pt idx="4">
                  <c:v>17.8</c:v>
                </c:pt>
                <c:pt idx="5">
                  <c:v>16.2</c:v>
                </c:pt>
              </c:numCache>
            </c:numRef>
          </c:val>
          <c:extLst>
            <c:ext xmlns:c16="http://schemas.microsoft.com/office/drawing/2014/chart" uri="{C3380CC4-5D6E-409C-BE32-E72D297353CC}">
              <c16:uniqueId val="{00000001-9A21-442C-B5A4-86713F19119D}"/>
            </c:ext>
          </c:extLst>
        </c:ser>
        <c:ser>
          <c:idx val="2"/>
          <c:order val="2"/>
          <c:tx>
            <c:strRef>
              <c:f>Sheet1!$D$1</c:f>
              <c:strCache>
                <c:ptCount val="1"/>
                <c:pt idx="0">
                  <c:v>Severe</c:v>
                </c:pt>
              </c:strCache>
            </c:strRef>
          </c:tx>
          <c:spPr>
            <a:solidFill>
              <a:srgbClr val="FF0000"/>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D$2:$D$7</c:f>
              <c:numCache>
                <c:formatCode>General</c:formatCode>
                <c:ptCount val="6"/>
                <c:pt idx="0">
                  <c:v>0.3</c:v>
                </c:pt>
                <c:pt idx="1">
                  <c:v>0</c:v>
                </c:pt>
                <c:pt idx="2">
                  <c:v>0</c:v>
                </c:pt>
                <c:pt idx="3">
                  <c:v>0</c:v>
                </c:pt>
                <c:pt idx="4">
                  <c:v>1.2</c:v>
                </c:pt>
                <c:pt idx="5">
                  <c:v>0.9</c:v>
                </c:pt>
              </c:numCache>
            </c:numRef>
          </c:val>
          <c:extLst>
            <c:ext xmlns:c16="http://schemas.microsoft.com/office/drawing/2014/chart" uri="{C3380CC4-5D6E-409C-BE32-E72D297353CC}">
              <c16:uniqueId val="{00000002-9A21-442C-B5A4-86713F19119D}"/>
            </c:ext>
          </c:extLst>
        </c:ser>
        <c:dLbls>
          <c:showLegendKey val="0"/>
          <c:showVal val="0"/>
          <c:showCatName val="0"/>
          <c:showSerName val="0"/>
          <c:showPercent val="0"/>
          <c:showBubbleSize val="0"/>
        </c:dLbls>
        <c:gapWidth val="100"/>
        <c:overlap val="100"/>
        <c:axId val="321209816"/>
        <c:axId val="321210144"/>
      </c:barChart>
      <c:catAx>
        <c:axId val="32120981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21210144"/>
        <c:crosses val="autoZero"/>
        <c:auto val="1"/>
        <c:lblAlgn val="ctr"/>
        <c:lblOffset val="100"/>
        <c:noMultiLvlLbl val="0"/>
      </c:catAx>
      <c:valAx>
        <c:axId val="321210144"/>
        <c:scaling>
          <c:orientation val="minMax"/>
          <c:max val="1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21209816"/>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59637232094464"/>
          <c:y val="6.3760964912280768E-2"/>
          <c:w val="0.82128086791139632"/>
          <c:h val="0.79252616038126722"/>
        </c:manualLayout>
      </c:layout>
      <c:barChart>
        <c:barDir val="col"/>
        <c:grouping val="clustered"/>
        <c:varyColors val="0"/>
        <c:ser>
          <c:idx val="0"/>
          <c:order val="0"/>
          <c:tx>
            <c:strRef>
              <c:f>Sheet1!$B$1</c:f>
              <c:strCache>
                <c:ptCount val="1"/>
                <c:pt idx="0">
                  <c:v>Incidence rates of hospitalized LRTI (per 100,000 person-years)</c:v>
                </c:pt>
              </c:strCache>
            </c:strRef>
          </c:tx>
          <c:spPr>
            <a:solidFill>
              <a:schemeClr val="accent1"/>
            </a:solidFill>
            <a:ln>
              <a:noFill/>
            </a:ln>
            <a:effectLst/>
          </c:spPr>
          <c:invertIfNegative val="0"/>
          <c:cat>
            <c:strRef>
              <c:f>Sheet1!$A$2:$A$6</c:f>
              <c:strCache>
                <c:ptCount val="5"/>
                <c:pt idx="0">
                  <c:v>18–49</c:v>
                </c:pt>
                <c:pt idx="1">
                  <c:v>50–64</c:v>
                </c:pt>
                <c:pt idx="2">
                  <c:v>65–74</c:v>
                </c:pt>
                <c:pt idx="3">
                  <c:v>75–84</c:v>
                </c:pt>
                <c:pt idx="4">
                  <c:v>≥85</c:v>
                </c:pt>
              </c:strCache>
            </c:strRef>
          </c:cat>
          <c:val>
            <c:numRef>
              <c:f>Sheet1!$B$2:$B$6</c:f>
              <c:numCache>
                <c:formatCode>General</c:formatCode>
                <c:ptCount val="5"/>
                <c:pt idx="0">
                  <c:v>148</c:v>
                </c:pt>
                <c:pt idx="1">
                  <c:v>485</c:v>
                </c:pt>
                <c:pt idx="2">
                  <c:v>1424</c:v>
                </c:pt>
                <c:pt idx="3">
                  <c:v>3402</c:v>
                </c:pt>
                <c:pt idx="4">
                  <c:v>6884</c:v>
                </c:pt>
              </c:numCache>
            </c:numRef>
          </c:val>
          <c:extLst>
            <c:ext xmlns:c16="http://schemas.microsoft.com/office/drawing/2014/chart" uri="{C3380CC4-5D6E-409C-BE32-E72D297353CC}">
              <c16:uniqueId val="{00000000-E4A7-4B55-BF17-EBD7F7EB522D}"/>
            </c:ext>
          </c:extLst>
        </c:ser>
        <c:dLbls>
          <c:showLegendKey val="0"/>
          <c:showVal val="0"/>
          <c:showCatName val="0"/>
          <c:showSerName val="0"/>
          <c:showPercent val="0"/>
          <c:showBubbleSize val="0"/>
        </c:dLbls>
        <c:gapWidth val="219"/>
        <c:overlap val="-27"/>
        <c:axId val="143598336"/>
        <c:axId val="143599872"/>
      </c:barChart>
      <c:catAx>
        <c:axId val="14359833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lang="en-US" sz="1000" b="0" i="0" u="none" strike="noStrike" kern="1200" baseline="0">
                <a:solidFill>
                  <a:schemeClr val="tx1">
                    <a:lumMod val="65000"/>
                    <a:lumOff val="35000"/>
                  </a:schemeClr>
                </a:solidFill>
                <a:latin typeface="+mn-lt"/>
                <a:ea typeface="+mn-ea"/>
                <a:cs typeface="+mn-cs"/>
              </a:defRPr>
            </a:pPr>
            <a:endParaRPr lang="tr-TR"/>
          </a:p>
        </c:txPr>
        <c:crossAx val="143599872"/>
        <c:crosses val="autoZero"/>
        <c:auto val="1"/>
        <c:lblAlgn val="ctr"/>
        <c:lblOffset val="100"/>
        <c:noMultiLvlLbl val="0"/>
      </c:catAx>
      <c:valAx>
        <c:axId val="143599872"/>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a:solidFill>
                  <a:schemeClr val="tx1">
                    <a:lumMod val="65000"/>
                    <a:lumOff val="35000"/>
                  </a:schemeClr>
                </a:solidFill>
                <a:latin typeface="+mn-lt"/>
                <a:ea typeface="+mn-ea"/>
                <a:cs typeface="+mn-cs"/>
              </a:defRPr>
            </a:pPr>
            <a:endParaRPr lang="tr-TR"/>
          </a:p>
        </c:txPr>
        <c:crossAx val="14359833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tr-TR"/>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21369888383119204"/>
          <c:y val="4.1866595647679618E-2"/>
          <c:w val="0.74780113284202909"/>
          <c:h val="0.65718762554336296"/>
        </c:manualLayout>
      </c:layout>
      <c:barChart>
        <c:barDir val="col"/>
        <c:grouping val="stacked"/>
        <c:varyColors val="0"/>
        <c:ser>
          <c:idx val="0"/>
          <c:order val="0"/>
          <c:tx>
            <c:strRef>
              <c:f>Sheet1!$B$1</c:f>
              <c:strCache>
                <c:ptCount val="1"/>
                <c:pt idx="0">
                  <c:v>Mild</c:v>
                </c:pt>
              </c:strCache>
            </c:strRef>
          </c:tx>
          <c:spPr>
            <a:solidFill>
              <a:schemeClr val="accent3"/>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B$2:$B$7</c:f>
              <c:numCache>
                <c:formatCode>General</c:formatCode>
                <c:ptCount val="6"/>
                <c:pt idx="0">
                  <c:v>3</c:v>
                </c:pt>
                <c:pt idx="1">
                  <c:v>5.4</c:v>
                </c:pt>
                <c:pt idx="2">
                  <c:v>7.2</c:v>
                </c:pt>
                <c:pt idx="3">
                  <c:v>8.9</c:v>
                </c:pt>
                <c:pt idx="4">
                  <c:v>42.7</c:v>
                </c:pt>
                <c:pt idx="5">
                  <c:v>52.7</c:v>
                </c:pt>
              </c:numCache>
            </c:numRef>
          </c:val>
          <c:extLst>
            <c:ext xmlns:c16="http://schemas.microsoft.com/office/drawing/2014/chart" uri="{C3380CC4-5D6E-409C-BE32-E72D297353CC}">
              <c16:uniqueId val="{00000000-6AD0-4940-9485-3081D402A7E1}"/>
            </c:ext>
          </c:extLst>
        </c:ser>
        <c:ser>
          <c:idx val="1"/>
          <c:order val="1"/>
          <c:tx>
            <c:strRef>
              <c:f>Sheet1!$C$1</c:f>
              <c:strCache>
                <c:ptCount val="1"/>
                <c:pt idx="0">
                  <c:v>Moderate</c:v>
                </c:pt>
              </c:strCache>
            </c:strRef>
          </c:tx>
          <c:spPr>
            <a:solidFill>
              <a:schemeClr val="accent1"/>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C$2:$C$7</c:f>
              <c:numCache>
                <c:formatCode>General</c:formatCode>
                <c:ptCount val="6"/>
                <c:pt idx="0">
                  <c:v>5.4</c:v>
                </c:pt>
                <c:pt idx="1">
                  <c:v>4.5</c:v>
                </c:pt>
                <c:pt idx="2">
                  <c:v>4.5</c:v>
                </c:pt>
                <c:pt idx="3">
                  <c:v>3.6</c:v>
                </c:pt>
                <c:pt idx="4">
                  <c:v>38.200000000000003</c:v>
                </c:pt>
                <c:pt idx="5">
                  <c:v>28.6</c:v>
                </c:pt>
              </c:numCache>
            </c:numRef>
          </c:val>
          <c:extLst>
            <c:ext xmlns:c16="http://schemas.microsoft.com/office/drawing/2014/chart" uri="{C3380CC4-5D6E-409C-BE32-E72D297353CC}">
              <c16:uniqueId val="{00000001-6AD0-4940-9485-3081D402A7E1}"/>
            </c:ext>
          </c:extLst>
        </c:ser>
        <c:ser>
          <c:idx val="2"/>
          <c:order val="2"/>
          <c:tx>
            <c:strRef>
              <c:f>Sheet1!$D$1</c:f>
              <c:strCache>
                <c:ptCount val="1"/>
                <c:pt idx="0">
                  <c:v>Severe</c:v>
                </c:pt>
              </c:strCache>
            </c:strRef>
          </c:tx>
          <c:spPr>
            <a:solidFill>
              <a:srgbClr val="FF0000"/>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D$2:$D$7</c:f>
              <c:numCache>
                <c:formatCode>General</c:formatCode>
                <c:ptCount val="6"/>
                <c:pt idx="0">
                  <c:v>0.6</c:v>
                </c:pt>
                <c:pt idx="1">
                  <c:v>0</c:v>
                </c:pt>
                <c:pt idx="2">
                  <c:v>0</c:v>
                </c:pt>
                <c:pt idx="3">
                  <c:v>0</c:v>
                </c:pt>
                <c:pt idx="4">
                  <c:v>0.3</c:v>
                </c:pt>
                <c:pt idx="5">
                  <c:v>0.9</c:v>
                </c:pt>
              </c:numCache>
            </c:numRef>
          </c:val>
          <c:extLst>
            <c:ext xmlns:c16="http://schemas.microsoft.com/office/drawing/2014/chart" uri="{C3380CC4-5D6E-409C-BE32-E72D297353CC}">
              <c16:uniqueId val="{00000002-6AD0-4940-9485-3081D402A7E1}"/>
            </c:ext>
          </c:extLst>
        </c:ser>
        <c:dLbls>
          <c:showLegendKey val="0"/>
          <c:showVal val="0"/>
          <c:showCatName val="0"/>
          <c:showSerName val="0"/>
          <c:showPercent val="0"/>
          <c:showBubbleSize val="0"/>
        </c:dLbls>
        <c:gapWidth val="100"/>
        <c:overlap val="100"/>
        <c:axId val="321209816"/>
        <c:axId val="321210144"/>
      </c:barChart>
      <c:catAx>
        <c:axId val="32120981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21210144"/>
        <c:crosses val="autoZero"/>
        <c:auto val="1"/>
        <c:lblAlgn val="ctr"/>
        <c:lblOffset val="100"/>
        <c:noMultiLvlLbl val="0"/>
      </c:catAx>
      <c:valAx>
        <c:axId val="321210144"/>
        <c:scaling>
          <c:orientation val="minMax"/>
          <c:max val="1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21209816"/>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18495667928935144"/>
          <c:y val="4.1866595647679618E-2"/>
          <c:w val="0.78172153193405669"/>
          <c:h val="0.63373951078149471"/>
        </c:manualLayout>
      </c:layout>
      <c:barChart>
        <c:barDir val="col"/>
        <c:grouping val="stacked"/>
        <c:varyColors val="0"/>
        <c:ser>
          <c:idx val="0"/>
          <c:order val="0"/>
          <c:tx>
            <c:strRef>
              <c:f>Sheet1!$B$1</c:f>
              <c:strCache>
                <c:ptCount val="1"/>
                <c:pt idx="0">
                  <c:v>Mild or ≥38.0°C to 38.4°C </c:v>
                </c:pt>
              </c:strCache>
            </c:strRef>
          </c:tx>
          <c:spPr>
            <a:solidFill>
              <a:schemeClr val="accent3"/>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B$2:$B$9</c:f>
              <c:numCache>
                <c:formatCode>General</c:formatCode>
                <c:ptCount val="8"/>
                <c:pt idx="0">
                  <c:v>16.100000000000001</c:v>
                </c:pt>
                <c:pt idx="1">
                  <c:v>17.5</c:v>
                </c:pt>
                <c:pt idx="2">
                  <c:v>15.5</c:v>
                </c:pt>
                <c:pt idx="3">
                  <c:v>17</c:v>
                </c:pt>
                <c:pt idx="4">
                  <c:v>28.9</c:v>
                </c:pt>
                <c:pt idx="5">
                  <c:v>26.8</c:v>
                </c:pt>
                <c:pt idx="6">
                  <c:v>6.9</c:v>
                </c:pt>
                <c:pt idx="7">
                  <c:v>7.1</c:v>
                </c:pt>
              </c:numCache>
            </c:numRef>
          </c:val>
          <c:extLst>
            <c:ext xmlns:c16="http://schemas.microsoft.com/office/drawing/2014/chart" uri="{C3380CC4-5D6E-409C-BE32-E72D297353CC}">
              <c16:uniqueId val="{00000000-9BD8-4EC7-8027-2F02325A50EB}"/>
            </c:ext>
          </c:extLst>
        </c:ser>
        <c:ser>
          <c:idx val="1"/>
          <c:order val="1"/>
          <c:tx>
            <c:strRef>
              <c:f>Sheet1!$C$1</c:f>
              <c:strCache>
                <c:ptCount val="1"/>
                <c:pt idx="0">
                  <c:v>Moderate or &gt;38.4°C to 38.9°C</c:v>
                </c:pt>
              </c:strCache>
            </c:strRef>
          </c:tx>
          <c:spPr>
            <a:solidFill>
              <a:schemeClr val="accent1"/>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C$2:$C$9</c:f>
              <c:numCache>
                <c:formatCode>General</c:formatCode>
                <c:ptCount val="8"/>
                <c:pt idx="0">
                  <c:v>12.8</c:v>
                </c:pt>
                <c:pt idx="1">
                  <c:v>11.9</c:v>
                </c:pt>
                <c:pt idx="2">
                  <c:v>5.4</c:v>
                </c:pt>
                <c:pt idx="3">
                  <c:v>5.9</c:v>
                </c:pt>
                <c:pt idx="4">
                  <c:v>9.8000000000000007</c:v>
                </c:pt>
                <c:pt idx="5">
                  <c:v>10</c:v>
                </c:pt>
                <c:pt idx="6">
                  <c:v>5.4</c:v>
                </c:pt>
                <c:pt idx="7">
                  <c:v>6.3</c:v>
                </c:pt>
              </c:numCache>
            </c:numRef>
          </c:val>
          <c:extLst>
            <c:ext xmlns:c16="http://schemas.microsoft.com/office/drawing/2014/chart" uri="{C3380CC4-5D6E-409C-BE32-E72D297353CC}">
              <c16:uniqueId val="{00000001-9BD8-4EC7-8027-2F02325A50EB}"/>
            </c:ext>
          </c:extLst>
        </c:ser>
        <c:ser>
          <c:idx val="2"/>
          <c:order val="2"/>
          <c:tx>
            <c:strRef>
              <c:f>Sheet1!$D$1</c:f>
              <c:strCache>
                <c:ptCount val="1"/>
                <c:pt idx="0">
                  <c:v>Severe or &gt;38.9°C to 40.0°C</c:v>
                </c:pt>
              </c:strCache>
            </c:strRef>
          </c:tx>
          <c:spPr>
            <a:solidFill>
              <a:srgbClr val="FF0000"/>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D$2:$D$9</c:f>
              <c:numCache>
                <c:formatCode>General</c:formatCode>
                <c:ptCount val="8"/>
                <c:pt idx="0">
                  <c:v>1.2</c:v>
                </c:pt>
                <c:pt idx="1">
                  <c:v>1.2</c:v>
                </c:pt>
                <c:pt idx="2">
                  <c:v>0.7</c:v>
                </c:pt>
                <c:pt idx="3">
                  <c:v>0.3</c:v>
                </c:pt>
                <c:pt idx="4">
                  <c:v>0.4</c:v>
                </c:pt>
                <c:pt idx="5">
                  <c:v>0.5</c:v>
                </c:pt>
                <c:pt idx="6">
                  <c:v>0.3</c:v>
                </c:pt>
                <c:pt idx="7">
                  <c:v>0.2</c:v>
                </c:pt>
              </c:numCache>
            </c:numRef>
          </c:val>
          <c:extLst>
            <c:ext xmlns:c16="http://schemas.microsoft.com/office/drawing/2014/chart" uri="{C3380CC4-5D6E-409C-BE32-E72D297353CC}">
              <c16:uniqueId val="{00000002-9BD8-4EC7-8027-2F02325A50EB}"/>
            </c:ext>
          </c:extLst>
        </c:ser>
        <c:ser>
          <c:idx val="3"/>
          <c:order val="3"/>
          <c:tx>
            <c:strRef>
              <c:f>Sheet1!$E$1</c:f>
              <c:strCache>
                <c:ptCount val="1"/>
                <c:pt idx="0">
                  <c:v>Column1</c:v>
                </c:pt>
              </c:strCache>
            </c:strRef>
          </c:tx>
          <c:spPr>
            <a:solidFill>
              <a:schemeClr val="accent4"/>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E$2:$E$9</c:f>
              <c:numCache>
                <c:formatCode>General</c:formatCode>
                <c:ptCount val="8"/>
              </c:numCache>
            </c:numRef>
          </c:val>
          <c:extLst>
            <c:ext xmlns:c16="http://schemas.microsoft.com/office/drawing/2014/chart" uri="{C3380CC4-5D6E-409C-BE32-E72D297353CC}">
              <c16:uniqueId val="{00000003-9BD8-4EC7-8027-2F02325A50EB}"/>
            </c:ext>
          </c:extLst>
        </c:ser>
        <c:dLbls>
          <c:showLegendKey val="0"/>
          <c:showVal val="0"/>
          <c:showCatName val="0"/>
          <c:showSerName val="0"/>
          <c:showPercent val="0"/>
          <c:showBubbleSize val="0"/>
        </c:dLbls>
        <c:gapWidth val="100"/>
        <c:overlap val="100"/>
        <c:axId val="321209816"/>
        <c:axId val="321210144"/>
      </c:barChart>
      <c:catAx>
        <c:axId val="32120981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21210144"/>
        <c:crosses val="autoZero"/>
        <c:auto val="1"/>
        <c:lblAlgn val="ctr"/>
        <c:lblOffset val="100"/>
        <c:noMultiLvlLbl val="0"/>
      </c:catAx>
      <c:valAx>
        <c:axId val="321210144"/>
        <c:scaling>
          <c:orientation val="minMax"/>
          <c:max val="1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21209816"/>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460961879417767"/>
          <c:y val="0.22584944999208975"/>
          <c:w val="0.31078076241164471"/>
          <c:h val="0.7552105730483476"/>
        </c:manualLayout>
      </c:layout>
      <c:doughnutChart>
        <c:varyColors val="1"/>
        <c:ser>
          <c:idx val="0"/>
          <c:order val="0"/>
          <c:tx>
            <c:strRef>
              <c:f>Sheet1!$B$1</c:f>
              <c:strCache>
                <c:ptCount val="1"/>
                <c:pt idx="0">
                  <c:v>% of Season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56C-431B-8C2C-2204F31D55B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56C-431B-8C2C-2204F31D55B2}"/>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656C-431B-8C2C-2204F31D55B2}"/>
              </c:ext>
            </c:extLst>
          </c:dPt>
          <c:dLbls>
            <c:dLbl>
              <c:idx val="0"/>
              <c:layout>
                <c:manualLayout>
                  <c:x val="-0.20838468260548074"/>
                  <c:y val="-0.31780004553208874"/>
                </c:manualLayout>
              </c:layout>
              <c:tx>
                <c:rich>
                  <a:bodyPr rot="0" spcFirstLastPara="1" vertOverflow="ellipsis" vert="horz" wrap="square" lIns="38100" tIns="19050" rIns="38100" bIns="19050" anchor="ctr" anchorCtr="0">
                    <a:noAutofit/>
                  </a:bodyPr>
                  <a:lstStyle/>
                  <a:p>
                    <a:pPr algn="r">
                      <a:lnSpc>
                        <a:spcPct val="95000"/>
                      </a:lnSpc>
                      <a:defRPr sz="1197" b="0" i="0" u="none" strike="noStrike" kern="1200" baseline="0">
                        <a:solidFill>
                          <a:schemeClr val="tx1"/>
                        </a:solidFill>
                        <a:latin typeface="+mn-lt"/>
                        <a:ea typeface="+mn-ea"/>
                        <a:cs typeface="+mn-cs"/>
                      </a:defRPr>
                    </a:pPr>
                    <a:r>
                      <a:rPr lang="en-US" sz="1400" b="1">
                        <a:solidFill>
                          <a:schemeClr val="accent1"/>
                        </a:solidFill>
                        <a:latin typeface="Pfizer Tomorrow" panose="02010503040201060303" pitchFamily="50" charset="0"/>
                      </a:rPr>
                      <a:t>RSV A </a:t>
                    </a:r>
                    <a:r>
                      <a:rPr lang="en-US" sz="1400" b="1" err="1">
                        <a:solidFill>
                          <a:schemeClr val="accent1"/>
                        </a:solidFill>
                        <a:latin typeface="Pfizer Tomorrow" panose="02010503040201060303" pitchFamily="50" charset="0"/>
                      </a:rPr>
                      <a:t>baskın</a:t>
                    </a:r>
                    <a:endParaRPr lang="en-US" sz="1400" b="1">
                      <a:solidFill>
                        <a:schemeClr val="accent1"/>
                      </a:solidFill>
                      <a:latin typeface="Pfizer Tomorrow" panose="02010503040201060303" pitchFamily="50" charset="0"/>
                    </a:endParaRPr>
                  </a:p>
                  <a:p>
                    <a:pPr algn="r">
                      <a:lnSpc>
                        <a:spcPct val="95000"/>
                      </a:lnSpc>
                      <a:defRPr>
                        <a:solidFill>
                          <a:schemeClr val="tx1"/>
                        </a:solidFill>
                      </a:defRPr>
                    </a:pPr>
                    <a:r>
                      <a:rPr lang="en-US" sz="1600" b="1" i="0" u="none" strike="noStrike" kern="1200" baseline="0">
                        <a:solidFill>
                          <a:schemeClr val="accent1"/>
                        </a:solidFill>
                        <a:latin typeface="Pfizer Tomorrow" panose="02010503040201060303" pitchFamily="50" charset="0"/>
                        <a:ea typeface="+mn-ea"/>
                        <a:cs typeface="+mn-cs"/>
                      </a:rPr>
                      <a:t>%55</a:t>
                    </a:r>
                    <a:endParaRPr lang="en-US" b="1">
                      <a:solidFill>
                        <a:schemeClr val="accent1"/>
                      </a:solidFill>
                      <a:latin typeface="Pfizer Tomorrow" panose="02010503040201060303" pitchFamily="50" charset="0"/>
                    </a:endParaRPr>
                  </a:p>
                </c:rich>
              </c:tx>
              <c:spPr>
                <a:noFill/>
                <a:ln>
                  <a:noFill/>
                </a:ln>
                <a:effectLst/>
              </c:spPr>
              <c:txPr>
                <a:bodyPr rot="0" spcFirstLastPara="1" vertOverflow="ellipsis" vert="horz" wrap="square" lIns="38100" tIns="19050" rIns="38100" bIns="19050" anchor="ctr" anchorCtr="0">
                  <a:noAutofit/>
                </a:bodyPr>
                <a:lstStyle/>
                <a:p>
                  <a:pPr algn="r">
                    <a:lnSpc>
                      <a:spcPct val="95000"/>
                    </a:lnSpc>
                    <a:defRPr sz="1197"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manualLayout>
                      <c:w val="0.31464957904035773"/>
                      <c:h val="0.34266536407824366"/>
                    </c:manualLayout>
                  </c15:layout>
                  <c15:showDataLabelsRange val="0"/>
                </c:ext>
                <c:ext xmlns:c16="http://schemas.microsoft.com/office/drawing/2014/chart" uri="{C3380CC4-5D6E-409C-BE32-E72D297353CC}">
                  <c16:uniqueId val="{00000001-656C-431B-8C2C-2204F31D55B2}"/>
                </c:ext>
              </c:extLst>
            </c:dLbl>
            <c:dLbl>
              <c:idx val="1"/>
              <c:layout>
                <c:manualLayout>
                  <c:x val="0.22406955118868888"/>
                  <c:y val="2.9602288780627263E-3"/>
                </c:manualLayout>
              </c:layout>
              <c:tx>
                <c:rich>
                  <a:bodyPr rot="0" spcFirstLastPara="1" vertOverflow="ellipsis" vert="horz" wrap="square" lIns="38100" tIns="19050" rIns="38100" bIns="19050" anchor="ctr" anchorCtr="0">
                    <a:noAutofit/>
                  </a:bodyPr>
                  <a:lstStyle/>
                  <a:p>
                    <a:pPr algn="l">
                      <a:lnSpc>
                        <a:spcPct val="95000"/>
                      </a:lnSpc>
                      <a:defRPr sz="1197" b="0" i="0" u="none" strike="noStrike" kern="1200" baseline="0">
                        <a:solidFill>
                          <a:schemeClr val="tx1"/>
                        </a:solidFill>
                        <a:latin typeface="+mn-lt"/>
                        <a:ea typeface="+mn-ea"/>
                        <a:cs typeface="+mn-cs"/>
                      </a:defRPr>
                    </a:pPr>
                    <a:r>
                      <a:rPr lang="en-US" sz="1400" b="1">
                        <a:solidFill>
                          <a:schemeClr val="accent2"/>
                        </a:solidFill>
                        <a:latin typeface="Pfizer Tomorrow" panose="02010503040201060303" pitchFamily="50" charset="0"/>
                      </a:rPr>
                      <a:t>RSV B </a:t>
                    </a:r>
                    <a:r>
                      <a:rPr lang="en-US" sz="1400" b="1" err="1">
                        <a:solidFill>
                          <a:schemeClr val="accent2"/>
                        </a:solidFill>
                        <a:latin typeface="Pfizer Tomorrow" panose="02010503040201060303" pitchFamily="50" charset="0"/>
                      </a:rPr>
                      <a:t>baskın</a:t>
                    </a:r>
                    <a:endParaRPr lang="en-US" b="1" baseline="0">
                      <a:solidFill>
                        <a:schemeClr val="accent2"/>
                      </a:solidFill>
                      <a:latin typeface="Pfizer Tomorrow" panose="02010503040201060303" pitchFamily="50" charset="0"/>
                    </a:endParaRPr>
                  </a:p>
                  <a:p>
                    <a:pPr algn="l">
                      <a:lnSpc>
                        <a:spcPct val="95000"/>
                      </a:lnSpc>
                      <a:defRPr>
                        <a:solidFill>
                          <a:schemeClr val="tx1"/>
                        </a:solidFill>
                      </a:defRPr>
                    </a:pPr>
                    <a:fld id="{68857783-7B79-4D19-9A25-9EF495FF6E69}" type="VALUE">
                      <a:rPr lang="en-US" sz="1600" b="1" i="0" u="none" strike="noStrike" kern="1200" baseline="0">
                        <a:solidFill>
                          <a:schemeClr val="accent2"/>
                        </a:solidFill>
                        <a:latin typeface="Pfizer Tomorrow" panose="02010503040201060303" pitchFamily="50" charset="0"/>
                        <a:ea typeface="+mn-ea"/>
                        <a:cs typeface="+mn-cs"/>
                      </a:rPr>
                      <a:pPr algn="l">
                        <a:lnSpc>
                          <a:spcPct val="95000"/>
                        </a:lnSpc>
                        <a:defRPr>
                          <a:solidFill>
                            <a:schemeClr val="tx1"/>
                          </a:solidFill>
                        </a:defRPr>
                      </a:pPr>
                      <a:t>[DEĞER]</a:t>
                    </a:fld>
                    <a:endParaRPr lang="tr-TR"/>
                  </a:p>
                </c:rich>
              </c:tx>
              <c:spPr>
                <a:noFill/>
                <a:ln>
                  <a:noFill/>
                </a:ln>
                <a:effectLst/>
              </c:spPr>
              <c:txPr>
                <a:bodyPr rot="0" spcFirstLastPara="1" vertOverflow="ellipsis" vert="horz" wrap="square" lIns="38100" tIns="19050" rIns="38100" bIns="19050" anchor="ctr" anchorCtr="0">
                  <a:noAutofit/>
                </a:bodyPr>
                <a:lstStyle/>
                <a:p>
                  <a:pPr algn="l">
                    <a:lnSpc>
                      <a:spcPct val="95000"/>
                    </a:lnSpc>
                    <a:defRPr sz="1197"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manualLayout>
                      <c:w val="0.32361236108790536"/>
                      <c:h val="0.32297927962106615"/>
                    </c:manualLayout>
                  </c15:layout>
                  <c15:dlblFieldTable/>
                  <c15:showDataLabelsRange val="0"/>
                </c:ext>
                <c:ext xmlns:c16="http://schemas.microsoft.com/office/drawing/2014/chart" uri="{C3380CC4-5D6E-409C-BE32-E72D297353CC}">
                  <c16:uniqueId val="{00000003-656C-431B-8C2C-2204F31D55B2}"/>
                </c:ext>
              </c:extLst>
            </c:dLbl>
            <c:dLbl>
              <c:idx val="2"/>
              <c:layout>
                <c:manualLayout>
                  <c:x val="0.21678949618402496"/>
                  <c:y val="2.0181605293383899E-2"/>
                </c:manualLayout>
              </c:layout>
              <c:tx>
                <c:rich>
                  <a:bodyPr rot="0" spcFirstLastPara="1" vertOverflow="ellipsis" vert="horz" wrap="square" lIns="38100" tIns="19050" rIns="38100" bIns="19050" anchor="ctr" anchorCtr="0">
                    <a:noAutofit/>
                  </a:bodyPr>
                  <a:lstStyle/>
                  <a:p>
                    <a:pPr algn="l">
                      <a:lnSpc>
                        <a:spcPct val="95000"/>
                      </a:lnSpc>
                      <a:defRPr sz="1197" b="0" i="0" u="none" strike="noStrike" kern="1200" baseline="0">
                        <a:solidFill>
                          <a:schemeClr val="tx1"/>
                        </a:solidFill>
                        <a:latin typeface="+mn-lt"/>
                        <a:ea typeface="+mn-ea"/>
                        <a:cs typeface="+mn-cs"/>
                      </a:defRPr>
                    </a:pPr>
                    <a:r>
                      <a:rPr lang="nl-NL" sz="1400" b="1">
                        <a:solidFill>
                          <a:srgbClr val="179A89"/>
                        </a:solidFill>
                        <a:latin typeface="Pfizer Tomorrow" panose="02010503040201060303" pitchFamily="50" charset="0"/>
                      </a:rPr>
                      <a:t>Net bir baskınlık yok</a:t>
                    </a:r>
                    <a:endParaRPr lang="nl-NL" b="1" baseline="0">
                      <a:solidFill>
                        <a:srgbClr val="179A89"/>
                      </a:solidFill>
                      <a:latin typeface="Pfizer Tomorrow" panose="02010503040201060303" pitchFamily="50" charset="0"/>
                    </a:endParaRPr>
                  </a:p>
                  <a:p>
                    <a:pPr algn="l">
                      <a:lnSpc>
                        <a:spcPct val="95000"/>
                      </a:lnSpc>
                      <a:defRPr>
                        <a:solidFill>
                          <a:schemeClr val="tx1"/>
                        </a:solidFill>
                      </a:defRPr>
                    </a:pPr>
                    <a:fld id="{7992A779-B757-4140-AFA3-7DB4ACFF3773}" type="VALUE">
                      <a:rPr lang="nl-NL" sz="1600" b="1">
                        <a:solidFill>
                          <a:srgbClr val="179A89"/>
                        </a:solidFill>
                        <a:latin typeface="Pfizer Tomorrow" panose="02010503040201060303" pitchFamily="50" charset="0"/>
                      </a:rPr>
                      <a:pPr algn="l">
                        <a:lnSpc>
                          <a:spcPct val="95000"/>
                        </a:lnSpc>
                        <a:defRPr>
                          <a:solidFill>
                            <a:schemeClr val="tx1"/>
                          </a:solidFill>
                        </a:defRPr>
                      </a:pPr>
                      <a:t>[DEĞER]</a:t>
                    </a:fld>
                    <a:endParaRPr lang="tr-TR"/>
                  </a:p>
                </c:rich>
              </c:tx>
              <c:spPr>
                <a:noFill/>
                <a:ln>
                  <a:noFill/>
                </a:ln>
                <a:effectLst/>
              </c:spPr>
              <c:txPr>
                <a:bodyPr rot="0" spcFirstLastPara="1" vertOverflow="ellipsis" vert="horz" wrap="square" lIns="38100" tIns="19050" rIns="38100" bIns="19050" anchor="ctr" anchorCtr="0">
                  <a:noAutofit/>
                </a:bodyPr>
                <a:lstStyle/>
                <a:p>
                  <a:pPr algn="l">
                    <a:lnSpc>
                      <a:spcPct val="95000"/>
                    </a:lnSpc>
                    <a:defRPr sz="1197" b="0"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layout>
                    <c:manualLayout>
                      <c:w val="0.34356584283761676"/>
                      <c:h val="0.30329319516388858"/>
                    </c:manualLayout>
                  </c15:layout>
                  <c15:dlblFieldTable/>
                  <c15:showDataLabelsRange val="0"/>
                </c:ext>
                <c:ext xmlns:c16="http://schemas.microsoft.com/office/drawing/2014/chart" uri="{C3380CC4-5D6E-409C-BE32-E72D297353CC}">
                  <c16:uniqueId val="{00000005-656C-431B-8C2C-2204F31D55B2}"/>
                </c:ext>
              </c:extLst>
            </c:dLbl>
            <c:spPr>
              <a:noFill/>
              <a:ln>
                <a:noFill/>
              </a:ln>
              <a:effectLst/>
            </c:spPr>
            <c:txPr>
              <a:bodyPr rot="0" spcFirstLastPara="1" vertOverflow="ellipsis" vert="horz" wrap="square" lIns="38100" tIns="19050" rIns="38100" bIns="19050" anchor="ctr" anchorCtr="1">
                <a:spAutoFit/>
              </a:bodyPr>
              <a:lstStyle/>
              <a:p>
                <a:pPr>
                  <a:lnSpc>
                    <a:spcPct val="95000"/>
                  </a:lnSpc>
                  <a:defRPr sz="1197"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Sheet1!$A$2:$A$4</c:f>
              <c:strCache>
                <c:ptCount val="3"/>
                <c:pt idx="0">
                  <c:v>RSV A predominant</c:v>
                </c:pt>
                <c:pt idx="1">
                  <c:v>RSV B predominant</c:v>
                </c:pt>
                <c:pt idx="2">
                  <c:v>No clear predominance</c:v>
                </c:pt>
              </c:strCache>
            </c:strRef>
          </c:cat>
          <c:val>
            <c:numRef>
              <c:f>Sheet1!$B$2:$B$4</c:f>
              <c:numCache>
                <c:formatCode>0%</c:formatCode>
                <c:ptCount val="3"/>
                <c:pt idx="0">
                  <c:v>0.55000000000000004</c:v>
                </c:pt>
                <c:pt idx="1">
                  <c:v>0.36</c:v>
                </c:pt>
                <c:pt idx="2">
                  <c:v>0.1</c:v>
                </c:pt>
              </c:numCache>
            </c:numRef>
          </c:val>
          <c:extLst>
            <c:ext xmlns:c16="http://schemas.microsoft.com/office/drawing/2014/chart" uri="{C3380CC4-5D6E-409C-BE32-E72D297353CC}">
              <c16:uniqueId val="{00000006-656C-431B-8C2C-2204F31D55B2}"/>
            </c:ext>
          </c:extLst>
        </c:ser>
        <c:dLbls>
          <c:showLegendKey val="0"/>
          <c:showVal val="1"/>
          <c:showCatName val="0"/>
          <c:showSerName val="0"/>
          <c:showPercent val="0"/>
          <c:showBubbleSize val="0"/>
          <c:showLeaderLines val="0"/>
        </c:dLbls>
        <c:firstSliceAng val="145"/>
        <c:holeSize val="8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460961879417767"/>
          <c:y val="0.24218440838939453"/>
          <c:w val="0.31078076241164471"/>
          <c:h val="0.7552105730483476"/>
        </c:manualLayout>
      </c:layout>
      <c:doughnutChart>
        <c:varyColors val="1"/>
        <c:ser>
          <c:idx val="0"/>
          <c:order val="0"/>
          <c:tx>
            <c:strRef>
              <c:f>Sheet1!$B$1</c:f>
              <c:strCache>
                <c:ptCount val="1"/>
                <c:pt idx="0">
                  <c:v>% of Season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F24-4A0B-B75D-B725B546BD5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F24-4A0B-B75D-B725B546BD5E}"/>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8F24-4A0B-B75D-B725B546BD5E}"/>
              </c:ext>
            </c:extLst>
          </c:dPt>
          <c:dLbls>
            <c:dLbl>
              <c:idx val="0"/>
              <c:layout>
                <c:manualLayout>
                  <c:x val="0.17029285890340357"/>
                  <c:y val="-7.0359526837132048E-3"/>
                </c:manualLayout>
              </c:layout>
              <c:tx>
                <c:rich>
                  <a:bodyPr/>
                  <a:lstStyle/>
                  <a:p>
                    <a:r>
                      <a:rPr lang="en-US" sz="1400" b="1">
                        <a:solidFill>
                          <a:schemeClr val="accent1"/>
                        </a:solidFill>
                        <a:latin typeface="Pfizer Tomorrow" panose="02010503040201060303" pitchFamily="50" charset="0"/>
                      </a:rPr>
                      <a:t>RSV A </a:t>
                    </a:r>
                    <a:r>
                      <a:rPr lang="en-US" sz="1400" b="1" err="1">
                        <a:solidFill>
                          <a:schemeClr val="accent1"/>
                        </a:solidFill>
                        <a:latin typeface="Pfizer Tomorrow" panose="02010503040201060303" pitchFamily="50" charset="0"/>
                      </a:rPr>
                      <a:t>daha</a:t>
                    </a:r>
                    <a:r>
                      <a:rPr lang="en-US" sz="1400" b="1">
                        <a:solidFill>
                          <a:schemeClr val="accent1"/>
                        </a:solidFill>
                        <a:latin typeface="Pfizer Tomorrow" panose="02010503040201060303" pitchFamily="50" charset="0"/>
                      </a:rPr>
                      <a:t> </a:t>
                    </a:r>
                    <a:r>
                      <a:rPr lang="en-US" sz="1400" b="1" err="1">
                        <a:solidFill>
                          <a:schemeClr val="accent1"/>
                        </a:solidFill>
                        <a:latin typeface="Pfizer Tomorrow" panose="02010503040201060303" pitchFamily="50" charset="0"/>
                      </a:rPr>
                      <a:t>şiddetli</a:t>
                    </a:r>
                    <a:endParaRPr lang="en-US" b="1" baseline="0">
                      <a:solidFill>
                        <a:schemeClr val="accent1"/>
                      </a:solidFill>
                      <a:latin typeface="Pfizer Tomorrow" panose="02010503040201060303" pitchFamily="50" charset="0"/>
                    </a:endParaRPr>
                  </a:p>
                  <a:p>
                    <a:r>
                      <a:rPr lang="en-US" sz="1600" b="1" i="0" u="none" strike="noStrike" kern="1200" baseline="0">
                        <a:solidFill>
                          <a:schemeClr val="accent1"/>
                        </a:solidFill>
                        <a:latin typeface="Pfizer Tomorrow" panose="02010503040201060303" pitchFamily="50" charset="0"/>
                        <a:ea typeface="+mn-ea"/>
                        <a:cs typeface="+mn-cs"/>
                      </a:rPr>
                      <a:t>%30</a:t>
                    </a:r>
                    <a:endParaRPr lang="en-US" b="1">
                      <a:solidFill>
                        <a:schemeClr val="accent1"/>
                      </a:solidFill>
                      <a:latin typeface="Pfizer Tomorrow" panose="02010503040201060303" pitchFamily="50" charset="0"/>
                    </a:endParaRPr>
                  </a:p>
                </c:rich>
              </c:tx>
              <c:showLegendKey val="0"/>
              <c:showVal val="1"/>
              <c:showCatName val="1"/>
              <c:showSerName val="0"/>
              <c:showPercent val="0"/>
              <c:showBubbleSize val="0"/>
              <c:separator>
</c:separator>
              <c:extLst>
                <c:ext xmlns:c15="http://schemas.microsoft.com/office/drawing/2012/chart" uri="{CE6537A1-D6FC-4f65-9D91-7224C49458BB}">
                  <c15:layout>
                    <c:manualLayout>
                      <c:w val="0.29489793631943362"/>
                      <c:h val="0.24423494179235594"/>
                    </c:manualLayout>
                  </c15:layout>
                  <c15:showDataLabelsRange val="0"/>
                </c:ext>
                <c:ext xmlns:c16="http://schemas.microsoft.com/office/drawing/2014/chart" uri="{C3380CC4-5D6E-409C-BE32-E72D297353CC}">
                  <c16:uniqueId val="{00000001-8F24-4A0B-B75D-B725B546BD5E}"/>
                </c:ext>
              </c:extLst>
            </c:dLbl>
            <c:dLbl>
              <c:idx val="1"/>
              <c:layout>
                <c:manualLayout>
                  <c:x val="0.17365390217123386"/>
                  <c:y val="9.2518281510162975E-2"/>
                </c:manualLayout>
              </c:layout>
              <c:tx>
                <c:rich>
                  <a:bodyPr rot="0" spcFirstLastPara="1" vertOverflow="ellipsis" vert="horz" wrap="square" lIns="38100" tIns="19050" rIns="38100" bIns="19050" anchor="ctr" anchorCtr="1">
                    <a:spAutoFit/>
                  </a:bodyPr>
                  <a:lstStyle/>
                  <a:p>
                    <a:pPr>
                      <a:lnSpc>
                        <a:spcPct val="95000"/>
                      </a:lnSpc>
                      <a:defRPr lang="en-US" sz="1400" b="0" i="0" u="none" strike="noStrike" kern="1200" baseline="0" smtClean="0">
                        <a:solidFill>
                          <a:schemeClr val="tx1"/>
                        </a:solidFill>
                        <a:latin typeface="Calibri" panose="020F0502020204030204" pitchFamily="34" charset="0"/>
                        <a:ea typeface="+mn-ea"/>
                        <a:cs typeface="Calibri" panose="020F0502020204030204" pitchFamily="34" charset="0"/>
                      </a:defRPr>
                    </a:pPr>
                    <a:r>
                      <a:rPr lang="en-US" sz="1400" b="1">
                        <a:solidFill>
                          <a:schemeClr val="accent2"/>
                        </a:solidFill>
                        <a:latin typeface="Pfizer Tomorrow" panose="02010503040201060303" pitchFamily="50" charset="0"/>
                        <a:cs typeface="Calibri" panose="020F0502020204030204" pitchFamily="34" charset="0"/>
                      </a:rPr>
                      <a:t>RSV B </a:t>
                    </a:r>
                    <a:r>
                      <a:rPr lang="en-US" sz="1400" b="1" err="1">
                        <a:solidFill>
                          <a:schemeClr val="accent2"/>
                        </a:solidFill>
                        <a:latin typeface="Pfizer Tomorrow" panose="02010503040201060303" pitchFamily="50" charset="0"/>
                        <a:cs typeface="Calibri" panose="020F0502020204030204" pitchFamily="34" charset="0"/>
                      </a:rPr>
                      <a:t>daha</a:t>
                    </a:r>
                    <a:r>
                      <a:rPr lang="en-US" sz="1400" b="1">
                        <a:solidFill>
                          <a:schemeClr val="accent2"/>
                        </a:solidFill>
                        <a:latin typeface="Pfizer Tomorrow" panose="02010503040201060303" pitchFamily="50" charset="0"/>
                        <a:cs typeface="Calibri" panose="020F0502020204030204" pitchFamily="34" charset="0"/>
                      </a:rPr>
                      <a:t> </a:t>
                    </a:r>
                    <a:r>
                      <a:rPr lang="en-US" sz="1400" b="1" err="1">
                        <a:solidFill>
                          <a:schemeClr val="accent2"/>
                        </a:solidFill>
                        <a:latin typeface="Pfizer Tomorrow" panose="02010503040201060303" pitchFamily="50" charset="0"/>
                        <a:cs typeface="Calibri" panose="020F0502020204030204" pitchFamily="34" charset="0"/>
                      </a:rPr>
                      <a:t>şiddetli</a:t>
                    </a:r>
                    <a:r>
                      <a:rPr lang="en-US" sz="1400" b="1">
                        <a:solidFill>
                          <a:schemeClr val="accent2"/>
                        </a:solidFill>
                        <a:latin typeface="Pfizer Tomorrow" panose="02010503040201060303" pitchFamily="50" charset="0"/>
                        <a:cs typeface="Calibri" panose="020F0502020204030204" pitchFamily="34" charset="0"/>
                      </a:rPr>
                      <a:t>
%4</a:t>
                    </a:r>
                    <a:endParaRPr lang="en-US" b="1">
                      <a:solidFill>
                        <a:schemeClr val="accent2"/>
                      </a:solidFill>
                      <a:latin typeface="Pfizer Tomorrow" panose="02010503040201060303" pitchFamily="50" charset="0"/>
                      <a:cs typeface="Calibri" panose="020F0502020204030204" pitchFamily="34" charset="0"/>
                    </a:endParaRPr>
                  </a:p>
                </c:rich>
              </c:tx>
              <c:spPr>
                <a:noFill/>
                <a:ln>
                  <a:noFill/>
                </a:ln>
                <a:effectLst/>
              </c:spPr>
              <c:txPr>
                <a:bodyPr rot="0" spcFirstLastPara="1" vertOverflow="ellipsis" vert="horz" wrap="square" lIns="38100" tIns="19050" rIns="38100" bIns="19050" anchor="ctr" anchorCtr="1">
                  <a:spAutoFit/>
                </a:bodyPr>
                <a:lstStyle/>
                <a:p>
                  <a:pPr>
                    <a:lnSpc>
                      <a:spcPct val="95000"/>
                    </a:lnSpc>
                    <a:defRPr lang="en-US" sz="1400" b="0" i="0" u="none" strike="noStrike" kern="1200" baseline="0" smtClean="0">
                      <a:solidFill>
                        <a:schemeClr val="tx1"/>
                      </a:solidFill>
                      <a:latin typeface="Calibri" panose="020F0502020204030204" pitchFamily="34" charset="0"/>
                      <a:ea typeface="+mn-ea"/>
                      <a:cs typeface="Calibri" panose="020F0502020204030204" pitchFamily="34" charset="0"/>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manualLayout>
                      <c:w val="0.30759156461063153"/>
                      <c:h val="0.24423494179235594"/>
                    </c:manualLayout>
                  </c15:layout>
                  <c15:showDataLabelsRange val="0"/>
                </c:ext>
                <c:ext xmlns:c16="http://schemas.microsoft.com/office/drawing/2014/chart" uri="{C3380CC4-5D6E-409C-BE32-E72D297353CC}">
                  <c16:uniqueId val="{00000003-8F24-4A0B-B75D-B725B546BD5E}"/>
                </c:ext>
              </c:extLst>
            </c:dLbl>
            <c:dLbl>
              <c:idx val="2"/>
              <c:layout>
                <c:manualLayout>
                  <c:x val="-0.18820609137681599"/>
                  <c:y val="-0.14551659798093919"/>
                </c:manualLayout>
              </c:layout>
              <c:tx>
                <c:rich>
                  <a:bodyPr rot="0" spcFirstLastPara="1" vertOverflow="ellipsis" vert="horz" wrap="square" lIns="38100" tIns="19050" rIns="38100" bIns="19050" anchor="ctr" anchorCtr="0">
                    <a:noAutofit/>
                  </a:bodyPr>
                  <a:lstStyle/>
                  <a:p>
                    <a:pPr algn="r">
                      <a:lnSpc>
                        <a:spcPct val="95000"/>
                      </a:lnSpc>
                      <a:defRPr sz="1197" b="0" i="0" u="none" strike="noStrike" kern="1200" baseline="0">
                        <a:solidFill>
                          <a:schemeClr val="tx1"/>
                        </a:solidFill>
                        <a:latin typeface="Calibri" panose="020F0502020204030204" pitchFamily="34" charset="0"/>
                        <a:ea typeface="+mn-ea"/>
                        <a:cs typeface="Calibri" panose="020F0502020204030204" pitchFamily="34" charset="0"/>
                      </a:defRPr>
                    </a:pPr>
                    <a:r>
                      <a:rPr lang="en-US" sz="1600" b="1" err="1">
                        <a:solidFill>
                          <a:srgbClr val="179A89"/>
                        </a:solidFill>
                        <a:latin typeface="Pfizer Tomorrow" panose="02010503040201060303" pitchFamily="50" charset="0"/>
                        <a:cs typeface="Calibri" panose="020F0502020204030204" pitchFamily="34" charset="0"/>
                      </a:rPr>
                      <a:t>Önem</a:t>
                    </a:r>
                    <a:r>
                      <a:rPr lang="en-US" sz="1600" b="1">
                        <a:solidFill>
                          <a:srgbClr val="179A89"/>
                        </a:solidFill>
                        <a:latin typeface="Pfizer Tomorrow" panose="02010503040201060303" pitchFamily="50" charset="0"/>
                        <a:cs typeface="Calibri" panose="020F0502020204030204" pitchFamily="34" charset="0"/>
                      </a:rPr>
                      <a:t> </a:t>
                    </a:r>
                    <a:r>
                      <a:rPr lang="en-US" sz="1600" b="1" err="1">
                        <a:solidFill>
                          <a:srgbClr val="179A89"/>
                        </a:solidFill>
                        <a:latin typeface="Pfizer Tomorrow" panose="02010503040201060303" pitchFamily="50" charset="0"/>
                        <a:cs typeface="Calibri" panose="020F0502020204030204" pitchFamily="34" charset="0"/>
                      </a:rPr>
                      <a:t>derecesi</a:t>
                    </a:r>
                    <a:r>
                      <a:rPr lang="en-US" sz="1600" b="1">
                        <a:solidFill>
                          <a:srgbClr val="179A89"/>
                        </a:solidFill>
                        <a:latin typeface="Pfizer Tomorrow" panose="02010503040201060303" pitchFamily="50" charset="0"/>
                        <a:cs typeface="Calibri" panose="020F0502020204030204" pitchFamily="34" charset="0"/>
                      </a:rPr>
                      <a:t> </a:t>
                    </a:r>
                    <a:r>
                      <a:rPr lang="en-US" sz="1600" b="1" err="1">
                        <a:solidFill>
                          <a:srgbClr val="179A89"/>
                        </a:solidFill>
                        <a:latin typeface="Pfizer Tomorrow" panose="02010503040201060303" pitchFamily="50" charset="0"/>
                        <a:cs typeface="Calibri" panose="020F0502020204030204" pitchFamily="34" charset="0"/>
                      </a:rPr>
                      <a:t>benzer</a:t>
                    </a:r>
                    <a:endParaRPr lang="en-US" sz="1600" b="1" baseline="0">
                      <a:solidFill>
                        <a:srgbClr val="179A89"/>
                      </a:solidFill>
                      <a:latin typeface="Pfizer Tomorrow" panose="02010503040201060303" pitchFamily="50" charset="0"/>
                      <a:cs typeface="Calibri" panose="020F0502020204030204" pitchFamily="34" charset="0"/>
                    </a:endParaRPr>
                  </a:p>
                  <a:p>
                    <a:pPr algn="r">
                      <a:lnSpc>
                        <a:spcPct val="95000"/>
                      </a:lnSpc>
                      <a:defRPr>
                        <a:solidFill>
                          <a:schemeClr val="tx1"/>
                        </a:solidFill>
                        <a:latin typeface="Calibri" panose="020F0502020204030204" pitchFamily="34" charset="0"/>
                        <a:cs typeface="Calibri" panose="020F0502020204030204" pitchFamily="34" charset="0"/>
                      </a:defRPr>
                    </a:pPr>
                    <a:r>
                      <a:rPr lang="en-US" sz="3200" b="1" i="0" u="none" strike="noStrike" kern="1200" baseline="0">
                        <a:solidFill>
                          <a:srgbClr val="179A89"/>
                        </a:solidFill>
                        <a:latin typeface="Pfizer Tomorrow" panose="02010503040201060303" pitchFamily="50" charset="0"/>
                        <a:ea typeface="+mn-ea"/>
                        <a:cs typeface="Calibri" panose="020F0502020204030204" pitchFamily="34" charset="0"/>
                      </a:rPr>
                      <a:t>%63</a:t>
                    </a:r>
                    <a:endParaRPr lang="en-US" sz="3200" b="1">
                      <a:solidFill>
                        <a:srgbClr val="179A89"/>
                      </a:solidFill>
                      <a:latin typeface="Pfizer Tomorrow" panose="02010503040201060303" pitchFamily="50" charset="0"/>
                      <a:cs typeface="Calibri" panose="020F0502020204030204" pitchFamily="34" charset="0"/>
                    </a:endParaRPr>
                  </a:p>
                </c:rich>
              </c:tx>
              <c:spPr>
                <a:noFill/>
                <a:ln>
                  <a:noFill/>
                </a:ln>
                <a:effectLst/>
              </c:spPr>
              <c:txPr>
                <a:bodyPr rot="0" spcFirstLastPara="1" vertOverflow="ellipsis" vert="horz" wrap="square" lIns="38100" tIns="19050" rIns="38100" bIns="19050" anchor="ctr" anchorCtr="0">
                  <a:noAutofit/>
                </a:bodyPr>
                <a:lstStyle/>
                <a:p>
                  <a:pPr algn="r">
                    <a:lnSpc>
                      <a:spcPct val="95000"/>
                    </a:lnSpc>
                    <a:defRPr sz="1197" b="0"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manualLayout>
                      <c:w val="0.30917123004813896"/>
                      <c:h val="0.51559572565080258"/>
                    </c:manualLayout>
                  </c15:layout>
                  <c15:showDataLabelsRange val="0"/>
                </c:ext>
                <c:ext xmlns:c16="http://schemas.microsoft.com/office/drawing/2014/chart" uri="{C3380CC4-5D6E-409C-BE32-E72D297353CC}">
                  <c16:uniqueId val="{00000005-8F24-4A0B-B75D-B725B546BD5E}"/>
                </c:ext>
              </c:extLst>
            </c:dLbl>
            <c:spPr>
              <a:noFill/>
              <a:ln>
                <a:noFill/>
              </a:ln>
              <a:effectLst/>
            </c:spPr>
            <c:txPr>
              <a:bodyPr rot="0" spcFirstLastPara="1" vertOverflow="ellipsis" vert="horz" wrap="square" lIns="38100" tIns="19050" rIns="38100" bIns="19050" anchor="ctr" anchorCtr="1">
                <a:spAutoFit/>
              </a:bodyPr>
              <a:lstStyle/>
              <a:p>
                <a:pPr>
                  <a:lnSpc>
                    <a:spcPct val="95000"/>
                  </a:lnSpc>
                  <a:defRPr sz="1197" b="0"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Sheet1!$A$2:$A$4</c:f>
              <c:strCache>
                <c:ptCount val="3"/>
                <c:pt idx="0">
                  <c:v>RSV A more severe</c:v>
                </c:pt>
                <c:pt idx="1">
                  <c:v>RSV B more severe</c:v>
                </c:pt>
                <c:pt idx="2">
                  <c:v>Severity similar</c:v>
                </c:pt>
              </c:strCache>
            </c:strRef>
          </c:cat>
          <c:val>
            <c:numRef>
              <c:f>Sheet1!$B$2:$B$4</c:f>
              <c:numCache>
                <c:formatCode>0%</c:formatCode>
                <c:ptCount val="3"/>
                <c:pt idx="0">
                  <c:v>0.3</c:v>
                </c:pt>
                <c:pt idx="1">
                  <c:v>0.04</c:v>
                </c:pt>
                <c:pt idx="2">
                  <c:v>0.63</c:v>
                </c:pt>
              </c:numCache>
            </c:numRef>
          </c:val>
          <c:extLst>
            <c:ext xmlns:c16="http://schemas.microsoft.com/office/drawing/2014/chart" uri="{C3380CC4-5D6E-409C-BE32-E72D297353CC}">
              <c16:uniqueId val="{00000006-8F24-4A0B-B75D-B725B546BD5E}"/>
            </c:ext>
          </c:extLst>
        </c:ser>
        <c:dLbls>
          <c:showLegendKey val="0"/>
          <c:showVal val="1"/>
          <c:showCatName val="0"/>
          <c:showSerName val="0"/>
          <c:showPercent val="0"/>
          <c:showBubbleSize val="0"/>
          <c:showLeaderLines val="0"/>
        </c:dLbls>
        <c:firstSliceAng val="0"/>
        <c:holeSize val="8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824146981627293E-2"/>
          <c:y val="7.5943217029098661E-2"/>
          <c:w val="0.89970363079615046"/>
          <c:h val="0.78379272709543846"/>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10"/>
            <c:spPr>
              <a:solidFill>
                <a:schemeClr val="accent1"/>
              </a:solidFill>
              <a:ln w="9525">
                <a:noFill/>
              </a:ln>
              <a:effectLst/>
            </c:spPr>
          </c:marker>
          <c:dPt>
            <c:idx val="3"/>
            <c:marker>
              <c:spPr>
                <a:solidFill>
                  <a:schemeClr val="accent2"/>
                </a:solidFill>
                <a:ln w="9525">
                  <a:noFill/>
                </a:ln>
                <a:effectLst/>
              </c:spPr>
            </c:marker>
            <c:bubble3D val="0"/>
            <c:extLst>
              <c:ext xmlns:c16="http://schemas.microsoft.com/office/drawing/2014/chart" uri="{C3380CC4-5D6E-409C-BE32-E72D297353CC}">
                <c16:uniqueId val="{0000000A-11B9-4167-8C07-42AD44D54C47}"/>
              </c:ext>
            </c:extLst>
          </c:dPt>
          <c:dPt>
            <c:idx val="4"/>
            <c:marker>
              <c:spPr>
                <a:solidFill>
                  <a:schemeClr val="accent2"/>
                </a:solidFill>
                <a:ln w="9525">
                  <a:noFill/>
                </a:ln>
                <a:effectLst/>
              </c:spPr>
            </c:marker>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DD46-4CB3-912E-95C2D063A704}"/>
              </c:ext>
            </c:extLst>
          </c:dPt>
          <c:dPt>
            <c:idx val="5"/>
            <c:marker>
              <c:spPr>
                <a:solidFill>
                  <a:schemeClr val="accent2"/>
                </a:solidFill>
                <a:ln w="9525">
                  <a:noFill/>
                </a:ln>
                <a:effectLst/>
              </c:spPr>
            </c:marker>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DD46-4CB3-912E-95C2D063A704}"/>
              </c:ext>
            </c:extLst>
          </c:dPt>
          <c:dPt>
            <c:idx val="6"/>
            <c:marker>
              <c:spPr>
                <a:solidFill>
                  <a:schemeClr val="accent5"/>
                </a:solidFill>
                <a:ln w="9525">
                  <a:noFill/>
                </a:ln>
                <a:effectLst/>
              </c:spPr>
            </c:marker>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DD46-4CB3-912E-95C2D063A704}"/>
              </c:ext>
            </c:extLst>
          </c:dPt>
          <c:dPt>
            <c:idx val="7"/>
            <c:marker>
              <c:spPr>
                <a:solidFill>
                  <a:schemeClr val="accent5"/>
                </a:solidFill>
                <a:ln w="9525">
                  <a:noFill/>
                </a:ln>
                <a:effectLst/>
              </c:spPr>
            </c:marker>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DD46-4CB3-912E-95C2D063A704}"/>
              </c:ext>
            </c:extLst>
          </c:dPt>
          <c:dPt>
            <c:idx val="8"/>
            <c:marker>
              <c:spPr>
                <a:solidFill>
                  <a:schemeClr val="accent5"/>
                </a:solidFill>
                <a:ln w="9525">
                  <a:noFill/>
                </a:ln>
                <a:effectLst/>
              </c:spPr>
            </c:marker>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4-DD46-4CB3-912E-95C2D063A704}"/>
              </c:ext>
            </c:extLst>
          </c:dPt>
          <c:dPt>
            <c:idx val="10"/>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5-DD46-4CB3-912E-95C2D063A704}"/>
              </c:ext>
            </c:extLst>
          </c:dPt>
          <c:dPt>
            <c:idx val="11"/>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6-DD46-4CB3-912E-95C2D063A704}"/>
              </c:ext>
            </c:extLst>
          </c:dPt>
          <c:dPt>
            <c:idx val="12"/>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7-DD46-4CB3-912E-95C2D063A704}"/>
              </c:ext>
            </c:extLst>
          </c:dPt>
          <c:dPt>
            <c:idx val="13"/>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8-DD46-4CB3-912E-95C2D063A704}"/>
              </c:ext>
            </c:extLst>
          </c:dPt>
          <c:dPt>
            <c:idx val="14"/>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9-DD46-4CB3-912E-95C2D063A704}"/>
              </c:ext>
            </c:extLst>
          </c:dPt>
          <c:errBars>
            <c:errDir val="x"/>
            <c:errBarType val="both"/>
            <c:errValType val="cust"/>
            <c:noEndCap val="0"/>
            <c:plus>
              <c:numRef>
                <c:f>Sheet1!$E$2:$E$10</c:f>
                <c:numCache>
                  <c:formatCode>General</c:formatCode>
                  <c:ptCount val="9"/>
                  <c:pt idx="0">
                    <c:v>9.7999999999999972</c:v>
                  </c:pt>
                  <c:pt idx="1">
                    <c:v>13.299999999999997</c:v>
                  </c:pt>
                  <c:pt idx="2">
                    <c:v>10.099999999999994</c:v>
                  </c:pt>
                  <c:pt idx="3">
                    <c:v>19.599999999999994</c:v>
                  </c:pt>
                  <c:pt idx="4">
                    <c:v>13.400000000000006</c:v>
                  </c:pt>
                  <c:pt idx="5">
                    <c:v>12.800000000000011</c:v>
                  </c:pt>
                  <c:pt idx="6">
                    <c:v>8.0999999999999943</c:v>
                  </c:pt>
                  <c:pt idx="7">
                    <c:v>17.900000000000006</c:v>
                  </c:pt>
                  <c:pt idx="8">
                    <c:v>11</c:v>
                  </c:pt>
                </c:numCache>
              </c:numRef>
            </c:plus>
            <c:minus>
              <c:numRef>
                <c:f>Sheet1!$D$2:$D$10</c:f>
                <c:numCache>
                  <c:formatCode>General</c:formatCode>
                  <c:ptCount val="9"/>
                  <c:pt idx="0">
                    <c:v>35.300000000000004</c:v>
                  </c:pt>
                  <c:pt idx="1">
                    <c:v>26.4</c:v>
                  </c:pt>
                  <c:pt idx="2">
                    <c:v>18.200000000000003</c:v>
                  </c:pt>
                  <c:pt idx="3">
                    <c:v>158.69999999999999</c:v>
                  </c:pt>
                  <c:pt idx="4">
                    <c:v>31.699999999999996</c:v>
                  </c:pt>
                  <c:pt idx="5">
                    <c:v>27.699999999999996</c:v>
                  </c:pt>
                  <c:pt idx="6">
                    <c:v>48</c:v>
                  </c:pt>
                  <c:pt idx="7">
                    <c:v>73.900000000000006</c:v>
                  </c:pt>
                  <c:pt idx="8">
                    <c:v>31.800000000000004</c:v>
                  </c:pt>
                </c:numCache>
              </c:numRef>
            </c:minus>
            <c:spPr>
              <a:noFill/>
              <a:ln w="12700" cap="flat" cmpd="sng" algn="ctr">
                <a:solidFill>
                  <a:schemeClr val="tx1"/>
                </a:solidFill>
                <a:round/>
              </a:ln>
              <a:effectLst/>
            </c:spPr>
          </c:errBars>
          <c:xVal>
            <c:numRef>
              <c:f>Sheet1!$A$2:$A$10</c:f>
              <c:numCache>
                <c:formatCode>0.0</c:formatCode>
                <c:ptCount val="9"/>
                <c:pt idx="0">
                  <c:v>88.9</c:v>
                </c:pt>
                <c:pt idx="1">
                  <c:v>77.8</c:v>
                </c:pt>
                <c:pt idx="2">
                  <c:v>81.5</c:v>
                </c:pt>
                <c:pt idx="3">
                  <c:v>80</c:v>
                </c:pt>
                <c:pt idx="4">
                  <c:v>80.8</c:v>
                </c:pt>
                <c:pt idx="5">
                  <c:v>80.599999999999994</c:v>
                </c:pt>
                <c:pt idx="6">
                  <c:v>91.7</c:v>
                </c:pt>
                <c:pt idx="7">
                  <c:v>80</c:v>
                </c:pt>
                <c:pt idx="8">
                  <c:v>86.4</c:v>
                </c:pt>
              </c:numCache>
            </c:numRef>
          </c:xVal>
          <c:yVal>
            <c:numRef>
              <c:f>Sheet1!$B$2:$B$10</c:f>
              <c:numCache>
                <c:formatCode>0</c:formatCode>
                <c:ptCount val="9"/>
                <c:pt idx="0">
                  <c:v>9</c:v>
                </c:pt>
                <c:pt idx="1">
                  <c:v>8</c:v>
                </c:pt>
                <c:pt idx="2">
                  <c:v>7</c:v>
                </c:pt>
                <c:pt idx="3">
                  <c:v>6</c:v>
                </c:pt>
                <c:pt idx="4">
                  <c:v>5</c:v>
                </c:pt>
                <c:pt idx="5">
                  <c:v>4</c:v>
                </c:pt>
                <c:pt idx="6">
                  <c:v>3</c:v>
                </c:pt>
                <c:pt idx="7">
                  <c:v>2</c:v>
                </c:pt>
                <c:pt idx="8">
                  <c:v>1</c:v>
                </c:pt>
              </c:numCache>
            </c:numRef>
          </c:yVal>
          <c:smooth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A-DD46-4CB3-912E-95C2D063A704}"/>
            </c:ext>
          </c:extLst>
        </c:ser>
        <c:ser>
          <c:idx val="1"/>
          <c:order val="1"/>
          <c:tx>
            <c:strRef>
              <c:f>Sheet1!$C$1</c:f>
              <c:strCache>
                <c:ptCount val="1"/>
                <c:pt idx="0">
                  <c:v>Column1</c:v>
                </c:pt>
              </c:strCache>
            </c:strRef>
          </c:tx>
          <c:spPr>
            <a:ln w="19050">
              <a:noFill/>
            </a:ln>
          </c:spPr>
          <c:marker>
            <c:symbol val="none"/>
          </c:marker>
          <c:dLbls>
            <c:numFmt formatCode="#,##0" sourceLinked="0"/>
            <c:spPr>
              <a:noFill/>
              <a:ln>
                <a:noFill/>
              </a:ln>
              <a:effectLst/>
            </c:spPr>
            <c:txPr>
              <a:bodyPr wrap="square" lIns="38100" tIns="19050" rIns="38100" bIns="19050" anchor="ctr">
                <a:spAutoFit/>
              </a:bodyPr>
              <a:lstStyle/>
              <a:p>
                <a:pPr>
                  <a:defRPr sz="1400"/>
                </a:pPr>
                <a:endParaRPr lang="en-US"/>
              </a:p>
            </c:txPr>
            <c:dLblPos val="b"/>
            <c:showLegendKey val="0"/>
            <c:showVal val="0"/>
            <c:showCatName val="1"/>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ext>
            </c:extLst>
          </c:dLbls>
          <c:xVal>
            <c:numRef>
              <c:f>Sheet1!$A$2:$A$10</c:f>
              <c:numCache>
                <c:formatCode>0.0</c:formatCode>
                <c:ptCount val="9"/>
                <c:pt idx="0">
                  <c:v>88.9</c:v>
                </c:pt>
                <c:pt idx="1">
                  <c:v>77.8</c:v>
                </c:pt>
                <c:pt idx="2">
                  <c:v>81.5</c:v>
                </c:pt>
                <c:pt idx="3">
                  <c:v>80</c:v>
                </c:pt>
                <c:pt idx="4">
                  <c:v>80.8</c:v>
                </c:pt>
                <c:pt idx="5">
                  <c:v>80.599999999999994</c:v>
                </c:pt>
                <c:pt idx="6">
                  <c:v>91.7</c:v>
                </c:pt>
                <c:pt idx="7">
                  <c:v>80</c:v>
                </c:pt>
                <c:pt idx="8">
                  <c:v>86.4</c:v>
                </c:pt>
              </c:numCache>
            </c:numRef>
          </c:xVal>
          <c:yVal>
            <c:numRef>
              <c:f>Sheet1!$C$2:$C$10</c:f>
              <c:numCache>
                <c:formatCode>General</c:formatCode>
                <c:ptCount val="9"/>
              </c:numCache>
            </c:numRef>
          </c:yVal>
          <c:smooth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B-DD46-4CB3-912E-95C2D063A704}"/>
            </c:ext>
          </c:extLst>
        </c:ser>
        <c:dLbls>
          <c:showLegendKey val="0"/>
          <c:showVal val="0"/>
          <c:showCatName val="0"/>
          <c:showSerName val="0"/>
          <c:showPercent val="0"/>
          <c:showBubbleSize val="0"/>
        </c:dLbls>
        <c:axId val="193075456"/>
        <c:axId val="193081344"/>
      </c:scatterChart>
      <c:valAx>
        <c:axId val="193075456"/>
        <c:scaling>
          <c:orientation val="minMax"/>
          <c:max val="100"/>
          <c:min val="-20"/>
        </c:scaling>
        <c:delete val="0"/>
        <c:axPos val="b"/>
        <c:title>
          <c:tx>
            <c:rich>
              <a:bodyPr/>
              <a:lstStyle/>
              <a:p>
                <a:pPr>
                  <a:defRPr sz="1200">
                    <a:latin typeface="+mn-lt"/>
                  </a:defRPr>
                </a:pPr>
                <a:r>
                  <a:rPr lang="en-US" sz="1200" err="1">
                    <a:latin typeface="+mn-lt"/>
                  </a:rPr>
                  <a:t>Aşı</a:t>
                </a:r>
                <a:r>
                  <a:rPr lang="en-US" sz="1200" baseline="0">
                    <a:latin typeface="+mn-lt"/>
                  </a:rPr>
                  <a:t> </a:t>
                </a:r>
                <a:r>
                  <a:rPr lang="en-US" sz="1200" baseline="0" err="1">
                    <a:latin typeface="+mn-lt"/>
                  </a:rPr>
                  <a:t>Etkinliği</a:t>
                </a:r>
                <a:r>
                  <a:rPr lang="tr-TR" sz="1200" baseline="0">
                    <a:latin typeface="+mn-lt"/>
                  </a:rPr>
                  <a:t> </a:t>
                </a:r>
                <a:r>
                  <a:rPr lang="en-US" sz="1200">
                    <a:latin typeface="+mn-lt"/>
                  </a:rPr>
                  <a:t>(%, %95 CI)</a:t>
                </a:r>
              </a:p>
            </c:rich>
          </c:tx>
          <c:overlay val="0"/>
        </c:title>
        <c:numFmt formatCode="0" sourceLinked="0"/>
        <c:majorTickMark val="out"/>
        <c:minorTickMark val="none"/>
        <c:tickLblPos val="nextTo"/>
        <c:spPr>
          <a:noFill/>
          <a:ln w="12700" cap="flat" cmpd="sng" algn="ctr">
            <a:solidFill>
              <a:schemeClr val="bg1">
                <a:lumMod val="65000"/>
              </a:schemeClr>
            </a:solidFill>
            <a:round/>
          </a:ln>
          <a:effectLst/>
        </c:spPr>
        <c:txPr>
          <a:bodyPr rot="-60000000" vert="horz"/>
          <a:lstStyle/>
          <a:p>
            <a:pPr>
              <a:defRPr sz="1200">
                <a:latin typeface="+mn-lt"/>
              </a:defRPr>
            </a:pPr>
            <a:endParaRPr lang="en-US"/>
          </a:p>
        </c:txPr>
        <c:crossAx val="193081344"/>
        <c:crosses val="autoZero"/>
        <c:crossBetween val="midCat"/>
        <c:majorUnit val="20"/>
      </c:valAx>
      <c:valAx>
        <c:axId val="193081344"/>
        <c:scaling>
          <c:orientation val="minMax"/>
          <c:max val="9.5"/>
          <c:min val="0.5"/>
        </c:scaling>
        <c:delete val="0"/>
        <c:axPos val="l"/>
        <c:numFmt formatCode="0" sourceLinked="1"/>
        <c:majorTickMark val="none"/>
        <c:minorTickMark val="none"/>
        <c:tickLblPos val="none"/>
        <c:spPr>
          <a:noFill/>
          <a:ln w="12700" cap="flat" cmpd="sng" algn="ctr">
            <a:solidFill>
              <a:schemeClr val="bg1">
                <a:lumMod val="65000"/>
              </a:schemeClr>
            </a:solidFill>
            <a:prstDash val="sysDash"/>
            <a:round/>
          </a:ln>
          <a:effectLst/>
        </c:spPr>
        <c:txPr>
          <a:bodyPr rot="-60000000" vert="horz"/>
          <a:lstStyle/>
          <a:p>
            <a:pPr>
              <a:defRPr/>
            </a:pPr>
            <a:endParaRPr lang="en-US"/>
          </a:p>
        </c:txPr>
        <c:crossAx val="193075456"/>
        <c:crossesAt val="0"/>
        <c:crossBetween val="midCat"/>
        <c:majorUnit val="1"/>
      </c:valAx>
      <c:spPr>
        <a:noFill/>
        <a:ln w="25400">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cs typeface="+mn-cs"/>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824146981627293E-2"/>
          <c:y val="6.9812692070767235E-2"/>
          <c:w val="0.89970363079615046"/>
          <c:h val="0.74222014966699645"/>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10"/>
            <c:spPr>
              <a:solidFill>
                <a:schemeClr val="accent1"/>
              </a:solidFill>
              <a:ln w="9525">
                <a:noFill/>
              </a:ln>
              <a:effectLst/>
            </c:spPr>
          </c:marker>
          <c:dPt>
            <c:idx val="4"/>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34A0-4339-A64E-4242610324E8}"/>
              </c:ext>
            </c:extLst>
          </c:dPt>
          <c:dPt>
            <c:idx val="5"/>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34A0-4339-A64E-4242610324E8}"/>
              </c:ext>
            </c:extLst>
          </c:dPt>
          <c:dPt>
            <c:idx val="6"/>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34A0-4339-A64E-4242610324E8}"/>
              </c:ext>
            </c:extLst>
          </c:dPt>
          <c:dPt>
            <c:idx val="7"/>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34A0-4339-A64E-4242610324E8}"/>
              </c:ext>
            </c:extLst>
          </c:dPt>
          <c:dPt>
            <c:idx val="8"/>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4-34A0-4339-A64E-4242610324E8}"/>
              </c:ext>
            </c:extLst>
          </c:dPt>
          <c:dPt>
            <c:idx val="10"/>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5-34A0-4339-A64E-4242610324E8}"/>
              </c:ext>
            </c:extLst>
          </c:dPt>
          <c:dPt>
            <c:idx val="11"/>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6-34A0-4339-A64E-4242610324E8}"/>
              </c:ext>
            </c:extLst>
          </c:dPt>
          <c:dPt>
            <c:idx val="12"/>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7-34A0-4339-A64E-4242610324E8}"/>
              </c:ext>
            </c:extLst>
          </c:dPt>
          <c:dPt>
            <c:idx val="13"/>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8-34A0-4339-A64E-4242610324E8}"/>
              </c:ext>
            </c:extLst>
          </c:dPt>
          <c:dPt>
            <c:idx val="14"/>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9-34A0-4339-A64E-4242610324E8}"/>
              </c:ext>
            </c:extLst>
          </c:dPt>
          <c:errBars>
            <c:errDir val="x"/>
            <c:errBarType val="both"/>
            <c:errValType val="cust"/>
            <c:noEndCap val="0"/>
            <c:plus>
              <c:numRef>
                <c:f>Sheet1!$E$2:$E$10</c:f>
                <c:numCache>
                  <c:formatCode>General</c:formatCode>
                  <c:ptCount val="9"/>
                  <c:pt idx="0">
                    <c:v>16.200000000000003</c:v>
                  </c:pt>
                  <c:pt idx="1">
                    <c:v>12.900000000000006</c:v>
                  </c:pt>
                  <c:pt idx="2">
                    <c:v>11.5</c:v>
                  </c:pt>
                  <c:pt idx="3">
                    <c:v>0</c:v>
                  </c:pt>
                  <c:pt idx="4">
                    <c:v>35.699999999999996</c:v>
                  </c:pt>
                  <c:pt idx="5">
                    <c:v>22.399999999999991</c:v>
                  </c:pt>
                  <c:pt idx="6">
                    <c:v>0</c:v>
                  </c:pt>
                  <c:pt idx="7">
                    <c:v>0</c:v>
                  </c:pt>
                  <c:pt idx="8">
                    <c:v>0</c:v>
                  </c:pt>
                </c:numCache>
              </c:numRef>
            </c:plus>
            <c:minus>
              <c:numRef>
                <c:f>Sheet1!$D$2:$D$10</c:f>
                <c:numCache>
                  <c:formatCode>General</c:formatCode>
                  <c:ptCount val="9"/>
                  <c:pt idx="0">
                    <c:v>65.099999999999994</c:v>
                  </c:pt>
                  <c:pt idx="1">
                    <c:v>30.299999999999997</c:v>
                  </c:pt>
                  <c:pt idx="2">
                    <c:v>23.399999999999991</c:v>
                  </c:pt>
                  <c:pt idx="3">
                    <c:v>151.5</c:v>
                  </c:pt>
                  <c:pt idx="4">
                    <c:v>144.80000000000001</c:v>
                  </c:pt>
                  <c:pt idx="5">
                    <c:v>75.900000000000006</c:v>
                  </c:pt>
                  <c:pt idx="6">
                    <c:v>242</c:v>
                  </c:pt>
                  <c:pt idx="7">
                    <c:v>143.19999999999999</c:v>
                  </c:pt>
                  <c:pt idx="8">
                    <c:v>109</c:v>
                  </c:pt>
                </c:numCache>
              </c:numRef>
            </c:minus>
            <c:spPr>
              <a:noFill/>
              <a:ln w="12700" cap="flat" cmpd="sng" algn="ctr">
                <a:solidFill>
                  <a:schemeClr val="tx1"/>
                </a:solidFill>
                <a:round/>
              </a:ln>
              <a:effectLst/>
            </c:spPr>
          </c:errBars>
          <c:xVal>
            <c:numRef>
              <c:f>Sheet1!$A$2:$A$10</c:f>
              <c:numCache>
                <c:formatCode>0.0</c:formatCode>
                <c:ptCount val="9"/>
                <c:pt idx="0">
                  <c:v>81.8</c:v>
                </c:pt>
                <c:pt idx="1">
                  <c:v>81.5</c:v>
                </c:pt>
                <c:pt idx="2">
                  <c:v>81.599999999999994</c:v>
                </c:pt>
                <c:pt idx="3">
                  <c:v>100</c:v>
                </c:pt>
                <c:pt idx="4">
                  <c:v>57.1</c:v>
                </c:pt>
                <c:pt idx="5">
                  <c:v>72.7</c:v>
                </c:pt>
                <c:pt idx="6">
                  <c:v>100</c:v>
                </c:pt>
                <c:pt idx="7">
                  <c:v>100</c:v>
                </c:pt>
                <c:pt idx="8">
                  <c:v>100</c:v>
                </c:pt>
              </c:numCache>
            </c:numRef>
          </c:xVal>
          <c:yVal>
            <c:numRef>
              <c:f>Sheet1!$B$2:$B$10</c:f>
              <c:numCache>
                <c:formatCode>0</c:formatCode>
                <c:ptCount val="9"/>
                <c:pt idx="0">
                  <c:v>9</c:v>
                </c:pt>
                <c:pt idx="1">
                  <c:v>8</c:v>
                </c:pt>
                <c:pt idx="2">
                  <c:v>7</c:v>
                </c:pt>
                <c:pt idx="3">
                  <c:v>6</c:v>
                </c:pt>
                <c:pt idx="4">
                  <c:v>5</c:v>
                </c:pt>
                <c:pt idx="5">
                  <c:v>4</c:v>
                </c:pt>
                <c:pt idx="6">
                  <c:v>3</c:v>
                </c:pt>
                <c:pt idx="7">
                  <c:v>2</c:v>
                </c:pt>
                <c:pt idx="8">
                  <c:v>1</c:v>
                </c:pt>
              </c:numCache>
            </c:numRef>
          </c:yVal>
          <c:smooth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A-34A0-4339-A64E-4242610324E8}"/>
            </c:ext>
          </c:extLst>
        </c:ser>
        <c:ser>
          <c:idx val="1"/>
          <c:order val="1"/>
          <c:tx>
            <c:strRef>
              <c:f>Sheet1!$C$1</c:f>
              <c:strCache>
                <c:ptCount val="1"/>
                <c:pt idx="0">
                  <c:v>Column1</c:v>
                </c:pt>
              </c:strCache>
            </c:strRef>
          </c:tx>
          <c:spPr>
            <a:ln w="19050">
              <a:noFill/>
            </a:ln>
          </c:spPr>
          <c:marker>
            <c:symbol val="none"/>
          </c:marker>
          <c:dLbls>
            <c:numFmt formatCode="#,##0" sourceLinked="0"/>
            <c:spPr>
              <a:noFill/>
              <a:ln>
                <a:noFill/>
              </a:ln>
              <a:effectLst/>
            </c:spPr>
            <c:txPr>
              <a:bodyPr wrap="square" lIns="38100" tIns="19050" rIns="38100" bIns="19050" anchor="ctr">
                <a:spAutoFit/>
              </a:bodyPr>
              <a:lstStyle/>
              <a:p>
                <a:pPr>
                  <a:defRPr sz="1400"/>
                </a:pPr>
                <a:endParaRPr lang="en-US"/>
              </a:p>
            </c:txPr>
            <c:dLblPos val="b"/>
            <c:showLegendKey val="0"/>
            <c:showVal val="0"/>
            <c:showCatName val="1"/>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ext>
            </c:extLst>
          </c:dLbls>
          <c:xVal>
            <c:numRef>
              <c:f>Sheet1!$A$2:$A$10</c:f>
              <c:numCache>
                <c:formatCode>0.0</c:formatCode>
                <c:ptCount val="9"/>
                <c:pt idx="0">
                  <c:v>81.8</c:v>
                </c:pt>
                <c:pt idx="1">
                  <c:v>81.5</c:v>
                </c:pt>
                <c:pt idx="2">
                  <c:v>81.599999999999994</c:v>
                </c:pt>
                <c:pt idx="3">
                  <c:v>100</c:v>
                </c:pt>
                <c:pt idx="4">
                  <c:v>57.1</c:v>
                </c:pt>
                <c:pt idx="5">
                  <c:v>72.7</c:v>
                </c:pt>
                <c:pt idx="6">
                  <c:v>100</c:v>
                </c:pt>
                <c:pt idx="7">
                  <c:v>100</c:v>
                </c:pt>
                <c:pt idx="8">
                  <c:v>100</c:v>
                </c:pt>
              </c:numCache>
            </c:numRef>
          </c:xVal>
          <c:yVal>
            <c:numRef>
              <c:f>Sheet1!$C$2:$C$10</c:f>
              <c:numCache>
                <c:formatCode>General</c:formatCode>
                <c:ptCount val="9"/>
              </c:numCache>
            </c:numRef>
          </c:yVal>
          <c:smooth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B-34A0-4339-A64E-4242610324E8}"/>
            </c:ext>
          </c:extLst>
        </c:ser>
        <c:dLbls>
          <c:showLegendKey val="0"/>
          <c:showVal val="0"/>
          <c:showCatName val="0"/>
          <c:showSerName val="0"/>
          <c:showPercent val="0"/>
          <c:showBubbleSize val="0"/>
        </c:dLbls>
        <c:axId val="193075456"/>
        <c:axId val="193081344"/>
      </c:scatterChart>
      <c:valAx>
        <c:axId val="193075456"/>
        <c:scaling>
          <c:orientation val="minMax"/>
          <c:max val="100"/>
          <c:min val="-20"/>
        </c:scaling>
        <c:delete val="0"/>
        <c:axPos val="b"/>
        <c:title>
          <c:tx>
            <c:rich>
              <a:bodyPr/>
              <a:lstStyle/>
              <a:p>
                <a:pPr>
                  <a:defRPr sz="1200">
                    <a:latin typeface="+mn-lt"/>
                  </a:defRPr>
                </a:pPr>
                <a:r>
                  <a:rPr lang="en-US" sz="1200" err="1">
                    <a:latin typeface="+mn-lt"/>
                  </a:rPr>
                  <a:t>Aşı</a:t>
                </a:r>
                <a:r>
                  <a:rPr lang="en-US" sz="1200" baseline="0">
                    <a:latin typeface="+mn-lt"/>
                  </a:rPr>
                  <a:t> </a:t>
                </a:r>
                <a:r>
                  <a:rPr lang="en-US" sz="1200" baseline="0" err="1">
                    <a:latin typeface="+mn-lt"/>
                  </a:rPr>
                  <a:t>Etkinliği</a:t>
                </a:r>
                <a:r>
                  <a:rPr lang="en-US" sz="1200">
                    <a:latin typeface="+mn-lt"/>
                  </a:rPr>
                  <a:t> (%, %95 CI)</a:t>
                </a:r>
              </a:p>
            </c:rich>
          </c:tx>
          <c:overlay val="0"/>
        </c:title>
        <c:numFmt formatCode="0" sourceLinked="0"/>
        <c:majorTickMark val="out"/>
        <c:minorTickMark val="none"/>
        <c:tickLblPos val="nextTo"/>
        <c:spPr>
          <a:noFill/>
          <a:ln w="12700" cap="flat" cmpd="sng" algn="ctr">
            <a:solidFill>
              <a:schemeClr val="bg1">
                <a:lumMod val="65000"/>
              </a:schemeClr>
            </a:solidFill>
            <a:round/>
          </a:ln>
          <a:effectLst/>
        </c:spPr>
        <c:txPr>
          <a:bodyPr rot="-60000000" vert="horz"/>
          <a:lstStyle/>
          <a:p>
            <a:pPr>
              <a:defRPr sz="1200">
                <a:latin typeface="+mn-lt"/>
              </a:defRPr>
            </a:pPr>
            <a:endParaRPr lang="en-US"/>
          </a:p>
        </c:txPr>
        <c:crossAx val="193081344"/>
        <c:crosses val="autoZero"/>
        <c:crossBetween val="midCat"/>
        <c:majorUnit val="20"/>
      </c:valAx>
      <c:valAx>
        <c:axId val="193081344"/>
        <c:scaling>
          <c:orientation val="minMax"/>
          <c:max val="9.5"/>
          <c:min val="0.5"/>
        </c:scaling>
        <c:delete val="0"/>
        <c:axPos val="l"/>
        <c:numFmt formatCode="0" sourceLinked="1"/>
        <c:majorTickMark val="none"/>
        <c:minorTickMark val="none"/>
        <c:tickLblPos val="none"/>
        <c:spPr>
          <a:noFill/>
          <a:ln w="12700" cap="flat" cmpd="sng" algn="ctr">
            <a:solidFill>
              <a:schemeClr val="bg1">
                <a:lumMod val="65000"/>
              </a:schemeClr>
            </a:solidFill>
            <a:prstDash val="sysDash"/>
            <a:round/>
          </a:ln>
          <a:effectLst/>
        </c:spPr>
        <c:txPr>
          <a:bodyPr rot="-60000000" vert="horz"/>
          <a:lstStyle/>
          <a:p>
            <a:pPr>
              <a:defRPr/>
            </a:pPr>
            <a:endParaRPr lang="en-US"/>
          </a:p>
        </c:txPr>
        <c:crossAx val="193075456"/>
        <c:crossesAt val="0"/>
        <c:crossBetween val="midCat"/>
        <c:majorUnit val="1"/>
      </c:valAx>
      <c:spPr>
        <a:noFill/>
        <a:ln w="25400">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cs typeface="+mn-cs"/>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810652250994653E-2"/>
          <c:y val="4.4842879274288004E-2"/>
          <c:w val="0.90300852211398541"/>
          <c:h val="1.6931166276672727E-2"/>
        </c:manualLayout>
      </c:layout>
      <c:scatterChart>
        <c:scatterStyle val="lineMarker"/>
        <c:varyColors val="0"/>
        <c:ser>
          <c:idx val="0"/>
          <c:order val="0"/>
          <c:tx>
            <c:strRef>
              <c:f>'Sheet 1'!$A$1</c:f>
              <c:strCache>
                <c:ptCount val="1"/>
                <c:pt idx="0">
                  <c:v>Gözlenen Oran</c:v>
                </c:pt>
              </c:strCache>
            </c:strRef>
          </c:tx>
          <c:spPr>
            <a:ln w="38100" cap="rnd">
              <a:noFill/>
              <a:round/>
            </a:ln>
            <a:effectLst/>
          </c:spPr>
          <c:marker>
            <c:symbol val="circle"/>
            <c:size val="5"/>
            <c:spPr>
              <a:solidFill>
                <a:schemeClr val="bg1">
                  <a:lumMod val="50000"/>
                </a:schemeClr>
              </a:solidFill>
              <a:ln w="19050">
                <a:solidFill>
                  <a:schemeClr val="bg1">
                    <a:lumMod val="50000"/>
                  </a:schemeClr>
                </a:solidFill>
              </a:ln>
              <a:effectLst/>
            </c:spPr>
          </c:marker>
          <c:xVal>
            <c:numRef>
              <c:f>'Sheet 1'!$A$3:$A$17</c:f>
              <c:numCache>
                <c:formatCode>General</c:formatCode>
                <c:ptCount val="15"/>
                <c:pt idx="0" formatCode="0">
                  <c:v>0</c:v>
                </c:pt>
              </c:numCache>
            </c:numRef>
          </c:xVal>
          <c:yVal>
            <c:numRef>
              <c:f>'Sheet 1'!$B$3:$B$17</c:f>
              <c:numCache>
                <c:formatCode>General</c:formatCode>
                <c:ptCount val="15"/>
                <c:pt idx="0">
                  <c:v>0</c:v>
                </c:pt>
              </c:numCache>
            </c:numRef>
          </c:yVal>
          <c:smooth val="0"/>
          <c:extLst>
            <c:ext xmlns:c16="http://schemas.microsoft.com/office/drawing/2014/chart" uri="{C3380CC4-5D6E-409C-BE32-E72D297353CC}">
              <c16:uniqueId val="{00000000-7AD6-4256-B429-5557FC89A824}"/>
            </c:ext>
          </c:extLst>
        </c:ser>
        <c:ser>
          <c:idx val="1"/>
          <c:order val="1"/>
          <c:tx>
            <c:strRef>
              <c:f>'Sheet 1'!$C$1</c:f>
              <c:strCache>
                <c:ptCount val="1"/>
                <c:pt idx="0">
                  <c:v>Tahmin Edilen Oran</c:v>
                </c:pt>
              </c:strCache>
            </c:strRef>
          </c:tx>
          <c:spPr>
            <a:ln w="31750" cap="rnd">
              <a:solidFill>
                <a:schemeClr val="accent2"/>
              </a:solidFill>
              <a:round/>
            </a:ln>
            <a:effectLst/>
          </c:spPr>
          <c:marker>
            <c:symbol val="none"/>
          </c:marker>
          <c:xVal>
            <c:numRef>
              <c:f>'Sheet 1'!$C$3:$C$8</c:f>
              <c:numCache>
                <c:formatCode>General</c:formatCode>
                <c:ptCount val="6"/>
                <c:pt idx="0" formatCode="0">
                  <c:v>0</c:v>
                </c:pt>
              </c:numCache>
            </c:numRef>
          </c:xVal>
          <c:yVal>
            <c:numRef>
              <c:f>'Sheet 1'!$D$3:$D$8</c:f>
              <c:numCache>
                <c:formatCode>General</c:formatCode>
                <c:ptCount val="6"/>
                <c:pt idx="0">
                  <c:v>0</c:v>
                </c:pt>
              </c:numCache>
            </c:numRef>
          </c:yVal>
          <c:smooth val="0"/>
          <c:extLst>
            <c:ext xmlns:c16="http://schemas.microsoft.com/office/drawing/2014/chart" uri="{C3380CC4-5D6E-409C-BE32-E72D297353CC}">
              <c16:uniqueId val="{00000001-7AD6-4256-B429-5557FC89A824}"/>
            </c:ext>
          </c:extLst>
        </c:ser>
        <c:ser>
          <c:idx val="4"/>
          <c:order val="2"/>
          <c:tx>
            <c:strRef>
              <c:f>'Sheet 1'!$I$1</c:f>
              <c:strCache>
                <c:ptCount val="1"/>
                <c:pt idx="0">
                  <c:v>Modeled Rate in the Absence of Vaccination</c:v>
                </c:pt>
              </c:strCache>
            </c:strRef>
          </c:tx>
          <c:spPr>
            <a:ln w="31750" cap="rnd">
              <a:solidFill>
                <a:srgbClr val="C00000"/>
              </a:solidFill>
              <a:prstDash val="sysDash"/>
              <a:round/>
            </a:ln>
            <a:effectLst/>
          </c:spPr>
          <c:marker>
            <c:symbol val="none"/>
          </c:marker>
          <c:xVal>
            <c:numRef>
              <c:f>'Sheet 1'!$I$3:$I$6</c:f>
              <c:numCache>
                <c:formatCode>General</c:formatCode>
                <c:ptCount val="4"/>
                <c:pt idx="0" formatCode="0">
                  <c:v>0</c:v>
                </c:pt>
              </c:numCache>
            </c:numRef>
          </c:xVal>
          <c:yVal>
            <c:numRef>
              <c:f>'Sheet 1'!$J$3:$J$6</c:f>
              <c:numCache>
                <c:formatCode>General</c:formatCode>
                <c:ptCount val="4"/>
                <c:pt idx="0">
                  <c:v>0</c:v>
                </c:pt>
              </c:numCache>
            </c:numRef>
          </c:yVal>
          <c:smooth val="1"/>
          <c:extLst>
            <c:ext xmlns:c16="http://schemas.microsoft.com/office/drawing/2014/chart" uri="{C3380CC4-5D6E-409C-BE32-E72D297353CC}">
              <c16:uniqueId val="{00000002-7AD6-4256-B429-5557FC89A824}"/>
            </c:ext>
          </c:extLst>
        </c:ser>
        <c:ser>
          <c:idx val="3"/>
          <c:order val="3"/>
          <c:tx>
            <c:strRef>
              <c:f>'Sheet 1'!$G$1</c:f>
              <c:strCache>
                <c:ptCount val="1"/>
                <c:pt idx="0">
                  <c:v>Vaccine Eligible Groups 2</c:v>
                </c:pt>
              </c:strCache>
            </c:strRef>
          </c:tx>
          <c:spPr>
            <a:ln w="19050" cap="rnd">
              <a:solidFill>
                <a:schemeClr val="bg1">
                  <a:lumMod val="75000"/>
                </a:schemeClr>
              </a:solidFill>
              <a:prstDash val="sysDot"/>
              <a:round/>
            </a:ln>
            <a:effectLst/>
          </c:spPr>
          <c:marker>
            <c:symbol val="none"/>
          </c:marker>
          <c:xVal>
            <c:numRef>
              <c:f>'Sheet 1'!$G$3:$G$4</c:f>
              <c:numCache>
                <c:formatCode>General</c:formatCode>
                <c:ptCount val="2"/>
                <c:pt idx="0" formatCode="0">
                  <c:v>0</c:v>
                </c:pt>
              </c:numCache>
            </c:numRef>
          </c:xVal>
          <c:yVal>
            <c:numRef>
              <c:f>'Sheet 1'!$H$3:$H$4</c:f>
              <c:numCache>
                <c:formatCode>General</c:formatCode>
                <c:ptCount val="2"/>
                <c:pt idx="0">
                  <c:v>0</c:v>
                </c:pt>
              </c:numCache>
            </c:numRef>
          </c:yVal>
          <c:smooth val="0"/>
          <c:extLst>
            <c:ext xmlns:c16="http://schemas.microsoft.com/office/drawing/2014/chart" uri="{C3380CC4-5D6E-409C-BE32-E72D297353CC}">
              <c16:uniqueId val="{00000003-7AD6-4256-B429-5557FC89A824}"/>
            </c:ext>
          </c:extLst>
        </c:ser>
        <c:ser>
          <c:idx val="2"/>
          <c:order val="4"/>
          <c:tx>
            <c:strRef>
              <c:f>'Sheet 1'!$E$1</c:f>
              <c:strCache>
                <c:ptCount val="1"/>
                <c:pt idx="0">
                  <c:v>Aşı İçin Uygun Yaş Aralığı</c:v>
                </c:pt>
              </c:strCache>
            </c:strRef>
          </c:tx>
          <c:spPr>
            <a:ln w="25400" cap="rnd">
              <a:solidFill>
                <a:schemeClr val="bg1">
                  <a:lumMod val="65000"/>
                </a:schemeClr>
              </a:solidFill>
              <a:prstDash val="sysDot"/>
              <a:round/>
            </a:ln>
            <a:effectLst/>
          </c:spPr>
          <c:marker>
            <c:symbol val="none"/>
          </c:marker>
          <c:xVal>
            <c:numRef>
              <c:f>'Sheet 1'!$E$3:$E$4</c:f>
              <c:numCache>
                <c:formatCode>General</c:formatCode>
                <c:ptCount val="2"/>
                <c:pt idx="0" formatCode="0">
                  <c:v>0</c:v>
                </c:pt>
              </c:numCache>
            </c:numRef>
          </c:xVal>
          <c:yVal>
            <c:numRef>
              <c:f>'Sheet 1'!$F$3:$F$4</c:f>
              <c:numCache>
                <c:formatCode>General</c:formatCode>
                <c:ptCount val="2"/>
                <c:pt idx="0">
                  <c:v>0</c:v>
                </c:pt>
              </c:numCache>
            </c:numRef>
          </c:yVal>
          <c:smooth val="0"/>
          <c:extLst>
            <c:ext xmlns:c16="http://schemas.microsoft.com/office/drawing/2014/chart" uri="{C3380CC4-5D6E-409C-BE32-E72D297353CC}">
              <c16:uniqueId val="{00000004-7AD6-4256-B429-5557FC89A824}"/>
            </c:ext>
          </c:extLst>
        </c:ser>
        <c:dLbls>
          <c:showLegendKey val="0"/>
          <c:showVal val="0"/>
          <c:showCatName val="0"/>
          <c:showSerName val="0"/>
          <c:showPercent val="0"/>
          <c:showBubbleSize val="0"/>
        </c:dLbls>
        <c:axId val="703642783"/>
        <c:axId val="688507344"/>
      </c:scatterChart>
      <c:valAx>
        <c:axId val="703642783"/>
        <c:scaling>
          <c:orientation val="minMax"/>
          <c:max val="84"/>
          <c:min val="70"/>
        </c:scaling>
        <c:delete val="1"/>
        <c:axPos val="b"/>
        <c:numFmt formatCode="0" sourceLinked="1"/>
        <c:majorTickMark val="none"/>
        <c:minorTickMark val="none"/>
        <c:tickLblPos val="nextTo"/>
        <c:crossAx val="688507344"/>
        <c:crosses val="autoZero"/>
        <c:crossBetween val="midCat"/>
        <c:majorUnit val="1"/>
      </c:valAx>
      <c:valAx>
        <c:axId val="688507344"/>
        <c:scaling>
          <c:orientation val="minMax"/>
          <c:max val="40"/>
          <c:min val="0"/>
        </c:scaling>
        <c:delete val="1"/>
        <c:axPos val="l"/>
        <c:numFmt formatCode="General" sourceLinked="1"/>
        <c:majorTickMark val="none"/>
        <c:minorTickMark val="none"/>
        <c:tickLblPos val="nextTo"/>
        <c:crossAx val="703642783"/>
        <c:crosses val="autoZero"/>
        <c:crossBetween val="midCat"/>
        <c:majorUnit val="10"/>
      </c:valAx>
      <c:spPr>
        <a:noFill/>
        <a:ln>
          <a:noFill/>
        </a:ln>
        <a:effectLst/>
      </c:spPr>
    </c:plotArea>
    <c:legend>
      <c:legendPos val="b"/>
      <c:legendEntry>
        <c:idx val="0"/>
        <c:txPr>
          <a:bodyPr rot="0" spcFirstLastPara="1" vertOverflow="ellipsis" vert="horz" wrap="square" anchor="ctr" anchorCtr="1"/>
          <a:lstStyle/>
          <a:p>
            <a:pPr>
              <a:defRPr sz="900" b="0" i="0" u="none" strike="noStrike" kern="1200" spc="-30" baseline="0">
                <a:solidFill>
                  <a:srgbClr val="02005E"/>
                </a:solidFill>
                <a:latin typeface="+mn-lt"/>
                <a:ea typeface="+mn-ea"/>
                <a:cs typeface="+mn-cs"/>
              </a:defRPr>
            </a:pPr>
            <a:endParaRPr lang="en-US"/>
          </a:p>
        </c:txPr>
      </c:legendEntry>
      <c:legendEntry>
        <c:idx val="2"/>
        <c:delete val="1"/>
      </c:legendEntry>
      <c:legendEntry>
        <c:idx val="3"/>
        <c:delete val="1"/>
      </c:legendEntry>
      <c:layout>
        <c:manualLayout>
          <c:xMode val="edge"/>
          <c:yMode val="edge"/>
          <c:x val="3.9435119579380562E-2"/>
          <c:y val="8.1584919072615919E-2"/>
          <c:w val="0.90485061046223059"/>
          <c:h val="0.86633174759405074"/>
        </c:manualLayout>
      </c:layout>
      <c:overlay val="0"/>
      <c:spPr>
        <a:noFill/>
        <a:ln>
          <a:noFill/>
        </a:ln>
        <a:effectLst/>
      </c:spPr>
      <c:txPr>
        <a:bodyPr rot="0" spcFirstLastPara="1" vertOverflow="ellipsis" vert="horz" wrap="square" anchor="ctr" anchorCtr="1"/>
        <a:lstStyle/>
        <a:p>
          <a:pPr>
            <a:defRPr sz="900" b="0" i="0" u="none" strike="noStrike" kern="1200" spc="-30" baseline="0">
              <a:solidFill>
                <a:srgbClr val="02005E"/>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lnSpc>
          <a:spcPct val="90000"/>
        </a:lnSpc>
        <a:defRPr sz="900" spc="-30" baseline="0">
          <a:solidFill>
            <a:srgbClr val="02005E"/>
          </a:solidFill>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61716955398741"/>
          <c:y val="6.0633298065346383E-2"/>
          <c:w val="0.79595817216603981"/>
          <c:h val="0.79843578218831668"/>
        </c:manualLayout>
      </c:layout>
      <c:scatterChart>
        <c:scatterStyle val="lineMarker"/>
        <c:varyColors val="0"/>
        <c:ser>
          <c:idx val="3"/>
          <c:order val="0"/>
          <c:tx>
            <c:strRef>
              <c:f>'Sheet 1'!$G$1</c:f>
              <c:strCache>
                <c:ptCount val="1"/>
                <c:pt idx="0">
                  <c:v>Vaccine Eligible Groups 2</c:v>
                </c:pt>
              </c:strCache>
            </c:strRef>
          </c:tx>
          <c:spPr>
            <a:ln w="25400" cap="rnd">
              <a:solidFill>
                <a:schemeClr val="bg1">
                  <a:lumMod val="75000"/>
                </a:schemeClr>
              </a:solidFill>
              <a:prstDash val="sysDot"/>
              <a:round/>
            </a:ln>
            <a:effectLst/>
          </c:spPr>
          <c:marker>
            <c:symbol val="none"/>
          </c:marker>
          <c:xVal>
            <c:numRef>
              <c:f>'Sheet 1'!$G$3:$G$4</c:f>
              <c:numCache>
                <c:formatCode>General</c:formatCode>
                <c:ptCount val="2"/>
                <c:pt idx="0">
                  <c:v>79</c:v>
                </c:pt>
                <c:pt idx="1">
                  <c:v>79</c:v>
                </c:pt>
              </c:numCache>
            </c:numRef>
          </c:xVal>
          <c:yVal>
            <c:numRef>
              <c:f>'Sheet 1'!$H$3:$H$4</c:f>
              <c:numCache>
                <c:formatCode>General</c:formatCode>
                <c:ptCount val="2"/>
                <c:pt idx="0">
                  <c:v>0</c:v>
                </c:pt>
                <c:pt idx="1">
                  <c:v>40</c:v>
                </c:pt>
              </c:numCache>
            </c:numRef>
          </c:yVal>
          <c:smooth val="0"/>
          <c:extLst>
            <c:ext xmlns:c16="http://schemas.microsoft.com/office/drawing/2014/chart" uri="{C3380CC4-5D6E-409C-BE32-E72D297353CC}">
              <c16:uniqueId val="{00000000-5CD0-422F-8D90-757CFA7CF405}"/>
            </c:ext>
          </c:extLst>
        </c:ser>
        <c:ser>
          <c:idx val="2"/>
          <c:order val="1"/>
          <c:tx>
            <c:strRef>
              <c:f>'Sheet 1'!$E$1</c:f>
              <c:strCache>
                <c:ptCount val="1"/>
                <c:pt idx="0">
                  <c:v>Vaccine Eligible Groups</c:v>
                </c:pt>
              </c:strCache>
            </c:strRef>
          </c:tx>
          <c:spPr>
            <a:ln w="25400" cap="rnd">
              <a:solidFill>
                <a:schemeClr val="bg1">
                  <a:lumMod val="75000"/>
                </a:schemeClr>
              </a:solidFill>
              <a:prstDash val="sysDot"/>
              <a:round/>
            </a:ln>
            <a:effectLst/>
          </c:spPr>
          <c:marker>
            <c:symbol val="none"/>
          </c:marker>
          <c:xVal>
            <c:numRef>
              <c:f>'Sheet 1'!$E$3:$E$4</c:f>
              <c:numCache>
                <c:formatCode>General</c:formatCode>
                <c:ptCount val="2"/>
                <c:pt idx="0">
                  <c:v>74</c:v>
                </c:pt>
                <c:pt idx="1">
                  <c:v>74</c:v>
                </c:pt>
              </c:numCache>
            </c:numRef>
          </c:xVal>
          <c:yVal>
            <c:numRef>
              <c:f>'Sheet 1'!$F$3:$F$4</c:f>
              <c:numCache>
                <c:formatCode>General</c:formatCode>
                <c:ptCount val="2"/>
                <c:pt idx="0">
                  <c:v>0</c:v>
                </c:pt>
                <c:pt idx="1">
                  <c:v>40</c:v>
                </c:pt>
              </c:numCache>
            </c:numRef>
          </c:yVal>
          <c:smooth val="0"/>
          <c:extLst>
            <c:ext xmlns:c16="http://schemas.microsoft.com/office/drawing/2014/chart" uri="{C3380CC4-5D6E-409C-BE32-E72D297353CC}">
              <c16:uniqueId val="{00000001-5CD0-422F-8D90-757CFA7CF405}"/>
            </c:ext>
          </c:extLst>
        </c:ser>
        <c:ser>
          <c:idx val="1"/>
          <c:order val="2"/>
          <c:tx>
            <c:strRef>
              <c:f>'Sheet 1'!$C$1</c:f>
              <c:strCache>
                <c:ptCount val="1"/>
                <c:pt idx="0">
                  <c:v>Predicted Rate</c:v>
                </c:pt>
              </c:strCache>
            </c:strRef>
          </c:tx>
          <c:spPr>
            <a:ln w="31750" cap="rnd">
              <a:solidFill>
                <a:schemeClr val="accent2"/>
              </a:solidFill>
              <a:round/>
            </a:ln>
            <a:effectLst/>
          </c:spPr>
          <c:marker>
            <c:symbol val="none"/>
          </c:marker>
          <c:xVal>
            <c:numRef>
              <c:f>'Sheet 1'!$C$3:$C$8</c:f>
              <c:numCache>
                <c:formatCode>General</c:formatCode>
                <c:ptCount val="6"/>
                <c:pt idx="0">
                  <c:v>70</c:v>
                </c:pt>
                <c:pt idx="1">
                  <c:v>73</c:v>
                </c:pt>
                <c:pt idx="2">
                  <c:v>74</c:v>
                </c:pt>
                <c:pt idx="3">
                  <c:v>79</c:v>
                </c:pt>
                <c:pt idx="4">
                  <c:v>80</c:v>
                </c:pt>
                <c:pt idx="5">
                  <c:v>84</c:v>
                </c:pt>
              </c:numCache>
            </c:numRef>
          </c:xVal>
          <c:yVal>
            <c:numRef>
              <c:f>'Sheet 1'!$D$3:$D$8</c:f>
              <c:numCache>
                <c:formatCode>General</c:formatCode>
                <c:ptCount val="6"/>
                <c:pt idx="0">
                  <c:v>14.293333333333299</c:v>
                </c:pt>
                <c:pt idx="1">
                  <c:v>16.533333333333299</c:v>
                </c:pt>
                <c:pt idx="2">
                  <c:v>18.6666666666666</c:v>
                </c:pt>
                <c:pt idx="3">
                  <c:v>24.106666666666602</c:v>
                </c:pt>
                <c:pt idx="4">
                  <c:v>23.893333333333299</c:v>
                </c:pt>
                <c:pt idx="5">
                  <c:v>29.3333333333333</c:v>
                </c:pt>
              </c:numCache>
            </c:numRef>
          </c:yVal>
          <c:smooth val="0"/>
          <c:extLst>
            <c:ext xmlns:c16="http://schemas.microsoft.com/office/drawing/2014/chart" uri="{C3380CC4-5D6E-409C-BE32-E72D297353CC}">
              <c16:uniqueId val="{00000002-5CD0-422F-8D90-757CFA7CF405}"/>
            </c:ext>
          </c:extLst>
        </c:ser>
        <c:ser>
          <c:idx val="0"/>
          <c:order val="3"/>
          <c:tx>
            <c:strRef>
              <c:f>'Sheet 1'!$A$1</c:f>
              <c:strCache>
                <c:ptCount val="1"/>
                <c:pt idx="0">
                  <c:v>Admitted Rate</c:v>
                </c:pt>
              </c:strCache>
            </c:strRef>
          </c:tx>
          <c:spPr>
            <a:ln w="38100" cap="rnd">
              <a:noFill/>
              <a:round/>
            </a:ln>
            <a:effectLst/>
          </c:spPr>
          <c:marker>
            <c:symbol val="circle"/>
            <c:size val="5"/>
            <c:spPr>
              <a:solidFill>
                <a:schemeClr val="bg1">
                  <a:lumMod val="50000"/>
                </a:schemeClr>
              </a:solidFill>
              <a:ln w="19050">
                <a:solidFill>
                  <a:schemeClr val="bg1">
                    <a:lumMod val="50000"/>
                  </a:schemeClr>
                </a:solidFill>
              </a:ln>
              <a:effectLst/>
            </c:spPr>
          </c:marker>
          <c:xVal>
            <c:numRef>
              <c:f>'Sheet 1'!$A$3:$A$17</c:f>
              <c:numCache>
                <c:formatCode>0</c:formatCode>
                <c:ptCount val="15"/>
                <c:pt idx="0">
                  <c:v>70</c:v>
                </c:pt>
                <c:pt idx="1">
                  <c:v>71</c:v>
                </c:pt>
                <c:pt idx="2">
                  <c:v>72</c:v>
                </c:pt>
                <c:pt idx="3">
                  <c:v>73</c:v>
                </c:pt>
                <c:pt idx="4">
                  <c:v>74</c:v>
                </c:pt>
                <c:pt idx="5">
                  <c:v>75</c:v>
                </c:pt>
                <c:pt idx="6">
                  <c:v>76</c:v>
                </c:pt>
                <c:pt idx="7">
                  <c:v>77</c:v>
                </c:pt>
                <c:pt idx="8">
                  <c:v>78</c:v>
                </c:pt>
                <c:pt idx="9">
                  <c:v>79</c:v>
                </c:pt>
                <c:pt idx="10">
                  <c:v>80</c:v>
                </c:pt>
                <c:pt idx="11">
                  <c:v>81</c:v>
                </c:pt>
                <c:pt idx="12">
                  <c:v>82</c:v>
                </c:pt>
                <c:pt idx="13">
                  <c:v>83</c:v>
                </c:pt>
                <c:pt idx="14" formatCode="General">
                  <c:v>84</c:v>
                </c:pt>
              </c:numCache>
            </c:numRef>
          </c:xVal>
          <c:yVal>
            <c:numRef>
              <c:f>'Sheet 1'!$B$3:$B$17</c:f>
              <c:numCache>
                <c:formatCode>General</c:formatCode>
                <c:ptCount val="15"/>
                <c:pt idx="0">
                  <c:v>13.756613756613699</c:v>
                </c:pt>
                <c:pt idx="1">
                  <c:v>12.698412698412699</c:v>
                </c:pt>
                <c:pt idx="2">
                  <c:v>14.4973544973545</c:v>
                </c:pt>
                <c:pt idx="3">
                  <c:v>18.412698412698401</c:v>
                </c:pt>
                <c:pt idx="4">
                  <c:v>29.100529100529101</c:v>
                </c:pt>
                <c:pt idx="5">
                  <c:v>21.481481481481399</c:v>
                </c:pt>
                <c:pt idx="6">
                  <c:v>17.2486772486772</c:v>
                </c:pt>
                <c:pt idx="7">
                  <c:v>21.058201058201</c:v>
                </c:pt>
                <c:pt idx="8">
                  <c:v>17.883597883597801</c:v>
                </c:pt>
                <c:pt idx="9">
                  <c:v>18.095238095237999</c:v>
                </c:pt>
                <c:pt idx="10">
                  <c:v>22.328042328042301</c:v>
                </c:pt>
                <c:pt idx="11">
                  <c:v>11.005291005290999</c:v>
                </c:pt>
                <c:pt idx="12">
                  <c:v>31.322751322751301</c:v>
                </c:pt>
                <c:pt idx="13">
                  <c:v>37.354497354497298</c:v>
                </c:pt>
                <c:pt idx="14">
                  <c:v>36.507936507936499</c:v>
                </c:pt>
              </c:numCache>
            </c:numRef>
          </c:yVal>
          <c:smooth val="0"/>
          <c:extLst>
            <c:ext xmlns:c16="http://schemas.microsoft.com/office/drawing/2014/chart" uri="{C3380CC4-5D6E-409C-BE32-E72D297353CC}">
              <c16:uniqueId val="{00000003-5CD0-422F-8D90-757CFA7CF405}"/>
            </c:ext>
          </c:extLst>
        </c:ser>
        <c:dLbls>
          <c:showLegendKey val="0"/>
          <c:showVal val="0"/>
          <c:showCatName val="0"/>
          <c:showSerName val="0"/>
          <c:showPercent val="0"/>
          <c:showBubbleSize val="0"/>
        </c:dLbls>
        <c:axId val="703642783"/>
        <c:axId val="688507344"/>
      </c:scatterChart>
      <c:valAx>
        <c:axId val="703642783"/>
        <c:scaling>
          <c:orientation val="minMax"/>
          <c:max val="84"/>
          <c:min val="70"/>
        </c:scaling>
        <c:delete val="0"/>
        <c:axPos val="b"/>
        <c:numFmt formatCode="General" sourceLinked="1"/>
        <c:majorTickMark val="none"/>
        <c:minorTickMark val="none"/>
        <c:tickLblPos val="nextTo"/>
        <c:spPr>
          <a:noFill/>
          <a:ln w="12700" cap="flat" cmpd="sng" algn="ctr">
            <a:solidFill>
              <a:srgbClr val="898989"/>
            </a:solidFill>
            <a:round/>
          </a:ln>
          <a:effectLst/>
        </c:spPr>
        <c:txPr>
          <a:bodyPr rot="-60000000" spcFirstLastPara="1" vertOverflow="ellipsis" vert="horz" wrap="square" anchor="ctr" anchorCtr="1"/>
          <a:lstStyle/>
          <a:p>
            <a:pPr>
              <a:defRPr sz="1100" b="0" i="0" u="none" strike="noStrike" kern="1200" spc="-30" baseline="0">
                <a:solidFill>
                  <a:srgbClr val="02005E"/>
                </a:solidFill>
                <a:latin typeface="+mn-lt"/>
                <a:ea typeface="+mn-ea"/>
                <a:cs typeface="+mn-cs"/>
              </a:defRPr>
            </a:pPr>
            <a:endParaRPr lang="en-US"/>
          </a:p>
        </c:txPr>
        <c:crossAx val="688507344"/>
        <c:crosses val="autoZero"/>
        <c:crossBetween val="midCat"/>
        <c:majorUnit val="1"/>
      </c:valAx>
      <c:valAx>
        <c:axId val="688507344"/>
        <c:scaling>
          <c:orientation val="minMax"/>
          <c:max val="40"/>
          <c:min val="0"/>
        </c:scaling>
        <c:delete val="0"/>
        <c:axPos val="l"/>
        <c:title>
          <c:tx>
            <c:rich>
              <a:bodyPr rot="-5400000" spcFirstLastPara="1" vertOverflow="ellipsis" vert="horz" wrap="square" anchor="ctr" anchorCtr="1"/>
              <a:lstStyle/>
              <a:p>
                <a:pPr>
                  <a:defRPr sz="800" b="1" i="0" u="none" strike="noStrike" kern="1200" spc="-30" baseline="0">
                    <a:solidFill>
                      <a:srgbClr val="02005E"/>
                    </a:solidFill>
                    <a:latin typeface="+mn-lt"/>
                    <a:ea typeface="+mn-ea"/>
                    <a:cs typeface="+mn-cs"/>
                  </a:defRPr>
                </a:pPr>
                <a:r>
                  <a:rPr lang="tr-TR" sz="800" b="1" i="0" u="none" strike="noStrike" kern="1200" spc="-30" baseline="0">
                    <a:solidFill>
                      <a:srgbClr val="02005E"/>
                    </a:solidFill>
                  </a:rPr>
                  <a:t>Yaşa Göre Hastaneye Yatış Oranları</a:t>
                </a:r>
                <a:br>
                  <a:rPr lang="en-US" sz="800" b="1"/>
                </a:br>
                <a:r>
                  <a:rPr lang="en-US" sz="800" b="1"/>
                  <a:t>(100,000 </a:t>
                </a:r>
                <a:r>
                  <a:rPr lang="tr-TR" sz="800" b="1"/>
                  <a:t>Nüfusa</a:t>
                </a:r>
                <a:r>
                  <a:rPr lang="tr-TR" sz="800" b="1" baseline="0"/>
                  <a:t> Göre</a:t>
                </a:r>
                <a:r>
                  <a:rPr lang="en-US" sz="800" b="1"/>
                  <a:t>)</a:t>
                </a:r>
              </a:p>
            </c:rich>
          </c:tx>
          <c:layout>
            <c:manualLayout>
              <c:xMode val="edge"/>
              <c:yMode val="edge"/>
              <c:x val="5.3038319712817679E-3"/>
              <c:y val="7.7494521345945797E-2"/>
            </c:manualLayout>
          </c:layout>
          <c:overlay val="0"/>
          <c:spPr>
            <a:noFill/>
            <a:ln>
              <a:noFill/>
            </a:ln>
            <a:effectLst/>
          </c:spPr>
          <c:txPr>
            <a:bodyPr rot="-5400000" spcFirstLastPara="1" vertOverflow="ellipsis" vert="horz" wrap="square" anchor="ctr" anchorCtr="1"/>
            <a:lstStyle/>
            <a:p>
              <a:pPr>
                <a:defRPr sz="800" b="1" i="0" u="none" strike="noStrike" kern="1200" spc="-30" baseline="0">
                  <a:solidFill>
                    <a:srgbClr val="02005E"/>
                  </a:solidFill>
                  <a:latin typeface="+mn-lt"/>
                  <a:ea typeface="+mn-ea"/>
                  <a:cs typeface="+mn-cs"/>
                </a:defRPr>
              </a:pPr>
              <a:endParaRPr lang="en-US"/>
            </a:p>
          </c:txPr>
        </c:title>
        <c:numFmt formatCode="General" sourceLinked="1"/>
        <c:majorTickMark val="none"/>
        <c:minorTickMark val="none"/>
        <c:tickLblPos val="nextTo"/>
        <c:spPr>
          <a:noFill/>
          <a:ln w="12700" cap="flat" cmpd="sng" algn="ctr">
            <a:solidFill>
              <a:srgbClr val="898989"/>
            </a:solidFill>
            <a:round/>
          </a:ln>
          <a:effectLst/>
        </c:spPr>
        <c:txPr>
          <a:bodyPr rot="-60000000" spcFirstLastPara="1" vertOverflow="ellipsis" vert="horz" wrap="square" anchor="ctr" anchorCtr="1"/>
          <a:lstStyle/>
          <a:p>
            <a:pPr>
              <a:defRPr sz="1100" b="0" i="0" u="none" strike="noStrike" kern="1200" spc="-30" baseline="0">
                <a:solidFill>
                  <a:srgbClr val="02005E"/>
                </a:solidFill>
                <a:latin typeface="+mn-lt"/>
                <a:ea typeface="+mn-ea"/>
                <a:cs typeface="+mn-cs"/>
              </a:defRPr>
            </a:pPr>
            <a:endParaRPr lang="en-US"/>
          </a:p>
        </c:txPr>
        <c:crossAx val="703642783"/>
        <c:crosses val="autoZero"/>
        <c:crossBetween val="midCat"/>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lnSpc>
          <a:spcPct val="90000"/>
        </a:lnSpc>
        <a:defRPr sz="1200" spc="-30" baseline="0">
          <a:solidFill>
            <a:srgbClr val="02005E"/>
          </a:solidFill>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992393943181343"/>
          <c:y val="6.0633298065346383E-2"/>
          <c:w val="0.77048370847583447"/>
          <c:h val="0.79843578218831668"/>
        </c:manualLayout>
      </c:layout>
      <c:scatterChart>
        <c:scatterStyle val="lineMarker"/>
        <c:varyColors val="0"/>
        <c:ser>
          <c:idx val="3"/>
          <c:order val="0"/>
          <c:tx>
            <c:strRef>
              <c:f>'Sheet 1'!$G$1</c:f>
              <c:strCache>
                <c:ptCount val="1"/>
                <c:pt idx="0">
                  <c:v>Vaccine Eligible Groups 2</c:v>
                </c:pt>
              </c:strCache>
            </c:strRef>
          </c:tx>
          <c:spPr>
            <a:ln w="25400" cap="rnd">
              <a:solidFill>
                <a:schemeClr val="bg1">
                  <a:lumMod val="75000"/>
                </a:schemeClr>
              </a:solidFill>
              <a:prstDash val="sysDot"/>
              <a:round/>
            </a:ln>
            <a:effectLst/>
          </c:spPr>
          <c:marker>
            <c:symbol val="none"/>
          </c:marker>
          <c:xVal>
            <c:numRef>
              <c:f>'Sheet 1'!$G$3:$G$4</c:f>
              <c:numCache>
                <c:formatCode>General</c:formatCode>
                <c:ptCount val="2"/>
                <c:pt idx="0">
                  <c:v>79</c:v>
                </c:pt>
                <c:pt idx="1">
                  <c:v>79</c:v>
                </c:pt>
              </c:numCache>
            </c:numRef>
          </c:xVal>
          <c:yVal>
            <c:numRef>
              <c:f>'Sheet 1'!$H$3:$H$4</c:f>
              <c:numCache>
                <c:formatCode>General</c:formatCode>
                <c:ptCount val="2"/>
                <c:pt idx="0">
                  <c:v>0</c:v>
                </c:pt>
                <c:pt idx="1">
                  <c:v>40</c:v>
                </c:pt>
              </c:numCache>
            </c:numRef>
          </c:yVal>
          <c:smooth val="0"/>
          <c:extLst>
            <c:ext xmlns:c16="http://schemas.microsoft.com/office/drawing/2014/chart" uri="{C3380CC4-5D6E-409C-BE32-E72D297353CC}">
              <c16:uniqueId val="{00000000-9423-41DB-AE08-0C758EC7B489}"/>
            </c:ext>
          </c:extLst>
        </c:ser>
        <c:ser>
          <c:idx val="2"/>
          <c:order val="1"/>
          <c:tx>
            <c:strRef>
              <c:f>'Sheet 1'!$E$1</c:f>
              <c:strCache>
                <c:ptCount val="1"/>
                <c:pt idx="0">
                  <c:v>Vaccine Eligible Groups</c:v>
                </c:pt>
              </c:strCache>
            </c:strRef>
          </c:tx>
          <c:spPr>
            <a:ln w="25400" cap="rnd">
              <a:solidFill>
                <a:schemeClr val="bg1">
                  <a:lumMod val="75000"/>
                </a:schemeClr>
              </a:solidFill>
              <a:prstDash val="sysDot"/>
              <a:round/>
            </a:ln>
            <a:effectLst/>
          </c:spPr>
          <c:marker>
            <c:symbol val="none"/>
          </c:marker>
          <c:xVal>
            <c:numRef>
              <c:f>'Sheet 1'!$E$3:$E$4</c:f>
              <c:numCache>
                <c:formatCode>General</c:formatCode>
                <c:ptCount val="2"/>
                <c:pt idx="0">
                  <c:v>74</c:v>
                </c:pt>
                <c:pt idx="1">
                  <c:v>74</c:v>
                </c:pt>
              </c:numCache>
            </c:numRef>
          </c:xVal>
          <c:yVal>
            <c:numRef>
              <c:f>'Sheet 1'!$F$3:$F$4</c:f>
              <c:numCache>
                <c:formatCode>General</c:formatCode>
                <c:ptCount val="2"/>
                <c:pt idx="0">
                  <c:v>0</c:v>
                </c:pt>
                <c:pt idx="1">
                  <c:v>40</c:v>
                </c:pt>
              </c:numCache>
            </c:numRef>
          </c:yVal>
          <c:smooth val="0"/>
          <c:extLst>
            <c:ext xmlns:c16="http://schemas.microsoft.com/office/drawing/2014/chart" uri="{C3380CC4-5D6E-409C-BE32-E72D297353CC}">
              <c16:uniqueId val="{00000001-9423-41DB-AE08-0C758EC7B489}"/>
            </c:ext>
          </c:extLst>
        </c:ser>
        <c:ser>
          <c:idx val="4"/>
          <c:order val="2"/>
          <c:tx>
            <c:strRef>
              <c:f>'Sheet 1'!$I$1</c:f>
              <c:strCache>
                <c:ptCount val="1"/>
                <c:pt idx="0">
                  <c:v>Modeled Rate in the Absence
of Vaccination</c:v>
                </c:pt>
              </c:strCache>
            </c:strRef>
          </c:tx>
          <c:spPr>
            <a:ln w="31750" cap="rnd">
              <a:solidFill>
                <a:srgbClr val="C00000"/>
              </a:solidFill>
              <a:prstDash val="sysDash"/>
              <a:round/>
            </a:ln>
            <a:effectLst/>
          </c:spPr>
          <c:marker>
            <c:symbol val="none"/>
          </c:marker>
          <c:xVal>
            <c:numRef>
              <c:f>'Sheet 1'!$I$3:$I$6</c:f>
              <c:numCache>
                <c:formatCode>General</c:formatCode>
                <c:ptCount val="4"/>
                <c:pt idx="0">
                  <c:v>70</c:v>
                </c:pt>
                <c:pt idx="1">
                  <c:v>74</c:v>
                </c:pt>
                <c:pt idx="2">
                  <c:v>79</c:v>
                </c:pt>
                <c:pt idx="3">
                  <c:v>84</c:v>
                </c:pt>
              </c:numCache>
            </c:numRef>
          </c:xVal>
          <c:yVal>
            <c:numRef>
              <c:f>'Sheet 1'!$J$3:$J$6</c:f>
              <c:numCache>
                <c:formatCode>General</c:formatCode>
                <c:ptCount val="4"/>
                <c:pt idx="0">
                  <c:v>9.2799999999999994</c:v>
                </c:pt>
                <c:pt idx="1">
                  <c:v>12.053333333333301</c:v>
                </c:pt>
                <c:pt idx="2">
                  <c:v>16.746666666666599</c:v>
                </c:pt>
                <c:pt idx="3">
                  <c:v>23.36</c:v>
                </c:pt>
              </c:numCache>
            </c:numRef>
          </c:yVal>
          <c:smooth val="1"/>
          <c:extLst>
            <c:ext xmlns:c16="http://schemas.microsoft.com/office/drawing/2014/chart" uri="{C3380CC4-5D6E-409C-BE32-E72D297353CC}">
              <c16:uniqueId val="{00000002-9423-41DB-AE08-0C758EC7B489}"/>
            </c:ext>
          </c:extLst>
        </c:ser>
        <c:ser>
          <c:idx val="1"/>
          <c:order val="3"/>
          <c:tx>
            <c:strRef>
              <c:f>'Sheet 1'!$C$1</c:f>
              <c:strCache>
                <c:ptCount val="1"/>
                <c:pt idx="0">
                  <c:v>Predicted Rate</c:v>
                </c:pt>
              </c:strCache>
            </c:strRef>
          </c:tx>
          <c:spPr>
            <a:ln w="31750" cap="rnd">
              <a:solidFill>
                <a:schemeClr val="accent2"/>
              </a:solidFill>
              <a:round/>
            </a:ln>
            <a:effectLst/>
          </c:spPr>
          <c:marker>
            <c:symbol val="none"/>
          </c:marker>
          <c:xVal>
            <c:numRef>
              <c:f>'Sheet 1'!$C$3:$C$8</c:f>
              <c:numCache>
                <c:formatCode>General</c:formatCode>
                <c:ptCount val="6"/>
                <c:pt idx="0">
                  <c:v>70</c:v>
                </c:pt>
                <c:pt idx="1">
                  <c:v>73</c:v>
                </c:pt>
                <c:pt idx="2">
                  <c:v>74</c:v>
                </c:pt>
                <c:pt idx="3">
                  <c:v>79</c:v>
                </c:pt>
                <c:pt idx="4">
                  <c:v>80</c:v>
                </c:pt>
                <c:pt idx="5">
                  <c:v>84</c:v>
                </c:pt>
              </c:numCache>
            </c:numRef>
          </c:xVal>
          <c:yVal>
            <c:numRef>
              <c:f>'Sheet 1'!$D$3:$D$8</c:f>
              <c:numCache>
                <c:formatCode>General</c:formatCode>
                <c:ptCount val="6"/>
                <c:pt idx="0">
                  <c:v>9.4933333333333305</c:v>
                </c:pt>
                <c:pt idx="1">
                  <c:v>11.4133333333333</c:v>
                </c:pt>
                <c:pt idx="2">
                  <c:v>4.5866666666666598</c:v>
                </c:pt>
                <c:pt idx="3">
                  <c:v>6.2933333333333197</c:v>
                </c:pt>
                <c:pt idx="4">
                  <c:v>17.813333333333301</c:v>
                </c:pt>
                <c:pt idx="5">
                  <c:v>22.933333333333302</c:v>
                </c:pt>
              </c:numCache>
            </c:numRef>
          </c:yVal>
          <c:smooth val="0"/>
          <c:extLst>
            <c:ext xmlns:c16="http://schemas.microsoft.com/office/drawing/2014/chart" uri="{C3380CC4-5D6E-409C-BE32-E72D297353CC}">
              <c16:uniqueId val="{00000003-9423-41DB-AE08-0C758EC7B489}"/>
            </c:ext>
          </c:extLst>
        </c:ser>
        <c:ser>
          <c:idx val="0"/>
          <c:order val="4"/>
          <c:tx>
            <c:strRef>
              <c:f>'Sheet 1'!$A$1</c:f>
              <c:strCache>
                <c:ptCount val="1"/>
                <c:pt idx="0">
                  <c:v>Admitted Rate</c:v>
                </c:pt>
              </c:strCache>
            </c:strRef>
          </c:tx>
          <c:spPr>
            <a:ln w="38100" cap="rnd">
              <a:noFill/>
              <a:round/>
            </a:ln>
            <a:effectLst/>
          </c:spPr>
          <c:marker>
            <c:symbol val="circle"/>
            <c:size val="5"/>
            <c:spPr>
              <a:solidFill>
                <a:schemeClr val="bg1">
                  <a:lumMod val="50000"/>
                </a:schemeClr>
              </a:solidFill>
              <a:ln w="19050">
                <a:solidFill>
                  <a:schemeClr val="bg1">
                    <a:lumMod val="50000"/>
                  </a:schemeClr>
                </a:solidFill>
              </a:ln>
              <a:effectLst/>
            </c:spPr>
          </c:marker>
          <c:xVal>
            <c:numRef>
              <c:f>'Sheet 1'!$A$3:$A$17</c:f>
              <c:numCache>
                <c:formatCode>0</c:formatCode>
                <c:ptCount val="15"/>
                <c:pt idx="0">
                  <c:v>70</c:v>
                </c:pt>
                <c:pt idx="1">
                  <c:v>71</c:v>
                </c:pt>
                <c:pt idx="2">
                  <c:v>72</c:v>
                </c:pt>
                <c:pt idx="3">
                  <c:v>73</c:v>
                </c:pt>
                <c:pt idx="4">
                  <c:v>74</c:v>
                </c:pt>
                <c:pt idx="5">
                  <c:v>75</c:v>
                </c:pt>
                <c:pt idx="6">
                  <c:v>76</c:v>
                </c:pt>
                <c:pt idx="7">
                  <c:v>77</c:v>
                </c:pt>
                <c:pt idx="8">
                  <c:v>78</c:v>
                </c:pt>
                <c:pt idx="9">
                  <c:v>79</c:v>
                </c:pt>
                <c:pt idx="10">
                  <c:v>80</c:v>
                </c:pt>
                <c:pt idx="11">
                  <c:v>81</c:v>
                </c:pt>
                <c:pt idx="12">
                  <c:v>82</c:v>
                </c:pt>
                <c:pt idx="13">
                  <c:v>83</c:v>
                </c:pt>
                <c:pt idx="14" formatCode="General">
                  <c:v>84</c:v>
                </c:pt>
              </c:numCache>
            </c:numRef>
          </c:xVal>
          <c:yVal>
            <c:numRef>
              <c:f>'Sheet 1'!$B$3:$B$17</c:f>
              <c:numCache>
                <c:formatCode>General</c:formatCode>
                <c:ptCount val="15"/>
                <c:pt idx="0">
                  <c:v>16.533333333333299</c:v>
                </c:pt>
                <c:pt idx="1">
                  <c:v>5.0133333333333301</c:v>
                </c:pt>
                <c:pt idx="2">
                  <c:v>10.7733333333333</c:v>
                </c:pt>
                <c:pt idx="3">
                  <c:v>7.1466666666666603</c:v>
                </c:pt>
                <c:pt idx="4">
                  <c:v>9.2799999999999994</c:v>
                </c:pt>
                <c:pt idx="5">
                  <c:v>3.62666666666667</c:v>
                </c:pt>
                <c:pt idx="6">
                  <c:v>5.6533333333333298</c:v>
                </c:pt>
                <c:pt idx="7">
                  <c:v>0</c:v>
                </c:pt>
                <c:pt idx="8">
                  <c:v>6.72</c:v>
                </c:pt>
                <c:pt idx="9">
                  <c:v>7.89333333333333</c:v>
                </c:pt>
                <c:pt idx="10">
                  <c:v>10.7733333333333</c:v>
                </c:pt>
                <c:pt idx="11">
                  <c:v>23.573333333333299</c:v>
                </c:pt>
                <c:pt idx="12">
                  <c:v>27.093333333333302</c:v>
                </c:pt>
                <c:pt idx="13">
                  <c:v>19.306666666666601</c:v>
                </c:pt>
                <c:pt idx="14">
                  <c:v>24.746666666666599</c:v>
                </c:pt>
              </c:numCache>
            </c:numRef>
          </c:yVal>
          <c:smooth val="0"/>
          <c:extLst>
            <c:ext xmlns:c16="http://schemas.microsoft.com/office/drawing/2014/chart" uri="{C3380CC4-5D6E-409C-BE32-E72D297353CC}">
              <c16:uniqueId val="{00000004-9423-41DB-AE08-0C758EC7B489}"/>
            </c:ext>
          </c:extLst>
        </c:ser>
        <c:dLbls>
          <c:showLegendKey val="0"/>
          <c:showVal val="0"/>
          <c:showCatName val="0"/>
          <c:showSerName val="0"/>
          <c:showPercent val="0"/>
          <c:showBubbleSize val="0"/>
        </c:dLbls>
        <c:axId val="703642783"/>
        <c:axId val="688507344"/>
      </c:scatterChart>
      <c:valAx>
        <c:axId val="703642783"/>
        <c:scaling>
          <c:orientation val="minMax"/>
          <c:max val="84"/>
          <c:min val="70"/>
        </c:scaling>
        <c:delete val="0"/>
        <c:axPos val="b"/>
        <c:numFmt formatCode="General" sourceLinked="1"/>
        <c:majorTickMark val="none"/>
        <c:minorTickMark val="none"/>
        <c:tickLblPos val="nextTo"/>
        <c:spPr>
          <a:noFill/>
          <a:ln w="12700" cap="flat" cmpd="sng" algn="ctr">
            <a:solidFill>
              <a:srgbClr val="898989"/>
            </a:solidFill>
            <a:round/>
          </a:ln>
          <a:effectLst/>
        </c:spPr>
        <c:txPr>
          <a:bodyPr rot="-60000000" spcFirstLastPara="1" vertOverflow="ellipsis" vert="horz" wrap="square" anchor="ctr" anchorCtr="1"/>
          <a:lstStyle/>
          <a:p>
            <a:pPr>
              <a:defRPr sz="1100" b="0" i="0" u="none" strike="noStrike" kern="1200" spc="-30" baseline="0">
                <a:solidFill>
                  <a:srgbClr val="02005E"/>
                </a:solidFill>
                <a:latin typeface="+mn-lt"/>
                <a:ea typeface="+mn-ea"/>
                <a:cs typeface="+mn-cs"/>
              </a:defRPr>
            </a:pPr>
            <a:endParaRPr lang="en-US"/>
          </a:p>
        </c:txPr>
        <c:crossAx val="688507344"/>
        <c:crosses val="autoZero"/>
        <c:crossBetween val="midCat"/>
        <c:majorUnit val="1"/>
      </c:valAx>
      <c:valAx>
        <c:axId val="688507344"/>
        <c:scaling>
          <c:orientation val="minMax"/>
          <c:max val="40"/>
          <c:min val="0"/>
        </c:scaling>
        <c:delete val="0"/>
        <c:axPos val="l"/>
        <c:title>
          <c:tx>
            <c:rich>
              <a:bodyPr rot="-5400000" spcFirstLastPara="1" vertOverflow="ellipsis" vert="horz" wrap="square" anchor="ctr" anchorCtr="1"/>
              <a:lstStyle/>
              <a:p>
                <a:pPr>
                  <a:defRPr sz="800" b="1" i="0" u="none" strike="noStrike" kern="1200" spc="-30" baseline="0">
                    <a:solidFill>
                      <a:srgbClr val="02005E"/>
                    </a:solidFill>
                    <a:latin typeface="+mn-lt"/>
                    <a:ea typeface="+mn-ea"/>
                    <a:cs typeface="+mn-cs"/>
                  </a:defRPr>
                </a:pPr>
                <a:r>
                  <a:rPr lang="tr-TR" sz="800" b="1" i="0" u="none" strike="noStrike" kern="1200" spc="-30" baseline="0">
                    <a:solidFill>
                      <a:srgbClr val="02005E"/>
                    </a:solidFill>
                  </a:rPr>
                  <a:t>Yaşa Göre Hastaneye Yatış Oranları</a:t>
                </a:r>
              </a:p>
              <a:p>
                <a:pPr>
                  <a:defRPr sz="800" b="1"/>
                </a:pPr>
                <a:r>
                  <a:rPr lang="en-US" sz="800" b="1" i="0" u="none" strike="noStrike" kern="1200" spc="-30" baseline="0">
                    <a:solidFill>
                      <a:srgbClr val="02005E"/>
                    </a:solidFill>
                  </a:rPr>
                  <a:t>(100,000 </a:t>
                </a:r>
                <a:r>
                  <a:rPr lang="tr-TR" sz="800" b="1" i="0" u="none" strike="noStrike" kern="1200" spc="-30" baseline="0">
                    <a:solidFill>
                      <a:srgbClr val="02005E"/>
                    </a:solidFill>
                  </a:rPr>
                  <a:t>Nüfusa Göre</a:t>
                </a:r>
                <a:r>
                  <a:rPr lang="en-US" sz="800" b="1" i="0" u="none" strike="noStrike" kern="1200" spc="-30" baseline="0">
                    <a:solidFill>
                      <a:srgbClr val="02005E"/>
                    </a:solidFill>
                  </a:rPr>
                  <a:t>)</a:t>
                </a:r>
                <a:endParaRPr lang="en-US" sz="800" b="1"/>
              </a:p>
            </c:rich>
          </c:tx>
          <c:layout>
            <c:manualLayout>
              <c:xMode val="edge"/>
              <c:yMode val="edge"/>
              <c:x val="6.2031732161633695E-3"/>
              <c:y val="8.2693149081974573E-2"/>
            </c:manualLayout>
          </c:layout>
          <c:overlay val="0"/>
          <c:spPr>
            <a:noFill/>
            <a:ln>
              <a:noFill/>
            </a:ln>
            <a:effectLst/>
          </c:spPr>
          <c:txPr>
            <a:bodyPr rot="-5400000" spcFirstLastPara="1" vertOverflow="ellipsis" vert="horz" wrap="square" anchor="ctr" anchorCtr="1"/>
            <a:lstStyle/>
            <a:p>
              <a:pPr>
                <a:defRPr sz="800" b="1" i="0" u="none" strike="noStrike" kern="1200" spc="-30" baseline="0">
                  <a:solidFill>
                    <a:srgbClr val="02005E"/>
                  </a:solidFill>
                  <a:latin typeface="+mn-lt"/>
                  <a:ea typeface="+mn-ea"/>
                  <a:cs typeface="+mn-cs"/>
                </a:defRPr>
              </a:pPr>
              <a:endParaRPr lang="en-US"/>
            </a:p>
          </c:txPr>
        </c:title>
        <c:numFmt formatCode="General" sourceLinked="1"/>
        <c:majorTickMark val="none"/>
        <c:minorTickMark val="none"/>
        <c:tickLblPos val="nextTo"/>
        <c:spPr>
          <a:noFill/>
          <a:ln w="12700" cap="flat" cmpd="sng" algn="ctr">
            <a:solidFill>
              <a:srgbClr val="898989"/>
            </a:solidFill>
            <a:round/>
          </a:ln>
          <a:effectLst/>
        </c:spPr>
        <c:txPr>
          <a:bodyPr rot="-60000000" spcFirstLastPara="1" vertOverflow="ellipsis" vert="horz" wrap="square" anchor="ctr" anchorCtr="1"/>
          <a:lstStyle/>
          <a:p>
            <a:pPr>
              <a:defRPr sz="1100" b="0" i="0" u="none" strike="noStrike" kern="1200" spc="-30" baseline="0">
                <a:solidFill>
                  <a:srgbClr val="02005E"/>
                </a:solidFill>
                <a:latin typeface="+mn-lt"/>
                <a:ea typeface="+mn-ea"/>
                <a:cs typeface="+mn-cs"/>
              </a:defRPr>
            </a:pPr>
            <a:endParaRPr lang="en-US"/>
          </a:p>
        </c:txPr>
        <c:crossAx val="703642783"/>
        <c:crosses val="autoZero"/>
        <c:crossBetween val="midCat"/>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lnSpc>
          <a:spcPct val="90000"/>
        </a:lnSpc>
        <a:defRPr sz="1200" spc="-30" baseline="0">
          <a:solidFill>
            <a:srgbClr val="02005E"/>
          </a:solidFill>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810652250994653E-2"/>
          <c:y val="4.4842879274288004E-2"/>
          <c:w val="0.90300852211398541"/>
          <c:h val="1.6931166276672727E-2"/>
        </c:manualLayout>
      </c:layout>
      <c:scatterChart>
        <c:scatterStyle val="lineMarker"/>
        <c:varyColors val="0"/>
        <c:ser>
          <c:idx val="0"/>
          <c:order val="0"/>
          <c:tx>
            <c:strRef>
              <c:f>'Sheet 1'!$A$1</c:f>
              <c:strCache>
                <c:ptCount val="1"/>
                <c:pt idx="0">
                  <c:v>Gözlenen Oran</c:v>
                </c:pt>
              </c:strCache>
            </c:strRef>
          </c:tx>
          <c:spPr>
            <a:ln w="38100" cap="rnd">
              <a:noFill/>
              <a:round/>
            </a:ln>
            <a:effectLst/>
          </c:spPr>
          <c:marker>
            <c:symbol val="circle"/>
            <c:size val="5"/>
            <c:spPr>
              <a:solidFill>
                <a:schemeClr val="bg1">
                  <a:lumMod val="50000"/>
                </a:schemeClr>
              </a:solidFill>
              <a:ln w="19050">
                <a:solidFill>
                  <a:schemeClr val="bg1">
                    <a:lumMod val="50000"/>
                  </a:schemeClr>
                </a:solidFill>
              </a:ln>
              <a:effectLst/>
            </c:spPr>
          </c:marker>
          <c:xVal>
            <c:numRef>
              <c:f>'Sheet 1'!$A$3:$A$17</c:f>
              <c:numCache>
                <c:formatCode>General</c:formatCode>
                <c:ptCount val="15"/>
                <c:pt idx="0" formatCode="0">
                  <c:v>0</c:v>
                </c:pt>
              </c:numCache>
            </c:numRef>
          </c:xVal>
          <c:yVal>
            <c:numRef>
              <c:f>'Sheet 1'!$B$3:$B$17</c:f>
              <c:numCache>
                <c:formatCode>General</c:formatCode>
                <c:ptCount val="15"/>
                <c:pt idx="0">
                  <c:v>0</c:v>
                </c:pt>
              </c:numCache>
            </c:numRef>
          </c:yVal>
          <c:smooth val="0"/>
          <c:extLst>
            <c:ext xmlns:c16="http://schemas.microsoft.com/office/drawing/2014/chart" uri="{C3380CC4-5D6E-409C-BE32-E72D297353CC}">
              <c16:uniqueId val="{00000000-935C-4294-BA29-EA21E2E8CD2A}"/>
            </c:ext>
          </c:extLst>
        </c:ser>
        <c:ser>
          <c:idx val="1"/>
          <c:order val="1"/>
          <c:tx>
            <c:strRef>
              <c:f>'Sheet 1'!$C$1</c:f>
              <c:strCache>
                <c:ptCount val="1"/>
                <c:pt idx="0">
                  <c:v>Tahmin Edilen Oran</c:v>
                </c:pt>
              </c:strCache>
            </c:strRef>
          </c:tx>
          <c:spPr>
            <a:ln w="31750" cap="rnd">
              <a:solidFill>
                <a:schemeClr val="accent2"/>
              </a:solidFill>
              <a:round/>
            </a:ln>
            <a:effectLst/>
          </c:spPr>
          <c:marker>
            <c:symbol val="none"/>
          </c:marker>
          <c:xVal>
            <c:numRef>
              <c:f>'Sheet 1'!$C$3:$C$8</c:f>
              <c:numCache>
                <c:formatCode>General</c:formatCode>
                <c:ptCount val="6"/>
                <c:pt idx="0" formatCode="0">
                  <c:v>0</c:v>
                </c:pt>
              </c:numCache>
            </c:numRef>
          </c:xVal>
          <c:yVal>
            <c:numRef>
              <c:f>'Sheet 1'!$D$3:$D$8</c:f>
              <c:numCache>
                <c:formatCode>General</c:formatCode>
                <c:ptCount val="6"/>
                <c:pt idx="0">
                  <c:v>0</c:v>
                </c:pt>
              </c:numCache>
            </c:numRef>
          </c:yVal>
          <c:smooth val="0"/>
          <c:extLst>
            <c:ext xmlns:c16="http://schemas.microsoft.com/office/drawing/2014/chart" uri="{C3380CC4-5D6E-409C-BE32-E72D297353CC}">
              <c16:uniqueId val="{00000001-935C-4294-BA29-EA21E2E8CD2A}"/>
            </c:ext>
          </c:extLst>
        </c:ser>
        <c:ser>
          <c:idx val="4"/>
          <c:order val="2"/>
          <c:tx>
            <c:strRef>
              <c:f>'Sheet 1'!$I$1</c:f>
              <c:strCache>
                <c:ptCount val="1"/>
                <c:pt idx="0">
                  <c:v>Aşının Olmadığı Durumda Modellenmiş Oran</c:v>
                </c:pt>
              </c:strCache>
            </c:strRef>
          </c:tx>
          <c:spPr>
            <a:ln w="31750" cap="rnd">
              <a:solidFill>
                <a:srgbClr val="C00000"/>
              </a:solidFill>
              <a:prstDash val="sysDash"/>
              <a:round/>
            </a:ln>
            <a:effectLst/>
          </c:spPr>
          <c:marker>
            <c:symbol val="none"/>
          </c:marker>
          <c:xVal>
            <c:numRef>
              <c:f>'Sheet 1'!$I$3:$I$6</c:f>
              <c:numCache>
                <c:formatCode>General</c:formatCode>
                <c:ptCount val="4"/>
                <c:pt idx="0" formatCode="0">
                  <c:v>0</c:v>
                </c:pt>
              </c:numCache>
            </c:numRef>
          </c:xVal>
          <c:yVal>
            <c:numRef>
              <c:f>'Sheet 1'!$J$3:$J$6</c:f>
              <c:numCache>
                <c:formatCode>General</c:formatCode>
                <c:ptCount val="4"/>
                <c:pt idx="0">
                  <c:v>0</c:v>
                </c:pt>
              </c:numCache>
            </c:numRef>
          </c:yVal>
          <c:smooth val="1"/>
          <c:extLst>
            <c:ext xmlns:c16="http://schemas.microsoft.com/office/drawing/2014/chart" uri="{C3380CC4-5D6E-409C-BE32-E72D297353CC}">
              <c16:uniqueId val="{00000002-935C-4294-BA29-EA21E2E8CD2A}"/>
            </c:ext>
          </c:extLst>
        </c:ser>
        <c:ser>
          <c:idx val="3"/>
          <c:order val="3"/>
          <c:tx>
            <c:strRef>
              <c:f>'Sheet 1'!$G$1</c:f>
              <c:strCache>
                <c:ptCount val="1"/>
                <c:pt idx="0">
                  <c:v>Aşılamaya Uygun 2. Grup</c:v>
                </c:pt>
              </c:strCache>
            </c:strRef>
          </c:tx>
          <c:spPr>
            <a:ln w="19050" cap="rnd">
              <a:solidFill>
                <a:schemeClr val="bg1">
                  <a:lumMod val="75000"/>
                </a:schemeClr>
              </a:solidFill>
              <a:prstDash val="sysDot"/>
              <a:round/>
            </a:ln>
            <a:effectLst/>
          </c:spPr>
          <c:marker>
            <c:symbol val="none"/>
          </c:marker>
          <c:xVal>
            <c:numRef>
              <c:f>'Sheet 1'!$G$3:$G$4</c:f>
              <c:numCache>
                <c:formatCode>General</c:formatCode>
                <c:ptCount val="2"/>
                <c:pt idx="0" formatCode="0">
                  <c:v>0</c:v>
                </c:pt>
              </c:numCache>
            </c:numRef>
          </c:xVal>
          <c:yVal>
            <c:numRef>
              <c:f>'Sheet 1'!$H$3:$H$4</c:f>
              <c:numCache>
                <c:formatCode>General</c:formatCode>
                <c:ptCount val="2"/>
                <c:pt idx="0">
                  <c:v>0</c:v>
                </c:pt>
              </c:numCache>
            </c:numRef>
          </c:yVal>
          <c:smooth val="0"/>
          <c:extLst>
            <c:ext xmlns:c16="http://schemas.microsoft.com/office/drawing/2014/chart" uri="{C3380CC4-5D6E-409C-BE32-E72D297353CC}">
              <c16:uniqueId val="{00000003-935C-4294-BA29-EA21E2E8CD2A}"/>
            </c:ext>
          </c:extLst>
        </c:ser>
        <c:ser>
          <c:idx val="2"/>
          <c:order val="4"/>
          <c:tx>
            <c:strRef>
              <c:f>'Sheet 1'!$E$1</c:f>
              <c:strCache>
                <c:ptCount val="1"/>
                <c:pt idx="0">
                  <c:v>Aşı İçin Uygun Yaş Aralığı</c:v>
                </c:pt>
              </c:strCache>
            </c:strRef>
          </c:tx>
          <c:spPr>
            <a:ln w="25400" cap="rnd">
              <a:solidFill>
                <a:schemeClr val="bg1">
                  <a:lumMod val="65000"/>
                </a:schemeClr>
              </a:solidFill>
              <a:prstDash val="sysDot"/>
              <a:round/>
            </a:ln>
            <a:effectLst/>
          </c:spPr>
          <c:marker>
            <c:symbol val="none"/>
          </c:marker>
          <c:xVal>
            <c:numRef>
              <c:f>'Sheet 1'!$E$3:$E$4</c:f>
              <c:numCache>
                <c:formatCode>General</c:formatCode>
                <c:ptCount val="2"/>
                <c:pt idx="0" formatCode="0">
                  <c:v>0</c:v>
                </c:pt>
              </c:numCache>
            </c:numRef>
          </c:xVal>
          <c:yVal>
            <c:numRef>
              <c:f>'Sheet 1'!$F$3:$F$4</c:f>
              <c:numCache>
                <c:formatCode>General</c:formatCode>
                <c:ptCount val="2"/>
                <c:pt idx="0">
                  <c:v>0</c:v>
                </c:pt>
              </c:numCache>
            </c:numRef>
          </c:yVal>
          <c:smooth val="0"/>
          <c:extLst>
            <c:ext xmlns:c16="http://schemas.microsoft.com/office/drawing/2014/chart" uri="{C3380CC4-5D6E-409C-BE32-E72D297353CC}">
              <c16:uniqueId val="{00000004-935C-4294-BA29-EA21E2E8CD2A}"/>
            </c:ext>
          </c:extLst>
        </c:ser>
        <c:dLbls>
          <c:showLegendKey val="0"/>
          <c:showVal val="0"/>
          <c:showCatName val="0"/>
          <c:showSerName val="0"/>
          <c:showPercent val="0"/>
          <c:showBubbleSize val="0"/>
        </c:dLbls>
        <c:axId val="703642783"/>
        <c:axId val="688507344"/>
      </c:scatterChart>
      <c:valAx>
        <c:axId val="703642783"/>
        <c:scaling>
          <c:orientation val="minMax"/>
          <c:max val="84"/>
          <c:min val="70"/>
        </c:scaling>
        <c:delete val="1"/>
        <c:axPos val="b"/>
        <c:numFmt formatCode="0" sourceLinked="1"/>
        <c:majorTickMark val="none"/>
        <c:minorTickMark val="none"/>
        <c:tickLblPos val="nextTo"/>
        <c:crossAx val="688507344"/>
        <c:crosses val="autoZero"/>
        <c:crossBetween val="midCat"/>
        <c:majorUnit val="1"/>
      </c:valAx>
      <c:valAx>
        <c:axId val="688507344"/>
        <c:scaling>
          <c:orientation val="minMax"/>
          <c:max val="40"/>
          <c:min val="0"/>
        </c:scaling>
        <c:delete val="1"/>
        <c:axPos val="l"/>
        <c:numFmt formatCode="General" sourceLinked="1"/>
        <c:majorTickMark val="none"/>
        <c:minorTickMark val="none"/>
        <c:tickLblPos val="nextTo"/>
        <c:crossAx val="703642783"/>
        <c:crosses val="autoZero"/>
        <c:crossBetween val="midCat"/>
        <c:majorUnit val="10"/>
      </c:valAx>
      <c:spPr>
        <a:noFill/>
        <a:ln>
          <a:noFill/>
        </a:ln>
        <a:effectLst/>
      </c:spPr>
    </c:plotArea>
    <c:legend>
      <c:legendPos val="b"/>
      <c:legendEntry>
        <c:idx val="0"/>
        <c:txPr>
          <a:bodyPr rot="0" spcFirstLastPara="1" vertOverflow="ellipsis" vert="horz" wrap="square" anchor="ctr" anchorCtr="1"/>
          <a:lstStyle/>
          <a:p>
            <a:pPr>
              <a:defRPr sz="900" b="0" i="0" u="none" strike="noStrike" kern="1200" spc="-30" baseline="0">
                <a:solidFill>
                  <a:srgbClr val="02005E"/>
                </a:solidFill>
                <a:latin typeface="+mn-lt"/>
                <a:ea typeface="+mn-ea"/>
                <a:cs typeface="+mn-cs"/>
              </a:defRPr>
            </a:pPr>
            <a:endParaRPr lang="en-US"/>
          </a:p>
        </c:txPr>
      </c:legendEntry>
      <c:legendEntry>
        <c:idx val="3"/>
        <c:delete val="1"/>
      </c:legendEntry>
      <c:layout>
        <c:manualLayout>
          <c:xMode val="edge"/>
          <c:yMode val="edge"/>
          <c:x val="1.1270148982843346E-2"/>
          <c:y val="8.1584919072615919E-2"/>
          <c:w val="0.9887298510171566"/>
          <c:h val="0.86633174759405074"/>
        </c:manualLayout>
      </c:layout>
      <c:overlay val="0"/>
      <c:spPr>
        <a:noFill/>
        <a:ln>
          <a:noFill/>
        </a:ln>
        <a:effectLst/>
      </c:spPr>
      <c:txPr>
        <a:bodyPr rot="0" spcFirstLastPara="1" vertOverflow="ellipsis" vert="horz" wrap="square" anchor="ctr" anchorCtr="1"/>
        <a:lstStyle/>
        <a:p>
          <a:pPr>
            <a:defRPr sz="900" b="0" i="0" u="none" strike="noStrike" kern="1200" spc="-30" baseline="0">
              <a:solidFill>
                <a:srgbClr val="02005E"/>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lnSpc>
          <a:spcPct val="90000"/>
        </a:lnSpc>
        <a:defRPr sz="1000" spc="-30" baseline="0">
          <a:solidFill>
            <a:srgbClr val="02005E"/>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ütu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400" b="0" i="0" u="none" strike="noStrike" kern="1200" baseline="0">
                    <a:solidFill>
                      <a:schemeClr val="tx1"/>
                    </a:solidFill>
                    <a:latin typeface="+mn-lt"/>
                    <a:ea typeface="+mn-ea"/>
                    <a:cs typeface="+mn-cs"/>
                  </a:defRPr>
                </a:pPr>
                <a:endParaRPr lang="tr-TR"/>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SV Olmayan Üst/Alt RTI 
(n=169,565)</c:v>
                </c:pt>
                <c:pt idx="1">
                  <c:v>Akut Solunum Yetmezliği 
(n=138,444)</c:v>
                </c:pt>
                <c:pt idx="2">
                  <c:v>Konjestif Kalp Yetmezliği 
(n=112,994)</c:v>
                </c:pt>
                <c:pt idx="3">
                  <c:v>Hipoksi veya Dispne 
(n=157,825)</c:v>
                </c:pt>
                <c:pt idx="4">
                  <c:v>Kronik Solunum Hastalığı 
(n=97,846)</c:v>
                </c:pt>
                <c:pt idx="5">
                  <c:v>Pnömoni 
(n=102,780)</c:v>
                </c:pt>
                <c:pt idx="6">
                  <c:v>RSV ile İlişkili Herhangi Bir Komplikasyon 
(n=175,113)</c:v>
                </c:pt>
              </c:strCache>
            </c:strRef>
          </c:cat>
          <c:val>
            <c:numRef>
              <c:f>Sheet1!$B$2:$B$8</c:f>
              <c:numCache>
                <c:formatCode>0.0%</c:formatCode>
                <c:ptCount val="7"/>
                <c:pt idx="0">
                  <c:v>3.500000000000001E-2</c:v>
                </c:pt>
                <c:pt idx="1">
                  <c:v>0.15000000000000011</c:v>
                </c:pt>
                <c:pt idx="2">
                  <c:v>0.18400000000000011</c:v>
                </c:pt>
                <c:pt idx="3">
                  <c:v>0.22</c:v>
                </c:pt>
                <c:pt idx="4">
                  <c:v>0.23600000000000004</c:v>
                </c:pt>
                <c:pt idx="5">
                  <c:v>0.2400000000000001</c:v>
                </c:pt>
                <c:pt idx="6">
                  <c:v>0.4790000000000002</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FE8-4BBE-B96C-F9337DDECC29}"/>
            </c:ext>
          </c:extLst>
        </c:ser>
        <c:dLbls>
          <c:showLegendKey val="0"/>
          <c:showVal val="0"/>
          <c:showCatName val="0"/>
          <c:showSerName val="0"/>
          <c:showPercent val="0"/>
          <c:showBubbleSize val="0"/>
        </c:dLbls>
        <c:gapWidth val="112"/>
        <c:axId val="253913344"/>
        <c:axId val="254788352"/>
      </c:barChart>
      <c:catAx>
        <c:axId val="253913344"/>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lang="en-US" sz="1100" b="0" i="0" u="none" strike="noStrike" kern="1200" baseline="0">
                <a:solidFill>
                  <a:schemeClr val="tx1"/>
                </a:solidFill>
                <a:latin typeface="+mn-lt"/>
                <a:ea typeface="+mn-ea"/>
                <a:cs typeface="+mn-cs"/>
              </a:defRPr>
            </a:pPr>
            <a:endParaRPr lang="tr-TR"/>
          </a:p>
        </c:txPr>
        <c:crossAx val="254788352"/>
        <c:crosses val="autoZero"/>
        <c:auto val="1"/>
        <c:lblAlgn val="ctr"/>
        <c:lblOffset val="100"/>
        <c:noMultiLvlLbl val="0"/>
      </c:catAx>
      <c:valAx>
        <c:axId val="254788352"/>
        <c:scaling>
          <c:orientation val="minMax"/>
        </c:scaling>
        <c:delete val="0"/>
        <c:axPos val="b"/>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lang="en-US" sz="1197" b="0" i="0" u="none" strike="noStrike" kern="1200" baseline="0">
                <a:solidFill>
                  <a:schemeClr val="tx1"/>
                </a:solidFill>
                <a:latin typeface="+mn-lt"/>
                <a:ea typeface="+mn-ea"/>
                <a:cs typeface="+mn-cs"/>
              </a:defRPr>
            </a:pPr>
            <a:endParaRPr lang="tr-TR"/>
          </a:p>
        </c:txPr>
        <c:crossAx val="253913344"/>
        <c:crosses val="autoZero"/>
        <c:crossBetween val="between"/>
      </c:valAx>
      <c:spPr>
        <a:noFill/>
        <a:ln>
          <a:noFill/>
        </a:ln>
        <a:effectLst/>
      </c:spPr>
    </c:plotArea>
    <c:plotVisOnly val="1"/>
    <c:dispBlanksAs val="gap"/>
    <c:showDLblsOverMax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tr-TR"/>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04302300070692"/>
          <c:y val="5.8339549661555461E-2"/>
          <c:w val="0.72819874702768117"/>
          <c:h val="0.90785329465395792"/>
        </c:manualLayout>
      </c:layout>
      <c:doughnutChart>
        <c:varyColors val="1"/>
        <c:ser>
          <c:idx val="0"/>
          <c:order val="0"/>
          <c:tx>
            <c:strRef>
              <c:f>Sheet1!$B$1</c:f>
              <c:strCache>
                <c:ptCount val="1"/>
                <c:pt idx="0">
                  <c:v>Column1</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7871-40E8-BB7D-C8DCA1D9D64E}"/>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7871-40E8-BB7D-C8DCA1D9D64E}"/>
              </c:ext>
            </c:extLst>
          </c:dPt>
          <c:cat>
            <c:strRef>
              <c:f>Sheet1!$A$2:$A$3</c:f>
              <c:strCache>
                <c:ptCount val="2"/>
                <c:pt idx="0">
                  <c:v>1st Qtr</c:v>
                </c:pt>
                <c:pt idx="1">
                  <c:v>2nd Qtr</c:v>
                </c:pt>
              </c:strCache>
            </c:strRef>
          </c:cat>
          <c:val>
            <c:numRef>
              <c:f>Sheet1!$B$2:$B$3</c:f>
              <c:numCache>
                <c:formatCode>General</c:formatCode>
                <c:ptCount val="2"/>
                <c:pt idx="0">
                  <c:v>35.1</c:v>
                </c:pt>
                <c:pt idx="1">
                  <c:v>64.900000000000006</c:v>
                </c:pt>
              </c:numCache>
            </c:numRef>
          </c:val>
          <c:extLst>
            <c:ext xmlns:c16="http://schemas.microsoft.com/office/drawing/2014/chart" uri="{C3380CC4-5D6E-409C-BE32-E72D297353CC}">
              <c16:uniqueId val="{00000004-7871-40E8-BB7D-C8DCA1D9D64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04302300070692"/>
          <c:y val="5.8339549661555461E-2"/>
          <c:w val="0.72819874702768117"/>
          <c:h val="0.90785329465395792"/>
        </c:manualLayout>
      </c:layout>
      <c:doughnutChart>
        <c:varyColors val="1"/>
        <c:ser>
          <c:idx val="0"/>
          <c:order val="0"/>
          <c:tx>
            <c:strRef>
              <c:f>Sheet1!$B$1</c:f>
              <c:strCache>
                <c:ptCount val="1"/>
                <c:pt idx="0">
                  <c:v>Column1</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47D8-48FA-B828-3B44D14C6F9E}"/>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47D8-48FA-B828-3B44D14C6F9E}"/>
              </c:ext>
            </c:extLst>
          </c:dPt>
          <c:cat>
            <c:strRef>
              <c:f>Sheet1!$A$2:$A$3</c:f>
              <c:strCache>
                <c:ptCount val="2"/>
                <c:pt idx="0">
                  <c:v>1st Qtr</c:v>
                </c:pt>
                <c:pt idx="1">
                  <c:v>2nd Qtr</c:v>
                </c:pt>
              </c:strCache>
            </c:strRef>
          </c:cat>
          <c:val>
            <c:numRef>
              <c:f>Sheet1!$B$2:$B$3</c:f>
              <c:numCache>
                <c:formatCode>General</c:formatCode>
                <c:ptCount val="2"/>
                <c:pt idx="0">
                  <c:v>46.4</c:v>
                </c:pt>
                <c:pt idx="1">
                  <c:v>53.6</c:v>
                </c:pt>
              </c:numCache>
            </c:numRef>
          </c:val>
          <c:extLst>
            <c:ext xmlns:c16="http://schemas.microsoft.com/office/drawing/2014/chart" uri="{C3380CC4-5D6E-409C-BE32-E72D297353CC}">
              <c16:uniqueId val="{00000004-47D8-48FA-B828-3B44D14C6F9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677998407969282"/>
          <c:y val="9.1892468608982272E-2"/>
          <c:w val="0.57477923255189001"/>
          <c:h val="0.81033655170243069"/>
        </c:manualLayout>
      </c:layout>
      <c:pieChart>
        <c:varyColors val="1"/>
        <c:ser>
          <c:idx val="0"/>
          <c:order val="0"/>
          <c:spPr>
            <a:scene3d>
              <a:camera prst="orthographicFront"/>
              <a:lightRig rig="threePt" dir="t"/>
            </a:scene3d>
            <a:sp3d>
              <a:bevelT w="165100" prst="coolSlant"/>
            </a:sp3d>
          </c:spPr>
          <c:dPt>
            <c:idx val="0"/>
            <c:bubble3D val="0"/>
            <c:explosion val="1"/>
            <c:spPr>
              <a:solidFill>
                <a:schemeClr val="accent2"/>
              </a:solidFill>
              <a:ln w="19050">
                <a:solidFill>
                  <a:schemeClr val="lt1"/>
                </a:solidFill>
              </a:ln>
              <a:effectLst/>
              <a:scene3d>
                <a:camera prst="orthographicFront"/>
                <a:lightRig rig="threePt" dir="t"/>
              </a:scene3d>
            </c:spPr>
            <c:extLst>
              <c:ext xmlns:c16="http://schemas.microsoft.com/office/drawing/2014/chart" uri="{C3380CC4-5D6E-409C-BE32-E72D297353CC}">
                <c16:uniqueId val="{00000001-5FC8-4864-9B38-3E70CFE51700}"/>
              </c:ext>
            </c:extLst>
          </c:dPt>
          <c:dPt>
            <c:idx val="1"/>
            <c:bubble3D val="0"/>
            <c:spPr>
              <a:solidFill>
                <a:schemeClr val="accent2"/>
              </a:solidFill>
              <a:ln w="19050">
                <a:solidFill>
                  <a:schemeClr val="lt1"/>
                </a:solidFill>
              </a:ln>
              <a:effectLst/>
              <a:scene3d>
                <a:camera prst="orthographicFront"/>
                <a:lightRig rig="threePt" dir="t"/>
              </a:scene3d>
            </c:spPr>
            <c:extLst>
              <c:ext xmlns:c16="http://schemas.microsoft.com/office/drawing/2014/chart" uri="{C3380CC4-5D6E-409C-BE32-E72D297353CC}">
                <c16:uniqueId val="{00000003-5FC8-4864-9B38-3E70CFE51700}"/>
              </c:ext>
            </c:extLst>
          </c:dPt>
          <c:dPt>
            <c:idx val="2"/>
            <c:bubble3D val="0"/>
            <c:spPr>
              <a:solidFill>
                <a:schemeClr val="accent1">
                  <a:lumMod val="75000"/>
                </a:schemeClr>
              </a:solidFill>
              <a:ln w="19050">
                <a:solidFill>
                  <a:schemeClr val="lt1"/>
                </a:solidFill>
              </a:ln>
              <a:effectLst/>
              <a:scene3d>
                <a:camera prst="orthographicFront"/>
                <a:lightRig rig="threePt" dir="t"/>
              </a:scene3d>
            </c:spPr>
            <c:extLst>
              <c:ext xmlns:c16="http://schemas.microsoft.com/office/drawing/2014/chart" uri="{C3380CC4-5D6E-409C-BE32-E72D297353CC}">
                <c16:uniqueId val="{00000005-5FC8-4864-9B38-3E70CFE51700}"/>
              </c:ext>
            </c:extLst>
          </c:dPt>
          <c:dPt>
            <c:idx val="3"/>
            <c:bubble3D val="0"/>
            <c:spPr>
              <a:solidFill>
                <a:schemeClr val="accent2"/>
              </a:solidFill>
              <a:ln w="19050">
                <a:solidFill>
                  <a:schemeClr val="lt1"/>
                </a:solidFill>
              </a:ln>
              <a:effectLst/>
              <a:scene3d>
                <a:camera prst="orthographicFront"/>
                <a:lightRig rig="threePt" dir="t"/>
              </a:scene3d>
            </c:spPr>
            <c:extLst>
              <c:ext xmlns:c16="http://schemas.microsoft.com/office/drawing/2014/chart" uri="{C3380CC4-5D6E-409C-BE32-E72D297353CC}">
                <c16:uniqueId val="{00000007-5FC8-4864-9B38-3E70CFE51700}"/>
              </c:ext>
            </c:extLst>
          </c:dPt>
          <c:dPt>
            <c:idx val="4"/>
            <c:bubble3D val="0"/>
            <c:spPr>
              <a:solidFill>
                <a:schemeClr val="bg1">
                  <a:lumMod val="50000"/>
                </a:schemeClr>
              </a:solidFill>
              <a:ln w="19050">
                <a:solidFill>
                  <a:schemeClr val="lt1"/>
                </a:solidFill>
              </a:ln>
              <a:effectLst/>
              <a:scene3d>
                <a:camera prst="orthographicFront"/>
                <a:lightRig rig="threePt" dir="t"/>
              </a:scene3d>
              <a:sp3d>
                <a:bevelT w="165100" prst="coolSlant"/>
              </a:sp3d>
            </c:spPr>
            <c:extLst>
              <c:ext xmlns:c16="http://schemas.microsoft.com/office/drawing/2014/chart" uri="{C3380CC4-5D6E-409C-BE32-E72D297353CC}">
                <c16:uniqueId val="{00000009-5FC8-4864-9B38-3E70CFE51700}"/>
              </c:ext>
            </c:extLst>
          </c:dPt>
          <c:dLbls>
            <c:dLbl>
              <c:idx val="0"/>
              <c:layout>
                <c:manualLayout>
                  <c:x val="-0.105884743476566"/>
                  <c:y val="0.123845534391175"/>
                </c:manualLayout>
              </c:layout>
              <c:numFmt formatCode="%0.00" sourceLinked="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FC8-4864-9B38-3E70CFE51700}"/>
                </c:ext>
              </c:extLst>
            </c:dLbl>
            <c:dLbl>
              <c:idx val="1"/>
              <c:layout>
                <c:manualLayout>
                  <c:x val="-2.4019152674731099E-2"/>
                  <c:y val="-0.226420505964918"/>
                </c:manualLayout>
              </c:layout>
              <c:numFmt formatCode="%0.00" sourceLinked="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FC8-4864-9B38-3E70CFE51700}"/>
                </c:ext>
              </c:extLst>
            </c:dLbl>
            <c:dLbl>
              <c:idx val="2"/>
              <c:layout>
                <c:manualLayout>
                  <c:x val="0.117084193486794"/>
                  <c:y val="4.1502949262551499E-2"/>
                </c:manualLayout>
              </c:layout>
              <c:numFmt formatCode="%0.00" sourceLinked="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FC8-4864-9B38-3E70CFE51700}"/>
                </c:ext>
              </c:extLst>
            </c:dLbl>
            <c:dLbl>
              <c:idx val="3"/>
              <c:layout>
                <c:manualLayout>
                  <c:x val="6.2348335390256603E-2"/>
                  <c:y val="0.16318816977391001"/>
                </c:manualLayout>
              </c:layout>
              <c:numFmt formatCode="%0.00" sourceLinked="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FC8-4864-9B38-3E70CFE51700}"/>
                </c:ext>
              </c:extLst>
            </c:dLbl>
            <c:dLbl>
              <c:idx val="4"/>
              <c:layout>
                <c:manualLayout>
                  <c:x val="-0.187144969644607"/>
                  <c:y val="0.10220909713792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FC8-4864-9B38-3E70CFE51700}"/>
                </c:ext>
              </c:extLst>
            </c:dLbl>
            <c:numFmt formatCode="%0.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val>
            <c:numRef>
              <c:f>Sheet1!$B$2:$B$5</c:f>
              <c:numCache>
                <c:formatCode>0%</c:formatCode>
                <c:ptCount val="4"/>
                <c:pt idx="0">
                  <c:v>0.23</c:v>
                </c:pt>
                <c:pt idx="1">
                  <c:v>0.45</c:v>
                </c:pt>
                <c:pt idx="2">
                  <c:v>0.15</c:v>
                </c:pt>
                <c:pt idx="3">
                  <c:v>0.17</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PPV23 only</c:v>
                      </c:pt>
                      <c:pt idx="1">
                        <c:v>PCV13 only</c:v>
                      </c:pt>
                      <c:pt idx="2">
                        <c:v>PCV13-PPSV23</c:v>
                      </c:pt>
                      <c:pt idx="3">
                        <c:v>PPSV23-PCV13</c:v>
                      </c:pt>
                    </c:strCache>
                  </c:strRef>
                </c15:cat>
              </c15:filteredCategoryTitle>
            </c:ext>
            <c:ext xmlns:c16="http://schemas.microsoft.com/office/drawing/2014/chart" uri="{C3380CC4-5D6E-409C-BE32-E72D297353CC}">
              <c16:uniqueId val="{0000000A-5FC8-4864-9B38-3E70CFE51700}"/>
            </c:ext>
          </c:extLst>
        </c:ser>
        <c:dLbls>
          <c:showLegendKey val="0"/>
          <c:showVal val="0"/>
          <c:showCatName val="0"/>
          <c:showSerName val="0"/>
          <c:showPercent val="0"/>
          <c:showBubbleSize val="0"/>
          <c:showLeaderLines val="0"/>
        </c:dLbls>
        <c:firstSliceAng val="12"/>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094056262172361E-2"/>
          <c:y val="3.5500797524838791E-2"/>
          <c:w val="0.93843143058799394"/>
          <c:h val="0.83279052852852509"/>
        </c:manualLayout>
      </c:layout>
      <c:barChart>
        <c:barDir val="col"/>
        <c:grouping val="clustered"/>
        <c:varyColors val="0"/>
        <c:ser>
          <c:idx val="0"/>
          <c:order val="0"/>
          <c:tx>
            <c:strRef>
              <c:f>Sheet1!$B$1</c:f>
              <c:strCache>
                <c:ptCount val="1"/>
                <c:pt idx="0">
                  <c:v>Tümü (N=6,24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solidFill>
                    <a:latin typeface="+mn-lt"/>
                    <a:ea typeface="+mn-ea"/>
                    <a:cs typeface="+mn-cs"/>
                  </a:defRPr>
                </a:pPr>
                <a:endParaRPr lang="tr-TR"/>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 Akut Kalp Hastalığı</c:v>
                </c:pt>
                <c:pt idx="1">
                  <c:v>Akut KY</c:v>
                </c:pt>
                <c:pt idx="2">
                  <c:v>Akut İKH</c:v>
                </c:pt>
                <c:pt idx="3">
                  <c:v>Hipertansif kriz</c:v>
                </c:pt>
                <c:pt idx="4">
                  <c:v>Ventriküler taşikardi</c:v>
                </c:pt>
                <c:pt idx="5">
                  <c:v>Kardiyojenik şok</c:v>
                </c:pt>
                <c:pt idx="6">
                  <c:v>Diğer akut kardiyak olaylar</c:v>
                </c:pt>
              </c:strCache>
            </c:strRef>
          </c:cat>
          <c:val>
            <c:numRef>
              <c:f>Sheet1!$B$2:$B$8</c:f>
              <c:numCache>
                <c:formatCode>General</c:formatCode>
                <c:ptCount val="7"/>
                <c:pt idx="0">
                  <c:v>22.4</c:v>
                </c:pt>
                <c:pt idx="1">
                  <c:v>15.8</c:v>
                </c:pt>
                <c:pt idx="2">
                  <c:v>7.5</c:v>
                </c:pt>
                <c:pt idx="3">
                  <c:v>1.3</c:v>
                </c:pt>
                <c:pt idx="4">
                  <c:v>1.1000000000000001</c:v>
                </c:pt>
                <c:pt idx="5">
                  <c:v>0.60000000000000042</c:v>
                </c:pt>
                <c:pt idx="6">
                  <c:v>1.3</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E4D4-435A-98C5-EA86317B452E}"/>
            </c:ext>
          </c:extLst>
        </c:ser>
        <c:ser>
          <c:idx val="1"/>
          <c:order val="1"/>
          <c:tx>
            <c:strRef>
              <c:f>Sheet1!$C$1</c:f>
              <c:strCache>
                <c:ptCount val="1"/>
                <c:pt idx="0">
                  <c:v> ≥1 altta yatan KVH (n=3,56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solidFill>
                    <a:latin typeface="+mn-lt"/>
                    <a:ea typeface="+mn-ea"/>
                    <a:cs typeface="+mn-cs"/>
                  </a:defRPr>
                </a:pPr>
                <a:endParaRPr lang="tr-TR"/>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 Akut Kalp Hastalığı</c:v>
                </c:pt>
                <c:pt idx="1">
                  <c:v>Akut KY</c:v>
                </c:pt>
                <c:pt idx="2">
                  <c:v>Akut İKH</c:v>
                </c:pt>
                <c:pt idx="3">
                  <c:v>Hipertansif kriz</c:v>
                </c:pt>
                <c:pt idx="4">
                  <c:v>Ventriküler taşikardi</c:v>
                </c:pt>
                <c:pt idx="5">
                  <c:v>Kardiyojenik şok</c:v>
                </c:pt>
                <c:pt idx="6">
                  <c:v>Diğer akut kardiyak olaylar</c:v>
                </c:pt>
              </c:strCache>
            </c:strRef>
          </c:cat>
          <c:val>
            <c:numRef>
              <c:f>Sheet1!$C$2:$C$8</c:f>
              <c:numCache>
                <c:formatCode>General</c:formatCode>
                <c:ptCount val="7"/>
                <c:pt idx="0">
                  <c:v>33</c:v>
                </c:pt>
                <c:pt idx="1">
                  <c:v>25.3</c:v>
                </c:pt>
                <c:pt idx="2">
                  <c:v>10.200000000000001</c:v>
                </c:pt>
                <c:pt idx="3">
                  <c:v>1.1000000000000001</c:v>
                </c:pt>
                <c:pt idx="4">
                  <c:v>1.6</c:v>
                </c:pt>
                <c:pt idx="5">
                  <c:v>0.8</c:v>
                </c:pt>
                <c:pt idx="6">
                  <c:v>1.6</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E4D4-435A-98C5-EA86317B452E}"/>
            </c:ext>
          </c:extLst>
        </c:ser>
        <c:ser>
          <c:idx val="2"/>
          <c:order val="2"/>
          <c:tx>
            <c:strRef>
              <c:f>Sheet1!$D$1</c:f>
              <c:strCache>
                <c:ptCount val="1"/>
                <c:pt idx="0">
                  <c:v>Kayıt edilmiş bir KVH yok (n=2,68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solidFill>
                    <a:latin typeface="+mn-lt"/>
                    <a:ea typeface="+mn-ea"/>
                    <a:cs typeface="+mn-cs"/>
                  </a:defRPr>
                </a:pPr>
                <a:endParaRPr lang="tr-TR"/>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 Akut Kalp Hastalığı</c:v>
                </c:pt>
                <c:pt idx="1">
                  <c:v>Akut KY</c:v>
                </c:pt>
                <c:pt idx="2">
                  <c:v>Akut İKH</c:v>
                </c:pt>
                <c:pt idx="3">
                  <c:v>Hipertansif kriz</c:v>
                </c:pt>
                <c:pt idx="4">
                  <c:v>Ventriküler taşikardi</c:v>
                </c:pt>
                <c:pt idx="5">
                  <c:v>Kardiyojenik şok</c:v>
                </c:pt>
                <c:pt idx="6">
                  <c:v>Diğer akut kardiyak olaylar</c:v>
                </c:pt>
              </c:strCache>
            </c:strRef>
          </c:cat>
          <c:val>
            <c:numRef>
              <c:f>Sheet1!$D$2:$D$8</c:f>
              <c:numCache>
                <c:formatCode>General</c:formatCode>
                <c:ptCount val="7"/>
                <c:pt idx="0">
                  <c:v>8.5</c:v>
                </c:pt>
                <c:pt idx="1">
                  <c:v>3.5</c:v>
                </c:pt>
                <c:pt idx="2">
                  <c:v>4.0999999999999996</c:v>
                </c:pt>
                <c:pt idx="3">
                  <c:v>1.6</c:v>
                </c:pt>
                <c:pt idx="4">
                  <c:v>0.5</c:v>
                </c:pt>
                <c:pt idx="5">
                  <c:v>0.2</c:v>
                </c:pt>
                <c:pt idx="6">
                  <c:v>0.9</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2-E4D4-435A-98C5-EA86317B452E}"/>
            </c:ext>
          </c:extLst>
        </c:ser>
        <c:dLbls>
          <c:showLegendKey val="0"/>
          <c:showVal val="0"/>
          <c:showCatName val="0"/>
          <c:showSerName val="0"/>
          <c:showPercent val="0"/>
          <c:showBubbleSize val="0"/>
        </c:dLbls>
        <c:gapWidth val="159"/>
        <c:overlap val="-15"/>
        <c:axId val="260802048"/>
        <c:axId val="260826624"/>
      </c:barChart>
      <c:catAx>
        <c:axId val="26080204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nSpc>
                <a:spcPct val="90000"/>
              </a:lnSpc>
              <a:defRPr lang="en-US" sz="1197" b="0" i="0" u="none" strike="noStrike" kern="1200" baseline="0">
                <a:solidFill>
                  <a:schemeClr val="tx1"/>
                </a:solidFill>
                <a:latin typeface="+mn-lt"/>
                <a:ea typeface="+mn-ea"/>
                <a:cs typeface="+mn-cs"/>
              </a:defRPr>
            </a:pPr>
            <a:endParaRPr lang="tr-TR"/>
          </a:p>
        </c:txPr>
        <c:crossAx val="260826624"/>
        <c:crosses val="autoZero"/>
        <c:auto val="1"/>
        <c:lblAlgn val="ctr"/>
        <c:lblOffset val="0"/>
        <c:noMultiLvlLbl val="0"/>
      </c:catAx>
      <c:valAx>
        <c:axId val="260826624"/>
        <c:scaling>
          <c:orientation val="minMax"/>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lang="en-US" sz="1197" b="0" i="0" u="none" strike="noStrike" kern="1200" baseline="0">
                <a:solidFill>
                  <a:schemeClr val="tx1"/>
                </a:solidFill>
                <a:latin typeface="+mn-lt"/>
                <a:ea typeface="+mn-ea"/>
                <a:cs typeface="+mn-cs"/>
              </a:defRPr>
            </a:pPr>
            <a:endParaRPr lang="tr-TR"/>
          </a:p>
        </c:txPr>
        <c:crossAx val="260802048"/>
        <c:crosses val="autoZero"/>
        <c:crossBetween val="between"/>
      </c:valAx>
      <c:spPr>
        <a:noFill/>
        <a:ln>
          <a:noFill/>
        </a:ln>
        <a:effectLst/>
      </c:spPr>
    </c:plotArea>
    <c:legend>
      <c:legendPos val="b"/>
      <c:layout>
        <c:manualLayout>
          <c:xMode val="edge"/>
          <c:yMode val="edge"/>
          <c:x val="0.59035928472074339"/>
          <c:y val="4.2241300051969063E-2"/>
          <c:w val="0.39382896761470021"/>
          <c:h val="0.17417381678828955"/>
        </c:manualLayout>
      </c:layout>
      <c:overlay val="0"/>
      <c:spPr>
        <a:noFill/>
        <a:ln>
          <a:noFill/>
        </a:ln>
        <a:effectLst/>
      </c:spPr>
      <c:txPr>
        <a:bodyPr rot="0" spcFirstLastPara="1" vertOverflow="ellipsis" vert="horz" wrap="square" anchor="ctr" anchorCtr="1"/>
        <a:lstStyle/>
        <a:p>
          <a:pPr>
            <a:defRPr lang="en-US" sz="1197" b="0" i="0" u="none" strike="noStrike" kern="1200" baseline="0">
              <a:solidFill>
                <a:schemeClr val="tx1"/>
              </a:solidFill>
              <a:latin typeface="+mn-lt"/>
              <a:ea typeface="+mn-ea"/>
              <a:cs typeface="+mn-cs"/>
            </a:defRPr>
          </a:pPr>
          <a:endParaRPr lang="tr-TR"/>
        </a:p>
      </c:txPr>
    </c:legend>
    <c:plotVisOnly val="1"/>
    <c:dispBlanksAs val="gap"/>
    <c:showDLblsOverMax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tr-T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986595425571781E-2"/>
          <c:y val="5.8873431393909645E-2"/>
          <c:w val="0.90482595925509368"/>
          <c:h val="0.62123348559801583"/>
        </c:manualLayout>
      </c:layout>
      <c:barChart>
        <c:barDir val="col"/>
        <c:grouping val="clustered"/>
        <c:varyColors val="0"/>
        <c:ser>
          <c:idx val="0"/>
          <c:order val="0"/>
          <c:spPr>
            <a:solidFill>
              <a:srgbClr val="1CADE4"/>
            </a:solidFill>
            <a:ln>
              <a:noFill/>
            </a:ln>
            <a:effectLst/>
          </c:spPr>
          <c:invertIfNegative val="0"/>
          <c:dLbls>
            <c:numFmt formatCode="0&quot;%&quot;" sourceLinked="0"/>
            <c:spPr>
              <a:noFill/>
              <a:ln>
                <a:noFill/>
              </a:ln>
              <a:effectLst/>
            </c:spPr>
            <c:txPr>
              <a:bodyPr rot="0" spcFirstLastPara="1" vertOverflow="ellipsis" vert="horz" wrap="square" anchor="ctr" anchorCtr="1"/>
              <a:lstStyle/>
              <a:p>
                <a:pPr>
                  <a:defRPr lang="en-US" sz="1400" b="0" i="0" u="none" strike="noStrike" kern="1200" baseline="0">
                    <a:solidFill>
                      <a:schemeClr val="tx1"/>
                    </a:solidFill>
                    <a:latin typeface="Arial" panose="020B0604020202020204" pitchFamily="34" charset="0"/>
                    <a:ea typeface="+mn-ea"/>
                    <a:cs typeface="Arial" panose="020B0604020202020204" pitchFamily="34" charset="0"/>
                  </a:defRPr>
                </a:pPr>
                <a:endParaRPr lang="tr-TR"/>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0:$A$12</c:f>
              <c:strCache>
                <c:ptCount val="3"/>
                <c:pt idx="0">
                  <c:v>Hastaneye yatış öncesi </c:v>
                </c:pt>
                <c:pt idx="1">
                  <c:v>Taburcu </c:v>
                </c:pt>
                <c:pt idx="2">
                  <c:v>Taburcu olduktan 6 ay sonra</c:v>
                </c:pt>
              </c:strCache>
            </c:strRef>
          </c:cat>
          <c:val>
            <c:numRef>
              <c:f>Sheet1!$B$10:$B$12</c:f>
              <c:numCache>
                <c:formatCode>General</c:formatCode>
                <c:ptCount val="3"/>
                <c:pt idx="0">
                  <c:v>40</c:v>
                </c:pt>
                <c:pt idx="1">
                  <c:v>26</c:v>
                </c:pt>
                <c:pt idx="2">
                  <c:v>32</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0-48F9-4F82-AC30-D5B4C3DC8175}"/>
            </c:ext>
          </c:extLst>
        </c:ser>
        <c:dLbls>
          <c:showLegendKey val="0"/>
          <c:showVal val="1"/>
          <c:showCatName val="0"/>
          <c:showSerName val="0"/>
          <c:showPercent val="0"/>
          <c:showBubbleSize val="0"/>
        </c:dLbls>
        <c:gapWidth val="180"/>
        <c:overlap val="-5"/>
        <c:axId val="262028288"/>
        <c:axId val="262032384"/>
      </c:barChart>
      <c:catAx>
        <c:axId val="2620282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en-US" sz="1400" b="0" i="0" u="none" strike="noStrike" kern="1200" baseline="0">
                <a:solidFill>
                  <a:schemeClr val="tx1"/>
                </a:solidFill>
                <a:latin typeface="+mn-lt"/>
                <a:ea typeface="+mn-ea"/>
                <a:cs typeface="Arial" panose="020B0604020202020204" pitchFamily="34" charset="0"/>
              </a:defRPr>
            </a:pPr>
            <a:endParaRPr lang="tr-TR"/>
          </a:p>
        </c:txPr>
        <c:crossAx val="262032384"/>
        <c:crosses val="autoZero"/>
        <c:auto val="1"/>
        <c:lblAlgn val="ctr"/>
        <c:lblOffset val="100"/>
        <c:noMultiLvlLbl val="0"/>
      </c:catAx>
      <c:valAx>
        <c:axId val="262032384"/>
        <c:scaling>
          <c:orientation val="minMax"/>
          <c:max val="50"/>
          <c:min val="0"/>
        </c:scaling>
        <c:delete val="0"/>
        <c:axPos val="l"/>
        <c:numFmt formatCode="0&quot;&quot;"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en-US" sz="1400" b="0" i="0" u="none" strike="noStrike" kern="1200" baseline="0">
                <a:solidFill>
                  <a:schemeClr val="tx1"/>
                </a:solidFill>
                <a:latin typeface="+mn-lt"/>
                <a:ea typeface="+mn-ea"/>
                <a:cs typeface="Arial" panose="020B0604020202020204" pitchFamily="34" charset="0"/>
              </a:defRPr>
            </a:pPr>
            <a:endParaRPr lang="tr-TR"/>
          </a:p>
        </c:txPr>
        <c:crossAx val="262028288"/>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tr-TR"/>
    </a:p>
  </c:txPr>
  <c:externalData r:id="rId4">
    <c:autoUpdate val="0"/>
  </c:externalData>
  <c:userShapes r:id="rId5"/>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124982539772163E-2"/>
          <c:y val="2.1466905187835436E-2"/>
          <c:w val="0.91718712276948322"/>
          <c:h val="0.77239095395731505"/>
        </c:manualLayout>
      </c:layout>
      <c:barChart>
        <c:barDir val="col"/>
        <c:grouping val="clustered"/>
        <c:varyColors val="0"/>
        <c:ser>
          <c:idx val="0"/>
          <c:order val="0"/>
          <c:tx>
            <c:strRef>
              <c:f>Sheet1!$A$2</c:f>
              <c:strCache>
                <c:ptCount val="1"/>
                <c:pt idx="0">
                  <c:v>2016–17</c:v>
                </c:pt>
              </c:strCache>
            </c:strRef>
          </c:tx>
          <c:spPr>
            <a:solidFill>
              <a:schemeClr val="accent4"/>
            </a:solidFill>
            <a:ln>
              <a:noFill/>
            </a:ln>
            <a:effectLst/>
          </c:spPr>
          <c:invertIfNegative val="0"/>
          <c:cat>
            <c:strRef>
              <c:f>Sheet1!$D$1:$E$1</c:f>
              <c:strCache>
                <c:ptCount val="2"/>
                <c:pt idx="0">
                  <c:v>65–74</c:v>
                </c:pt>
                <c:pt idx="1">
                  <c:v>≥75</c:v>
                </c:pt>
              </c:strCache>
            </c:strRef>
          </c:cat>
          <c:val>
            <c:numRef>
              <c:f>Sheet1!$D$2:$E$2</c:f>
              <c:numCache>
                <c:formatCode>General</c:formatCode>
                <c:ptCount val="2"/>
                <c:pt idx="0">
                  <c:v>83.9</c:v>
                </c:pt>
                <c:pt idx="1">
                  <c:v>285.6000000000000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0-8FCC-4C30-9B9E-44A7DAF7EF77}"/>
            </c:ext>
          </c:extLst>
        </c:ser>
        <c:ser>
          <c:idx val="1"/>
          <c:order val="1"/>
          <c:tx>
            <c:strRef>
              <c:f>Sheet1!$A$3</c:f>
              <c:strCache>
                <c:ptCount val="1"/>
                <c:pt idx="0">
                  <c:v>2017–18</c:v>
                </c:pt>
              </c:strCache>
            </c:strRef>
          </c:tx>
          <c:spPr>
            <a:solidFill>
              <a:schemeClr val="accent2"/>
            </a:solidFill>
            <a:ln>
              <a:noFill/>
            </a:ln>
            <a:effectLst/>
          </c:spPr>
          <c:invertIfNegative val="0"/>
          <c:cat>
            <c:strRef>
              <c:f>Sheet1!$D$1:$E$1</c:f>
              <c:strCache>
                <c:ptCount val="2"/>
                <c:pt idx="0">
                  <c:v>65–74</c:v>
                </c:pt>
                <c:pt idx="1">
                  <c:v>≥75</c:v>
                </c:pt>
              </c:strCache>
            </c:strRef>
          </c:cat>
          <c:val>
            <c:numRef>
              <c:f>Sheet1!$D$3:$E$3</c:f>
              <c:numCache>
                <c:formatCode>General</c:formatCode>
                <c:ptCount val="2"/>
                <c:pt idx="0">
                  <c:v>150.1</c:v>
                </c:pt>
                <c:pt idx="1">
                  <c:v>411.4</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1-8FCC-4C30-9B9E-44A7DAF7EF77}"/>
            </c:ext>
          </c:extLst>
        </c:ser>
        <c:ser>
          <c:idx val="2"/>
          <c:order val="2"/>
          <c:tx>
            <c:strRef>
              <c:f>Sheet1!$A$4</c:f>
              <c:strCache>
                <c:ptCount val="1"/>
                <c:pt idx="0">
                  <c:v>2018–19</c:v>
                </c:pt>
              </c:strCache>
            </c:strRef>
          </c:tx>
          <c:spPr>
            <a:solidFill>
              <a:schemeClr val="accent1"/>
            </a:solidFill>
            <a:ln>
              <a:noFill/>
            </a:ln>
            <a:effectLst/>
          </c:spPr>
          <c:invertIfNegative val="0"/>
          <c:cat>
            <c:strRef>
              <c:f>Sheet1!$D$1:$E$1</c:f>
              <c:strCache>
                <c:ptCount val="2"/>
                <c:pt idx="0">
                  <c:v>65–74</c:v>
                </c:pt>
                <c:pt idx="1">
                  <c:v>≥75</c:v>
                </c:pt>
              </c:strCache>
            </c:strRef>
          </c:cat>
          <c:val>
            <c:numRef>
              <c:f>Sheet1!$D$4:$E$4</c:f>
              <c:numCache>
                <c:formatCode>General</c:formatCode>
                <c:ptCount val="2"/>
                <c:pt idx="0">
                  <c:v>98.5</c:v>
                </c:pt>
                <c:pt idx="1">
                  <c:v>273.3</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2-8FCC-4C30-9B9E-44A7DAF7EF77}"/>
            </c:ext>
          </c:extLst>
        </c:ser>
        <c:ser>
          <c:idx val="3"/>
          <c:order val="3"/>
          <c:tx>
            <c:strRef>
              <c:f>Sheet1!$A$5</c:f>
              <c:strCache>
                <c:ptCount val="1"/>
                <c:pt idx="0">
                  <c:v>2019–20</c:v>
                </c:pt>
              </c:strCache>
            </c:strRef>
          </c:tx>
          <c:spPr>
            <a:solidFill>
              <a:schemeClr val="accent5"/>
            </a:solidFill>
            <a:ln>
              <a:noFill/>
            </a:ln>
            <a:effectLst/>
          </c:spPr>
          <c:invertIfNegative val="0"/>
          <c:cat>
            <c:strRef>
              <c:f>Sheet1!$D$1:$E$1</c:f>
              <c:strCache>
                <c:ptCount val="2"/>
                <c:pt idx="0">
                  <c:v>65–74</c:v>
                </c:pt>
                <c:pt idx="1">
                  <c:v>≥75</c:v>
                </c:pt>
              </c:strCache>
            </c:strRef>
          </c:cat>
          <c:val>
            <c:numRef>
              <c:f>Sheet1!$D$5:$E$5</c:f>
              <c:numCache>
                <c:formatCode>General</c:formatCode>
                <c:ptCount val="2"/>
                <c:pt idx="0">
                  <c:v>88.3</c:v>
                </c:pt>
                <c:pt idx="1">
                  <c:v>250.3</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3-8FCC-4C30-9B9E-44A7DAF7EF77}"/>
            </c:ext>
          </c:extLst>
        </c:ser>
        <c:ser>
          <c:idx val="4"/>
          <c:order val="4"/>
          <c:tx>
            <c:strRef>
              <c:f>Sheet1!$A$6</c:f>
              <c:strCache>
                <c:ptCount val="1"/>
                <c:pt idx="0">
                  <c:v>2020–21</c:v>
                </c:pt>
              </c:strCache>
            </c:strRef>
          </c:tx>
          <c:spPr>
            <a:solidFill>
              <a:schemeClr val="bg1">
                <a:lumMod val="65000"/>
              </a:schemeClr>
            </a:solidFill>
            <a:ln>
              <a:noFill/>
            </a:ln>
            <a:effectLst/>
          </c:spPr>
          <c:invertIfNegative val="0"/>
          <c:cat>
            <c:strRef>
              <c:f>Sheet1!$D$1:$E$1</c:f>
              <c:strCache>
                <c:ptCount val="2"/>
                <c:pt idx="0">
                  <c:v>65–74</c:v>
                </c:pt>
                <c:pt idx="1">
                  <c:v>≥75</c:v>
                </c:pt>
              </c:strCache>
            </c:strRef>
          </c:cat>
          <c:val>
            <c:numRef>
              <c:f>Sheet1!$D$6:$E$6</c:f>
              <c:numCache>
                <c:formatCode>General</c:formatCode>
                <c:ptCount val="2"/>
                <c:pt idx="0">
                  <c:v>27</c:v>
                </c:pt>
                <c:pt idx="1">
                  <c:v>36.5</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4-8FCC-4C30-9B9E-44A7DAF7EF77}"/>
            </c:ext>
          </c:extLst>
        </c:ser>
        <c:ser>
          <c:idx val="5"/>
          <c:order val="5"/>
          <c:tx>
            <c:strRef>
              <c:f>Sheet1!$A$7</c:f>
              <c:strCache>
                <c:ptCount val="1"/>
                <c:pt idx="0">
                  <c:v>2021–22</c:v>
                </c:pt>
              </c:strCache>
            </c:strRef>
          </c:tx>
          <c:spPr>
            <a:solidFill>
              <a:schemeClr val="accent6"/>
            </a:solidFill>
            <a:ln>
              <a:noFill/>
            </a:ln>
            <a:effectLst/>
          </c:spPr>
          <c:invertIfNegative val="0"/>
          <c:cat>
            <c:strRef>
              <c:f>Sheet1!$D$1:$E$1</c:f>
              <c:strCache>
                <c:ptCount val="2"/>
                <c:pt idx="0">
                  <c:v>65–74</c:v>
                </c:pt>
                <c:pt idx="1">
                  <c:v>≥75</c:v>
                </c:pt>
              </c:strCache>
            </c:strRef>
          </c:cat>
          <c:val>
            <c:numRef>
              <c:f>Sheet1!$D$7:$E$7</c:f>
              <c:numCache>
                <c:formatCode>General</c:formatCode>
                <c:ptCount val="2"/>
                <c:pt idx="0">
                  <c:v>58.5</c:v>
                </c:pt>
                <c:pt idx="1">
                  <c:v>156.1</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0-56FE-4FB8-8760-E5C5DAC9204C}"/>
            </c:ext>
          </c:extLst>
        </c:ser>
        <c:ser>
          <c:idx val="6"/>
          <c:order val="6"/>
          <c:tx>
            <c:strRef>
              <c:f>Sheet1!$A$8</c:f>
              <c:strCache>
                <c:ptCount val="1"/>
                <c:pt idx="0">
                  <c:v>2022–23</c:v>
                </c:pt>
              </c:strCache>
            </c:strRef>
          </c:tx>
          <c:spPr>
            <a:solidFill>
              <a:schemeClr val="tx2"/>
            </a:solidFill>
            <a:ln>
              <a:noFill/>
            </a:ln>
            <a:effectLst/>
          </c:spPr>
          <c:invertIfNegative val="0"/>
          <c:cat>
            <c:strRef>
              <c:f>Sheet1!$D$1:$E$1</c:f>
              <c:strCache>
                <c:ptCount val="2"/>
                <c:pt idx="0">
                  <c:v>65–74</c:v>
                </c:pt>
                <c:pt idx="1">
                  <c:v>≥75</c:v>
                </c:pt>
              </c:strCache>
            </c:strRef>
          </c:cat>
          <c:val>
            <c:numRef>
              <c:f>Sheet1!$D$8:$E$8</c:f>
              <c:numCache>
                <c:formatCode>General</c:formatCode>
                <c:ptCount val="2"/>
                <c:pt idx="0">
                  <c:v>100.5</c:v>
                </c:pt>
                <c:pt idx="1">
                  <c:v>244.7</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1-56FE-4FB8-8760-E5C5DAC9204C}"/>
            </c:ext>
          </c:extLst>
        </c:ser>
        <c:dLbls>
          <c:showLegendKey val="0"/>
          <c:showVal val="0"/>
          <c:showCatName val="0"/>
          <c:showSerName val="0"/>
          <c:showPercent val="0"/>
          <c:showBubbleSize val="0"/>
        </c:dLbls>
        <c:gapWidth val="219"/>
        <c:overlap val="-27"/>
        <c:axId val="264839168"/>
        <c:axId val="264866432"/>
      </c:barChart>
      <c:catAx>
        <c:axId val="264839168"/>
        <c:scaling>
          <c:orientation val="minMax"/>
        </c:scaling>
        <c:delete val="0"/>
        <c:axPos val="b"/>
        <c:title>
          <c:tx>
            <c:rich>
              <a:bodyPr rot="0" spcFirstLastPara="1" vertOverflow="ellipsis" vert="horz" wrap="square" anchor="ctr" anchorCtr="1"/>
              <a:lstStyle/>
              <a:p>
                <a:pPr>
                  <a:defRPr lang="en-US" sz="1600" b="1" i="0" u="none" strike="noStrike" kern="1200" baseline="0">
                    <a:solidFill>
                      <a:schemeClr val="tx1"/>
                    </a:solidFill>
                    <a:latin typeface="+mn-lt"/>
                    <a:ea typeface="+mn-ea"/>
                    <a:cs typeface="+mn-cs"/>
                  </a:defRPr>
                </a:pPr>
                <a:r>
                  <a:rPr lang="en-US" sz="1600" b="1">
                    <a:solidFill>
                      <a:schemeClr val="tx1"/>
                    </a:solidFill>
                  </a:rPr>
                  <a:t>Yaş grubu, yıl</a:t>
                </a:r>
              </a:p>
            </c:rich>
          </c:tx>
          <c:layout>
            <c:manualLayout>
              <c:xMode val="edge"/>
              <c:yMode val="edge"/>
              <c:x val="0.48607901935318748"/>
              <c:y val="0.89090462715888186"/>
            </c:manualLayout>
          </c:layout>
          <c:overlay val="0"/>
          <c:spPr>
            <a:noFill/>
            <a:ln>
              <a:noFill/>
            </a:ln>
            <a:effectLst/>
          </c:spPr>
        </c:title>
        <c:numFmt formatCode="General" sourceLinked="1"/>
        <c:majorTickMark val="out"/>
        <c:minorTickMark val="none"/>
        <c:tickLblPos val="nextTo"/>
        <c:spPr>
          <a:noFill/>
          <a:ln w="9525" cap="flat" cmpd="sng" algn="ctr">
            <a:solidFill>
              <a:schemeClr val="tx1"/>
            </a:solidFill>
            <a:round/>
          </a:ln>
          <a:effectLst/>
        </c:spPr>
        <c:txPr>
          <a:bodyPr rot="0" spcFirstLastPara="1" vertOverflow="ellipsis" wrap="square" anchor="ctr" anchorCtr="1"/>
          <a:lstStyle/>
          <a:p>
            <a:pPr>
              <a:defRPr lang="en-US" sz="1400" b="0" i="0" u="none" strike="noStrike" kern="1200" baseline="0">
                <a:solidFill>
                  <a:schemeClr val="tx1"/>
                </a:solidFill>
                <a:latin typeface="+mn-lt"/>
                <a:ea typeface="+mn-ea"/>
                <a:cs typeface="+mn-cs"/>
              </a:defRPr>
            </a:pPr>
            <a:endParaRPr lang="tr-TR"/>
          </a:p>
        </c:txPr>
        <c:crossAx val="264866432"/>
        <c:crosses val="autoZero"/>
        <c:auto val="1"/>
        <c:lblAlgn val="ctr"/>
        <c:lblOffset val="100"/>
        <c:tickLblSkip val="1"/>
        <c:tickMarkSkip val="1"/>
        <c:noMultiLvlLbl val="0"/>
      </c:catAx>
      <c:valAx>
        <c:axId val="264866432"/>
        <c:scaling>
          <c:orientation val="minMax"/>
          <c:max val="500"/>
        </c:scaling>
        <c:delete val="0"/>
        <c:axPos val="l"/>
        <c:numFmt formatCode="General" sourceLinked="1"/>
        <c:majorTickMark val="out"/>
        <c:minorTickMark val="none"/>
        <c:tickLblPos val="nextTo"/>
        <c:spPr>
          <a:noFill/>
          <a:ln>
            <a:solidFill>
              <a:schemeClr val="tx1"/>
            </a:solidFill>
          </a:ln>
          <a:effectLst/>
        </c:spPr>
        <c:txPr>
          <a:bodyPr rot="0" spcFirstLastPara="1" vertOverflow="ellipsis" wrap="square" anchor="ctr" anchorCtr="1"/>
          <a:lstStyle/>
          <a:p>
            <a:pPr>
              <a:defRPr lang="en-US" sz="1200" b="0" i="0" u="none" strike="noStrike" kern="1200" baseline="0">
                <a:solidFill>
                  <a:schemeClr val="tx1"/>
                </a:solidFill>
                <a:latin typeface="+mn-lt"/>
                <a:ea typeface="+mn-ea"/>
                <a:cs typeface="+mn-cs"/>
              </a:defRPr>
            </a:pPr>
            <a:endParaRPr lang="tr-TR"/>
          </a:p>
        </c:txPr>
        <c:crossAx val="264839168"/>
        <c:crosses val="autoZero"/>
        <c:crossBetween val="between"/>
        <c:majorUnit val="100"/>
      </c:valAx>
      <c:spPr>
        <a:noFill/>
        <a:ln>
          <a:noFill/>
        </a:ln>
        <a:effectLst/>
      </c:spPr>
    </c:plotArea>
    <c:legend>
      <c:legendPos val="b"/>
      <c:layout>
        <c:manualLayout>
          <c:xMode val="edge"/>
          <c:yMode val="edge"/>
          <c:x val="9.0366621953332227E-2"/>
          <c:y val="2.5886868721641667E-2"/>
          <c:w val="0.10384792827731754"/>
          <c:h val="0.51018511262712984"/>
        </c:manualLayout>
      </c:layout>
      <c:overlay val="0"/>
      <c:spPr>
        <a:noFill/>
        <a:ln>
          <a:noFill/>
        </a:ln>
        <a:effectLst/>
      </c:spPr>
      <c:txPr>
        <a:bodyPr rot="0" spcFirstLastPara="1" vertOverflow="ellipsis" vert="horz" wrap="square" anchor="ctr" anchorCtr="1"/>
        <a:lstStyle/>
        <a:p>
          <a:pPr>
            <a:defRPr lang="en-US" sz="1400" b="0" i="0" u="none" strike="noStrike" kern="1200" baseline="0">
              <a:solidFill>
                <a:schemeClr val="tx1"/>
              </a:solidFill>
              <a:latin typeface="+mn-lt"/>
              <a:ea typeface="+mn-ea"/>
              <a:cs typeface="+mn-cs"/>
            </a:defRPr>
          </a:pPr>
          <a:endParaRPr lang="tr-TR"/>
        </a:p>
      </c:txPr>
    </c:legend>
    <c:plotVisOnly val="1"/>
    <c:dispBlanksAs val="gap"/>
    <c:showDLblsOverMax val="0"/>
  </c:chart>
  <c:spPr>
    <a:noFill/>
    <a:ln>
      <a:noFill/>
    </a:ln>
    <a:effectLst/>
  </c:spPr>
  <c:txPr>
    <a:bodyPr/>
    <a:lstStyle/>
    <a:p>
      <a:pPr>
        <a:defRPr sz="1200">
          <a:solidFill>
            <a:schemeClr val="tx1"/>
          </a:solidFill>
        </a:defRPr>
      </a:pPr>
      <a:endParaRPr lang="tr-TR"/>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029655990510075"/>
          <c:y val="1.9677996422182469E-2"/>
          <c:w val="0.72479240806642964"/>
          <c:h val="0.90876565295169964"/>
        </c:manualLayout>
      </c:layout>
      <c:barChart>
        <c:barDir val="bar"/>
        <c:grouping val="clustered"/>
        <c:varyColors val="0"/>
        <c:ser>
          <c:idx val="0"/>
          <c:order val="0"/>
          <c:tx>
            <c:strRef>
              <c:f>Sheet1!$A$2</c:f>
              <c:strCache>
                <c:ptCount val="1"/>
                <c:pt idx="0">
                  <c:v>Gelecek metin</c:v>
                </c:pt>
              </c:strCache>
            </c:strRef>
          </c:tx>
          <c:spPr>
            <a:solidFill>
              <a:schemeClr val="accent6"/>
            </a:solidFill>
            <a:ln w="9215">
              <a:noFill/>
              <a:prstDash val="solid"/>
            </a:ln>
          </c:spPr>
          <c:invertIfNegative val="0"/>
          <c:cat>
            <c:strRef>
              <c:f>Sheet1!$B$1:$T$1</c:f>
              <c:strCache>
                <c:ptCount val="19"/>
                <c:pt idx="0">
                  <c:v>Otoimmün/inflamatuar...</c:v>
                </c:pt>
                <c:pt idx="1">
                  <c:v>Kan hastalıkları</c:v>
                </c:pt>
                <c:pt idx="2">
                  <c:v>Kronik karaciğer hastalığı</c:v>
                </c:pt>
                <c:pt idx="3">
                  <c:v>Diğer kronik akciğer hastalıkları</c:v>
                </c:pt>
                <c:pt idx="4">
                  <c:v>Kronik metabolik hastalık.....</c:v>
                </c:pt>
                <c:pt idx="5">
                  <c:v>Koroner arter hastalığı.....</c:v>
                </c:pt>
                <c:pt idx="6">
                  <c:v>Nörolojik durum</c:v>
                </c:pt>
                <c:pt idx="7">
                  <c:v>Kronik böbrek hastalığı</c:v>
                </c:pt>
                <c:pt idx="8">
                  <c:v>Kalp yetmezliği</c:v>
                </c:pt>
                <c:pt idx="9">
                  <c:v>Bağışıklık sistemi tehlikede</c:v>
                </c:pt>
                <c:pt idx="10">
                  <c:v>Astım</c:v>
                </c:pt>
                <c:pt idx="11">
                  <c:v>KOAH</c:v>
                </c:pt>
                <c:pt idx="12">
                  <c:v>Diyabet</c:v>
                </c:pt>
                <c:pt idx="13">
                  <c:v>Kardiyovasküler hastalık.....</c:v>
                </c:pt>
                <c:pt idx="14">
                  <c:v>Obezite</c:v>
                </c:pt>
                <c:pt idx="15">
                  <c:v>&amp;gt;=3 koşul</c:v>
                </c:pt>
                <c:pt idx="16">
                  <c:v>1-2 koşullar</c:v>
                </c:pt>
                <c:pt idx="17">
                  <c:v>≥1 tıbbi durum</c:v>
                </c:pt>
                <c:pt idx="18">
                  <c:v>Tıbbi durum yok</c:v>
                </c:pt>
              </c:strCache>
            </c:strRef>
          </c:cat>
          <c:val>
            <c:numRef>
              <c:f>Sheet1!$B$2:$T$2</c:f>
              <c:numCache>
                <c:formatCode>General</c:formatCode>
                <c:ptCount val="19"/>
                <c:pt idx="0">
                  <c:v>5.5</c:v>
                </c:pt>
                <c:pt idx="1">
                  <c:v>5.5</c:v>
                </c:pt>
                <c:pt idx="2">
                  <c:v>8.8000000000000007</c:v>
                </c:pt>
                <c:pt idx="3">
                  <c:v>18.399999999999999</c:v>
                </c:pt>
                <c:pt idx="4">
                  <c:v>21.9</c:v>
                </c:pt>
                <c:pt idx="5">
                  <c:v>29.5</c:v>
                </c:pt>
                <c:pt idx="6">
                  <c:v>19.100000000000001</c:v>
                </c:pt>
                <c:pt idx="7">
                  <c:v>28.7</c:v>
                </c:pt>
                <c:pt idx="8">
                  <c:v>29.7</c:v>
                </c:pt>
                <c:pt idx="9">
                  <c:v>24.4</c:v>
                </c:pt>
                <c:pt idx="10">
                  <c:v>27</c:v>
                </c:pt>
                <c:pt idx="11">
                  <c:v>39</c:v>
                </c:pt>
                <c:pt idx="12">
                  <c:v>42.8</c:v>
                </c:pt>
                <c:pt idx="13">
                  <c:v>62.5</c:v>
                </c:pt>
                <c:pt idx="14">
                  <c:v>47.1</c:v>
                </c:pt>
                <c:pt idx="15">
                  <c:v>68.5</c:v>
                </c:pt>
                <c:pt idx="16">
                  <c:v>27.7</c:v>
                </c:pt>
                <c:pt idx="17">
                  <c:v>95.5</c:v>
                </c:pt>
                <c:pt idx="18">
                  <c:v>5.0999999999999996</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0-02F7-49B7-B0E5-273139C08178}"/>
            </c:ext>
          </c:extLst>
        </c:ser>
        <c:dLbls>
          <c:showLegendKey val="0"/>
          <c:showVal val="0"/>
          <c:showCatName val="0"/>
          <c:showSerName val="0"/>
          <c:showPercent val="0"/>
          <c:showBubbleSize val="0"/>
        </c:dLbls>
        <c:gapWidth val="150"/>
        <c:axId val="265175808"/>
        <c:axId val="265209344"/>
      </c:barChart>
      <c:catAx>
        <c:axId val="265175808"/>
        <c:scaling>
          <c:orientation val="minMax"/>
        </c:scaling>
        <c:delete val="0"/>
        <c:axPos val="l"/>
        <c:numFmt formatCode="General" sourceLinked="1"/>
        <c:majorTickMark val="out"/>
        <c:minorTickMark val="none"/>
        <c:tickLblPos val="none"/>
        <c:spPr>
          <a:ln w="9525">
            <a:solidFill>
              <a:schemeClr val="tx1"/>
            </a:solidFill>
            <a:prstDash val="solid"/>
          </a:ln>
        </c:spPr>
        <c:txPr>
          <a:bodyPr rot="0" vert="horz"/>
          <a:lstStyle/>
          <a:p>
            <a:pPr>
              <a:defRPr lang="en-US"/>
            </a:pPr>
            <a:endParaRPr lang="tr-TR"/>
          </a:p>
        </c:txPr>
        <c:crossAx val="265209344"/>
        <c:crosses val="autoZero"/>
        <c:auto val="1"/>
        <c:lblAlgn val="ctr"/>
        <c:lblOffset val="100"/>
        <c:tickLblSkip val="1"/>
        <c:tickMarkSkip val="1"/>
        <c:noMultiLvlLbl val="0"/>
      </c:catAx>
      <c:valAx>
        <c:axId val="265209344"/>
        <c:scaling>
          <c:orientation val="minMax"/>
          <c:max val="100"/>
        </c:scaling>
        <c:delete val="0"/>
        <c:axPos val="b"/>
        <c:numFmt formatCode="General" sourceLinked="1"/>
        <c:majorTickMark val="out"/>
        <c:minorTickMark val="none"/>
        <c:tickLblPos val="nextTo"/>
        <c:spPr>
          <a:ln w="9525">
            <a:solidFill>
              <a:schemeClr val="tx1"/>
            </a:solidFill>
            <a:prstDash val="solid"/>
          </a:ln>
        </c:spPr>
        <c:txPr>
          <a:bodyPr rot="0" vert="horz"/>
          <a:lstStyle/>
          <a:p>
            <a:pPr>
              <a:defRPr lang="en-US" sz="1000"/>
            </a:pPr>
            <a:endParaRPr lang="tr-TR"/>
          </a:p>
        </c:txPr>
        <c:crossAx val="265175808"/>
        <c:crosses val="autoZero"/>
        <c:crossBetween val="between"/>
        <c:majorUnit val="20"/>
      </c:valAx>
      <c:spPr>
        <a:noFill/>
        <a:ln w="9215">
          <a:noFill/>
          <a:prstDash val="solid"/>
        </a:ln>
      </c:spPr>
    </c:plotArea>
    <c:plotVisOnly val="1"/>
    <c:dispBlanksAs val="gap"/>
    <c:showDLblsOverMax val="0"/>
  </c:chart>
  <c:spPr>
    <a:noFill/>
    <a:ln>
      <a:noFill/>
    </a:ln>
  </c:spPr>
  <c:txPr>
    <a:bodyPr/>
    <a:lstStyle/>
    <a:p>
      <a:pPr>
        <a:defRPr sz="800" b="0" i="0" u="none" strike="noStrike" baseline="0">
          <a:solidFill>
            <a:schemeClr val="tx1"/>
          </a:solidFill>
          <a:latin typeface="+mn-lt"/>
          <a:ea typeface="+mn-ea"/>
          <a:cs typeface="+mn-cs"/>
        </a:defRPr>
      </a:pPr>
      <a:endParaRPr lang="tr-T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029655990510075"/>
          <c:y val="1.9677996422182469E-2"/>
          <c:w val="0.72479240806642964"/>
          <c:h val="0.90876565295169964"/>
        </c:manualLayout>
      </c:layout>
      <c:barChart>
        <c:barDir val="bar"/>
        <c:grouping val="clustered"/>
        <c:varyColors val="0"/>
        <c:ser>
          <c:idx val="0"/>
          <c:order val="0"/>
          <c:tx>
            <c:strRef>
              <c:f>Sheet1!$A$2</c:f>
              <c:strCache>
                <c:ptCount val="1"/>
                <c:pt idx="0">
                  <c:v>Gelecek metin</c:v>
                </c:pt>
              </c:strCache>
            </c:strRef>
          </c:tx>
          <c:spPr>
            <a:solidFill>
              <a:schemeClr val="accent4"/>
            </a:solidFill>
            <a:ln w="9215">
              <a:noFill/>
              <a:prstDash val="solid"/>
            </a:ln>
          </c:spPr>
          <c:invertIfNegative val="0"/>
          <c:cat>
            <c:strRef>
              <c:f>Sheet1!$B$1:$T$1</c:f>
              <c:strCache>
                <c:ptCount val="19"/>
                <c:pt idx="0">
                  <c:v>Otoimmün/inflamatuar...</c:v>
                </c:pt>
                <c:pt idx="1">
                  <c:v>Kan hastalıkları</c:v>
                </c:pt>
                <c:pt idx="2">
                  <c:v>Kronik karaciğer hastalığı</c:v>
                </c:pt>
                <c:pt idx="3">
                  <c:v>Diğer kronik akciğer hastalıkları</c:v>
                </c:pt>
                <c:pt idx="4">
                  <c:v>Kronik metabolik hastalık.....</c:v>
                </c:pt>
                <c:pt idx="5">
                  <c:v>Koroner arter hastalığı.....</c:v>
                </c:pt>
                <c:pt idx="6">
                  <c:v>Nörolojik durum</c:v>
                </c:pt>
                <c:pt idx="7">
                  <c:v>Kronik böbrek hastalığı</c:v>
                </c:pt>
                <c:pt idx="8">
                  <c:v>Kalp yetmezliği</c:v>
                </c:pt>
                <c:pt idx="9">
                  <c:v>Bağışıklık sistemi tehlikede</c:v>
                </c:pt>
                <c:pt idx="10">
                  <c:v>Astım</c:v>
                </c:pt>
                <c:pt idx="11">
                  <c:v>KOAH</c:v>
                </c:pt>
                <c:pt idx="12">
                  <c:v>Diyabet</c:v>
                </c:pt>
                <c:pt idx="13">
                  <c:v>Kardiyovasküler hastalık.....</c:v>
                </c:pt>
                <c:pt idx="14">
                  <c:v>Obezite</c:v>
                </c:pt>
                <c:pt idx="15">
                  <c:v>&amp;gt;=3 koşul</c:v>
                </c:pt>
                <c:pt idx="16">
                  <c:v>1-2 koşullar</c:v>
                </c:pt>
                <c:pt idx="17">
                  <c:v>≥1 tıbbi durum</c:v>
                </c:pt>
                <c:pt idx="18">
                  <c:v>Tıbbi durum yok</c:v>
                </c:pt>
              </c:strCache>
            </c:strRef>
          </c:cat>
          <c:val>
            <c:numRef>
              <c:f>Sheet1!$B$2:$T$2</c:f>
              <c:numCache>
                <c:formatCode>General</c:formatCode>
                <c:ptCount val="19"/>
                <c:pt idx="0">
                  <c:v>4.8</c:v>
                </c:pt>
                <c:pt idx="1">
                  <c:v>3.3</c:v>
                </c:pt>
                <c:pt idx="2">
                  <c:v>5</c:v>
                </c:pt>
                <c:pt idx="3">
                  <c:v>17.600000000000001</c:v>
                </c:pt>
                <c:pt idx="4">
                  <c:v>20</c:v>
                </c:pt>
                <c:pt idx="5">
                  <c:v>27</c:v>
                </c:pt>
                <c:pt idx="6">
                  <c:v>27</c:v>
                </c:pt>
                <c:pt idx="7">
                  <c:v>27.7</c:v>
                </c:pt>
                <c:pt idx="8">
                  <c:v>31</c:v>
                </c:pt>
                <c:pt idx="9">
                  <c:v>12.8</c:v>
                </c:pt>
                <c:pt idx="10">
                  <c:v>15.6</c:v>
                </c:pt>
                <c:pt idx="11">
                  <c:v>28.7</c:v>
                </c:pt>
                <c:pt idx="12">
                  <c:v>27.2</c:v>
                </c:pt>
                <c:pt idx="13">
                  <c:v>62.5</c:v>
                </c:pt>
                <c:pt idx="14">
                  <c:v>25.7</c:v>
                </c:pt>
                <c:pt idx="15">
                  <c:v>58.2</c:v>
                </c:pt>
                <c:pt idx="16">
                  <c:v>22.7</c:v>
                </c:pt>
                <c:pt idx="17">
                  <c:v>79.8</c:v>
                </c:pt>
                <c:pt idx="18">
                  <c:v>4.5</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0-02F7-49B7-B0E5-273139C08178}"/>
            </c:ext>
          </c:extLst>
        </c:ser>
        <c:dLbls>
          <c:showLegendKey val="0"/>
          <c:showVal val="0"/>
          <c:showCatName val="0"/>
          <c:showSerName val="0"/>
          <c:showPercent val="0"/>
          <c:showBubbleSize val="0"/>
        </c:dLbls>
        <c:gapWidth val="150"/>
        <c:axId val="265051520"/>
        <c:axId val="265102848"/>
      </c:barChart>
      <c:catAx>
        <c:axId val="265051520"/>
        <c:scaling>
          <c:orientation val="minMax"/>
        </c:scaling>
        <c:delete val="0"/>
        <c:axPos val="l"/>
        <c:numFmt formatCode="General" sourceLinked="1"/>
        <c:majorTickMark val="out"/>
        <c:minorTickMark val="none"/>
        <c:tickLblPos val="none"/>
        <c:spPr>
          <a:ln w="9525">
            <a:solidFill>
              <a:schemeClr val="tx1"/>
            </a:solidFill>
            <a:prstDash val="solid"/>
          </a:ln>
        </c:spPr>
        <c:txPr>
          <a:bodyPr rot="0" vert="horz"/>
          <a:lstStyle/>
          <a:p>
            <a:pPr>
              <a:defRPr lang="en-US"/>
            </a:pPr>
            <a:endParaRPr lang="tr-TR"/>
          </a:p>
        </c:txPr>
        <c:crossAx val="265102848"/>
        <c:crosses val="autoZero"/>
        <c:auto val="1"/>
        <c:lblAlgn val="ctr"/>
        <c:lblOffset val="100"/>
        <c:tickLblSkip val="1"/>
        <c:tickMarkSkip val="1"/>
        <c:noMultiLvlLbl val="0"/>
      </c:catAx>
      <c:valAx>
        <c:axId val="265102848"/>
        <c:scaling>
          <c:orientation val="minMax"/>
        </c:scaling>
        <c:delete val="0"/>
        <c:axPos val="b"/>
        <c:numFmt formatCode="General" sourceLinked="1"/>
        <c:majorTickMark val="out"/>
        <c:minorTickMark val="none"/>
        <c:tickLblPos val="nextTo"/>
        <c:spPr>
          <a:ln w="9525">
            <a:solidFill>
              <a:schemeClr val="tx1"/>
            </a:solidFill>
            <a:prstDash val="solid"/>
          </a:ln>
        </c:spPr>
        <c:txPr>
          <a:bodyPr rot="0" vert="horz"/>
          <a:lstStyle/>
          <a:p>
            <a:pPr>
              <a:defRPr lang="en-US" sz="1000"/>
            </a:pPr>
            <a:endParaRPr lang="tr-TR"/>
          </a:p>
        </c:txPr>
        <c:crossAx val="265051520"/>
        <c:crosses val="autoZero"/>
        <c:crossBetween val="between"/>
        <c:majorUnit val="20"/>
      </c:valAx>
      <c:spPr>
        <a:noFill/>
        <a:ln w="9215">
          <a:noFill/>
          <a:prstDash val="solid"/>
        </a:ln>
      </c:spPr>
    </c:plotArea>
    <c:plotVisOnly val="1"/>
    <c:dispBlanksAs val="gap"/>
    <c:showDLblsOverMax val="0"/>
  </c:chart>
  <c:spPr>
    <a:noFill/>
    <a:ln>
      <a:noFill/>
    </a:ln>
  </c:spPr>
  <c:txPr>
    <a:bodyPr/>
    <a:lstStyle/>
    <a:p>
      <a:pPr>
        <a:defRPr sz="800" b="0" i="0" u="none" strike="noStrike" baseline="0">
          <a:solidFill>
            <a:schemeClr val="tx1"/>
          </a:solidFill>
          <a:latin typeface="+mn-lt"/>
          <a:ea typeface="+mn-ea"/>
          <a:cs typeface="+mn-cs"/>
        </a:defRPr>
      </a:pPr>
      <a:endParaRPr lang="tr-TR"/>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926552569022544"/>
          <c:y val="1.9677996422182469E-2"/>
          <c:w val="0.42999104353593876"/>
          <c:h val="0.90876565295169964"/>
        </c:manualLayout>
      </c:layout>
      <c:barChart>
        <c:barDir val="bar"/>
        <c:grouping val="clustered"/>
        <c:varyColors val="0"/>
        <c:ser>
          <c:idx val="0"/>
          <c:order val="0"/>
          <c:tx>
            <c:strRef>
              <c:f>Sheet1!$A$2</c:f>
              <c:strCache>
                <c:ptCount val="1"/>
                <c:pt idx="0">
                  <c:v>Text to come</c:v>
                </c:pt>
              </c:strCache>
            </c:strRef>
          </c:tx>
          <c:spPr>
            <a:solidFill>
              <a:schemeClr val="accent1"/>
            </a:solidFill>
            <a:ln w="9215">
              <a:noFill/>
              <a:prstDash val="solid"/>
            </a:ln>
          </c:spPr>
          <c:invertIfNegative val="0"/>
          <c:cat>
            <c:strRef>
              <c:f>Sheet1!$B$1:$T$1</c:f>
              <c:strCache>
                <c:ptCount val="19"/>
                <c:pt idx="0">
                  <c:v>Autoimmune/inflammatory</c:v>
                </c:pt>
                <c:pt idx="1">
                  <c:v>Blood disorders</c:v>
                </c:pt>
                <c:pt idx="2">
                  <c:v>Chronic liver disease</c:v>
                </c:pt>
                <c:pt idx="3">
                  <c:v>Other chronic lung disease</c:v>
                </c:pt>
                <c:pt idx="4">
                  <c:v>Chronic metabolic disease</c:v>
                </c:pt>
                <c:pt idx="5">
                  <c:v>Coronary artery disease</c:v>
                </c:pt>
                <c:pt idx="6">
                  <c:v>Neurologic condition</c:v>
                </c:pt>
                <c:pt idx="7">
                  <c:v>Chonic kidney disease</c:v>
                </c:pt>
                <c:pt idx="8">
                  <c:v>Heart failure</c:v>
                </c:pt>
                <c:pt idx="9">
                  <c:v>Immune compromised</c:v>
                </c:pt>
                <c:pt idx="10">
                  <c:v>Asthma</c:v>
                </c:pt>
                <c:pt idx="11">
                  <c:v>COPD</c:v>
                </c:pt>
                <c:pt idx="12">
                  <c:v>Diabetes</c:v>
                </c:pt>
                <c:pt idx="13">
                  <c:v>Cardovascular disease</c:v>
                </c:pt>
                <c:pt idx="14">
                  <c:v>Obesity</c:v>
                </c:pt>
                <c:pt idx="15">
                  <c:v>&gt;=3 conditions</c:v>
                </c:pt>
                <c:pt idx="16">
                  <c:v>1-2 conditions</c:v>
                </c:pt>
                <c:pt idx="17">
                  <c:v>≥1 medical condition</c:v>
                </c:pt>
                <c:pt idx="18">
                  <c:v>No medical condition</c:v>
                </c:pt>
              </c:strCache>
            </c:strRef>
          </c:cat>
          <c:val>
            <c:numRef>
              <c:f>Sheet1!$B$2:$T$2</c:f>
              <c:numCache>
                <c:formatCode>General</c:formatCode>
                <c:ptCount val="19"/>
                <c:pt idx="0">
                  <c:v>3.8</c:v>
                </c:pt>
                <c:pt idx="1">
                  <c:v>4</c:v>
                </c:pt>
                <c:pt idx="2">
                  <c:v>9.3000000000000007</c:v>
                </c:pt>
                <c:pt idx="3">
                  <c:v>12.8</c:v>
                </c:pt>
                <c:pt idx="4">
                  <c:v>19.600000000000001</c:v>
                </c:pt>
                <c:pt idx="5">
                  <c:v>22.9</c:v>
                </c:pt>
                <c:pt idx="6">
                  <c:v>17.100000000000001</c:v>
                </c:pt>
                <c:pt idx="7">
                  <c:v>24.7</c:v>
                </c:pt>
                <c:pt idx="8">
                  <c:v>23.5</c:v>
                </c:pt>
                <c:pt idx="9">
                  <c:v>24.4</c:v>
                </c:pt>
                <c:pt idx="10">
                  <c:v>28.5</c:v>
                </c:pt>
                <c:pt idx="11">
                  <c:v>42.1</c:v>
                </c:pt>
                <c:pt idx="12">
                  <c:v>38.5</c:v>
                </c:pt>
                <c:pt idx="13">
                  <c:v>49.9</c:v>
                </c:pt>
                <c:pt idx="14">
                  <c:v>43.6</c:v>
                </c:pt>
                <c:pt idx="15">
                  <c:v>63.2</c:v>
                </c:pt>
                <c:pt idx="16">
                  <c:v>34.5</c:v>
                </c:pt>
                <c:pt idx="17">
                  <c:v>96.7</c:v>
                </c:pt>
                <c:pt idx="18">
                  <c:v>5.0999999999999996</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0-43B3-4C6A-9304-D69252945AEE}"/>
            </c:ext>
          </c:extLst>
        </c:ser>
        <c:dLbls>
          <c:showLegendKey val="0"/>
          <c:showVal val="0"/>
          <c:showCatName val="0"/>
          <c:showSerName val="0"/>
          <c:showPercent val="0"/>
          <c:showBubbleSize val="0"/>
        </c:dLbls>
        <c:gapWidth val="150"/>
        <c:axId val="280425600"/>
        <c:axId val="280427136"/>
      </c:barChart>
      <c:catAx>
        <c:axId val="280425600"/>
        <c:scaling>
          <c:orientation val="minMax"/>
        </c:scaling>
        <c:delete val="0"/>
        <c:axPos val="l"/>
        <c:numFmt formatCode="General" sourceLinked="1"/>
        <c:majorTickMark val="out"/>
        <c:minorTickMark val="none"/>
        <c:tickLblPos val="nextTo"/>
        <c:spPr>
          <a:ln w="9525">
            <a:solidFill>
              <a:schemeClr val="tx1"/>
            </a:solidFill>
            <a:prstDash val="solid"/>
          </a:ln>
        </c:spPr>
        <c:txPr>
          <a:bodyPr rot="0" vert="horz"/>
          <a:lstStyle/>
          <a:p>
            <a:pPr>
              <a:defRPr lang="en-US" sz="1050">
                <a:solidFill>
                  <a:schemeClr val="tx1"/>
                </a:solidFill>
              </a:defRPr>
            </a:pPr>
            <a:endParaRPr lang="tr-TR"/>
          </a:p>
        </c:txPr>
        <c:crossAx val="280427136"/>
        <c:crosses val="autoZero"/>
        <c:auto val="1"/>
        <c:lblAlgn val="ctr"/>
        <c:lblOffset val="100"/>
        <c:tickLblSkip val="1"/>
        <c:tickMarkSkip val="1"/>
        <c:noMultiLvlLbl val="0"/>
      </c:catAx>
      <c:valAx>
        <c:axId val="280427136"/>
        <c:scaling>
          <c:orientation val="minMax"/>
          <c:max val="100"/>
        </c:scaling>
        <c:delete val="0"/>
        <c:axPos val="b"/>
        <c:numFmt formatCode="General" sourceLinked="1"/>
        <c:majorTickMark val="out"/>
        <c:minorTickMark val="none"/>
        <c:tickLblPos val="nextTo"/>
        <c:spPr>
          <a:ln w="9525">
            <a:solidFill>
              <a:schemeClr val="tx1"/>
            </a:solidFill>
            <a:prstDash val="solid"/>
          </a:ln>
        </c:spPr>
        <c:txPr>
          <a:bodyPr rot="0" vert="horz"/>
          <a:lstStyle/>
          <a:p>
            <a:pPr>
              <a:defRPr lang="en-US" sz="1000"/>
            </a:pPr>
            <a:endParaRPr lang="tr-TR"/>
          </a:p>
        </c:txPr>
        <c:crossAx val="280425600"/>
        <c:crosses val="autoZero"/>
        <c:crossBetween val="between"/>
        <c:majorUnit val="20"/>
      </c:valAx>
      <c:spPr>
        <a:noFill/>
        <a:ln w="9215">
          <a:noFill/>
          <a:prstDash val="solid"/>
        </a:ln>
      </c:spPr>
    </c:plotArea>
    <c:plotVisOnly val="1"/>
    <c:dispBlanksAs val="gap"/>
    <c:showDLblsOverMax val="0"/>
  </c:chart>
  <c:spPr>
    <a:noFill/>
    <a:ln>
      <a:noFill/>
    </a:ln>
  </c:spPr>
  <c:txPr>
    <a:bodyPr/>
    <a:lstStyle/>
    <a:p>
      <a:pPr>
        <a:defRPr sz="800" b="0" i="0" u="none" strike="noStrike" baseline="0">
          <a:solidFill>
            <a:schemeClr val="tx1"/>
          </a:solidFill>
          <a:latin typeface="+mn-lt"/>
          <a:ea typeface="+mn-ea"/>
          <a:cs typeface="+mn-cs"/>
        </a:defRPr>
      </a:pPr>
      <a:endParaRPr lang="tr-TR"/>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1E_971CDC28.xml><?xml version="1.0" encoding="utf-8"?>
<p188:cmLst xmlns:a="http://schemas.openxmlformats.org/drawingml/2006/main" xmlns:r="http://schemas.openxmlformats.org/officeDocument/2006/relationships" xmlns:p188="http://schemas.microsoft.com/office/powerpoint/2018/8/main">
  <p188:cm id="{E83BF654-142F-404C-94DB-38B258990887}" authorId="{F9426CC9-3235-CB2D-7E8C-1319DD0ABAB3}" created="2025-10-16T07:13:25.431">
    <pc:sldMkLst xmlns:pc="http://schemas.microsoft.com/office/powerpoint/2013/main/command">
      <pc:docMk/>
      <pc:sldMk cId="2535250984" sldId="286"/>
    </pc:sldMkLst>
    <p188:txBody>
      <a:bodyPr/>
      <a:lstStyle/>
      <a:p>
        <a:r>
          <a:rPr lang="en-US"/>
          <a:t>*</a:t>
        </a:r>
      </a:p>
    </p188:txBody>
  </p188:cm>
</p188:cmLst>
</file>

<file path=ppt/comments/modernComment_120_8501089C.xml><?xml version="1.0" encoding="utf-8"?>
<p188:cmLst xmlns:a="http://schemas.openxmlformats.org/drawingml/2006/main" xmlns:r="http://schemas.openxmlformats.org/officeDocument/2006/relationships" xmlns:p188="http://schemas.microsoft.com/office/powerpoint/2018/8/main">
  <p188:cm id="{C39709C2-8457-4248-9BA8-B65C6FA19733}" authorId="{A0DC8C59-B865-8AB3-4774-981820AE7A92}" created="2025-08-22T07:05:23.501">
    <ac:deMkLst xmlns:ac="http://schemas.microsoft.com/office/drawing/2013/main/command">
      <pc:docMk xmlns:pc="http://schemas.microsoft.com/office/powerpoint/2013/main/command"/>
      <pc:sldMk xmlns:pc="http://schemas.microsoft.com/office/powerpoint/2013/main/command" cId="2231437468" sldId="288"/>
      <ac:spMk id="132" creationId="{904A272A-E3BC-44C3-940F-BA8D42FA67A9}"/>
    </ac:deMkLst>
    <p188:replyLst/>
    <p188:txBody>
      <a:bodyPr/>
      <a:lstStyle/>
      <a:p>
        <a:r>
          <a:rPr lang="en-GB"/>
          <a:t>1 of 10 or ~10%</a:t>
        </a:r>
      </a:p>
    </p188:txBody>
  </p188:cm>
</p188:cmLst>
</file>

<file path=ppt/comments/modernComment_121_99B91BA8.xml><?xml version="1.0" encoding="utf-8"?>
<p188:cmLst xmlns:a="http://schemas.openxmlformats.org/drawingml/2006/main" xmlns:r="http://schemas.openxmlformats.org/officeDocument/2006/relationships" xmlns:p188="http://schemas.microsoft.com/office/powerpoint/2018/8/main">
  <p188:cm id="{B35279F0-2947-4BBE-836D-D88B30F75FCD}" authorId="{F9426CC9-3235-CB2D-7E8C-1319DD0ABAB3}" created="2025-10-16T07:13:33.290">
    <pc:sldMkLst xmlns:pc="http://schemas.microsoft.com/office/powerpoint/2013/main/command">
      <pc:docMk/>
      <pc:sldMk cId="2579045288" sldId="288"/>
    </pc:sldMkLst>
    <p188:txBody>
      <a:bodyPr/>
      <a:lstStyle/>
      <a:p>
        <a:r>
          <a:rPr lang="en-US"/>
          <a:t>*</a:t>
        </a:r>
      </a:p>
    </p188:txBody>
  </p188:cm>
</p188:cmLst>
</file>

<file path=ppt/comments/modernComment_125_658FD709.xml><?xml version="1.0" encoding="utf-8"?>
<p188:cmLst xmlns:a="http://schemas.openxmlformats.org/drawingml/2006/main" xmlns:r="http://schemas.openxmlformats.org/officeDocument/2006/relationships" xmlns:p188="http://schemas.microsoft.com/office/powerpoint/2018/8/main">
  <p188:cm id="{12F55D05-0368-4E45-9C40-7DE63261AFDD}" authorId="{F9426CC9-3235-CB2D-7E8C-1319DD0ABAB3}" created="2025-10-16T07:13:39.196">
    <pc:sldMkLst xmlns:pc="http://schemas.microsoft.com/office/powerpoint/2013/main/command">
      <pc:docMk/>
      <pc:sldMk cId="1703925513" sldId="293"/>
    </pc:sldMkLst>
    <p188:txBody>
      <a:bodyPr/>
      <a:lstStyle/>
      <a:p>
        <a:r>
          <a:rPr lang="en-US"/>
          <a:t>*</a:t>
        </a:r>
      </a:p>
    </p188:txBody>
  </p188:cm>
</p188:cmLst>
</file>

<file path=ppt/comments/modernComment_129_0.xml><?xml version="1.0" encoding="utf-8"?>
<p188:cmLst xmlns:a="http://schemas.openxmlformats.org/drawingml/2006/main" xmlns:r="http://schemas.openxmlformats.org/officeDocument/2006/relationships" xmlns:p188="http://schemas.microsoft.com/office/powerpoint/2018/8/main">
  <p188:cm id="{6174704A-C84D-4DC7-B408-5472493F1BBA}" authorId="{F9426CC9-3235-CB2D-7E8C-1319DD0ABAB3}" created="2025-10-16T07:15:44.682">
    <pc:sldMkLst xmlns:pc="http://schemas.microsoft.com/office/powerpoint/2013/main/command">
      <pc:docMk/>
      <pc:sldMk cId="0" sldId="259"/>
    </pc:sldMkLst>
    <p188:txBody>
      <a:bodyPr/>
      <a:lstStyle/>
      <a:p>
        <a:r>
          <a:rPr lang="en-US"/>
          <a:t>*</a:t>
        </a:r>
      </a:p>
    </p188:txBody>
  </p188:cm>
</p188:cmLst>
</file>

<file path=ppt/comments/modernComment_12A_0.xml><?xml version="1.0" encoding="utf-8"?>
<p188:cmLst xmlns:a="http://schemas.openxmlformats.org/drawingml/2006/main" xmlns:r="http://schemas.openxmlformats.org/officeDocument/2006/relationships" xmlns:p188="http://schemas.microsoft.com/office/powerpoint/2018/8/main">
  <p188:cm id="{FD604836-F9BC-4CAF-8424-C0415B78EA73}" authorId="{F9426CC9-3235-CB2D-7E8C-1319DD0ABAB3}" created="2025-10-16T07:15:47.823">
    <pc:sldMkLst xmlns:pc="http://schemas.microsoft.com/office/powerpoint/2013/main/command">
      <pc:docMk/>
      <pc:sldMk cId="0" sldId="260"/>
    </pc:sldMkLst>
    <p188:txBody>
      <a:bodyPr/>
      <a:lstStyle/>
      <a:p>
        <a:r>
          <a:rPr lang="en-US"/>
          <a:t>*</a:t>
        </a:r>
      </a:p>
    </p188:txBody>
  </p188:cm>
</p188:cmLst>
</file>

<file path=ppt/comments/modernComment_13C_A2A1421D.xml><?xml version="1.0" encoding="utf-8"?>
<p188:cmLst xmlns:a="http://schemas.openxmlformats.org/drawingml/2006/main" xmlns:r="http://schemas.openxmlformats.org/officeDocument/2006/relationships" xmlns:p188="http://schemas.microsoft.com/office/powerpoint/2018/8/main">
  <p188:cm id="{1CA09C59-0D3A-461F-8C9D-F43A2979B51B}" authorId="{6FFC4793-A606-AC35-6EE8-5EF94D7BAF38}" created="2025-10-16T07:02:54.681">
    <pc:sldMkLst xmlns:pc="http://schemas.microsoft.com/office/powerpoint/2013/main/command">
      <pc:docMk/>
      <pc:sldMk cId="2755142941" sldId="365"/>
    </pc:sldMkLst>
    <p188:txBody>
      <a:bodyPr/>
      <a:lstStyle/>
      <a:p>
        <a:r>
          <a:rPr lang="tr-TR"/>
          <a:t>Disclaimer</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25C9EB-D133-41E8-A4D7-105FEBDB684F}" type="doc">
      <dgm:prSet loTypeId="urn:microsoft.com/office/officeart/2005/8/layout/pyramid1" loCatId="pyramid" qsTypeId="urn:microsoft.com/office/officeart/2005/8/quickstyle/simple1" qsCatId="simple" csTypeId="urn:microsoft.com/office/officeart/2005/8/colors/accent1_2" csCatId="accent1" phldr="1"/>
      <dgm:spPr/>
      <dgm:t>
        <a:bodyPr/>
        <a:lstStyle/>
        <a:p>
          <a:endParaRPr lang="en-US"/>
        </a:p>
      </dgm:t>
    </dgm:pt>
    <dgm:pt modelId="{6919E855-7087-40EB-BABF-546A12F01ED3}">
      <dgm:prSet phldrT="[Text]"/>
      <dgm:spPr>
        <a:solidFill>
          <a:schemeClr val="accent1">
            <a:lumMod val="75000"/>
          </a:schemeClr>
        </a:solidFill>
      </dgm:spPr>
      <dgm:t>
        <a:bodyPr/>
        <a:lstStyle/>
        <a:p>
          <a:r>
            <a:rPr lang="en-US"/>
            <a:t> </a:t>
          </a:r>
        </a:p>
      </dgm:t>
    </dgm:pt>
    <dgm:pt modelId="{958B322F-61F7-4108-9AD1-B7A198A5D863}" type="parTrans" cxnId="{3C9AF538-F09C-4C80-9230-96063B56FA5E}">
      <dgm:prSet/>
      <dgm:spPr/>
      <dgm:t>
        <a:bodyPr/>
        <a:lstStyle/>
        <a:p>
          <a:endParaRPr lang="en-US"/>
        </a:p>
      </dgm:t>
    </dgm:pt>
    <dgm:pt modelId="{82E2F9DD-0C9D-47E7-9BCF-FCFC8D1ED590}" type="sibTrans" cxnId="{3C9AF538-F09C-4C80-9230-96063B56FA5E}">
      <dgm:prSet/>
      <dgm:spPr/>
      <dgm:t>
        <a:bodyPr/>
        <a:lstStyle/>
        <a:p>
          <a:endParaRPr lang="en-US"/>
        </a:p>
      </dgm:t>
    </dgm:pt>
    <dgm:pt modelId="{7660FA29-7140-40C3-AE0A-B139F56ABF01}">
      <dgm:prSet phldrT="[Text]"/>
      <dgm:spPr/>
      <dgm:t>
        <a:bodyPr/>
        <a:lstStyle/>
        <a:p>
          <a:r>
            <a:rPr lang="en-US"/>
            <a:t>			</a:t>
          </a:r>
        </a:p>
      </dgm:t>
    </dgm:pt>
    <dgm:pt modelId="{B818FD0B-5E2D-4177-92AC-1C1223E1DFAD}" type="parTrans" cxnId="{77AD6984-0963-41D5-A13E-DD0113FB5E45}">
      <dgm:prSet/>
      <dgm:spPr/>
      <dgm:t>
        <a:bodyPr/>
        <a:lstStyle/>
        <a:p>
          <a:endParaRPr lang="en-US"/>
        </a:p>
      </dgm:t>
    </dgm:pt>
    <dgm:pt modelId="{C2170EF8-1D79-4B1B-B0B7-5A0919EB2ABD}" type="sibTrans" cxnId="{77AD6984-0963-41D5-A13E-DD0113FB5E45}">
      <dgm:prSet/>
      <dgm:spPr/>
      <dgm:t>
        <a:bodyPr/>
        <a:lstStyle/>
        <a:p>
          <a:endParaRPr lang="en-US"/>
        </a:p>
      </dgm:t>
    </dgm:pt>
    <dgm:pt modelId="{FFAD64E8-03DC-42B8-B3C6-BBE242E0F759}">
      <dgm:prSet/>
      <dgm:spPr>
        <a:solidFill>
          <a:schemeClr val="accent1">
            <a:lumMod val="60000"/>
            <a:lumOff val="40000"/>
          </a:schemeClr>
        </a:solidFill>
      </dgm:spPr>
      <dgm:t>
        <a:bodyPr/>
        <a:lstStyle/>
        <a:p>
          <a:endParaRPr lang="en-US"/>
        </a:p>
      </dgm:t>
    </dgm:pt>
    <dgm:pt modelId="{26A9BFA0-CA51-4C66-8D85-9377FAA71C6C}" type="parTrans" cxnId="{693646D6-CE99-460B-850E-F4650BEE33B1}">
      <dgm:prSet/>
      <dgm:spPr/>
      <dgm:t>
        <a:bodyPr/>
        <a:lstStyle/>
        <a:p>
          <a:endParaRPr lang="en-US"/>
        </a:p>
      </dgm:t>
    </dgm:pt>
    <dgm:pt modelId="{4C900C0F-65C6-474A-BCB0-384E824DE780}" type="sibTrans" cxnId="{693646D6-CE99-460B-850E-F4650BEE33B1}">
      <dgm:prSet/>
      <dgm:spPr/>
      <dgm:t>
        <a:bodyPr/>
        <a:lstStyle/>
        <a:p>
          <a:endParaRPr lang="en-US"/>
        </a:p>
      </dgm:t>
    </dgm:pt>
    <dgm:pt modelId="{54A96014-6E2C-4195-A0C4-0CCAEB542C88}">
      <dgm:prSet/>
      <dgm:spPr>
        <a:solidFill>
          <a:schemeClr val="accent2">
            <a:lumMod val="20000"/>
            <a:lumOff val="80000"/>
          </a:schemeClr>
        </a:solidFill>
      </dgm:spPr>
      <dgm:t>
        <a:bodyPr/>
        <a:lstStyle/>
        <a:p>
          <a:endParaRPr lang="en-US"/>
        </a:p>
      </dgm:t>
    </dgm:pt>
    <dgm:pt modelId="{8EE7D217-DC6F-4BA1-9DC6-452DA753FF69}" type="parTrans" cxnId="{62CCB442-527C-446C-98B1-A39D77202593}">
      <dgm:prSet/>
      <dgm:spPr/>
      <dgm:t>
        <a:bodyPr/>
        <a:lstStyle/>
        <a:p>
          <a:endParaRPr lang="en-US"/>
        </a:p>
      </dgm:t>
    </dgm:pt>
    <dgm:pt modelId="{89A9A9B4-DADD-4442-BCEF-837C536A314B}" type="sibTrans" cxnId="{62CCB442-527C-446C-98B1-A39D77202593}">
      <dgm:prSet/>
      <dgm:spPr/>
      <dgm:t>
        <a:bodyPr/>
        <a:lstStyle/>
        <a:p>
          <a:endParaRPr lang="en-US"/>
        </a:p>
      </dgm:t>
    </dgm:pt>
    <dgm:pt modelId="{FF672BEF-4E12-491F-A54D-60B670E478E2}">
      <dgm:prSet phldrT="[Text]"/>
      <dgm:spPr>
        <a:solidFill>
          <a:schemeClr val="accent1">
            <a:lumMod val="50000"/>
          </a:schemeClr>
        </a:solidFill>
      </dgm:spPr>
      <dgm:t>
        <a:bodyPr/>
        <a:lstStyle/>
        <a:p>
          <a:r>
            <a:rPr lang="en-US"/>
            <a:t> </a:t>
          </a:r>
        </a:p>
      </dgm:t>
    </dgm:pt>
    <dgm:pt modelId="{551008B9-3C19-4ED1-8FD7-1DD2146DC789}" type="sibTrans" cxnId="{EA0E063D-2D6D-460F-AD8A-A8F3AA585941}">
      <dgm:prSet/>
      <dgm:spPr/>
      <dgm:t>
        <a:bodyPr/>
        <a:lstStyle/>
        <a:p>
          <a:endParaRPr lang="en-US"/>
        </a:p>
      </dgm:t>
    </dgm:pt>
    <dgm:pt modelId="{E1CAFEE4-BAA1-40E3-9281-497D3792116F}" type="parTrans" cxnId="{EA0E063D-2D6D-460F-AD8A-A8F3AA585941}">
      <dgm:prSet/>
      <dgm:spPr/>
      <dgm:t>
        <a:bodyPr/>
        <a:lstStyle/>
        <a:p>
          <a:endParaRPr lang="en-US"/>
        </a:p>
      </dgm:t>
    </dgm:pt>
    <dgm:pt modelId="{06E6BBE4-AB9E-489A-ACB3-16A7B2627CE2}" type="pres">
      <dgm:prSet presAssocID="{A025C9EB-D133-41E8-A4D7-105FEBDB684F}" presName="Name0" presStyleCnt="0">
        <dgm:presLayoutVars>
          <dgm:dir/>
          <dgm:animLvl val="lvl"/>
          <dgm:resizeHandles val="exact"/>
        </dgm:presLayoutVars>
      </dgm:prSet>
      <dgm:spPr/>
    </dgm:pt>
    <dgm:pt modelId="{2DCAC09C-030C-4DE8-B841-207FFE0F1CBF}" type="pres">
      <dgm:prSet presAssocID="{FF672BEF-4E12-491F-A54D-60B670E478E2}" presName="Name8" presStyleCnt="0"/>
      <dgm:spPr/>
    </dgm:pt>
    <dgm:pt modelId="{BFAC90B4-258A-4CA6-B2DC-D7100A8B551F}" type="pres">
      <dgm:prSet presAssocID="{FF672BEF-4E12-491F-A54D-60B670E478E2}" presName="level" presStyleLbl="node1" presStyleIdx="0" presStyleCnt="5">
        <dgm:presLayoutVars>
          <dgm:chMax val="1"/>
          <dgm:bulletEnabled val="1"/>
        </dgm:presLayoutVars>
      </dgm:prSet>
      <dgm:spPr/>
    </dgm:pt>
    <dgm:pt modelId="{4E1983CC-5607-4821-B9AF-3A32C0D9C640}" type="pres">
      <dgm:prSet presAssocID="{FF672BEF-4E12-491F-A54D-60B670E478E2}" presName="levelTx" presStyleLbl="revTx" presStyleIdx="0" presStyleCnt="0">
        <dgm:presLayoutVars>
          <dgm:chMax val="1"/>
          <dgm:bulletEnabled val="1"/>
        </dgm:presLayoutVars>
      </dgm:prSet>
      <dgm:spPr/>
    </dgm:pt>
    <dgm:pt modelId="{D51534F5-B0EE-4020-9B01-93F7503EEBF1}" type="pres">
      <dgm:prSet presAssocID="{6919E855-7087-40EB-BABF-546A12F01ED3}" presName="Name8" presStyleCnt="0"/>
      <dgm:spPr/>
    </dgm:pt>
    <dgm:pt modelId="{CB2B9572-ACF4-4C58-B77E-6F09553F05E4}" type="pres">
      <dgm:prSet presAssocID="{6919E855-7087-40EB-BABF-546A12F01ED3}" presName="level" presStyleLbl="node1" presStyleIdx="1" presStyleCnt="5">
        <dgm:presLayoutVars>
          <dgm:chMax val="1"/>
          <dgm:bulletEnabled val="1"/>
        </dgm:presLayoutVars>
      </dgm:prSet>
      <dgm:spPr/>
    </dgm:pt>
    <dgm:pt modelId="{3BAB1491-465A-4421-847C-E29CE4AD653D}" type="pres">
      <dgm:prSet presAssocID="{6919E855-7087-40EB-BABF-546A12F01ED3}" presName="levelTx" presStyleLbl="revTx" presStyleIdx="0" presStyleCnt="0">
        <dgm:presLayoutVars>
          <dgm:chMax val="1"/>
          <dgm:bulletEnabled val="1"/>
        </dgm:presLayoutVars>
      </dgm:prSet>
      <dgm:spPr/>
    </dgm:pt>
    <dgm:pt modelId="{565158F9-C683-4C7C-B94E-4AB4D72A7C1A}" type="pres">
      <dgm:prSet presAssocID="{7660FA29-7140-40C3-AE0A-B139F56ABF01}" presName="Name8" presStyleCnt="0"/>
      <dgm:spPr/>
    </dgm:pt>
    <dgm:pt modelId="{50B18D6F-D147-46F9-9B99-4EF3AE93EEA9}" type="pres">
      <dgm:prSet presAssocID="{7660FA29-7140-40C3-AE0A-B139F56ABF01}" presName="level" presStyleLbl="node1" presStyleIdx="2" presStyleCnt="5">
        <dgm:presLayoutVars>
          <dgm:chMax val="1"/>
          <dgm:bulletEnabled val="1"/>
        </dgm:presLayoutVars>
      </dgm:prSet>
      <dgm:spPr/>
    </dgm:pt>
    <dgm:pt modelId="{ED8E5624-4F67-4D56-89F6-7805F9F4BC6C}" type="pres">
      <dgm:prSet presAssocID="{7660FA29-7140-40C3-AE0A-B139F56ABF01}" presName="levelTx" presStyleLbl="revTx" presStyleIdx="0" presStyleCnt="0">
        <dgm:presLayoutVars>
          <dgm:chMax val="1"/>
          <dgm:bulletEnabled val="1"/>
        </dgm:presLayoutVars>
      </dgm:prSet>
      <dgm:spPr/>
    </dgm:pt>
    <dgm:pt modelId="{91D85EF9-D96E-413C-9598-F2B4FE6E2953}" type="pres">
      <dgm:prSet presAssocID="{FFAD64E8-03DC-42B8-B3C6-BBE242E0F759}" presName="Name8" presStyleCnt="0"/>
      <dgm:spPr/>
    </dgm:pt>
    <dgm:pt modelId="{8A1D9FB9-9143-465B-B41A-C2E4CBA991ED}" type="pres">
      <dgm:prSet presAssocID="{FFAD64E8-03DC-42B8-B3C6-BBE242E0F759}" presName="level" presStyleLbl="node1" presStyleIdx="3" presStyleCnt="5">
        <dgm:presLayoutVars>
          <dgm:chMax val="1"/>
          <dgm:bulletEnabled val="1"/>
        </dgm:presLayoutVars>
      </dgm:prSet>
      <dgm:spPr/>
    </dgm:pt>
    <dgm:pt modelId="{BF4098E8-A0F1-4688-8DCD-C04C2AAD4EC9}" type="pres">
      <dgm:prSet presAssocID="{FFAD64E8-03DC-42B8-B3C6-BBE242E0F759}" presName="levelTx" presStyleLbl="revTx" presStyleIdx="0" presStyleCnt="0">
        <dgm:presLayoutVars>
          <dgm:chMax val="1"/>
          <dgm:bulletEnabled val="1"/>
        </dgm:presLayoutVars>
      </dgm:prSet>
      <dgm:spPr/>
    </dgm:pt>
    <dgm:pt modelId="{13A2EDE6-963E-4FA7-9713-3EAF849252B6}" type="pres">
      <dgm:prSet presAssocID="{54A96014-6E2C-4195-A0C4-0CCAEB542C88}" presName="Name8" presStyleCnt="0"/>
      <dgm:spPr/>
    </dgm:pt>
    <dgm:pt modelId="{2C5A24AC-03E2-4E38-A39D-593EB23CA900}" type="pres">
      <dgm:prSet presAssocID="{54A96014-6E2C-4195-A0C4-0CCAEB542C88}" presName="level" presStyleLbl="node1" presStyleIdx="4" presStyleCnt="5">
        <dgm:presLayoutVars>
          <dgm:chMax val="1"/>
          <dgm:bulletEnabled val="1"/>
        </dgm:presLayoutVars>
      </dgm:prSet>
      <dgm:spPr/>
    </dgm:pt>
    <dgm:pt modelId="{CDC98A2A-AD38-434A-967C-91C43DE20DE2}" type="pres">
      <dgm:prSet presAssocID="{54A96014-6E2C-4195-A0C4-0CCAEB542C88}" presName="levelTx" presStyleLbl="revTx" presStyleIdx="0" presStyleCnt="0">
        <dgm:presLayoutVars>
          <dgm:chMax val="1"/>
          <dgm:bulletEnabled val="1"/>
        </dgm:presLayoutVars>
      </dgm:prSet>
      <dgm:spPr/>
    </dgm:pt>
  </dgm:ptLst>
  <dgm:cxnLst>
    <dgm:cxn modelId="{0962E401-82E3-4C6B-B15B-CF4962673F8D}" type="presOf" srcId="{7660FA29-7140-40C3-AE0A-B139F56ABF01}" destId="{ED8E5624-4F67-4D56-89F6-7805F9F4BC6C}" srcOrd="1" destOrd="0" presId="urn:microsoft.com/office/officeart/2005/8/layout/pyramid1"/>
    <dgm:cxn modelId="{2E782402-B9B8-4160-827A-50C4D6D03672}" type="presOf" srcId="{FF672BEF-4E12-491F-A54D-60B670E478E2}" destId="{BFAC90B4-258A-4CA6-B2DC-D7100A8B551F}" srcOrd="0" destOrd="0" presId="urn:microsoft.com/office/officeart/2005/8/layout/pyramid1"/>
    <dgm:cxn modelId="{21B8C402-FD16-4D84-8124-DC46D63F868A}" type="presOf" srcId="{7660FA29-7140-40C3-AE0A-B139F56ABF01}" destId="{50B18D6F-D147-46F9-9B99-4EF3AE93EEA9}" srcOrd="0" destOrd="0" presId="urn:microsoft.com/office/officeart/2005/8/layout/pyramid1"/>
    <dgm:cxn modelId="{1CF53511-D84E-4EC8-9700-8281B67A44FE}" type="presOf" srcId="{6919E855-7087-40EB-BABF-546A12F01ED3}" destId="{CB2B9572-ACF4-4C58-B77E-6F09553F05E4}" srcOrd="0" destOrd="0" presId="urn:microsoft.com/office/officeart/2005/8/layout/pyramid1"/>
    <dgm:cxn modelId="{28961722-D1ED-410D-B849-C6CB2A0BFB59}" type="presOf" srcId="{FFAD64E8-03DC-42B8-B3C6-BBE242E0F759}" destId="{BF4098E8-A0F1-4688-8DCD-C04C2AAD4EC9}" srcOrd="1" destOrd="0" presId="urn:microsoft.com/office/officeart/2005/8/layout/pyramid1"/>
    <dgm:cxn modelId="{9F8ED122-6816-47A9-A2FE-5AB9090BD52C}" type="presOf" srcId="{6919E855-7087-40EB-BABF-546A12F01ED3}" destId="{3BAB1491-465A-4421-847C-E29CE4AD653D}" srcOrd="1" destOrd="0" presId="urn:microsoft.com/office/officeart/2005/8/layout/pyramid1"/>
    <dgm:cxn modelId="{3C9AF538-F09C-4C80-9230-96063B56FA5E}" srcId="{A025C9EB-D133-41E8-A4D7-105FEBDB684F}" destId="{6919E855-7087-40EB-BABF-546A12F01ED3}" srcOrd="1" destOrd="0" parTransId="{958B322F-61F7-4108-9AD1-B7A198A5D863}" sibTransId="{82E2F9DD-0C9D-47E7-9BCF-FCFC8D1ED590}"/>
    <dgm:cxn modelId="{EA0E063D-2D6D-460F-AD8A-A8F3AA585941}" srcId="{A025C9EB-D133-41E8-A4D7-105FEBDB684F}" destId="{FF672BEF-4E12-491F-A54D-60B670E478E2}" srcOrd="0" destOrd="0" parTransId="{E1CAFEE4-BAA1-40E3-9281-497D3792116F}" sibTransId="{551008B9-3C19-4ED1-8FD7-1DD2146DC789}"/>
    <dgm:cxn modelId="{9DCD373D-6D75-4FCA-A6C5-467C1D8DC495}" type="presOf" srcId="{FFAD64E8-03DC-42B8-B3C6-BBE242E0F759}" destId="{8A1D9FB9-9143-465B-B41A-C2E4CBA991ED}" srcOrd="0" destOrd="0" presId="urn:microsoft.com/office/officeart/2005/8/layout/pyramid1"/>
    <dgm:cxn modelId="{62CCB442-527C-446C-98B1-A39D77202593}" srcId="{A025C9EB-D133-41E8-A4D7-105FEBDB684F}" destId="{54A96014-6E2C-4195-A0C4-0CCAEB542C88}" srcOrd="4" destOrd="0" parTransId="{8EE7D217-DC6F-4BA1-9DC6-452DA753FF69}" sibTransId="{89A9A9B4-DADD-4442-BCEF-837C536A314B}"/>
    <dgm:cxn modelId="{CBD79867-387B-4AAB-BEA2-72F93DCDF0C4}" type="presOf" srcId="{54A96014-6E2C-4195-A0C4-0CCAEB542C88}" destId="{2C5A24AC-03E2-4E38-A39D-593EB23CA900}" srcOrd="0" destOrd="0" presId="urn:microsoft.com/office/officeart/2005/8/layout/pyramid1"/>
    <dgm:cxn modelId="{D61F3059-C800-4519-BB46-0A6C4B4FCE65}" type="presOf" srcId="{54A96014-6E2C-4195-A0C4-0CCAEB542C88}" destId="{CDC98A2A-AD38-434A-967C-91C43DE20DE2}" srcOrd="1" destOrd="0" presId="urn:microsoft.com/office/officeart/2005/8/layout/pyramid1"/>
    <dgm:cxn modelId="{77AD6984-0963-41D5-A13E-DD0113FB5E45}" srcId="{A025C9EB-D133-41E8-A4D7-105FEBDB684F}" destId="{7660FA29-7140-40C3-AE0A-B139F56ABF01}" srcOrd="2" destOrd="0" parTransId="{B818FD0B-5E2D-4177-92AC-1C1223E1DFAD}" sibTransId="{C2170EF8-1D79-4B1B-B0B7-5A0919EB2ABD}"/>
    <dgm:cxn modelId="{F57F8A91-48F0-4119-9CD6-D683B46A5972}" type="presOf" srcId="{A025C9EB-D133-41E8-A4D7-105FEBDB684F}" destId="{06E6BBE4-AB9E-489A-ACB3-16A7B2627CE2}" srcOrd="0" destOrd="0" presId="urn:microsoft.com/office/officeart/2005/8/layout/pyramid1"/>
    <dgm:cxn modelId="{63E8ACCA-502F-4FAC-AC58-E681A90716FF}" type="presOf" srcId="{FF672BEF-4E12-491F-A54D-60B670E478E2}" destId="{4E1983CC-5607-4821-B9AF-3A32C0D9C640}" srcOrd="1" destOrd="0" presId="urn:microsoft.com/office/officeart/2005/8/layout/pyramid1"/>
    <dgm:cxn modelId="{693646D6-CE99-460B-850E-F4650BEE33B1}" srcId="{A025C9EB-D133-41E8-A4D7-105FEBDB684F}" destId="{FFAD64E8-03DC-42B8-B3C6-BBE242E0F759}" srcOrd="3" destOrd="0" parTransId="{26A9BFA0-CA51-4C66-8D85-9377FAA71C6C}" sibTransId="{4C900C0F-65C6-474A-BCB0-384E824DE780}"/>
    <dgm:cxn modelId="{9EEBC045-6196-4F5A-9011-C5B1CDC6D4B3}" type="presParOf" srcId="{06E6BBE4-AB9E-489A-ACB3-16A7B2627CE2}" destId="{2DCAC09C-030C-4DE8-B841-207FFE0F1CBF}" srcOrd="0" destOrd="0" presId="urn:microsoft.com/office/officeart/2005/8/layout/pyramid1"/>
    <dgm:cxn modelId="{A63C8159-612F-4F0B-A983-E285848ACC4C}" type="presParOf" srcId="{2DCAC09C-030C-4DE8-B841-207FFE0F1CBF}" destId="{BFAC90B4-258A-4CA6-B2DC-D7100A8B551F}" srcOrd="0" destOrd="0" presId="urn:microsoft.com/office/officeart/2005/8/layout/pyramid1"/>
    <dgm:cxn modelId="{A450EE53-8EEB-4051-B1B0-9D81D9B7D3EA}" type="presParOf" srcId="{2DCAC09C-030C-4DE8-B841-207FFE0F1CBF}" destId="{4E1983CC-5607-4821-B9AF-3A32C0D9C640}" srcOrd="1" destOrd="0" presId="urn:microsoft.com/office/officeart/2005/8/layout/pyramid1"/>
    <dgm:cxn modelId="{280C12AD-BF38-4A15-BB68-47DC20043697}" type="presParOf" srcId="{06E6BBE4-AB9E-489A-ACB3-16A7B2627CE2}" destId="{D51534F5-B0EE-4020-9B01-93F7503EEBF1}" srcOrd="1" destOrd="0" presId="urn:microsoft.com/office/officeart/2005/8/layout/pyramid1"/>
    <dgm:cxn modelId="{0F32A955-8C38-4D43-BBB5-C61A1CCFA4C1}" type="presParOf" srcId="{D51534F5-B0EE-4020-9B01-93F7503EEBF1}" destId="{CB2B9572-ACF4-4C58-B77E-6F09553F05E4}" srcOrd="0" destOrd="0" presId="urn:microsoft.com/office/officeart/2005/8/layout/pyramid1"/>
    <dgm:cxn modelId="{D023201C-99BE-442C-9BFF-6A4D5639AA6B}" type="presParOf" srcId="{D51534F5-B0EE-4020-9B01-93F7503EEBF1}" destId="{3BAB1491-465A-4421-847C-E29CE4AD653D}" srcOrd="1" destOrd="0" presId="urn:microsoft.com/office/officeart/2005/8/layout/pyramid1"/>
    <dgm:cxn modelId="{FAA99008-6291-47A2-9E89-BAB6B81C970E}" type="presParOf" srcId="{06E6BBE4-AB9E-489A-ACB3-16A7B2627CE2}" destId="{565158F9-C683-4C7C-B94E-4AB4D72A7C1A}" srcOrd="2" destOrd="0" presId="urn:microsoft.com/office/officeart/2005/8/layout/pyramid1"/>
    <dgm:cxn modelId="{B73D6A1F-A5F0-4D4F-83EA-F3797BBF5039}" type="presParOf" srcId="{565158F9-C683-4C7C-B94E-4AB4D72A7C1A}" destId="{50B18D6F-D147-46F9-9B99-4EF3AE93EEA9}" srcOrd="0" destOrd="0" presId="urn:microsoft.com/office/officeart/2005/8/layout/pyramid1"/>
    <dgm:cxn modelId="{39162AE2-C69A-40C8-9A55-630F501A5B5C}" type="presParOf" srcId="{565158F9-C683-4C7C-B94E-4AB4D72A7C1A}" destId="{ED8E5624-4F67-4D56-89F6-7805F9F4BC6C}" srcOrd="1" destOrd="0" presId="urn:microsoft.com/office/officeart/2005/8/layout/pyramid1"/>
    <dgm:cxn modelId="{63727EEE-4595-4BD0-96D4-BE863B188D9B}" type="presParOf" srcId="{06E6BBE4-AB9E-489A-ACB3-16A7B2627CE2}" destId="{91D85EF9-D96E-413C-9598-F2B4FE6E2953}" srcOrd="3" destOrd="0" presId="urn:microsoft.com/office/officeart/2005/8/layout/pyramid1"/>
    <dgm:cxn modelId="{67530C08-C3EF-4700-8B7F-98484370D496}" type="presParOf" srcId="{91D85EF9-D96E-413C-9598-F2B4FE6E2953}" destId="{8A1D9FB9-9143-465B-B41A-C2E4CBA991ED}" srcOrd="0" destOrd="0" presId="urn:microsoft.com/office/officeart/2005/8/layout/pyramid1"/>
    <dgm:cxn modelId="{CB0C0318-82FC-4B52-A454-81A0EBA44B91}" type="presParOf" srcId="{91D85EF9-D96E-413C-9598-F2B4FE6E2953}" destId="{BF4098E8-A0F1-4688-8DCD-C04C2AAD4EC9}" srcOrd="1" destOrd="0" presId="urn:microsoft.com/office/officeart/2005/8/layout/pyramid1"/>
    <dgm:cxn modelId="{3EEB159C-B55E-4860-A408-EF936F52AC74}" type="presParOf" srcId="{06E6BBE4-AB9E-489A-ACB3-16A7B2627CE2}" destId="{13A2EDE6-963E-4FA7-9713-3EAF849252B6}" srcOrd="4" destOrd="0" presId="urn:microsoft.com/office/officeart/2005/8/layout/pyramid1"/>
    <dgm:cxn modelId="{5F737C4A-BCC7-4698-81EE-4861582C3ED3}" type="presParOf" srcId="{13A2EDE6-963E-4FA7-9713-3EAF849252B6}" destId="{2C5A24AC-03E2-4E38-A39D-593EB23CA900}" srcOrd="0" destOrd="0" presId="urn:microsoft.com/office/officeart/2005/8/layout/pyramid1"/>
    <dgm:cxn modelId="{9D24BA30-2E5A-4068-86CE-79C791F84110}" type="presParOf" srcId="{13A2EDE6-963E-4FA7-9713-3EAF849252B6}" destId="{CDC98A2A-AD38-434A-967C-91C43DE20DE2}"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AC90B4-258A-4CA6-B2DC-D7100A8B551F}">
      <dsp:nvSpPr>
        <dsp:cNvPr id="0" name=""/>
        <dsp:cNvSpPr/>
      </dsp:nvSpPr>
      <dsp:spPr>
        <a:xfrm>
          <a:off x="1545856" y="0"/>
          <a:ext cx="772928" cy="844649"/>
        </a:xfrm>
        <a:prstGeom prst="trapezoid">
          <a:avLst>
            <a:gd name="adj" fmla="val 50000"/>
          </a:avLst>
        </a:prstGeom>
        <a:solidFill>
          <a:schemeClr val="accent1">
            <a:lumMod val="50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 </a:t>
          </a:r>
        </a:p>
      </dsp:txBody>
      <dsp:txXfrm>
        <a:off x="1545856" y="0"/>
        <a:ext cx="772928" cy="844649"/>
      </dsp:txXfrm>
    </dsp:sp>
    <dsp:sp modelId="{CB2B9572-ACF4-4C58-B77E-6F09553F05E4}">
      <dsp:nvSpPr>
        <dsp:cNvPr id="0" name=""/>
        <dsp:cNvSpPr/>
      </dsp:nvSpPr>
      <dsp:spPr>
        <a:xfrm>
          <a:off x="1159392" y="844649"/>
          <a:ext cx="1545856" cy="844649"/>
        </a:xfrm>
        <a:prstGeom prst="trapezoid">
          <a:avLst>
            <a:gd name="adj" fmla="val 45754"/>
          </a:avLst>
        </a:prstGeom>
        <a:solidFill>
          <a:schemeClr val="accent1">
            <a:lumMod val="75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 </a:t>
          </a:r>
        </a:p>
      </dsp:txBody>
      <dsp:txXfrm>
        <a:off x="1429917" y="844649"/>
        <a:ext cx="1004806" cy="844649"/>
      </dsp:txXfrm>
    </dsp:sp>
    <dsp:sp modelId="{50B18D6F-D147-46F9-9B99-4EF3AE93EEA9}">
      <dsp:nvSpPr>
        <dsp:cNvPr id="0" name=""/>
        <dsp:cNvSpPr/>
      </dsp:nvSpPr>
      <dsp:spPr>
        <a:xfrm>
          <a:off x="772928" y="1689297"/>
          <a:ext cx="2318784" cy="844649"/>
        </a:xfrm>
        <a:prstGeom prst="trapezoid">
          <a:avLst>
            <a:gd name="adj" fmla="val 45754"/>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			</a:t>
          </a:r>
        </a:p>
      </dsp:txBody>
      <dsp:txXfrm>
        <a:off x="1178715" y="1689297"/>
        <a:ext cx="1507209" cy="844649"/>
      </dsp:txXfrm>
    </dsp:sp>
    <dsp:sp modelId="{8A1D9FB9-9143-465B-B41A-C2E4CBA991ED}">
      <dsp:nvSpPr>
        <dsp:cNvPr id="0" name=""/>
        <dsp:cNvSpPr/>
      </dsp:nvSpPr>
      <dsp:spPr>
        <a:xfrm>
          <a:off x="386464" y="2533947"/>
          <a:ext cx="3091712" cy="844649"/>
        </a:xfrm>
        <a:prstGeom prst="trapezoid">
          <a:avLst>
            <a:gd name="adj" fmla="val 45754"/>
          </a:avLst>
        </a:prstGeom>
        <a:solidFill>
          <a:schemeClr val="accent1">
            <a:lumMod val="60000"/>
            <a:lumOff val="40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927513" y="2533947"/>
        <a:ext cx="2009613" cy="844649"/>
      </dsp:txXfrm>
    </dsp:sp>
    <dsp:sp modelId="{2C5A24AC-03E2-4E38-A39D-593EB23CA900}">
      <dsp:nvSpPr>
        <dsp:cNvPr id="0" name=""/>
        <dsp:cNvSpPr/>
      </dsp:nvSpPr>
      <dsp:spPr>
        <a:xfrm>
          <a:off x="0" y="3378596"/>
          <a:ext cx="3864641" cy="844649"/>
        </a:xfrm>
        <a:prstGeom prst="trapezoid">
          <a:avLst>
            <a:gd name="adj" fmla="val 45754"/>
          </a:avLst>
        </a:prstGeom>
        <a:solidFill>
          <a:schemeClr val="accent2">
            <a:lumMod val="20000"/>
            <a:lumOff val="80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676312" y="3378596"/>
        <a:ext cx="2512016" cy="844649"/>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6211</cdr:x>
      <cdr:y>0.08503</cdr:y>
    </cdr:from>
    <cdr:to>
      <cdr:x>0.77886</cdr:x>
      <cdr:y>0.22292</cdr:y>
    </cdr:to>
    <cdr:cxnSp macro="">
      <cdr:nvCxnSpPr>
        <cdr:cNvPr id="4" name="Straight Arrow Connector 3">
          <a:extLst xmlns:a="http://schemas.openxmlformats.org/drawingml/2006/main">
            <a:ext uri="{FF2B5EF4-FFF2-40B4-BE49-F238E27FC236}">
              <a16:creationId xmlns:a16="http://schemas.microsoft.com/office/drawing/2014/main" id="{7C94468A-9552-4AE2-3F9E-4D3C07823BC1}"/>
            </a:ext>
          </a:extLst>
        </cdr:cNvPr>
        <cdr:cNvCxnSpPr/>
      </cdr:nvCxnSpPr>
      <cdr:spPr>
        <a:xfrm xmlns:a="http://schemas.openxmlformats.org/drawingml/2006/main">
          <a:off x="2236994" y="384128"/>
          <a:ext cx="4410075" cy="622916"/>
        </a:xfrm>
        <a:prstGeom xmlns:a="http://schemas.openxmlformats.org/drawingml/2006/main" prst="straightConnector1">
          <a:avLst/>
        </a:prstGeom>
        <a:ln xmlns:a="http://schemas.openxmlformats.org/drawingml/2006/main">
          <a:solidFill>
            <a:srgbClr val="C00000"/>
          </a:solidFill>
          <a:tailEnd type="triangle"/>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496</cdr:x>
      <cdr:y>0.5015</cdr:y>
    </cdr:from>
    <cdr:to>
      <cdr:x>0.503</cdr:x>
      <cdr:y>0.539</cdr:y>
    </cdr:to>
    <cdr:sp macro="" textlink="">
      <cdr:nvSpPr>
        <cdr:cNvPr id="1025" name="Text Box 1">
          <a:extLst xmlns:a="http://schemas.openxmlformats.org/drawingml/2006/main">
            <a:ext uri="{FF2B5EF4-FFF2-40B4-BE49-F238E27FC236}">
              <a16:creationId xmlns:a16="http://schemas.microsoft.com/office/drawing/2014/main" id="{4A319079-CEF9-20EC-FCF2-DC4821E1A2E0}"/>
            </a:ext>
          </a:extLst>
        </cdr:cNvPr>
        <cdr:cNvSpPr txBox="1">
          <a:spLocks xmlns:a="http://schemas.openxmlformats.org/drawingml/2006/main" noChangeArrowheads="1"/>
        </cdr:cNvSpPr>
      </cdr:nvSpPr>
      <cdr:spPr bwMode="auto">
        <a:xfrm xmlns:a="http://schemas.openxmlformats.org/drawingml/2006/main">
          <a:off x="3982669" y="2670224"/>
          <a:ext cx="56207" cy="199668"/>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rgbClr xmlns:mc="http://schemas.openxmlformats.org/markup-compatibility/2006" val="000000" mc:Ignorable="a14" a14:legacySpreadsheetColorIndex="64"/>
              </a:solidFill>
            </a14:hiddenFill>
          </a:ext>
          <a:ext uri="{91240B29-F687-4F45-9708-019B960494DF}">
            <a14:hiddenLine xmlns:a14="http://schemas.microsoft.com/office/drawing/2010/main" w="9525">
              <a:solidFill>
                <a:srgbClr xmlns:mc="http://schemas.openxmlformats.org/markup-compatibility/2006" val="FFFFFF" mc:Ignorable="a14" a14:legacySpreadsheetColorIndex="65"/>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wrap="none" lIns="18288" tIns="22860" rIns="18288" bIns="22860" anchor="ctr" upright="1">
          <a:spAutoFit/>
        </a:bodyPr>
        <a:lstStyle xmlns:a="http://schemas.openxmlformats.org/drawingml/2006/main"/>
        <a:p xmlns:a="http://schemas.openxmlformats.org/drawingml/2006/main">
          <a:pPr algn="ctr" rtl="0">
            <a:defRPr sz="1000"/>
          </a:pPr>
          <a:r>
            <a:rPr lang="en-US" sz="800" b="1" i="0" u="none" strike="noStrike" baseline="0" dirty="0">
              <a:solidFill>
                <a:srgbClr val="000000"/>
              </a:solidFill>
              <a:latin typeface="Calibri"/>
              <a:cs typeface="Calibri"/>
            </a:rPr>
            <a:t>            </a:t>
          </a:r>
        </a:p>
      </cdr:txBody>
    </cdr:sp>
  </cdr:relSizeAnchor>
  <cdr:relSizeAnchor xmlns:cdr="http://schemas.openxmlformats.org/drawingml/2006/chartDrawing">
    <cdr:from>
      <cdr:x>0.496</cdr:x>
      <cdr:y>0.5015</cdr:y>
    </cdr:from>
    <cdr:to>
      <cdr:x>0.503</cdr:x>
      <cdr:y>0.539</cdr:y>
    </cdr:to>
    <cdr:sp macro="" textlink="">
      <cdr:nvSpPr>
        <cdr:cNvPr id="1026" name="Text Box 2">
          <a:extLst xmlns:a="http://schemas.openxmlformats.org/drawingml/2006/main">
            <a:ext uri="{FF2B5EF4-FFF2-40B4-BE49-F238E27FC236}">
              <a16:creationId xmlns:a16="http://schemas.microsoft.com/office/drawing/2014/main" id="{26460B13-E322-C973-1BF8-B6AAB7E96916}"/>
            </a:ext>
          </a:extLst>
        </cdr:cNvPr>
        <cdr:cNvSpPr txBox="1">
          <a:spLocks xmlns:a="http://schemas.openxmlformats.org/drawingml/2006/main" noChangeArrowheads="1"/>
        </cdr:cNvSpPr>
      </cdr:nvSpPr>
      <cdr:spPr bwMode="auto">
        <a:xfrm xmlns:a="http://schemas.openxmlformats.org/drawingml/2006/main">
          <a:off x="5674382" y="2214306"/>
          <a:ext cx="80082" cy="165576"/>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rgbClr xmlns:mc="http://schemas.openxmlformats.org/markup-compatibility/2006" val="000000" mc:Ignorable="a14" a14:legacySpreadsheetColorIndex="64"/>
              </a:solidFill>
            </a14:hiddenFill>
          </a:ext>
          <a:ext uri="{91240B29-F687-4F45-9708-019B960494DF}">
            <a14:hiddenLine xmlns:a14="http://schemas.microsoft.com/office/drawing/2010/main" w="9525">
              <a:solidFill>
                <a:srgbClr xmlns:mc="http://schemas.openxmlformats.org/markup-compatibility/2006" val="FFFFFF" mc:Ignorable="a14" a14:legacySpreadsheetColorIndex="65"/>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wrap="none" lIns="18288" tIns="22860" rIns="18288" bIns="22860" anchor="ctr" upright="1">
          <a:spAutoFit/>
        </a:bodyPr>
        <a:lstStyle xmlns:a="http://schemas.openxmlformats.org/drawingml/2006/main"/>
        <a:p xmlns:a="http://schemas.openxmlformats.org/drawingml/2006/main">
          <a:pPr algn="ctr" rtl="0">
            <a:defRPr sz="1000"/>
          </a:pPr>
          <a:r>
            <a:rPr lang="en-US" sz="800" b="1" i="0" u="none" strike="noStrike" baseline="0" dirty="0">
              <a:solidFill>
                <a:srgbClr val="000000"/>
              </a:solidFill>
              <a:latin typeface="Calibri"/>
              <a:cs typeface="Calibri"/>
            </a:rPr>
            <a:t>               </a:t>
          </a:r>
        </a:p>
      </cdr:txBody>
    </cdr:sp>
  </cdr:relSizeAnchor>
</c:userShapes>
</file>

<file path=ppt/drawings/drawing3.xml><?xml version="1.0" encoding="utf-8"?>
<c:userShapes xmlns:c="http://schemas.openxmlformats.org/drawingml/2006/chart">
  <cdr:relSizeAnchor xmlns:cdr="http://schemas.openxmlformats.org/drawingml/2006/chartDrawing">
    <cdr:from>
      <cdr:x>0</cdr:x>
      <cdr:y>0.06279</cdr:y>
    </cdr:from>
    <cdr:to>
      <cdr:x>0.08055</cdr:x>
      <cdr:y>0.1018</cdr:y>
    </cdr:to>
    <cdr:sp macro="" textlink="">
      <cdr:nvSpPr>
        <cdr:cNvPr id="2" name="Oval 1">
          <a:extLst xmlns:a="http://schemas.openxmlformats.org/drawingml/2006/main">
            <a:ext uri="{FF2B5EF4-FFF2-40B4-BE49-F238E27FC236}">
              <a16:creationId xmlns:a16="http://schemas.microsoft.com/office/drawing/2014/main" id="{375A337A-836C-8E5A-9C4E-BEBC64C120A6}"/>
            </a:ext>
          </a:extLst>
        </cdr:cNvPr>
        <cdr:cNvSpPr/>
      </cdr:nvSpPr>
      <cdr:spPr bwMode="gray">
        <a:xfrm xmlns:a="http://schemas.openxmlformats.org/drawingml/2006/main">
          <a:off x="-6262906" y="257054"/>
          <a:ext cx="172476" cy="159716"/>
        </a:xfrm>
        <a:prstGeom xmlns:a="http://schemas.openxmlformats.org/drawingml/2006/main" prst="ellipse">
          <a:avLst/>
        </a:prstGeom>
        <a:solidFill xmlns:a="http://schemas.openxmlformats.org/drawingml/2006/main">
          <a:schemeClr val="bg1"/>
        </a:solidFill>
        <a:ln xmlns:a="http://schemas.openxmlformats.org/drawingml/2006/main" w="19050" cap="flat" cmpd="sng" algn="ctr">
          <a:solidFill>
            <a:schemeClr val="accent3"/>
          </a:solidFill>
          <a:prstDash val="solid"/>
          <a:miter lim="800000"/>
          <a:headEnd type="none" w="med" len="med"/>
          <a:tailEnd type="none" w="med" len="med"/>
        </a:ln>
        <a:effectLst xmlns:a="http://schemas.openxmlformats.org/drawingml/2006/main"/>
      </cdr:spPr>
      <cdr:txBody>
        <a:bodyPr xmlns:a="http://schemas.openxmlformats.org/drawingml/2006/main" vert="horz" wrap="none" lIns="0" tIns="0" rIns="18283" bIns="0" numCol="1" rtlCol="0" anchor="ctr" anchorCtr="0" compatLnSpc="1">
          <a:prstTxWarp prst="textNoShape">
            <a:avLst/>
          </a:prstTxWarp>
          <a:noAutofit/>
        </a:bodyPr>
        <a:lstStyle xmlns:a="http://schemas.openxmlformats.org/drawingml/2006/main">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xmlns:a="http://schemas.openxmlformats.org/drawingml/2006/main">
          <a:pPr marL="11203" marR="0" lvl="0" indent="0" algn="ctr" defTabSz="914126" rtl="0" eaLnBrk="1" fontAlgn="auto" latinLnBrk="0" hangingPunct="1">
            <a:lnSpc>
              <a:spcPct val="100000"/>
            </a:lnSpc>
            <a:spcBef>
              <a:spcPts val="84"/>
            </a:spcBef>
            <a:spcAft>
              <a:spcPts val="0"/>
            </a:spcAft>
            <a:buClrTx/>
            <a:buSzTx/>
            <a:buFontTx/>
            <a:buNone/>
            <a:tabLst/>
            <a:defRPr/>
          </a:pPr>
          <a:r>
            <a:rPr kumimoji="0" lang="en-US" sz="900" b="0" i="0" u="none" strike="noStrike" kern="1200" cap="none" spc="-4" normalizeH="0" baseline="0" noProof="0" dirty="0">
              <a:ln>
                <a:noFill/>
              </a:ln>
              <a:effectLst/>
              <a:uLnTx/>
              <a:uFillTx/>
              <a:latin typeface="Arial" panose="020B0604020202020204"/>
              <a:ea typeface="+mn-ea"/>
              <a:cs typeface="Arial" panose="020B0604020202020204" pitchFamily="34" charset="0"/>
            </a:rPr>
            <a:t>96</a:t>
          </a:r>
          <a:endParaRPr kumimoji="0" lang="en-US" sz="900" b="0" i="0" u="none" strike="noStrike" kern="1200" cap="none" spc="0" normalizeH="0" baseline="0" noProof="0" dirty="0">
            <a:ln>
              <a:noFill/>
            </a:ln>
            <a:effectLst/>
            <a:uLnTx/>
            <a:uFillTx/>
            <a:latin typeface="Arial" panose="020B0604020202020204"/>
            <a:ea typeface="+mn-ea"/>
            <a:cs typeface="Arial" panose="020B0604020202020204"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95023</cdr:x>
      <cdr:y>0.06404</cdr:y>
    </cdr:from>
    <cdr:to>
      <cdr:x>0.99793</cdr:x>
      <cdr:y>0.10305</cdr:y>
    </cdr:to>
    <cdr:sp macro="" textlink="">
      <cdr:nvSpPr>
        <cdr:cNvPr id="2" name="Oval 1">
          <a:extLst xmlns:a="http://schemas.openxmlformats.org/drawingml/2006/main">
            <a:ext uri="{FF2B5EF4-FFF2-40B4-BE49-F238E27FC236}">
              <a16:creationId xmlns:a16="http://schemas.microsoft.com/office/drawing/2014/main" id="{5954AAD6-4B9E-CB92-4E72-14C22CEDB21D}"/>
            </a:ext>
          </a:extLst>
        </cdr:cNvPr>
        <cdr:cNvSpPr/>
      </cdr:nvSpPr>
      <cdr:spPr bwMode="gray">
        <a:xfrm xmlns:a="http://schemas.openxmlformats.org/drawingml/2006/main">
          <a:off x="3435320" y="262159"/>
          <a:ext cx="172476" cy="159716"/>
        </a:xfrm>
        <a:prstGeom xmlns:a="http://schemas.openxmlformats.org/drawingml/2006/main" prst="ellipse">
          <a:avLst/>
        </a:prstGeom>
        <a:solidFill xmlns:a="http://schemas.openxmlformats.org/drawingml/2006/main">
          <a:schemeClr val="bg1"/>
        </a:solidFill>
        <a:ln xmlns:a="http://schemas.openxmlformats.org/drawingml/2006/main" w="19050" cap="flat" cmpd="sng" algn="ctr">
          <a:solidFill>
            <a:schemeClr val="accent3"/>
          </a:solidFill>
          <a:prstDash val="solid"/>
          <a:miter lim="800000"/>
          <a:headEnd type="none" w="med" len="med"/>
          <a:tailEnd type="none" w="med" len="med"/>
        </a:ln>
        <a:effectLst xmlns:a="http://schemas.openxmlformats.org/drawingml/2006/main"/>
      </cdr:spPr>
      <cdr:txBody>
        <a:bodyPr xmlns:a="http://schemas.openxmlformats.org/drawingml/2006/main" vert="horz" wrap="none" lIns="0" tIns="0" rIns="18283" bIns="0" numCol="1" rtlCol="0" anchor="ctr" anchorCtr="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11203" marR="0" lvl="0" indent="0" algn="ctr" defTabSz="914126" rtl="0" eaLnBrk="1" fontAlgn="auto" latinLnBrk="0" hangingPunct="1">
            <a:lnSpc>
              <a:spcPct val="100000"/>
            </a:lnSpc>
            <a:spcBef>
              <a:spcPts val="84"/>
            </a:spcBef>
            <a:spcAft>
              <a:spcPts val="0"/>
            </a:spcAft>
            <a:buClrTx/>
            <a:buSzTx/>
            <a:buFontTx/>
            <a:buNone/>
            <a:tabLst/>
            <a:defRPr/>
          </a:pPr>
          <a:r>
            <a:rPr kumimoji="0" lang="en-US" sz="900" b="0" i="0" u="none" strike="noStrike" kern="1200" cap="none" spc="-4" normalizeH="0" baseline="0" noProof="0" dirty="0">
              <a:ln>
                <a:noFill/>
              </a:ln>
              <a:effectLst/>
              <a:uLnTx/>
              <a:uFillTx/>
              <a:latin typeface="Arial" panose="020B0604020202020204"/>
              <a:ea typeface="+mn-ea"/>
              <a:cs typeface="Arial" panose="020B0604020202020204" pitchFamily="34" charset="0"/>
            </a:rPr>
            <a:t>96</a:t>
          </a:r>
          <a:endParaRPr kumimoji="0" lang="en-US" sz="900" b="0" i="0" u="none" strike="noStrike" kern="1200" cap="none" spc="0" normalizeH="0" baseline="0" noProof="0" dirty="0">
            <a:ln>
              <a:noFill/>
            </a:ln>
            <a:effectLst/>
            <a:uLnTx/>
            <a:uFillTx/>
            <a:latin typeface="Arial" panose="020B0604020202020204"/>
            <a:ea typeface="+mn-ea"/>
            <a:cs typeface="Arial" panose="020B0604020202020204"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13772</cdr:x>
      <cdr:y>0.25982</cdr:y>
    </cdr:from>
    <cdr:to>
      <cdr:x>0.19199</cdr:x>
      <cdr:y>0.25982</cdr:y>
    </cdr:to>
    <cdr:cxnSp macro="">
      <cdr:nvCxnSpPr>
        <cdr:cNvPr id="5" name="Straight Arrow Connector 4">
          <a:extLst xmlns:a="http://schemas.openxmlformats.org/drawingml/2006/main">
            <a:ext uri="{FF2B5EF4-FFF2-40B4-BE49-F238E27FC236}">
              <a16:creationId xmlns:a16="http://schemas.microsoft.com/office/drawing/2014/main" id="{8B9386FB-5BDD-460E-AD62-46FE1EA3DDEE}"/>
            </a:ext>
          </a:extLst>
        </cdr:cNvPr>
        <cdr:cNvCxnSpPr>
          <a:cxnSpLocks xmlns:a="http://schemas.openxmlformats.org/drawingml/2006/main"/>
        </cdr:cNvCxnSpPr>
      </cdr:nvCxnSpPr>
      <cdr:spPr>
        <a:xfrm xmlns:a="http://schemas.openxmlformats.org/drawingml/2006/main" flipV="1">
          <a:off x="781849" y="976314"/>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18129</cdr:x>
      <cdr:y>0.0545</cdr:y>
    </cdr:from>
    <cdr:to>
      <cdr:x>0.27013</cdr:x>
      <cdr:y>0.10914</cdr:y>
    </cdr:to>
    <cdr:sp macro="" textlink="">
      <cdr:nvSpPr>
        <cdr:cNvPr id="18" name="TextBox 1">
          <a:extLst xmlns:a="http://schemas.openxmlformats.org/drawingml/2006/main">
            <a:ext uri="{FF2B5EF4-FFF2-40B4-BE49-F238E27FC236}">
              <a16:creationId xmlns:a16="http://schemas.microsoft.com/office/drawing/2014/main" id="{52A8E8E0-85FF-4DFF-A940-07C749F0FA2D}"/>
            </a:ext>
          </a:extLst>
        </cdr:cNvPr>
        <cdr:cNvSpPr txBox="1"/>
      </cdr:nvSpPr>
      <cdr:spPr>
        <a:xfrm xmlns:a="http://schemas.openxmlformats.org/drawingml/2006/main">
          <a:off x="1029150" y="204788"/>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lt;0.001</a:t>
          </a:r>
        </a:p>
      </cdr:txBody>
    </cdr:sp>
  </cdr:relSizeAnchor>
  <cdr:relSizeAnchor xmlns:cdr="http://schemas.openxmlformats.org/drawingml/2006/chartDrawing">
    <cdr:from>
      <cdr:x>0.19351</cdr:x>
      <cdr:y>0.21377</cdr:y>
    </cdr:from>
    <cdr:to>
      <cdr:x>0.24778</cdr:x>
      <cdr:y>0.21377</cdr:y>
    </cdr:to>
    <cdr:cxnSp macro="">
      <cdr:nvCxnSpPr>
        <cdr:cNvPr id="25" name="Straight Arrow Connector 24">
          <a:extLst xmlns:a="http://schemas.openxmlformats.org/drawingml/2006/main">
            <a:ext uri="{FF2B5EF4-FFF2-40B4-BE49-F238E27FC236}">
              <a16:creationId xmlns:a16="http://schemas.microsoft.com/office/drawing/2014/main" id="{50048918-C3B1-4DD5-9F0E-B05C5DCB1DED}"/>
            </a:ext>
          </a:extLst>
        </cdr:cNvPr>
        <cdr:cNvCxnSpPr>
          <a:cxnSpLocks xmlns:a="http://schemas.openxmlformats.org/drawingml/2006/main"/>
        </cdr:cNvCxnSpPr>
      </cdr:nvCxnSpPr>
      <cdr:spPr>
        <a:xfrm xmlns:a="http://schemas.openxmlformats.org/drawingml/2006/main" flipV="1">
          <a:off x="1098550" y="803275"/>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25727</cdr:x>
      <cdr:y>0.18335</cdr:y>
    </cdr:from>
    <cdr:to>
      <cdr:x>0.31154</cdr:x>
      <cdr:y>0.18336</cdr:y>
    </cdr:to>
    <cdr:cxnSp macro="">
      <cdr:nvCxnSpPr>
        <cdr:cNvPr id="26" name="Straight Arrow Connector 25">
          <a:extLst xmlns:a="http://schemas.openxmlformats.org/drawingml/2006/main">
            <a:ext uri="{FF2B5EF4-FFF2-40B4-BE49-F238E27FC236}">
              <a16:creationId xmlns:a16="http://schemas.microsoft.com/office/drawing/2014/main" id="{50048918-C3B1-4DD5-9F0E-B05C5DCB1DED}"/>
            </a:ext>
          </a:extLst>
        </cdr:cNvPr>
        <cdr:cNvCxnSpPr>
          <a:cxnSpLocks xmlns:a="http://schemas.openxmlformats.org/drawingml/2006/main"/>
        </cdr:cNvCxnSpPr>
      </cdr:nvCxnSpPr>
      <cdr:spPr>
        <a:xfrm xmlns:a="http://schemas.openxmlformats.org/drawingml/2006/main" flipV="1">
          <a:off x="1460500" y="688975"/>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13826</cdr:x>
      <cdr:y>0.14575</cdr:y>
    </cdr:from>
    <cdr:to>
      <cdr:x>0.26007</cdr:x>
      <cdr:y>0.14575</cdr:y>
    </cdr:to>
    <cdr:cxnSp macro="">
      <cdr:nvCxnSpPr>
        <cdr:cNvPr id="27" name="Straight Arrow Connector 26">
          <a:extLst xmlns:a="http://schemas.openxmlformats.org/drawingml/2006/main">
            <a:ext uri="{FF2B5EF4-FFF2-40B4-BE49-F238E27FC236}">
              <a16:creationId xmlns:a16="http://schemas.microsoft.com/office/drawing/2014/main" id="{50048918-C3B1-4DD5-9F0E-B05C5DCB1DED}"/>
            </a:ext>
          </a:extLst>
        </cdr:cNvPr>
        <cdr:cNvCxnSpPr>
          <a:cxnSpLocks xmlns:a="http://schemas.openxmlformats.org/drawingml/2006/main"/>
        </cdr:cNvCxnSpPr>
      </cdr:nvCxnSpPr>
      <cdr:spPr>
        <a:xfrm xmlns:a="http://schemas.openxmlformats.org/drawingml/2006/main" flipH="1">
          <a:off x="784865" y="547689"/>
          <a:ext cx="691512" cy="0"/>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13378</cdr:x>
      <cdr:y>0.10013</cdr:y>
    </cdr:from>
    <cdr:to>
      <cdr:x>0.31376</cdr:x>
      <cdr:y>0.10097</cdr:y>
    </cdr:to>
    <cdr:cxnSp macro="">
      <cdr:nvCxnSpPr>
        <cdr:cNvPr id="31" name="Straight Arrow Connector 30">
          <a:extLst xmlns:a="http://schemas.openxmlformats.org/drawingml/2006/main">
            <a:ext uri="{FF2B5EF4-FFF2-40B4-BE49-F238E27FC236}">
              <a16:creationId xmlns:a16="http://schemas.microsoft.com/office/drawing/2014/main" id="{BA5A61B7-A421-4957-B95C-E1EB87B39B63}"/>
            </a:ext>
          </a:extLst>
        </cdr:cNvPr>
        <cdr:cNvCxnSpPr>
          <a:cxnSpLocks xmlns:a="http://schemas.openxmlformats.org/drawingml/2006/main"/>
        </cdr:cNvCxnSpPr>
      </cdr:nvCxnSpPr>
      <cdr:spPr>
        <a:xfrm xmlns:a="http://schemas.openxmlformats.org/drawingml/2006/main" flipH="1">
          <a:off x="759465" y="376239"/>
          <a:ext cx="1021712" cy="3175"/>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43848</cdr:x>
      <cdr:y>0.22645</cdr:y>
    </cdr:from>
    <cdr:to>
      <cdr:x>0.49275</cdr:x>
      <cdr:y>0.22645</cdr:y>
    </cdr:to>
    <cdr:cxnSp macro="">
      <cdr:nvCxnSpPr>
        <cdr:cNvPr id="33" name="Straight Arrow Connector 32">
          <a:extLst xmlns:a="http://schemas.openxmlformats.org/drawingml/2006/main">
            <a:ext uri="{FF2B5EF4-FFF2-40B4-BE49-F238E27FC236}">
              <a16:creationId xmlns:a16="http://schemas.microsoft.com/office/drawing/2014/main" id="{96C97A6F-7418-4658-84C6-87667A0DA5E1}"/>
            </a:ext>
          </a:extLst>
        </cdr:cNvPr>
        <cdr:cNvCxnSpPr>
          <a:cxnSpLocks xmlns:a="http://schemas.openxmlformats.org/drawingml/2006/main"/>
        </cdr:cNvCxnSpPr>
      </cdr:nvCxnSpPr>
      <cdr:spPr>
        <a:xfrm xmlns:a="http://schemas.openxmlformats.org/drawingml/2006/main" flipV="1">
          <a:off x="2489200" y="850900"/>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48881</cdr:x>
      <cdr:y>0.14026</cdr:y>
    </cdr:from>
    <cdr:to>
      <cdr:x>0.54308</cdr:x>
      <cdr:y>0.14026</cdr:y>
    </cdr:to>
    <cdr:cxnSp macro="">
      <cdr:nvCxnSpPr>
        <cdr:cNvPr id="34" name="Straight Arrow Connector 33">
          <a:extLst xmlns:a="http://schemas.openxmlformats.org/drawingml/2006/main">
            <a:ext uri="{FF2B5EF4-FFF2-40B4-BE49-F238E27FC236}">
              <a16:creationId xmlns:a16="http://schemas.microsoft.com/office/drawing/2014/main" id="{96C97A6F-7418-4658-84C6-87667A0DA5E1}"/>
            </a:ext>
          </a:extLst>
        </cdr:cNvPr>
        <cdr:cNvCxnSpPr>
          <a:cxnSpLocks xmlns:a="http://schemas.openxmlformats.org/drawingml/2006/main"/>
        </cdr:cNvCxnSpPr>
      </cdr:nvCxnSpPr>
      <cdr:spPr>
        <a:xfrm xmlns:a="http://schemas.openxmlformats.org/drawingml/2006/main" flipV="1">
          <a:off x="2774950" y="527050"/>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5425</cdr:x>
      <cdr:y>0.12759</cdr:y>
    </cdr:from>
    <cdr:to>
      <cdr:x>0.60852</cdr:x>
      <cdr:y>0.12759</cdr:y>
    </cdr:to>
    <cdr:cxnSp macro="">
      <cdr:nvCxnSpPr>
        <cdr:cNvPr id="35" name="Straight Arrow Connector 34">
          <a:extLst xmlns:a="http://schemas.openxmlformats.org/drawingml/2006/main">
            <a:ext uri="{FF2B5EF4-FFF2-40B4-BE49-F238E27FC236}">
              <a16:creationId xmlns:a16="http://schemas.microsoft.com/office/drawing/2014/main" id="{96C97A6F-7418-4658-84C6-87667A0DA5E1}"/>
            </a:ext>
          </a:extLst>
        </cdr:cNvPr>
        <cdr:cNvCxnSpPr>
          <a:cxnSpLocks xmlns:a="http://schemas.openxmlformats.org/drawingml/2006/main"/>
        </cdr:cNvCxnSpPr>
      </cdr:nvCxnSpPr>
      <cdr:spPr>
        <a:xfrm xmlns:a="http://schemas.openxmlformats.org/drawingml/2006/main" flipV="1">
          <a:off x="3146425" y="479425"/>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43076</cdr:x>
      <cdr:y>0.09083</cdr:y>
    </cdr:from>
    <cdr:to>
      <cdr:x>0.55257</cdr:x>
      <cdr:y>0.09083</cdr:y>
    </cdr:to>
    <cdr:cxnSp macro="">
      <cdr:nvCxnSpPr>
        <cdr:cNvPr id="36" name="Straight Arrow Connector 35">
          <a:extLst xmlns:a="http://schemas.openxmlformats.org/drawingml/2006/main">
            <a:ext uri="{FF2B5EF4-FFF2-40B4-BE49-F238E27FC236}">
              <a16:creationId xmlns:a16="http://schemas.microsoft.com/office/drawing/2014/main" id="{6BABD604-784F-4DA8-B4E7-4E17751A84DE}"/>
            </a:ext>
          </a:extLst>
        </cdr:cNvPr>
        <cdr:cNvCxnSpPr>
          <a:cxnSpLocks xmlns:a="http://schemas.openxmlformats.org/drawingml/2006/main"/>
        </cdr:cNvCxnSpPr>
      </cdr:nvCxnSpPr>
      <cdr:spPr>
        <a:xfrm xmlns:a="http://schemas.openxmlformats.org/drawingml/2006/main" flipH="1">
          <a:off x="2445390" y="341314"/>
          <a:ext cx="691512" cy="0"/>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4368</cdr:x>
      <cdr:y>0.04647</cdr:y>
    </cdr:from>
    <cdr:to>
      <cdr:x>0.61678</cdr:x>
      <cdr:y>0.04732</cdr:y>
    </cdr:to>
    <cdr:cxnSp macro="">
      <cdr:nvCxnSpPr>
        <cdr:cNvPr id="37" name="Straight Arrow Connector 36">
          <a:extLst xmlns:a="http://schemas.openxmlformats.org/drawingml/2006/main">
            <a:ext uri="{FF2B5EF4-FFF2-40B4-BE49-F238E27FC236}">
              <a16:creationId xmlns:a16="http://schemas.microsoft.com/office/drawing/2014/main" id="{0281205C-561B-462D-ADDC-CD8473C1FDE2}"/>
            </a:ext>
          </a:extLst>
        </cdr:cNvPr>
        <cdr:cNvCxnSpPr>
          <a:cxnSpLocks xmlns:a="http://schemas.openxmlformats.org/drawingml/2006/main"/>
        </cdr:cNvCxnSpPr>
      </cdr:nvCxnSpPr>
      <cdr:spPr>
        <a:xfrm xmlns:a="http://schemas.openxmlformats.org/drawingml/2006/main" flipH="1">
          <a:off x="2479675" y="174625"/>
          <a:ext cx="1021712" cy="3175"/>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321</cdr:x>
      <cdr:y>0.24673</cdr:y>
    </cdr:from>
    <cdr:to>
      <cdr:x>0.78637</cdr:x>
      <cdr:y>0.24673</cdr:y>
    </cdr:to>
    <cdr:cxnSp macro="">
      <cdr:nvCxnSpPr>
        <cdr:cNvPr id="38" name="Straight Arrow Connector 37">
          <a:extLst xmlns:a="http://schemas.openxmlformats.org/drawingml/2006/main">
            <a:ext uri="{FF2B5EF4-FFF2-40B4-BE49-F238E27FC236}">
              <a16:creationId xmlns:a16="http://schemas.microsoft.com/office/drawing/2014/main" id="{5F5E6DE1-8B81-42BB-9C41-26C874D2C374}"/>
            </a:ext>
          </a:extLst>
        </cdr:cNvPr>
        <cdr:cNvCxnSpPr>
          <a:cxnSpLocks xmlns:a="http://schemas.openxmlformats.org/drawingml/2006/main"/>
        </cdr:cNvCxnSpPr>
      </cdr:nvCxnSpPr>
      <cdr:spPr>
        <a:xfrm xmlns:a="http://schemas.openxmlformats.org/drawingml/2006/main" flipV="1">
          <a:off x="4156075" y="927100"/>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9083</cdr:x>
      <cdr:y>0.19096</cdr:y>
    </cdr:from>
    <cdr:to>
      <cdr:x>0.84509</cdr:x>
      <cdr:y>0.19096</cdr:y>
    </cdr:to>
    <cdr:cxnSp macro="">
      <cdr:nvCxnSpPr>
        <cdr:cNvPr id="39" name="Straight Arrow Connector 38">
          <a:extLst xmlns:a="http://schemas.openxmlformats.org/drawingml/2006/main">
            <a:ext uri="{FF2B5EF4-FFF2-40B4-BE49-F238E27FC236}">
              <a16:creationId xmlns:a16="http://schemas.microsoft.com/office/drawing/2014/main" id="{5F5E6DE1-8B81-42BB-9C41-26C874D2C374}"/>
            </a:ext>
          </a:extLst>
        </cdr:cNvPr>
        <cdr:cNvCxnSpPr>
          <a:cxnSpLocks xmlns:a="http://schemas.openxmlformats.org/drawingml/2006/main"/>
        </cdr:cNvCxnSpPr>
      </cdr:nvCxnSpPr>
      <cdr:spPr>
        <a:xfrm xmlns:a="http://schemas.openxmlformats.org/drawingml/2006/main" flipV="1">
          <a:off x="4489450" y="717550"/>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85291</cdr:x>
      <cdr:y>0.16308</cdr:y>
    </cdr:from>
    <cdr:to>
      <cdr:x>0.90717</cdr:x>
      <cdr:y>0.16308</cdr:y>
    </cdr:to>
    <cdr:cxnSp macro="">
      <cdr:nvCxnSpPr>
        <cdr:cNvPr id="40" name="Straight Arrow Connector 39">
          <a:extLst xmlns:a="http://schemas.openxmlformats.org/drawingml/2006/main">
            <a:ext uri="{FF2B5EF4-FFF2-40B4-BE49-F238E27FC236}">
              <a16:creationId xmlns:a16="http://schemas.microsoft.com/office/drawing/2014/main" id="{5F5E6DE1-8B81-42BB-9C41-26C874D2C374}"/>
            </a:ext>
          </a:extLst>
        </cdr:cNvPr>
        <cdr:cNvCxnSpPr>
          <a:cxnSpLocks xmlns:a="http://schemas.openxmlformats.org/drawingml/2006/main"/>
        </cdr:cNvCxnSpPr>
      </cdr:nvCxnSpPr>
      <cdr:spPr>
        <a:xfrm xmlns:a="http://schemas.openxmlformats.org/drawingml/2006/main" flipV="1">
          <a:off x="4841875" y="612775"/>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3837</cdr:x>
      <cdr:y>0.12717</cdr:y>
    </cdr:from>
    <cdr:to>
      <cdr:x>0.86018</cdr:x>
      <cdr:y>0.12717</cdr:y>
    </cdr:to>
    <cdr:cxnSp macro="">
      <cdr:nvCxnSpPr>
        <cdr:cNvPr id="41" name="Straight Arrow Connector 40">
          <a:extLst xmlns:a="http://schemas.openxmlformats.org/drawingml/2006/main">
            <a:ext uri="{FF2B5EF4-FFF2-40B4-BE49-F238E27FC236}">
              <a16:creationId xmlns:a16="http://schemas.microsoft.com/office/drawing/2014/main" id="{E123CA81-BDD8-40B6-8CDB-65BA2768BD00}"/>
            </a:ext>
          </a:extLst>
        </cdr:cNvPr>
        <cdr:cNvCxnSpPr>
          <a:cxnSpLocks xmlns:a="http://schemas.openxmlformats.org/drawingml/2006/main"/>
        </cdr:cNvCxnSpPr>
      </cdr:nvCxnSpPr>
      <cdr:spPr>
        <a:xfrm xmlns:a="http://schemas.openxmlformats.org/drawingml/2006/main" flipH="1">
          <a:off x="4191640" y="477839"/>
          <a:ext cx="691512" cy="0"/>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3042</cdr:x>
      <cdr:y>0.07689</cdr:y>
    </cdr:from>
    <cdr:to>
      <cdr:x>0.9104</cdr:x>
      <cdr:y>0.07774</cdr:y>
    </cdr:to>
    <cdr:cxnSp macro="">
      <cdr:nvCxnSpPr>
        <cdr:cNvPr id="42" name="Straight Arrow Connector 41">
          <a:extLst xmlns:a="http://schemas.openxmlformats.org/drawingml/2006/main">
            <a:ext uri="{FF2B5EF4-FFF2-40B4-BE49-F238E27FC236}">
              <a16:creationId xmlns:a16="http://schemas.microsoft.com/office/drawing/2014/main" id="{E29087CB-2FB0-4A16-9950-19584F67E2AE}"/>
            </a:ext>
          </a:extLst>
        </cdr:cNvPr>
        <cdr:cNvCxnSpPr>
          <a:cxnSpLocks xmlns:a="http://schemas.openxmlformats.org/drawingml/2006/main"/>
        </cdr:cNvCxnSpPr>
      </cdr:nvCxnSpPr>
      <cdr:spPr>
        <a:xfrm xmlns:a="http://schemas.openxmlformats.org/drawingml/2006/main" flipH="1">
          <a:off x="4146550" y="288925"/>
          <a:ext cx="1021712" cy="3175"/>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6902</cdr:x>
      <cdr:y>0.02112</cdr:y>
    </cdr:from>
    <cdr:to>
      <cdr:x>0.85786</cdr:x>
      <cdr:y>0.07576</cdr:y>
    </cdr:to>
    <cdr:sp macro="" textlink="">
      <cdr:nvSpPr>
        <cdr:cNvPr id="43"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4365625" y="79375"/>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lt;0.001</a:t>
          </a:r>
        </a:p>
      </cdr:txBody>
    </cdr:sp>
  </cdr:relSizeAnchor>
  <cdr:relSizeAnchor xmlns:cdr="http://schemas.openxmlformats.org/drawingml/2006/chartDrawing">
    <cdr:from>
      <cdr:x>0.46532</cdr:x>
      <cdr:y>0</cdr:y>
    </cdr:from>
    <cdr:to>
      <cdr:x>0.55417</cdr:x>
      <cdr:y>0.05464</cdr:y>
    </cdr:to>
    <cdr:sp macro="" textlink="">
      <cdr:nvSpPr>
        <cdr:cNvPr id="44"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2641600" y="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0.005</a:t>
          </a:r>
        </a:p>
      </cdr:txBody>
    </cdr:sp>
  </cdr:relSizeAnchor>
  <cdr:relSizeAnchor xmlns:cdr="http://schemas.openxmlformats.org/drawingml/2006/chartDrawing">
    <cdr:from>
      <cdr:x>0.11633</cdr:x>
      <cdr:y>0.21124</cdr:y>
    </cdr:from>
    <cdr:to>
      <cdr:x>0.20518</cdr:x>
      <cdr:y>0.26588</cdr:y>
    </cdr:to>
    <cdr:sp macro="" textlink="">
      <cdr:nvSpPr>
        <cdr:cNvPr id="45"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660400" y="79375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0.031</a:t>
          </a:r>
        </a:p>
      </cdr:txBody>
    </cdr:sp>
  </cdr:relSizeAnchor>
  <cdr:relSizeAnchor xmlns:cdr="http://schemas.openxmlformats.org/drawingml/2006/chartDrawing">
    <cdr:from>
      <cdr:x>0.1717</cdr:x>
      <cdr:y>0.16054</cdr:y>
    </cdr:from>
    <cdr:to>
      <cdr:x>0.26055</cdr:x>
      <cdr:y>0.21518</cdr:y>
    </cdr:to>
    <cdr:sp macro="" textlink="">
      <cdr:nvSpPr>
        <cdr:cNvPr id="46"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974725" y="60325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lt;0.001</a:t>
          </a:r>
        </a:p>
      </cdr:txBody>
    </cdr:sp>
  </cdr:relSizeAnchor>
  <cdr:relSizeAnchor xmlns:cdr="http://schemas.openxmlformats.org/drawingml/2006/chartDrawing">
    <cdr:from>
      <cdr:x>0.24217</cdr:x>
      <cdr:y>0.13012</cdr:y>
    </cdr:from>
    <cdr:to>
      <cdr:x>0.33102</cdr:x>
      <cdr:y>0.18476</cdr:y>
    </cdr:to>
    <cdr:sp macro="" textlink="">
      <cdr:nvSpPr>
        <cdr:cNvPr id="47"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1374775" y="48895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NS</a:t>
          </a:r>
        </a:p>
      </cdr:txBody>
    </cdr:sp>
  </cdr:relSizeAnchor>
  <cdr:relSizeAnchor xmlns:cdr="http://schemas.openxmlformats.org/drawingml/2006/chartDrawing">
    <cdr:from>
      <cdr:x>0.15324</cdr:x>
      <cdr:y>0.09717</cdr:y>
    </cdr:from>
    <cdr:to>
      <cdr:x>0.24209</cdr:x>
      <cdr:y>0.15181</cdr:y>
    </cdr:to>
    <cdr:sp macro="" textlink="">
      <cdr:nvSpPr>
        <cdr:cNvPr id="48"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869950" y="365125"/>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lt;0.001</a:t>
          </a:r>
        </a:p>
      </cdr:txBody>
    </cdr:sp>
  </cdr:relSizeAnchor>
  <cdr:relSizeAnchor xmlns:cdr="http://schemas.openxmlformats.org/drawingml/2006/chartDrawing">
    <cdr:from>
      <cdr:x>0.41834</cdr:x>
      <cdr:y>0.17575</cdr:y>
    </cdr:from>
    <cdr:to>
      <cdr:x>0.50719</cdr:x>
      <cdr:y>0.23039</cdr:y>
    </cdr:to>
    <cdr:sp macro="" textlink="">
      <cdr:nvSpPr>
        <cdr:cNvPr id="49"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2374900" y="66040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NS</a:t>
          </a:r>
        </a:p>
      </cdr:txBody>
    </cdr:sp>
  </cdr:relSizeAnchor>
  <cdr:relSizeAnchor xmlns:cdr="http://schemas.openxmlformats.org/drawingml/2006/chartDrawing">
    <cdr:from>
      <cdr:x>0.47204</cdr:x>
      <cdr:y>0.09463</cdr:y>
    </cdr:from>
    <cdr:to>
      <cdr:x>0.56088</cdr:x>
      <cdr:y>0.14927</cdr:y>
    </cdr:to>
    <cdr:sp macro="" textlink="">
      <cdr:nvSpPr>
        <cdr:cNvPr id="50"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2679700" y="35560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lt;0.001</a:t>
          </a:r>
        </a:p>
      </cdr:txBody>
    </cdr:sp>
  </cdr:relSizeAnchor>
  <cdr:relSizeAnchor xmlns:cdr="http://schemas.openxmlformats.org/drawingml/2006/chartDrawing">
    <cdr:from>
      <cdr:x>0.53579</cdr:x>
      <cdr:y>0.07943</cdr:y>
    </cdr:from>
    <cdr:to>
      <cdr:x>0.62464</cdr:x>
      <cdr:y>0.13407</cdr:y>
    </cdr:to>
    <cdr:sp macro="" textlink="">
      <cdr:nvSpPr>
        <cdr:cNvPr id="51"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3041650" y="29845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NS</a:t>
          </a:r>
        </a:p>
      </cdr:txBody>
    </cdr:sp>
  </cdr:relSizeAnchor>
  <cdr:relSizeAnchor xmlns:cdr="http://schemas.openxmlformats.org/drawingml/2006/chartDrawing">
    <cdr:from>
      <cdr:x>0.44351</cdr:x>
      <cdr:y>0.04394</cdr:y>
    </cdr:from>
    <cdr:to>
      <cdr:x>0.53236</cdr:x>
      <cdr:y>0.09858</cdr:y>
    </cdr:to>
    <cdr:sp macro="" textlink="">
      <cdr:nvSpPr>
        <cdr:cNvPr id="52"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2517775" y="16510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lt;0.001</a:t>
          </a:r>
        </a:p>
      </cdr:txBody>
    </cdr:sp>
  </cdr:relSizeAnchor>
  <cdr:relSizeAnchor xmlns:cdr="http://schemas.openxmlformats.org/drawingml/2006/chartDrawing">
    <cdr:from>
      <cdr:x>0.71365</cdr:x>
      <cdr:y>0.19856</cdr:y>
    </cdr:from>
    <cdr:to>
      <cdr:x>0.80249</cdr:x>
      <cdr:y>0.2532</cdr:y>
    </cdr:to>
    <cdr:sp macro="" textlink="">
      <cdr:nvSpPr>
        <cdr:cNvPr id="53"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4051300" y="746125"/>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0.001</a:t>
          </a:r>
        </a:p>
      </cdr:txBody>
    </cdr:sp>
  </cdr:relSizeAnchor>
  <cdr:relSizeAnchor xmlns:cdr="http://schemas.openxmlformats.org/drawingml/2006/chartDrawing">
    <cdr:from>
      <cdr:x>0.77069</cdr:x>
      <cdr:y>0.1428</cdr:y>
    </cdr:from>
    <cdr:to>
      <cdr:x>0.85954</cdr:x>
      <cdr:y>0.19744</cdr:y>
    </cdr:to>
    <cdr:sp macro="" textlink="">
      <cdr:nvSpPr>
        <cdr:cNvPr id="54"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4375150" y="536575"/>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lt;0.001</a:t>
          </a:r>
        </a:p>
      </cdr:txBody>
    </cdr:sp>
  </cdr:relSizeAnchor>
  <cdr:relSizeAnchor xmlns:cdr="http://schemas.openxmlformats.org/drawingml/2006/chartDrawing">
    <cdr:from>
      <cdr:x>0.8311</cdr:x>
      <cdr:y>0.11745</cdr:y>
    </cdr:from>
    <cdr:to>
      <cdr:x>0.91994</cdr:x>
      <cdr:y>0.17209</cdr:y>
    </cdr:to>
    <cdr:sp macro="" textlink="">
      <cdr:nvSpPr>
        <cdr:cNvPr id="55"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4718050" y="441325"/>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NS</a:t>
          </a:r>
        </a:p>
      </cdr:txBody>
    </cdr:sp>
  </cdr:relSizeAnchor>
  <cdr:relSizeAnchor xmlns:cdr="http://schemas.openxmlformats.org/drawingml/2006/chartDrawing">
    <cdr:from>
      <cdr:x>0.75224</cdr:x>
      <cdr:y>0.07943</cdr:y>
    </cdr:from>
    <cdr:to>
      <cdr:x>0.84108</cdr:x>
      <cdr:y>0.13407</cdr:y>
    </cdr:to>
    <cdr:sp macro="" textlink="">
      <cdr:nvSpPr>
        <cdr:cNvPr id="56"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4270375" y="29845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lt;0.001</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B8A7A58-B22F-848E-3A39-5E25D9D9261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Pfizer Tomorrow" panose="02010503040201060303" pitchFamily="50" charset="0"/>
            </a:endParaRPr>
          </a:p>
        </p:txBody>
      </p:sp>
      <p:sp>
        <p:nvSpPr>
          <p:cNvPr id="3" name="Date Placeholder 2">
            <a:extLst>
              <a:ext uri="{FF2B5EF4-FFF2-40B4-BE49-F238E27FC236}">
                <a16:creationId xmlns:a16="http://schemas.microsoft.com/office/drawing/2014/main" id="{F527B972-3394-ACBB-6796-2CD242A252B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571B46D-1B50-A747-BB0A-9D968E47D16B}" type="datetimeFigureOut">
              <a:rPr lang="en-US" smtClean="0">
                <a:latin typeface="Pfizer Tomorrow" panose="02010503040201060303" pitchFamily="50" charset="0"/>
              </a:rPr>
              <a:t>10/18/2025</a:t>
            </a:fld>
            <a:endParaRPr lang="en-US">
              <a:latin typeface="Pfizer Tomorrow" panose="02010503040201060303" pitchFamily="50" charset="0"/>
            </a:endParaRPr>
          </a:p>
        </p:txBody>
      </p:sp>
      <p:sp>
        <p:nvSpPr>
          <p:cNvPr id="4" name="Footer Placeholder 3">
            <a:extLst>
              <a:ext uri="{FF2B5EF4-FFF2-40B4-BE49-F238E27FC236}">
                <a16:creationId xmlns:a16="http://schemas.microsoft.com/office/drawing/2014/main" id="{528DC076-ED48-0259-46AE-5ED56A368CF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Pfizer Tomorrow" panose="02010503040201060303" pitchFamily="50" charset="0"/>
            </a:endParaRPr>
          </a:p>
        </p:txBody>
      </p:sp>
      <p:sp>
        <p:nvSpPr>
          <p:cNvPr id="5" name="Slide Number Placeholder 4">
            <a:extLst>
              <a:ext uri="{FF2B5EF4-FFF2-40B4-BE49-F238E27FC236}">
                <a16:creationId xmlns:a16="http://schemas.microsoft.com/office/drawing/2014/main" id="{B74885C1-990B-E0BB-1B3E-DE1C4B25C54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C55FA06-8BFE-4E40-9CD3-57A2D8247174}" type="slidenum">
              <a:rPr lang="en-US" smtClean="0">
                <a:latin typeface="Pfizer Tomorrow" panose="02010503040201060303" pitchFamily="50" charset="0"/>
              </a:rPr>
              <a:t>‹#›</a:t>
            </a:fld>
            <a:endParaRPr lang="en-US">
              <a:latin typeface="Pfizer Tomorrow" panose="02010503040201060303" pitchFamily="50" charset="0"/>
            </a:endParaRPr>
          </a:p>
        </p:txBody>
      </p:sp>
    </p:spTree>
    <p:extLst>
      <p:ext uri="{BB962C8B-B14F-4D97-AF65-F5344CB8AC3E}">
        <p14:creationId xmlns:p14="http://schemas.microsoft.com/office/powerpoint/2010/main" val="91897483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Pfizer Tomorrow" panose="02010503040201060303" pitchFamily="50"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Pfizer Tomorrow" panose="02010503040201060303" pitchFamily="50" charset="0"/>
              </a:defRPr>
            </a:lvl1pPr>
          </a:lstStyle>
          <a:p>
            <a:fld id="{C49B1140-0205-FC4B-8969-D21916B4B80D}" type="datetimeFigureOut">
              <a:rPr lang="en-US" smtClean="0"/>
              <a:pPr/>
              <a:t>10/1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Pfizer Tomorrow" panose="02010503040201060303" pitchFamily="50"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Pfizer Tomorrow" panose="02010503040201060303" pitchFamily="50" charset="0"/>
              </a:defRPr>
            </a:lvl1pPr>
          </a:lstStyle>
          <a:p>
            <a:fld id="{A66EB0F6-0CBB-6A4E-B00F-31FF6D66F0DB}" type="slidenum">
              <a:rPr lang="en-US" smtClean="0"/>
              <a:pPr/>
              <a:t>‹#›</a:t>
            </a:fld>
            <a:endParaRPr lang="en-US"/>
          </a:p>
        </p:txBody>
      </p:sp>
    </p:spTree>
    <p:extLst>
      <p:ext uri="{BB962C8B-B14F-4D97-AF65-F5344CB8AC3E}">
        <p14:creationId xmlns:p14="http://schemas.microsoft.com/office/powerpoint/2010/main" val="4171777984"/>
      </p:ext>
    </p:extLst>
  </p:cSld>
  <p:clrMap bg1="lt1" tx1="dk1" bg2="lt2" tx2="dk2" accent1="accent1" accent2="accent2" accent3="accent3" accent4="accent4" accent5="accent5" accent6="accent6" hlink="hlink" folHlink="folHlink"/>
  <p:notesStyle>
    <a:lvl1pPr marL="0" algn="l" defTabSz="913852" rtl="0" eaLnBrk="1" latinLnBrk="0" hangingPunct="1">
      <a:defRPr sz="1200" b="0" i="0" kern="1200">
        <a:solidFill>
          <a:schemeClr val="tx1"/>
        </a:solidFill>
        <a:latin typeface="Pfizer Tomorrow" panose="02010503040201060303" pitchFamily="50" charset="0"/>
        <a:ea typeface="+mn-ea"/>
        <a:cs typeface="+mn-cs"/>
      </a:defRPr>
    </a:lvl1pPr>
    <a:lvl2pPr marL="456928" algn="l" defTabSz="913852" rtl="0" eaLnBrk="1" latinLnBrk="0" hangingPunct="1">
      <a:defRPr sz="1200" b="0" i="0" kern="1200">
        <a:solidFill>
          <a:schemeClr val="tx1"/>
        </a:solidFill>
        <a:latin typeface="Pfizer Tomorrow" panose="02010503040201060303" pitchFamily="50" charset="0"/>
        <a:ea typeface="+mn-ea"/>
        <a:cs typeface="+mn-cs"/>
      </a:defRPr>
    </a:lvl2pPr>
    <a:lvl3pPr marL="913852" algn="l" defTabSz="913852" rtl="0" eaLnBrk="1" latinLnBrk="0" hangingPunct="1">
      <a:defRPr sz="1200" b="0" i="0" kern="1200">
        <a:solidFill>
          <a:schemeClr val="tx1"/>
        </a:solidFill>
        <a:latin typeface="Pfizer Tomorrow" panose="02010503040201060303" pitchFamily="50" charset="0"/>
        <a:ea typeface="+mn-ea"/>
        <a:cs typeface="+mn-cs"/>
      </a:defRPr>
    </a:lvl3pPr>
    <a:lvl4pPr marL="1370776" algn="l" defTabSz="913852" rtl="0" eaLnBrk="1" latinLnBrk="0" hangingPunct="1">
      <a:defRPr sz="1200" b="0" i="0" kern="1200">
        <a:solidFill>
          <a:schemeClr val="tx1"/>
        </a:solidFill>
        <a:latin typeface="Pfizer Tomorrow" panose="02010503040201060303" pitchFamily="50" charset="0"/>
        <a:ea typeface="+mn-ea"/>
        <a:cs typeface="+mn-cs"/>
      </a:defRPr>
    </a:lvl4pPr>
    <a:lvl5pPr marL="1827704" algn="l" defTabSz="913852" rtl="0" eaLnBrk="1" latinLnBrk="0" hangingPunct="1">
      <a:defRPr sz="1200" b="0" i="0" kern="1200">
        <a:solidFill>
          <a:schemeClr val="tx1"/>
        </a:solidFill>
        <a:latin typeface="Pfizer Tomorrow" panose="02010503040201060303" pitchFamily="50" charset="0"/>
        <a:ea typeface="+mn-ea"/>
        <a:cs typeface="+mn-cs"/>
      </a:defRPr>
    </a:lvl5pPr>
    <a:lvl6pPr marL="2284628" algn="l" defTabSz="913852" rtl="0" eaLnBrk="1" latinLnBrk="0" hangingPunct="1">
      <a:defRPr sz="1200" kern="1200">
        <a:solidFill>
          <a:schemeClr val="tx1"/>
        </a:solidFill>
        <a:latin typeface="+mn-lt"/>
        <a:ea typeface="+mn-ea"/>
        <a:cs typeface="+mn-cs"/>
      </a:defRPr>
    </a:lvl6pPr>
    <a:lvl7pPr marL="2741553" algn="l" defTabSz="913852" rtl="0" eaLnBrk="1" latinLnBrk="0" hangingPunct="1">
      <a:defRPr sz="1200" kern="1200">
        <a:solidFill>
          <a:schemeClr val="tx1"/>
        </a:solidFill>
        <a:latin typeface="+mn-lt"/>
        <a:ea typeface="+mn-ea"/>
        <a:cs typeface="+mn-cs"/>
      </a:defRPr>
    </a:lvl7pPr>
    <a:lvl8pPr marL="3198480" algn="l" defTabSz="913852" rtl="0" eaLnBrk="1" latinLnBrk="0" hangingPunct="1">
      <a:defRPr sz="1200" kern="1200">
        <a:solidFill>
          <a:schemeClr val="tx1"/>
        </a:solidFill>
        <a:latin typeface="+mn-lt"/>
        <a:ea typeface="+mn-ea"/>
        <a:cs typeface="+mn-cs"/>
      </a:defRPr>
    </a:lvl8pPr>
    <a:lvl9pPr marL="3655407" algn="l" defTabSz="91385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who.int/europe/event/preventing-a-triple-threat-this-autumn-and-winter--applying-lessons-and-understanding-individual-risk-to-protect-ourselves-and-others-from-respiratory-illness"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ourworldindata.org/influenza-deaths" TargetMode="External"/><Relationship Id="rId5" Type="http://schemas.openxmlformats.org/officeDocument/2006/relationships/hyperlink" Target="https://ourworldindata.org/grapher/pneumonia-mortality-by-age" TargetMode="External"/><Relationship Id="rId4" Type="http://schemas.openxmlformats.org/officeDocument/2006/relationships/hyperlink" Target="https://www.cdc.gov/asthma/respiratory-infections/"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D404E-7791-59F3-37A2-DA507BA86F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937908-A2FB-143D-AD02-A9EA24A7CA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7A0E7D-390D-95FE-5F10-2CB5928FB74E}"/>
              </a:ext>
            </a:extLst>
          </p:cNvPr>
          <p:cNvSpPr>
            <a:spLocks noGrp="1"/>
          </p:cNvSpPr>
          <p:nvPr>
            <p:ph type="body" idx="1"/>
          </p:nvPr>
        </p:nvSpPr>
        <p:spPr/>
        <p:txBody>
          <a:bodyPr/>
          <a:lstStyle/>
          <a:p>
            <a:r>
              <a:rPr lang="en-GB"/>
              <a:t>Kaynaklar: </a:t>
            </a:r>
          </a:p>
          <a:p>
            <a:r>
              <a:rPr lang="en-US"/>
              <a:t>1. Veri Dünyamız. Yaş Yapısı. Şubat 2024. https://ourworldindata.org/age-structure. Erişim tarihi 29 Ağustos 2024;</a:t>
            </a:r>
          </a:p>
          <a:p>
            <a:r>
              <a:rPr lang="en-US"/>
              <a:t>2. Heppe-Montero ve arkadaşları. İç Hastalıklar, Halk Sağlığı Bakımından Yararlanıyor. 2022; 19(22):14680;</a:t>
            </a:r>
          </a:p>
          <a:p>
            <a:r>
              <a:rPr lang="en-US"/>
              <a:t>3. Hastalık Kontrolü ve Önleme Merkezleri. COVID-19 Enfeksiyonu, Hastaneye Yatış ve Yaş Grubuna Göre Ölüm Riski. 30 Mayıs 2023. https://archive.cdc.gov/www_cdc_gov/coronavirus/2019-ncov/covid-data/investigations-discovery/hospitalization-death-by-age.html. Erişim tarihi 19 Ağustos 2024;</a:t>
            </a:r>
          </a:p>
          <a:p>
            <a:r>
              <a:rPr lang="en-US"/>
              <a:t>4. Grant LR ve ark. Forum Infect Dis'i açın. 2023;10(5):ofad192;</a:t>
            </a:r>
          </a:p>
          <a:p>
            <a:r>
              <a:rPr lang="en-US"/>
              <a:t>5. Andrew Mak ve arkadaşları. Forum Infect Dis'i açın. 2023;10(6):ofad24.</a:t>
            </a:r>
            <a:endParaRPr lang="en-GB"/>
          </a:p>
          <a:p>
            <a:endParaRPr lang="en-GB"/>
          </a:p>
        </p:txBody>
      </p:sp>
      <p:sp>
        <p:nvSpPr>
          <p:cNvPr id="4" name="Slide Number Placeholder 3">
            <a:extLst>
              <a:ext uri="{FF2B5EF4-FFF2-40B4-BE49-F238E27FC236}">
                <a16:creationId xmlns:a16="http://schemas.microsoft.com/office/drawing/2014/main" id="{54E7C4F1-7CFE-B3E5-9082-795E1E4E1037}"/>
              </a:ext>
            </a:extLst>
          </p:cNvPr>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FE5CAAFA-4303-4833-9C89-89283E448614}"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5" name="Rectangle 4">
            <a:extLst>
              <a:ext uri="{FF2B5EF4-FFF2-40B4-BE49-F238E27FC236}">
                <a16:creationId xmlns:a16="http://schemas.microsoft.com/office/drawing/2014/main" id="{5EC13D4C-A8FA-D36D-EFB3-7DE56AABF4B0}"/>
              </a:ext>
            </a:extLst>
          </p:cNvPr>
          <p:cNvSpPr/>
          <p:nvPr/>
        </p:nvSpPr>
        <p:spPr>
          <a:xfrm>
            <a:off x="914400" y="1783080"/>
            <a:ext cx="4991100" cy="165354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9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Aptos" panose="02110004020202020204"/>
              <a:ea typeface="+mn-ea"/>
              <a:cs typeface="+mn-cs"/>
            </a:endParaRPr>
          </a:p>
        </p:txBody>
      </p:sp>
      <p:sp>
        <p:nvSpPr>
          <p:cNvPr id="6" name="Rectangle 5">
            <a:extLst>
              <a:ext uri="{FF2B5EF4-FFF2-40B4-BE49-F238E27FC236}">
                <a16:creationId xmlns:a16="http://schemas.microsoft.com/office/drawing/2014/main" id="{FAF35F44-ABBC-7382-397B-29AE8322A9B3}"/>
              </a:ext>
            </a:extLst>
          </p:cNvPr>
          <p:cNvSpPr/>
          <p:nvPr/>
        </p:nvSpPr>
        <p:spPr>
          <a:xfrm>
            <a:off x="7117838" y="1985964"/>
            <a:ext cx="2673862" cy="35242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22852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110004020202020204"/>
                <a:ea typeface="+mn-ea"/>
                <a:cs typeface="+mn-cs"/>
              </a:rPr>
              <a:t>1. Yaş Yapısı - Verilerdeki Dünyamız - Sayfa 6</a:t>
            </a:r>
          </a:p>
        </p:txBody>
      </p:sp>
      <p:cxnSp>
        <p:nvCxnSpPr>
          <p:cNvPr id="7" name="Straight Connector 6">
            <a:extLst>
              <a:ext uri="{FF2B5EF4-FFF2-40B4-BE49-F238E27FC236}">
                <a16:creationId xmlns:a16="http://schemas.microsoft.com/office/drawing/2014/main" id="{F8F9118F-C550-D7DC-3672-2DAA7C5ED839}"/>
              </a:ext>
            </a:extLst>
          </p:cNvPr>
          <p:cNvCxnSpPr>
            <a:cxnSpLocks/>
            <a:stCxn id="5" idx="3"/>
            <a:endCxn id="6" idx="1"/>
          </p:cNvCxnSpPr>
          <p:nvPr/>
        </p:nvCxnSpPr>
        <p:spPr>
          <a:xfrm flipV="1">
            <a:off x="5905500" y="2162177"/>
            <a:ext cx="1212338" cy="44767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0" name="Rectangle 9">
            <a:extLst>
              <a:ext uri="{FF2B5EF4-FFF2-40B4-BE49-F238E27FC236}">
                <a16:creationId xmlns:a16="http://schemas.microsoft.com/office/drawing/2014/main" id="{D0E675A5-572F-E166-AA6B-244E7842622F}"/>
              </a:ext>
            </a:extLst>
          </p:cNvPr>
          <p:cNvSpPr/>
          <p:nvPr/>
        </p:nvSpPr>
        <p:spPr>
          <a:xfrm>
            <a:off x="914400" y="3504406"/>
            <a:ext cx="5124450" cy="31131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9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CA867ADA-6E27-C73D-A015-197AD483C541}"/>
              </a:ext>
            </a:extLst>
          </p:cNvPr>
          <p:cNvSpPr/>
          <p:nvPr/>
        </p:nvSpPr>
        <p:spPr>
          <a:xfrm>
            <a:off x="6858000" y="3286124"/>
            <a:ext cx="3276600" cy="128587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22852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110004020202020204"/>
                <a:ea typeface="+mn-ea"/>
                <a:cs typeface="+mn-cs"/>
              </a:rPr>
              <a:t>2. Heppe-Montero Met Int J Env Res Pub Health 2022. Sayfa 1</a:t>
            </a:r>
          </a:p>
          <a:p>
            <a:pPr marL="0" marR="0" lvl="0" indent="0" algn="l" defTabSz="22852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110004020202020204"/>
                <a:ea typeface="+mn-ea"/>
                <a:cs typeface="+mn-cs"/>
              </a:rPr>
              <a:t>3. COVID-19 Enfeksiyonu, Hastaneye Yatış ve Yaş Grubu _ CDC Tarafından Ölüm Riski. Sayfa 1</a:t>
            </a:r>
          </a:p>
          <a:p>
            <a:pPr marL="0" marR="0" lvl="0" indent="0" algn="l" defTabSz="22852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110004020202020204"/>
                <a:ea typeface="+mn-ea"/>
                <a:cs typeface="+mn-cs"/>
              </a:rPr>
              <a:t>4. Grant Open Forum Infect Dis 2023. Sayfa 1</a:t>
            </a:r>
          </a:p>
          <a:p>
            <a:pPr marL="0" marR="0" lvl="0" indent="0" algn="l" defTabSz="22852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110004020202020204"/>
                <a:ea typeface="+mn-ea"/>
                <a:cs typeface="+mn-cs"/>
              </a:rPr>
              <a:t>5. Andrew Open Forum Infect Dis 2023. Sayfa 1</a:t>
            </a:r>
          </a:p>
        </p:txBody>
      </p:sp>
      <p:cxnSp>
        <p:nvCxnSpPr>
          <p:cNvPr id="12" name="Straight Connector 11">
            <a:extLst>
              <a:ext uri="{FF2B5EF4-FFF2-40B4-BE49-F238E27FC236}">
                <a16:creationId xmlns:a16="http://schemas.microsoft.com/office/drawing/2014/main" id="{6F2C1134-E523-02F9-97D3-B154CD061A94}"/>
              </a:ext>
            </a:extLst>
          </p:cNvPr>
          <p:cNvCxnSpPr>
            <a:cxnSpLocks/>
            <a:stCxn id="10" idx="3"/>
            <a:endCxn id="11" idx="1"/>
          </p:cNvCxnSpPr>
          <p:nvPr/>
        </p:nvCxnSpPr>
        <p:spPr>
          <a:xfrm>
            <a:off x="6038850" y="3660062"/>
            <a:ext cx="819150" cy="26900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691285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05691B-6EB4-97F3-A36B-113D09C783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CD0368-07A3-FB52-EB27-47A98610B4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92FBEF-FACD-EB8A-18F1-2E18F80EB23B}"/>
              </a:ext>
            </a:extLst>
          </p:cNvPr>
          <p:cNvSpPr>
            <a:spLocks noGrp="1"/>
          </p:cNvSpPr>
          <p:nvPr>
            <p:ph type="body" idx="1"/>
          </p:nvPr>
        </p:nvSpPr>
        <p:spPr/>
        <p:txBody>
          <a:bodyPr/>
          <a:lstStyle/>
          <a:p>
            <a:endParaRPr lang="x-none"/>
          </a:p>
        </p:txBody>
      </p:sp>
      <p:sp>
        <p:nvSpPr>
          <p:cNvPr id="4" name="Slide Number Placeholder 3">
            <a:extLst>
              <a:ext uri="{FF2B5EF4-FFF2-40B4-BE49-F238E27FC236}">
                <a16:creationId xmlns:a16="http://schemas.microsoft.com/office/drawing/2014/main" id="{5F372DBC-6C50-815A-58E4-7A511CDC2743}"/>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CB6AC86-F42C-F744-8012-17DE8DE88293}" type="slidenum">
              <a:rPr kumimoji="0" lang="x-non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x-non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315137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9F68A2C2-8945-4971-AB7F-0CB9C028F521}"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Tree>
    <p:extLst>
      <p:ext uri="{BB962C8B-B14F-4D97-AF65-F5344CB8AC3E}">
        <p14:creationId xmlns:p14="http://schemas.microsoft.com/office/powerpoint/2010/main" val="751256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83306" rtl="0" eaLnBrk="1" fontAlgn="auto" latinLnBrk="0" hangingPunct="1">
              <a:lnSpc>
                <a:spcPct val="100000"/>
              </a:lnSpc>
              <a:spcBef>
                <a:spcPts val="0"/>
              </a:spcBef>
              <a:spcAft>
                <a:spcPts val="0"/>
              </a:spcAft>
              <a:buClrTx/>
              <a:buSzTx/>
              <a:buFontTx/>
              <a:buNone/>
              <a:tabLst/>
              <a:defRPr/>
            </a:pPr>
            <a:fld id="{D5F8523C-8729-40F0-9536-D6C4CA3AD238}" type="slidenum">
              <a:rPr kumimoji="0" lang="en-US" sz="1200" b="0" i="0" u="none" strike="noStrike" kern="1200" cap="none" spc="0" normalizeH="0" baseline="0" noProof="0">
                <a:ln>
                  <a:noFill/>
                </a:ln>
                <a:solidFill>
                  <a:srgbClr val="000000"/>
                </a:solidFill>
                <a:effectLst/>
                <a:uLnTx/>
                <a:uFillTx/>
                <a:latin typeface="Aptos" panose="02110004020202020204"/>
                <a:ea typeface="+mn-ea"/>
                <a:cs typeface="+mn-cs"/>
              </a:rPr>
              <a:pPr marL="0" marR="0" lvl="0" indent="0" algn="r" defTabSz="483306"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027668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DCFD5D-B70C-4F03-8305-641FDBDA064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TextBox 6">
            <a:extLst>
              <a:ext uri="{FF2B5EF4-FFF2-40B4-BE49-F238E27FC236}">
                <a16:creationId xmlns:a16="http://schemas.microsoft.com/office/drawing/2014/main" id="{D6C193C0-7360-4BBF-6444-C087ABCD2955}"/>
              </a:ext>
            </a:extLst>
          </p:cNvPr>
          <p:cNvSpPr txBox="1"/>
          <p:nvPr/>
        </p:nvSpPr>
        <p:spPr>
          <a:xfrm>
            <a:off x="-40995" y="2138653"/>
            <a:ext cx="658226" cy="415498"/>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aber 2018/p379/col1/para4</a:t>
            </a:r>
          </a:p>
        </p:txBody>
      </p:sp>
      <p:sp>
        <p:nvSpPr>
          <p:cNvPr id="9" name="Left Brace 8">
            <a:extLst>
              <a:ext uri="{FF2B5EF4-FFF2-40B4-BE49-F238E27FC236}">
                <a16:creationId xmlns:a16="http://schemas.microsoft.com/office/drawing/2014/main" id="{FB906CAB-D0BE-E4EA-FC09-5998366E546D}"/>
              </a:ext>
            </a:extLst>
          </p:cNvPr>
          <p:cNvSpPr/>
          <p:nvPr/>
        </p:nvSpPr>
        <p:spPr>
          <a:xfrm>
            <a:off x="619235" y="2466286"/>
            <a:ext cx="65045" cy="655267"/>
          </a:xfrm>
          <a:prstGeom prst="leftBrace">
            <a:avLst/>
          </a:prstGeom>
          <a:ln w="635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11" name="Straight Connector 10">
            <a:extLst>
              <a:ext uri="{FF2B5EF4-FFF2-40B4-BE49-F238E27FC236}">
                <a16:creationId xmlns:a16="http://schemas.microsoft.com/office/drawing/2014/main" id="{FC3BE376-04F3-CE22-E463-DD86E87A364E}"/>
              </a:ext>
            </a:extLst>
          </p:cNvPr>
          <p:cNvCxnSpPr>
            <a:cxnSpLocks/>
            <a:stCxn id="7" idx="3"/>
            <a:endCxn id="9" idx="1"/>
          </p:cNvCxnSpPr>
          <p:nvPr/>
        </p:nvCxnSpPr>
        <p:spPr>
          <a:xfrm>
            <a:off x="617231" y="2346402"/>
            <a:ext cx="2004" cy="447518"/>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FAC10363-2FA5-A85A-D6FA-4E35F976237C}"/>
              </a:ext>
            </a:extLst>
          </p:cNvPr>
          <p:cNvSpPr txBox="1"/>
          <p:nvPr/>
        </p:nvSpPr>
        <p:spPr>
          <a:xfrm>
            <a:off x="2377079" y="641777"/>
            <a:ext cx="658226" cy="415498"/>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Auvinen</a:t>
            </a:r>
            <a:r>
              <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2022/p279/col1/para5</a:t>
            </a:r>
          </a:p>
        </p:txBody>
      </p:sp>
      <p:sp>
        <p:nvSpPr>
          <p:cNvPr id="16" name="Left Brace 15">
            <a:extLst>
              <a:ext uri="{FF2B5EF4-FFF2-40B4-BE49-F238E27FC236}">
                <a16:creationId xmlns:a16="http://schemas.microsoft.com/office/drawing/2014/main" id="{741723FA-388E-3CB0-63EE-76C7202C4B1F}"/>
              </a:ext>
            </a:extLst>
          </p:cNvPr>
          <p:cNvSpPr/>
          <p:nvPr/>
        </p:nvSpPr>
        <p:spPr>
          <a:xfrm rot="5400000">
            <a:off x="2749504" y="1381422"/>
            <a:ext cx="90757" cy="1121132"/>
          </a:xfrm>
          <a:prstGeom prst="leftBrace">
            <a:avLst/>
          </a:prstGeom>
          <a:ln w="635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17" name="Straight Connector 16">
            <a:extLst>
              <a:ext uri="{FF2B5EF4-FFF2-40B4-BE49-F238E27FC236}">
                <a16:creationId xmlns:a16="http://schemas.microsoft.com/office/drawing/2014/main" id="{EFE04CE4-98E8-435D-2A29-AA6D5F341B6B}"/>
              </a:ext>
            </a:extLst>
          </p:cNvPr>
          <p:cNvCxnSpPr>
            <a:cxnSpLocks/>
            <a:stCxn id="15" idx="2"/>
            <a:endCxn id="16" idx="1"/>
          </p:cNvCxnSpPr>
          <p:nvPr/>
        </p:nvCxnSpPr>
        <p:spPr>
          <a:xfrm>
            <a:off x="2706192" y="1057275"/>
            <a:ext cx="88691" cy="839335"/>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2CD506A8-2C4A-1A7E-7B1A-94D33D464891}"/>
              </a:ext>
            </a:extLst>
          </p:cNvPr>
          <p:cNvSpPr txBox="1"/>
          <p:nvPr/>
        </p:nvSpPr>
        <p:spPr>
          <a:xfrm>
            <a:off x="4100269" y="456210"/>
            <a:ext cx="561588" cy="415498"/>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Auvinen</a:t>
            </a:r>
            <a:r>
              <a:rPr kumimoji="0" lang="en-US"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2022/p281/table1</a:t>
            </a:r>
          </a:p>
        </p:txBody>
      </p:sp>
      <p:sp>
        <p:nvSpPr>
          <p:cNvPr id="22" name="Left Brace 21">
            <a:extLst>
              <a:ext uri="{FF2B5EF4-FFF2-40B4-BE49-F238E27FC236}">
                <a16:creationId xmlns:a16="http://schemas.microsoft.com/office/drawing/2014/main" id="{0BC6A5B2-61B8-36A8-BFEB-8A22AA6FB86B}"/>
              </a:ext>
            </a:extLst>
          </p:cNvPr>
          <p:cNvSpPr/>
          <p:nvPr/>
        </p:nvSpPr>
        <p:spPr>
          <a:xfrm rot="5400000">
            <a:off x="4058493" y="1396862"/>
            <a:ext cx="90760" cy="1115968"/>
          </a:xfrm>
          <a:prstGeom prst="leftBrace">
            <a:avLst/>
          </a:prstGeom>
          <a:ln w="635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23" name="Straight Connector 22">
            <a:extLst>
              <a:ext uri="{FF2B5EF4-FFF2-40B4-BE49-F238E27FC236}">
                <a16:creationId xmlns:a16="http://schemas.microsoft.com/office/drawing/2014/main" id="{D4D21E44-51DF-DB1E-7F0E-65A4FA19C101}"/>
              </a:ext>
            </a:extLst>
          </p:cNvPr>
          <p:cNvCxnSpPr>
            <a:cxnSpLocks/>
            <a:stCxn id="21" idx="2"/>
            <a:endCxn id="22" idx="1"/>
          </p:cNvCxnSpPr>
          <p:nvPr/>
        </p:nvCxnSpPr>
        <p:spPr>
          <a:xfrm flipH="1">
            <a:off x="4103873" y="871708"/>
            <a:ext cx="277190" cy="1037758"/>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BEA7549F-4786-CAB8-430F-C17F36727534}"/>
              </a:ext>
            </a:extLst>
          </p:cNvPr>
          <p:cNvSpPr txBox="1"/>
          <p:nvPr/>
        </p:nvSpPr>
        <p:spPr>
          <a:xfrm>
            <a:off x="6296412" y="2466286"/>
            <a:ext cx="561588" cy="1600438"/>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Walsh 2015/p1954/col2/para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Talbot 2016/p298/col1/para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Branche 2015/p264/col1/para2</a:t>
            </a:r>
          </a:p>
        </p:txBody>
      </p:sp>
      <p:sp>
        <p:nvSpPr>
          <p:cNvPr id="32" name="Left Brace 31">
            <a:extLst>
              <a:ext uri="{FF2B5EF4-FFF2-40B4-BE49-F238E27FC236}">
                <a16:creationId xmlns:a16="http://schemas.microsoft.com/office/drawing/2014/main" id="{57311843-3EE6-245A-791C-475309D7F0A2}"/>
              </a:ext>
            </a:extLst>
          </p:cNvPr>
          <p:cNvSpPr/>
          <p:nvPr/>
        </p:nvSpPr>
        <p:spPr>
          <a:xfrm rot="10800000">
            <a:off x="6165534" y="2466286"/>
            <a:ext cx="65045" cy="655267"/>
          </a:xfrm>
          <a:prstGeom prst="leftBrace">
            <a:avLst/>
          </a:prstGeom>
          <a:ln w="635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33" name="Straight Connector 32">
            <a:extLst>
              <a:ext uri="{FF2B5EF4-FFF2-40B4-BE49-F238E27FC236}">
                <a16:creationId xmlns:a16="http://schemas.microsoft.com/office/drawing/2014/main" id="{08095572-7F95-27E2-3C7A-94A8520E5642}"/>
              </a:ext>
            </a:extLst>
          </p:cNvPr>
          <p:cNvCxnSpPr>
            <a:cxnSpLocks/>
            <a:stCxn id="31" idx="1"/>
            <a:endCxn id="32" idx="1"/>
          </p:cNvCxnSpPr>
          <p:nvPr/>
        </p:nvCxnSpPr>
        <p:spPr>
          <a:xfrm flipH="1" flipV="1">
            <a:off x="6230579" y="2793919"/>
            <a:ext cx="65833" cy="47258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953075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1228B-CA3F-2969-45A8-7099E1755B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E9D918-852F-5ED4-92BB-AF9FD39FE9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438B9F-B561-83E5-0141-3A1C912E205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04D7176-0615-E0D5-5EA0-66A007370D7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DCFD5D-B70C-4F03-8305-641FDBDA064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6C17B7E6-FA5B-F11B-68B4-31CCA8971493}"/>
              </a:ext>
            </a:extLst>
          </p:cNvPr>
          <p:cNvSpPr txBox="1"/>
          <p:nvPr/>
        </p:nvSpPr>
        <p:spPr>
          <a:xfrm>
            <a:off x="228601" y="660982"/>
            <a:ext cx="3412066" cy="215444"/>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00000"/>
                </a:solidFill>
                <a:effectLst/>
                <a:uLnTx/>
                <a:uFillTx/>
                <a:latin typeface="Arial" panose="020B0604020202020204"/>
                <a:ea typeface="+mn-ea"/>
                <a:cs typeface="+mn-cs"/>
              </a:rPr>
              <a:t>Domachowske</a:t>
            </a:r>
            <a:r>
              <a:rPr kumimoji="0" lang="en-US" sz="800" b="0" i="0" u="none" strike="noStrike" kern="1200" cap="none" spc="0" normalizeH="0" baseline="0" noProof="0">
                <a:ln>
                  <a:noFill/>
                </a:ln>
                <a:solidFill>
                  <a:srgbClr val="000000"/>
                </a:solidFill>
                <a:effectLst/>
                <a:uLnTx/>
                <a:uFillTx/>
                <a:latin typeface="Arial" panose="020B0604020202020204"/>
                <a:ea typeface="+mn-ea"/>
                <a:cs typeface="+mn-cs"/>
              </a:rPr>
              <a:t> 2021/pg48/col1/P3/ln 1-2; pg49/col1/P2/ln 1-3</a:t>
            </a:r>
          </a:p>
        </p:txBody>
      </p:sp>
      <p:cxnSp>
        <p:nvCxnSpPr>
          <p:cNvPr id="7" name="Straight Arrow Connector 6">
            <a:extLst>
              <a:ext uri="{FF2B5EF4-FFF2-40B4-BE49-F238E27FC236}">
                <a16:creationId xmlns:a16="http://schemas.microsoft.com/office/drawing/2014/main" id="{3AE72B24-CAF6-32C4-5E8E-8F55AD0709E6}"/>
              </a:ext>
            </a:extLst>
          </p:cNvPr>
          <p:cNvCxnSpPr>
            <a:cxnSpLocks/>
          </p:cNvCxnSpPr>
          <p:nvPr/>
        </p:nvCxnSpPr>
        <p:spPr>
          <a:xfrm>
            <a:off x="1322610" y="876426"/>
            <a:ext cx="116723" cy="391819"/>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B61D077F-756C-C648-D083-51FE99BF4DF6}"/>
              </a:ext>
            </a:extLst>
          </p:cNvPr>
          <p:cNvSpPr/>
          <p:nvPr/>
        </p:nvSpPr>
        <p:spPr>
          <a:xfrm>
            <a:off x="814312" y="1268245"/>
            <a:ext cx="5229376" cy="46742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0635F2B3-D17D-715D-FA73-36CD3E775B16}"/>
              </a:ext>
            </a:extLst>
          </p:cNvPr>
          <p:cNvSpPr/>
          <p:nvPr/>
        </p:nvSpPr>
        <p:spPr>
          <a:xfrm>
            <a:off x="814312" y="1838694"/>
            <a:ext cx="1719942" cy="1430866"/>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5780E972-D0BE-6FFA-22AE-CAAB441C6711}"/>
              </a:ext>
            </a:extLst>
          </p:cNvPr>
          <p:cNvSpPr/>
          <p:nvPr/>
        </p:nvSpPr>
        <p:spPr>
          <a:xfrm>
            <a:off x="2608940" y="1835890"/>
            <a:ext cx="1719942" cy="150563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CECBF670-4E83-0160-4526-D0DF4343E193}"/>
              </a:ext>
            </a:extLst>
          </p:cNvPr>
          <p:cNvSpPr/>
          <p:nvPr/>
        </p:nvSpPr>
        <p:spPr>
          <a:xfrm>
            <a:off x="4382708" y="1835890"/>
            <a:ext cx="1582356" cy="150563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TextBox 12">
            <a:extLst>
              <a:ext uri="{FF2B5EF4-FFF2-40B4-BE49-F238E27FC236}">
                <a16:creationId xmlns:a16="http://schemas.microsoft.com/office/drawing/2014/main" id="{4A2D0290-7E2C-F46B-D133-217DE0765618}"/>
              </a:ext>
            </a:extLst>
          </p:cNvPr>
          <p:cNvSpPr txBox="1"/>
          <p:nvPr/>
        </p:nvSpPr>
        <p:spPr>
          <a:xfrm>
            <a:off x="0" y="1867662"/>
            <a:ext cx="685800" cy="954107"/>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00000"/>
                </a:solidFill>
                <a:effectLst/>
                <a:uLnTx/>
                <a:uFillTx/>
                <a:latin typeface="Arial" panose="020B0604020202020204"/>
                <a:ea typeface="+mn-ea"/>
                <a:cs typeface="+mn-cs"/>
              </a:rPr>
              <a:t>Domachowske</a:t>
            </a:r>
            <a:r>
              <a:rPr kumimoji="0" lang="en-US" sz="800" b="0" i="0" u="none" strike="noStrike" kern="1200" cap="none" spc="0" normalizeH="0" baseline="0" noProof="0">
                <a:ln>
                  <a:noFill/>
                </a:ln>
                <a:solidFill>
                  <a:srgbClr val="000000"/>
                </a:solidFill>
                <a:effectLst/>
                <a:uLnTx/>
                <a:uFillTx/>
                <a:latin typeface="Arial" panose="020B0604020202020204"/>
                <a:ea typeface="+mn-ea"/>
                <a:cs typeface="+mn-cs"/>
              </a:rPr>
              <a:t> 2021/pg48/col1/P3/ln 1-2; col2/P1/ln 1-2</a:t>
            </a:r>
          </a:p>
        </p:txBody>
      </p:sp>
      <p:cxnSp>
        <p:nvCxnSpPr>
          <p:cNvPr id="14" name="Straight Arrow Connector 13">
            <a:extLst>
              <a:ext uri="{FF2B5EF4-FFF2-40B4-BE49-F238E27FC236}">
                <a16:creationId xmlns:a16="http://schemas.microsoft.com/office/drawing/2014/main" id="{E766B255-1C5B-F034-9279-6B5CA9C401E9}"/>
              </a:ext>
            </a:extLst>
          </p:cNvPr>
          <p:cNvCxnSpPr>
            <a:cxnSpLocks/>
          </p:cNvCxnSpPr>
          <p:nvPr/>
        </p:nvCxnSpPr>
        <p:spPr>
          <a:xfrm>
            <a:off x="681264" y="2392795"/>
            <a:ext cx="116723" cy="391819"/>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9AEC1554-C474-5003-024C-17DD32F4F6EB}"/>
              </a:ext>
            </a:extLst>
          </p:cNvPr>
          <p:cNvSpPr txBox="1"/>
          <p:nvPr/>
        </p:nvSpPr>
        <p:spPr>
          <a:xfrm>
            <a:off x="-4536" y="3355849"/>
            <a:ext cx="685800" cy="707886"/>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00000"/>
                </a:solidFill>
                <a:effectLst/>
                <a:uLnTx/>
                <a:uFillTx/>
                <a:latin typeface="Arial" panose="020B0604020202020204"/>
                <a:ea typeface="+mn-ea"/>
                <a:cs typeface="+mn-cs"/>
              </a:rPr>
              <a:t>Domachowske</a:t>
            </a:r>
            <a:r>
              <a:rPr kumimoji="0" lang="en-US" sz="800" b="0" i="0" u="none" strike="noStrike" kern="1200" cap="none" spc="0" normalizeH="0" baseline="0" noProof="0">
                <a:ln>
                  <a:noFill/>
                </a:ln>
                <a:solidFill>
                  <a:srgbClr val="000000"/>
                </a:solidFill>
                <a:effectLst/>
                <a:uLnTx/>
                <a:uFillTx/>
                <a:latin typeface="Arial" panose="020B0604020202020204"/>
                <a:ea typeface="+mn-ea"/>
                <a:cs typeface="+mn-cs"/>
              </a:rPr>
              <a:t> 2021/pg48/col2/P1/ln 17-21</a:t>
            </a:r>
          </a:p>
        </p:txBody>
      </p:sp>
      <p:cxnSp>
        <p:nvCxnSpPr>
          <p:cNvPr id="16" name="Straight Arrow Connector 15">
            <a:extLst>
              <a:ext uri="{FF2B5EF4-FFF2-40B4-BE49-F238E27FC236}">
                <a16:creationId xmlns:a16="http://schemas.microsoft.com/office/drawing/2014/main" id="{51F7A2F8-649D-9940-74A7-33BF6139160C}"/>
              </a:ext>
            </a:extLst>
          </p:cNvPr>
          <p:cNvCxnSpPr>
            <a:cxnSpLocks/>
          </p:cNvCxnSpPr>
          <p:nvPr/>
        </p:nvCxnSpPr>
        <p:spPr>
          <a:xfrm flipV="1">
            <a:off x="697589" y="3269560"/>
            <a:ext cx="1906815" cy="12711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0B57E6AE-14A8-ED97-E15B-0077130B82D2}"/>
              </a:ext>
            </a:extLst>
          </p:cNvPr>
          <p:cNvSpPr txBox="1"/>
          <p:nvPr/>
        </p:nvSpPr>
        <p:spPr>
          <a:xfrm>
            <a:off x="6155262" y="2100407"/>
            <a:ext cx="685800" cy="707886"/>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00000"/>
                </a:solidFill>
                <a:effectLst/>
                <a:uLnTx/>
                <a:uFillTx/>
                <a:latin typeface="Arial" panose="020B0604020202020204"/>
                <a:ea typeface="+mn-ea"/>
                <a:cs typeface="+mn-cs"/>
              </a:rPr>
              <a:t>Domachowske</a:t>
            </a:r>
            <a:r>
              <a:rPr kumimoji="0" lang="en-US" sz="800" b="0" i="0" u="none" strike="noStrike" kern="1200" cap="none" spc="0" normalizeH="0" baseline="0" noProof="0">
                <a:ln>
                  <a:noFill/>
                </a:ln>
                <a:solidFill>
                  <a:srgbClr val="000000"/>
                </a:solidFill>
                <a:effectLst/>
                <a:uLnTx/>
                <a:uFillTx/>
                <a:latin typeface="Arial" panose="020B0604020202020204"/>
                <a:ea typeface="+mn-ea"/>
                <a:cs typeface="+mn-cs"/>
              </a:rPr>
              <a:t> 2021/pg48/col2/P1/ln 3-9</a:t>
            </a:r>
          </a:p>
        </p:txBody>
      </p:sp>
      <p:cxnSp>
        <p:nvCxnSpPr>
          <p:cNvPr id="20" name="Straight Arrow Connector 19">
            <a:extLst>
              <a:ext uri="{FF2B5EF4-FFF2-40B4-BE49-F238E27FC236}">
                <a16:creationId xmlns:a16="http://schemas.microsoft.com/office/drawing/2014/main" id="{4432B3C1-6712-2ACC-0998-64F25AB4A073}"/>
              </a:ext>
            </a:extLst>
          </p:cNvPr>
          <p:cNvCxnSpPr>
            <a:cxnSpLocks/>
          </p:cNvCxnSpPr>
          <p:nvPr/>
        </p:nvCxnSpPr>
        <p:spPr>
          <a:xfrm flipH="1">
            <a:off x="5977466" y="2490140"/>
            <a:ext cx="177796" cy="9856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9526DC97-D398-A30F-C50C-C2455739F63E}"/>
              </a:ext>
            </a:extLst>
          </p:cNvPr>
          <p:cNvSpPr txBox="1"/>
          <p:nvPr/>
        </p:nvSpPr>
        <p:spPr>
          <a:xfrm>
            <a:off x="6172200" y="3350558"/>
            <a:ext cx="685800" cy="1077218"/>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00000"/>
                </a:solidFill>
                <a:effectLst/>
                <a:uLnTx/>
                <a:uFillTx/>
                <a:latin typeface="Arial" panose="020B0604020202020204"/>
                <a:ea typeface="+mn-ea"/>
                <a:cs typeface="+mn-cs"/>
              </a:rPr>
              <a:t>Obolski</a:t>
            </a:r>
            <a:r>
              <a:rPr kumimoji="0" lang="en-US" sz="800" b="0" i="0" u="none" strike="noStrike" kern="1200" cap="none" spc="0" normalizeH="0" baseline="0" noProof="0">
                <a:ln>
                  <a:noFill/>
                </a:ln>
                <a:solidFill>
                  <a:srgbClr val="000000"/>
                </a:solidFill>
                <a:effectLst/>
                <a:uLnTx/>
                <a:uFillTx/>
                <a:latin typeface="Arial" panose="020B0604020202020204"/>
                <a:ea typeface="+mn-ea"/>
                <a:cs typeface="+mn-cs"/>
              </a:rPr>
              <a:t> 2021/pg303/col 2/para 3/ln 1-4; p 304/col 1/para 1/ln 1-5</a:t>
            </a:r>
          </a:p>
        </p:txBody>
      </p:sp>
      <p:cxnSp>
        <p:nvCxnSpPr>
          <p:cNvPr id="23" name="Straight Arrow Connector 22">
            <a:extLst>
              <a:ext uri="{FF2B5EF4-FFF2-40B4-BE49-F238E27FC236}">
                <a16:creationId xmlns:a16="http://schemas.microsoft.com/office/drawing/2014/main" id="{12145986-2499-E7E1-11CB-762ACFC8877B}"/>
              </a:ext>
            </a:extLst>
          </p:cNvPr>
          <p:cNvCxnSpPr>
            <a:cxnSpLocks/>
          </p:cNvCxnSpPr>
          <p:nvPr/>
        </p:nvCxnSpPr>
        <p:spPr>
          <a:xfrm flipH="1" flipV="1">
            <a:off x="5965064" y="3641697"/>
            <a:ext cx="207136" cy="9859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986088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8A38C1-47D3-C826-B96D-24F2AB1392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09493F-4D7E-A6F5-C21F-4D6064286E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FD543D-3B85-DC0D-0087-B589001E417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9255D52-9A1D-1DD4-126A-ABFDFAAD6B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68A2C2-8945-4971-AB7F-0CB9C028F52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9D11E603-6982-1FC0-34EC-B9996E545F8D}"/>
              </a:ext>
            </a:extLst>
          </p:cNvPr>
          <p:cNvSpPr txBox="1"/>
          <p:nvPr/>
        </p:nvSpPr>
        <p:spPr>
          <a:xfrm>
            <a:off x="0" y="1974546"/>
            <a:ext cx="681318" cy="415498"/>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err="1">
                <a:ln>
                  <a:noFill/>
                </a:ln>
                <a:solidFill>
                  <a:prstClr val="black"/>
                </a:solidFill>
                <a:effectLst/>
                <a:uLnTx/>
                <a:uFillTx/>
                <a:latin typeface="Aptos" panose="02110004020202020204"/>
                <a:ea typeface="+mn-ea"/>
                <a:cs typeface="+mn-cs"/>
              </a:rPr>
              <a:t>Wildenbeest</a:t>
            </a:r>
            <a:r>
              <a:rPr kumimoji="0" lang="en-US" sz="700" b="0" i="0" u="none" strike="noStrike" kern="1200" cap="none" spc="0" normalizeH="0" baseline="0" noProof="0">
                <a:ln>
                  <a:noFill/>
                </a:ln>
                <a:solidFill>
                  <a:prstClr val="black"/>
                </a:solidFill>
                <a:effectLst/>
                <a:uLnTx/>
                <a:uFillTx/>
                <a:latin typeface="Aptos" panose="02110004020202020204"/>
                <a:ea typeface="+mn-ea"/>
                <a:cs typeface="+mn-cs"/>
              </a:rPr>
              <a:t> 2024/pdf p3/Fig 2A</a:t>
            </a:r>
          </a:p>
        </p:txBody>
      </p:sp>
    </p:spTree>
    <p:extLst>
      <p:ext uri="{BB962C8B-B14F-4D97-AF65-F5344CB8AC3E}">
        <p14:creationId xmlns:p14="http://schemas.microsoft.com/office/powerpoint/2010/main" val="33362422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AFF1F-7707-3C53-CD96-37FEBF9103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57D960-BEAC-A852-EDF2-04ED647593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C783B0-04AE-11E4-9309-19B78ACBD99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AC2B189-4131-8DE5-D42A-356E645CAE3E}"/>
              </a:ext>
            </a:extLst>
          </p:cNvPr>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58DCFD5D-B70C-4F03-8305-641FDBDA0640}"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5" name="TextBox 4">
            <a:extLst>
              <a:ext uri="{FF2B5EF4-FFF2-40B4-BE49-F238E27FC236}">
                <a16:creationId xmlns:a16="http://schemas.microsoft.com/office/drawing/2014/main" id="{658F5BE1-296A-3F37-01F0-4AA25A076072}"/>
              </a:ext>
            </a:extLst>
          </p:cNvPr>
          <p:cNvSpPr txBox="1"/>
          <p:nvPr/>
        </p:nvSpPr>
        <p:spPr>
          <a:xfrm>
            <a:off x="0" y="2007455"/>
            <a:ext cx="573789" cy="750975"/>
          </a:xfrm>
          <a:prstGeom prst="rect">
            <a:avLst/>
          </a:prstGeom>
          <a:noFill/>
          <a:ln>
            <a:solidFill>
              <a:schemeClr val="tx1"/>
            </a:solidFill>
          </a:ln>
        </p:spPr>
        <p:txBody>
          <a:bodyPr wrap="square" lIns="93177" tIns="46589" rIns="93177" bIns="46589"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ptos" panose="02110004020202020204"/>
                <a:ea typeface="+mn-ea"/>
                <a:cs typeface="+mn-cs"/>
              </a:rPr>
              <a:t>DeMartino 2023/p2/col1/para2,3; p6/fig2</a:t>
            </a:r>
          </a:p>
        </p:txBody>
      </p:sp>
    </p:spTree>
    <p:extLst>
      <p:ext uri="{BB962C8B-B14F-4D97-AF65-F5344CB8AC3E}">
        <p14:creationId xmlns:p14="http://schemas.microsoft.com/office/powerpoint/2010/main" val="34846675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41DDEC-883B-8276-47E3-1FD9C053C7DA}"/>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A431F9E-4A69-B023-3B6B-BB56C344E6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DCFD5D-B70C-4F03-8305-641FDBDA064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85699B6C-2973-C228-537C-029D5CF4917A}"/>
              </a:ext>
            </a:extLst>
          </p:cNvPr>
          <p:cNvSpPr txBox="1"/>
          <p:nvPr/>
        </p:nvSpPr>
        <p:spPr>
          <a:xfrm>
            <a:off x="0" y="1615163"/>
            <a:ext cx="565888" cy="584775"/>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Wiseman 2024/p13/para2</a:t>
            </a:r>
          </a:p>
        </p:txBody>
      </p:sp>
      <p:sp>
        <p:nvSpPr>
          <p:cNvPr id="6" name="Left Brace 5">
            <a:extLst>
              <a:ext uri="{FF2B5EF4-FFF2-40B4-BE49-F238E27FC236}">
                <a16:creationId xmlns:a16="http://schemas.microsoft.com/office/drawing/2014/main" id="{C8BF73FA-1E1F-430D-E247-66C665D0DD22}"/>
              </a:ext>
            </a:extLst>
          </p:cNvPr>
          <p:cNvSpPr/>
          <p:nvPr/>
        </p:nvSpPr>
        <p:spPr>
          <a:xfrm>
            <a:off x="613186" y="2351346"/>
            <a:ext cx="72614" cy="731521"/>
          </a:xfrm>
          <a:prstGeom prst="leftBrace">
            <a:avLst/>
          </a:prstGeom>
          <a:ln w="635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7" name="Straight Connector 6">
            <a:extLst>
              <a:ext uri="{FF2B5EF4-FFF2-40B4-BE49-F238E27FC236}">
                <a16:creationId xmlns:a16="http://schemas.microsoft.com/office/drawing/2014/main" id="{48F0D488-8CCE-2F43-F94A-E9CF5CFEBCC8}"/>
              </a:ext>
            </a:extLst>
          </p:cNvPr>
          <p:cNvCxnSpPr>
            <a:cxnSpLocks/>
            <a:stCxn id="5" idx="3"/>
            <a:endCxn id="6" idx="1"/>
          </p:cNvCxnSpPr>
          <p:nvPr/>
        </p:nvCxnSpPr>
        <p:spPr>
          <a:xfrm>
            <a:off x="565888" y="1907551"/>
            <a:ext cx="47298" cy="809556"/>
          </a:xfrm>
          <a:prstGeom prst="line">
            <a:avLst/>
          </a:prstGeom>
          <a:ln w="3175">
            <a:solidFill>
              <a:schemeClr val="tx1"/>
            </a:solidFill>
          </a:ln>
        </p:spPr>
        <p:style>
          <a:lnRef idx="2">
            <a:schemeClr val="dk1"/>
          </a:lnRef>
          <a:fillRef idx="0">
            <a:schemeClr val="dk1"/>
          </a:fillRef>
          <a:effectRef idx="1">
            <a:schemeClr val="dk1"/>
          </a:effectRef>
          <a:fontRef idx="minor">
            <a:schemeClr val="tx1"/>
          </a:fontRef>
        </p:style>
      </p:cxnSp>
      <p:sp>
        <p:nvSpPr>
          <p:cNvPr id="10" name="TextBox 9">
            <a:extLst>
              <a:ext uri="{FF2B5EF4-FFF2-40B4-BE49-F238E27FC236}">
                <a16:creationId xmlns:a16="http://schemas.microsoft.com/office/drawing/2014/main" id="{6F5D43EB-7749-E98A-8FBD-F0E1BF1BCA76}"/>
              </a:ext>
            </a:extLst>
          </p:cNvPr>
          <p:cNvSpPr txBox="1"/>
          <p:nvPr/>
        </p:nvSpPr>
        <p:spPr>
          <a:xfrm>
            <a:off x="6292112" y="1969105"/>
            <a:ext cx="565888" cy="584775"/>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Anderson pdf p13/para 2</a:t>
            </a:r>
          </a:p>
        </p:txBody>
      </p:sp>
      <p:sp>
        <p:nvSpPr>
          <p:cNvPr id="11" name="Left Brace 10">
            <a:extLst>
              <a:ext uri="{FF2B5EF4-FFF2-40B4-BE49-F238E27FC236}">
                <a16:creationId xmlns:a16="http://schemas.microsoft.com/office/drawing/2014/main" id="{1169198B-C5CA-F7D7-3E13-40D293643E90}"/>
              </a:ext>
            </a:extLst>
          </p:cNvPr>
          <p:cNvSpPr/>
          <p:nvPr/>
        </p:nvSpPr>
        <p:spPr>
          <a:xfrm rot="10800000">
            <a:off x="5982946" y="2320288"/>
            <a:ext cx="72614" cy="907941"/>
          </a:xfrm>
          <a:prstGeom prst="leftBrace">
            <a:avLst/>
          </a:prstGeom>
          <a:ln w="635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14" name="Straight Connector 13">
            <a:extLst>
              <a:ext uri="{FF2B5EF4-FFF2-40B4-BE49-F238E27FC236}">
                <a16:creationId xmlns:a16="http://schemas.microsoft.com/office/drawing/2014/main" id="{4551AD99-4A72-B586-2C9C-CE751C112106}"/>
              </a:ext>
            </a:extLst>
          </p:cNvPr>
          <p:cNvCxnSpPr>
            <a:cxnSpLocks/>
            <a:stCxn id="10" idx="1"/>
            <a:endCxn id="11" idx="1"/>
          </p:cNvCxnSpPr>
          <p:nvPr/>
        </p:nvCxnSpPr>
        <p:spPr>
          <a:xfrm flipH="1">
            <a:off x="6055560" y="2261493"/>
            <a:ext cx="236552" cy="512765"/>
          </a:xfrm>
          <a:prstGeom prst="line">
            <a:avLst/>
          </a:prstGeom>
          <a:ln w="3175">
            <a:solidFill>
              <a:schemeClr val="tx1"/>
            </a:solidFill>
          </a:ln>
        </p:spPr>
        <p:style>
          <a:lnRef idx="2">
            <a:schemeClr val="dk1"/>
          </a:lnRef>
          <a:fillRef idx="0">
            <a:schemeClr val="dk1"/>
          </a:fillRef>
          <a:effectRef idx="1">
            <a:schemeClr val="dk1"/>
          </a:effectRef>
          <a:fontRef idx="minor">
            <a:schemeClr val="tx1"/>
          </a:fontRef>
        </p:style>
      </p:cxnSp>
      <p:sp>
        <p:nvSpPr>
          <p:cNvPr id="16" name="TextBox 15">
            <a:extLst>
              <a:ext uri="{FF2B5EF4-FFF2-40B4-BE49-F238E27FC236}">
                <a16:creationId xmlns:a16="http://schemas.microsoft.com/office/drawing/2014/main" id="{0A8FDE74-30F0-7469-2B6B-C96C14F4FDED}"/>
              </a:ext>
            </a:extLst>
          </p:cNvPr>
          <p:cNvSpPr txBox="1"/>
          <p:nvPr/>
        </p:nvSpPr>
        <p:spPr>
          <a:xfrm>
            <a:off x="0" y="3316129"/>
            <a:ext cx="565888" cy="2062103"/>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Soler </a:t>
            </a:r>
            <a:r>
              <a:rPr kumimoji="0" lang="en-US" sz="800" b="0" i="0" u="none" strike="noStrike" kern="1200" cap="none" spc="0" normalizeH="0" baseline="0" noProof="0" err="1">
                <a:ln>
                  <a:noFill/>
                </a:ln>
                <a:solidFill>
                  <a:prstClr val="black"/>
                </a:solidFill>
                <a:effectLst/>
                <a:uLnTx/>
                <a:uFillTx/>
                <a:latin typeface="Aptos" panose="02110004020202020204"/>
                <a:ea typeface="+mn-ea"/>
                <a:cs typeface="+mn-cs"/>
              </a:rPr>
              <a:t>Cataluna</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2005/p927/col1/para2, col2/para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Donaldson 2002/p849/col1/para1; p851/col1/para2</a:t>
            </a:r>
          </a:p>
        </p:txBody>
      </p:sp>
      <p:sp>
        <p:nvSpPr>
          <p:cNvPr id="19" name="Left Brace 18">
            <a:extLst>
              <a:ext uri="{FF2B5EF4-FFF2-40B4-BE49-F238E27FC236}">
                <a16:creationId xmlns:a16="http://schemas.microsoft.com/office/drawing/2014/main" id="{782C0116-93B6-65A9-87CA-F6C253FBAAF4}"/>
              </a:ext>
            </a:extLst>
          </p:cNvPr>
          <p:cNvSpPr/>
          <p:nvPr/>
        </p:nvSpPr>
        <p:spPr>
          <a:xfrm>
            <a:off x="613186" y="3535144"/>
            <a:ext cx="72614" cy="380639"/>
          </a:xfrm>
          <a:prstGeom prst="leftBrace">
            <a:avLst/>
          </a:prstGeom>
          <a:ln w="635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20" name="Straight Connector 19">
            <a:extLst>
              <a:ext uri="{FF2B5EF4-FFF2-40B4-BE49-F238E27FC236}">
                <a16:creationId xmlns:a16="http://schemas.microsoft.com/office/drawing/2014/main" id="{BB6F8783-DB11-AB6A-3CB8-E6748E3A6C25}"/>
              </a:ext>
            </a:extLst>
          </p:cNvPr>
          <p:cNvCxnSpPr>
            <a:cxnSpLocks/>
            <a:stCxn id="16" idx="3"/>
            <a:endCxn id="19" idx="1"/>
          </p:cNvCxnSpPr>
          <p:nvPr/>
        </p:nvCxnSpPr>
        <p:spPr>
          <a:xfrm flipV="1">
            <a:off x="565888" y="3725464"/>
            <a:ext cx="47298" cy="621717"/>
          </a:xfrm>
          <a:prstGeom prst="line">
            <a:avLst/>
          </a:prstGeom>
          <a:ln w="3175">
            <a:solidFill>
              <a:schemeClr val="tx1"/>
            </a:solidFill>
          </a:ln>
        </p:spPr>
        <p:style>
          <a:lnRef idx="2">
            <a:schemeClr val="dk1"/>
          </a:lnRef>
          <a:fillRef idx="0">
            <a:schemeClr val="dk1"/>
          </a:fillRef>
          <a:effectRef idx="1">
            <a:schemeClr val="dk1"/>
          </a:effectRef>
          <a:fontRef idx="minor">
            <a:schemeClr val="tx1"/>
          </a:fontRef>
        </p:style>
      </p:cxnSp>
      <p:sp>
        <p:nvSpPr>
          <p:cNvPr id="24" name="TextBox 23">
            <a:extLst>
              <a:ext uri="{FF2B5EF4-FFF2-40B4-BE49-F238E27FC236}">
                <a16:creationId xmlns:a16="http://schemas.microsoft.com/office/drawing/2014/main" id="{BE9C7486-E8E9-BCEF-7D43-6AAE0EAB1FBE}"/>
              </a:ext>
            </a:extLst>
          </p:cNvPr>
          <p:cNvSpPr txBox="1"/>
          <p:nvPr/>
        </p:nvSpPr>
        <p:spPr>
          <a:xfrm>
            <a:off x="2682570" y="558225"/>
            <a:ext cx="1492859" cy="584775"/>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Borg 2003/p948/col2/para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Rohde 2003/p39/col1/para2; p41/col2/para3</a:t>
            </a:r>
          </a:p>
        </p:txBody>
      </p:sp>
      <p:sp>
        <p:nvSpPr>
          <p:cNvPr id="25" name="Left Brace 24">
            <a:extLst>
              <a:ext uri="{FF2B5EF4-FFF2-40B4-BE49-F238E27FC236}">
                <a16:creationId xmlns:a16="http://schemas.microsoft.com/office/drawing/2014/main" id="{03E00CFD-673F-2DF7-7E32-77824B00D349}"/>
              </a:ext>
            </a:extLst>
          </p:cNvPr>
          <p:cNvSpPr/>
          <p:nvPr/>
        </p:nvSpPr>
        <p:spPr>
          <a:xfrm rot="5400000">
            <a:off x="3395811" y="1039654"/>
            <a:ext cx="96191" cy="1492859"/>
          </a:xfrm>
          <a:prstGeom prst="leftBrace">
            <a:avLst/>
          </a:prstGeom>
          <a:ln w="635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26" name="Straight Connector 25">
            <a:extLst>
              <a:ext uri="{FF2B5EF4-FFF2-40B4-BE49-F238E27FC236}">
                <a16:creationId xmlns:a16="http://schemas.microsoft.com/office/drawing/2014/main" id="{8D7BF838-B8A2-1D65-38DA-B5AFB715A24B}"/>
              </a:ext>
            </a:extLst>
          </p:cNvPr>
          <p:cNvCxnSpPr>
            <a:cxnSpLocks/>
            <a:stCxn id="24" idx="2"/>
            <a:endCxn id="25" idx="1"/>
          </p:cNvCxnSpPr>
          <p:nvPr/>
        </p:nvCxnSpPr>
        <p:spPr>
          <a:xfrm>
            <a:off x="3429000" y="1143000"/>
            <a:ext cx="14906" cy="594988"/>
          </a:xfrm>
          <a:prstGeom prst="line">
            <a:avLst/>
          </a:prstGeom>
          <a:ln w="3175">
            <a:solidFill>
              <a:schemeClr val="tx1"/>
            </a:solidFill>
          </a:ln>
        </p:spPr>
        <p:style>
          <a:lnRef idx="2">
            <a:schemeClr val="dk1"/>
          </a:lnRef>
          <a:fillRef idx="0">
            <a:schemeClr val="dk1"/>
          </a:fillRef>
          <a:effectRef idx="1">
            <a:schemeClr val="dk1"/>
          </a:effectRef>
          <a:fontRef idx="minor">
            <a:schemeClr val="tx1"/>
          </a:fontRef>
        </p:style>
      </p:cxnSp>
      <p:sp>
        <p:nvSpPr>
          <p:cNvPr id="9" name="Slide Image Placeholder 8">
            <a:extLst>
              <a:ext uri="{FF2B5EF4-FFF2-40B4-BE49-F238E27FC236}">
                <a16:creationId xmlns:a16="http://schemas.microsoft.com/office/drawing/2014/main" id="{9B06D50A-5447-C97E-C2FD-663834801A10}"/>
              </a:ext>
            </a:extLst>
          </p:cNvPr>
          <p:cNvSpPr>
            <a:spLocks noGrp="1" noRot="1" noChangeAspect="1"/>
          </p:cNvSpPr>
          <p:nvPr>
            <p:ph type="sldImg"/>
          </p:nvPr>
        </p:nvSpPr>
        <p:spPr/>
      </p:sp>
      <p:sp>
        <p:nvSpPr>
          <p:cNvPr id="12" name="Notes Placeholder 11">
            <a:extLst>
              <a:ext uri="{FF2B5EF4-FFF2-40B4-BE49-F238E27FC236}">
                <a16:creationId xmlns:a16="http://schemas.microsoft.com/office/drawing/2014/main" id="{BAFA9AF2-4C81-9BFB-EE6C-EFD1BCC1281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639760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D9FEB7-8A6D-809A-60F3-19736336D4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844E12-037E-B521-4648-2E186E1DAA49}"/>
              </a:ext>
            </a:extLst>
          </p:cNvPr>
          <p:cNvSpPr>
            <a:spLocks noGrp="1" noRot="1" noChangeAspect="1"/>
          </p:cNvSpPr>
          <p:nvPr>
            <p:ph type="sldImg"/>
          </p:nvPr>
        </p:nvSpPr>
        <p:spPr/>
      </p:sp>
      <p:sp>
        <p:nvSpPr>
          <p:cNvPr id="4" name="Slide Number Placeholder 3">
            <a:extLst>
              <a:ext uri="{FF2B5EF4-FFF2-40B4-BE49-F238E27FC236}">
                <a16:creationId xmlns:a16="http://schemas.microsoft.com/office/drawing/2014/main" id="{D035D677-89BB-7137-D9A3-2DBB1C5CE721}"/>
              </a:ext>
            </a:extLst>
          </p:cNvPr>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7" name="Notes Placeholder 6">
            <a:extLst>
              <a:ext uri="{FF2B5EF4-FFF2-40B4-BE49-F238E27FC236}">
                <a16:creationId xmlns:a16="http://schemas.microsoft.com/office/drawing/2014/main" id="{E2B75008-DB4B-2FA8-F1A7-613E4FD4170D}"/>
              </a:ext>
            </a:extLst>
          </p:cNvPr>
          <p:cNvSpPr>
            <a:spLocks noGrp="1"/>
          </p:cNvSpPr>
          <p:nvPr>
            <p:ph type="body" sz="quarter" idx="3"/>
          </p:nvPr>
        </p:nvSpPr>
        <p:spPr/>
        <p:txBody>
          <a:bodyPr/>
          <a:lstStyle/>
          <a:p>
            <a:endParaRPr lang="en-US"/>
          </a:p>
        </p:txBody>
      </p:sp>
      <p:sp>
        <p:nvSpPr>
          <p:cNvPr id="3" name="TextBox 2">
            <a:extLst>
              <a:ext uri="{FF2B5EF4-FFF2-40B4-BE49-F238E27FC236}">
                <a16:creationId xmlns:a16="http://schemas.microsoft.com/office/drawing/2014/main" id="{1529EE7D-2610-A393-F270-5282F438F48C}"/>
              </a:ext>
            </a:extLst>
          </p:cNvPr>
          <p:cNvSpPr txBox="1"/>
          <p:nvPr/>
        </p:nvSpPr>
        <p:spPr>
          <a:xfrm>
            <a:off x="-1" y="1906207"/>
            <a:ext cx="621314" cy="2096471"/>
          </a:xfrm>
          <a:prstGeom prst="rect">
            <a:avLst/>
          </a:prstGeom>
          <a:noFill/>
          <a:ln>
            <a:solidFill>
              <a:schemeClr val="tx1"/>
            </a:solidFill>
          </a:ln>
        </p:spPr>
        <p:txBody>
          <a:bodyPr wrap="square" lIns="93177" tIns="46589" rIns="93177" bIns="46589"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Ivey 2018/p1576/col2/para2; pg1577/col1/P1-3, col2/para2,3; p1578/table2; p1579/col2/para4; p1580/central illustration</a:t>
            </a:r>
          </a:p>
        </p:txBody>
      </p:sp>
      <p:cxnSp>
        <p:nvCxnSpPr>
          <p:cNvPr id="8" name="Straight Connector 7">
            <a:extLst>
              <a:ext uri="{FF2B5EF4-FFF2-40B4-BE49-F238E27FC236}">
                <a16:creationId xmlns:a16="http://schemas.microsoft.com/office/drawing/2014/main" id="{188207EA-71B7-D7C8-3EBD-048F2F89D826}"/>
              </a:ext>
            </a:extLst>
          </p:cNvPr>
          <p:cNvCxnSpPr>
            <a:cxnSpLocks/>
            <a:stCxn id="3" idx="3"/>
          </p:cNvCxnSpPr>
          <p:nvPr/>
        </p:nvCxnSpPr>
        <p:spPr>
          <a:xfrm flipV="1">
            <a:off x="621313" y="2750641"/>
            <a:ext cx="1" cy="203801"/>
          </a:xfrm>
          <a:prstGeom prst="line">
            <a:avLst/>
          </a:prstGeom>
          <a:ln w="3175">
            <a:solidFill>
              <a:schemeClr val="tx1"/>
            </a:solidFill>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7006318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ECC093-1A2A-1908-14C3-9B768AC9E9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206D0A-80F9-14DB-0B27-57B6E09B14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F53466-5EBF-AEB1-D44E-507F7CE1E24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5944BA1-6A19-64AA-9C4B-D1DBFAECC456}"/>
              </a:ext>
            </a:extLst>
          </p:cNvPr>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9F68A2C2-8945-4971-AB7F-0CB9C028F521}"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5" name="TextBox 4">
            <a:extLst>
              <a:ext uri="{FF2B5EF4-FFF2-40B4-BE49-F238E27FC236}">
                <a16:creationId xmlns:a16="http://schemas.microsoft.com/office/drawing/2014/main" id="{9CE135F3-B999-F0DB-72C4-77ECABAE758F}"/>
              </a:ext>
            </a:extLst>
          </p:cNvPr>
          <p:cNvSpPr txBox="1"/>
          <p:nvPr/>
        </p:nvSpPr>
        <p:spPr>
          <a:xfrm>
            <a:off x="0" y="1576389"/>
            <a:ext cx="621314" cy="1595821"/>
          </a:xfrm>
          <a:prstGeom prst="rect">
            <a:avLst/>
          </a:prstGeom>
          <a:noFill/>
          <a:ln>
            <a:solidFill>
              <a:schemeClr val="tx1"/>
            </a:solidFill>
          </a:ln>
        </p:spPr>
        <p:txBody>
          <a:bodyPr wrap="square" lIns="93177" tIns="46589" rIns="93177" bIns="46589"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Woodruff 2024/p603/col2/para1,2; p604/col1/para3; p606/Tablo2; col2/para1; p607/Tablo 3</a:t>
            </a:r>
          </a:p>
        </p:txBody>
      </p:sp>
      <p:cxnSp>
        <p:nvCxnSpPr>
          <p:cNvPr id="7" name="Straight Connector 6">
            <a:extLst>
              <a:ext uri="{FF2B5EF4-FFF2-40B4-BE49-F238E27FC236}">
                <a16:creationId xmlns:a16="http://schemas.microsoft.com/office/drawing/2014/main" id="{2D8D8E74-EC5F-C0AE-0433-0815A2C368C3}"/>
              </a:ext>
            </a:extLst>
          </p:cNvPr>
          <p:cNvCxnSpPr>
            <a:cxnSpLocks/>
            <a:stCxn id="5" idx="3"/>
          </p:cNvCxnSpPr>
          <p:nvPr/>
        </p:nvCxnSpPr>
        <p:spPr>
          <a:xfrm>
            <a:off x="621314" y="2374300"/>
            <a:ext cx="1" cy="46525"/>
          </a:xfrm>
          <a:prstGeom prst="line">
            <a:avLst/>
          </a:prstGeom>
          <a:ln w="3175">
            <a:solidFill>
              <a:schemeClr val="tx1"/>
            </a:solidFill>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5972264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B496A-13FD-3417-E204-633218C820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6F661B-271F-DA98-F3E4-312C692393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4F7358-97BB-F175-F2FD-69EEA2E7784B}"/>
              </a:ext>
            </a:extLst>
          </p:cNvPr>
          <p:cNvSpPr>
            <a:spLocks noGrp="1"/>
          </p:cNvSpPr>
          <p:nvPr>
            <p:ph type="body" idx="1"/>
          </p:nvPr>
        </p:nvSpPr>
        <p:spPr/>
        <p:txBody>
          <a:bodyPr/>
          <a:lstStyle/>
          <a:p>
            <a:r>
              <a:rPr lang="en-GB"/>
              <a:t>Kaynaklar: </a:t>
            </a:r>
          </a:p>
          <a:p>
            <a:r>
              <a:rPr lang="en-US"/>
              <a:t>1. Veri Dünyamız. Yaş Yapısı. Şubat 2024. https://ourworldindata.org/age-structure. Erişim tarihi 29 Ağustos 2024;</a:t>
            </a:r>
          </a:p>
          <a:p>
            <a:r>
              <a:rPr lang="en-US"/>
              <a:t>2. Heppe-Montero ve arkadaşları. İç Hastalıklar, Halk Sağlığı Bakımından Yararlanıyor. 2022; 19(22):14680;</a:t>
            </a:r>
          </a:p>
          <a:p>
            <a:r>
              <a:rPr lang="en-US"/>
              <a:t>3. Hastalık Kontrolü ve Önleme Merkezleri. COVID-19 Enfeksiyonu, Hastaneye Yatış ve Yaş Grubuna Göre Ölüm Riski. 30 Mayıs 2023. https://archive.cdc.gov/www_cdc_gov/coronavirus/2019-ncov/covid-data/investigations-discovery/hospitalization-death-by-age.html. Erişim tarihi 19 Ağustos 2024;</a:t>
            </a:r>
          </a:p>
          <a:p>
            <a:r>
              <a:rPr lang="en-US"/>
              <a:t>4. Grant LR ve ark. Forum Infect Dis'i açın. 2023;10(5):ofad192;</a:t>
            </a:r>
          </a:p>
          <a:p>
            <a:r>
              <a:rPr lang="en-US"/>
              <a:t>5. Andrew Mak ve arkadaşları. Forum Infect Dis'i açın. 2023;10(6):ofad24.</a:t>
            </a:r>
          </a:p>
          <a:p>
            <a:endParaRPr lang="en-GB"/>
          </a:p>
          <a:p>
            <a:endParaRPr lang="en-GB"/>
          </a:p>
        </p:txBody>
      </p:sp>
      <p:sp>
        <p:nvSpPr>
          <p:cNvPr id="4" name="Slide Number Placeholder 3">
            <a:extLst>
              <a:ext uri="{FF2B5EF4-FFF2-40B4-BE49-F238E27FC236}">
                <a16:creationId xmlns:a16="http://schemas.microsoft.com/office/drawing/2014/main" id="{38526709-ECCF-A650-D148-0E51FBD92F04}"/>
              </a:ext>
            </a:extLst>
          </p:cNvPr>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FE5CAAFA-4303-4833-9C89-89283E448614}"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5" name="Rectangle 4">
            <a:extLst>
              <a:ext uri="{FF2B5EF4-FFF2-40B4-BE49-F238E27FC236}">
                <a16:creationId xmlns:a16="http://schemas.microsoft.com/office/drawing/2014/main" id="{83E129C5-268D-1194-1ACB-D312944290F7}"/>
              </a:ext>
            </a:extLst>
          </p:cNvPr>
          <p:cNvSpPr/>
          <p:nvPr/>
        </p:nvSpPr>
        <p:spPr>
          <a:xfrm>
            <a:off x="914400" y="1783080"/>
            <a:ext cx="4991100" cy="165354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9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Aptos" panose="02110004020202020204"/>
              <a:ea typeface="+mn-ea"/>
              <a:cs typeface="+mn-cs"/>
            </a:endParaRPr>
          </a:p>
        </p:txBody>
      </p:sp>
      <p:sp>
        <p:nvSpPr>
          <p:cNvPr id="6" name="Rectangle 5">
            <a:extLst>
              <a:ext uri="{FF2B5EF4-FFF2-40B4-BE49-F238E27FC236}">
                <a16:creationId xmlns:a16="http://schemas.microsoft.com/office/drawing/2014/main" id="{0FA5588A-70BD-4E44-BEBE-09A7C4BBB961}"/>
              </a:ext>
            </a:extLst>
          </p:cNvPr>
          <p:cNvSpPr/>
          <p:nvPr/>
        </p:nvSpPr>
        <p:spPr>
          <a:xfrm>
            <a:off x="7117838" y="1985964"/>
            <a:ext cx="2673862" cy="35242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22852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110004020202020204"/>
                <a:ea typeface="+mn-ea"/>
                <a:cs typeface="+mn-cs"/>
              </a:rPr>
              <a:t>1. Yaş Yapısı - Verilerdeki Dünyamız - Sayfa 6</a:t>
            </a:r>
          </a:p>
        </p:txBody>
      </p:sp>
      <p:cxnSp>
        <p:nvCxnSpPr>
          <p:cNvPr id="7" name="Straight Connector 6">
            <a:extLst>
              <a:ext uri="{FF2B5EF4-FFF2-40B4-BE49-F238E27FC236}">
                <a16:creationId xmlns:a16="http://schemas.microsoft.com/office/drawing/2014/main" id="{B1A99888-D948-0697-FA67-75F08DC05A50}"/>
              </a:ext>
            </a:extLst>
          </p:cNvPr>
          <p:cNvCxnSpPr>
            <a:cxnSpLocks/>
            <a:stCxn id="5" idx="3"/>
            <a:endCxn id="6" idx="1"/>
          </p:cNvCxnSpPr>
          <p:nvPr/>
        </p:nvCxnSpPr>
        <p:spPr>
          <a:xfrm flipV="1">
            <a:off x="5905500" y="2162177"/>
            <a:ext cx="1212338" cy="44767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0" name="Rectangle 9">
            <a:extLst>
              <a:ext uri="{FF2B5EF4-FFF2-40B4-BE49-F238E27FC236}">
                <a16:creationId xmlns:a16="http://schemas.microsoft.com/office/drawing/2014/main" id="{65DA4C3D-E99B-25D2-E57B-7AC13FB8DF51}"/>
              </a:ext>
            </a:extLst>
          </p:cNvPr>
          <p:cNvSpPr/>
          <p:nvPr/>
        </p:nvSpPr>
        <p:spPr>
          <a:xfrm>
            <a:off x="914400" y="3504406"/>
            <a:ext cx="5124450" cy="31131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9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674DC20B-23F3-42FF-DF18-57FB39FB4C46}"/>
              </a:ext>
            </a:extLst>
          </p:cNvPr>
          <p:cNvSpPr/>
          <p:nvPr/>
        </p:nvSpPr>
        <p:spPr>
          <a:xfrm>
            <a:off x="6858000" y="3286124"/>
            <a:ext cx="3276600" cy="128587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22852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110004020202020204"/>
                <a:ea typeface="+mn-ea"/>
                <a:cs typeface="+mn-cs"/>
              </a:rPr>
              <a:t>2. Heppe-Montero Met Int J Env Res Pub Health 2022. Sayfa 1</a:t>
            </a:r>
          </a:p>
          <a:p>
            <a:pPr marL="0" marR="0" lvl="0" indent="0" algn="l" defTabSz="22852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110004020202020204"/>
                <a:ea typeface="+mn-ea"/>
                <a:cs typeface="+mn-cs"/>
              </a:rPr>
              <a:t>3. COVID-19 Enfeksiyonu, Hastaneye Yatış ve Yaş Grubu _ CDC Tarafından Ölüm Riski. Sayfa 1</a:t>
            </a:r>
          </a:p>
          <a:p>
            <a:pPr marL="0" marR="0" lvl="0" indent="0" algn="l" defTabSz="22852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110004020202020204"/>
                <a:ea typeface="+mn-ea"/>
                <a:cs typeface="+mn-cs"/>
              </a:rPr>
              <a:t>4. Grant Open Forum Infect Dis 2023. Sayfa 1</a:t>
            </a:r>
          </a:p>
          <a:p>
            <a:pPr marL="0" marR="0" lvl="0" indent="0" algn="l" defTabSz="22852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110004020202020204"/>
                <a:ea typeface="+mn-ea"/>
                <a:cs typeface="+mn-cs"/>
              </a:rPr>
              <a:t>5. Andrew Open Forum Infect Dis 2023. Sayfa 1</a:t>
            </a:r>
          </a:p>
        </p:txBody>
      </p:sp>
      <p:cxnSp>
        <p:nvCxnSpPr>
          <p:cNvPr id="12" name="Straight Connector 11">
            <a:extLst>
              <a:ext uri="{FF2B5EF4-FFF2-40B4-BE49-F238E27FC236}">
                <a16:creationId xmlns:a16="http://schemas.microsoft.com/office/drawing/2014/main" id="{03DBCDE3-DF9F-5DE9-B5B8-E4D93D33BCEB}"/>
              </a:ext>
            </a:extLst>
          </p:cNvPr>
          <p:cNvCxnSpPr>
            <a:cxnSpLocks/>
            <a:stCxn id="10" idx="3"/>
            <a:endCxn id="11" idx="1"/>
          </p:cNvCxnSpPr>
          <p:nvPr/>
        </p:nvCxnSpPr>
        <p:spPr>
          <a:xfrm>
            <a:off x="6038850" y="3660062"/>
            <a:ext cx="819150" cy="26900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484790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8C0A9E-C67A-C9EC-1C45-6DCA2DF88305}"/>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132C189D-0793-D154-91AD-11D10EFE3490}"/>
              </a:ext>
            </a:extLst>
          </p:cNvPr>
          <p:cNvSpPr txBox="1"/>
          <p:nvPr/>
        </p:nvSpPr>
        <p:spPr>
          <a:xfrm>
            <a:off x="0" y="2106247"/>
            <a:ext cx="578024" cy="1077218"/>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Branche 2022/p1152/col1/para4, col2/para1,2; p1156/table2</a:t>
            </a:r>
          </a:p>
        </p:txBody>
      </p:sp>
      <p:sp>
        <p:nvSpPr>
          <p:cNvPr id="5" name="Left Brace 4">
            <a:extLst>
              <a:ext uri="{FF2B5EF4-FFF2-40B4-BE49-F238E27FC236}">
                <a16:creationId xmlns:a16="http://schemas.microsoft.com/office/drawing/2014/main" id="{864AF9BF-6C96-9C16-517F-E1A93AEDBC1B}"/>
              </a:ext>
            </a:extLst>
          </p:cNvPr>
          <p:cNvSpPr/>
          <p:nvPr/>
        </p:nvSpPr>
        <p:spPr>
          <a:xfrm>
            <a:off x="753034" y="1371600"/>
            <a:ext cx="59167" cy="2694791"/>
          </a:xfrm>
          <a:prstGeom prst="leftBrace">
            <a:avLst/>
          </a:prstGeom>
          <a:ln w="635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6" name="Straight Connector 5">
            <a:extLst>
              <a:ext uri="{FF2B5EF4-FFF2-40B4-BE49-F238E27FC236}">
                <a16:creationId xmlns:a16="http://schemas.microsoft.com/office/drawing/2014/main" id="{E45A92F0-C198-2D35-CE19-CBD43053A803}"/>
              </a:ext>
            </a:extLst>
          </p:cNvPr>
          <p:cNvCxnSpPr>
            <a:cxnSpLocks/>
            <a:stCxn id="4" idx="3"/>
            <a:endCxn id="5" idx="1"/>
          </p:cNvCxnSpPr>
          <p:nvPr/>
        </p:nvCxnSpPr>
        <p:spPr>
          <a:xfrm>
            <a:off x="578024" y="2644856"/>
            <a:ext cx="175010" cy="74140"/>
          </a:xfrm>
          <a:prstGeom prst="line">
            <a:avLst/>
          </a:prstGeom>
          <a:ln w="3175">
            <a:solidFill>
              <a:schemeClr val="tx1"/>
            </a:solidFill>
          </a:ln>
        </p:spPr>
        <p:style>
          <a:lnRef idx="2">
            <a:schemeClr val="dk1"/>
          </a:lnRef>
          <a:fillRef idx="0">
            <a:schemeClr val="dk1"/>
          </a:fillRef>
          <a:effectRef idx="1">
            <a:schemeClr val="dk1"/>
          </a:effectRef>
          <a:fontRef idx="minor">
            <a:schemeClr val="tx1"/>
          </a:fontRef>
        </p:style>
      </p:cxnSp>
      <p:sp>
        <p:nvSpPr>
          <p:cNvPr id="9" name="Slide Image Placeholder 8">
            <a:extLst>
              <a:ext uri="{FF2B5EF4-FFF2-40B4-BE49-F238E27FC236}">
                <a16:creationId xmlns:a16="http://schemas.microsoft.com/office/drawing/2014/main" id="{E6D35679-E58A-A7BE-D85A-E3DD0F6CF2A4}"/>
              </a:ext>
            </a:extLst>
          </p:cNvPr>
          <p:cNvSpPr>
            <a:spLocks noGrp="1" noRot="1" noChangeAspect="1"/>
          </p:cNvSpPr>
          <p:nvPr>
            <p:ph type="sldImg"/>
          </p:nvPr>
        </p:nvSpPr>
        <p:spPr/>
      </p:sp>
      <p:sp>
        <p:nvSpPr>
          <p:cNvPr id="10" name="Notes Placeholder 9">
            <a:extLst>
              <a:ext uri="{FF2B5EF4-FFF2-40B4-BE49-F238E27FC236}">
                <a16:creationId xmlns:a16="http://schemas.microsoft.com/office/drawing/2014/main" id="{C9F4CE47-B6F0-FDF8-0AE6-DEB54E86CF74}"/>
              </a:ext>
            </a:extLst>
          </p:cNvPr>
          <p:cNvSpPr>
            <a:spLocks noGrp="1"/>
          </p:cNvSpPr>
          <p:nvPr>
            <p:ph type="body" idx="1"/>
          </p:nvPr>
        </p:nvSpPr>
        <p:spPr/>
        <p:txBody>
          <a:bodyPr/>
          <a:lstStyle/>
          <a:p>
            <a:endParaRPr lang="en-US"/>
          </a:p>
        </p:txBody>
      </p:sp>
      <p:sp>
        <p:nvSpPr>
          <p:cNvPr id="11" name="Slide Number Placeholder 10">
            <a:extLst>
              <a:ext uri="{FF2B5EF4-FFF2-40B4-BE49-F238E27FC236}">
                <a16:creationId xmlns:a16="http://schemas.microsoft.com/office/drawing/2014/main" id="{2403EBEE-9C5D-5600-B6DB-0C78F78BC93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DCFD5D-B70C-4F03-8305-641FDBDA064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555744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DCFD5D-B70C-4F03-8305-641FDBDA064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6F0EA257-BA4F-5088-5E48-4733845742E3}"/>
              </a:ext>
            </a:extLst>
          </p:cNvPr>
          <p:cNvSpPr txBox="1"/>
          <p:nvPr/>
        </p:nvSpPr>
        <p:spPr>
          <a:xfrm>
            <a:off x="6249989" y="2711745"/>
            <a:ext cx="606424" cy="646331"/>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600" b="0" i="0" u="none" strike="noStrike" kern="1200" cap="none" spc="0" normalizeH="0" baseline="0" noProof="0" err="1">
                <a:ln>
                  <a:noFill/>
                </a:ln>
                <a:solidFill>
                  <a:prstClr val="black"/>
                </a:solidFill>
                <a:effectLst/>
                <a:uLnTx/>
                <a:uFillTx/>
                <a:latin typeface="Segoe UI" panose="020B0502040204020203" pitchFamily="34" charset="0"/>
                <a:ea typeface="+mn-ea"/>
                <a:cs typeface="+mn-cs"/>
              </a:rPr>
              <a:t>Wildenbeest</a:t>
            </a:r>
            <a:r>
              <a:rPr kumimoji="0" lang="it-IT" sz="6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 Lancet 2024/pdf p 3/</a:t>
            </a:r>
            <a:r>
              <a:rPr kumimoji="0" lang="it-IT" sz="600" b="0" i="0" u="none" strike="noStrike" kern="1200" cap="none" spc="0" normalizeH="0" baseline="0" noProof="0" err="1">
                <a:ln>
                  <a:noFill/>
                </a:ln>
                <a:solidFill>
                  <a:prstClr val="black"/>
                </a:solidFill>
                <a:effectLst/>
                <a:uLnTx/>
                <a:uFillTx/>
                <a:latin typeface="Segoe UI" panose="020B0502040204020203" pitchFamily="34" charset="0"/>
                <a:ea typeface="+mn-ea"/>
                <a:cs typeface="+mn-cs"/>
              </a:rPr>
              <a:t>Fig</a:t>
            </a:r>
            <a:r>
              <a:rPr kumimoji="0" lang="it-IT" sz="6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 1; pdf p2/col 1/para 3</a:t>
            </a:r>
            <a:endParaRPr kumimoji="0" lang="en-US" sz="6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9" name="Straight Arrow Connector 8">
            <a:extLst>
              <a:ext uri="{FF2B5EF4-FFF2-40B4-BE49-F238E27FC236}">
                <a16:creationId xmlns:a16="http://schemas.microsoft.com/office/drawing/2014/main" id="{608A32D5-420C-1D16-6D6B-7E1AD73CB8D2}"/>
              </a:ext>
            </a:extLst>
          </p:cNvPr>
          <p:cNvCxnSpPr>
            <a:cxnSpLocks/>
            <a:stCxn id="8" idx="1"/>
          </p:cNvCxnSpPr>
          <p:nvPr/>
        </p:nvCxnSpPr>
        <p:spPr>
          <a:xfrm flipH="1">
            <a:off x="5620871" y="3034911"/>
            <a:ext cx="629118" cy="106322"/>
          </a:xfrm>
          <a:prstGeom prst="straightConnector1">
            <a:avLst/>
          </a:prstGeom>
          <a:ln w="6350">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6729254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9F68A2C2-8945-4971-AB7F-0CB9C028F521}"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5" name="TextBox 4">
            <a:extLst>
              <a:ext uri="{FF2B5EF4-FFF2-40B4-BE49-F238E27FC236}">
                <a16:creationId xmlns:a16="http://schemas.microsoft.com/office/drawing/2014/main" id="{BC6A9752-E8A1-27E7-3E70-CCE57007C574}"/>
              </a:ext>
            </a:extLst>
          </p:cNvPr>
          <p:cNvSpPr txBox="1"/>
          <p:nvPr/>
        </p:nvSpPr>
        <p:spPr>
          <a:xfrm>
            <a:off x="6469247" y="2434189"/>
            <a:ext cx="1094606" cy="657103"/>
          </a:xfrm>
          <a:prstGeom prst="rect">
            <a:avLst/>
          </a:prstGeom>
          <a:noFill/>
          <a:ln>
            <a:solidFill>
              <a:schemeClr val="tx1"/>
            </a:solidFill>
          </a:ln>
        </p:spPr>
        <p:txBody>
          <a:bodyPr wrap="square" lIns="93177" tIns="46589" rIns="93177" bIns="46589"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Havers 2024/pdf s7/Şekil 3; Suppl/pf s5/eTablo 3</a:t>
            </a:r>
          </a:p>
        </p:txBody>
      </p:sp>
    </p:spTree>
    <p:extLst>
      <p:ext uri="{BB962C8B-B14F-4D97-AF65-F5344CB8AC3E}">
        <p14:creationId xmlns:p14="http://schemas.microsoft.com/office/powerpoint/2010/main" val="12108147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A66EB0F6-0CBB-6A4E-B00F-31FF6D66F0DB}"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Tree>
    <p:extLst>
      <p:ext uri="{BB962C8B-B14F-4D97-AF65-F5344CB8AC3E}">
        <p14:creationId xmlns:p14="http://schemas.microsoft.com/office/powerpoint/2010/main" val="13278212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5" name="TextBox 4">
            <a:extLst>
              <a:ext uri="{FF2B5EF4-FFF2-40B4-BE49-F238E27FC236}">
                <a16:creationId xmlns:a16="http://schemas.microsoft.com/office/drawing/2014/main" id="{E3BDC03A-E394-0DBB-7934-32751AA94B8C}"/>
              </a:ext>
            </a:extLst>
          </p:cNvPr>
          <p:cNvSpPr txBox="1"/>
          <p:nvPr/>
        </p:nvSpPr>
        <p:spPr>
          <a:xfrm>
            <a:off x="0" y="2007455"/>
            <a:ext cx="573789" cy="312907"/>
          </a:xfrm>
          <a:prstGeom prst="rect">
            <a:avLst/>
          </a:prstGeom>
          <a:noFill/>
          <a:ln>
            <a:solidFill>
              <a:schemeClr val="tx1"/>
            </a:solidFill>
          </a:ln>
        </p:spPr>
        <p:txBody>
          <a:bodyPr wrap="square" lIns="93177" tIns="46589" rIns="93177" bIns="46589"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ptos" panose="02110004020202020204"/>
                <a:ea typeface="+mn-ea"/>
                <a:cs typeface="+mn-cs"/>
              </a:rPr>
              <a:t>Woodruff 2024/p20</a:t>
            </a:r>
          </a:p>
        </p:txBody>
      </p:sp>
    </p:spTree>
    <p:extLst>
      <p:ext uri="{BB962C8B-B14F-4D97-AF65-F5344CB8AC3E}">
        <p14:creationId xmlns:p14="http://schemas.microsoft.com/office/powerpoint/2010/main" val="26209793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A66EB0F6-0CBB-6A4E-B00F-31FF6D66F0DB}"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Tree>
    <p:extLst>
      <p:ext uri="{BB962C8B-B14F-4D97-AF65-F5344CB8AC3E}">
        <p14:creationId xmlns:p14="http://schemas.microsoft.com/office/powerpoint/2010/main" val="33365471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8DCFD5D-B70C-4F03-8305-641FDBDA0640}" type="slidenum">
              <a:rPr lang="en-US" smtClean="0"/>
              <a:pPr/>
              <a:t>35</a:t>
            </a:fld>
            <a:endParaRPr lang="en-US"/>
          </a:p>
        </p:txBody>
      </p:sp>
      <p:sp>
        <p:nvSpPr>
          <p:cNvPr id="5" name="TextBox 4">
            <a:extLst>
              <a:ext uri="{FF2B5EF4-FFF2-40B4-BE49-F238E27FC236}">
                <a16:creationId xmlns:a16="http://schemas.microsoft.com/office/drawing/2014/main" id="{CA453E4E-D26F-605B-7921-60A877056793}"/>
              </a:ext>
            </a:extLst>
          </p:cNvPr>
          <p:cNvSpPr txBox="1"/>
          <p:nvPr/>
        </p:nvSpPr>
        <p:spPr>
          <a:xfrm>
            <a:off x="0" y="1974546"/>
            <a:ext cx="561315" cy="1061829"/>
          </a:xfrm>
          <a:prstGeom prst="rect">
            <a:avLst/>
          </a:prstGeom>
          <a:noFill/>
          <a:ln>
            <a:solidFill>
              <a:schemeClr val="tx1"/>
            </a:solidFill>
          </a:ln>
        </p:spPr>
        <p:txBody>
          <a:bodyPr wrap="square" rtlCol="0">
            <a:spAutoFit/>
          </a:bodyPr>
          <a:lstStyle/>
          <a:p>
            <a:r>
              <a:rPr lang="en-US" sz="700" err="1">
                <a:latin typeface="Arial" panose="020B0604020202020204" pitchFamily="34" charset="0"/>
                <a:cs typeface="Arial" panose="020B0604020202020204" pitchFamily="34" charset="0"/>
              </a:rPr>
              <a:t>Hamalainen</a:t>
            </a:r>
            <a:r>
              <a:rPr lang="en-US" sz="700">
                <a:latin typeface="Arial" panose="020B0604020202020204" pitchFamily="34" charset="0"/>
                <a:cs typeface="Arial" panose="020B0604020202020204" pitchFamily="34" charset="0"/>
              </a:rPr>
              <a:t> 2022/p2/col1/para5; p3/col1/para4; p5/col1/table2</a:t>
            </a:r>
          </a:p>
        </p:txBody>
      </p:sp>
      <p:sp>
        <p:nvSpPr>
          <p:cNvPr id="6" name="Left Bracket 5">
            <a:extLst>
              <a:ext uri="{FF2B5EF4-FFF2-40B4-BE49-F238E27FC236}">
                <a16:creationId xmlns:a16="http://schemas.microsoft.com/office/drawing/2014/main" id="{C30746CB-2769-80C3-BF5D-1FC213333FC2}"/>
              </a:ext>
            </a:extLst>
          </p:cNvPr>
          <p:cNvSpPr/>
          <p:nvPr/>
        </p:nvSpPr>
        <p:spPr>
          <a:xfrm>
            <a:off x="634700" y="1348967"/>
            <a:ext cx="51099" cy="2599090"/>
          </a:xfrm>
          <a:prstGeom prst="leftBracket">
            <a:avLst/>
          </a:prstGeom>
          <a:ln w="952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ED072CA9-263B-9C74-3FE9-0A0EA2B2086E}"/>
              </a:ext>
            </a:extLst>
          </p:cNvPr>
          <p:cNvCxnSpPr>
            <a:cxnSpLocks/>
            <a:stCxn id="6" idx="1"/>
            <a:endCxn id="5" idx="3"/>
          </p:cNvCxnSpPr>
          <p:nvPr/>
        </p:nvCxnSpPr>
        <p:spPr>
          <a:xfrm flipH="1" flipV="1">
            <a:off x="561315" y="2505461"/>
            <a:ext cx="73385" cy="143051"/>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883679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4213"/>
            <a:ext cx="4949825" cy="2784475"/>
          </a:xfrm>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9707ED-54DD-4F74-9D36-AED119D950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Notes Placeholder 2">
            <a:extLst>
              <a:ext uri="{FF2B5EF4-FFF2-40B4-BE49-F238E27FC236}">
                <a16:creationId xmlns:a16="http://schemas.microsoft.com/office/drawing/2014/main" id="{0D42CAED-FCDE-429C-B095-B6BFD164C7F1}"/>
              </a:ext>
            </a:extLst>
          </p:cNvPr>
          <p:cNvSpPr txBox="1">
            <a:spLocks/>
          </p:cNvSpPr>
          <p:nvPr/>
        </p:nvSpPr>
        <p:spPr>
          <a:xfrm>
            <a:off x="974679" y="3530829"/>
            <a:ext cx="4949825" cy="9172741"/>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Key Poin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The consequences of community-acquired pneumonia (CAP) in adults can be sever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Not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In a prospective, population-based, cohort study of all adults aged 18 and older hospitalized with CAP in Louisville, Kentucky, from June 2014 to May 2016, a total of 8284 hospitalizations were reported due to CAP, of which approximately 9% of patients were re-hospitalized with a new episode of CAP during the same year</a:t>
            </a:r>
            <a:endParaRPr kumimoji="0" lang="en-US" sz="1000" b="0" i="0" u="none" strike="noStrike" kern="1200" cap="none" spc="0" normalizeH="0" baseline="30000" noProof="0">
              <a:ln>
                <a:noFill/>
              </a:ln>
              <a:solidFill>
                <a:prstClr val="black"/>
              </a:solidFill>
              <a:effectLst/>
              <a:uLnTx/>
              <a:uFillTx/>
              <a:latin typeface="Arial Nova" panose="020B05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A total of 186,384 adults were hospitalized during the 2-year study period, out of which 8284 hospitalizations were due to CAP. Total number of unique patients hospitalized with CAP was 7449</a:t>
            </a:r>
            <a:endParaRPr kumimoji="0" lang="en-US" sz="1000" b="0" i="0" u="none" strike="noStrike" kern="1200" cap="none" spc="0" normalizeH="0" baseline="30000" noProof="0">
              <a:ln>
                <a:noFill/>
              </a:ln>
              <a:solidFill>
                <a:prstClr val="black"/>
              </a:solidFill>
              <a:effectLst/>
              <a:uLnTx/>
              <a:uFillTx/>
              <a:latin typeface="Arial Nova" panose="020B05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The incidence of CAP was higher in adults aged 18 years and older with comorbid conditions, such as diabetes, stroke, chronic heart failure, and chronic obstructive pulmonary disease, compared with the overall cohort</a:t>
            </a:r>
            <a:endParaRPr kumimoji="0" lang="en-US" sz="1000" b="0" i="0" u="none" strike="noStrike" kern="1200" cap="none" spc="0" normalizeH="0" baseline="30000" noProof="0">
              <a:ln>
                <a:noFill/>
              </a:ln>
              <a:solidFill>
                <a:prstClr val="black"/>
              </a:solidFill>
              <a:effectLst/>
              <a:uLnTx/>
              <a:uFillTx/>
              <a:latin typeface="Arial Nova" panose="020B05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Compared to the younger adults (aged 18</a:t>
            </a:r>
            <a:r>
              <a:rPr kumimoji="0" lang="en-US" sz="1000" b="0" i="0" u="none" strike="noStrike" kern="1200" cap="none" spc="0" normalizeH="0" baseline="0" noProof="0">
                <a:ln>
                  <a:noFill/>
                </a:ln>
                <a:solidFill>
                  <a:prstClr val="black"/>
                </a:solidFill>
                <a:effectLst/>
                <a:uLnTx/>
                <a:uFillTx/>
                <a:latin typeface="Arial Nova" panose="020B0504020202020204" pitchFamily="34" charset="0"/>
                <a:ea typeface="+mn-ea"/>
                <a:cs typeface="Calibri" panose="020F0502020204030204" pitchFamily="34" charset="0"/>
              </a:rPr>
              <a:t>─49 years), t</a:t>
            </a:r>
            <a:r>
              <a:rPr kumimoji="0" lang="en-US" sz="10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he incidence of hospitalization due to CAP was higher among older patients (aged ≥50 years)</a:t>
            </a:r>
            <a:endParaRPr kumimoji="0" lang="en-US" sz="1000" b="0" i="0" u="none" strike="noStrike" kern="1200" cap="none" spc="0" normalizeH="0" baseline="30000" noProof="0">
              <a:ln>
                <a:noFill/>
              </a:ln>
              <a:solidFill>
                <a:prstClr val="black"/>
              </a:solidFill>
              <a:effectLst/>
              <a:uLnTx/>
              <a:uFillTx/>
              <a:latin typeface="Arial Nova" panose="020B05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An estimated all-cause mortality of 13% was observed at 30 days for adults hospitalized with CAP and nearly 31% died within 1 year after hospitalizatio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When the estimated incidence of CAP in this study was extrapolated to the entire nation, it translated to &gt;1.7 million total hospitalizations for CAP in adults each year</a:t>
            </a:r>
            <a:endParaRPr kumimoji="0" lang="en-US" sz="10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Referenc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pl-PL" sz="10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Ramirez JA, Wiemken TL, Peyrani P</a:t>
            </a:r>
            <a:r>
              <a:rPr kumimoji="0" lang="en-US" sz="10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 et al. Adults hospitalized with pneumonia in the United States: incidence, epidemiology, and mortality.</a:t>
            </a:r>
            <a:r>
              <a:rPr kumimoji="0" lang="en-US" sz="1000" b="0" i="1"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 Clin Infect Dis. </a:t>
            </a:r>
            <a:r>
              <a:rPr kumimoji="0" lang="en-US" sz="10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2017;65(11):1806-1812. </a:t>
            </a:r>
          </a:p>
          <a:p>
            <a:pPr marL="0" marR="0" lvl="0" indent="0" algn="l" defTabSz="914400" rtl="0" eaLnBrk="1" fontAlgn="auto" latinLnBrk="0" hangingPunct="1">
              <a:lnSpc>
                <a:spcPct val="110000"/>
              </a:lnSpc>
              <a:spcBef>
                <a:spcPts val="0"/>
              </a:spcBef>
              <a:spcAft>
                <a:spcPts val="20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Nova" panose="020B0504020202020204" pitchFamily="34" charset="0"/>
              <a:ea typeface="+mn-ea"/>
              <a:cs typeface="Arial" pitchFamily="34" charset="0"/>
            </a:endParaRPr>
          </a:p>
        </p:txBody>
      </p:sp>
      <p:sp>
        <p:nvSpPr>
          <p:cNvPr id="7" name="TextBox 6">
            <a:extLst>
              <a:ext uri="{FF2B5EF4-FFF2-40B4-BE49-F238E27FC236}">
                <a16:creationId xmlns:a16="http://schemas.microsoft.com/office/drawing/2014/main" id="{A0ACAC7A-D200-4CA4-BB58-6138C446025C}"/>
              </a:ext>
            </a:extLst>
          </p:cNvPr>
          <p:cNvSpPr txBox="1"/>
          <p:nvPr/>
        </p:nvSpPr>
        <p:spPr>
          <a:xfrm>
            <a:off x="-825319" y="1330989"/>
            <a:ext cx="780107" cy="553998"/>
          </a:xfrm>
          <a:prstGeom prst="rect">
            <a:avLst/>
          </a:prstGeom>
          <a:solidFill>
            <a:schemeClr val="bg1"/>
          </a:solidFill>
          <a:ln>
            <a:solidFill>
              <a:srgbClr val="FF0000"/>
            </a:solidFill>
          </a:ln>
        </p:spPr>
        <p:txBody>
          <a:bodyPr wrap="square" rtlCol="0">
            <a:spAutoFit/>
          </a:bodyPr>
          <a:lstStyle>
            <a:defPPr>
              <a:defRPr lang="en-US"/>
            </a:defPPr>
            <a:lvl1pPr>
              <a:defRPr sz="600">
                <a:solidFill>
                  <a:srgbClr val="E32138"/>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Ramirez 2017/</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1807/col2/</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ara4; p1809/</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col2/para1; p1811/col1/para3</a:t>
            </a:r>
          </a:p>
        </p:txBody>
      </p:sp>
      <p:sp>
        <p:nvSpPr>
          <p:cNvPr id="10" name="TextBox 9">
            <a:extLst>
              <a:ext uri="{FF2B5EF4-FFF2-40B4-BE49-F238E27FC236}">
                <a16:creationId xmlns:a16="http://schemas.microsoft.com/office/drawing/2014/main" id="{F56FDC7B-9A3C-438F-996C-5AEE2FE1B9DD}"/>
              </a:ext>
            </a:extLst>
          </p:cNvPr>
          <p:cNvSpPr txBox="1"/>
          <p:nvPr/>
        </p:nvSpPr>
        <p:spPr>
          <a:xfrm>
            <a:off x="-828676" y="2860608"/>
            <a:ext cx="812511" cy="369332"/>
          </a:xfrm>
          <a:prstGeom prst="rect">
            <a:avLst/>
          </a:prstGeom>
          <a:solidFill>
            <a:schemeClr val="bg1"/>
          </a:solidFill>
          <a:ln>
            <a:solidFill>
              <a:srgbClr val="FF0000"/>
            </a:solidFill>
          </a:ln>
        </p:spPr>
        <p:txBody>
          <a:bodyPr wrap="square" rtlCol="0">
            <a:spAutoFit/>
          </a:bodyPr>
          <a:lstStyle>
            <a:defPPr>
              <a:defRPr lang="en-US"/>
            </a:defPPr>
            <a:lvl1pPr>
              <a:defRPr sz="600">
                <a:solidFill>
                  <a:srgbClr val="E32138"/>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Ramirez 20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1806/col2/para3; p1807/col2/para4</a:t>
            </a:r>
          </a:p>
        </p:txBody>
      </p:sp>
      <p:cxnSp>
        <p:nvCxnSpPr>
          <p:cNvPr id="11" name="Straight Arrow Connector 10">
            <a:extLst>
              <a:ext uri="{FF2B5EF4-FFF2-40B4-BE49-F238E27FC236}">
                <a16:creationId xmlns:a16="http://schemas.microsoft.com/office/drawing/2014/main" id="{9BEA6ECE-0FD6-4341-ABB5-0AD02655A7A1}"/>
              </a:ext>
            </a:extLst>
          </p:cNvPr>
          <p:cNvCxnSpPr>
            <a:cxnSpLocks/>
            <a:stCxn id="10" idx="3"/>
            <a:endCxn id="44" idx="1"/>
          </p:cNvCxnSpPr>
          <p:nvPr/>
        </p:nvCxnSpPr>
        <p:spPr>
          <a:xfrm>
            <a:off x="-16165" y="3045274"/>
            <a:ext cx="1116156" cy="79887"/>
          </a:xfrm>
          <a:prstGeom prst="straightConnector1">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5EC4282-5285-40FC-87DB-55B9DD424838}"/>
              </a:ext>
            </a:extLst>
          </p:cNvPr>
          <p:cNvSpPr txBox="1"/>
          <p:nvPr/>
        </p:nvSpPr>
        <p:spPr>
          <a:xfrm>
            <a:off x="6903213" y="1348572"/>
            <a:ext cx="778520" cy="276999"/>
          </a:xfrm>
          <a:prstGeom prst="rect">
            <a:avLst/>
          </a:prstGeom>
          <a:solidFill>
            <a:schemeClr val="bg1"/>
          </a:solidFill>
          <a:ln>
            <a:solidFill>
              <a:srgbClr val="FF0000"/>
            </a:solidFill>
          </a:ln>
        </p:spPr>
        <p:txBody>
          <a:bodyPr wrap="square" rtlCol="0">
            <a:spAutoFit/>
          </a:bodyPr>
          <a:lstStyle>
            <a:defPPr>
              <a:defRPr lang="en-US"/>
            </a:defPPr>
            <a:lvl1pPr>
              <a:defRPr sz="600">
                <a:solidFill>
                  <a:srgbClr val="E32138"/>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Ramirez 2017/</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1806/col2/para3</a:t>
            </a:r>
          </a:p>
        </p:txBody>
      </p:sp>
      <p:sp>
        <p:nvSpPr>
          <p:cNvPr id="17" name="TextBox 16">
            <a:extLst>
              <a:ext uri="{FF2B5EF4-FFF2-40B4-BE49-F238E27FC236}">
                <a16:creationId xmlns:a16="http://schemas.microsoft.com/office/drawing/2014/main" id="{9DF71FE1-4497-4F57-9665-D53115D1F6D1}"/>
              </a:ext>
            </a:extLst>
          </p:cNvPr>
          <p:cNvSpPr txBox="1"/>
          <p:nvPr/>
        </p:nvSpPr>
        <p:spPr>
          <a:xfrm>
            <a:off x="-828676" y="2051616"/>
            <a:ext cx="644184" cy="369332"/>
          </a:xfrm>
          <a:prstGeom prst="rect">
            <a:avLst/>
          </a:prstGeom>
          <a:solidFill>
            <a:schemeClr val="bg1"/>
          </a:solidFill>
          <a:ln>
            <a:solidFill>
              <a:srgbClr val="FF0000"/>
            </a:solidFill>
          </a:ln>
        </p:spPr>
        <p:txBody>
          <a:bodyPr wrap="square" rtlCol="0">
            <a:spAutoFit/>
          </a:bodyPr>
          <a:lstStyle>
            <a:defPPr>
              <a:defRPr lang="en-US"/>
            </a:defPPr>
            <a:lvl1pPr>
              <a:defRPr sz="600">
                <a:solidFill>
                  <a:srgbClr val="E32138"/>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Ramirez 2017/</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1808/col2/</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ara2</a:t>
            </a:r>
          </a:p>
        </p:txBody>
      </p:sp>
      <p:sp>
        <p:nvSpPr>
          <p:cNvPr id="19" name="Rectangle 18">
            <a:extLst>
              <a:ext uri="{FF2B5EF4-FFF2-40B4-BE49-F238E27FC236}">
                <a16:creationId xmlns:a16="http://schemas.microsoft.com/office/drawing/2014/main" id="{4E1028D8-8B37-44F1-B265-CCAA6A7552B0}"/>
              </a:ext>
            </a:extLst>
          </p:cNvPr>
          <p:cNvSpPr/>
          <p:nvPr/>
        </p:nvSpPr>
        <p:spPr>
          <a:xfrm>
            <a:off x="1069930" y="1669554"/>
            <a:ext cx="4699200" cy="4072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 name="Straight Connector 20">
            <a:extLst>
              <a:ext uri="{FF2B5EF4-FFF2-40B4-BE49-F238E27FC236}">
                <a16:creationId xmlns:a16="http://schemas.microsoft.com/office/drawing/2014/main" id="{B12334CF-2E8C-413F-B5FC-4A723882F8D0}"/>
              </a:ext>
            </a:extLst>
          </p:cNvPr>
          <p:cNvCxnSpPr>
            <a:cxnSpLocks/>
            <a:stCxn id="7" idx="3"/>
            <a:endCxn id="19" idx="1"/>
          </p:cNvCxnSpPr>
          <p:nvPr/>
        </p:nvCxnSpPr>
        <p:spPr>
          <a:xfrm>
            <a:off x="-45212" y="1607988"/>
            <a:ext cx="1115142" cy="265173"/>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8E51F66E-45CE-4026-AAE2-AB7F66680E25}"/>
              </a:ext>
            </a:extLst>
          </p:cNvPr>
          <p:cNvSpPr/>
          <p:nvPr/>
        </p:nvSpPr>
        <p:spPr>
          <a:xfrm>
            <a:off x="1069930" y="1139259"/>
            <a:ext cx="4699200" cy="4072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9" name="Straight Connector 28">
            <a:extLst>
              <a:ext uri="{FF2B5EF4-FFF2-40B4-BE49-F238E27FC236}">
                <a16:creationId xmlns:a16="http://schemas.microsoft.com/office/drawing/2014/main" id="{E6368B18-6639-4728-AAC3-EC8CE27AC26B}"/>
              </a:ext>
            </a:extLst>
          </p:cNvPr>
          <p:cNvCxnSpPr>
            <a:cxnSpLocks/>
            <a:stCxn id="16" idx="1"/>
            <a:endCxn id="28" idx="3"/>
          </p:cNvCxnSpPr>
          <p:nvPr/>
        </p:nvCxnSpPr>
        <p:spPr>
          <a:xfrm flipH="1" flipV="1">
            <a:off x="5769130" y="1342866"/>
            <a:ext cx="1134083" cy="144206"/>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EBA1B65E-52F6-4E14-B866-798BA8BA5C00}"/>
              </a:ext>
            </a:extLst>
          </p:cNvPr>
          <p:cNvSpPr/>
          <p:nvPr/>
        </p:nvSpPr>
        <p:spPr>
          <a:xfrm>
            <a:off x="1069930" y="2138334"/>
            <a:ext cx="4699200" cy="74624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5" name="Straight Connector 34">
            <a:extLst>
              <a:ext uri="{FF2B5EF4-FFF2-40B4-BE49-F238E27FC236}">
                <a16:creationId xmlns:a16="http://schemas.microsoft.com/office/drawing/2014/main" id="{16C8397D-E0DF-49FE-87D4-0989FC9DDE2B}"/>
              </a:ext>
            </a:extLst>
          </p:cNvPr>
          <p:cNvCxnSpPr>
            <a:cxnSpLocks/>
            <a:stCxn id="17" idx="3"/>
            <a:endCxn id="33" idx="1"/>
          </p:cNvCxnSpPr>
          <p:nvPr/>
        </p:nvCxnSpPr>
        <p:spPr>
          <a:xfrm>
            <a:off x="-184492" y="2236282"/>
            <a:ext cx="1254422" cy="27517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AC57D4D7-CB62-4A89-8B06-BBD391443D01}"/>
              </a:ext>
            </a:extLst>
          </p:cNvPr>
          <p:cNvSpPr/>
          <p:nvPr/>
        </p:nvSpPr>
        <p:spPr>
          <a:xfrm>
            <a:off x="1099991" y="3085698"/>
            <a:ext cx="1941659" cy="78926"/>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3DAE3CAA-685F-460A-9C10-0A9C0F0839AA}"/>
              </a:ext>
            </a:extLst>
          </p:cNvPr>
          <p:cNvSpPr txBox="1"/>
          <p:nvPr/>
        </p:nvSpPr>
        <p:spPr>
          <a:xfrm>
            <a:off x="-828676" y="3796081"/>
            <a:ext cx="780107" cy="553998"/>
          </a:xfrm>
          <a:prstGeom prst="rect">
            <a:avLst/>
          </a:prstGeom>
          <a:solidFill>
            <a:schemeClr val="bg1"/>
          </a:solidFill>
          <a:ln>
            <a:solidFill>
              <a:srgbClr val="FF0000"/>
            </a:solidFill>
          </a:ln>
        </p:spPr>
        <p:txBody>
          <a:bodyPr wrap="square" rtlCol="0">
            <a:spAutoFit/>
          </a:bodyPr>
          <a:lstStyle>
            <a:defPPr>
              <a:defRPr lang="en-US"/>
            </a:defPPr>
            <a:lvl1pPr>
              <a:defRPr sz="600">
                <a:solidFill>
                  <a:srgbClr val="E32138"/>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Ramirez 2017/</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1806/col2/para3; p1807/col2/para4; p1809/col2/para1; p1811/col1/para3</a:t>
            </a:r>
          </a:p>
        </p:txBody>
      </p:sp>
      <p:cxnSp>
        <p:nvCxnSpPr>
          <p:cNvPr id="48" name="Straight Connector 47">
            <a:extLst>
              <a:ext uri="{FF2B5EF4-FFF2-40B4-BE49-F238E27FC236}">
                <a16:creationId xmlns:a16="http://schemas.microsoft.com/office/drawing/2014/main" id="{2F333A7E-562A-4185-B87C-BD18EC4FB10B}"/>
              </a:ext>
            </a:extLst>
          </p:cNvPr>
          <p:cNvCxnSpPr>
            <a:cxnSpLocks/>
            <a:stCxn id="47" idx="3"/>
            <a:endCxn id="49" idx="1"/>
          </p:cNvCxnSpPr>
          <p:nvPr/>
        </p:nvCxnSpPr>
        <p:spPr>
          <a:xfrm>
            <a:off x="-48569" y="4073080"/>
            <a:ext cx="1168708" cy="60785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8441CFBD-3BB0-43D2-AD49-595A9FF979E5}"/>
              </a:ext>
            </a:extLst>
          </p:cNvPr>
          <p:cNvSpPr/>
          <p:nvPr/>
        </p:nvSpPr>
        <p:spPr>
          <a:xfrm>
            <a:off x="1120139" y="4350079"/>
            <a:ext cx="4699200" cy="66170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81612EFD-CA2E-4E09-97FB-A25A9095470B}"/>
              </a:ext>
            </a:extLst>
          </p:cNvPr>
          <p:cNvSpPr txBox="1"/>
          <p:nvPr/>
        </p:nvSpPr>
        <p:spPr>
          <a:xfrm>
            <a:off x="-828676" y="5374819"/>
            <a:ext cx="780107" cy="369332"/>
          </a:xfrm>
          <a:prstGeom prst="rect">
            <a:avLst/>
          </a:prstGeom>
          <a:solidFill>
            <a:schemeClr val="bg1"/>
          </a:solidFill>
          <a:ln>
            <a:solidFill>
              <a:srgbClr val="FF0000"/>
            </a:solidFill>
          </a:ln>
        </p:spPr>
        <p:txBody>
          <a:bodyPr wrap="square" rtlCol="0">
            <a:spAutoFit/>
          </a:bodyPr>
          <a:lstStyle>
            <a:defPPr>
              <a:defRPr lang="en-US"/>
            </a:defPPr>
            <a:lvl1pPr>
              <a:defRPr sz="600">
                <a:solidFill>
                  <a:srgbClr val="E32138"/>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Ramirez 2017/</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1810/Fig 3; p1811/col1/para2</a:t>
            </a:r>
          </a:p>
        </p:txBody>
      </p:sp>
      <p:cxnSp>
        <p:nvCxnSpPr>
          <p:cNvPr id="53" name="Straight Connector 52">
            <a:extLst>
              <a:ext uri="{FF2B5EF4-FFF2-40B4-BE49-F238E27FC236}">
                <a16:creationId xmlns:a16="http://schemas.microsoft.com/office/drawing/2014/main" id="{0E8BCF66-B5E0-4F26-939A-3CF2F86B0A4A}"/>
              </a:ext>
            </a:extLst>
          </p:cNvPr>
          <p:cNvCxnSpPr>
            <a:cxnSpLocks/>
            <a:stCxn id="52" idx="3"/>
            <a:endCxn id="54" idx="1"/>
          </p:cNvCxnSpPr>
          <p:nvPr/>
        </p:nvCxnSpPr>
        <p:spPr>
          <a:xfrm>
            <a:off x="-48569" y="5559485"/>
            <a:ext cx="1168708" cy="253017"/>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4EEB9F3A-B4F4-4A68-B3BC-3E52CA0E0A16}"/>
              </a:ext>
            </a:extLst>
          </p:cNvPr>
          <p:cNvSpPr/>
          <p:nvPr/>
        </p:nvSpPr>
        <p:spPr>
          <a:xfrm>
            <a:off x="1120139" y="5559484"/>
            <a:ext cx="4684713" cy="506036"/>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TextBox 55">
            <a:extLst>
              <a:ext uri="{FF2B5EF4-FFF2-40B4-BE49-F238E27FC236}">
                <a16:creationId xmlns:a16="http://schemas.microsoft.com/office/drawing/2014/main" id="{C7A00006-BF8F-4B55-87B7-B96298B58CF5}"/>
              </a:ext>
            </a:extLst>
          </p:cNvPr>
          <p:cNvSpPr txBox="1"/>
          <p:nvPr/>
        </p:nvSpPr>
        <p:spPr>
          <a:xfrm>
            <a:off x="-832194" y="6472232"/>
            <a:ext cx="786981" cy="369332"/>
          </a:xfrm>
          <a:prstGeom prst="rect">
            <a:avLst/>
          </a:prstGeom>
          <a:solidFill>
            <a:schemeClr val="bg1"/>
          </a:solidFill>
          <a:ln>
            <a:solidFill>
              <a:srgbClr val="FF0000"/>
            </a:solidFill>
          </a:ln>
        </p:spPr>
        <p:txBody>
          <a:bodyPr wrap="square" rtlCol="0">
            <a:spAutoFit/>
          </a:bodyPr>
          <a:lstStyle>
            <a:defPPr>
              <a:defRPr lang="en-US"/>
            </a:defPPr>
            <a:lvl1pPr>
              <a:defRPr sz="600">
                <a:solidFill>
                  <a:srgbClr val="E32138"/>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Ramirez 2017/</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1808/col2/</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ara2</a:t>
            </a:r>
          </a:p>
        </p:txBody>
      </p:sp>
      <p:cxnSp>
        <p:nvCxnSpPr>
          <p:cNvPr id="57" name="Straight Connector 56">
            <a:extLst>
              <a:ext uri="{FF2B5EF4-FFF2-40B4-BE49-F238E27FC236}">
                <a16:creationId xmlns:a16="http://schemas.microsoft.com/office/drawing/2014/main" id="{BA2EA80C-6019-4B83-A0CC-62182CEFE453}"/>
              </a:ext>
            </a:extLst>
          </p:cNvPr>
          <p:cNvCxnSpPr>
            <a:cxnSpLocks/>
            <a:stCxn id="56" idx="3"/>
            <a:endCxn id="59" idx="1"/>
          </p:cNvCxnSpPr>
          <p:nvPr/>
        </p:nvCxnSpPr>
        <p:spPr>
          <a:xfrm>
            <a:off x="-45213" y="6656898"/>
            <a:ext cx="1166106" cy="2194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6710292C-D021-479C-8ECD-AE36A0624F96}"/>
              </a:ext>
            </a:extLst>
          </p:cNvPr>
          <p:cNvSpPr/>
          <p:nvPr/>
        </p:nvSpPr>
        <p:spPr>
          <a:xfrm>
            <a:off x="1120893" y="6507067"/>
            <a:ext cx="4699200" cy="343543"/>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BD7E25BF-DC4B-467D-B5EC-4D1D223C08D0}"/>
              </a:ext>
            </a:extLst>
          </p:cNvPr>
          <p:cNvSpPr txBox="1"/>
          <p:nvPr/>
        </p:nvSpPr>
        <p:spPr>
          <a:xfrm>
            <a:off x="-832194" y="6873999"/>
            <a:ext cx="786981" cy="369332"/>
          </a:xfrm>
          <a:prstGeom prst="rect">
            <a:avLst/>
          </a:prstGeom>
          <a:solidFill>
            <a:schemeClr val="bg1"/>
          </a:solidFill>
          <a:ln>
            <a:solidFill>
              <a:srgbClr val="FF0000"/>
            </a:solidFill>
          </a:ln>
        </p:spPr>
        <p:txBody>
          <a:bodyPr wrap="square" rtlCol="0">
            <a:spAutoFit/>
          </a:bodyPr>
          <a:lstStyle>
            <a:defPPr>
              <a:defRPr lang="en-US"/>
            </a:defPPr>
            <a:lvl1pPr>
              <a:defRPr sz="600">
                <a:solidFill>
                  <a:srgbClr val="E32138"/>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Ramirez 2017/</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1809/col2/</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ara1</a:t>
            </a:r>
          </a:p>
        </p:txBody>
      </p:sp>
      <p:cxnSp>
        <p:nvCxnSpPr>
          <p:cNvPr id="63" name="Straight Connector 62">
            <a:extLst>
              <a:ext uri="{FF2B5EF4-FFF2-40B4-BE49-F238E27FC236}">
                <a16:creationId xmlns:a16="http://schemas.microsoft.com/office/drawing/2014/main" id="{984EFCEA-E141-41C9-A5E2-D216099886EE}"/>
              </a:ext>
            </a:extLst>
          </p:cNvPr>
          <p:cNvCxnSpPr>
            <a:cxnSpLocks/>
            <a:stCxn id="62" idx="3"/>
            <a:endCxn id="64" idx="1"/>
          </p:cNvCxnSpPr>
          <p:nvPr/>
        </p:nvCxnSpPr>
        <p:spPr>
          <a:xfrm>
            <a:off x="-45213" y="7058665"/>
            <a:ext cx="1173726" cy="49083"/>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9AC1F58B-FA09-4CD5-893A-1FC11054083F}"/>
              </a:ext>
            </a:extLst>
          </p:cNvPr>
          <p:cNvSpPr/>
          <p:nvPr/>
        </p:nvSpPr>
        <p:spPr>
          <a:xfrm>
            <a:off x="1128513" y="6878354"/>
            <a:ext cx="4699200" cy="458787"/>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566CCC4B-BB6B-4694-AEF5-46225C840783}"/>
              </a:ext>
            </a:extLst>
          </p:cNvPr>
          <p:cNvSpPr/>
          <p:nvPr/>
        </p:nvSpPr>
        <p:spPr>
          <a:xfrm>
            <a:off x="1120139" y="5036820"/>
            <a:ext cx="4696461" cy="510540"/>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TextBox 40">
            <a:extLst>
              <a:ext uri="{FF2B5EF4-FFF2-40B4-BE49-F238E27FC236}">
                <a16:creationId xmlns:a16="http://schemas.microsoft.com/office/drawing/2014/main" id="{C4405474-5997-4291-8045-6B9C8537B129}"/>
              </a:ext>
            </a:extLst>
          </p:cNvPr>
          <p:cNvSpPr txBox="1"/>
          <p:nvPr/>
        </p:nvSpPr>
        <p:spPr>
          <a:xfrm>
            <a:off x="-841067" y="4810939"/>
            <a:ext cx="780107" cy="276999"/>
          </a:xfrm>
          <a:prstGeom prst="rect">
            <a:avLst/>
          </a:prstGeom>
          <a:solidFill>
            <a:schemeClr val="bg1"/>
          </a:solidFill>
          <a:ln>
            <a:solidFill>
              <a:srgbClr val="FF0000"/>
            </a:solidFill>
          </a:ln>
        </p:spPr>
        <p:txBody>
          <a:bodyPr wrap="square" rtlCol="0">
            <a:spAutoFit/>
          </a:bodyPr>
          <a:lstStyle>
            <a:defPPr>
              <a:defRPr lang="en-US"/>
            </a:defPPr>
            <a:lvl1pPr>
              <a:defRPr sz="600">
                <a:solidFill>
                  <a:srgbClr val="E32138"/>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Ramirez 2017/</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1807/col2/para4</a:t>
            </a:r>
          </a:p>
        </p:txBody>
      </p:sp>
      <p:cxnSp>
        <p:nvCxnSpPr>
          <p:cNvPr id="42" name="Straight Connector 41">
            <a:extLst>
              <a:ext uri="{FF2B5EF4-FFF2-40B4-BE49-F238E27FC236}">
                <a16:creationId xmlns:a16="http://schemas.microsoft.com/office/drawing/2014/main" id="{59445946-B0F3-46A4-B995-77E4EB5AFAE5}"/>
              </a:ext>
            </a:extLst>
          </p:cNvPr>
          <p:cNvCxnSpPr>
            <a:cxnSpLocks/>
            <a:stCxn id="41" idx="3"/>
            <a:endCxn id="37" idx="1"/>
          </p:cNvCxnSpPr>
          <p:nvPr/>
        </p:nvCxnSpPr>
        <p:spPr>
          <a:xfrm>
            <a:off x="-60960" y="4949439"/>
            <a:ext cx="1181099" cy="34265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97814E5C-A6F9-487F-967E-DE80663EE3F6}"/>
              </a:ext>
            </a:extLst>
          </p:cNvPr>
          <p:cNvSpPr/>
          <p:nvPr/>
        </p:nvSpPr>
        <p:spPr>
          <a:xfrm>
            <a:off x="1114543" y="6096857"/>
            <a:ext cx="4699200" cy="380143"/>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A92FFCB9-DE3D-4307-810D-22CB08B0E8AE}"/>
              </a:ext>
            </a:extLst>
          </p:cNvPr>
          <p:cNvSpPr txBox="1"/>
          <p:nvPr/>
        </p:nvSpPr>
        <p:spPr>
          <a:xfrm>
            <a:off x="-831431" y="6021382"/>
            <a:ext cx="786981" cy="369332"/>
          </a:xfrm>
          <a:prstGeom prst="rect">
            <a:avLst/>
          </a:prstGeom>
          <a:solidFill>
            <a:schemeClr val="bg1"/>
          </a:solidFill>
          <a:ln>
            <a:solidFill>
              <a:srgbClr val="FF0000"/>
            </a:solidFill>
          </a:ln>
        </p:spPr>
        <p:txBody>
          <a:bodyPr wrap="square" rtlCol="0">
            <a:spAutoFit/>
          </a:bodyPr>
          <a:lstStyle>
            <a:defPPr>
              <a:defRPr lang="en-US"/>
            </a:defPPr>
            <a:lvl1pPr>
              <a:defRPr sz="600">
                <a:solidFill>
                  <a:srgbClr val="E32138"/>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Ramirez 2017/</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1808/col1/</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ara3;p1809/fig2</a:t>
            </a:r>
          </a:p>
        </p:txBody>
      </p:sp>
      <p:cxnSp>
        <p:nvCxnSpPr>
          <p:cNvPr id="60" name="Straight Connector 59">
            <a:extLst>
              <a:ext uri="{FF2B5EF4-FFF2-40B4-BE49-F238E27FC236}">
                <a16:creationId xmlns:a16="http://schemas.microsoft.com/office/drawing/2014/main" id="{8EC03AB5-20F2-480C-B70B-330DCC034C94}"/>
              </a:ext>
            </a:extLst>
          </p:cNvPr>
          <p:cNvCxnSpPr>
            <a:cxnSpLocks/>
            <a:stCxn id="58" idx="3"/>
            <a:endCxn id="55" idx="1"/>
          </p:cNvCxnSpPr>
          <p:nvPr/>
        </p:nvCxnSpPr>
        <p:spPr>
          <a:xfrm>
            <a:off x="-44450" y="6206048"/>
            <a:ext cx="1158993" cy="8088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ED966BEA-071C-42B3-853D-340DADA4D81F}"/>
              </a:ext>
            </a:extLst>
          </p:cNvPr>
          <p:cNvSpPr txBox="1"/>
          <p:nvPr/>
        </p:nvSpPr>
        <p:spPr>
          <a:xfrm>
            <a:off x="6071019" y="3475032"/>
            <a:ext cx="786981" cy="461665"/>
          </a:xfrm>
          <a:prstGeom prst="rect">
            <a:avLst/>
          </a:prstGeom>
          <a:solidFill>
            <a:schemeClr val="bg1"/>
          </a:solidFill>
          <a:ln>
            <a:solidFill>
              <a:srgbClr val="FF0000"/>
            </a:solidFill>
          </a:ln>
        </p:spPr>
        <p:txBody>
          <a:bodyPr wrap="square" rtlCol="0">
            <a:spAutoFit/>
          </a:bodyPr>
          <a:lstStyle>
            <a:defPPr>
              <a:defRPr lang="en-US"/>
            </a:defPPr>
            <a:lvl1pPr>
              <a:defRPr sz="600">
                <a:solidFill>
                  <a:srgbClr val="E32138"/>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Ramirez 2017/</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1808/col2/</a:t>
            </a:r>
            <a:b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para2;p180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E32138"/>
                </a:solidFill>
                <a:effectLst/>
                <a:uLnTx/>
                <a:uFillTx/>
                <a:latin typeface="Calibri" panose="020F0502020204030204"/>
                <a:ea typeface="+mn-ea"/>
                <a:cs typeface="+mn-cs"/>
              </a:rPr>
              <a:t>col2/para1</a:t>
            </a:r>
          </a:p>
        </p:txBody>
      </p:sp>
      <p:sp>
        <p:nvSpPr>
          <p:cNvPr id="39" name="Rectangle 38">
            <a:extLst>
              <a:ext uri="{FF2B5EF4-FFF2-40B4-BE49-F238E27FC236}">
                <a16:creationId xmlns:a16="http://schemas.microsoft.com/office/drawing/2014/main" id="{0782C413-9426-479E-997D-34C0CA27E9BE}"/>
              </a:ext>
            </a:extLst>
          </p:cNvPr>
          <p:cNvSpPr/>
          <p:nvPr/>
        </p:nvSpPr>
        <p:spPr>
          <a:xfrm>
            <a:off x="1120139" y="3752850"/>
            <a:ext cx="4699200" cy="292100"/>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0" name="Straight Connector 39">
            <a:extLst>
              <a:ext uri="{FF2B5EF4-FFF2-40B4-BE49-F238E27FC236}">
                <a16:creationId xmlns:a16="http://schemas.microsoft.com/office/drawing/2014/main" id="{8A6271DF-AAAE-4EE0-B6AA-2CA5919C78EE}"/>
              </a:ext>
            </a:extLst>
          </p:cNvPr>
          <p:cNvCxnSpPr>
            <a:cxnSpLocks/>
            <a:stCxn id="39" idx="3"/>
            <a:endCxn id="36" idx="1"/>
          </p:cNvCxnSpPr>
          <p:nvPr/>
        </p:nvCxnSpPr>
        <p:spPr>
          <a:xfrm flipV="1">
            <a:off x="5819339" y="3705865"/>
            <a:ext cx="251680" cy="19303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3" name="Not Yer Tutucusu 2">
            <a:extLst>
              <a:ext uri="{FF2B5EF4-FFF2-40B4-BE49-F238E27FC236}">
                <a16:creationId xmlns:a16="http://schemas.microsoft.com/office/drawing/2014/main" id="{3C67A034-26A1-BB8E-DF2F-C2DCB66BF84D}"/>
              </a:ext>
            </a:extLst>
          </p:cNvPr>
          <p:cNvSpPr>
            <a:spLocks noGrp="1"/>
          </p:cNvSpPr>
          <p:nvPr>
            <p:ph type="body" idx="1"/>
          </p:nvPr>
        </p:nvSpPr>
        <p:spPr/>
        <p:txBody>
          <a:bodyPr/>
          <a:lstStyle/>
          <a:p>
            <a:endParaRPr lang="tr-TR" dirty="0"/>
          </a:p>
        </p:txBody>
      </p:sp>
    </p:spTree>
    <p:extLst>
      <p:ext uri="{BB962C8B-B14F-4D97-AF65-F5344CB8AC3E}">
        <p14:creationId xmlns:p14="http://schemas.microsoft.com/office/powerpoint/2010/main" val="42343067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EE7D4C3D-E959-4DA0-A5E8-F93AEE10CB07}" type="slidenum">
              <a:rPr lang="tr-TR" smtClean="0"/>
              <a:pPr/>
              <a:t>40</a:t>
            </a:fld>
            <a:endParaRPr lang="tr-TR"/>
          </a:p>
        </p:txBody>
      </p:sp>
    </p:spTree>
    <p:extLst>
      <p:ext uri="{BB962C8B-B14F-4D97-AF65-F5344CB8AC3E}">
        <p14:creationId xmlns:p14="http://schemas.microsoft.com/office/powerpoint/2010/main" val="35347832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20713"/>
            <a:ext cx="5486400" cy="3086100"/>
          </a:xfrm>
        </p:spPr>
      </p:sp>
      <p:sp>
        <p:nvSpPr>
          <p:cNvPr id="3" name="Notes Placeholder 2"/>
          <p:cNvSpPr>
            <a:spLocks noGrp="1"/>
          </p:cNvSpPr>
          <p:nvPr>
            <p:ph type="body" idx="1"/>
          </p:nvPr>
        </p:nvSpPr>
        <p:spPr>
          <a:xfrm>
            <a:off x="685800" y="3860611"/>
            <a:ext cx="5486400" cy="360045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Key Poin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1" u="none" strike="noStrike" kern="1200" cap="none" spc="0" normalizeH="0" baseline="0" noProof="0">
                <a:ln>
                  <a:noFill/>
                </a:ln>
                <a:solidFill>
                  <a:prstClr val="black"/>
                </a:solidFill>
                <a:effectLst/>
                <a:uLnTx/>
                <a:uFillTx/>
                <a:latin typeface="Aptos" panose="02110004020202020204"/>
                <a:ea typeface="+mn-ea"/>
                <a:cs typeface="+mn-cs"/>
              </a:rPr>
              <a:t>S pneumoniae</a:t>
            </a: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 is one of the most common causes of lower respiratory infection episodes and deaths, resulting in ~98,000,000 cases and ~505,000 deaths globally across all age groups in 2021</a:t>
            </a:r>
            <a:endParaRPr kumimoji="0" lang="en-US" sz="1200" b="0" i="0" u="none" strike="noStrike" kern="1200" cap="none" spc="0" normalizeH="0" baseline="3000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Reference</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solidFill>
                  <a:srgbClr val="212121"/>
                </a:solidFill>
                <a:effectLst/>
                <a:highlight>
                  <a:srgbClr val="FFFFFF"/>
                </a:highlight>
                <a:uLnTx/>
                <a:uFillTx/>
                <a:latin typeface="Aptos" panose="02110004020202020204"/>
                <a:ea typeface="+mn-ea"/>
                <a:cs typeface="+mn-cs"/>
              </a:rPr>
              <a:t>GBD 2021 Lower Respiratory Infections and Antimicrobial Resistance Collaborators. Global, regional, and national incidence and mortality burden of non-COVID-19 lower respiratory infections and </a:t>
            </a:r>
            <a:r>
              <a:rPr kumimoji="0" lang="en-US" sz="1200" b="0" i="0" u="none" strike="noStrike" kern="1200" cap="none" spc="0" normalizeH="0" baseline="0" noProof="0" err="1">
                <a:ln>
                  <a:noFill/>
                </a:ln>
                <a:solidFill>
                  <a:srgbClr val="212121"/>
                </a:solidFill>
                <a:effectLst/>
                <a:highlight>
                  <a:srgbClr val="FFFFFF"/>
                </a:highlight>
                <a:uLnTx/>
                <a:uFillTx/>
                <a:latin typeface="Aptos" panose="02110004020202020204"/>
                <a:ea typeface="+mn-ea"/>
                <a:cs typeface="+mn-cs"/>
              </a:rPr>
              <a:t>aetiologies</a:t>
            </a:r>
            <a:r>
              <a:rPr kumimoji="0" lang="en-US" sz="1200" b="0" i="0" u="none" strike="noStrike" kern="1200" cap="none" spc="0" normalizeH="0" baseline="0" noProof="0">
                <a:ln>
                  <a:noFill/>
                </a:ln>
                <a:solidFill>
                  <a:srgbClr val="212121"/>
                </a:solidFill>
                <a:effectLst/>
                <a:highlight>
                  <a:srgbClr val="FFFFFF"/>
                </a:highlight>
                <a:uLnTx/>
                <a:uFillTx/>
                <a:latin typeface="Aptos" panose="02110004020202020204"/>
                <a:ea typeface="+mn-ea"/>
                <a:cs typeface="+mn-cs"/>
              </a:rPr>
              <a:t>, 1990–2021: a systematic analysis from the Global Burden of Disease Study 2021. </a:t>
            </a:r>
            <a:r>
              <a:rPr kumimoji="0" lang="en-US" sz="1200" b="0" i="1" u="none" strike="noStrike" kern="1200" cap="none" spc="0" normalizeH="0" baseline="0" noProof="0">
                <a:ln>
                  <a:noFill/>
                </a:ln>
                <a:solidFill>
                  <a:srgbClr val="212121"/>
                </a:solidFill>
                <a:effectLst/>
                <a:highlight>
                  <a:srgbClr val="FFFFFF"/>
                </a:highlight>
                <a:uLnTx/>
                <a:uFillTx/>
                <a:latin typeface="Aptos" panose="02110004020202020204"/>
                <a:ea typeface="+mn-ea"/>
                <a:cs typeface="+mn-cs"/>
              </a:rPr>
              <a:t>Lancet Infect Dis</a:t>
            </a:r>
            <a:r>
              <a:rPr kumimoji="0" lang="en-US" sz="1200" b="0" i="0" u="none" strike="noStrike" kern="1200" cap="none" spc="0" normalizeH="0" baseline="0" noProof="0">
                <a:ln>
                  <a:noFill/>
                </a:ln>
                <a:solidFill>
                  <a:srgbClr val="212121"/>
                </a:solidFill>
                <a:effectLst/>
                <a:highlight>
                  <a:srgbClr val="FFFFFF"/>
                </a:highlight>
                <a:uLnTx/>
                <a:uFillTx/>
                <a:latin typeface="Aptos" panose="02110004020202020204"/>
                <a:ea typeface="+mn-ea"/>
                <a:cs typeface="+mn-cs"/>
              </a:rPr>
              <a:t>. 2024;24(9):974-1002.</a:t>
            </a:r>
            <a:endParaRPr lang="en-US"/>
          </a:p>
        </p:txBody>
      </p:sp>
      <p:sp>
        <p:nvSpPr>
          <p:cNvPr id="8" name="Slide Number Placeholder 7">
            <a:extLst>
              <a:ext uri="{FF2B5EF4-FFF2-40B4-BE49-F238E27FC236}">
                <a16:creationId xmlns:a16="http://schemas.microsoft.com/office/drawing/2014/main" id="{CBA50BC4-2F2C-510F-4028-56B2D7E1E6E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E2D300-DD52-4321-94DF-38A962E6148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101438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Slide Number Placeholder 3"/>
          <p:cNvSpPr>
            <a:spLocks noGrp="1"/>
          </p:cNvSpPr>
          <p:nvPr>
            <p:ph type="sldNum" sz="quarter" idx="5"/>
          </p:nvPr>
        </p:nvSpPr>
        <p:spPr/>
        <p:txBody>
          <a:bodyPr/>
          <a:lstStyle/>
          <a:p>
            <a:fld id="{A66EB0F6-0CBB-6A4E-B00F-31FF6D66F0DB}" type="slidenum">
              <a:rPr lang="en-US" smtClean="0"/>
              <a:pPr/>
              <a:t>7</a:t>
            </a:fld>
            <a:endParaRPr lang="en-US"/>
          </a:p>
        </p:txBody>
      </p:sp>
      <p:sp>
        <p:nvSpPr>
          <p:cNvPr id="5" name="Rectangle 4">
            <a:extLst>
              <a:ext uri="{FF2B5EF4-FFF2-40B4-BE49-F238E27FC236}">
                <a16:creationId xmlns:a16="http://schemas.microsoft.com/office/drawing/2014/main" id="{F784AD3E-6069-966F-5955-6D6DDEE2CD87}"/>
              </a:ext>
            </a:extLst>
          </p:cNvPr>
          <p:cNvSpPr/>
          <p:nvPr/>
        </p:nvSpPr>
        <p:spPr>
          <a:xfrm>
            <a:off x="800101" y="1663123"/>
            <a:ext cx="2520950" cy="15240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DBD873CE-8619-6F6E-0678-BB004A7E59F3}"/>
              </a:ext>
            </a:extLst>
          </p:cNvPr>
          <p:cNvSpPr/>
          <p:nvPr/>
        </p:nvSpPr>
        <p:spPr>
          <a:xfrm>
            <a:off x="-1060450" y="1663123"/>
            <a:ext cx="1746250" cy="1822450"/>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1. GBD 2021 Alt Solunum Enfeksiyonları ve Antimikrobiyal Direnç İş Ortakları. </a:t>
            </a:r>
            <a:r>
              <a:rPr kumimoji="0" lang="en-GB" sz="900" b="0" i="1" u="none" strike="noStrike" kern="1200" cap="none" spc="0" normalizeH="0" baseline="0" noProof="0">
                <a:ln>
                  <a:noFill/>
                </a:ln>
                <a:solidFill>
                  <a:schemeClr val="tx1"/>
                </a:solidFill>
                <a:effectLst/>
                <a:uLnTx/>
                <a:uFillTx/>
                <a:latin typeface="Pfizer Diatype Office"/>
                <a:ea typeface="+mn-ea"/>
                <a:cs typeface="+mn-cs"/>
              </a:rPr>
              <a:t>Lancet Dis</a:t>
            </a:r>
            <a:r>
              <a:rPr kumimoji="0" lang="en-GB" sz="900" b="0" i="0" u="none" strike="noStrike" kern="1200" cap="none" spc="0" normalizeH="0" baseline="0" noProof="0">
                <a:ln>
                  <a:noFill/>
                </a:ln>
                <a:solidFill>
                  <a:schemeClr val="tx1"/>
                </a:solidFill>
                <a:effectLst/>
                <a:uLnTx/>
                <a:uFillTx/>
                <a:latin typeface="Pfizer Diatype Office"/>
                <a:ea typeface="+mn-ea"/>
                <a:cs typeface="+mn-cs"/>
              </a:rPr>
              <a:t>. 24 Eyl;24(9)</a:t>
            </a:r>
            <a:r>
              <a:rPr lang="en-GB" sz="900">
                <a:solidFill>
                  <a:schemeClr val="tx1"/>
                </a:solidFill>
              </a:rPr>
              <a:t>:974-1002</a:t>
            </a:r>
          </a:p>
          <a:p>
            <a:pPr marL="0" marR="0" lvl="0" indent="0" algn="l" defTabSz="913852" rtl="0" eaLnBrk="1" fontAlgn="auto" latinLnBrk="0" hangingPunct="1">
              <a:lnSpc>
                <a:spcPct val="100000"/>
              </a:lnSpc>
              <a:spcBef>
                <a:spcPts val="0"/>
              </a:spcBef>
              <a:spcAft>
                <a:spcPts val="0"/>
              </a:spcAft>
              <a:buClrTx/>
              <a:buSzTx/>
              <a:buFontTx/>
              <a:buNone/>
              <a:tabLst/>
              <a:defRPr/>
            </a:pPr>
            <a:r>
              <a:rPr lang="en-GB" sz="900">
                <a:solidFill>
                  <a:schemeClr val="tx1"/>
                </a:solidFill>
              </a:rPr>
              <a:t>Sayfa 5 (978) Tablo 1.</a:t>
            </a:r>
          </a:p>
          <a:p>
            <a:pPr marL="0" marR="0" lvl="0" indent="0" algn="l" defTabSz="913852" rtl="0" eaLnBrk="1" fontAlgn="auto" latinLnBrk="0" hangingPunct="1">
              <a:lnSpc>
                <a:spcPct val="100000"/>
              </a:lnSpc>
              <a:spcBef>
                <a:spcPts val="0"/>
              </a:spcBef>
              <a:spcAft>
                <a:spcPts val="0"/>
              </a:spcAft>
              <a:buClrTx/>
              <a:buSzTx/>
              <a:buFontTx/>
              <a:buNone/>
              <a:tabLst/>
              <a:defRPr/>
            </a:pPr>
            <a:r>
              <a:rPr lang="en-GB" sz="900">
                <a:solidFill>
                  <a:schemeClr val="tx1"/>
                </a:solidFill>
              </a:rPr>
              <a:t>0-14 yıllık veriler aşağıdaki şekilde hesaplanır:</a:t>
            </a:r>
          </a:p>
          <a:p>
            <a:pPr marL="0" marR="0" lvl="0" indent="0" algn="l" defTabSz="913852" rtl="0" eaLnBrk="1" fontAlgn="auto" latinLnBrk="0" hangingPunct="1">
              <a:lnSpc>
                <a:spcPct val="100000"/>
              </a:lnSpc>
              <a:spcBef>
                <a:spcPts val="0"/>
              </a:spcBef>
              <a:spcAft>
                <a:spcPts val="0"/>
              </a:spcAft>
              <a:buClrTx/>
              <a:buSzTx/>
              <a:buFontTx/>
              <a:buNone/>
              <a:tabLst/>
              <a:defRPr/>
            </a:pPr>
            <a:r>
              <a:rPr lang="en-GB" sz="900">
                <a:solidFill>
                  <a:schemeClr val="tx1"/>
                </a:solidFill>
              </a:rPr>
              <a:t>1990: 16302,6+383,0=20195,6</a:t>
            </a:r>
          </a:p>
          <a:p>
            <a:pPr marL="0" marR="0" lvl="0" indent="0" algn="l" defTabSz="913852" rtl="0" eaLnBrk="1" fontAlgn="auto" latinLnBrk="0" hangingPunct="1">
              <a:lnSpc>
                <a:spcPct val="100000"/>
              </a:lnSpc>
              <a:spcBef>
                <a:spcPts val="0"/>
              </a:spcBef>
              <a:spcAft>
                <a:spcPts val="0"/>
              </a:spcAft>
              <a:buClrTx/>
              <a:buSzTx/>
              <a:buFontTx/>
              <a:buNone/>
              <a:tabLst/>
              <a:defRPr/>
            </a:pPr>
            <a:r>
              <a:rPr lang="en-GB" sz="900">
                <a:solidFill>
                  <a:schemeClr val="tx1"/>
                </a:solidFill>
              </a:rPr>
              <a:t>2019: 639,0+2560,4=919,4</a:t>
            </a:r>
          </a:p>
          <a:p>
            <a:pPr marL="0" marR="0" lvl="0" indent="0" algn="l" defTabSz="913852" rtl="0" eaLnBrk="1" fontAlgn="auto" latinLnBrk="0" hangingPunct="1">
              <a:lnSpc>
                <a:spcPct val="100000"/>
              </a:lnSpc>
              <a:spcBef>
                <a:spcPts val="0"/>
              </a:spcBef>
              <a:spcAft>
                <a:spcPts val="0"/>
              </a:spcAft>
              <a:buClrTx/>
              <a:buSzTx/>
              <a:buFontTx/>
              <a:buNone/>
              <a:tabLst/>
              <a:defRPr/>
            </a:pPr>
            <a:r>
              <a:rPr lang="en-GB" sz="900">
                <a:solidFill>
                  <a:schemeClr val="tx1"/>
                </a:solidFill>
              </a:rPr>
              <a:t>2020: 5940,8+240,2=8361</a:t>
            </a:r>
          </a:p>
          <a:p>
            <a:pPr marL="0" marR="0" lvl="0" indent="0" algn="l" defTabSz="913852" rtl="0" eaLnBrk="1" fontAlgn="auto" latinLnBrk="0" hangingPunct="1">
              <a:lnSpc>
                <a:spcPct val="100000"/>
              </a:lnSpc>
              <a:spcBef>
                <a:spcPts val="0"/>
              </a:spcBef>
              <a:spcAft>
                <a:spcPts val="0"/>
              </a:spcAft>
              <a:buClrTx/>
              <a:buSzTx/>
              <a:buFontTx/>
              <a:buNone/>
              <a:tabLst/>
              <a:defRPr/>
            </a:pPr>
            <a:r>
              <a:rPr lang="en-GB" sz="900">
                <a:solidFill>
                  <a:schemeClr val="tx1"/>
                </a:solidFill>
              </a:rPr>
              <a:t>2021: 574,5+236,3=816,8</a:t>
            </a:r>
          </a:p>
        </p:txBody>
      </p:sp>
      <p:cxnSp>
        <p:nvCxnSpPr>
          <p:cNvPr id="7" name="Straight Connector 6">
            <a:extLst>
              <a:ext uri="{FF2B5EF4-FFF2-40B4-BE49-F238E27FC236}">
                <a16:creationId xmlns:a16="http://schemas.microsoft.com/office/drawing/2014/main" id="{D873A799-B87B-FA8C-1B18-979890DE965E}"/>
              </a:ext>
            </a:extLst>
          </p:cNvPr>
          <p:cNvCxnSpPr>
            <a:cxnSpLocks/>
            <a:stCxn id="5" idx="1"/>
            <a:endCxn id="6" idx="3"/>
          </p:cNvCxnSpPr>
          <p:nvPr/>
        </p:nvCxnSpPr>
        <p:spPr>
          <a:xfrm flipH="1">
            <a:off x="685800" y="2425123"/>
            <a:ext cx="114301" cy="149225"/>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0A3BDB93-F500-FC14-2441-4840AECA86D7}"/>
              </a:ext>
            </a:extLst>
          </p:cNvPr>
          <p:cNvSpPr/>
          <p:nvPr/>
        </p:nvSpPr>
        <p:spPr>
          <a:xfrm>
            <a:off x="3321051" y="1663123"/>
            <a:ext cx="2603498" cy="15240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1A0C2B8-B960-7186-C3EE-53A4BBF3A5E8}"/>
              </a:ext>
            </a:extLst>
          </p:cNvPr>
          <p:cNvSpPr/>
          <p:nvPr/>
        </p:nvSpPr>
        <p:spPr>
          <a:xfrm>
            <a:off x="6543167" y="1663123"/>
            <a:ext cx="1558133" cy="762000"/>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2. Weycker, D ve diğ. Orada Enfeksiyon Var. 2024; 13(1):207-220.  </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Sayfa 7-8 (213-214), Tablo 2.</a:t>
            </a:r>
          </a:p>
        </p:txBody>
      </p:sp>
      <p:cxnSp>
        <p:nvCxnSpPr>
          <p:cNvPr id="10" name="Straight Connector 9">
            <a:extLst>
              <a:ext uri="{FF2B5EF4-FFF2-40B4-BE49-F238E27FC236}">
                <a16:creationId xmlns:a16="http://schemas.microsoft.com/office/drawing/2014/main" id="{62634825-FCF9-176B-A066-97121B069B2C}"/>
              </a:ext>
            </a:extLst>
          </p:cNvPr>
          <p:cNvCxnSpPr>
            <a:cxnSpLocks/>
            <a:stCxn id="8" idx="3"/>
            <a:endCxn id="9" idx="1"/>
          </p:cNvCxnSpPr>
          <p:nvPr/>
        </p:nvCxnSpPr>
        <p:spPr>
          <a:xfrm flipV="1">
            <a:off x="5924549" y="2044123"/>
            <a:ext cx="618618" cy="38100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77D73EFB-0DD1-40FE-D0F0-42578C73DE90}"/>
              </a:ext>
            </a:extLst>
          </p:cNvPr>
          <p:cNvSpPr/>
          <p:nvPr/>
        </p:nvSpPr>
        <p:spPr>
          <a:xfrm>
            <a:off x="2127251" y="3187123"/>
            <a:ext cx="2603498" cy="19526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5728F90-0C80-69DA-B8F0-57BC58005DDD}"/>
              </a:ext>
            </a:extLst>
          </p:cNvPr>
          <p:cNvSpPr/>
          <p:nvPr/>
        </p:nvSpPr>
        <p:spPr>
          <a:xfrm>
            <a:off x="6543167" y="2459177"/>
            <a:ext cx="1558133" cy="126999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1. GBD 2021 Alt Solunum Enfeksiyonları ve Antimikrobiyal Direnç İş Ortakları. Lancet Dis. 24 Eyl; 24(9):974-1002</a:t>
            </a: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Sayfa 9 (982), sütun 1, para 2, ln7-9.</a:t>
            </a:r>
          </a:p>
        </p:txBody>
      </p:sp>
      <p:cxnSp>
        <p:nvCxnSpPr>
          <p:cNvPr id="13" name="Straight Connector 12">
            <a:extLst>
              <a:ext uri="{FF2B5EF4-FFF2-40B4-BE49-F238E27FC236}">
                <a16:creationId xmlns:a16="http://schemas.microsoft.com/office/drawing/2014/main" id="{FBE49481-0BE8-0D9A-93B9-7767EB7A4094}"/>
              </a:ext>
            </a:extLst>
          </p:cNvPr>
          <p:cNvCxnSpPr>
            <a:cxnSpLocks/>
            <a:stCxn id="11" idx="3"/>
            <a:endCxn id="12" idx="1"/>
          </p:cNvCxnSpPr>
          <p:nvPr/>
        </p:nvCxnSpPr>
        <p:spPr>
          <a:xfrm flipV="1">
            <a:off x="4730749" y="3094177"/>
            <a:ext cx="1812418" cy="190578"/>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8695DCFC-BAD2-AADC-6D26-7EFD9B8C00A2}"/>
              </a:ext>
            </a:extLst>
          </p:cNvPr>
          <p:cNvSpPr/>
          <p:nvPr/>
        </p:nvSpPr>
        <p:spPr>
          <a:xfrm>
            <a:off x="911516" y="3381921"/>
            <a:ext cx="4978398" cy="32532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AEBAF4E-1C96-7D3E-9F46-D01FF9260F92}"/>
              </a:ext>
            </a:extLst>
          </p:cNvPr>
          <p:cNvSpPr/>
          <p:nvPr/>
        </p:nvSpPr>
        <p:spPr>
          <a:xfrm>
            <a:off x="6543167" y="3939304"/>
            <a:ext cx="2864069" cy="3086100"/>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1. GBD 2021 Alt Solunum Enfeksiyonları ve Antimikrobiyal Direnç İş Ortakları. Lancet Dis. 24 Eyl; 24(9):974-1002</a:t>
            </a: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Sayfa 1, soyut, Yöntemler, n1-2 ve n8-12. </a:t>
            </a: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rPr>
              <a:t>Sayfa 19, sütun2, para1, ln3-5.</a:t>
            </a:r>
          </a:p>
          <a:p>
            <a:pPr marR="0" lvl="0" algn="l" defTabSz="913852" rtl="0" eaLnBrk="1" fontAlgn="auto" latinLnBrk="0" hangingPunct="1">
              <a:lnSpc>
                <a:spcPct val="100000"/>
              </a:lnSpc>
              <a:spcBef>
                <a:spcPts val="0"/>
              </a:spcBef>
              <a:spcAft>
                <a:spcPts val="0"/>
              </a:spcAft>
              <a:buClrTx/>
              <a:buSzTx/>
              <a:tabLst/>
              <a:defRPr/>
            </a:pPr>
            <a:endParaRPr kumimoji="0" lang="fr-FR" sz="900" b="0" i="0" u="none" strike="noStrike" kern="1200" cap="none" spc="0" normalizeH="0" baseline="0" noProof="0">
              <a:ln>
                <a:noFill/>
              </a:ln>
              <a:solidFill>
                <a:schemeClr val="tx1"/>
              </a:solidFill>
              <a:effectLst/>
              <a:uLnTx/>
              <a:uFillTx/>
              <a:latin typeface="Pfizer Diatype Office"/>
              <a:ea typeface="+mn-ea"/>
              <a:cs typeface="+mn-cs"/>
            </a:endParaRPr>
          </a:p>
          <a:p>
            <a:pPr marR="0" lvl="0" algn="l" defTabSz="913852" rtl="0" eaLnBrk="1" fontAlgn="auto" latinLnBrk="0" hangingPunct="1">
              <a:lnSpc>
                <a:spcPct val="100000"/>
              </a:lnSpc>
              <a:spcBef>
                <a:spcPts val="0"/>
              </a:spcBef>
              <a:spcAft>
                <a:spcPts val="0"/>
              </a:spcAft>
              <a:buClrTx/>
              <a:buSzTx/>
              <a:tabLst/>
              <a:defRPr/>
            </a:pPr>
            <a:r>
              <a:rPr kumimoji="0" lang="fr-FR" sz="900" b="0" i="0" u="none" strike="noStrike" kern="1200" cap="none" spc="0" normalizeH="0" baseline="0" noProof="0">
                <a:ln>
                  <a:noFill/>
                </a:ln>
                <a:solidFill>
                  <a:schemeClr val="tx1"/>
                </a:solidFill>
                <a:effectLst/>
                <a:uLnTx/>
                <a:uFillTx/>
                <a:latin typeface="Pfizer Diatype Office"/>
                <a:ea typeface="+mn-ea"/>
                <a:cs typeface="+mn-cs"/>
              </a:rPr>
              <a:t>2. </a:t>
            </a:r>
            <a:r>
              <a:rPr kumimoji="0" lang="fr-FR" sz="900" b="0" i="0" u="none" strike="noStrike" kern="1200" cap="none" spc="0" normalizeH="0" baseline="0" noProof="0" err="1">
                <a:ln>
                  <a:noFill/>
                </a:ln>
                <a:solidFill>
                  <a:schemeClr val="tx1"/>
                </a:solidFill>
                <a:effectLst/>
                <a:uLnTx/>
                <a:uFillTx/>
                <a:latin typeface="Pfizer Diatype Office"/>
                <a:ea typeface="+mn-ea"/>
                <a:cs typeface="+mn-cs"/>
              </a:rPr>
              <a:t>Weycker</a:t>
            </a:r>
            <a:r>
              <a:rPr kumimoji="0" lang="fr-FR" sz="900" b="0" i="0" u="none" strike="noStrike" kern="1200" cap="none" spc="0" normalizeH="0" baseline="0" noProof="0">
                <a:ln>
                  <a:noFill/>
                </a:ln>
                <a:solidFill>
                  <a:schemeClr val="tx1"/>
                </a:solidFill>
                <a:effectLst/>
                <a:uLnTx/>
                <a:uFillTx/>
                <a:latin typeface="Pfizer Diatype Office"/>
                <a:ea typeface="+mn-ea"/>
                <a:cs typeface="+mn-cs"/>
              </a:rPr>
              <a:t>, D ve diğ. Infect Dis </a:t>
            </a:r>
            <a:r>
              <a:rPr kumimoji="0" lang="fr-FR" sz="900" b="0" i="0" u="none" strike="noStrike" kern="1200" cap="none" spc="0" normalizeH="0" baseline="0" noProof="0" err="1">
                <a:ln>
                  <a:noFill/>
                </a:ln>
                <a:solidFill>
                  <a:schemeClr val="tx1"/>
                </a:solidFill>
                <a:effectLst/>
                <a:uLnTx/>
                <a:uFillTx/>
                <a:latin typeface="Pfizer Diatype Office"/>
                <a:ea typeface="+mn-ea"/>
                <a:cs typeface="+mn-cs"/>
              </a:rPr>
              <a:t>Orada</a:t>
            </a:r>
            <a:r>
              <a:rPr kumimoji="0" lang="fr-FR" sz="900" b="0" i="0" u="none" strike="noStrike" kern="1200" cap="none" spc="0" normalizeH="0" baseline="0" noProof="0">
                <a:ln>
                  <a:noFill/>
                </a:ln>
                <a:solidFill>
                  <a:schemeClr val="tx1"/>
                </a:solidFill>
                <a:effectLst/>
                <a:uLnTx/>
                <a:uFillTx/>
                <a:latin typeface="Pfizer Diatype Office"/>
                <a:ea typeface="+mn-ea"/>
                <a:cs typeface="+mn-cs"/>
              </a:rPr>
              <a:t>. 2024; 13(1):207-220.  </a:t>
            </a:r>
          </a:p>
          <a:p>
            <a:pPr marR="0" lvl="0" algn="l" defTabSz="913852" rtl="0" eaLnBrk="1" fontAlgn="auto" latinLnBrk="0" hangingPunct="1">
              <a:lnSpc>
                <a:spcPct val="100000"/>
              </a:lnSpc>
              <a:spcBef>
                <a:spcPts val="0"/>
              </a:spcBef>
              <a:spcAft>
                <a:spcPts val="0"/>
              </a:spcAft>
              <a:buClrTx/>
              <a:buSzTx/>
              <a:tabLst/>
              <a:defRPr/>
            </a:pPr>
            <a:r>
              <a:rPr kumimoji="0" lang="fr-FR" sz="900" b="0" i="0" u="none" strike="noStrike" kern="1200" cap="none" spc="0" normalizeH="0" baseline="0" noProof="0">
                <a:ln>
                  <a:noFill/>
                </a:ln>
                <a:solidFill>
                  <a:schemeClr val="tx1"/>
                </a:solidFill>
                <a:effectLst/>
                <a:uLnTx/>
                <a:uFillTx/>
                <a:latin typeface="Pfizer Diatype Office"/>
                <a:ea typeface="+mn-ea"/>
                <a:cs typeface="+mn-cs"/>
              </a:rPr>
              <a:t>Sayfa 3 (209), sütun 2, para 1.</a:t>
            </a:r>
          </a:p>
          <a:p>
            <a:pPr marR="0" lvl="0" algn="l" defTabSz="913852" rtl="0" eaLnBrk="1" fontAlgn="auto" latinLnBrk="0" hangingPunct="1">
              <a:lnSpc>
                <a:spcPct val="100000"/>
              </a:lnSpc>
              <a:spcBef>
                <a:spcPts val="0"/>
              </a:spcBef>
              <a:spcAft>
                <a:spcPts val="0"/>
              </a:spcAft>
              <a:buClrTx/>
              <a:buSzTx/>
              <a:tabLst/>
              <a:defRPr/>
            </a:pPr>
            <a:endParaRPr lang="fr-FR">
              <a:solidFill>
                <a:schemeClr val="tx1"/>
              </a:solidFill>
              <a:latin typeface="Pfizer Diatype Office"/>
            </a:endParaRPr>
          </a:p>
          <a:p>
            <a:pPr marR="0" lvl="0" algn="l" defTabSz="913852" rtl="0" eaLnBrk="1" fontAlgn="auto" latinLnBrk="0" hangingPunct="1">
              <a:lnSpc>
                <a:spcPct val="100000"/>
              </a:lnSpc>
              <a:spcBef>
                <a:spcPts val="0"/>
              </a:spcBef>
              <a:spcAft>
                <a:spcPts val="0"/>
              </a:spcAft>
              <a:buClrTx/>
              <a:buSzTx/>
              <a:tabLst/>
              <a:defRPr/>
            </a:pPr>
            <a:r>
              <a:rPr kumimoji="0" lang="fr-FR"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rPr>
              <a:t>3. HKM. </a:t>
            </a:r>
            <a:r>
              <a:rPr kumimoji="0" lang="fr-FR" sz="900" b="0" i="0" u="none" strike="noStrike" kern="1200" cap="none" spc="0" normalizeH="0" baseline="0" noProof="0" err="1">
                <a:ln>
                  <a:noFill/>
                </a:ln>
                <a:solidFill>
                  <a:schemeClr val="tx1"/>
                </a:solidFill>
                <a:effectLst/>
                <a:highlight>
                  <a:srgbClr val="FFFF00"/>
                </a:highlight>
                <a:uLnTx/>
                <a:uFillTx/>
                <a:latin typeface="Pfizer Diatype Office"/>
                <a:ea typeface="+mn-ea"/>
                <a:cs typeface="+mn-cs"/>
              </a:rPr>
              <a:t>Bölüm</a:t>
            </a:r>
            <a:r>
              <a:rPr kumimoji="0" lang="fr-FR"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rPr>
              <a:t> 17: </a:t>
            </a:r>
            <a:r>
              <a:rPr kumimoji="0" lang="fr-FR" sz="900" b="0" i="0" u="none" strike="noStrike" kern="1200" cap="none" spc="0" normalizeH="0" baseline="0" noProof="0" err="1">
                <a:ln>
                  <a:noFill/>
                </a:ln>
                <a:solidFill>
                  <a:schemeClr val="tx1"/>
                </a:solidFill>
                <a:effectLst/>
                <a:highlight>
                  <a:srgbClr val="FFFF00"/>
                </a:highlight>
                <a:uLnTx/>
                <a:uFillTx/>
                <a:latin typeface="Pfizer Diatype Office"/>
                <a:ea typeface="+mn-ea"/>
                <a:cs typeface="+mn-cs"/>
              </a:rPr>
              <a:t>Pnömokok Hastalığı</a:t>
            </a:r>
            <a:r>
              <a:rPr kumimoji="0" lang="fr-FR"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rPr>
              <a:t>. </a:t>
            </a:r>
          </a:p>
          <a:p>
            <a:pPr marR="0" lvl="0" algn="l" defTabSz="913852" rtl="0" eaLnBrk="1" fontAlgn="auto" latinLnBrk="0" hangingPunct="1">
              <a:lnSpc>
                <a:spcPct val="100000"/>
              </a:lnSpc>
              <a:spcBef>
                <a:spcPts val="0"/>
              </a:spcBef>
              <a:spcAft>
                <a:spcPts val="0"/>
              </a:spcAft>
              <a:buClrTx/>
              <a:buSzTx/>
              <a:tabLst/>
              <a:defRPr/>
            </a:pPr>
            <a:r>
              <a:rPr kumimoji="0" lang="fr-FR"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rPr>
              <a:t>Sayfa 6, ‘</a:t>
            </a:r>
            <a:r>
              <a:rPr kumimoji="0" lang="fr-FR" sz="900" b="0" i="0" u="none" strike="noStrike" kern="1200" cap="none" spc="0" normalizeH="0" baseline="0" noProof="0" err="1">
                <a:ln>
                  <a:noFill/>
                </a:ln>
                <a:solidFill>
                  <a:schemeClr val="tx1"/>
                </a:solidFill>
                <a:effectLst/>
                <a:highlight>
                  <a:srgbClr val="FFFF00"/>
                </a:highlight>
                <a:uLnTx/>
                <a:uFillTx/>
                <a:latin typeface="Pfizer Diatype Office"/>
                <a:ea typeface="+mn-ea"/>
                <a:cs typeface="+mn-cs"/>
              </a:rPr>
              <a:t>Pnömokok</a:t>
            </a:r>
            <a:r>
              <a:rPr kumimoji="0" lang="fr-FR"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rPr>
              <a:t> Aşıları', para2, n1.</a:t>
            </a:r>
          </a:p>
          <a:p>
            <a:pPr marR="0" lvl="0" algn="l" defTabSz="913852" rtl="0" eaLnBrk="1" fontAlgn="auto" latinLnBrk="0" hangingPunct="1">
              <a:lnSpc>
                <a:spcPct val="100000"/>
              </a:lnSpc>
              <a:spcBef>
                <a:spcPts val="0"/>
              </a:spcBef>
              <a:spcAft>
                <a:spcPts val="0"/>
              </a:spcAft>
              <a:buClrTx/>
              <a:buSzTx/>
              <a:tabLst/>
              <a:defRPr/>
            </a:pPr>
            <a:endParaRPr lang="fr-FR">
              <a:solidFill>
                <a:schemeClr val="tx1"/>
              </a:solidFill>
              <a:highlight>
                <a:srgbClr val="FFFF00"/>
              </a:highlight>
              <a:latin typeface="Pfizer Diatype Office"/>
            </a:endParaRPr>
          </a:p>
          <a:p>
            <a:pPr defTabSz="913852">
              <a:defRPr/>
            </a:pPr>
            <a:r>
              <a:rPr kumimoji="0" lang="fr-FR"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rPr>
              <a:t>4. </a:t>
            </a:r>
            <a:r>
              <a:rPr lang="en-US" err="1">
                <a:solidFill>
                  <a:schemeClr val="tx1"/>
                </a:solidFill>
                <a:highlight>
                  <a:srgbClr val="FFFF00"/>
                </a:highlight>
                <a:latin typeface="Pfizer Diatype Office"/>
              </a:rPr>
              <a:t>Rajanala</a:t>
            </a:r>
            <a:r>
              <a:rPr lang="en-US">
                <a:solidFill>
                  <a:schemeClr val="tx1"/>
                </a:solidFill>
                <a:highlight>
                  <a:srgbClr val="FFFF00"/>
                </a:highlight>
                <a:latin typeface="Pfizer Diatype Office"/>
              </a:rPr>
              <a:t> K, Upadhyay AK. </a:t>
            </a:r>
            <a:r>
              <a:rPr lang="en-US" i="1">
                <a:solidFill>
                  <a:schemeClr val="tx1"/>
                </a:solidFill>
                <a:highlight>
                  <a:srgbClr val="FFFF00"/>
                </a:highlight>
                <a:latin typeface="Pfizer Diatype Office"/>
              </a:rPr>
              <a:t>Aşılar (Temel)</a:t>
            </a:r>
            <a:r>
              <a:rPr lang="en-US">
                <a:solidFill>
                  <a:schemeClr val="tx1"/>
                </a:solidFill>
                <a:highlight>
                  <a:srgbClr val="FFFF00"/>
                </a:highlight>
                <a:latin typeface="Pfizer Diatype Office"/>
              </a:rPr>
              <a:t>. 2024; 12(8):396.</a:t>
            </a:r>
          </a:p>
          <a:p>
            <a:pPr marR="0" lvl="0" algn="l" defTabSz="913852" rtl="0" eaLnBrk="1" fontAlgn="auto" latinLnBrk="0" hangingPunct="1">
              <a:lnSpc>
                <a:spcPct val="100000"/>
              </a:lnSpc>
              <a:spcBef>
                <a:spcPts val="0"/>
              </a:spcBef>
              <a:spcAft>
                <a:spcPts val="0"/>
              </a:spcAft>
              <a:buClrTx/>
              <a:buSzTx/>
              <a:tabLst/>
              <a:defRPr/>
            </a:pPr>
            <a:r>
              <a:rPr kumimoji="0" lang="fr-FR"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rPr>
              <a:t>Sayfa 2, paragraf 4, n7-8.</a:t>
            </a:r>
          </a:p>
          <a:p>
            <a:pPr marR="0" lvl="0" algn="l" defTabSz="913852" rtl="0" eaLnBrk="1" fontAlgn="auto" latinLnBrk="0" hangingPunct="1">
              <a:lnSpc>
                <a:spcPct val="100000"/>
              </a:lnSpc>
              <a:spcBef>
                <a:spcPts val="0"/>
              </a:spcBef>
              <a:spcAft>
                <a:spcPts val="0"/>
              </a:spcAft>
              <a:buClrTx/>
              <a:buSzTx/>
              <a:tabLst/>
              <a:defRPr/>
            </a:pPr>
            <a:endParaRPr lang="fr-FR">
              <a:solidFill>
                <a:schemeClr val="tx1"/>
              </a:solidFill>
              <a:highlight>
                <a:srgbClr val="FFFF00"/>
              </a:highlight>
              <a:latin typeface="Pfizer Diatype Office"/>
            </a:endParaRPr>
          </a:p>
          <a:p>
            <a:pPr marR="0" lvl="0" algn="l" defTabSz="913852" rtl="0" eaLnBrk="1" fontAlgn="auto" latinLnBrk="0" hangingPunct="1">
              <a:lnSpc>
                <a:spcPct val="100000"/>
              </a:lnSpc>
              <a:spcBef>
                <a:spcPts val="0"/>
              </a:spcBef>
              <a:spcAft>
                <a:spcPts val="0"/>
              </a:spcAft>
              <a:buClrTx/>
              <a:buSzTx/>
              <a:tabLst/>
              <a:defRPr/>
            </a:pPr>
            <a:r>
              <a:rPr kumimoji="0" lang="fr-FR"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rPr>
              <a:t>5. </a:t>
            </a:r>
            <a:r>
              <a:rPr kumimoji="0" lang="en-GB"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rPr>
              <a:t>EMA. Comirnay Omicron. Kısa ürün bilgileri. </a:t>
            </a:r>
          </a:p>
          <a:p>
            <a:pPr marR="0" lvl="0" algn="l" defTabSz="913852" rtl="0" eaLnBrk="1" fontAlgn="auto" latinLnBrk="0" hangingPunct="1">
              <a:lnSpc>
                <a:spcPct val="100000"/>
              </a:lnSpc>
              <a:spcBef>
                <a:spcPts val="0"/>
              </a:spcBef>
              <a:spcAft>
                <a:spcPts val="0"/>
              </a:spcAft>
              <a:buClrTx/>
              <a:buSzTx/>
              <a:tabLst/>
              <a:defRPr/>
            </a:pPr>
            <a:r>
              <a:rPr kumimoji="0" lang="fr-FR"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rPr>
              <a:t>Sayfa 31, ‘9. İlk </a:t>
            </a:r>
            <a:r>
              <a:rPr kumimoji="0" lang="fr-FR" sz="900" b="0" i="0" u="none" strike="noStrike" kern="1200" cap="none" spc="0" normalizeH="0" baseline="0" noProof="0" err="1">
                <a:ln>
                  <a:noFill/>
                </a:ln>
                <a:solidFill>
                  <a:schemeClr val="tx1"/>
                </a:solidFill>
                <a:effectLst/>
                <a:highlight>
                  <a:srgbClr val="FFFF00"/>
                </a:highlight>
                <a:uLnTx/>
                <a:uFillTx/>
                <a:latin typeface="Pfizer Diatype Office"/>
                <a:ea typeface="+mn-ea"/>
                <a:cs typeface="+mn-cs"/>
              </a:rPr>
              <a:t>Yetkilendirme</a:t>
            </a:r>
            <a:r>
              <a:rPr kumimoji="0" lang="fr-FR"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rPr>
              <a:t>/</a:t>
            </a:r>
            <a:r>
              <a:rPr kumimoji="0" lang="fr-FR" sz="900" b="0" i="0" u="none" strike="noStrike" kern="1200" cap="none" spc="0" normalizeH="0" baseline="0" noProof="0" err="1">
                <a:ln>
                  <a:noFill/>
                </a:ln>
                <a:solidFill>
                  <a:schemeClr val="tx1"/>
                </a:solidFill>
                <a:effectLst/>
                <a:highlight>
                  <a:srgbClr val="FFFF00"/>
                </a:highlight>
                <a:uLnTx/>
                <a:uFillTx/>
                <a:latin typeface="Pfizer Diatype Office"/>
                <a:ea typeface="+mn-ea"/>
                <a:cs typeface="+mn-cs"/>
              </a:rPr>
              <a:t>Yetki Yenileme</a:t>
            </a:r>
            <a:r>
              <a:rPr kumimoji="0" lang="fr-FR"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rPr>
              <a:t> Tarihi</a:t>
            </a:r>
            <a:r>
              <a:rPr kumimoji="0" lang="fr-FR" sz="900" b="0" i="0" u="none" strike="noStrike" kern="1200" cap="none" spc="0" normalizeH="0" baseline="0" noProof="0" err="1">
                <a:ln>
                  <a:noFill/>
                </a:ln>
                <a:solidFill>
                  <a:schemeClr val="tx1"/>
                </a:solidFill>
                <a:effectLst/>
                <a:highlight>
                  <a:srgbClr val="FFFF00"/>
                </a:highlight>
                <a:uLnTx/>
                <a:uFillTx/>
                <a:latin typeface="Pfizer Diatype Office"/>
                <a:ea typeface="+mn-ea"/>
                <a:cs typeface="+mn-cs"/>
              </a:rPr>
              <a:t> ‘Yetki', (ln1).</a:t>
            </a:r>
            <a:endParaRPr kumimoji="0" lang="fr-FR"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endParaRPr>
          </a:p>
        </p:txBody>
      </p:sp>
      <p:cxnSp>
        <p:nvCxnSpPr>
          <p:cNvPr id="16" name="Straight Connector 15">
            <a:extLst>
              <a:ext uri="{FF2B5EF4-FFF2-40B4-BE49-F238E27FC236}">
                <a16:creationId xmlns:a16="http://schemas.microsoft.com/office/drawing/2014/main" id="{31EB0CD7-64F8-A4C6-8E95-C9FE4A9A31BF}"/>
              </a:ext>
            </a:extLst>
          </p:cNvPr>
          <p:cNvCxnSpPr>
            <a:cxnSpLocks/>
            <a:stCxn id="14" idx="3"/>
            <a:endCxn id="15" idx="1"/>
          </p:cNvCxnSpPr>
          <p:nvPr/>
        </p:nvCxnSpPr>
        <p:spPr>
          <a:xfrm>
            <a:off x="5889914" y="3544584"/>
            <a:ext cx="653253" cy="193777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97409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8975" y="398463"/>
            <a:ext cx="5486400" cy="3086100"/>
          </a:xfrm>
        </p:spPr>
      </p:sp>
      <p:sp>
        <p:nvSpPr>
          <p:cNvPr id="3" name="Notes Placeholder 2"/>
          <p:cNvSpPr>
            <a:spLocks noGrp="1"/>
          </p:cNvSpPr>
          <p:nvPr>
            <p:ph type="body" idx="1"/>
          </p:nvPr>
        </p:nvSpPr>
        <p:spPr>
          <a:xfrm>
            <a:off x="685800" y="3656267"/>
            <a:ext cx="5486400" cy="360045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Key Poin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Among adults hospitalized with pneumococcal LRIs in the UK, ~71% of disease episodes occurred in adults aged ≥65 years, 65% in those at risk, and 29% in those considered at high risk</a:t>
            </a:r>
            <a:endParaRPr kumimoji="0" lang="en-US" sz="1200" b="0" i="0" u="none" strike="noStrike" kern="1200" cap="none" spc="0" normalizeH="0" baseline="3000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Reference</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err="1">
                <a:ln>
                  <a:noFill/>
                </a:ln>
                <a:solidFill>
                  <a:prstClr val="black"/>
                </a:solidFill>
                <a:effectLst/>
                <a:uLnTx/>
                <a:uFillTx/>
                <a:latin typeface="Aptos" panose="02110004020202020204"/>
                <a:ea typeface="+mn-ea"/>
                <a:cs typeface="+mn-cs"/>
              </a:rPr>
              <a:t>Hyams</a:t>
            </a: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 C, Lahuerta M, Theilacker C, et al. Surveillance of pneumococcal serotypes in adults </a:t>
            </a:r>
            <a:r>
              <a:rPr kumimoji="0" lang="en-US" sz="1200" b="0" i="0" u="none" strike="noStrike" kern="1200" cap="none" spc="0" normalizeH="0" baseline="0" noProof="0" err="1">
                <a:ln>
                  <a:noFill/>
                </a:ln>
                <a:solidFill>
                  <a:prstClr val="black"/>
                </a:solidFill>
                <a:effectLst/>
                <a:uLnTx/>
                <a:uFillTx/>
                <a:latin typeface="Aptos" panose="02110004020202020204"/>
                <a:ea typeface="+mn-ea"/>
                <a:cs typeface="+mn-cs"/>
              </a:rPr>
              <a:t>hospitalised</a:t>
            </a: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 with acute lower respiratory tract infection in Bristol, UK. </a:t>
            </a:r>
            <a:r>
              <a:rPr kumimoji="0" lang="en-US" sz="1200" b="0" i="1" u="none" strike="noStrike" kern="1200" cap="none" spc="0" normalizeH="0" baseline="0" noProof="0">
                <a:ln>
                  <a:noFill/>
                </a:ln>
                <a:solidFill>
                  <a:prstClr val="black"/>
                </a:solidFill>
                <a:effectLst/>
                <a:uLnTx/>
                <a:uFillTx/>
                <a:latin typeface="Aptos" panose="02110004020202020204"/>
                <a:ea typeface="+mn-ea"/>
                <a:cs typeface="+mn-cs"/>
              </a:rPr>
              <a:t>Vaccine.</a:t>
            </a: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 2024;42(7):1599-1607. </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endParaRPr kumimoji="0" lang="en-US" sz="1200" b="1" i="0" u="none" strike="noStrike" kern="1200" cap="none" spc="0" normalizeH="0" baseline="0" noProof="0">
              <a:ln>
                <a:noFill/>
              </a:ln>
              <a:solidFill>
                <a:srgbClr val="212121"/>
              </a:solidFill>
              <a:effectLst/>
              <a:highlight>
                <a:srgbClr val="FFFFFF"/>
              </a:highligh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Notes Placeholder 2">
            <a:extLst>
              <a:ext uri="{FF2B5EF4-FFF2-40B4-BE49-F238E27FC236}">
                <a16:creationId xmlns:a16="http://schemas.microsoft.com/office/drawing/2014/main" id="{AE6A4825-9345-25EC-E8F9-DC544CDB360F}"/>
              </a:ext>
            </a:extLst>
          </p:cNvPr>
          <p:cNvSpPr txBox="1">
            <a:spLocks/>
          </p:cNvSpPr>
          <p:nvPr/>
        </p:nvSpPr>
        <p:spPr>
          <a:xfrm>
            <a:off x="685800" y="3773532"/>
            <a:ext cx="5486400" cy="3600450"/>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1" i="0" u="none" strike="noStrike" kern="1200" cap="none" spc="0" normalizeH="0" baseline="0" noProof="0">
              <a:ln>
                <a:noFill/>
              </a:ln>
              <a:solidFill>
                <a:srgbClr val="212121"/>
              </a:solidFill>
              <a:effectLst/>
              <a:highlight>
                <a:srgbClr val="FFFFFF"/>
              </a:highlight>
              <a:uLnTx/>
              <a:uFillTx/>
              <a:latin typeface="Aptos" panose="02110004020202020204"/>
              <a:ea typeface="+mn-ea"/>
              <a:cs typeface="+mn-cs"/>
            </a:endParaRPr>
          </a:p>
        </p:txBody>
      </p:sp>
      <p:sp>
        <p:nvSpPr>
          <p:cNvPr id="8" name="Slide Number Placeholder 7">
            <a:extLst>
              <a:ext uri="{FF2B5EF4-FFF2-40B4-BE49-F238E27FC236}">
                <a16:creationId xmlns:a16="http://schemas.microsoft.com/office/drawing/2014/main" id="{7AE3D4F4-16DA-82FC-A04D-10C9567ADA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E2D300-DD52-4321-94DF-38A962E6148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16492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73063"/>
            <a:ext cx="5486400" cy="3086100"/>
          </a:xfrm>
        </p:spPr>
      </p:sp>
      <p:sp>
        <p:nvSpPr>
          <p:cNvPr id="3" name="Notes Placeholder 2"/>
          <p:cNvSpPr>
            <a:spLocks noGrp="1"/>
          </p:cNvSpPr>
          <p:nvPr>
            <p:ph type="body" idx="1"/>
          </p:nvPr>
        </p:nvSpPr>
        <p:spPr>
          <a:xfrm>
            <a:off x="685800" y="3625488"/>
            <a:ext cx="5486400" cy="6128112"/>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Key Poin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Pneumococcal disease includes both invasive and non-invasive disease</a:t>
            </a:r>
            <a:r>
              <a:rPr kumimoji="0" lang="en-US" sz="1200" b="0" i="0" u="none" strike="noStrike" kern="1200" cap="none" spc="0" normalizeH="0" baseline="30000" noProof="0">
                <a:ln>
                  <a:noFill/>
                </a:ln>
                <a:solidFill>
                  <a:prstClr val="black"/>
                </a:solidFill>
                <a:effectLst/>
                <a:uLnTx/>
                <a:uFillTx/>
                <a:latin typeface="Aptos" panose="02110004020202020204"/>
                <a:ea typeface="+mn-ea"/>
                <a:cs typeface="+mn-cs"/>
              </a:rPr>
              <a:t>1</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Pneumococcal pneumonia, the most common presentation of disease in adults, can be classified as </a:t>
            </a:r>
            <a:r>
              <a:rPr kumimoji="0" lang="en-US" sz="1200" b="0" i="0" u="none" strike="noStrike" kern="1200" cap="none" spc="0" normalizeH="0" baseline="0" noProof="0" err="1">
                <a:ln>
                  <a:noFill/>
                </a:ln>
                <a:solidFill>
                  <a:prstClr val="black"/>
                </a:solidFill>
                <a:effectLst/>
                <a:uLnTx/>
                <a:uFillTx/>
                <a:latin typeface="Aptos" panose="02110004020202020204"/>
                <a:ea typeface="+mn-ea"/>
                <a:cs typeface="+mn-cs"/>
              </a:rPr>
              <a:t>bacteremic</a:t>
            </a: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 (invasive) or non-</a:t>
            </a:r>
            <a:r>
              <a:rPr kumimoji="0" lang="en-US" sz="1200" b="0" i="0" u="none" strike="noStrike" kern="1200" cap="none" spc="0" normalizeH="0" baseline="0" noProof="0" err="1">
                <a:ln>
                  <a:noFill/>
                </a:ln>
                <a:solidFill>
                  <a:prstClr val="black"/>
                </a:solidFill>
                <a:effectLst/>
                <a:uLnTx/>
                <a:uFillTx/>
                <a:latin typeface="Aptos" panose="02110004020202020204"/>
                <a:ea typeface="+mn-ea"/>
                <a:cs typeface="+mn-cs"/>
              </a:rPr>
              <a:t>bacteremic</a:t>
            </a: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 (non-invasive)</a:t>
            </a:r>
            <a:r>
              <a:rPr kumimoji="0" lang="en-US" sz="1200" b="0" i="0" u="none" strike="noStrike" kern="1200" cap="none" spc="0" normalizeH="0" baseline="30000" noProof="0">
                <a:ln>
                  <a:noFill/>
                </a:ln>
                <a:solidFill>
                  <a:prstClr val="black"/>
                </a:solidFill>
                <a:effectLst/>
                <a:uLnTx/>
                <a:uFillTx/>
                <a:latin typeface="Aptos" panose="02110004020202020204"/>
                <a:ea typeface="+mn-ea"/>
                <a:cs typeface="+mn-cs"/>
              </a:rPr>
              <a:t>2</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Among adults aged ≥18 years with community-acquired pneumonia in Spain between 2016 and 2020, approximately 85% of pneumococcal pneumonia cases were non-bacteremic</a:t>
            </a:r>
            <a:r>
              <a:rPr kumimoji="0" lang="en-US" sz="1200" b="0" i="0" u="none" strike="noStrike" kern="1200" cap="none" spc="0" normalizeH="0" baseline="30000" noProof="0">
                <a:ln>
                  <a:noFill/>
                </a:ln>
                <a:solidFill>
                  <a:prstClr val="black"/>
                </a:solidFill>
                <a:effectLst/>
                <a:uLnTx/>
                <a:uFillTx/>
                <a:latin typeface="Aptos" panose="02110004020202020204"/>
                <a:ea typeface="+mn-ea"/>
                <a:cs typeface="+mn-cs"/>
              </a:rPr>
              <a:t>3</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References</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err="1">
                <a:ln>
                  <a:noFill/>
                </a:ln>
                <a:solidFill>
                  <a:prstClr val="black"/>
                </a:solidFill>
                <a:effectLst/>
                <a:highlight>
                  <a:srgbClr val="FFFFFF"/>
                </a:highlight>
                <a:uLnTx/>
                <a:uFillTx/>
                <a:latin typeface="Aptos" panose="02110004020202020204"/>
                <a:ea typeface="+mn-ea"/>
                <a:cs typeface="+mn-cs"/>
              </a:rPr>
              <a:t>Méroc</a:t>
            </a:r>
            <a:r>
              <a:rPr kumimoji="0" lang="en-US" sz="1200" b="0" i="0" u="none" strike="noStrike" kern="1200" cap="none" spc="0" normalizeH="0" baseline="0" noProof="0">
                <a:ln>
                  <a:noFill/>
                </a:ln>
                <a:solidFill>
                  <a:prstClr val="black"/>
                </a:solidFill>
                <a:effectLst/>
                <a:highlight>
                  <a:srgbClr val="FFFFFF"/>
                </a:highlight>
                <a:uLnTx/>
                <a:uFillTx/>
                <a:latin typeface="Aptos" panose="02110004020202020204"/>
                <a:ea typeface="+mn-ea"/>
                <a:cs typeface="+mn-cs"/>
              </a:rPr>
              <a:t> E, Fletcher MA, </a:t>
            </a:r>
            <a:r>
              <a:rPr kumimoji="0" lang="en-US" sz="1200" b="0" i="0" u="none" strike="noStrike" kern="1200" cap="none" spc="0" normalizeH="0" baseline="0" noProof="0" err="1">
                <a:ln>
                  <a:noFill/>
                </a:ln>
                <a:solidFill>
                  <a:prstClr val="black"/>
                </a:solidFill>
                <a:effectLst/>
                <a:highlight>
                  <a:srgbClr val="FFFFFF"/>
                </a:highlight>
                <a:uLnTx/>
                <a:uFillTx/>
                <a:latin typeface="Aptos" panose="02110004020202020204"/>
                <a:ea typeface="+mn-ea"/>
                <a:cs typeface="+mn-cs"/>
              </a:rPr>
              <a:t>Hanquet</a:t>
            </a:r>
            <a:r>
              <a:rPr kumimoji="0" lang="en-US" sz="1200" b="0" i="0" u="none" strike="noStrike" kern="1200" cap="none" spc="0" normalizeH="0" baseline="0" noProof="0">
                <a:ln>
                  <a:noFill/>
                </a:ln>
                <a:solidFill>
                  <a:prstClr val="black"/>
                </a:solidFill>
                <a:effectLst/>
                <a:highlight>
                  <a:srgbClr val="FFFFFF"/>
                </a:highlight>
                <a:uLnTx/>
                <a:uFillTx/>
                <a:latin typeface="Aptos" panose="02110004020202020204"/>
                <a:ea typeface="+mn-ea"/>
                <a:cs typeface="+mn-cs"/>
              </a:rPr>
              <a:t> G, et al. Systematic literature review of the epidemiological characteristics of pneumococcal disease caused by the additional serotypes covered by the 20-valent pneumococcal conjugate vaccine. </a:t>
            </a:r>
            <a:r>
              <a:rPr kumimoji="0" lang="en-US" sz="1200" b="0" i="1" u="none" strike="noStrike" kern="1200" cap="none" spc="0" normalizeH="0" baseline="0" noProof="0">
                <a:ln>
                  <a:noFill/>
                </a:ln>
                <a:solidFill>
                  <a:prstClr val="black"/>
                </a:solidFill>
                <a:effectLst/>
                <a:highlight>
                  <a:srgbClr val="FFFFFF"/>
                </a:highlight>
                <a:uLnTx/>
                <a:uFillTx/>
                <a:latin typeface="Aptos" panose="02110004020202020204"/>
                <a:ea typeface="+mn-ea"/>
                <a:cs typeface="+mn-cs"/>
              </a:rPr>
              <a:t>Microorganisms</a:t>
            </a:r>
            <a:r>
              <a:rPr kumimoji="0" lang="en-US" sz="1200" b="0" i="0" u="none" strike="noStrike" kern="1200" cap="none" spc="0" normalizeH="0" baseline="0" noProof="0">
                <a:ln>
                  <a:noFill/>
                </a:ln>
                <a:solidFill>
                  <a:prstClr val="black"/>
                </a:solidFill>
                <a:effectLst/>
                <a:highlight>
                  <a:srgbClr val="FFFFFF"/>
                </a:highlight>
                <a:uLnTx/>
                <a:uFillTx/>
                <a:latin typeface="Aptos" panose="02110004020202020204"/>
                <a:ea typeface="+mn-ea"/>
                <a:cs typeface="+mn-cs"/>
              </a:rPr>
              <a:t>. 2023;11(7):1816. </a:t>
            </a:r>
            <a:endParaRPr kumimoji="0" lang="en-US" sz="1200" b="1" i="0" u="none" strike="noStrike" kern="1200" cap="none" spc="0" normalizeH="0" baseline="0" noProof="0">
              <a:ln>
                <a:noFill/>
              </a:ln>
              <a:solidFill>
                <a:prstClr val="black"/>
              </a:solidFill>
              <a:effectLst/>
              <a:highlight>
                <a:srgbClr val="FFFFFF"/>
              </a:highlight>
              <a:uLnTx/>
              <a:uFillTx/>
              <a:latin typeface="Aptos" panose="02110004020202020204"/>
              <a:ea typeface="+mn-ea"/>
              <a:cs typeface="+mn-cs"/>
            </a:endParaRP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Centers for Disease Control and Prevention. Pneumococcal disease. In: </a:t>
            </a:r>
            <a:r>
              <a:rPr kumimoji="0" lang="en-US" sz="1200" b="0" i="0" u="none" strike="noStrike" kern="1200" cap="none" spc="0" normalizeH="0" baseline="0" noProof="0" err="1">
                <a:ln>
                  <a:noFill/>
                </a:ln>
                <a:solidFill>
                  <a:prstClr val="black"/>
                </a:solidFill>
                <a:effectLst/>
                <a:uLnTx/>
                <a:uFillTx/>
                <a:latin typeface="Aptos" panose="02110004020202020204"/>
                <a:ea typeface="+mn-ea"/>
                <a:cs typeface="+mn-cs"/>
              </a:rPr>
              <a:t>Gierke</a:t>
            </a: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 R, </a:t>
            </a:r>
            <a:r>
              <a:rPr kumimoji="0" lang="en-US" sz="1200" b="0" i="0" u="none" strike="noStrike" kern="1200" cap="none" spc="0" normalizeH="0" baseline="0" noProof="0" err="1">
                <a:ln>
                  <a:noFill/>
                </a:ln>
                <a:solidFill>
                  <a:prstClr val="black"/>
                </a:solidFill>
                <a:effectLst/>
                <a:uLnTx/>
                <a:uFillTx/>
                <a:latin typeface="Aptos" panose="02110004020202020204"/>
                <a:ea typeface="+mn-ea"/>
                <a:cs typeface="+mn-cs"/>
              </a:rPr>
              <a:t>Wodi</a:t>
            </a: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 P, Kobayashi M, eds. </a:t>
            </a:r>
            <a:r>
              <a:rPr kumimoji="0" lang="en-US" sz="1200" b="0" i="1" u="none" strike="noStrike" kern="1200" cap="none" spc="0" normalizeH="0" baseline="0" noProof="0">
                <a:ln>
                  <a:noFill/>
                </a:ln>
                <a:solidFill>
                  <a:prstClr val="black"/>
                </a:solidFill>
                <a:effectLst/>
                <a:uLnTx/>
                <a:uFillTx/>
                <a:latin typeface="Aptos" panose="02110004020202020204"/>
                <a:ea typeface="+mn-ea"/>
                <a:cs typeface="+mn-cs"/>
              </a:rPr>
              <a:t>Epidemiology and Prevention of Vaccine-Preventable Diseases</a:t>
            </a: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 14th ed. Washington, DC: Public Health Foundation; 2021:255-274. </a:t>
            </a:r>
            <a:endParaRPr kumimoji="0" lang="en-US" sz="1200" b="1" i="0" u="none" strike="noStrike" kern="1200" cap="none" spc="0" normalizeH="0" baseline="0" noProof="0">
              <a:ln>
                <a:noFill/>
              </a:ln>
              <a:solidFill>
                <a:prstClr val="black"/>
              </a:solidFill>
              <a:effectLst/>
              <a:uLnTx/>
              <a:uFillTx/>
              <a:latin typeface="Aptos" panose="02110004020202020204"/>
              <a:ea typeface="+mn-ea"/>
              <a:cs typeface="+mn-cs"/>
            </a:endParaRP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Menendez R, Torres A, Espana PP, et al. Pneumococcal serotypes associated with community-acquired pneumonia hospitalizations in adults in Spain, 2016–2020: The CAPA Study. </a:t>
            </a:r>
            <a:r>
              <a:rPr kumimoji="0" lang="en-US" sz="1200" b="0" i="1" u="none" strike="noStrike" kern="1200" cap="none" spc="0" normalizeH="0" baseline="0" noProof="0">
                <a:ln>
                  <a:noFill/>
                </a:ln>
                <a:solidFill>
                  <a:prstClr val="black"/>
                </a:solidFill>
                <a:effectLst/>
                <a:uLnTx/>
                <a:uFillTx/>
                <a:latin typeface="Aptos" panose="02110004020202020204"/>
                <a:ea typeface="+mn-ea"/>
                <a:cs typeface="+mn-cs"/>
              </a:rPr>
              <a:t>Microorganisms</a:t>
            </a: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 2023;11(11):2781.</a:t>
            </a:r>
          </a:p>
        </p:txBody>
      </p:sp>
      <p:sp>
        <p:nvSpPr>
          <p:cNvPr id="8" name="Slide Number Placeholder 7">
            <a:extLst>
              <a:ext uri="{FF2B5EF4-FFF2-40B4-BE49-F238E27FC236}">
                <a16:creationId xmlns:a16="http://schemas.microsoft.com/office/drawing/2014/main" id="{D6D849F8-F4B6-8B6E-8F7E-45835DAF044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E2D300-DD52-4321-94DF-38A962E6148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58673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22275"/>
            <a:ext cx="5486400" cy="3086100"/>
          </a:xfrm>
        </p:spPr>
      </p:sp>
      <p:sp>
        <p:nvSpPr>
          <p:cNvPr id="3" name="Notes Placeholder 2"/>
          <p:cNvSpPr>
            <a:spLocks noGrp="1"/>
          </p:cNvSpPr>
          <p:nvPr>
            <p:ph type="body" idx="1"/>
          </p:nvPr>
        </p:nvSpPr>
        <p:spPr>
          <a:xfrm>
            <a:off x="685800" y="3669028"/>
            <a:ext cx="5486400" cy="5894072"/>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Key Poin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Adults ≥50 years of age are at increased risk for pneumonia compared with younger adults</a:t>
            </a:r>
          </a:p>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Adults aged 50–64 years have a 3X and 2X greater risk of IPD and  pneumococcal pneumonia, compared with adults aged 18–49 years </a:t>
            </a:r>
          </a:p>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In adults aged ≥65 years, the risk of IPD and pneumococcal pneumonia is 8X and 4X higher than in younger adults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In addition to age, adults ≥50 years of age with chronic medical conditions like diabetes, CHD, and CLD have a 3X–8X higher risk of pneumococcal pneumonia compared with healthy individuals of the same age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Reference</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nl-NL" sz="1200" b="0" i="0" u="none" strike="noStrike" kern="1200" cap="none" spc="0" normalizeH="0" baseline="0" noProof="0">
                <a:ln>
                  <a:noFill/>
                </a:ln>
                <a:solidFill>
                  <a:prstClr val="black"/>
                </a:solidFill>
                <a:effectLst/>
                <a:uLnTx/>
                <a:uFillTx/>
                <a:latin typeface="Aptos" panose="02110004020202020204"/>
                <a:ea typeface="+mn-ea"/>
                <a:cs typeface="+mn-cs"/>
              </a:rPr>
              <a:t>Grant LR, Meche A, McGrath L, et al. </a:t>
            </a: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Risk of pneumococcal disease in US adults by age and risk profile.</a:t>
            </a:r>
            <a:r>
              <a:rPr kumimoji="0" lang="nl-NL" sz="1200" b="0" i="0" u="none" strike="noStrike" kern="1200" cap="none" spc="0" normalizeH="0" baseline="0" noProof="0">
                <a:ln>
                  <a:noFill/>
                </a:ln>
                <a:solidFill>
                  <a:prstClr val="black"/>
                </a:solidFill>
                <a:effectLst/>
                <a:uLnTx/>
                <a:uFillTx/>
                <a:latin typeface="Aptos" panose="02110004020202020204"/>
                <a:ea typeface="+mn-ea"/>
                <a:cs typeface="+mn-cs"/>
              </a:rPr>
              <a:t> </a:t>
            </a:r>
            <a:r>
              <a:rPr kumimoji="0" lang="nl-NL" sz="1200" b="0" i="1" u="none" strike="noStrike" kern="1200" cap="none" spc="0" normalizeH="0" baseline="0" noProof="0">
                <a:ln>
                  <a:noFill/>
                </a:ln>
                <a:solidFill>
                  <a:prstClr val="black"/>
                </a:solidFill>
                <a:effectLst/>
                <a:uLnTx/>
                <a:uFillTx/>
                <a:latin typeface="Aptos" panose="02110004020202020204"/>
                <a:ea typeface="+mn-ea"/>
                <a:cs typeface="+mn-cs"/>
              </a:rPr>
              <a:t>Open Forum Infect Dis</a:t>
            </a:r>
            <a:r>
              <a:rPr kumimoji="0" lang="nl-NL" sz="1200" b="0" i="0" u="none" strike="noStrike" kern="1200" cap="none" spc="0" normalizeH="0" baseline="0" noProof="0">
                <a:ln>
                  <a:noFill/>
                </a:ln>
                <a:solidFill>
                  <a:prstClr val="black"/>
                </a:solidFill>
                <a:effectLst/>
                <a:uLnTx/>
                <a:uFillTx/>
                <a:latin typeface="Aptos" panose="02110004020202020204"/>
                <a:ea typeface="+mn-ea"/>
                <a:cs typeface="+mn-cs"/>
              </a:rPr>
              <a:t>. 2023;10(5):ofad192.</a:t>
            </a: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Slide Number Placeholder 5">
            <a:extLst>
              <a:ext uri="{FF2B5EF4-FFF2-40B4-BE49-F238E27FC236}">
                <a16:creationId xmlns:a16="http://schemas.microsoft.com/office/drawing/2014/main" id="{E039A4AC-9583-2A1F-DD81-F7DEE0BB2F1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E2D300-DD52-4321-94DF-38A962E6148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747015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95300"/>
            <a:ext cx="5486400" cy="3086100"/>
          </a:xfrm>
        </p:spPr>
      </p:sp>
      <p:sp>
        <p:nvSpPr>
          <p:cNvPr id="3" name="Notes Placeholder 2"/>
          <p:cNvSpPr>
            <a:spLocks noGrp="1"/>
          </p:cNvSpPr>
          <p:nvPr>
            <p:ph type="body" idx="1"/>
          </p:nvPr>
        </p:nvSpPr>
        <p:spPr>
          <a:xfrm>
            <a:off x="685800" y="3752850"/>
            <a:ext cx="5486400" cy="567055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ptos" panose="02110004020202020204"/>
                <a:ea typeface="+mn-ea"/>
                <a:cs typeface="+mn-cs"/>
              </a:rPr>
              <a:t>Key Poin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ptos" panose="02110004020202020204"/>
                <a:ea typeface="+mn-ea"/>
                <a:cs typeface="+mn-cs"/>
              </a:rPr>
              <a:t>Hospitalization for CAP may lead to significant outcomes, including longer ICU stays,</a:t>
            </a:r>
            <a:r>
              <a:rPr kumimoji="0" lang="en-US" sz="1100" b="0" i="0" u="none" strike="noStrike" kern="1200" cap="none" spc="0" normalizeH="0" baseline="30000" noProof="0">
                <a:ln>
                  <a:noFill/>
                </a:ln>
                <a:solidFill>
                  <a:prstClr val="black"/>
                </a:solidFill>
                <a:effectLst/>
                <a:uLnTx/>
                <a:uFillTx/>
                <a:latin typeface="Aptos" panose="02110004020202020204"/>
                <a:ea typeface="+mn-ea"/>
                <a:cs typeface="+mn-cs"/>
              </a:rPr>
              <a:t>1,2</a:t>
            </a:r>
            <a:r>
              <a:rPr kumimoji="0" lang="en-US" sz="1100" b="0" i="0" u="none" strike="noStrike" kern="1200" cap="none" spc="0" normalizeH="0" baseline="0" noProof="0">
                <a:ln>
                  <a:noFill/>
                </a:ln>
                <a:solidFill>
                  <a:prstClr val="black"/>
                </a:solidFill>
                <a:effectLst/>
                <a:uLnTx/>
                <a:uFillTx/>
                <a:latin typeface="Aptos" panose="02110004020202020204"/>
                <a:ea typeface="+mn-ea"/>
                <a:cs typeface="+mn-cs"/>
              </a:rPr>
              <a:t> increased risk of MACE,</a:t>
            </a:r>
            <a:r>
              <a:rPr kumimoji="0" lang="en-US" sz="1100" b="0" i="0" u="none" strike="noStrike" kern="1200" cap="none" spc="0" normalizeH="0" baseline="30000" noProof="0">
                <a:ln>
                  <a:noFill/>
                </a:ln>
                <a:solidFill>
                  <a:prstClr val="black"/>
                </a:solidFill>
                <a:effectLst/>
                <a:uLnTx/>
                <a:uFillTx/>
                <a:latin typeface="Aptos" panose="02110004020202020204"/>
                <a:ea typeface="+mn-ea"/>
                <a:cs typeface="+mn-cs"/>
              </a:rPr>
              <a:t>3</a:t>
            </a:r>
            <a:r>
              <a:rPr kumimoji="0" lang="en-US" sz="1100" b="0" i="0" u="none" strike="noStrike" kern="1200" cap="none" spc="0" normalizeH="0" baseline="0" noProof="0">
                <a:ln>
                  <a:noFill/>
                </a:ln>
                <a:solidFill>
                  <a:prstClr val="black"/>
                </a:solidFill>
                <a:effectLst/>
                <a:uLnTx/>
                <a:uFillTx/>
                <a:latin typeface="Aptos" panose="02110004020202020204"/>
                <a:ea typeface="+mn-ea"/>
                <a:cs typeface="+mn-cs"/>
              </a:rPr>
              <a:t> lingering symptoms post-discharge,</a:t>
            </a:r>
            <a:r>
              <a:rPr kumimoji="0" lang="en-US" sz="1100" b="0" i="0" u="none" strike="noStrike" kern="1200" cap="none" spc="0" normalizeH="0" baseline="30000" noProof="0">
                <a:ln>
                  <a:noFill/>
                </a:ln>
                <a:solidFill>
                  <a:prstClr val="black"/>
                </a:solidFill>
                <a:effectLst/>
                <a:uLnTx/>
                <a:uFillTx/>
                <a:latin typeface="Aptos" panose="02110004020202020204"/>
                <a:ea typeface="+mn-ea"/>
                <a:cs typeface="+mn-cs"/>
              </a:rPr>
              <a:t>4</a:t>
            </a:r>
            <a:r>
              <a:rPr kumimoji="0" lang="en-US" sz="1100" b="0" i="0" u="none" strike="noStrike" kern="1200" cap="none" spc="0" normalizeH="0" baseline="0" noProof="0">
                <a:ln>
                  <a:noFill/>
                </a:ln>
                <a:solidFill>
                  <a:prstClr val="black"/>
                </a:solidFill>
                <a:effectLst/>
                <a:uLnTx/>
                <a:uFillTx/>
                <a:latin typeface="Aptos" panose="02110004020202020204"/>
                <a:ea typeface="+mn-ea"/>
                <a:cs typeface="+mn-cs"/>
              </a:rPr>
              <a:t> increased risk of subsequent CAP episodes</a:t>
            </a:r>
            <a:r>
              <a:rPr kumimoji="0" lang="en-US" sz="1100" b="0" i="0" u="none" strike="noStrike" kern="1200" cap="none" spc="0" normalizeH="0" baseline="30000" noProof="0">
                <a:ln>
                  <a:noFill/>
                </a:ln>
                <a:solidFill>
                  <a:prstClr val="black"/>
                </a:solidFill>
                <a:effectLst/>
                <a:uLnTx/>
                <a:uFillTx/>
                <a:latin typeface="Aptos" panose="02110004020202020204"/>
                <a:ea typeface="+mn-ea"/>
                <a:cs typeface="+mn-cs"/>
              </a:rPr>
              <a:t> </a:t>
            </a:r>
            <a:r>
              <a:rPr kumimoji="0" lang="en-US" sz="1100" b="0" i="0" u="none" strike="noStrike" kern="1200" cap="none" spc="0" normalizeH="0" baseline="0" noProof="0">
                <a:ln>
                  <a:noFill/>
                </a:ln>
                <a:solidFill>
                  <a:prstClr val="black"/>
                </a:solidFill>
                <a:effectLst/>
                <a:uLnTx/>
                <a:uFillTx/>
                <a:latin typeface="Aptos" panose="02110004020202020204"/>
                <a:ea typeface="+mn-ea"/>
                <a:cs typeface="+mn-cs"/>
              </a:rPr>
              <a:t>or re-hospitalization for CAP,</a:t>
            </a:r>
            <a:r>
              <a:rPr kumimoji="0" lang="en-US" sz="1100" b="0" i="0" u="none" strike="noStrike" kern="1200" cap="none" spc="0" normalizeH="0" baseline="30000" noProof="0">
                <a:ln>
                  <a:noFill/>
                </a:ln>
                <a:solidFill>
                  <a:prstClr val="black"/>
                </a:solidFill>
                <a:effectLst/>
                <a:uLnTx/>
                <a:uFillTx/>
                <a:latin typeface="Aptos" panose="02110004020202020204"/>
                <a:ea typeface="+mn-ea"/>
                <a:cs typeface="+mn-cs"/>
              </a:rPr>
              <a:t>5</a:t>
            </a:r>
            <a:r>
              <a:rPr kumimoji="0" lang="en-US" sz="1100" b="0" i="0" u="none" strike="noStrike" kern="1200" cap="none" spc="0" normalizeH="0" baseline="0" noProof="0">
                <a:ln>
                  <a:noFill/>
                </a:ln>
                <a:solidFill>
                  <a:prstClr val="black"/>
                </a:solidFill>
                <a:effectLst/>
                <a:uLnTx/>
                <a:uFillTx/>
                <a:latin typeface="Aptos" panose="02110004020202020204"/>
                <a:ea typeface="+mn-ea"/>
                <a:cs typeface="+mn-cs"/>
              </a:rPr>
              <a:t> and reduced long-term survival</a:t>
            </a:r>
            <a:r>
              <a:rPr kumimoji="0" lang="en-US" sz="1100" b="0" i="0" u="none" strike="noStrike" kern="1200" cap="none" spc="0" normalizeH="0" baseline="30000" noProof="0">
                <a:ln>
                  <a:noFill/>
                </a:ln>
                <a:solidFill>
                  <a:prstClr val="black"/>
                </a:solidFill>
                <a:effectLst/>
                <a:uLnTx/>
                <a:uFillTx/>
                <a:latin typeface="Aptos" panose="02110004020202020204"/>
                <a:ea typeface="+mn-ea"/>
                <a:cs typeface="+mn-cs"/>
              </a:rPr>
              <a:t>6</a:t>
            </a:r>
            <a:r>
              <a:rPr kumimoji="0" lang="en-US" sz="1100" b="0" i="0" u="none" strike="noStrike" kern="1200" cap="none" spc="0" normalizeH="0" baseline="0" noProof="0">
                <a:ln>
                  <a:noFill/>
                </a:ln>
                <a:solidFill>
                  <a:prstClr val="black"/>
                </a:solidFill>
                <a:effectLst/>
                <a:uLnTx/>
                <a:uFillTx/>
                <a:latin typeface="Aptos" panose="02110004020202020204"/>
                <a:ea typeface="+mn-ea"/>
                <a:cs typeface="+mn-cs"/>
              </a:rPr>
              <a:t> or death</a:t>
            </a:r>
            <a:r>
              <a:rPr kumimoji="0" lang="en-US" sz="1100" b="0" i="0" u="none" strike="noStrike" kern="1200" cap="none" spc="0" normalizeH="0" baseline="30000" noProof="0">
                <a:ln>
                  <a:noFill/>
                </a:ln>
                <a:solidFill>
                  <a:prstClr val="black"/>
                </a:solidFill>
                <a:effectLst/>
                <a:uLnTx/>
                <a:uFillTx/>
                <a:latin typeface="Aptos" panose="02110004020202020204"/>
                <a:ea typeface="+mn-ea"/>
                <a:cs typeface="+mn-cs"/>
              </a:rPr>
              <a:t>1,7</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ptos" panose="02110004020202020204"/>
                <a:ea typeface="+mn-ea"/>
                <a:cs typeface="+mn-cs"/>
              </a:rPr>
              <a:t>In adults with chronic medical conditions, CAP episodes may increase exacerbations of pre-existing conditions,</a:t>
            </a:r>
            <a:r>
              <a:rPr kumimoji="0" lang="en-US" sz="1100" b="0" i="0" u="none" strike="noStrike" kern="1200" cap="none" spc="0" normalizeH="0" baseline="30000" noProof="0">
                <a:ln>
                  <a:noFill/>
                </a:ln>
                <a:solidFill>
                  <a:prstClr val="black"/>
                </a:solidFill>
                <a:effectLst/>
                <a:uLnTx/>
                <a:uFillTx/>
                <a:latin typeface="Aptos" panose="02110004020202020204"/>
                <a:ea typeface="+mn-ea"/>
                <a:cs typeface="+mn-cs"/>
              </a:rPr>
              <a:t>8</a:t>
            </a:r>
            <a:r>
              <a:rPr kumimoji="0" lang="en-US" sz="1100" b="0" i="0" u="none" strike="noStrike" kern="1200" cap="none" spc="0" normalizeH="0" baseline="0" noProof="0">
                <a:ln>
                  <a:noFill/>
                </a:ln>
                <a:solidFill>
                  <a:prstClr val="black"/>
                </a:solidFill>
                <a:effectLst/>
                <a:uLnTx/>
                <a:uFillTx/>
                <a:latin typeface="Aptos" panose="02110004020202020204"/>
                <a:ea typeface="+mn-ea"/>
                <a:cs typeface="+mn-cs"/>
              </a:rPr>
              <a:t> severity and duration of comorbid symptoms,</a:t>
            </a:r>
            <a:r>
              <a:rPr kumimoji="0" lang="en-US" sz="1100" b="0" i="0" u="none" strike="noStrike" kern="1200" cap="none" spc="0" normalizeH="0" baseline="30000" noProof="0">
                <a:ln>
                  <a:noFill/>
                </a:ln>
                <a:solidFill>
                  <a:prstClr val="black"/>
                </a:solidFill>
                <a:effectLst/>
                <a:uLnTx/>
                <a:uFillTx/>
                <a:latin typeface="Aptos" panose="02110004020202020204"/>
                <a:ea typeface="+mn-ea"/>
                <a:cs typeface="+mn-cs"/>
              </a:rPr>
              <a:t>9</a:t>
            </a:r>
            <a:r>
              <a:rPr kumimoji="0" lang="en-US" sz="1100" b="0" i="0" u="none" strike="noStrike" kern="1200" cap="none" spc="0" normalizeH="0" baseline="0" noProof="0">
                <a:ln>
                  <a:noFill/>
                </a:ln>
                <a:solidFill>
                  <a:prstClr val="black"/>
                </a:solidFill>
                <a:effectLst/>
                <a:uLnTx/>
                <a:uFillTx/>
                <a:latin typeface="Aptos" panose="02110004020202020204"/>
                <a:ea typeface="+mn-ea"/>
                <a:cs typeface="+mn-cs"/>
              </a:rPr>
              <a:t> and risk of hospital readmission</a:t>
            </a:r>
            <a:r>
              <a:rPr kumimoji="0" lang="en-US" sz="1100" b="0" i="0" u="none" strike="noStrike" kern="1200" cap="none" spc="0" normalizeH="0" baseline="30000" noProof="0">
                <a:ln>
                  <a:noFill/>
                </a:ln>
                <a:solidFill>
                  <a:prstClr val="black"/>
                </a:solidFill>
                <a:effectLst/>
                <a:uLnTx/>
                <a:uFillTx/>
                <a:latin typeface="Aptos" panose="02110004020202020204"/>
                <a:ea typeface="+mn-ea"/>
                <a:cs typeface="+mn-cs"/>
              </a:rPr>
              <a:t>10</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Aptos" panose="02110004020202020204"/>
                <a:ea typeface="+mn-ea"/>
                <a:cs typeface="+mn-cs"/>
              </a:rPr>
              <a:t>Referenc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Arnold FW, Reyes Vega AM, </a:t>
            </a:r>
            <a:r>
              <a:rPr kumimoji="0" lang="en-US" sz="800" b="0" i="0" u="none" strike="noStrike" kern="1200" cap="none" spc="0" normalizeH="0" baseline="0" noProof="0" err="1">
                <a:ln>
                  <a:noFill/>
                </a:ln>
                <a:solidFill>
                  <a:prstClr val="black"/>
                </a:solidFill>
                <a:effectLst/>
                <a:uLnTx/>
                <a:uFillTx/>
                <a:latin typeface="Aptos" panose="02110004020202020204"/>
                <a:ea typeface="+mn-ea"/>
                <a:cs typeface="+mn-cs"/>
              </a:rPr>
              <a:t>Salunkhe</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V, et al. Older adults hospitalized for pneumonia in the United States: incidence, epidemiology, and outcomes. </a:t>
            </a:r>
            <a:r>
              <a:rPr kumimoji="0" lang="en-US" sz="800" b="0" i="1" u="none" strike="noStrike" kern="1200" cap="none" spc="0" normalizeH="0" baseline="0" noProof="0">
                <a:ln>
                  <a:noFill/>
                </a:ln>
                <a:solidFill>
                  <a:prstClr val="black"/>
                </a:solidFill>
                <a:effectLst/>
                <a:uLnTx/>
                <a:uFillTx/>
                <a:latin typeface="Aptos" panose="02110004020202020204"/>
                <a:ea typeface="+mn-ea"/>
                <a:cs typeface="+mn-cs"/>
              </a:rPr>
              <a:t>J Am </a:t>
            </a:r>
            <a:r>
              <a:rPr kumimoji="0" lang="en-US" sz="800" b="0" i="1" u="none" strike="noStrike" kern="1200" cap="none" spc="0" normalizeH="0" baseline="0" noProof="0" err="1">
                <a:ln>
                  <a:noFill/>
                </a:ln>
                <a:solidFill>
                  <a:prstClr val="black"/>
                </a:solidFill>
                <a:effectLst/>
                <a:uLnTx/>
                <a:uFillTx/>
                <a:latin typeface="Aptos" panose="02110004020202020204"/>
                <a:ea typeface="+mn-ea"/>
                <a:cs typeface="+mn-cs"/>
              </a:rPr>
              <a:t>Geriatr</a:t>
            </a:r>
            <a:r>
              <a:rPr kumimoji="0" lang="en-US" sz="800" b="0" i="1" u="none" strike="noStrike" kern="1200" cap="none" spc="0" normalizeH="0" baseline="0" noProof="0">
                <a:ln>
                  <a:noFill/>
                </a:ln>
                <a:solidFill>
                  <a:prstClr val="black"/>
                </a:solidFill>
                <a:effectLst/>
                <a:uLnTx/>
                <a:uFillTx/>
                <a:latin typeface="Aptos" panose="02110004020202020204"/>
                <a:ea typeface="+mn-ea"/>
                <a:cs typeface="+mn-cs"/>
              </a:rPr>
              <a:t> Soc</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2020;68(5):1007-1014.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Torres A, Menendez R, Espana PP, et al. The evolution and distribution of pneumococcal serotypes in adults hospitalized with community-acquired pneumonia in Spain using a serotype-specific urinary antigen detection test: the CAPA study, 2011–2018. </a:t>
            </a:r>
            <a:r>
              <a:rPr kumimoji="0" lang="en-US" sz="800" b="0" i="1" u="none" strike="noStrike" kern="1200" cap="none" spc="0" normalizeH="0" baseline="0" noProof="0">
                <a:ln>
                  <a:noFill/>
                </a:ln>
                <a:solidFill>
                  <a:prstClr val="black"/>
                </a:solidFill>
                <a:effectLst/>
                <a:uLnTx/>
                <a:uFillTx/>
                <a:latin typeface="Aptos" panose="02110004020202020204"/>
                <a:ea typeface="+mn-ea"/>
                <a:cs typeface="+mn-cs"/>
              </a:rPr>
              <a:t>Clin Infect Dis</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2021;73(6):1075-1085. </a:t>
            </a:r>
            <a:endParaRPr kumimoji="0" lang="en-US" sz="800" b="1" i="0" u="none" strike="noStrike" kern="1200" cap="none" spc="0" normalizeH="0" baseline="0" noProof="0">
              <a:ln>
                <a:noFill/>
              </a:ln>
              <a:solidFill>
                <a:prstClr val="black"/>
              </a:solidFill>
              <a:effectLst/>
              <a:uLnTx/>
              <a:uFillTx/>
              <a:latin typeface="Aptos" panose="021100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Reyes LF, Restrepo MI, Hinojosa CA, et al</a:t>
            </a:r>
            <a:r>
              <a:rPr kumimoji="0" lang="en-US" sz="800" b="0" i="1" u="none" strike="noStrike" kern="1200" cap="none" spc="0" normalizeH="0" baseline="0" noProof="0">
                <a:ln>
                  <a:noFill/>
                </a:ln>
                <a:solidFill>
                  <a:prstClr val="black"/>
                </a:solidFill>
                <a:effectLst/>
                <a:uLnTx/>
                <a:uFillTx/>
                <a:latin typeface="Aptos" panose="02110004020202020204"/>
                <a:ea typeface="+mn-ea"/>
                <a:cs typeface="+mn-cs"/>
              </a:rPr>
              <a:t>. </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Severe pneumococcal pneumonia causes acute cardiac toxicity and subsequent cardiac remodeling. </a:t>
            </a:r>
            <a:r>
              <a:rPr kumimoji="0" lang="en-US" sz="800" b="0" i="1" u="none" strike="noStrike" kern="1200" cap="none" spc="0" normalizeH="0" baseline="0" noProof="0">
                <a:ln>
                  <a:noFill/>
                </a:ln>
                <a:solidFill>
                  <a:prstClr val="black"/>
                </a:solidFill>
                <a:effectLst/>
                <a:uLnTx/>
                <a:uFillTx/>
                <a:latin typeface="Aptos" panose="02110004020202020204"/>
                <a:ea typeface="+mn-ea"/>
                <a:cs typeface="+mn-cs"/>
              </a:rPr>
              <a:t>Am J Respir Crit Care Med</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2017;196(5):609-620. </a:t>
            </a:r>
            <a:endParaRPr kumimoji="0" lang="en-US" sz="800" b="1" i="0" u="none" strike="noStrike" kern="0" cap="none" spc="0" normalizeH="0" baseline="0" noProof="0">
              <a:ln>
                <a:noFill/>
              </a:ln>
              <a:solidFill>
                <a:prstClr val="black"/>
              </a:solidFill>
              <a:effectLst/>
              <a:uLnTx/>
              <a:uFillTx/>
              <a:latin typeface="Aptos" panose="021100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err="1">
                <a:ln>
                  <a:noFill/>
                </a:ln>
                <a:solidFill>
                  <a:prstClr val="black"/>
                </a:solidFill>
                <a:effectLst/>
                <a:uLnTx/>
                <a:uFillTx/>
                <a:latin typeface="Aptos" panose="02110004020202020204"/>
                <a:ea typeface="+mn-ea"/>
                <a:cs typeface="+mn-cs"/>
              </a:rPr>
              <a:t>Tsoumani</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E, Carter JA, </a:t>
            </a:r>
            <a:r>
              <a:rPr kumimoji="0" lang="en-US" sz="800" b="0" i="0" u="none" strike="noStrike" kern="1200" cap="none" spc="0" normalizeH="0" baseline="0" noProof="0" err="1">
                <a:ln>
                  <a:noFill/>
                </a:ln>
                <a:solidFill>
                  <a:prstClr val="black"/>
                </a:solidFill>
                <a:effectLst/>
                <a:uLnTx/>
                <a:uFillTx/>
                <a:latin typeface="Aptos" panose="02110004020202020204"/>
                <a:ea typeface="+mn-ea"/>
                <a:cs typeface="+mn-cs"/>
              </a:rPr>
              <a:t>Salomonsson</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S, Stephens JM, </a:t>
            </a:r>
            <a:r>
              <a:rPr kumimoji="0" lang="en-US" sz="800" b="0" i="0" u="none" strike="noStrike" kern="1200" cap="none" spc="0" normalizeH="0" baseline="0" noProof="0" err="1">
                <a:ln>
                  <a:noFill/>
                </a:ln>
                <a:solidFill>
                  <a:prstClr val="black"/>
                </a:solidFill>
                <a:effectLst/>
                <a:uLnTx/>
                <a:uFillTx/>
                <a:latin typeface="Aptos" panose="02110004020202020204"/>
                <a:ea typeface="+mn-ea"/>
                <a:cs typeface="+mn-cs"/>
              </a:rPr>
              <a:t>Bencina</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G. Clinical, economic, and humanistic burden of community acquired pneumonia in Europe: a systematic literature review. </a:t>
            </a:r>
            <a:r>
              <a:rPr kumimoji="0" lang="en-US" sz="800" b="0" i="1" u="none" strike="noStrike" kern="1200" cap="none" spc="0" normalizeH="0" baseline="0" noProof="0">
                <a:ln>
                  <a:noFill/>
                </a:ln>
                <a:solidFill>
                  <a:prstClr val="black"/>
                </a:solidFill>
                <a:effectLst/>
                <a:uLnTx/>
                <a:uFillTx/>
                <a:latin typeface="Aptos" panose="02110004020202020204"/>
                <a:ea typeface="+mn-ea"/>
                <a:cs typeface="+mn-cs"/>
              </a:rPr>
              <a:t>Expert Rev Vaccines. </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2023;22(1):876-884. </a:t>
            </a:r>
            <a:endParaRPr kumimoji="0" lang="en-US" sz="800" b="1" i="0" u="none" strike="noStrike" kern="1200" cap="none" spc="0" normalizeH="0" baseline="0" noProof="0">
              <a:ln>
                <a:noFill/>
              </a:ln>
              <a:solidFill>
                <a:prstClr val="black"/>
              </a:solidFill>
              <a:effectLst/>
              <a:uLnTx/>
              <a:uFillTx/>
              <a:latin typeface="Aptos" panose="021100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0" cap="none" spc="0" normalizeH="0" baseline="0" noProof="0">
                <a:ln>
                  <a:noFill/>
                </a:ln>
                <a:solidFill>
                  <a:prstClr val="black"/>
                </a:solidFill>
                <a:effectLst/>
                <a:uLnTx/>
                <a:uFillTx/>
                <a:latin typeface="Aptos" panose="02110004020202020204"/>
                <a:ea typeface="+mn-ea"/>
                <a:cs typeface="+mn-cs"/>
              </a:rPr>
              <a:t>Ramirez JA, </a:t>
            </a:r>
            <a:r>
              <a:rPr kumimoji="0" lang="en-US" sz="800" b="0" i="0" u="none" strike="noStrike" kern="0" cap="none" spc="0" normalizeH="0" baseline="0" noProof="0" err="1">
                <a:ln>
                  <a:noFill/>
                </a:ln>
                <a:solidFill>
                  <a:prstClr val="black"/>
                </a:solidFill>
                <a:effectLst/>
                <a:uLnTx/>
                <a:uFillTx/>
                <a:latin typeface="Aptos" panose="02110004020202020204"/>
                <a:ea typeface="+mn-ea"/>
                <a:cs typeface="+mn-cs"/>
              </a:rPr>
              <a:t>Wiemken</a:t>
            </a:r>
            <a:r>
              <a:rPr kumimoji="0" lang="en-US" sz="800" b="0" i="0" u="none" strike="noStrike" kern="0" cap="none" spc="0" normalizeH="0" baseline="0" noProof="0">
                <a:ln>
                  <a:noFill/>
                </a:ln>
                <a:solidFill>
                  <a:prstClr val="black"/>
                </a:solidFill>
                <a:effectLst/>
                <a:uLnTx/>
                <a:uFillTx/>
                <a:latin typeface="Aptos" panose="02110004020202020204"/>
                <a:ea typeface="+mn-ea"/>
                <a:cs typeface="+mn-cs"/>
              </a:rPr>
              <a:t> TL, </a:t>
            </a:r>
            <a:r>
              <a:rPr kumimoji="0" lang="en-US" sz="800" b="0" i="0" u="none" strike="noStrike" kern="0" cap="none" spc="0" normalizeH="0" baseline="0" noProof="0" err="1">
                <a:ln>
                  <a:noFill/>
                </a:ln>
                <a:solidFill>
                  <a:prstClr val="black"/>
                </a:solidFill>
                <a:effectLst/>
                <a:uLnTx/>
                <a:uFillTx/>
                <a:latin typeface="Aptos" panose="02110004020202020204"/>
                <a:ea typeface="+mn-ea"/>
                <a:cs typeface="+mn-cs"/>
              </a:rPr>
              <a:t>Peyrani</a:t>
            </a:r>
            <a:r>
              <a:rPr kumimoji="0" lang="en-US" sz="800" b="0" i="0" u="none" strike="noStrike" kern="0" cap="none" spc="0" normalizeH="0" baseline="0" noProof="0">
                <a:ln>
                  <a:noFill/>
                </a:ln>
                <a:solidFill>
                  <a:prstClr val="black"/>
                </a:solidFill>
                <a:effectLst/>
                <a:uLnTx/>
                <a:uFillTx/>
                <a:latin typeface="Aptos" panose="02110004020202020204"/>
                <a:ea typeface="+mn-ea"/>
                <a:cs typeface="+mn-cs"/>
              </a:rPr>
              <a:t> P, et al. Adults hospitalized with pneumonia in the United States: incidence, epidemiology, and mortality. </a:t>
            </a:r>
            <a:r>
              <a:rPr kumimoji="0" lang="en-US" sz="800" b="0" i="1" u="none" strike="noStrike" kern="0" cap="none" spc="0" normalizeH="0" baseline="0" noProof="0">
                <a:ln>
                  <a:noFill/>
                </a:ln>
                <a:solidFill>
                  <a:prstClr val="black"/>
                </a:solidFill>
                <a:effectLst/>
                <a:uLnTx/>
                <a:uFillTx/>
                <a:latin typeface="Aptos" panose="02110004020202020204"/>
                <a:ea typeface="+mn-ea"/>
                <a:cs typeface="+mn-cs"/>
              </a:rPr>
              <a:t>Clin Infect Dis</a:t>
            </a:r>
            <a:r>
              <a:rPr kumimoji="0" lang="en-US" sz="800" b="0" i="0" u="none" strike="noStrike" kern="0" cap="none" spc="0" normalizeH="0" baseline="0" noProof="0">
                <a:ln>
                  <a:noFill/>
                </a:ln>
                <a:solidFill>
                  <a:prstClr val="black"/>
                </a:solidFill>
                <a:effectLst/>
                <a:uLnTx/>
                <a:uFillTx/>
                <a:latin typeface="Aptos" panose="02110004020202020204"/>
                <a:ea typeface="+mn-ea"/>
                <a:cs typeface="+mn-cs"/>
              </a:rPr>
              <a:t>. 2017;65(11):1806-1812.</a:t>
            </a:r>
            <a:r>
              <a:rPr kumimoji="0" lang="en-US" sz="800" b="1" i="0" u="none" strike="noStrike" kern="1200" cap="none" spc="0" normalizeH="0" baseline="0" noProof="0">
                <a:ln>
                  <a:noFill/>
                </a:ln>
                <a:solidFill>
                  <a:prstClr val="black"/>
                </a:solidFill>
                <a:effectLst/>
                <a:uLnTx/>
                <a:uFillTx/>
                <a:latin typeface="Aptos" panose="02110004020202020204"/>
                <a:ea typeface="+mn-ea"/>
                <a:cs typeface="+mn-cs"/>
              </a:rPr>
              <a: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err="1">
                <a:ln>
                  <a:noFill/>
                </a:ln>
                <a:solidFill>
                  <a:prstClr val="black"/>
                </a:solidFill>
                <a:effectLst/>
                <a:uLnTx/>
                <a:uFillTx/>
                <a:latin typeface="Aptos" panose="02110004020202020204"/>
                <a:ea typeface="+mn-ea"/>
                <a:cs typeface="+mn-cs"/>
              </a:rPr>
              <a:t>Sandvall</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B, Rueda AM, Musher DM. Long-term survival following pneumococcal pneumonia. </a:t>
            </a:r>
            <a:r>
              <a:rPr kumimoji="0" lang="en-US" sz="800" b="0" i="1" u="none" strike="noStrike" kern="1200" cap="none" spc="0" normalizeH="0" baseline="0" noProof="0">
                <a:ln>
                  <a:noFill/>
                </a:ln>
                <a:solidFill>
                  <a:prstClr val="black"/>
                </a:solidFill>
                <a:effectLst/>
                <a:uLnTx/>
                <a:uFillTx/>
                <a:latin typeface="Aptos" panose="02110004020202020204"/>
                <a:ea typeface="+mn-ea"/>
                <a:cs typeface="+mn-cs"/>
              </a:rPr>
              <a:t>Clin Infect Dis</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2013;56(8):1145-1146.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Lewnard JA, Hong V, </a:t>
            </a:r>
            <a:r>
              <a:rPr kumimoji="0" lang="en-US" sz="800" b="0" i="0" u="none" strike="noStrike" kern="1200" cap="none" spc="0" normalizeH="0" baseline="0" noProof="0" err="1">
                <a:ln>
                  <a:noFill/>
                </a:ln>
                <a:solidFill>
                  <a:prstClr val="black"/>
                </a:solidFill>
                <a:effectLst/>
                <a:uLnTx/>
                <a:uFillTx/>
                <a:latin typeface="Aptos" panose="02110004020202020204"/>
                <a:ea typeface="+mn-ea"/>
                <a:cs typeface="+mn-cs"/>
              </a:rPr>
              <a:t>Bruxvoort</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KJ, et al. Burden of lower respiratory tract infections preventable by adult immunization with 15- and 20-valent pneumococcal conjugate vaccines in the United States. </a:t>
            </a:r>
            <a:r>
              <a:rPr kumimoji="0" lang="en-US" sz="800" b="0" i="1" u="none" strike="noStrike" kern="1200" cap="none" spc="0" normalizeH="0" baseline="0" noProof="0">
                <a:ln>
                  <a:noFill/>
                </a:ln>
                <a:solidFill>
                  <a:prstClr val="black"/>
                </a:solidFill>
                <a:effectLst/>
                <a:uLnTx/>
                <a:uFillTx/>
                <a:latin typeface="Aptos" panose="02110004020202020204"/>
                <a:ea typeface="+mn-ea"/>
                <a:cs typeface="+mn-cs"/>
              </a:rPr>
              <a:t>Clin Infect Dis</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2023;77(9):1340-1352.</a:t>
            </a:r>
            <a:endParaRPr kumimoji="0" lang="en-US" sz="800" b="1" i="0" u="none" strike="noStrike" kern="1200" cap="none" spc="0" normalizeH="0" baseline="0" noProof="0">
              <a:ln>
                <a:noFill/>
              </a:ln>
              <a:solidFill>
                <a:prstClr val="black"/>
              </a:solidFill>
              <a:effectLst/>
              <a:uLnTx/>
              <a:uFillTx/>
              <a:latin typeface="Aptos" panose="021100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Bornheimer R, Shea KM, Sato R, </a:t>
            </a:r>
            <a:r>
              <a:rPr kumimoji="0" lang="en-US" sz="800" b="0" i="0" u="none" strike="noStrike" kern="1200" cap="none" spc="0" normalizeH="0" baseline="0" noProof="0" err="1">
                <a:ln>
                  <a:noFill/>
                </a:ln>
                <a:solidFill>
                  <a:prstClr val="black"/>
                </a:solidFill>
                <a:effectLst/>
                <a:uLnTx/>
                <a:uFillTx/>
                <a:latin typeface="Aptos" panose="02110004020202020204"/>
                <a:ea typeface="+mn-ea"/>
                <a:cs typeface="+mn-cs"/>
              </a:rPr>
              <a:t>Weycker</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D, Pelton SI. Risk of exacerbation following pneumonia in adults with heart failure or chronic obstructive pulmonary disease. </a:t>
            </a:r>
            <a:r>
              <a:rPr kumimoji="0" lang="en-US" sz="800" b="0" i="1" u="none" strike="noStrike" kern="1200" cap="none" spc="0" normalizeH="0" baseline="0" noProof="0" err="1">
                <a:ln>
                  <a:noFill/>
                </a:ln>
                <a:solidFill>
                  <a:prstClr val="black"/>
                </a:solidFill>
                <a:effectLst/>
                <a:uLnTx/>
                <a:uFillTx/>
                <a:latin typeface="Aptos" panose="02110004020202020204"/>
                <a:ea typeface="+mn-ea"/>
                <a:cs typeface="+mn-cs"/>
              </a:rPr>
              <a:t>PLoS</a:t>
            </a:r>
            <a:r>
              <a:rPr kumimoji="0" lang="en-US" sz="800" b="0" i="1" u="none" strike="noStrike" kern="1200" cap="none" spc="0" normalizeH="0" baseline="0" noProof="0">
                <a:ln>
                  <a:noFill/>
                </a:ln>
                <a:solidFill>
                  <a:prstClr val="black"/>
                </a:solidFill>
                <a:effectLst/>
                <a:uLnTx/>
                <a:uFillTx/>
                <a:latin typeface="Aptos" panose="02110004020202020204"/>
                <a:ea typeface="+mn-ea"/>
                <a:cs typeface="+mn-cs"/>
              </a:rPr>
              <a:t> One. </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2017;12(10):e0184877. </a:t>
            </a:r>
            <a:endParaRPr kumimoji="0" lang="en-US" sz="800" b="1" i="0" u="none" strike="noStrike" kern="1200" cap="none" spc="0" normalizeH="0" baseline="0" noProof="0">
              <a:ln>
                <a:noFill/>
              </a:ln>
              <a:solidFill>
                <a:prstClr val="black"/>
              </a:solidFill>
              <a:effectLst/>
              <a:uLnTx/>
              <a:uFillTx/>
              <a:latin typeface="Aptos" panose="021100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err="1">
                <a:ln>
                  <a:noFill/>
                </a:ln>
                <a:solidFill>
                  <a:prstClr val="black"/>
                </a:solidFill>
                <a:effectLst/>
                <a:uLnTx/>
                <a:uFillTx/>
                <a:latin typeface="Aptos" panose="02110004020202020204"/>
                <a:ea typeface="+mn-ea"/>
                <a:cs typeface="+mn-cs"/>
              </a:rPr>
              <a:t>Wyrwich</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KW, Yu H, Sato R, Powers JH. Observational longitudinal study of symptom burden and time for recovery from community-acquired pneumonia reported by older adults surveyed nationwide using the CAP Burden of Illness Questionnaire. </a:t>
            </a:r>
            <a:r>
              <a:rPr kumimoji="0" lang="en-US" sz="800" b="0" i="1" u="none" strike="noStrike" kern="1200" cap="none" spc="0" normalizeH="0" baseline="0" noProof="0">
                <a:ln>
                  <a:noFill/>
                </a:ln>
                <a:solidFill>
                  <a:prstClr val="black"/>
                </a:solidFill>
                <a:effectLst/>
                <a:uLnTx/>
                <a:uFillTx/>
                <a:latin typeface="Aptos" panose="02110004020202020204"/>
                <a:ea typeface="+mn-ea"/>
                <a:cs typeface="+mn-cs"/>
              </a:rPr>
              <a:t>Patient </a:t>
            </a:r>
            <a:r>
              <a:rPr kumimoji="0" lang="en-US" sz="800" b="0" i="1" u="none" strike="noStrike" kern="1200" cap="none" spc="0" normalizeH="0" baseline="0" noProof="0" err="1">
                <a:ln>
                  <a:noFill/>
                </a:ln>
                <a:solidFill>
                  <a:prstClr val="black"/>
                </a:solidFill>
                <a:effectLst/>
                <a:uLnTx/>
                <a:uFillTx/>
                <a:latin typeface="Aptos" panose="02110004020202020204"/>
                <a:ea typeface="+mn-ea"/>
                <a:cs typeface="+mn-cs"/>
              </a:rPr>
              <a:t>Relat</a:t>
            </a:r>
            <a:r>
              <a:rPr kumimoji="0" lang="en-US" sz="800" b="0" i="1" u="none" strike="noStrike" kern="1200" cap="none" spc="0" normalizeH="0" baseline="0" noProof="0">
                <a:ln>
                  <a:noFill/>
                </a:ln>
                <a:solidFill>
                  <a:prstClr val="black"/>
                </a:solidFill>
                <a:effectLst/>
                <a:uLnTx/>
                <a:uFillTx/>
                <a:latin typeface="Aptos" panose="02110004020202020204"/>
                <a:ea typeface="+mn-ea"/>
                <a:cs typeface="+mn-cs"/>
              </a:rPr>
              <a:t> Outcome Meas</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2015;6:215-23. </a:t>
            </a:r>
            <a:endParaRPr kumimoji="0" lang="en-US" sz="800" b="1" i="0" u="none" strike="noStrike" kern="1200" cap="none" spc="0" normalizeH="0" baseline="0" noProof="0">
              <a:ln>
                <a:noFill/>
              </a:ln>
              <a:solidFill>
                <a:prstClr val="black"/>
              </a:solidFill>
              <a:effectLst/>
              <a:uLnTx/>
              <a:uFillTx/>
              <a:latin typeface="Aptos" panose="021100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err="1">
                <a:ln>
                  <a:noFill/>
                </a:ln>
                <a:solidFill>
                  <a:prstClr val="black"/>
                </a:solidFill>
                <a:effectLst/>
                <a:uLnTx/>
                <a:uFillTx/>
                <a:latin typeface="Aptos" panose="02110004020202020204"/>
                <a:ea typeface="+mn-ea"/>
                <a:cs typeface="+mn-cs"/>
              </a:rPr>
              <a:t>Boussat</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B, </a:t>
            </a:r>
            <a:r>
              <a:rPr kumimoji="0" lang="en-US" sz="800" b="0" i="0" u="none" strike="noStrike" kern="1200" cap="none" spc="0" normalizeH="0" baseline="0" noProof="0" err="1">
                <a:ln>
                  <a:noFill/>
                </a:ln>
                <a:solidFill>
                  <a:prstClr val="black"/>
                </a:solidFill>
                <a:effectLst/>
                <a:uLnTx/>
                <a:uFillTx/>
                <a:latin typeface="Aptos" panose="02110004020202020204"/>
                <a:ea typeface="+mn-ea"/>
                <a:cs typeface="+mn-cs"/>
              </a:rPr>
              <a:t>Cazzorla</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F, Le Marechal M, et al. Incidence of avoidable 30-day readmissions following hospitalization for community-acquired pneumonia in France. </a:t>
            </a:r>
            <a:r>
              <a:rPr kumimoji="0" lang="en-US" sz="800" b="0" i="1" u="none" strike="noStrike" kern="1200" cap="none" spc="0" normalizeH="0" baseline="0" noProof="0">
                <a:ln>
                  <a:noFill/>
                </a:ln>
                <a:solidFill>
                  <a:prstClr val="black"/>
                </a:solidFill>
                <a:effectLst/>
                <a:uLnTx/>
                <a:uFillTx/>
                <a:latin typeface="Aptos" panose="02110004020202020204"/>
                <a:ea typeface="+mn-ea"/>
                <a:cs typeface="+mn-cs"/>
              </a:rPr>
              <a:t>JAMA </a:t>
            </a:r>
            <a:r>
              <a:rPr kumimoji="0" lang="en-US" sz="800" b="0" i="1" u="none" strike="noStrike" kern="1200" cap="none" spc="0" normalizeH="0" baseline="0" noProof="0" err="1">
                <a:ln>
                  <a:noFill/>
                </a:ln>
                <a:solidFill>
                  <a:prstClr val="black"/>
                </a:solidFill>
                <a:effectLst/>
                <a:uLnTx/>
                <a:uFillTx/>
                <a:latin typeface="Aptos" panose="02110004020202020204"/>
                <a:ea typeface="+mn-ea"/>
                <a:cs typeface="+mn-cs"/>
              </a:rPr>
              <a:t>Netw</a:t>
            </a:r>
            <a:r>
              <a:rPr kumimoji="0" lang="en-US" sz="800" b="0" i="1" u="none" strike="noStrike" kern="1200" cap="none" spc="0" normalizeH="0" baseline="0" noProof="0">
                <a:ln>
                  <a:noFill/>
                </a:ln>
                <a:solidFill>
                  <a:prstClr val="black"/>
                </a:solidFill>
                <a:effectLst/>
                <a:uLnTx/>
                <a:uFillTx/>
                <a:latin typeface="Aptos" panose="02110004020202020204"/>
                <a:ea typeface="+mn-ea"/>
                <a:cs typeface="+mn-cs"/>
              </a:rPr>
              <a:t> Open</a:t>
            </a: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 2022;5(4):e226574.</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Slide Number Placeholder 5">
            <a:extLst>
              <a:ext uri="{FF2B5EF4-FFF2-40B4-BE49-F238E27FC236}">
                <a16:creationId xmlns:a16="http://schemas.microsoft.com/office/drawing/2014/main" id="{BE7FB48A-0555-05FC-DA6C-3C23ECEC047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E2D300-DD52-4321-94DF-38A962E6148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1831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Slide Number Placeholder 3"/>
          <p:cNvSpPr>
            <a:spLocks noGrp="1"/>
          </p:cNvSpPr>
          <p:nvPr>
            <p:ph type="sldNum" sz="quarter" idx="5"/>
          </p:nvPr>
        </p:nvSpPr>
        <p:spPr/>
        <p:txBody>
          <a:bodyPr/>
          <a:lstStyle/>
          <a:p>
            <a:fld id="{EE7D4C3D-E959-4DA0-A5E8-F93AEE10CB07}" type="slidenum">
              <a:rPr lang="tr-TR" smtClean="0"/>
              <a:pPr/>
              <a:t>50</a:t>
            </a:fld>
            <a:endParaRPr lang="tr-TR"/>
          </a:p>
        </p:txBody>
      </p:sp>
    </p:spTree>
    <p:extLst>
      <p:ext uri="{BB962C8B-B14F-4D97-AF65-F5344CB8AC3E}">
        <p14:creationId xmlns:p14="http://schemas.microsoft.com/office/powerpoint/2010/main" val="8619713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25" normalizeH="0" baseline="30000" noProof="0">
              <a:ln>
                <a:noFill/>
              </a:ln>
              <a:effectLst/>
              <a:uLnTx/>
              <a:uFillTx/>
              <a:latin typeface="Pfizer Diatype Office"/>
              <a:ea typeface="+mj-ea"/>
              <a:cs typeface="+mj-cs"/>
            </a:endParaRPr>
          </a:p>
          <a:p>
            <a:endParaRPr lang="en-US" sz="900"/>
          </a:p>
        </p:txBody>
      </p:sp>
      <p:sp>
        <p:nvSpPr>
          <p:cNvPr id="4" name="Slide Number Placeholder 3"/>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A66EB0F6-0CBB-6A4E-B00F-31FF6D66F0DB}"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5" name="Rectangle 4">
            <a:extLst>
              <a:ext uri="{FF2B5EF4-FFF2-40B4-BE49-F238E27FC236}">
                <a16:creationId xmlns:a16="http://schemas.microsoft.com/office/drawing/2014/main" id="{2BAFE1DB-CE92-051E-7BE3-E54172764C43}"/>
              </a:ext>
            </a:extLst>
          </p:cNvPr>
          <p:cNvSpPr/>
          <p:nvPr/>
        </p:nvSpPr>
        <p:spPr>
          <a:xfrm>
            <a:off x="857249" y="1346200"/>
            <a:ext cx="4885459" cy="46185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Rectangle 5">
            <a:extLst>
              <a:ext uri="{FF2B5EF4-FFF2-40B4-BE49-F238E27FC236}">
                <a16:creationId xmlns:a16="http://schemas.microsoft.com/office/drawing/2014/main" id="{8EEBE305-49D7-B2B8-2DA9-C8414BEEF337}"/>
              </a:ext>
            </a:extLst>
          </p:cNvPr>
          <p:cNvSpPr/>
          <p:nvPr/>
        </p:nvSpPr>
        <p:spPr>
          <a:xfrm>
            <a:off x="-1238250" y="1346200"/>
            <a:ext cx="1746250" cy="596900"/>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ptos" panose="02110004020202020204"/>
                <a:ea typeface="+mn-ea"/>
                <a:cs typeface="+mn-cs"/>
              </a:rPr>
              <a:t>1. </a:t>
            </a:r>
            <a:r>
              <a:rPr kumimoji="0" lang="en-GB" sz="900" b="0" i="0" u="none" strike="noStrike" kern="1200" cap="none" spc="0" normalizeH="0" baseline="0" noProof="0" err="1">
                <a:ln>
                  <a:noFill/>
                </a:ln>
                <a:solidFill>
                  <a:prstClr val="black"/>
                </a:solidFill>
                <a:effectLst/>
                <a:uLnTx/>
                <a:uFillTx/>
                <a:latin typeface="Aptos" panose="02110004020202020204"/>
                <a:ea typeface="+mn-ea"/>
                <a:cs typeface="+mn-cs"/>
              </a:rPr>
              <a:t>Safiri</a:t>
            </a:r>
            <a:r>
              <a:rPr kumimoji="0" lang="en-GB" sz="900" b="0" i="0" u="none" strike="noStrike" kern="1200" cap="none" spc="0" normalizeH="0" baseline="0" noProof="0">
                <a:ln>
                  <a:noFill/>
                </a:ln>
                <a:solidFill>
                  <a:prstClr val="black"/>
                </a:solidFill>
                <a:effectLst/>
                <a:uLnTx/>
                <a:uFillTx/>
                <a:latin typeface="Aptos" panose="02110004020202020204"/>
                <a:ea typeface="+mn-ea"/>
                <a:cs typeface="+mn-cs"/>
              </a:rPr>
              <a:t> S, ve diğ. Halk Sağlığı Öncesi. 2023; 9 Oca; 10:10285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ptos" panose="02110004020202020204"/>
                <a:ea typeface="+mn-ea"/>
                <a:cs typeface="+mn-cs"/>
              </a:rPr>
              <a:t>Sayfa 2, sütun 1, paragraf 1</a:t>
            </a:r>
          </a:p>
        </p:txBody>
      </p:sp>
      <p:cxnSp>
        <p:nvCxnSpPr>
          <p:cNvPr id="7" name="Straight Connector 6">
            <a:extLst>
              <a:ext uri="{FF2B5EF4-FFF2-40B4-BE49-F238E27FC236}">
                <a16:creationId xmlns:a16="http://schemas.microsoft.com/office/drawing/2014/main" id="{80A1C43B-CF47-B5CA-F31B-DA18208EBD3F}"/>
              </a:ext>
            </a:extLst>
          </p:cNvPr>
          <p:cNvCxnSpPr>
            <a:cxnSpLocks/>
            <a:stCxn id="6" idx="3"/>
            <a:endCxn id="5" idx="1"/>
          </p:cNvCxnSpPr>
          <p:nvPr/>
        </p:nvCxnSpPr>
        <p:spPr>
          <a:xfrm flipV="1">
            <a:off x="508000" y="1577125"/>
            <a:ext cx="349249" cy="67525"/>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E684F700-35E5-2483-022F-148A78D07B39}"/>
              </a:ext>
            </a:extLst>
          </p:cNvPr>
          <p:cNvSpPr/>
          <p:nvPr/>
        </p:nvSpPr>
        <p:spPr>
          <a:xfrm>
            <a:off x="2622551" y="1804987"/>
            <a:ext cx="3282950" cy="26669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5A74068E-D466-2222-DC3E-756016DBE3A8}"/>
              </a:ext>
            </a:extLst>
          </p:cNvPr>
          <p:cNvSpPr/>
          <p:nvPr/>
        </p:nvSpPr>
        <p:spPr>
          <a:xfrm>
            <a:off x="6125127" y="1042655"/>
            <a:ext cx="1964769" cy="1152747"/>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ptos" panose="02110004020202020204"/>
                <a:ea typeface="+mn-ea"/>
                <a:cs typeface="+mn-cs"/>
              </a:rPr>
              <a:t>2. Dünya Sağlık Örgütü. Bu sonbahar ve kış aylarında üçlü bir tehditi önlemek - kendimizi ve başkalarını solunum yolu hastalıklarından korumak için dersleri uygulamak ve bireysel riskleri anlamak. 12 Şubat 2025 tarihinde erişild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ptos" panose="02110004020202020204"/>
                <a:ea typeface="+mn-ea"/>
                <a:cs typeface="+mn-cs"/>
              </a:rPr>
              <a:t>Sayfa 2, paragraf 1</a:t>
            </a:r>
          </a:p>
        </p:txBody>
      </p:sp>
      <p:cxnSp>
        <p:nvCxnSpPr>
          <p:cNvPr id="10" name="Straight Connector 9">
            <a:extLst>
              <a:ext uri="{FF2B5EF4-FFF2-40B4-BE49-F238E27FC236}">
                <a16:creationId xmlns:a16="http://schemas.microsoft.com/office/drawing/2014/main" id="{E46E11AF-798D-20C0-AD72-34358968CBA0}"/>
              </a:ext>
            </a:extLst>
          </p:cNvPr>
          <p:cNvCxnSpPr>
            <a:cxnSpLocks/>
            <a:stCxn id="8" idx="3"/>
            <a:endCxn id="9" idx="1"/>
          </p:cNvCxnSpPr>
          <p:nvPr/>
        </p:nvCxnSpPr>
        <p:spPr>
          <a:xfrm flipV="1">
            <a:off x="5905501" y="1619029"/>
            <a:ext cx="219626" cy="319308"/>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B067BF9B-B8FE-0F9D-2F66-A8ACE8B20E0A}"/>
              </a:ext>
            </a:extLst>
          </p:cNvPr>
          <p:cNvSpPr/>
          <p:nvPr/>
        </p:nvSpPr>
        <p:spPr>
          <a:xfrm>
            <a:off x="2622552" y="3012963"/>
            <a:ext cx="3302000" cy="41433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4D44C2CA-0DC1-2911-1561-A9CD585D4722}"/>
              </a:ext>
            </a:extLst>
          </p:cNvPr>
          <p:cNvSpPr/>
          <p:nvPr/>
        </p:nvSpPr>
        <p:spPr>
          <a:xfrm>
            <a:off x="6125126" y="3234637"/>
            <a:ext cx="1964769" cy="118138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ptos" panose="02110004020202020204"/>
                <a:ea typeface="+mn-ea"/>
                <a:cs typeface="+mn-cs"/>
              </a:rPr>
              <a:t>3. GBD 2021 Düşük Solunum Enfeksiyonları ve Antimikrobiyal Direnç İş Ortakları. Lancet Dis. 24 Eyl; 24(9):974-100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ptos" panose="02110004020202020204"/>
                <a:ea typeface="+mn-ea"/>
                <a:cs typeface="+mn-cs"/>
              </a:rPr>
              <a:t>Sayfa 1, soyut, sonuçlar. 505.000 / 2,18 milyon ölüm olarak hesaplanmıştır = %23,2</a:t>
            </a:r>
          </a:p>
        </p:txBody>
      </p:sp>
      <p:cxnSp>
        <p:nvCxnSpPr>
          <p:cNvPr id="13" name="Straight Connector 12">
            <a:extLst>
              <a:ext uri="{FF2B5EF4-FFF2-40B4-BE49-F238E27FC236}">
                <a16:creationId xmlns:a16="http://schemas.microsoft.com/office/drawing/2014/main" id="{0D6CD841-E864-F125-B0CD-1B08A9774CD8}"/>
              </a:ext>
            </a:extLst>
          </p:cNvPr>
          <p:cNvCxnSpPr>
            <a:cxnSpLocks/>
            <a:stCxn id="11" idx="3"/>
            <a:endCxn id="12" idx="1"/>
          </p:cNvCxnSpPr>
          <p:nvPr/>
        </p:nvCxnSpPr>
        <p:spPr>
          <a:xfrm>
            <a:off x="5924552" y="3220128"/>
            <a:ext cx="200574" cy="605204"/>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AE9A0745-040C-F9DD-AB4B-85D6778451B8}"/>
              </a:ext>
            </a:extLst>
          </p:cNvPr>
          <p:cNvSpPr/>
          <p:nvPr/>
        </p:nvSpPr>
        <p:spPr>
          <a:xfrm>
            <a:off x="1009650" y="2071686"/>
            <a:ext cx="1512612" cy="91916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Rectangle 14">
            <a:extLst>
              <a:ext uri="{FF2B5EF4-FFF2-40B4-BE49-F238E27FC236}">
                <a16:creationId xmlns:a16="http://schemas.microsoft.com/office/drawing/2014/main" id="{95BA5162-9D6A-371F-54A0-3177B8779FA7}"/>
              </a:ext>
            </a:extLst>
          </p:cNvPr>
          <p:cNvSpPr/>
          <p:nvPr/>
        </p:nvSpPr>
        <p:spPr>
          <a:xfrm>
            <a:off x="-1231900" y="2120900"/>
            <a:ext cx="1731684" cy="103846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ptos" panose="02110004020202020204"/>
                <a:ea typeface="+mn-ea"/>
                <a:cs typeface="+mn-cs"/>
              </a:rPr>
              <a:t>3. GBD 2021 Düşük Solunum Enfeksiyonları ve Antimikrobiyal Direnç İş Ortakları. Lancet Dis. 24 Eyl; 24(9):974-100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ptos" panose="02110004020202020204"/>
                <a:ea typeface="+mn-ea"/>
                <a:cs typeface="+mn-cs"/>
              </a:rPr>
              <a:t>Sayfa 9, sütun 2, paragraf 3</a:t>
            </a:r>
          </a:p>
        </p:txBody>
      </p:sp>
      <p:cxnSp>
        <p:nvCxnSpPr>
          <p:cNvPr id="16" name="Straight Connector 15">
            <a:extLst>
              <a:ext uri="{FF2B5EF4-FFF2-40B4-BE49-F238E27FC236}">
                <a16:creationId xmlns:a16="http://schemas.microsoft.com/office/drawing/2014/main" id="{206D751B-6972-7133-0C8A-6781689A69E3}"/>
              </a:ext>
            </a:extLst>
          </p:cNvPr>
          <p:cNvCxnSpPr>
            <a:cxnSpLocks/>
            <a:stCxn id="15" idx="3"/>
            <a:endCxn id="14" idx="1"/>
          </p:cNvCxnSpPr>
          <p:nvPr/>
        </p:nvCxnSpPr>
        <p:spPr>
          <a:xfrm flipV="1">
            <a:off x="499784" y="2531268"/>
            <a:ext cx="509866" cy="108867"/>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7" name="Rectangle 16">
            <a:extLst>
              <a:ext uri="{FF2B5EF4-FFF2-40B4-BE49-F238E27FC236}">
                <a16:creationId xmlns:a16="http://schemas.microsoft.com/office/drawing/2014/main" id="{64E2D322-ED35-DCBF-8A62-85686E1B4601}"/>
              </a:ext>
            </a:extLst>
          </p:cNvPr>
          <p:cNvSpPr/>
          <p:nvPr/>
        </p:nvSpPr>
        <p:spPr>
          <a:xfrm>
            <a:off x="946151" y="3445605"/>
            <a:ext cx="4978398" cy="30627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 name="Rectangle 17">
            <a:extLst>
              <a:ext uri="{FF2B5EF4-FFF2-40B4-BE49-F238E27FC236}">
                <a16:creationId xmlns:a16="http://schemas.microsoft.com/office/drawing/2014/main" id="{A9BBC717-C8A1-7B29-9F06-415D0256362D}"/>
              </a:ext>
            </a:extLst>
          </p:cNvPr>
          <p:cNvSpPr/>
          <p:nvPr/>
        </p:nvSpPr>
        <p:spPr>
          <a:xfrm>
            <a:off x="6125127" y="4710614"/>
            <a:ext cx="1976173" cy="95339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ptos" panose="02110004020202020204"/>
                <a:ea typeface="+mn-ea"/>
                <a:cs typeface="+mn-cs"/>
              </a:rPr>
              <a:t>3. GBD 2021 Düşük Solunum Enfeksiyonları ve Antimikrobiyal Direnç İş Ortakları. Lancet Dis. 24 Eyl; 24(9):974-1002</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ptos" panose="02110004020202020204"/>
                <a:ea typeface="+mn-ea"/>
                <a:cs typeface="+mn-cs"/>
              </a:rPr>
              <a:t>Sayfa 1, soyut, Yöntemler, n1-2 ve n8-12. </a:t>
            </a:r>
          </a:p>
        </p:txBody>
      </p:sp>
      <p:cxnSp>
        <p:nvCxnSpPr>
          <p:cNvPr id="19" name="Straight Connector 18">
            <a:extLst>
              <a:ext uri="{FF2B5EF4-FFF2-40B4-BE49-F238E27FC236}">
                <a16:creationId xmlns:a16="http://schemas.microsoft.com/office/drawing/2014/main" id="{314E4164-E1E2-8D5F-842B-A4C304289439}"/>
              </a:ext>
            </a:extLst>
          </p:cNvPr>
          <p:cNvCxnSpPr>
            <a:cxnSpLocks/>
            <a:stCxn id="17" idx="3"/>
            <a:endCxn id="18" idx="1"/>
          </p:cNvCxnSpPr>
          <p:nvPr/>
        </p:nvCxnSpPr>
        <p:spPr>
          <a:xfrm>
            <a:off x="5924549" y="3598743"/>
            <a:ext cx="200578" cy="1588571"/>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53ADC05E-1289-2818-3DFE-988A3885F7EE}"/>
              </a:ext>
            </a:extLst>
          </p:cNvPr>
          <p:cNvSpPr/>
          <p:nvPr/>
        </p:nvSpPr>
        <p:spPr>
          <a:xfrm>
            <a:off x="-1223684" y="3273853"/>
            <a:ext cx="1731684" cy="103846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ptos" panose="02110004020202020204"/>
                <a:ea typeface="+mn-ea"/>
                <a:cs typeface="+mn-cs"/>
              </a:rPr>
              <a:t>3. GBD 2021 Düşük Solunum Enfeksiyonları ve Antimikrobiyal Direnç İş Ortakları. Lancet Dis. 24 Eyl; 24(9):974-100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ptos" panose="02110004020202020204"/>
                <a:ea typeface="+mn-ea"/>
                <a:cs typeface="+mn-cs"/>
              </a:rPr>
              <a:t>Sayfa 17, Şekil 4B</a:t>
            </a:r>
          </a:p>
        </p:txBody>
      </p:sp>
      <p:cxnSp>
        <p:nvCxnSpPr>
          <p:cNvPr id="28" name="Straight Connector 27">
            <a:extLst>
              <a:ext uri="{FF2B5EF4-FFF2-40B4-BE49-F238E27FC236}">
                <a16:creationId xmlns:a16="http://schemas.microsoft.com/office/drawing/2014/main" id="{2217CD22-D6AF-6C90-3694-142E851C9185}"/>
              </a:ext>
            </a:extLst>
          </p:cNvPr>
          <p:cNvCxnSpPr>
            <a:cxnSpLocks/>
            <a:stCxn id="27" idx="3"/>
            <a:endCxn id="29" idx="1"/>
          </p:cNvCxnSpPr>
          <p:nvPr/>
        </p:nvCxnSpPr>
        <p:spPr>
          <a:xfrm flipV="1">
            <a:off x="508000" y="2840294"/>
            <a:ext cx="2114551" cy="952794"/>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29" name="Rectangle 28">
            <a:extLst>
              <a:ext uri="{FF2B5EF4-FFF2-40B4-BE49-F238E27FC236}">
                <a16:creationId xmlns:a16="http://schemas.microsoft.com/office/drawing/2014/main" id="{AD22F6AC-1BE2-B453-787E-5C0C785B5404}"/>
              </a:ext>
            </a:extLst>
          </p:cNvPr>
          <p:cNvSpPr/>
          <p:nvPr/>
        </p:nvSpPr>
        <p:spPr>
          <a:xfrm>
            <a:off x="2622551" y="2731611"/>
            <a:ext cx="3282950" cy="21736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2" name="Rectangle 31">
            <a:extLst>
              <a:ext uri="{FF2B5EF4-FFF2-40B4-BE49-F238E27FC236}">
                <a16:creationId xmlns:a16="http://schemas.microsoft.com/office/drawing/2014/main" id="{26E8B1BD-AD5A-45CC-2ED3-1D1084C2A554}"/>
              </a:ext>
            </a:extLst>
          </p:cNvPr>
          <p:cNvSpPr/>
          <p:nvPr/>
        </p:nvSpPr>
        <p:spPr>
          <a:xfrm>
            <a:off x="2622551" y="2556728"/>
            <a:ext cx="3282950" cy="17682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3" name="Rectangle 32">
            <a:extLst>
              <a:ext uri="{FF2B5EF4-FFF2-40B4-BE49-F238E27FC236}">
                <a16:creationId xmlns:a16="http://schemas.microsoft.com/office/drawing/2014/main" id="{9A0391A0-4D7D-4951-B609-E25452FDBAB8}"/>
              </a:ext>
            </a:extLst>
          </p:cNvPr>
          <p:cNvSpPr/>
          <p:nvPr/>
        </p:nvSpPr>
        <p:spPr>
          <a:xfrm>
            <a:off x="6125125" y="2243954"/>
            <a:ext cx="1964769" cy="792360"/>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ptos" panose="02110004020202020204"/>
                <a:ea typeface="+mn-ea"/>
                <a:cs typeface="+mn-cs"/>
              </a:rPr>
              <a:t>4. Veri Dünyamız. Veri Dünyamız. COVID-19, 2021'de en büyük üçüncü ölüm nedeniyd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ptos" panose="02110004020202020204"/>
                <a:ea typeface="+mn-ea"/>
                <a:cs typeface="+mn-cs"/>
              </a:rPr>
              <a:t>Sayfa 2.</a:t>
            </a:r>
            <a:endParaRPr kumimoji="0" lang="en-GB" sz="9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34" name="Straight Connector 33">
            <a:extLst>
              <a:ext uri="{FF2B5EF4-FFF2-40B4-BE49-F238E27FC236}">
                <a16:creationId xmlns:a16="http://schemas.microsoft.com/office/drawing/2014/main" id="{A2948B47-5882-20EF-A108-7F3739EC14B1}"/>
              </a:ext>
            </a:extLst>
          </p:cNvPr>
          <p:cNvCxnSpPr>
            <a:cxnSpLocks/>
            <a:stCxn id="32" idx="3"/>
            <a:endCxn id="33" idx="1"/>
          </p:cNvCxnSpPr>
          <p:nvPr/>
        </p:nvCxnSpPr>
        <p:spPr>
          <a:xfrm flipV="1">
            <a:off x="5905501" y="2640134"/>
            <a:ext cx="219624" cy="5007"/>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388104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Slide Number Placeholder 3"/>
          <p:cNvSpPr>
            <a:spLocks noGrp="1"/>
          </p:cNvSpPr>
          <p:nvPr>
            <p:ph type="sldNum" sz="quarter" idx="5"/>
          </p:nvPr>
        </p:nvSpPr>
        <p:spPr/>
        <p:txBody>
          <a:bodyPr/>
          <a:lstStyle/>
          <a:p>
            <a:fld id="{A66EB0F6-0CBB-6A4E-B00F-31FF6D66F0DB}" type="slidenum">
              <a:rPr lang="en-US" smtClean="0"/>
              <a:pPr/>
              <a:t>55</a:t>
            </a:fld>
            <a:endParaRPr lang="en-US"/>
          </a:p>
        </p:txBody>
      </p:sp>
      <p:sp>
        <p:nvSpPr>
          <p:cNvPr id="5" name="Rectangle 4">
            <a:extLst>
              <a:ext uri="{FF2B5EF4-FFF2-40B4-BE49-F238E27FC236}">
                <a16:creationId xmlns:a16="http://schemas.microsoft.com/office/drawing/2014/main" id="{C3651F37-102A-CCC7-AC5D-9644BE5B66C7}"/>
              </a:ext>
            </a:extLst>
          </p:cNvPr>
          <p:cNvSpPr/>
          <p:nvPr/>
        </p:nvSpPr>
        <p:spPr>
          <a:xfrm>
            <a:off x="863600" y="1622426"/>
            <a:ext cx="3659909" cy="2286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B472F704-57A5-7F06-2444-8576D32765E8}"/>
              </a:ext>
            </a:extLst>
          </p:cNvPr>
          <p:cNvSpPr/>
          <p:nvPr/>
        </p:nvSpPr>
        <p:spPr>
          <a:xfrm>
            <a:off x="-1138240" y="2559050"/>
            <a:ext cx="1885951" cy="1517650"/>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1. </a:t>
            </a:r>
            <a:r>
              <a:rPr kumimoji="0" lang="fr-FR" sz="900" b="0" i="0" u="none" strike="noStrike" kern="1200" cap="none" spc="0" normalizeH="0" baseline="0" noProof="0">
                <a:ln>
                  <a:noFill/>
                </a:ln>
                <a:solidFill>
                  <a:schemeClr val="tx1"/>
                </a:solidFill>
                <a:effectLst/>
                <a:uLnTx/>
                <a:uFillTx/>
                <a:latin typeface="Pfizer Diatype Office"/>
                <a:ea typeface="+mn-ea"/>
                <a:cs typeface="+mn-cs"/>
              </a:rPr>
              <a:t>Hernandez-Ruiz, Vet. </a:t>
            </a:r>
            <a:r>
              <a:rPr kumimoji="0" lang="fr-FR" sz="900" b="0" i="0" u="none" strike="noStrike" kern="1200" cap="none" spc="0" normalizeH="0" baseline="0" noProof="0" err="1">
                <a:ln>
                  <a:noFill/>
                </a:ln>
                <a:solidFill>
                  <a:schemeClr val="tx1"/>
                </a:solidFill>
                <a:effectLst/>
                <a:uLnTx/>
                <a:uFillTx/>
                <a:latin typeface="Pfizer Diatype Office"/>
                <a:ea typeface="+mn-ea"/>
                <a:cs typeface="+mn-cs"/>
              </a:rPr>
              <a:t>Nörolojik</a:t>
            </a:r>
            <a:r>
              <a:rPr kumimoji="0" lang="fr-FR" sz="900" b="0" i="0" u="none" strike="noStrike" kern="1200" cap="none" spc="0" normalizeH="0" baseline="0" noProof="0">
                <a:ln>
                  <a:noFill/>
                </a:ln>
                <a:solidFill>
                  <a:schemeClr val="tx1"/>
                </a:solidFill>
                <a:effectLst/>
                <a:uLnTx/>
                <a:uFillTx/>
                <a:latin typeface="Pfizer Diatype Office"/>
                <a:ea typeface="+mn-ea"/>
                <a:cs typeface="+mn-cs"/>
              </a:rPr>
              <a:t> Bilimler, 2022.43:621-6224.</a:t>
            </a:r>
            <a:endParaRPr kumimoji="0" lang="en-GB" sz="900" b="0" i="0" u="none" strike="noStrike" kern="1200" cap="none" spc="0" normalizeH="0" baseline="0" noProof="0">
              <a:ln>
                <a:noFill/>
              </a:ln>
              <a:solidFill>
                <a:schemeClr val="tx1"/>
              </a:solidFill>
              <a:effectLst/>
              <a:uLnTx/>
              <a:uFillTx/>
              <a:latin typeface="Pfizer Diatype Office"/>
              <a:ea typeface="+mn-ea"/>
              <a:cs typeface="+mn-cs"/>
            </a:endParaRPr>
          </a:p>
          <a:p>
            <a:pPr marR="0" lvl="0" algn="l" defTabSz="913852" rtl="0" eaLnBrk="1" fontAlgn="auto" latinLnBrk="0" hangingPunct="1">
              <a:lnSpc>
                <a:spcPct val="100000"/>
              </a:lnSpc>
              <a:spcBef>
                <a:spcPts val="0"/>
              </a:spcBef>
              <a:spcAft>
                <a:spcPts val="0"/>
              </a:spcAft>
              <a:buClrTx/>
              <a:buSzTx/>
              <a:tabLst/>
              <a:defRPr/>
            </a:pPr>
            <a:endParaRPr kumimoji="0" lang="en-GB" sz="900" b="0" i="0" u="none" strike="noStrike" kern="1200" cap="none" spc="0" normalizeH="0" baseline="0" noProof="0">
              <a:ln>
                <a:noFill/>
              </a:ln>
              <a:solidFill>
                <a:schemeClr val="tx1"/>
              </a:solidFill>
              <a:effectLst/>
              <a:uLnTx/>
              <a:uFillTx/>
              <a:latin typeface="Pfizer Diatype Office"/>
              <a:ea typeface="+mn-ea"/>
              <a:cs typeface="+mn-cs"/>
            </a:endParaRP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Sayfa 2, sütun 1, para 2, ln1-3</a:t>
            </a:r>
          </a:p>
          <a:p>
            <a:pPr marR="0" lvl="0" algn="l" defTabSz="913852" rtl="0" eaLnBrk="1" fontAlgn="auto" latinLnBrk="0" hangingPunct="1">
              <a:lnSpc>
                <a:spcPct val="100000"/>
              </a:lnSpc>
              <a:spcBef>
                <a:spcPts val="0"/>
              </a:spcBef>
              <a:spcAft>
                <a:spcPts val="0"/>
              </a:spcAft>
              <a:buClrTx/>
              <a:buSzTx/>
              <a:tabLst/>
              <a:defRPr/>
            </a:pPr>
            <a:endParaRPr kumimoji="0" lang="en-GB" sz="900" b="0" i="0" u="none" strike="noStrike" kern="1200" cap="none" spc="0" normalizeH="0" baseline="0" noProof="0">
              <a:ln>
                <a:noFill/>
              </a:ln>
              <a:solidFill>
                <a:schemeClr val="tx1"/>
              </a:solidFill>
              <a:effectLst/>
              <a:uLnTx/>
              <a:uFillTx/>
              <a:latin typeface="Pfizer Diatype Office"/>
              <a:ea typeface="+mn-ea"/>
              <a:cs typeface="+mn-cs"/>
            </a:endParaRPr>
          </a:p>
          <a:p>
            <a:pPr marR="0" lvl="0" algn="l" defTabSz="913852" rtl="0" eaLnBrk="1" fontAlgn="auto" latinLnBrk="0" hangingPunct="1">
              <a:lnSpc>
                <a:spcPct val="100000"/>
              </a:lnSpc>
              <a:spcBef>
                <a:spcPts val="0"/>
              </a:spcBef>
              <a:spcAft>
                <a:spcPts val="0"/>
              </a:spcAft>
              <a:buClrTx/>
              <a:buSzTx/>
              <a:tabLst/>
              <a:defRPr/>
            </a:pPr>
            <a:r>
              <a:rPr kumimoji="0" lang="fr-FR" sz="900" b="0" i="0" u="none" strike="noStrike" kern="1200" cap="none" spc="0" normalizeH="0" baseline="0" noProof="0">
                <a:ln>
                  <a:noFill/>
                </a:ln>
                <a:solidFill>
                  <a:schemeClr val="tx1"/>
                </a:solidFill>
                <a:effectLst/>
                <a:uLnTx/>
                <a:uFillTx/>
                <a:latin typeface="Pfizer Diatype Office"/>
                <a:ea typeface="+mn-ea"/>
                <a:cs typeface="+mn-cs"/>
              </a:rPr>
              <a:t>2. </a:t>
            </a:r>
            <a:r>
              <a:rPr kumimoji="0" lang="fr-FR" sz="900" b="0" i="0" u="none" strike="noStrike" kern="1200" cap="none" spc="0" normalizeH="0" baseline="0" noProof="0" err="1">
                <a:ln>
                  <a:noFill/>
                </a:ln>
                <a:solidFill>
                  <a:schemeClr val="tx1"/>
                </a:solidFill>
                <a:effectLst/>
                <a:uLnTx/>
                <a:uFillTx/>
                <a:latin typeface="Pfizer Diatype Office"/>
                <a:ea typeface="+mn-ea"/>
                <a:cs typeface="+mn-cs"/>
              </a:rPr>
              <a:t>Lian</a:t>
            </a:r>
            <a:r>
              <a:rPr kumimoji="0" lang="fr-FR" sz="900" b="0" i="0" u="none" strike="noStrike" kern="1200" cap="none" spc="0" normalizeH="0" baseline="0" noProof="0">
                <a:ln>
                  <a:noFill/>
                </a:ln>
                <a:solidFill>
                  <a:schemeClr val="tx1"/>
                </a:solidFill>
                <a:effectLst/>
                <a:uLnTx/>
                <a:uFillTx/>
                <a:latin typeface="Pfizer Diatype Office"/>
                <a:ea typeface="+mn-ea"/>
                <a:cs typeface="+mn-cs"/>
              </a:rPr>
              <a:t>, J. ve J. </a:t>
            </a:r>
            <a:r>
              <a:rPr kumimoji="0" lang="fr-FR" sz="900" b="0" i="0" u="none" strike="noStrike" kern="1200" cap="none" spc="0" normalizeH="0" baseline="0" noProof="0" err="1">
                <a:ln>
                  <a:noFill/>
                </a:ln>
                <a:solidFill>
                  <a:schemeClr val="tx1"/>
                </a:solidFill>
                <a:effectLst/>
                <a:uLnTx/>
                <a:uFillTx/>
                <a:latin typeface="Pfizer Diatype Office"/>
                <a:ea typeface="+mn-ea"/>
                <a:cs typeface="+mn-cs"/>
              </a:rPr>
              <a:t>Hematol Onkl</a:t>
            </a:r>
            <a:r>
              <a:rPr kumimoji="0" lang="fr-FR" sz="900" b="0" i="0" u="none" strike="noStrike" kern="1200" cap="none" spc="0" normalizeH="0" baseline="0" noProof="0">
                <a:ln>
                  <a:noFill/>
                </a:ln>
                <a:solidFill>
                  <a:schemeClr val="tx1"/>
                </a:solidFill>
                <a:effectLst/>
                <a:uLnTx/>
                <a:uFillTx/>
                <a:latin typeface="Pfizer Diatype Office"/>
                <a:ea typeface="+mn-ea"/>
                <a:cs typeface="+mn-cs"/>
              </a:rPr>
              <a:t>. [13, 19]</a:t>
            </a:r>
          </a:p>
          <a:p>
            <a:pPr marR="0" lvl="0" algn="l" defTabSz="913852" rtl="0" eaLnBrk="1" fontAlgn="auto" latinLnBrk="0" hangingPunct="1">
              <a:lnSpc>
                <a:spcPct val="100000"/>
              </a:lnSpc>
              <a:spcBef>
                <a:spcPts val="0"/>
              </a:spcBef>
              <a:spcAft>
                <a:spcPts val="0"/>
              </a:spcAft>
              <a:buClrTx/>
              <a:buSzTx/>
              <a:tabLst/>
              <a:defRPr/>
            </a:pPr>
            <a:endParaRPr kumimoji="0" lang="fr-FR" sz="900" b="0" i="0" u="none" strike="noStrike" kern="1200" cap="none" spc="0" normalizeH="0" baseline="0" noProof="0">
              <a:ln>
                <a:noFill/>
              </a:ln>
              <a:solidFill>
                <a:schemeClr val="tx1"/>
              </a:solidFill>
              <a:effectLst/>
              <a:uLnTx/>
              <a:uFillTx/>
              <a:latin typeface="Pfizer Diatype Office"/>
              <a:ea typeface="+mn-ea"/>
              <a:cs typeface="+mn-cs"/>
            </a:endParaRPr>
          </a:p>
          <a:p>
            <a:pPr marR="0" lvl="0" algn="l" defTabSz="913852" rtl="0" eaLnBrk="1" fontAlgn="auto" latinLnBrk="0" hangingPunct="1">
              <a:lnSpc>
                <a:spcPct val="100000"/>
              </a:lnSpc>
              <a:spcBef>
                <a:spcPts val="0"/>
              </a:spcBef>
              <a:spcAft>
                <a:spcPts val="0"/>
              </a:spcAft>
              <a:buClrTx/>
              <a:buSzTx/>
              <a:tabLst/>
              <a:defRPr/>
            </a:pPr>
            <a:r>
              <a:rPr kumimoji="0" lang="fr-FR" sz="900" b="0" i="0" u="none" strike="noStrike" kern="1200" cap="none" spc="0" normalizeH="0" baseline="0" noProof="0">
                <a:ln>
                  <a:noFill/>
                </a:ln>
                <a:solidFill>
                  <a:schemeClr val="tx1"/>
                </a:solidFill>
                <a:effectLst/>
                <a:uLnTx/>
                <a:uFillTx/>
                <a:latin typeface="Pfizer Diatype Office"/>
                <a:ea typeface="+mn-ea"/>
                <a:cs typeface="+mn-cs"/>
              </a:rPr>
              <a:t>Sayfa 1, soyut, n1-3.</a:t>
            </a:r>
          </a:p>
        </p:txBody>
      </p:sp>
      <p:cxnSp>
        <p:nvCxnSpPr>
          <p:cNvPr id="7" name="Straight Connector 6">
            <a:extLst>
              <a:ext uri="{FF2B5EF4-FFF2-40B4-BE49-F238E27FC236}">
                <a16:creationId xmlns:a16="http://schemas.microsoft.com/office/drawing/2014/main" id="{A3263593-32E4-16F4-C182-DE294507B7DF}"/>
              </a:ext>
            </a:extLst>
          </p:cNvPr>
          <p:cNvCxnSpPr>
            <a:cxnSpLocks/>
            <a:stCxn id="11" idx="1"/>
            <a:endCxn id="6" idx="3"/>
          </p:cNvCxnSpPr>
          <p:nvPr/>
        </p:nvCxnSpPr>
        <p:spPr>
          <a:xfrm flipH="1">
            <a:off x="747711" y="2881313"/>
            <a:ext cx="115888" cy="436562"/>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0B07B9A9-8AAB-E0C1-07FD-3F4D3774A6B6}"/>
              </a:ext>
            </a:extLst>
          </p:cNvPr>
          <p:cNvSpPr/>
          <p:nvPr/>
        </p:nvSpPr>
        <p:spPr>
          <a:xfrm>
            <a:off x="3054351" y="1851024"/>
            <a:ext cx="2940050" cy="206057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B4E4323-5C32-2A39-93FA-E4DD5EB541AB}"/>
              </a:ext>
            </a:extLst>
          </p:cNvPr>
          <p:cNvSpPr/>
          <p:nvPr/>
        </p:nvSpPr>
        <p:spPr>
          <a:xfrm>
            <a:off x="6280149" y="2116138"/>
            <a:ext cx="1803840" cy="1176581"/>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fr-FR" sz="900" b="0" i="0" u="none" strike="noStrike" kern="1200" cap="none" spc="0" normalizeH="0" baseline="0" noProof="0">
                <a:ln>
                  <a:noFill/>
                </a:ln>
                <a:solidFill>
                  <a:schemeClr val="tx1"/>
                </a:solidFill>
                <a:effectLst/>
                <a:uLnTx/>
                <a:uFillTx/>
                <a:latin typeface="Pfizer Diatype Office"/>
                <a:ea typeface="+mn-ea"/>
                <a:cs typeface="+mn-cs"/>
              </a:rPr>
              <a:t>1. Hernandez-Ruiz, Vet. </a:t>
            </a:r>
            <a:r>
              <a:rPr kumimoji="0" lang="fr-FR" sz="900" b="0" i="0" u="none" strike="noStrike" kern="1200" cap="none" spc="0" normalizeH="0" baseline="0" noProof="0" err="1">
                <a:ln>
                  <a:noFill/>
                </a:ln>
                <a:solidFill>
                  <a:schemeClr val="tx1"/>
                </a:solidFill>
                <a:effectLst/>
                <a:uLnTx/>
                <a:uFillTx/>
                <a:latin typeface="Pfizer Diatype Office"/>
                <a:ea typeface="+mn-ea"/>
                <a:cs typeface="+mn-cs"/>
              </a:rPr>
              <a:t>Nörolojik</a:t>
            </a:r>
            <a:r>
              <a:rPr kumimoji="0" lang="fr-FR" sz="900" b="0" i="0" u="none" strike="noStrike" kern="1200" cap="none" spc="0" normalizeH="0" baseline="0" noProof="0">
                <a:ln>
                  <a:noFill/>
                </a:ln>
                <a:solidFill>
                  <a:schemeClr val="tx1"/>
                </a:solidFill>
                <a:effectLst/>
                <a:uLnTx/>
                <a:uFillTx/>
                <a:latin typeface="Pfizer Diatype Office"/>
                <a:ea typeface="+mn-ea"/>
                <a:cs typeface="+mn-cs"/>
              </a:rPr>
              <a:t> Bilimler, 2022.43:621-6224.</a:t>
            </a:r>
          </a:p>
          <a:p>
            <a:pPr marL="228600" marR="0" lvl="0" indent="-228600" algn="l" defTabSz="913852" rtl="0" eaLnBrk="1" fontAlgn="auto" latinLnBrk="0" hangingPunct="1">
              <a:lnSpc>
                <a:spcPct val="100000"/>
              </a:lnSpc>
              <a:spcBef>
                <a:spcPts val="0"/>
              </a:spcBef>
              <a:spcAft>
                <a:spcPts val="0"/>
              </a:spcAft>
              <a:buClrTx/>
              <a:buSzTx/>
              <a:buAutoNum type="arabicPeriod"/>
              <a:tabLst/>
              <a:defRPr/>
            </a:pPr>
            <a:endParaRPr kumimoji="0" lang="en-GB" sz="900" b="0" i="0" u="none" strike="noStrike" kern="1200" cap="none" spc="0" normalizeH="0" baseline="0" noProof="0">
              <a:ln>
                <a:noFill/>
              </a:ln>
              <a:solidFill>
                <a:schemeClr val="tx1"/>
              </a:solidFill>
              <a:effectLst/>
              <a:uLnTx/>
              <a:uFillTx/>
              <a:latin typeface="Pfizer Diatype Office"/>
              <a:ea typeface="+mn-ea"/>
              <a:cs typeface="+mn-cs"/>
            </a:endParaRP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Sayfa 2, sütun 1, paragraf 2, ln6-13</a:t>
            </a: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Sayfa 2, sütun 2, para 2, ln2-8</a:t>
            </a: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Sayfa 2, sütun 2, paragraf 3, ln1-8</a:t>
            </a:r>
          </a:p>
        </p:txBody>
      </p:sp>
      <p:cxnSp>
        <p:nvCxnSpPr>
          <p:cNvPr id="10" name="Straight Connector 9">
            <a:extLst>
              <a:ext uri="{FF2B5EF4-FFF2-40B4-BE49-F238E27FC236}">
                <a16:creationId xmlns:a16="http://schemas.microsoft.com/office/drawing/2014/main" id="{BC58F629-239E-E505-F367-20DF08D7D3BD}"/>
              </a:ext>
            </a:extLst>
          </p:cNvPr>
          <p:cNvCxnSpPr>
            <a:cxnSpLocks/>
            <a:stCxn id="8" idx="3"/>
            <a:endCxn id="9" idx="1"/>
          </p:cNvCxnSpPr>
          <p:nvPr/>
        </p:nvCxnSpPr>
        <p:spPr>
          <a:xfrm flipV="1">
            <a:off x="5994401" y="2704429"/>
            <a:ext cx="285748" cy="176882"/>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02435A02-154F-6230-3612-56BB1D5529BA}"/>
              </a:ext>
            </a:extLst>
          </p:cNvPr>
          <p:cNvSpPr/>
          <p:nvPr/>
        </p:nvSpPr>
        <p:spPr>
          <a:xfrm>
            <a:off x="863599" y="1851025"/>
            <a:ext cx="2143369" cy="206057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9F59110-564D-D8FE-2A44-8132EEAC5E77}"/>
              </a:ext>
            </a:extLst>
          </p:cNvPr>
          <p:cNvSpPr/>
          <p:nvPr/>
        </p:nvSpPr>
        <p:spPr>
          <a:xfrm>
            <a:off x="-1138239" y="1492251"/>
            <a:ext cx="1885951" cy="952500"/>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1. </a:t>
            </a:r>
            <a:r>
              <a:rPr kumimoji="0" lang="fr-FR" sz="900" b="0" i="0" u="none" strike="noStrike" kern="1200" cap="none" spc="0" normalizeH="0" baseline="0" noProof="0">
                <a:ln>
                  <a:noFill/>
                </a:ln>
                <a:solidFill>
                  <a:schemeClr val="tx1"/>
                </a:solidFill>
                <a:effectLst/>
                <a:uLnTx/>
                <a:uFillTx/>
                <a:latin typeface="Pfizer Diatype Office"/>
                <a:ea typeface="+mn-ea"/>
                <a:cs typeface="+mn-cs"/>
              </a:rPr>
              <a:t>Hernandez-Ruiz, Vet. </a:t>
            </a:r>
            <a:r>
              <a:rPr kumimoji="0" lang="fr-FR" sz="900" b="0" i="0" u="none" strike="noStrike" kern="1200" cap="none" spc="0" normalizeH="0" baseline="0" noProof="0" err="1">
                <a:ln>
                  <a:noFill/>
                </a:ln>
                <a:solidFill>
                  <a:schemeClr val="tx1"/>
                </a:solidFill>
                <a:effectLst/>
                <a:uLnTx/>
                <a:uFillTx/>
                <a:latin typeface="Pfizer Diatype Office"/>
                <a:ea typeface="+mn-ea"/>
                <a:cs typeface="+mn-cs"/>
              </a:rPr>
              <a:t>Nörolojik</a:t>
            </a:r>
            <a:r>
              <a:rPr kumimoji="0" lang="fr-FR" sz="900" b="0" i="0" u="none" strike="noStrike" kern="1200" cap="none" spc="0" normalizeH="0" baseline="0" noProof="0">
                <a:ln>
                  <a:noFill/>
                </a:ln>
                <a:solidFill>
                  <a:schemeClr val="tx1"/>
                </a:solidFill>
                <a:effectLst/>
                <a:uLnTx/>
                <a:uFillTx/>
                <a:latin typeface="Pfizer Diatype Office"/>
                <a:ea typeface="+mn-ea"/>
                <a:cs typeface="+mn-cs"/>
              </a:rPr>
              <a:t> Bilimler, 2022.43:621-6224.</a:t>
            </a:r>
            <a:endParaRPr kumimoji="0" lang="en-GB" sz="900" b="0" i="0" u="none" strike="noStrike" kern="1200" cap="none" spc="0" normalizeH="0" baseline="0" noProof="0">
              <a:ln>
                <a:noFill/>
              </a:ln>
              <a:solidFill>
                <a:schemeClr val="tx1"/>
              </a:solidFill>
              <a:effectLst/>
              <a:uLnTx/>
              <a:uFillTx/>
              <a:latin typeface="Pfizer Diatype Office"/>
              <a:ea typeface="+mn-ea"/>
              <a:cs typeface="+mn-cs"/>
            </a:endParaRPr>
          </a:p>
          <a:p>
            <a:pPr marR="0" lvl="0" algn="l" defTabSz="913852" rtl="0" eaLnBrk="1" fontAlgn="auto" latinLnBrk="0" hangingPunct="1">
              <a:lnSpc>
                <a:spcPct val="100000"/>
              </a:lnSpc>
              <a:spcBef>
                <a:spcPts val="0"/>
              </a:spcBef>
              <a:spcAft>
                <a:spcPts val="0"/>
              </a:spcAft>
              <a:buClrTx/>
              <a:buSzTx/>
              <a:tabLst/>
              <a:defRPr/>
            </a:pPr>
            <a:endParaRPr kumimoji="0" lang="en-GB" sz="900" b="0" i="0" u="none" strike="noStrike" kern="1200" cap="none" spc="0" normalizeH="0" baseline="0" noProof="0">
              <a:ln>
                <a:noFill/>
              </a:ln>
              <a:solidFill>
                <a:schemeClr val="tx1"/>
              </a:solidFill>
              <a:effectLst/>
              <a:uLnTx/>
              <a:uFillTx/>
              <a:latin typeface="Pfizer Diatype Office"/>
              <a:ea typeface="+mn-ea"/>
              <a:cs typeface="+mn-cs"/>
            </a:endParaRP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Sayfa 1, sütun 1, son satır, sütun 2'ye kadar, ilk satır</a:t>
            </a:r>
          </a:p>
        </p:txBody>
      </p:sp>
      <p:cxnSp>
        <p:nvCxnSpPr>
          <p:cNvPr id="19" name="Straight Connector 18">
            <a:extLst>
              <a:ext uri="{FF2B5EF4-FFF2-40B4-BE49-F238E27FC236}">
                <a16:creationId xmlns:a16="http://schemas.microsoft.com/office/drawing/2014/main" id="{1C54DD38-73AA-B4AD-7D98-4386880FEB32}"/>
              </a:ext>
            </a:extLst>
          </p:cNvPr>
          <p:cNvCxnSpPr>
            <a:cxnSpLocks/>
            <a:stCxn id="5" idx="1"/>
            <a:endCxn id="18" idx="3"/>
          </p:cNvCxnSpPr>
          <p:nvPr/>
        </p:nvCxnSpPr>
        <p:spPr>
          <a:xfrm flipH="1">
            <a:off x="747712" y="1736726"/>
            <a:ext cx="115888" cy="231775"/>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53965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Slide Number Placeholder 3"/>
          <p:cNvSpPr>
            <a:spLocks noGrp="1"/>
          </p:cNvSpPr>
          <p:nvPr>
            <p:ph type="sldNum" sz="quarter" idx="5"/>
          </p:nvPr>
        </p:nvSpPr>
        <p:spPr/>
        <p:txBody>
          <a:bodyPr/>
          <a:lstStyle/>
          <a:p>
            <a:fld id="{A66EB0F6-0CBB-6A4E-B00F-31FF6D66F0DB}" type="slidenum">
              <a:rPr lang="en-US" smtClean="0"/>
              <a:pPr/>
              <a:t>56</a:t>
            </a:fld>
            <a:endParaRPr lang="en-US"/>
          </a:p>
        </p:txBody>
      </p:sp>
      <p:sp>
        <p:nvSpPr>
          <p:cNvPr id="5" name="Rectangle 4">
            <a:extLst>
              <a:ext uri="{FF2B5EF4-FFF2-40B4-BE49-F238E27FC236}">
                <a16:creationId xmlns:a16="http://schemas.microsoft.com/office/drawing/2014/main" id="{A5FA8E8A-11E9-300F-29A3-516F56C8A4ED}"/>
              </a:ext>
            </a:extLst>
          </p:cNvPr>
          <p:cNvSpPr/>
          <p:nvPr/>
        </p:nvSpPr>
        <p:spPr>
          <a:xfrm>
            <a:off x="852055" y="1250950"/>
            <a:ext cx="5262995" cy="264795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D6FB416E-A529-6F81-82D4-689E5B3F3625}"/>
              </a:ext>
            </a:extLst>
          </p:cNvPr>
          <p:cNvSpPr/>
          <p:nvPr/>
        </p:nvSpPr>
        <p:spPr>
          <a:xfrm>
            <a:off x="6308728" y="2056607"/>
            <a:ext cx="2149475" cy="959643"/>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1. Torres, A ve diğ. Uzman Rahip Anti Enfektif </a:t>
            </a:r>
            <a:r>
              <a:rPr kumimoji="0" lang="en-GB" sz="900" b="0" i="0" u="none" strike="noStrike" kern="1200" cap="none" spc="0" normalizeH="0" baseline="0" noProof="0" err="1">
                <a:ln>
                  <a:noFill/>
                </a:ln>
                <a:solidFill>
                  <a:schemeClr val="tx1"/>
                </a:solidFill>
                <a:effectLst/>
                <a:uLnTx/>
                <a:uFillTx/>
                <a:latin typeface="Pfizer Diatype Office"/>
                <a:ea typeface="+mn-ea"/>
                <a:cs typeface="+mn-cs"/>
              </a:rPr>
              <a:t>Var</a:t>
            </a:r>
            <a:r>
              <a:rPr kumimoji="0" lang="en-GB" sz="900" b="0" i="0" u="none" strike="noStrike" kern="1200" cap="none" spc="0" normalizeH="0" baseline="0" noProof="0">
                <a:ln>
                  <a:noFill/>
                </a:ln>
                <a:solidFill>
                  <a:schemeClr val="tx1"/>
                </a:solidFill>
                <a:effectLst/>
                <a:uLnTx/>
                <a:uFillTx/>
                <a:latin typeface="Pfizer Diatype Office"/>
                <a:ea typeface="+mn-ea"/>
                <a:cs typeface="+mn-cs"/>
              </a:rPr>
              <a:t>. 2025 Oca - 31:13</a:t>
            </a: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Sayfa 2, Tablo 1.</a:t>
            </a:r>
          </a:p>
        </p:txBody>
      </p:sp>
      <p:cxnSp>
        <p:nvCxnSpPr>
          <p:cNvPr id="7" name="Straight Connector 6">
            <a:extLst>
              <a:ext uri="{FF2B5EF4-FFF2-40B4-BE49-F238E27FC236}">
                <a16:creationId xmlns:a16="http://schemas.microsoft.com/office/drawing/2014/main" id="{9E9EF6AB-6044-5746-869F-FA0DF1165FFB}"/>
              </a:ext>
            </a:extLst>
          </p:cNvPr>
          <p:cNvCxnSpPr>
            <a:cxnSpLocks/>
            <a:stCxn id="6" idx="1"/>
          </p:cNvCxnSpPr>
          <p:nvPr/>
        </p:nvCxnSpPr>
        <p:spPr>
          <a:xfrm flipH="1" flipV="1">
            <a:off x="6115050" y="2260600"/>
            <a:ext cx="193678" cy="27582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261622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2F05B3-A817-00A2-E0F1-58C46C42BD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06C646-F1EB-12E1-2A44-BAA2785C31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410669-8BA8-974D-904F-C234954614EF}"/>
              </a:ext>
            </a:extLst>
          </p:cNvPr>
          <p:cNvSpPr>
            <a:spLocks noGrp="1"/>
          </p:cNvSpPr>
          <p:nvPr>
            <p:ph type="body" idx="1"/>
          </p:nvPr>
        </p:nvSpPr>
        <p:spPr/>
        <p:txBody>
          <a:bodyPr/>
          <a:lstStyle/>
          <a:p>
            <a:pPr marL="0" marR="0" lvl="0" indent="0" algn="l" defTabSz="228520" rtl="0" eaLnBrk="1" fontAlgn="auto" latinLnBrk="0" hangingPunct="1">
              <a:spcAft>
                <a:spcPts val="200"/>
              </a:spcAft>
              <a:buClrTx/>
              <a:buSzTx/>
              <a:buFontTx/>
              <a:buNone/>
              <a:tabLst/>
              <a:defRPr/>
            </a:pPr>
            <a:r>
              <a:rPr kumimoji="0" lang="en-US" sz="900" b="0" i="0" u="none" strike="noStrike" kern="1200" cap="none" spc="0" normalizeH="0" baseline="0" noProof="0">
                <a:ln>
                  <a:noFill/>
                </a:ln>
                <a:effectLst/>
                <a:uLnTx/>
                <a:uFillTx/>
              </a:rPr>
              <a:t>RSV, </a:t>
            </a:r>
            <a:r>
              <a:rPr lang="en-US" sz="900" b="0" err="1"/>
              <a:t>astım</a:t>
            </a:r>
            <a:r>
              <a:rPr lang="en-US" sz="900" b="0"/>
              <a:t>, KOAH ve kronik kalp yetmezliği</a:t>
            </a:r>
            <a:r>
              <a:rPr kumimoji="0" lang="en-US" sz="900" b="0" i="0" u="none" strike="noStrike" kern="1200" cap="none" spc="0" normalizeH="0" baseline="0" noProof="0">
                <a:ln>
                  <a:noFill/>
                </a:ln>
                <a:effectLst/>
                <a:uLnTx/>
                <a:uFillTx/>
              </a:rPr>
              <a:t> gibi</a:t>
            </a:r>
            <a:r>
              <a:rPr lang="en-US" sz="900" b="0"/>
              <a:t> akut solunum yetmezliği, pnömoni, hastaneye yatış ve ölüm gibi şiddetli sonuçlara neden olan</a:t>
            </a:r>
            <a:r>
              <a:rPr kumimoji="0" lang="en-US" sz="900" b="0" i="0" u="none" strike="noStrike" kern="1200" cap="none" spc="0" normalizeH="0" baseline="0" noProof="0">
                <a:ln>
                  <a:noFill/>
                </a:ln>
                <a:effectLst/>
                <a:uLnTx/>
                <a:uFillTx/>
              </a:rPr>
              <a:t> kompozit</a:t>
            </a:r>
            <a:r>
              <a:rPr lang="en-US" sz="900" b="0"/>
              <a:t> durumları</a:t>
            </a:r>
            <a:r>
              <a:rPr kumimoji="0" lang="en-US" sz="900" b="0" i="0" u="none" strike="noStrike" kern="1200" cap="none" spc="0" normalizeH="0" baseline="0" noProof="0">
                <a:ln>
                  <a:noFill/>
                </a:ln>
                <a:effectLst/>
                <a:uLnTx/>
                <a:uFillTx/>
              </a:rPr>
              <a:t> kötüleştirebilir</a:t>
            </a:r>
          </a:p>
          <a:p>
            <a:pPr>
              <a:spcAft>
                <a:spcPts val="200"/>
              </a:spcAft>
              <a:defRPr/>
            </a:pPr>
            <a:r>
              <a:rPr lang="en-GB" sz="900" b="0"/>
              <a:t>Mevcut KOAH, astım ve yüksek kan basıncının kötüleşmesi, yakın zamanda CAP</a:t>
            </a:r>
            <a:r>
              <a:rPr lang="en-GB" sz="900" b="0" baseline="30000"/>
              <a:t>2</a:t>
            </a:r>
            <a:r>
              <a:rPr lang="en-GB" sz="900" b="0"/>
              <a:t> tanısı konan hastaların %20'sinden fazlasında bildirilmiştir</a:t>
            </a:r>
          </a:p>
          <a:p>
            <a:pPr marL="285750" marR="0" lvl="0" indent="-285750" algn="l" defTabSz="228520" rtl="0" eaLnBrk="1" fontAlgn="auto" latinLnBrk="0" hangingPunct="1">
              <a:spcAft>
                <a:spcPts val="200"/>
              </a:spcAft>
              <a:buClrTx/>
              <a:buSzTx/>
              <a:buFont typeface="Arial" panose="020B0604020202020204" pitchFamily="34" charset="0"/>
              <a:buChar char="•"/>
              <a:tabLst/>
              <a:defRPr/>
            </a:pPr>
            <a:r>
              <a:rPr lang="en-GB" sz="900" b="0"/>
              <a:t>Hastalar ayrıca kronik bronşit, diyabet, kronik amfizem ve kalp hastalıklarının kötüleştiğini de bildirdiler </a:t>
            </a:r>
          </a:p>
          <a:p>
            <a:pPr marR="0" lvl="0" algn="l" defTabSz="228520" rtl="0" eaLnBrk="1" fontAlgn="auto" latinLnBrk="0" hangingPunct="1">
              <a:lnSpc>
                <a:spcPct val="100000"/>
              </a:lnSpc>
              <a:spcBef>
                <a:spcPts val="0"/>
              </a:spcBef>
              <a:spcAft>
                <a:spcPts val="200"/>
              </a:spcAft>
              <a:buClrTx/>
              <a:buSzTx/>
              <a:tabLst/>
              <a:defRPr/>
            </a:pPr>
            <a:r>
              <a:rPr lang="en-GB" sz="900" b="0"/>
              <a:t>Şiddetli ve kritik bir COVID-19, kronik böbrek</a:t>
            </a:r>
            <a:r>
              <a:rPr lang="en-GB" sz="900" b="0" baseline="30000"/>
              <a:t>3</a:t>
            </a:r>
            <a:r>
              <a:rPr lang="en-GB" sz="900" b="0"/>
              <a:t> ve karaciğer</a:t>
            </a:r>
            <a:r>
              <a:rPr lang="en-GB" sz="900" b="0" baseline="30000"/>
              <a:t>4</a:t>
            </a:r>
            <a:r>
              <a:rPr lang="en-GB" sz="900" b="0"/>
              <a:t> hastalıklarının kötüleşmesi veya ilerlemesiyle ilişkilidir</a:t>
            </a:r>
          </a:p>
          <a:p>
            <a:r>
              <a:rPr lang="en-GB" sz="900" b="0"/>
              <a:t>Grip virüslerinin KOAH'ın şiddetlenmesinde, havalandırılmamış hastane kökenli pnömonide ve akut solunum sıkıntısı gibi komplikasyonlara neden olmada rol oynadıkları gösterilmiştir</a:t>
            </a:r>
            <a:r>
              <a:rPr lang="en-GB" sz="900" b="0" baseline="30000"/>
              <a:t>5</a:t>
            </a:r>
            <a:endParaRPr lang="en-US" sz="900" b="0"/>
          </a:p>
          <a:p>
            <a:endParaRPr lang="en-US" sz="900"/>
          </a:p>
        </p:txBody>
      </p:sp>
      <p:sp>
        <p:nvSpPr>
          <p:cNvPr id="4" name="Slide Number Placeholder 3">
            <a:extLst>
              <a:ext uri="{FF2B5EF4-FFF2-40B4-BE49-F238E27FC236}">
                <a16:creationId xmlns:a16="http://schemas.microsoft.com/office/drawing/2014/main" id="{D81FDD31-B9B4-BBE3-B098-97612A1DC0DE}"/>
              </a:ext>
            </a:extLst>
          </p:cNvPr>
          <p:cNvSpPr>
            <a:spLocks noGrp="1"/>
          </p:cNvSpPr>
          <p:nvPr>
            <p:ph type="sldNum" sz="quarter" idx="5"/>
          </p:nvPr>
        </p:nvSpPr>
        <p:spPr/>
        <p:txBody>
          <a:bodyPr/>
          <a:lstStyle/>
          <a:p>
            <a:fld id="{A66EB0F6-0CBB-6A4E-B00F-31FF6D66F0DB}" type="slidenum">
              <a:rPr lang="en-US" smtClean="0"/>
              <a:pPr/>
              <a:t>57</a:t>
            </a:fld>
            <a:endParaRPr lang="en-US"/>
          </a:p>
        </p:txBody>
      </p:sp>
      <p:sp>
        <p:nvSpPr>
          <p:cNvPr id="5" name="Rectangle 4">
            <a:extLst>
              <a:ext uri="{FF2B5EF4-FFF2-40B4-BE49-F238E27FC236}">
                <a16:creationId xmlns:a16="http://schemas.microsoft.com/office/drawing/2014/main" id="{52D5F6B6-E2CB-D5A1-981F-56B467FC5AC6}"/>
              </a:ext>
            </a:extLst>
          </p:cNvPr>
          <p:cNvSpPr/>
          <p:nvPr/>
        </p:nvSpPr>
        <p:spPr>
          <a:xfrm>
            <a:off x="863601" y="1944256"/>
            <a:ext cx="1936749" cy="74295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B77B9D89-99C5-0B9D-59DE-2A5B565834EB}"/>
              </a:ext>
            </a:extLst>
          </p:cNvPr>
          <p:cNvSpPr/>
          <p:nvPr/>
        </p:nvSpPr>
        <p:spPr>
          <a:xfrm>
            <a:off x="-1130300" y="1411626"/>
            <a:ext cx="1745190" cy="78662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1. Yüksek Sağlık Konseyi. RSV'ye Karşı Aşılama (Yetişkinler) Eylül 2023: Sayfa 3, Paragraf 4</a:t>
            </a:r>
          </a:p>
        </p:txBody>
      </p:sp>
      <p:cxnSp>
        <p:nvCxnSpPr>
          <p:cNvPr id="7" name="Straight Connector 6">
            <a:extLst>
              <a:ext uri="{FF2B5EF4-FFF2-40B4-BE49-F238E27FC236}">
                <a16:creationId xmlns:a16="http://schemas.microsoft.com/office/drawing/2014/main" id="{1C253C1D-CB41-9D6C-9BD8-5FAB960B5AA1}"/>
              </a:ext>
            </a:extLst>
          </p:cNvPr>
          <p:cNvCxnSpPr>
            <a:cxnSpLocks/>
            <a:endCxn id="6" idx="3"/>
          </p:cNvCxnSpPr>
          <p:nvPr/>
        </p:nvCxnSpPr>
        <p:spPr>
          <a:xfrm flipH="1" flipV="1">
            <a:off x="614890" y="1804941"/>
            <a:ext cx="248711" cy="51079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31B48E42-C204-41CB-83F3-26AD926061DA}"/>
              </a:ext>
            </a:extLst>
          </p:cNvPr>
          <p:cNvSpPr/>
          <p:nvPr/>
        </p:nvSpPr>
        <p:spPr>
          <a:xfrm>
            <a:off x="4057652" y="1944256"/>
            <a:ext cx="1936749" cy="74295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86A54FD-FADF-E0AC-57F1-0CA564DCAE5F}"/>
              </a:ext>
            </a:extLst>
          </p:cNvPr>
          <p:cNvSpPr/>
          <p:nvPr/>
        </p:nvSpPr>
        <p:spPr>
          <a:xfrm>
            <a:off x="6379108" y="1411626"/>
            <a:ext cx="1745190" cy="78662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2. </a:t>
            </a:r>
            <a:r>
              <a:rPr kumimoji="0" lang="es-ES" sz="900" b="0" i="0" u="none" strike="noStrike" kern="1200" cap="none" spc="0" normalizeH="0" baseline="0" noProof="0">
                <a:ln>
                  <a:noFill/>
                </a:ln>
                <a:solidFill>
                  <a:schemeClr val="tx1"/>
                </a:solidFill>
                <a:effectLst/>
                <a:uLnTx/>
                <a:uFillTx/>
                <a:latin typeface="Pfizer Diatype Office"/>
                <a:ea typeface="+mn-ea"/>
                <a:cs typeface="+mn-cs"/>
              </a:rPr>
              <a:t>Torres A, ve diğ. </a:t>
            </a:r>
            <a:r>
              <a:rPr kumimoji="0" lang="es-ES" sz="900" b="0" i="0" u="none" strike="noStrike" kern="1200" cap="none" spc="0" normalizeH="0" baseline="0" noProof="0" err="1">
                <a:ln>
                  <a:noFill/>
                </a:ln>
                <a:solidFill>
                  <a:schemeClr val="tx1"/>
                </a:solidFill>
                <a:effectLst/>
                <a:uLnTx/>
                <a:uFillTx/>
                <a:latin typeface="Pfizer Diatype Office"/>
                <a:ea typeface="+mn-ea"/>
                <a:cs typeface="+mn-cs"/>
              </a:rPr>
              <a:t>Toraks</a:t>
            </a:r>
            <a:r>
              <a:rPr kumimoji="0" lang="es-ES" sz="900" b="0" i="0" u="none" strike="noStrike" kern="1200" cap="none" spc="0" normalizeH="0" baseline="0" noProof="0">
                <a:ln>
                  <a:noFill/>
                </a:ln>
                <a:solidFill>
                  <a:schemeClr val="tx1"/>
                </a:solidFill>
                <a:effectLst/>
                <a:uLnTx/>
                <a:uFillTx/>
                <a:latin typeface="Pfizer Diatype Office"/>
                <a:ea typeface="+mn-ea"/>
                <a:cs typeface="+mn-cs"/>
              </a:rPr>
              <a:t>. 2015; 70(10):984-989: Sayfa 4, sütun 2, para 6</a:t>
            </a:r>
            <a:endParaRPr kumimoji="0" lang="en-GB" sz="900" b="0" i="0" u="none" strike="noStrike" kern="1200" cap="none" spc="0" normalizeH="0" baseline="0" noProof="0">
              <a:ln>
                <a:noFill/>
              </a:ln>
              <a:solidFill>
                <a:schemeClr val="tx1"/>
              </a:solidFill>
              <a:effectLst/>
              <a:uLnTx/>
              <a:uFillTx/>
              <a:latin typeface="Pfizer Diatype Office"/>
              <a:ea typeface="+mn-ea"/>
              <a:cs typeface="+mn-cs"/>
            </a:endParaRPr>
          </a:p>
        </p:txBody>
      </p:sp>
      <p:cxnSp>
        <p:nvCxnSpPr>
          <p:cNvPr id="10" name="Straight Connector 9">
            <a:extLst>
              <a:ext uri="{FF2B5EF4-FFF2-40B4-BE49-F238E27FC236}">
                <a16:creationId xmlns:a16="http://schemas.microsoft.com/office/drawing/2014/main" id="{11C2439B-6604-BDA7-150B-0A2E32BC962B}"/>
              </a:ext>
            </a:extLst>
          </p:cNvPr>
          <p:cNvCxnSpPr>
            <a:cxnSpLocks/>
            <a:stCxn id="8" idx="3"/>
            <a:endCxn id="9" idx="1"/>
          </p:cNvCxnSpPr>
          <p:nvPr/>
        </p:nvCxnSpPr>
        <p:spPr>
          <a:xfrm flipV="1">
            <a:off x="5994401" y="1804941"/>
            <a:ext cx="384707" cy="51079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760BFE36-D5B9-9642-E1BD-8348CCC70FC0}"/>
              </a:ext>
            </a:extLst>
          </p:cNvPr>
          <p:cNvSpPr/>
          <p:nvPr/>
        </p:nvSpPr>
        <p:spPr>
          <a:xfrm>
            <a:off x="863601" y="2709046"/>
            <a:ext cx="1936749" cy="66237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3C68A83-C3CA-0F02-FD4F-8918FA3F2CB0}"/>
              </a:ext>
            </a:extLst>
          </p:cNvPr>
          <p:cNvSpPr/>
          <p:nvPr/>
        </p:nvSpPr>
        <p:spPr>
          <a:xfrm>
            <a:off x="-1130300" y="2176416"/>
            <a:ext cx="1745190" cy="98703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3. </a:t>
            </a:r>
            <a:r>
              <a:rPr kumimoji="0" lang="en-GB" sz="900" b="0" i="0" u="none" strike="noStrike" kern="1200" cap="none" spc="0" normalizeH="0" baseline="0" noProof="0" err="1">
                <a:ln>
                  <a:noFill/>
                </a:ln>
                <a:solidFill>
                  <a:schemeClr val="tx1"/>
                </a:solidFill>
                <a:effectLst/>
                <a:uLnTx/>
                <a:uFillTx/>
                <a:latin typeface="Pfizer Diatype Office"/>
                <a:ea typeface="+mn-ea"/>
                <a:cs typeface="+mn-cs"/>
              </a:rPr>
              <a:t>Hultström</a:t>
            </a:r>
            <a:r>
              <a:rPr kumimoji="0" lang="en-GB" sz="900" b="0" i="0" u="none" strike="noStrike" kern="1200" cap="none" spc="0" normalizeH="0" baseline="0" noProof="0">
                <a:ln>
                  <a:noFill/>
                </a:ln>
                <a:solidFill>
                  <a:schemeClr val="tx1"/>
                </a:solidFill>
                <a:effectLst/>
                <a:uLnTx/>
                <a:uFillTx/>
                <a:latin typeface="Pfizer Diatype Office"/>
                <a:ea typeface="+mn-ea"/>
                <a:cs typeface="+mn-cs"/>
              </a:rPr>
              <a:t> M, ve diğ. Kritik Bakım. 2021; 25(1):37: Sayfa 3, sütun 1, para 2.</a:t>
            </a: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4. Hu, X ve diğ. Ann Hepatol. 2022; 27(1):100653: Sayfa 8, sütun 1, para 2.</a:t>
            </a:r>
          </a:p>
        </p:txBody>
      </p:sp>
      <p:cxnSp>
        <p:nvCxnSpPr>
          <p:cNvPr id="13" name="Straight Connector 12">
            <a:extLst>
              <a:ext uri="{FF2B5EF4-FFF2-40B4-BE49-F238E27FC236}">
                <a16:creationId xmlns:a16="http://schemas.microsoft.com/office/drawing/2014/main" id="{162681C4-B986-C1A0-24BC-01D0BD4399AC}"/>
              </a:ext>
            </a:extLst>
          </p:cNvPr>
          <p:cNvCxnSpPr>
            <a:cxnSpLocks/>
            <a:endCxn id="12" idx="3"/>
          </p:cNvCxnSpPr>
          <p:nvPr/>
        </p:nvCxnSpPr>
        <p:spPr>
          <a:xfrm flipH="1" flipV="1">
            <a:off x="614890" y="2669936"/>
            <a:ext cx="248711" cy="410585"/>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82E5B179-71D6-58A3-022F-278754D36965}"/>
              </a:ext>
            </a:extLst>
          </p:cNvPr>
          <p:cNvSpPr/>
          <p:nvPr/>
        </p:nvSpPr>
        <p:spPr>
          <a:xfrm>
            <a:off x="4057652" y="2709046"/>
            <a:ext cx="1936749" cy="66237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298396B-7CD4-9009-34FC-8325A7D8A639}"/>
              </a:ext>
            </a:extLst>
          </p:cNvPr>
          <p:cNvSpPr/>
          <p:nvPr/>
        </p:nvSpPr>
        <p:spPr>
          <a:xfrm>
            <a:off x="6379108" y="2176416"/>
            <a:ext cx="1745190" cy="701315"/>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5. </a:t>
            </a:r>
            <a:r>
              <a:rPr kumimoji="0" lang="en-GB" sz="900" b="0" i="0" u="none" strike="noStrike" kern="1200" cap="none" spc="0" normalizeH="0" baseline="0" noProof="0" err="1">
                <a:ln>
                  <a:noFill/>
                </a:ln>
                <a:solidFill>
                  <a:schemeClr val="tx1"/>
                </a:solidFill>
                <a:effectLst/>
                <a:uLnTx/>
                <a:uFillTx/>
                <a:latin typeface="Pfizer Diatype Office"/>
                <a:ea typeface="+mn-ea"/>
                <a:cs typeface="+mn-cs"/>
              </a:rPr>
              <a:t>Koloniz</a:t>
            </a:r>
            <a:r>
              <a:rPr kumimoji="0" lang="en-GB" sz="900" b="0" i="0" u="none" strike="noStrike" kern="1200" cap="none" spc="0" normalizeH="0" baseline="0" noProof="0">
                <a:ln>
                  <a:noFill/>
                </a:ln>
                <a:solidFill>
                  <a:schemeClr val="tx1"/>
                </a:solidFill>
                <a:effectLst/>
                <a:uLnTx/>
                <a:uFillTx/>
                <a:latin typeface="Pfizer Diatype Office"/>
                <a:ea typeface="+mn-ea"/>
                <a:cs typeface="+mn-cs"/>
              </a:rPr>
              <a:t> C, ve diğ. </a:t>
            </a:r>
            <a:r>
              <a:rPr kumimoji="0" lang="en-GB" sz="900" b="0" i="0" u="none" strike="noStrike" kern="1200" cap="none" spc="0" normalizeH="0" baseline="0" noProof="0" err="1">
                <a:ln>
                  <a:noFill/>
                </a:ln>
                <a:solidFill>
                  <a:schemeClr val="tx1"/>
                </a:solidFill>
                <a:effectLst/>
                <a:uLnTx/>
                <a:uFillTx/>
                <a:latin typeface="Pfizer Diatype Office"/>
                <a:ea typeface="+mn-ea"/>
                <a:cs typeface="+mn-cs"/>
              </a:rPr>
              <a:t>Eur</a:t>
            </a:r>
            <a:r>
              <a:rPr kumimoji="0" lang="en-GB" sz="900" b="0" i="0" u="none" strike="noStrike" kern="1200" cap="none" spc="0" normalizeH="0" baseline="0" noProof="0">
                <a:ln>
                  <a:noFill/>
                </a:ln>
                <a:solidFill>
                  <a:schemeClr val="tx1"/>
                </a:solidFill>
                <a:effectLst/>
                <a:uLnTx/>
                <a:uFillTx/>
                <a:latin typeface="Pfizer Diatype Office"/>
                <a:ea typeface="+mn-ea"/>
                <a:cs typeface="+mn-cs"/>
              </a:rPr>
              <a:t> Respir Rev 2022; 31: 220051: Sayfa 3, paragraf 1-3</a:t>
            </a:r>
          </a:p>
        </p:txBody>
      </p:sp>
      <p:cxnSp>
        <p:nvCxnSpPr>
          <p:cNvPr id="16" name="Straight Connector 15">
            <a:extLst>
              <a:ext uri="{FF2B5EF4-FFF2-40B4-BE49-F238E27FC236}">
                <a16:creationId xmlns:a16="http://schemas.microsoft.com/office/drawing/2014/main" id="{E1F795CD-8FFB-97FD-CA9D-479F6D8D2835}"/>
              </a:ext>
            </a:extLst>
          </p:cNvPr>
          <p:cNvCxnSpPr>
            <a:cxnSpLocks/>
            <a:stCxn id="14" idx="3"/>
            <a:endCxn id="15" idx="1"/>
          </p:cNvCxnSpPr>
          <p:nvPr/>
        </p:nvCxnSpPr>
        <p:spPr>
          <a:xfrm flipV="1">
            <a:off x="5994401" y="2527074"/>
            <a:ext cx="384707" cy="51315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086653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DFB3FD-1677-6204-0318-3869C939A8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B61BDE-71F1-1600-184E-23143AAE1F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C13822-DF59-7F0B-6A91-CF4662E7E137}"/>
              </a:ext>
            </a:extLst>
          </p:cNvPr>
          <p:cNvSpPr>
            <a:spLocks noGrp="1"/>
          </p:cNvSpPr>
          <p:nvPr>
            <p:ph type="body" idx="1"/>
          </p:nvPr>
        </p:nvSpPr>
        <p:spPr/>
        <p:txBody>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effectLst/>
              <a:uLnTx/>
              <a:uFillTx/>
              <a:latin typeface="Pfizer Diatype Office"/>
              <a:ea typeface="+mn-ea"/>
              <a:cs typeface="+mn-cs"/>
            </a:endParaRPr>
          </a:p>
          <a:p>
            <a:endParaRPr lang="en-US" sz="900"/>
          </a:p>
        </p:txBody>
      </p:sp>
      <p:sp>
        <p:nvSpPr>
          <p:cNvPr id="4" name="Slide Number Placeholder 3">
            <a:extLst>
              <a:ext uri="{FF2B5EF4-FFF2-40B4-BE49-F238E27FC236}">
                <a16:creationId xmlns:a16="http://schemas.microsoft.com/office/drawing/2014/main" id="{662A3D28-E625-A5A3-DA90-3059F8801FF6}"/>
              </a:ext>
            </a:extLst>
          </p:cNvPr>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A66EB0F6-0CBB-6A4E-B00F-31FF6D66F0DB}"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5" name="Rectangle 4">
            <a:extLst>
              <a:ext uri="{FF2B5EF4-FFF2-40B4-BE49-F238E27FC236}">
                <a16:creationId xmlns:a16="http://schemas.microsoft.com/office/drawing/2014/main" id="{3E7BA83D-8A47-E0F0-5C6C-29AC9F39687C}"/>
              </a:ext>
            </a:extLst>
          </p:cNvPr>
          <p:cNvSpPr/>
          <p:nvPr/>
        </p:nvSpPr>
        <p:spPr>
          <a:xfrm>
            <a:off x="-2050474" y="1607127"/>
            <a:ext cx="2376055" cy="139898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1. Avrupa Aşıları boru hattı incelemesi 2023. Yarın için yenilik yapıyorum, bugün. Mevcut: https://www.vaccineseurope.eu/wp-content/uploads/2023/11/VaccinesEurope-PipelineReview2023.pdf.</a:t>
            </a: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Pfizer Diatype Office"/>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1, paragraf 1, n1-2</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1, paragraf 1, n4-7</a:t>
            </a:r>
          </a:p>
        </p:txBody>
      </p:sp>
      <p:cxnSp>
        <p:nvCxnSpPr>
          <p:cNvPr id="6" name="Straight Connector 5">
            <a:extLst>
              <a:ext uri="{FF2B5EF4-FFF2-40B4-BE49-F238E27FC236}">
                <a16:creationId xmlns:a16="http://schemas.microsoft.com/office/drawing/2014/main" id="{4F1FE5FC-084A-5A8C-4552-511C6A957B91}"/>
              </a:ext>
            </a:extLst>
          </p:cNvPr>
          <p:cNvCxnSpPr>
            <a:cxnSpLocks/>
            <a:stCxn id="5" idx="3"/>
            <a:endCxn id="7" idx="1"/>
          </p:cNvCxnSpPr>
          <p:nvPr/>
        </p:nvCxnSpPr>
        <p:spPr>
          <a:xfrm flipV="1">
            <a:off x="325581" y="1894609"/>
            <a:ext cx="581892" cy="41201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0C84A514-1069-4FB3-266F-3FC15122308D}"/>
              </a:ext>
            </a:extLst>
          </p:cNvPr>
          <p:cNvSpPr/>
          <p:nvPr/>
        </p:nvSpPr>
        <p:spPr>
          <a:xfrm>
            <a:off x="907473" y="1676400"/>
            <a:ext cx="4991677" cy="436418"/>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Rectangle 7">
            <a:extLst>
              <a:ext uri="{FF2B5EF4-FFF2-40B4-BE49-F238E27FC236}">
                <a16:creationId xmlns:a16="http://schemas.microsoft.com/office/drawing/2014/main" id="{6493C259-BBEB-EC97-A7F3-E50CA03A0181}"/>
              </a:ext>
            </a:extLst>
          </p:cNvPr>
          <p:cNvSpPr/>
          <p:nvPr/>
        </p:nvSpPr>
        <p:spPr>
          <a:xfrm>
            <a:off x="-2050474" y="3180788"/>
            <a:ext cx="2376055" cy="1221573"/>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1. Avrupa Aşıları boru hattı incelemesi 2023. Yarın için yenilik yapıyorum, bugün. Mevcut: https://www.vaccineseurope.eu/wp-content/uploads/2023/11/VaccinesEurope-PipelineReview2023.pdf.</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Şekil: Sayfa 21, paragraf 1, n2-7</a:t>
            </a:r>
          </a:p>
        </p:txBody>
      </p:sp>
      <p:cxnSp>
        <p:nvCxnSpPr>
          <p:cNvPr id="9" name="Straight Connector 8">
            <a:extLst>
              <a:ext uri="{FF2B5EF4-FFF2-40B4-BE49-F238E27FC236}">
                <a16:creationId xmlns:a16="http://schemas.microsoft.com/office/drawing/2014/main" id="{CAE9A9E1-1F42-56F6-4F32-A9393F4FC264}"/>
              </a:ext>
            </a:extLst>
          </p:cNvPr>
          <p:cNvCxnSpPr>
            <a:cxnSpLocks/>
            <a:stCxn id="8" idx="3"/>
            <a:endCxn id="10" idx="1"/>
          </p:cNvCxnSpPr>
          <p:nvPr/>
        </p:nvCxnSpPr>
        <p:spPr>
          <a:xfrm flipV="1">
            <a:off x="325581" y="2798658"/>
            <a:ext cx="581891" cy="992917"/>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0" name="Rectangle 9">
            <a:extLst>
              <a:ext uri="{FF2B5EF4-FFF2-40B4-BE49-F238E27FC236}">
                <a16:creationId xmlns:a16="http://schemas.microsoft.com/office/drawing/2014/main" id="{08066167-5F46-B334-8E0B-B8B23636AB99}"/>
              </a:ext>
            </a:extLst>
          </p:cNvPr>
          <p:cNvSpPr/>
          <p:nvPr/>
        </p:nvSpPr>
        <p:spPr>
          <a:xfrm>
            <a:off x="907472" y="2126752"/>
            <a:ext cx="4991677" cy="134381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8749BFFC-2ED5-EF72-FC4D-0B51EBF75C5D}"/>
              </a:ext>
            </a:extLst>
          </p:cNvPr>
          <p:cNvSpPr/>
          <p:nvPr/>
        </p:nvSpPr>
        <p:spPr>
          <a:xfrm>
            <a:off x="907472" y="3470563"/>
            <a:ext cx="4991677" cy="23214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246B497A-D895-0824-EB49-A48E44A4C9AC}"/>
              </a:ext>
            </a:extLst>
          </p:cNvPr>
          <p:cNvSpPr/>
          <p:nvPr/>
        </p:nvSpPr>
        <p:spPr>
          <a:xfrm>
            <a:off x="6026726" y="3380508"/>
            <a:ext cx="2376055" cy="1191491"/>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1. Avrupa Aşıları boru hattı incelemesi 2023. Yarın için yenilik yapıyorum, bugün. Mevcut: https://www.vaccineseurope.eu/wp-content/uploads/2023/11/VaccinesEurope-PipelineReview2023.pdf.</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1, paragraf 1, n2-7</a:t>
            </a:r>
          </a:p>
        </p:txBody>
      </p:sp>
      <p:cxnSp>
        <p:nvCxnSpPr>
          <p:cNvPr id="13" name="Straight Connector 12">
            <a:extLst>
              <a:ext uri="{FF2B5EF4-FFF2-40B4-BE49-F238E27FC236}">
                <a16:creationId xmlns:a16="http://schemas.microsoft.com/office/drawing/2014/main" id="{AA498335-6427-CE3B-A1A1-FB95D776581B}"/>
              </a:ext>
            </a:extLst>
          </p:cNvPr>
          <p:cNvCxnSpPr>
            <a:cxnSpLocks/>
            <a:stCxn id="12" idx="1"/>
            <a:endCxn id="11" idx="3"/>
          </p:cNvCxnSpPr>
          <p:nvPr/>
        </p:nvCxnSpPr>
        <p:spPr>
          <a:xfrm flipH="1" flipV="1">
            <a:off x="5899149" y="3586635"/>
            <a:ext cx="127577" cy="38961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68875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Slide Number Placeholder 3"/>
          <p:cNvSpPr>
            <a:spLocks noGrp="1"/>
          </p:cNvSpPr>
          <p:nvPr>
            <p:ph type="sldNum" sz="quarter" idx="5"/>
          </p:nvPr>
        </p:nvSpPr>
        <p:spPr/>
        <p:txBody>
          <a:bodyPr/>
          <a:lstStyle/>
          <a:p>
            <a:fld id="{A66EB0F6-0CBB-6A4E-B00F-31FF6D66F0DB}" type="slidenum">
              <a:rPr lang="en-US" smtClean="0"/>
              <a:pPr/>
              <a:t>8</a:t>
            </a:fld>
            <a:endParaRPr lang="en-US"/>
          </a:p>
        </p:txBody>
      </p:sp>
      <p:sp>
        <p:nvSpPr>
          <p:cNvPr id="5" name="Rectangle 4">
            <a:extLst>
              <a:ext uri="{FF2B5EF4-FFF2-40B4-BE49-F238E27FC236}">
                <a16:creationId xmlns:a16="http://schemas.microsoft.com/office/drawing/2014/main" id="{C3651F37-102A-CCC7-AC5D-9644BE5B66C7}"/>
              </a:ext>
            </a:extLst>
          </p:cNvPr>
          <p:cNvSpPr/>
          <p:nvPr/>
        </p:nvSpPr>
        <p:spPr>
          <a:xfrm>
            <a:off x="863600" y="1622426"/>
            <a:ext cx="3659909" cy="2286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B472F704-57A5-7F06-2444-8576D32765E8}"/>
              </a:ext>
            </a:extLst>
          </p:cNvPr>
          <p:cNvSpPr/>
          <p:nvPr/>
        </p:nvSpPr>
        <p:spPr>
          <a:xfrm>
            <a:off x="-1138240" y="2559050"/>
            <a:ext cx="1885951" cy="1517650"/>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1. </a:t>
            </a:r>
            <a:r>
              <a:rPr kumimoji="0" lang="fr-FR" sz="900" b="0" i="0" u="none" strike="noStrike" kern="1200" cap="none" spc="0" normalizeH="0" baseline="0" noProof="0">
                <a:ln>
                  <a:noFill/>
                </a:ln>
                <a:solidFill>
                  <a:schemeClr val="tx1"/>
                </a:solidFill>
                <a:effectLst/>
                <a:uLnTx/>
                <a:uFillTx/>
                <a:latin typeface="Pfizer Diatype Office"/>
                <a:ea typeface="+mn-ea"/>
                <a:cs typeface="+mn-cs"/>
              </a:rPr>
              <a:t>Hernandez-Ruiz, Vet. </a:t>
            </a:r>
            <a:r>
              <a:rPr kumimoji="0" lang="fr-FR" sz="900" b="0" i="0" u="none" strike="noStrike" kern="1200" cap="none" spc="0" normalizeH="0" baseline="0" noProof="0" err="1">
                <a:ln>
                  <a:noFill/>
                </a:ln>
                <a:solidFill>
                  <a:schemeClr val="tx1"/>
                </a:solidFill>
                <a:effectLst/>
                <a:uLnTx/>
                <a:uFillTx/>
                <a:latin typeface="Pfizer Diatype Office"/>
                <a:ea typeface="+mn-ea"/>
                <a:cs typeface="+mn-cs"/>
              </a:rPr>
              <a:t>Nörolojik</a:t>
            </a:r>
            <a:r>
              <a:rPr kumimoji="0" lang="fr-FR" sz="900" b="0" i="0" u="none" strike="noStrike" kern="1200" cap="none" spc="0" normalizeH="0" baseline="0" noProof="0">
                <a:ln>
                  <a:noFill/>
                </a:ln>
                <a:solidFill>
                  <a:schemeClr val="tx1"/>
                </a:solidFill>
                <a:effectLst/>
                <a:uLnTx/>
                <a:uFillTx/>
                <a:latin typeface="Pfizer Diatype Office"/>
                <a:ea typeface="+mn-ea"/>
                <a:cs typeface="+mn-cs"/>
              </a:rPr>
              <a:t> Bilimler, 2022.43:621-6224.</a:t>
            </a:r>
            <a:endParaRPr kumimoji="0" lang="en-GB" sz="900" b="0" i="0" u="none" strike="noStrike" kern="1200" cap="none" spc="0" normalizeH="0" baseline="0" noProof="0">
              <a:ln>
                <a:noFill/>
              </a:ln>
              <a:solidFill>
                <a:schemeClr val="tx1"/>
              </a:solidFill>
              <a:effectLst/>
              <a:uLnTx/>
              <a:uFillTx/>
              <a:latin typeface="Pfizer Diatype Office"/>
              <a:ea typeface="+mn-ea"/>
              <a:cs typeface="+mn-cs"/>
            </a:endParaRPr>
          </a:p>
          <a:p>
            <a:pPr marR="0" lvl="0" algn="l" defTabSz="913852" rtl="0" eaLnBrk="1" fontAlgn="auto" latinLnBrk="0" hangingPunct="1">
              <a:lnSpc>
                <a:spcPct val="100000"/>
              </a:lnSpc>
              <a:spcBef>
                <a:spcPts val="0"/>
              </a:spcBef>
              <a:spcAft>
                <a:spcPts val="0"/>
              </a:spcAft>
              <a:buClrTx/>
              <a:buSzTx/>
              <a:tabLst/>
              <a:defRPr/>
            </a:pPr>
            <a:endParaRPr kumimoji="0" lang="en-GB" sz="900" b="0" i="0" u="none" strike="noStrike" kern="1200" cap="none" spc="0" normalizeH="0" baseline="0" noProof="0">
              <a:ln>
                <a:noFill/>
              </a:ln>
              <a:solidFill>
                <a:schemeClr val="tx1"/>
              </a:solidFill>
              <a:effectLst/>
              <a:uLnTx/>
              <a:uFillTx/>
              <a:latin typeface="Pfizer Diatype Office"/>
              <a:ea typeface="+mn-ea"/>
              <a:cs typeface="+mn-cs"/>
            </a:endParaRP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Sayfa 2, sütun 1, para 2, ln1-3</a:t>
            </a:r>
          </a:p>
          <a:p>
            <a:pPr marR="0" lvl="0" algn="l" defTabSz="913852" rtl="0" eaLnBrk="1" fontAlgn="auto" latinLnBrk="0" hangingPunct="1">
              <a:lnSpc>
                <a:spcPct val="100000"/>
              </a:lnSpc>
              <a:spcBef>
                <a:spcPts val="0"/>
              </a:spcBef>
              <a:spcAft>
                <a:spcPts val="0"/>
              </a:spcAft>
              <a:buClrTx/>
              <a:buSzTx/>
              <a:tabLst/>
              <a:defRPr/>
            </a:pPr>
            <a:endParaRPr kumimoji="0" lang="en-GB" sz="900" b="0" i="0" u="none" strike="noStrike" kern="1200" cap="none" spc="0" normalizeH="0" baseline="0" noProof="0">
              <a:ln>
                <a:noFill/>
              </a:ln>
              <a:solidFill>
                <a:schemeClr val="tx1"/>
              </a:solidFill>
              <a:effectLst/>
              <a:uLnTx/>
              <a:uFillTx/>
              <a:latin typeface="Pfizer Diatype Office"/>
              <a:ea typeface="+mn-ea"/>
              <a:cs typeface="+mn-cs"/>
            </a:endParaRPr>
          </a:p>
          <a:p>
            <a:pPr marR="0" lvl="0" algn="l" defTabSz="913852" rtl="0" eaLnBrk="1" fontAlgn="auto" latinLnBrk="0" hangingPunct="1">
              <a:lnSpc>
                <a:spcPct val="100000"/>
              </a:lnSpc>
              <a:spcBef>
                <a:spcPts val="0"/>
              </a:spcBef>
              <a:spcAft>
                <a:spcPts val="0"/>
              </a:spcAft>
              <a:buClrTx/>
              <a:buSzTx/>
              <a:tabLst/>
              <a:defRPr/>
            </a:pPr>
            <a:r>
              <a:rPr kumimoji="0" lang="fr-FR" sz="900" b="0" i="0" u="none" strike="noStrike" kern="1200" cap="none" spc="0" normalizeH="0" baseline="0" noProof="0">
                <a:ln>
                  <a:noFill/>
                </a:ln>
                <a:solidFill>
                  <a:schemeClr val="tx1"/>
                </a:solidFill>
                <a:effectLst/>
                <a:uLnTx/>
                <a:uFillTx/>
                <a:latin typeface="Pfizer Diatype Office"/>
                <a:ea typeface="+mn-ea"/>
                <a:cs typeface="+mn-cs"/>
              </a:rPr>
              <a:t>2. </a:t>
            </a:r>
            <a:r>
              <a:rPr kumimoji="0" lang="fr-FR" sz="900" b="0" i="0" u="none" strike="noStrike" kern="1200" cap="none" spc="0" normalizeH="0" baseline="0" noProof="0" err="1">
                <a:ln>
                  <a:noFill/>
                </a:ln>
                <a:solidFill>
                  <a:schemeClr val="tx1"/>
                </a:solidFill>
                <a:effectLst/>
                <a:uLnTx/>
                <a:uFillTx/>
                <a:latin typeface="Pfizer Diatype Office"/>
                <a:ea typeface="+mn-ea"/>
                <a:cs typeface="+mn-cs"/>
              </a:rPr>
              <a:t>Lian</a:t>
            </a:r>
            <a:r>
              <a:rPr kumimoji="0" lang="fr-FR" sz="900" b="0" i="0" u="none" strike="noStrike" kern="1200" cap="none" spc="0" normalizeH="0" baseline="0" noProof="0">
                <a:ln>
                  <a:noFill/>
                </a:ln>
                <a:solidFill>
                  <a:schemeClr val="tx1"/>
                </a:solidFill>
                <a:effectLst/>
                <a:uLnTx/>
                <a:uFillTx/>
                <a:latin typeface="Pfizer Diatype Office"/>
                <a:ea typeface="+mn-ea"/>
                <a:cs typeface="+mn-cs"/>
              </a:rPr>
              <a:t>, J. ve J. </a:t>
            </a:r>
            <a:r>
              <a:rPr kumimoji="0" lang="fr-FR" sz="900" b="0" i="0" u="none" strike="noStrike" kern="1200" cap="none" spc="0" normalizeH="0" baseline="0" noProof="0" err="1">
                <a:ln>
                  <a:noFill/>
                </a:ln>
                <a:solidFill>
                  <a:schemeClr val="tx1"/>
                </a:solidFill>
                <a:effectLst/>
                <a:uLnTx/>
                <a:uFillTx/>
                <a:latin typeface="Pfizer Diatype Office"/>
                <a:ea typeface="+mn-ea"/>
                <a:cs typeface="+mn-cs"/>
              </a:rPr>
              <a:t>Hematol Onkl</a:t>
            </a:r>
            <a:r>
              <a:rPr kumimoji="0" lang="fr-FR" sz="900" b="0" i="0" u="none" strike="noStrike" kern="1200" cap="none" spc="0" normalizeH="0" baseline="0" noProof="0">
                <a:ln>
                  <a:noFill/>
                </a:ln>
                <a:solidFill>
                  <a:schemeClr val="tx1"/>
                </a:solidFill>
                <a:effectLst/>
                <a:uLnTx/>
                <a:uFillTx/>
                <a:latin typeface="Pfizer Diatype Office"/>
                <a:ea typeface="+mn-ea"/>
                <a:cs typeface="+mn-cs"/>
              </a:rPr>
              <a:t>. [13, 19]</a:t>
            </a:r>
          </a:p>
          <a:p>
            <a:pPr marR="0" lvl="0" algn="l" defTabSz="913852" rtl="0" eaLnBrk="1" fontAlgn="auto" latinLnBrk="0" hangingPunct="1">
              <a:lnSpc>
                <a:spcPct val="100000"/>
              </a:lnSpc>
              <a:spcBef>
                <a:spcPts val="0"/>
              </a:spcBef>
              <a:spcAft>
                <a:spcPts val="0"/>
              </a:spcAft>
              <a:buClrTx/>
              <a:buSzTx/>
              <a:tabLst/>
              <a:defRPr/>
            </a:pPr>
            <a:endParaRPr kumimoji="0" lang="fr-FR" sz="900" b="0" i="0" u="none" strike="noStrike" kern="1200" cap="none" spc="0" normalizeH="0" baseline="0" noProof="0">
              <a:ln>
                <a:noFill/>
              </a:ln>
              <a:solidFill>
                <a:schemeClr val="tx1"/>
              </a:solidFill>
              <a:effectLst/>
              <a:uLnTx/>
              <a:uFillTx/>
              <a:latin typeface="Pfizer Diatype Office"/>
              <a:ea typeface="+mn-ea"/>
              <a:cs typeface="+mn-cs"/>
            </a:endParaRPr>
          </a:p>
          <a:p>
            <a:pPr marR="0" lvl="0" algn="l" defTabSz="913852" rtl="0" eaLnBrk="1" fontAlgn="auto" latinLnBrk="0" hangingPunct="1">
              <a:lnSpc>
                <a:spcPct val="100000"/>
              </a:lnSpc>
              <a:spcBef>
                <a:spcPts val="0"/>
              </a:spcBef>
              <a:spcAft>
                <a:spcPts val="0"/>
              </a:spcAft>
              <a:buClrTx/>
              <a:buSzTx/>
              <a:tabLst/>
              <a:defRPr/>
            </a:pPr>
            <a:r>
              <a:rPr kumimoji="0" lang="fr-FR" sz="900" b="0" i="0" u="none" strike="noStrike" kern="1200" cap="none" spc="0" normalizeH="0" baseline="0" noProof="0">
                <a:ln>
                  <a:noFill/>
                </a:ln>
                <a:solidFill>
                  <a:schemeClr val="tx1"/>
                </a:solidFill>
                <a:effectLst/>
                <a:uLnTx/>
                <a:uFillTx/>
                <a:latin typeface="Pfizer Diatype Office"/>
                <a:ea typeface="+mn-ea"/>
                <a:cs typeface="+mn-cs"/>
              </a:rPr>
              <a:t>Sayfa 1, soyut, n1-3.</a:t>
            </a:r>
          </a:p>
        </p:txBody>
      </p:sp>
      <p:cxnSp>
        <p:nvCxnSpPr>
          <p:cNvPr id="7" name="Straight Connector 6">
            <a:extLst>
              <a:ext uri="{FF2B5EF4-FFF2-40B4-BE49-F238E27FC236}">
                <a16:creationId xmlns:a16="http://schemas.microsoft.com/office/drawing/2014/main" id="{A3263593-32E4-16F4-C182-DE294507B7DF}"/>
              </a:ext>
            </a:extLst>
          </p:cNvPr>
          <p:cNvCxnSpPr>
            <a:cxnSpLocks/>
            <a:stCxn id="11" idx="1"/>
            <a:endCxn id="6" idx="3"/>
          </p:cNvCxnSpPr>
          <p:nvPr/>
        </p:nvCxnSpPr>
        <p:spPr>
          <a:xfrm flipH="1">
            <a:off x="747711" y="2881313"/>
            <a:ext cx="115888" cy="436562"/>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0B07B9A9-8AAB-E0C1-07FD-3F4D3774A6B6}"/>
              </a:ext>
            </a:extLst>
          </p:cNvPr>
          <p:cNvSpPr/>
          <p:nvPr/>
        </p:nvSpPr>
        <p:spPr>
          <a:xfrm>
            <a:off x="3054351" y="1851024"/>
            <a:ext cx="2940050" cy="206057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B4E4323-5C32-2A39-93FA-E4DD5EB541AB}"/>
              </a:ext>
            </a:extLst>
          </p:cNvPr>
          <p:cNvSpPr/>
          <p:nvPr/>
        </p:nvSpPr>
        <p:spPr>
          <a:xfrm>
            <a:off x="6280149" y="2116138"/>
            <a:ext cx="1803840" cy="1176581"/>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fr-FR" sz="900" b="0" i="0" u="none" strike="noStrike" kern="1200" cap="none" spc="0" normalizeH="0" baseline="0" noProof="0">
                <a:ln>
                  <a:noFill/>
                </a:ln>
                <a:solidFill>
                  <a:schemeClr val="tx1"/>
                </a:solidFill>
                <a:effectLst/>
                <a:uLnTx/>
                <a:uFillTx/>
                <a:latin typeface="Pfizer Diatype Office"/>
                <a:ea typeface="+mn-ea"/>
                <a:cs typeface="+mn-cs"/>
              </a:rPr>
              <a:t>1. Hernandez-Ruiz, Vet. </a:t>
            </a:r>
            <a:r>
              <a:rPr kumimoji="0" lang="fr-FR" sz="900" b="0" i="0" u="none" strike="noStrike" kern="1200" cap="none" spc="0" normalizeH="0" baseline="0" noProof="0" err="1">
                <a:ln>
                  <a:noFill/>
                </a:ln>
                <a:solidFill>
                  <a:schemeClr val="tx1"/>
                </a:solidFill>
                <a:effectLst/>
                <a:uLnTx/>
                <a:uFillTx/>
                <a:latin typeface="Pfizer Diatype Office"/>
                <a:ea typeface="+mn-ea"/>
                <a:cs typeface="+mn-cs"/>
              </a:rPr>
              <a:t>Nörolojik</a:t>
            </a:r>
            <a:r>
              <a:rPr kumimoji="0" lang="fr-FR" sz="900" b="0" i="0" u="none" strike="noStrike" kern="1200" cap="none" spc="0" normalizeH="0" baseline="0" noProof="0">
                <a:ln>
                  <a:noFill/>
                </a:ln>
                <a:solidFill>
                  <a:schemeClr val="tx1"/>
                </a:solidFill>
                <a:effectLst/>
                <a:uLnTx/>
                <a:uFillTx/>
                <a:latin typeface="Pfizer Diatype Office"/>
                <a:ea typeface="+mn-ea"/>
                <a:cs typeface="+mn-cs"/>
              </a:rPr>
              <a:t> Bilimler, 2022.43:621-6224.</a:t>
            </a:r>
          </a:p>
          <a:p>
            <a:pPr marL="228600" marR="0" lvl="0" indent="-228600" algn="l" defTabSz="913852" rtl="0" eaLnBrk="1" fontAlgn="auto" latinLnBrk="0" hangingPunct="1">
              <a:lnSpc>
                <a:spcPct val="100000"/>
              </a:lnSpc>
              <a:spcBef>
                <a:spcPts val="0"/>
              </a:spcBef>
              <a:spcAft>
                <a:spcPts val="0"/>
              </a:spcAft>
              <a:buClrTx/>
              <a:buSzTx/>
              <a:buAutoNum type="arabicPeriod"/>
              <a:tabLst/>
              <a:defRPr/>
            </a:pPr>
            <a:endParaRPr kumimoji="0" lang="en-GB" sz="900" b="0" i="0" u="none" strike="noStrike" kern="1200" cap="none" spc="0" normalizeH="0" baseline="0" noProof="0">
              <a:ln>
                <a:noFill/>
              </a:ln>
              <a:solidFill>
                <a:schemeClr val="tx1"/>
              </a:solidFill>
              <a:effectLst/>
              <a:uLnTx/>
              <a:uFillTx/>
              <a:latin typeface="Pfizer Diatype Office"/>
              <a:ea typeface="+mn-ea"/>
              <a:cs typeface="+mn-cs"/>
            </a:endParaRP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Sayfa 2, sütun 1, paragraf 2, ln6-13</a:t>
            </a: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Sayfa 2, sütun 2, para 2, ln2-8</a:t>
            </a: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Sayfa 2, sütun 2, paragraf 3, ln1-8</a:t>
            </a:r>
          </a:p>
        </p:txBody>
      </p:sp>
      <p:cxnSp>
        <p:nvCxnSpPr>
          <p:cNvPr id="10" name="Straight Connector 9">
            <a:extLst>
              <a:ext uri="{FF2B5EF4-FFF2-40B4-BE49-F238E27FC236}">
                <a16:creationId xmlns:a16="http://schemas.microsoft.com/office/drawing/2014/main" id="{BC58F629-239E-E505-F367-20DF08D7D3BD}"/>
              </a:ext>
            </a:extLst>
          </p:cNvPr>
          <p:cNvCxnSpPr>
            <a:cxnSpLocks/>
            <a:stCxn id="8" idx="3"/>
            <a:endCxn id="9" idx="1"/>
          </p:cNvCxnSpPr>
          <p:nvPr/>
        </p:nvCxnSpPr>
        <p:spPr>
          <a:xfrm flipV="1">
            <a:off x="5994401" y="2704429"/>
            <a:ext cx="285748" cy="176882"/>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02435A02-154F-6230-3612-56BB1D5529BA}"/>
              </a:ext>
            </a:extLst>
          </p:cNvPr>
          <p:cNvSpPr/>
          <p:nvPr/>
        </p:nvSpPr>
        <p:spPr>
          <a:xfrm>
            <a:off x="863599" y="1851025"/>
            <a:ext cx="2143369" cy="206057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9F59110-564D-D8FE-2A44-8132EEAC5E77}"/>
              </a:ext>
            </a:extLst>
          </p:cNvPr>
          <p:cNvSpPr/>
          <p:nvPr/>
        </p:nvSpPr>
        <p:spPr>
          <a:xfrm>
            <a:off x="-1138239" y="1492251"/>
            <a:ext cx="1885951" cy="952500"/>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1. </a:t>
            </a:r>
            <a:r>
              <a:rPr kumimoji="0" lang="fr-FR" sz="900" b="0" i="0" u="none" strike="noStrike" kern="1200" cap="none" spc="0" normalizeH="0" baseline="0" noProof="0">
                <a:ln>
                  <a:noFill/>
                </a:ln>
                <a:solidFill>
                  <a:schemeClr val="tx1"/>
                </a:solidFill>
                <a:effectLst/>
                <a:uLnTx/>
                <a:uFillTx/>
                <a:latin typeface="Pfizer Diatype Office"/>
                <a:ea typeface="+mn-ea"/>
                <a:cs typeface="+mn-cs"/>
              </a:rPr>
              <a:t>Hernandez-Ruiz, Vet. </a:t>
            </a:r>
            <a:r>
              <a:rPr kumimoji="0" lang="fr-FR" sz="900" b="0" i="0" u="none" strike="noStrike" kern="1200" cap="none" spc="0" normalizeH="0" baseline="0" noProof="0" err="1">
                <a:ln>
                  <a:noFill/>
                </a:ln>
                <a:solidFill>
                  <a:schemeClr val="tx1"/>
                </a:solidFill>
                <a:effectLst/>
                <a:uLnTx/>
                <a:uFillTx/>
                <a:latin typeface="Pfizer Diatype Office"/>
                <a:ea typeface="+mn-ea"/>
                <a:cs typeface="+mn-cs"/>
              </a:rPr>
              <a:t>Nörolojik</a:t>
            </a:r>
            <a:r>
              <a:rPr kumimoji="0" lang="fr-FR" sz="900" b="0" i="0" u="none" strike="noStrike" kern="1200" cap="none" spc="0" normalizeH="0" baseline="0" noProof="0">
                <a:ln>
                  <a:noFill/>
                </a:ln>
                <a:solidFill>
                  <a:schemeClr val="tx1"/>
                </a:solidFill>
                <a:effectLst/>
                <a:uLnTx/>
                <a:uFillTx/>
                <a:latin typeface="Pfizer Diatype Office"/>
                <a:ea typeface="+mn-ea"/>
                <a:cs typeface="+mn-cs"/>
              </a:rPr>
              <a:t> Bilimler, 2022.43:621-6224.</a:t>
            </a:r>
            <a:endParaRPr kumimoji="0" lang="en-GB" sz="900" b="0" i="0" u="none" strike="noStrike" kern="1200" cap="none" spc="0" normalizeH="0" baseline="0" noProof="0">
              <a:ln>
                <a:noFill/>
              </a:ln>
              <a:solidFill>
                <a:schemeClr val="tx1"/>
              </a:solidFill>
              <a:effectLst/>
              <a:uLnTx/>
              <a:uFillTx/>
              <a:latin typeface="Pfizer Diatype Office"/>
              <a:ea typeface="+mn-ea"/>
              <a:cs typeface="+mn-cs"/>
            </a:endParaRPr>
          </a:p>
          <a:p>
            <a:pPr marR="0" lvl="0" algn="l" defTabSz="913852" rtl="0" eaLnBrk="1" fontAlgn="auto" latinLnBrk="0" hangingPunct="1">
              <a:lnSpc>
                <a:spcPct val="100000"/>
              </a:lnSpc>
              <a:spcBef>
                <a:spcPts val="0"/>
              </a:spcBef>
              <a:spcAft>
                <a:spcPts val="0"/>
              </a:spcAft>
              <a:buClrTx/>
              <a:buSzTx/>
              <a:tabLst/>
              <a:defRPr/>
            </a:pPr>
            <a:endParaRPr kumimoji="0" lang="en-GB" sz="900" b="0" i="0" u="none" strike="noStrike" kern="1200" cap="none" spc="0" normalizeH="0" baseline="0" noProof="0">
              <a:ln>
                <a:noFill/>
              </a:ln>
              <a:solidFill>
                <a:schemeClr val="tx1"/>
              </a:solidFill>
              <a:effectLst/>
              <a:uLnTx/>
              <a:uFillTx/>
              <a:latin typeface="Pfizer Diatype Office"/>
              <a:ea typeface="+mn-ea"/>
              <a:cs typeface="+mn-cs"/>
            </a:endParaRP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Sayfa 1, sütun 1, son satır, sütun 2'ye kadar, ilk satır</a:t>
            </a:r>
          </a:p>
        </p:txBody>
      </p:sp>
      <p:cxnSp>
        <p:nvCxnSpPr>
          <p:cNvPr id="19" name="Straight Connector 18">
            <a:extLst>
              <a:ext uri="{FF2B5EF4-FFF2-40B4-BE49-F238E27FC236}">
                <a16:creationId xmlns:a16="http://schemas.microsoft.com/office/drawing/2014/main" id="{1C54DD38-73AA-B4AD-7D98-4386880FEB32}"/>
              </a:ext>
            </a:extLst>
          </p:cNvPr>
          <p:cNvCxnSpPr>
            <a:cxnSpLocks/>
            <a:stCxn id="5" idx="1"/>
            <a:endCxn id="18" idx="3"/>
          </p:cNvCxnSpPr>
          <p:nvPr/>
        </p:nvCxnSpPr>
        <p:spPr>
          <a:xfrm flipH="1">
            <a:off x="747712" y="1736726"/>
            <a:ext cx="115888" cy="231775"/>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53965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Slide Number Placeholder 3"/>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A66EB0F6-0CBB-6A4E-B00F-31FF6D66F0DB}"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5" name="Rectangle 4">
            <a:extLst>
              <a:ext uri="{FF2B5EF4-FFF2-40B4-BE49-F238E27FC236}">
                <a16:creationId xmlns:a16="http://schemas.microsoft.com/office/drawing/2014/main" id="{21C80DC3-CDBA-4C6B-2893-C9F41E5F3B3D}"/>
              </a:ext>
            </a:extLst>
          </p:cNvPr>
          <p:cNvSpPr/>
          <p:nvPr/>
        </p:nvSpPr>
        <p:spPr>
          <a:xfrm>
            <a:off x="-2050474" y="1607127"/>
            <a:ext cx="2376055" cy="117070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1. Avrupa Aşıları boru hattı incelemesi 2023. Yarın için yenilik yapıyorum, bugün. Mevcut: https://www.vaccineseurope.eu/wp-content/uploads/2023/11/VaccinesEurope-PipelineReview2023.pdf. 13 Mart 2025 tarihinde erişildi</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2, paragraf 1.</a:t>
            </a:r>
          </a:p>
        </p:txBody>
      </p:sp>
      <p:cxnSp>
        <p:nvCxnSpPr>
          <p:cNvPr id="6" name="Straight Connector 5">
            <a:extLst>
              <a:ext uri="{FF2B5EF4-FFF2-40B4-BE49-F238E27FC236}">
                <a16:creationId xmlns:a16="http://schemas.microsoft.com/office/drawing/2014/main" id="{E16E2444-E205-C587-E090-B0CCDD30EEC5}"/>
              </a:ext>
            </a:extLst>
          </p:cNvPr>
          <p:cNvCxnSpPr>
            <a:cxnSpLocks/>
            <a:stCxn id="5" idx="3"/>
            <a:endCxn id="7" idx="1"/>
          </p:cNvCxnSpPr>
          <p:nvPr/>
        </p:nvCxnSpPr>
        <p:spPr>
          <a:xfrm flipV="1">
            <a:off x="325581" y="1906231"/>
            <a:ext cx="581893" cy="286251"/>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C4581319-5728-1623-FF7D-6B372C5A481C}"/>
              </a:ext>
            </a:extLst>
          </p:cNvPr>
          <p:cNvSpPr/>
          <p:nvPr/>
        </p:nvSpPr>
        <p:spPr>
          <a:xfrm>
            <a:off x="907474" y="1676399"/>
            <a:ext cx="4904508" cy="45966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Rectangle 7">
            <a:extLst>
              <a:ext uri="{FF2B5EF4-FFF2-40B4-BE49-F238E27FC236}">
                <a16:creationId xmlns:a16="http://schemas.microsoft.com/office/drawing/2014/main" id="{C6E6EE21-AB6E-72E3-EBF0-A53761DA0CB4}"/>
              </a:ext>
            </a:extLst>
          </p:cNvPr>
          <p:cNvSpPr/>
          <p:nvPr/>
        </p:nvSpPr>
        <p:spPr>
          <a:xfrm>
            <a:off x="907474" y="2136063"/>
            <a:ext cx="5043052" cy="35486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DB604DFA-D17B-2092-F278-B7EDAC73588D}"/>
              </a:ext>
            </a:extLst>
          </p:cNvPr>
          <p:cNvSpPr/>
          <p:nvPr/>
        </p:nvSpPr>
        <p:spPr>
          <a:xfrm>
            <a:off x="6345384" y="1793631"/>
            <a:ext cx="2376055" cy="863555"/>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2. Miller, L ve diğ. J </a:t>
            </a:r>
            <a:r>
              <a:rPr kumimoji="0" lang="en-GB" sz="900" b="0" i="0" u="none" strike="noStrike" kern="1200" cap="none" spc="0" normalizeH="0" baseline="0" noProof="0" err="1">
                <a:ln>
                  <a:noFill/>
                </a:ln>
                <a:solidFill>
                  <a:prstClr val="black"/>
                </a:solidFill>
                <a:effectLst/>
                <a:uLnTx/>
                <a:uFillTx/>
                <a:latin typeface="Pfizer Diatype Office"/>
                <a:ea typeface="+mn-ea"/>
                <a:cs typeface="+mn-cs"/>
              </a:rPr>
              <a:t>Antimikrob Kemoterapi</a:t>
            </a:r>
            <a:r>
              <a:rPr kumimoji="0" lang="en-GB" sz="900" b="0" i="0" u="none" strike="noStrike" kern="1200" cap="none" spc="0" normalizeH="0" baseline="0" noProof="0">
                <a:ln>
                  <a:noFill/>
                </a:ln>
                <a:solidFill>
                  <a:prstClr val="black"/>
                </a:solidFill>
                <a:effectLst/>
                <a:uLnTx/>
                <a:uFillTx/>
                <a:latin typeface="Pfizer Diatype Office"/>
                <a:ea typeface="+mn-ea"/>
                <a:cs typeface="+mn-cs"/>
              </a:rPr>
              <a:t>. 2025; 80(4):116-1226</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1, Özet, Sonuçlar.</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 sütun 1, paragraf 2.</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9, sütun 1, paragraf 1.</a:t>
            </a:r>
          </a:p>
        </p:txBody>
      </p:sp>
      <p:cxnSp>
        <p:nvCxnSpPr>
          <p:cNvPr id="10" name="Straight Connector 9">
            <a:extLst>
              <a:ext uri="{FF2B5EF4-FFF2-40B4-BE49-F238E27FC236}">
                <a16:creationId xmlns:a16="http://schemas.microsoft.com/office/drawing/2014/main" id="{3C261C69-93E6-5633-1906-8B51EE6DEA97}"/>
              </a:ext>
            </a:extLst>
          </p:cNvPr>
          <p:cNvCxnSpPr>
            <a:cxnSpLocks/>
            <a:stCxn id="8" idx="3"/>
          </p:cNvCxnSpPr>
          <p:nvPr/>
        </p:nvCxnSpPr>
        <p:spPr>
          <a:xfrm>
            <a:off x="5950526" y="2313498"/>
            <a:ext cx="391396" cy="256304"/>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B39A5F04-5096-95CB-D089-D29DC7BF92CA}"/>
              </a:ext>
            </a:extLst>
          </p:cNvPr>
          <p:cNvSpPr/>
          <p:nvPr/>
        </p:nvSpPr>
        <p:spPr>
          <a:xfrm>
            <a:off x="907474" y="2537829"/>
            <a:ext cx="5043052" cy="36310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F2D4094E-D023-7737-BFD5-28A29B0FAD8D}"/>
              </a:ext>
            </a:extLst>
          </p:cNvPr>
          <p:cNvSpPr/>
          <p:nvPr/>
        </p:nvSpPr>
        <p:spPr>
          <a:xfrm>
            <a:off x="6345384" y="2905197"/>
            <a:ext cx="2376055" cy="770283"/>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3. van Heuvel ve arkadaşları. </a:t>
            </a:r>
            <a:r>
              <a:rPr kumimoji="0" lang="en-GB" sz="900" b="0" i="0" u="none" strike="noStrike" kern="1200" cap="none" spc="0" normalizeH="0" baseline="0" noProof="0" err="1">
                <a:ln>
                  <a:noFill/>
                </a:ln>
                <a:solidFill>
                  <a:prstClr val="black"/>
                </a:solidFill>
                <a:effectLst/>
                <a:uLnTx/>
                <a:uFillTx/>
                <a:latin typeface="Pfizer Diatype Office"/>
                <a:ea typeface="+mn-ea"/>
                <a:cs typeface="+mn-cs"/>
              </a:rPr>
              <a:t>Antimikrob</a:t>
            </a:r>
            <a:r>
              <a:rPr kumimoji="0" lang="en-GB" sz="900" b="0" i="0" u="none" strike="noStrike" kern="1200" cap="none" spc="0" normalizeH="0" baseline="0" noProof="0">
                <a:ln>
                  <a:noFill/>
                </a:ln>
                <a:solidFill>
                  <a:prstClr val="black"/>
                </a:solidFill>
                <a:effectLst/>
                <a:uLnTx/>
                <a:uFillTx/>
                <a:latin typeface="Pfizer Diatype Office"/>
                <a:ea typeface="+mn-ea"/>
                <a:cs typeface="+mn-cs"/>
              </a:rPr>
              <a:t> Dirençli Enfeksiyon Kontrolü 2023; 12(1):70.</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1, Özet, Yöntemler ve Sonuçlar.</a:t>
            </a:r>
          </a:p>
        </p:txBody>
      </p:sp>
      <p:cxnSp>
        <p:nvCxnSpPr>
          <p:cNvPr id="13" name="Straight Connector 12">
            <a:extLst>
              <a:ext uri="{FF2B5EF4-FFF2-40B4-BE49-F238E27FC236}">
                <a16:creationId xmlns:a16="http://schemas.microsoft.com/office/drawing/2014/main" id="{6CB84C0E-2BBF-6188-081E-E7BED08FA30E}"/>
              </a:ext>
            </a:extLst>
          </p:cNvPr>
          <p:cNvCxnSpPr>
            <a:cxnSpLocks/>
            <a:stCxn id="11" idx="3"/>
          </p:cNvCxnSpPr>
          <p:nvPr/>
        </p:nvCxnSpPr>
        <p:spPr>
          <a:xfrm>
            <a:off x="5950526" y="2719382"/>
            <a:ext cx="391396" cy="74360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90AD9696-D5EC-D341-701B-63425385C24F}"/>
              </a:ext>
            </a:extLst>
          </p:cNvPr>
          <p:cNvSpPr/>
          <p:nvPr/>
        </p:nvSpPr>
        <p:spPr>
          <a:xfrm>
            <a:off x="907474" y="3288658"/>
            <a:ext cx="5043052" cy="36310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9" name="Rectangle 18">
            <a:extLst>
              <a:ext uri="{FF2B5EF4-FFF2-40B4-BE49-F238E27FC236}">
                <a16:creationId xmlns:a16="http://schemas.microsoft.com/office/drawing/2014/main" id="{60950D4E-B38C-0D81-EE3C-7E585669995C}"/>
              </a:ext>
            </a:extLst>
          </p:cNvPr>
          <p:cNvSpPr/>
          <p:nvPr/>
        </p:nvSpPr>
        <p:spPr>
          <a:xfrm>
            <a:off x="6345384" y="3656026"/>
            <a:ext cx="2376055" cy="770283"/>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3. van Heuvel ve arkadaşları. </a:t>
            </a:r>
            <a:r>
              <a:rPr kumimoji="0" lang="en-GB" sz="900" b="0" i="0" u="none" strike="noStrike" kern="1200" cap="none" spc="0" normalizeH="0" baseline="0" noProof="0" err="1">
                <a:ln>
                  <a:noFill/>
                </a:ln>
                <a:solidFill>
                  <a:prstClr val="black"/>
                </a:solidFill>
                <a:effectLst/>
                <a:uLnTx/>
                <a:uFillTx/>
                <a:latin typeface="Pfizer Diatype Office"/>
                <a:ea typeface="+mn-ea"/>
                <a:cs typeface="+mn-cs"/>
              </a:rPr>
              <a:t>Antimikrob</a:t>
            </a:r>
            <a:r>
              <a:rPr kumimoji="0" lang="en-GB" sz="900" b="0" i="0" u="none" strike="noStrike" kern="1200" cap="none" spc="0" normalizeH="0" baseline="0" noProof="0">
                <a:ln>
                  <a:noFill/>
                </a:ln>
                <a:solidFill>
                  <a:prstClr val="black"/>
                </a:solidFill>
                <a:effectLst/>
                <a:uLnTx/>
                <a:uFillTx/>
                <a:latin typeface="Pfizer Diatype Office"/>
                <a:ea typeface="+mn-ea"/>
                <a:cs typeface="+mn-cs"/>
              </a:rPr>
              <a:t> Dirençli Enfeksiyon Kontrolü 2023; 12(1):70.</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1, Özet, Yöntemler ve Sonuçlar.</a:t>
            </a:r>
          </a:p>
        </p:txBody>
      </p:sp>
      <p:cxnSp>
        <p:nvCxnSpPr>
          <p:cNvPr id="20" name="Straight Connector 19">
            <a:extLst>
              <a:ext uri="{FF2B5EF4-FFF2-40B4-BE49-F238E27FC236}">
                <a16:creationId xmlns:a16="http://schemas.microsoft.com/office/drawing/2014/main" id="{5B5371AF-D2C7-DF88-8D4B-443BE9BA3F8D}"/>
              </a:ext>
            </a:extLst>
          </p:cNvPr>
          <p:cNvCxnSpPr>
            <a:cxnSpLocks/>
            <a:stCxn id="18" idx="3"/>
          </p:cNvCxnSpPr>
          <p:nvPr/>
        </p:nvCxnSpPr>
        <p:spPr>
          <a:xfrm>
            <a:off x="5950526" y="3470211"/>
            <a:ext cx="391396" cy="74360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21" name="Rectangle 20">
            <a:extLst>
              <a:ext uri="{FF2B5EF4-FFF2-40B4-BE49-F238E27FC236}">
                <a16:creationId xmlns:a16="http://schemas.microsoft.com/office/drawing/2014/main" id="{8505A475-2E59-ED93-BA3E-E60353FD36B6}"/>
              </a:ext>
            </a:extLst>
          </p:cNvPr>
          <p:cNvSpPr/>
          <p:nvPr/>
        </p:nvSpPr>
        <p:spPr>
          <a:xfrm>
            <a:off x="-2050474" y="3241762"/>
            <a:ext cx="2376055" cy="70815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prstClr val="black"/>
                </a:solidFill>
                <a:effectLst/>
                <a:uLnTx/>
                <a:uFillTx/>
                <a:latin typeface="Pfizer Diatype Office"/>
                <a:ea typeface="+mn-ea"/>
                <a:cs typeface="+mn-cs"/>
              </a:rPr>
              <a:t>4. Jorgensen SJC ve diğ. Clin Infect Dis. 2024;79(2):375-381</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1, Özet, Yöntemler, n1-2 ve Sonuçlar, ln1-3</a:t>
            </a:r>
          </a:p>
        </p:txBody>
      </p:sp>
      <p:cxnSp>
        <p:nvCxnSpPr>
          <p:cNvPr id="22" name="Straight Connector 21">
            <a:extLst>
              <a:ext uri="{FF2B5EF4-FFF2-40B4-BE49-F238E27FC236}">
                <a16:creationId xmlns:a16="http://schemas.microsoft.com/office/drawing/2014/main" id="{30C1261C-1097-31D5-EA20-C9AE687B0993}"/>
              </a:ext>
            </a:extLst>
          </p:cNvPr>
          <p:cNvCxnSpPr>
            <a:cxnSpLocks/>
            <a:stCxn id="21" idx="3"/>
            <a:endCxn id="23" idx="1"/>
          </p:cNvCxnSpPr>
          <p:nvPr/>
        </p:nvCxnSpPr>
        <p:spPr>
          <a:xfrm flipV="1">
            <a:off x="325581" y="3076934"/>
            <a:ext cx="581893" cy="518908"/>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23" name="Rectangle 22">
            <a:extLst>
              <a:ext uri="{FF2B5EF4-FFF2-40B4-BE49-F238E27FC236}">
                <a16:creationId xmlns:a16="http://schemas.microsoft.com/office/drawing/2014/main" id="{E90D801D-4B26-9A8D-77FA-97D95B74A46D}"/>
              </a:ext>
            </a:extLst>
          </p:cNvPr>
          <p:cNvSpPr/>
          <p:nvPr/>
        </p:nvSpPr>
        <p:spPr>
          <a:xfrm>
            <a:off x="907474" y="2895381"/>
            <a:ext cx="5039590" cy="36310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801189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Slide Number Placeholder 3"/>
          <p:cNvSpPr>
            <a:spLocks noGrp="1"/>
          </p:cNvSpPr>
          <p:nvPr>
            <p:ph type="sldNum" sz="quarter" idx="5"/>
          </p:nvPr>
        </p:nvSpPr>
        <p:spPr/>
        <p:txBody>
          <a:bodyPr/>
          <a:lstStyle/>
          <a:p>
            <a:fld id="{EE7D4C3D-E959-4DA0-A5E8-F93AEE10CB07}" type="slidenum">
              <a:rPr lang="tr-TR" smtClean="0"/>
              <a:t>65</a:t>
            </a:fld>
            <a:endParaRPr lang="tr-TR"/>
          </a:p>
        </p:txBody>
      </p:sp>
    </p:spTree>
    <p:extLst>
      <p:ext uri="{BB962C8B-B14F-4D97-AF65-F5344CB8AC3E}">
        <p14:creationId xmlns:p14="http://schemas.microsoft.com/office/powerpoint/2010/main" val="42260773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66725"/>
            <a:ext cx="5486400" cy="3086100"/>
          </a:xfrm>
        </p:spPr>
      </p:sp>
      <p:sp>
        <p:nvSpPr>
          <p:cNvPr id="3" name="Notes Placeholder 2"/>
          <p:cNvSpPr>
            <a:spLocks noGrp="1"/>
          </p:cNvSpPr>
          <p:nvPr>
            <p:ph type="body" idx="1"/>
          </p:nvPr>
        </p:nvSpPr>
        <p:spPr>
          <a:xfrm>
            <a:off x="685800" y="3724275"/>
            <a:ext cx="5977890" cy="5316856"/>
          </a:xfrm>
        </p:spPr>
        <p: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kumimoji="0" lang="en-US" sz="1050" b="1" i="0" u="none" strike="noStrike" kern="1200" cap="none" spc="0" normalizeH="0" baseline="0" noProof="0">
                <a:ln>
                  <a:noFill/>
                </a:ln>
                <a:solidFill>
                  <a:prstClr val="black"/>
                </a:solidFill>
                <a:effectLst/>
                <a:uLnTx/>
                <a:uFillTx/>
                <a:latin typeface="Aptos" panose="02110004020202020204"/>
                <a:ea typeface="+mn-ea"/>
                <a:cs typeface="+mn-cs"/>
              </a:rPr>
              <a:t>Key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ptos" panose="02110004020202020204"/>
                <a:ea typeface="+mn-ea"/>
                <a:cs typeface="+mn-cs"/>
              </a:rPr>
              <a:t>The first pneumococcal vaccines were plain pneumococcal polysaccharide vaccines (PPVs), which expanded from 4- through 14- and eventually 23-valent vaccines</a:t>
            </a:r>
            <a:r>
              <a:rPr kumimoji="0" lang="en-US" sz="1050" b="0" i="0" u="none" strike="noStrike" kern="1200" cap="none" spc="0" normalizeH="0" baseline="30000" noProof="0">
                <a:ln>
                  <a:noFill/>
                </a:ln>
                <a:solidFill>
                  <a:prstClr val="black"/>
                </a:solidFill>
                <a:effectLst/>
                <a:uLnTx/>
                <a:uFillTx/>
                <a:latin typeface="Aptos" panose="02110004020202020204"/>
                <a:ea typeface="+mn-ea"/>
                <a:cs typeface="+mn-cs"/>
              </a:rPr>
              <a:t>1</a:t>
            </a:r>
            <a:r>
              <a:rPr kumimoji="0" lang="en-US" sz="1050" b="0" i="0" u="none" strike="noStrike" kern="1200" cap="none" spc="0" normalizeH="0" baseline="0" noProof="0">
                <a:ln>
                  <a:noFill/>
                </a:ln>
                <a:solidFill>
                  <a:prstClr val="black"/>
                </a:solidFill>
                <a:effectLst/>
                <a:uLnTx/>
                <a:uFillTx/>
                <a:latin typeface="Aptos" panose="02110004020202020204"/>
                <a:ea typeface="+mn-ea"/>
                <a:cs typeface="+mn-cs"/>
              </a:rPr>
              <a:t> </a:t>
            </a:r>
          </a:p>
          <a:p>
            <a:pPr marL="171450" lvl="0" indent="-171450">
              <a:buFont typeface="Arial" panose="020B0604020202020204" pitchFamily="34" charset="0"/>
              <a:buChar char="•"/>
              <a:defRPr/>
            </a:pPr>
            <a:r>
              <a:rPr kumimoji="0" lang="en-US" sz="1050" b="0" i="0" u="none" strike="noStrike" kern="1200" cap="none" spc="0" normalizeH="0" baseline="0" noProof="0">
                <a:ln>
                  <a:noFill/>
                </a:ln>
                <a:solidFill>
                  <a:prstClr val="black"/>
                </a:solidFill>
                <a:effectLst/>
                <a:uLnTx/>
                <a:uFillTx/>
                <a:latin typeface="Aptos" panose="02110004020202020204"/>
                <a:ea typeface="+mn-ea"/>
                <a:cs typeface="+mn-cs"/>
              </a:rPr>
              <a:t>PPVs are not effective in children younger than 2 years of age.</a:t>
            </a:r>
            <a:r>
              <a:rPr kumimoji="0" lang="en-US" sz="1050" b="0" i="0" u="none" strike="noStrike" kern="1200" cap="none" spc="0" normalizeH="0" baseline="30000" noProof="0">
                <a:ln>
                  <a:noFill/>
                </a:ln>
                <a:solidFill>
                  <a:prstClr val="black"/>
                </a:solidFill>
                <a:effectLst/>
                <a:uLnTx/>
                <a:uFillTx/>
                <a:latin typeface="Aptos" panose="02110004020202020204"/>
                <a:ea typeface="+mn-ea"/>
                <a:cs typeface="+mn-cs"/>
              </a:rPr>
              <a:t>2</a:t>
            </a:r>
            <a:r>
              <a:rPr lang="en-US" sz="1050">
                <a:solidFill>
                  <a:prstClr val="black"/>
                </a:solidFill>
              </a:rPr>
              <a:t> PCVs were developed</a:t>
            </a:r>
            <a:r>
              <a:rPr lang="en-US" sz="1050" baseline="30000">
                <a:solidFill>
                  <a:prstClr val="black"/>
                </a:solidFill>
              </a:rPr>
              <a:t> </a:t>
            </a:r>
            <a:r>
              <a:rPr lang="en-US" sz="1050">
                <a:solidFill>
                  <a:prstClr val="black"/>
                </a:solidFill>
                <a:latin typeface="Aptos" panose="02110004020202020204"/>
              </a:rPr>
              <a:t>t</a:t>
            </a:r>
            <a:r>
              <a:rPr kumimoji="0" lang="en-US" sz="1050" b="0" i="0" u="none" strike="noStrike" kern="1200" cap="none" spc="0" normalizeH="0" baseline="0" noProof="0">
                <a:ln>
                  <a:noFill/>
                </a:ln>
                <a:solidFill>
                  <a:prstClr val="black"/>
                </a:solidFill>
                <a:effectLst/>
                <a:uLnTx/>
                <a:uFillTx/>
                <a:latin typeface="Aptos" panose="02110004020202020204"/>
                <a:ea typeface="+mn-ea"/>
                <a:cs typeface="+mn-cs"/>
              </a:rPr>
              <a:t>o address the medical need in the younger population</a:t>
            </a:r>
            <a:r>
              <a:rPr kumimoji="0" lang="en-US" sz="1050" b="0" i="0" u="none" strike="noStrike" kern="1200" cap="none" spc="0" normalizeH="0" baseline="30000" noProof="0">
                <a:ln>
                  <a:noFill/>
                </a:ln>
                <a:solidFill>
                  <a:prstClr val="black"/>
                </a:solidFill>
                <a:effectLst/>
                <a:uLnTx/>
                <a:uFillTx/>
                <a:latin typeface="Aptos" panose="02110004020202020204"/>
                <a:ea typeface="+mn-ea"/>
                <a:cs typeface="+mn-cs"/>
              </a:rPr>
              <a:t>1</a:t>
            </a:r>
            <a:endParaRPr kumimoji="0" lang="en-US" sz="1050" b="0" i="0" u="none" strike="noStrike" kern="1200" cap="none" spc="0" normalizeH="0" baseline="30000" noProof="0">
              <a:ln>
                <a:noFill/>
              </a:ln>
              <a:solidFill>
                <a:prstClr val="black"/>
              </a:solidFill>
              <a:effectLst/>
              <a:highlight>
                <a:srgbClr val="FF00FF"/>
              </a:highlight>
              <a:uLnTx/>
              <a:uFillTx/>
              <a:latin typeface="Aptos" panose="021100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ptos" panose="02110004020202020204"/>
                <a:ea typeface="+mn-ea"/>
                <a:cs typeface="+mn-cs"/>
              </a:rPr>
              <a:t>Use of PCVs in pediatric immunization programs has been associated with disease reductions in both vaccinated and unvaccinated populations through direct and indirect effects (the latter due to reductions in carriage of vaccine serotypes and resulting reductions in transmission).</a:t>
            </a:r>
            <a:r>
              <a:rPr kumimoji="0" lang="en-US" sz="1050" b="0" i="0" u="none" strike="noStrike" kern="1200" cap="none" spc="0" normalizeH="0" baseline="30000" noProof="0">
                <a:ln>
                  <a:noFill/>
                </a:ln>
                <a:solidFill>
                  <a:prstClr val="black"/>
                </a:solidFill>
                <a:effectLst/>
                <a:uLnTx/>
                <a:uFillTx/>
                <a:latin typeface="Aptos" panose="02110004020202020204"/>
                <a:ea typeface="+mn-ea"/>
                <a:cs typeface="+mn-cs"/>
              </a:rPr>
              <a:t>1,3,4</a:t>
            </a:r>
            <a:r>
              <a:rPr kumimoji="0" lang="en-US" sz="1050" b="0" i="0" u="none" strike="noStrike" kern="1200" cap="none" spc="0" normalizeH="0" baseline="0" noProof="0">
                <a:ln>
                  <a:noFill/>
                </a:ln>
                <a:solidFill>
                  <a:prstClr val="black"/>
                </a:solidFill>
                <a:effectLst/>
                <a:uLnTx/>
                <a:uFillTx/>
                <a:latin typeface="Aptos" panose="02110004020202020204"/>
                <a:ea typeface="+mn-ea"/>
                <a:cs typeface="+mn-cs"/>
              </a:rPr>
              <a:t> Serotype replacement led to increase in non–vaccine-type disease, prompting development of higher-valent vaccines to address evolving epidemiology</a:t>
            </a:r>
            <a:r>
              <a:rPr kumimoji="0" lang="en-US" sz="1050" b="0" i="0" u="none" strike="noStrike" kern="1200" cap="none" spc="0" normalizeH="0" baseline="30000" noProof="0">
                <a:ln>
                  <a:noFill/>
                </a:ln>
                <a:solidFill>
                  <a:prstClr val="black"/>
                </a:solidFill>
                <a:effectLst/>
                <a:uLnTx/>
                <a:uFillTx/>
                <a:latin typeface="Aptos" panose="02110004020202020204"/>
                <a:ea typeface="+mn-ea"/>
                <a:cs typeface="+mn-cs"/>
              </a:rPr>
              <a:t>3-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ptos" panose="02110004020202020204"/>
                <a:ea typeface="+mn-ea"/>
                <a:cs typeface="+mn-cs"/>
              </a:rPr>
              <a:t>Due to considerable disease burden among older adults, and limitations of the polysaccharide technology, PCVs were developed for use in adults</a:t>
            </a:r>
            <a:r>
              <a:rPr kumimoji="0" lang="en-US" sz="1050" b="0" i="0" u="none" strike="noStrike" kern="1200" cap="none" spc="0" normalizeH="0" baseline="30000" noProof="0">
                <a:ln>
                  <a:noFill/>
                </a:ln>
                <a:solidFill>
                  <a:prstClr val="black"/>
                </a:solidFill>
                <a:effectLst/>
                <a:uLnTx/>
                <a:uFillTx/>
                <a:latin typeface="Aptos" panose="02110004020202020204"/>
                <a:ea typeface="+mn-ea"/>
                <a:cs typeface="+mn-cs"/>
              </a:rPr>
              <a:t>1,2</a:t>
            </a:r>
            <a:r>
              <a:rPr kumimoji="0" lang="en-US" sz="1050" b="0" i="0" u="none" strike="noStrike" kern="1200" cap="none" spc="0" normalizeH="0" baseline="0" noProof="0">
                <a:ln>
                  <a:noFill/>
                </a:ln>
                <a:solidFill>
                  <a:prstClr val="black"/>
                </a:solidFill>
                <a:effectLst/>
                <a:uLnTx/>
                <a:uFillTx/>
                <a:latin typeface="Aptos" panose="02110004020202020204"/>
                <a:ea typeface="+mn-ea"/>
                <a:cs typeface="+mn-cs"/>
              </a:rPr>
              <a:t> (</a:t>
            </a:r>
            <a:r>
              <a:rPr kumimoji="0" lang="en-US" sz="1050" b="0" i="0" u="none" strike="noStrike" kern="1200" cap="none" spc="0" normalizeH="0" baseline="0" noProof="0" err="1">
                <a:ln>
                  <a:noFill/>
                </a:ln>
                <a:solidFill>
                  <a:prstClr val="black"/>
                </a:solidFill>
                <a:effectLst/>
                <a:uLnTx/>
                <a:uFillTx/>
                <a:latin typeface="Aptos" panose="02110004020202020204"/>
                <a:ea typeface="+mn-ea"/>
                <a:cs typeface="+mn-cs"/>
              </a:rPr>
              <a:t>eg</a:t>
            </a:r>
            <a:r>
              <a:rPr kumimoji="0" lang="en-US" sz="1050" b="0" i="0" u="none" strike="noStrike" kern="1200" cap="none" spc="0" normalizeH="0" baseline="0" noProof="0">
                <a:ln>
                  <a:noFill/>
                </a:ln>
                <a:solidFill>
                  <a:prstClr val="black"/>
                </a:solidFill>
                <a:effectLst/>
                <a:uLnTx/>
                <a:uFillTx/>
                <a:latin typeface="Aptos" panose="02110004020202020204"/>
                <a:ea typeface="+mn-ea"/>
                <a:cs typeface="+mn-cs"/>
              </a:rPr>
              <a:t>, PCV 13, PCV15, PCV 20)</a:t>
            </a:r>
          </a:p>
          <a:p>
            <a:pPr marL="171450" lvl="0" indent="-171450">
              <a:buFont typeface="Arial" panose="020B0604020202020204" pitchFamily="34" charset="0"/>
              <a:buChar char="•"/>
            </a:pPr>
            <a:r>
              <a:rPr kumimoji="0" lang="en-US" sz="1050" b="0" i="0" u="none" strike="noStrike" kern="1200" cap="none" spc="0" normalizeH="0" baseline="0" noProof="0">
                <a:ln>
                  <a:noFill/>
                </a:ln>
                <a:solidFill>
                  <a:prstClr val="black"/>
                </a:solidFill>
                <a:effectLst/>
                <a:uLnTx/>
                <a:uFillTx/>
                <a:latin typeface="Aptos" panose="02110004020202020204"/>
                <a:ea typeface="+mn-ea"/>
                <a:cs typeface="+mn-cs"/>
              </a:rPr>
              <a:t>Pneumococcal vaccine serotypes are typically selected based on epidemiological and clinical relevance. The approach of adding serotypes to increase valency ensures both maintenance of  the original serotypes and expanded coverage of some of the most relevant serotypes</a:t>
            </a:r>
            <a:r>
              <a:rPr lang="en-US" sz="1050" baseline="30000">
                <a:solidFill>
                  <a:prstClr val="black"/>
                </a:solidFill>
                <a:latin typeface="Aptos" panose="02110004020202020204"/>
              </a:rPr>
              <a:t>6 </a:t>
            </a:r>
          </a:p>
          <a:p>
            <a:pPr marL="171450" lvl="0" indent="-171450">
              <a:buFont typeface="Arial" panose="020B0604020202020204" pitchFamily="34" charset="0"/>
              <a:buChar char="•"/>
            </a:pPr>
            <a:r>
              <a:rPr lang="en-US" sz="1050">
                <a:effectLst/>
                <a:ea typeface="+mn-ea"/>
                <a:cs typeface="+mn-cs"/>
              </a:rPr>
              <a:t>An approach of excluding some of the “original” serotypes to allow inclusion of additional replacement serotypes was taken by some manufacturers (Serum Institute of India, Merck &amp; Co) </a:t>
            </a:r>
            <a:r>
              <a:rPr lang="en-US" sz="1050" b="1">
                <a:effectLst/>
                <a:ea typeface="+mn-ea"/>
                <a:cs typeface="+mn-cs"/>
              </a:rPr>
              <a:t>(</a:t>
            </a:r>
            <a:r>
              <a:rPr lang="en-US" sz="1050" b="1"/>
              <a:t>R</a:t>
            </a:r>
            <a:r>
              <a:rPr lang="en-US" sz="1050" b="1">
                <a:effectLst/>
                <a:ea typeface="+mn-ea"/>
                <a:cs typeface="+mn-cs"/>
              </a:rPr>
              <a:t>emove this bullet point in countries where these vaccines are not licensed</a:t>
            </a:r>
            <a:r>
              <a:rPr lang="en-US" sz="1050">
                <a:effectLst/>
                <a:ea typeface="+mn-ea"/>
                <a:cs typeface="+mn-cs"/>
              </a:rPr>
              <a:t>)</a:t>
            </a:r>
            <a:r>
              <a:rPr lang="en-US" sz="1050" baseline="30000">
                <a:effectLst/>
                <a:ea typeface="+mn-ea"/>
                <a:cs typeface="+mn-cs"/>
              </a:rPr>
              <a:t>7,8   </a:t>
            </a:r>
          </a:p>
          <a:p>
            <a:pPr lvl="0"/>
            <a:endParaRPr lang="en-US" sz="1050">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1" i="0" u="none" strike="noStrike" kern="100" cap="none" spc="0" normalizeH="0" baseline="0" noProof="0">
                <a:ln>
                  <a:noFill/>
                </a:ln>
                <a:solidFill>
                  <a:prstClr val="black"/>
                </a:solidFill>
                <a:effectLst/>
                <a:uLnTx/>
                <a:uFillTx/>
                <a:latin typeface="Aptos" panose="02110004020202020204"/>
                <a:ea typeface="+mn-ea"/>
                <a:cs typeface="+mn-cs"/>
              </a:rPr>
              <a:t>References</a:t>
            </a:r>
            <a:endParaRPr kumimoji="0" lang="en-US" sz="1050" b="0" i="0" u="none" strike="noStrike" kern="100" cap="none" spc="0" normalizeH="0" baseline="0" noProof="0">
              <a:ln>
                <a:noFill/>
              </a:ln>
              <a:solidFill>
                <a:prstClr val="black"/>
              </a:solidFill>
              <a:effectLst/>
              <a:uLnTx/>
              <a:uFillTx/>
              <a:latin typeface="Aptos" panose="021100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ZW" sz="900" b="0" i="0" u="none" strike="noStrike" kern="100" cap="none" spc="0" normalizeH="0" baseline="0" noProof="0">
                <a:ln>
                  <a:noFill/>
                </a:ln>
                <a:solidFill>
                  <a:prstClr val="black"/>
                </a:solidFill>
                <a:effectLst/>
                <a:uLnTx/>
                <a:uFillTx/>
                <a:latin typeface="Aptos" panose="02110004020202020204"/>
                <a:ea typeface="+mn-ea"/>
                <a:cs typeface="+mn-cs"/>
              </a:rPr>
              <a:t>Sings HL. </a:t>
            </a:r>
            <a:r>
              <a:rPr kumimoji="0" lang="en-US" sz="900" b="0" i="0" u="none" strike="noStrike" kern="100" cap="none" spc="0" normalizeH="0" baseline="0" noProof="0">
                <a:ln>
                  <a:noFill/>
                </a:ln>
                <a:solidFill>
                  <a:prstClr val="black"/>
                </a:solidFill>
                <a:effectLst/>
                <a:uLnTx/>
                <a:uFillTx/>
                <a:latin typeface="Aptos" panose="02110004020202020204"/>
                <a:ea typeface="+mn-ea"/>
                <a:cs typeface="+mn-cs"/>
              </a:rPr>
              <a:t>Pneumococcal conjugate vaccine use in adults—addressing an unmet medical need for non-</a:t>
            </a:r>
            <a:r>
              <a:rPr kumimoji="0" lang="en-US" sz="900" b="0" i="0" u="none" strike="noStrike" kern="100" cap="none" spc="0" normalizeH="0" baseline="0" noProof="0" err="1">
                <a:ln>
                  <a:noFill/>
                </a:ln>
                <a:solidFill>
                  <a:prstClr val="black"/>
                </a:solidFill>
                <a:effectLst/>
                <a:uLnTx/>
                <a:uFillTx/>
                <a:latin typeface="Aptos" panose="02110004020202020204"/>
                <a:ea typeface="+mn-ea"/>
                <a:cs typeface="+mn-cs"/>
              </a:rPr>
              <a:t>bacteremic</a:t>
            </a:r>
            <a:r>
              <a:rPr kumimoji="0" lang="en-US" sz="900" b="0" i="0" u="none" strike="noStrike" kern="100" cap="none" spc="0" normalizeH="0" baseline="0" noProof="0">
                <a:ln>
                  <a:noFill/>
                </a:ln>
                <a:solidFill>
                  <a:prstClr val="black"/>
                </a:solidFill>
                <a:effectLst/>
                <a:uLnTx/>
                <a:uFillTx/>
                <a:latin typeface="Aptos" panose="02110004020202020204"/>
                <a:ea typeface="+mn-ea"/>
                <a:cs typeface="+mn-cs"/>
              </a:rPr>
              <a:t> pneumococcal pneumonia. </a:t>
            </a:r>
            <a:r>
              <a:rPr kumimoji="0" lang="en-ZW" sz="900" b="0" i="1" u="none" strike="noStrike" kern="100" cap="none" spc="0" normalizeH="0" baseline="0" noProof="0">
                <a:ln>
                  <a:noFill/>
                </a:ln>
                <a:solidFill>
                  <a:prstClr val="black"/>
                </a:solidFill>
                <a:effectLst/>
                <a:uLnTx/>
                <a:uFillTx/>
                <a:latin typeface="Aptos" panose="02110004020202020204"/>
                <a:ea typeface="+mn-ea"/>
                <a:cs typeface="+mn-cs"/>
              </a:rPr>
              <a:t>Vaccine</a:t>
            </a:r>
            <a:r>
              <a:rPr kumimoji="0" lang="en-ZW" sz="900" b="0" i="0" u="none" strike="noStrike" kern="100" cap="none" spc="0" normalizeH="0" baseline="0" noProof="0">
                <a:ln>
                  <a:noFill/>
                </a:ln>
                <a:solidFill>
                  <a:prstClr val="black"/>
                </a:solidFill>
                <a:effectLst/>
                <a:uLnTx/>
                <a:uFillTx/>
                <a:latin typeface="Aptos" panose="02110004020202020204"/>
                <a:ea typeface="+mn-ea"/>
                <a:cs typeface="+mn-cs"/>
              </a:rPr>
              <a:t>. 2017;35(40):5406-5417.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900" b="0" i="0" u="none" strike="noStrike" kern="1200" cap="none" spc="0" normalizeH="0" baseline="0" noProof="0">
                <a:ln>
                  <a:noFill/>
                </a:ln>
                <a:solidFill>
                  <a:srgbClr val="000000"/>
                </a:solidFill>
                <a:effectLst/>
                <a:uLnTx/>
                <a:uFillTx/>
                <a:latin typeface="Aptos" panose="02110004020202020204"/>
                <a:ea typeface="+mn-ea"/>
                <a:cs typeface="+mn-cs"/>
              </a:rPr>
              <a:t>Pollard AJ, Bijker</a:t>
            </a:r>
            <a:r>
              <a:rPr kumimoji="0" lang="en-US" sz="900" b="0" i="0" u="none" strike="noStrike" kern="1200" cap="none" spc="0" normalizeH="0" baseline="0" noProof="0">
                <a:ln>
                  <a:noFill/>
                </a:ln>
                <a:solidFill>
                  <a:srgbClr val="FF0000"/>
                </a:solidFill>
                <a:effectLst/>
                <a:uLnTx/>
                <a:uFillTx/>
                <a:latin typeface="Aptos" panose="02110004020202020204"/>
                <a:ea typeface="+mn-ea"/>
                <a:cs typeface="+mn-cs"/>
              </a:rPr>
              <a:t> </a:t>
            </a:r>
            <a:r>
              <a:rPr kumimoji="0" lang="en-US" sz="900" b="0" i="0" u="none" strike="noStrike" kern="1200" cap="none" spc="0" normalizeH="0" baseline="0" noProof="0">
                <a:ln>
                  <a:noFill/>
                </a:ln>
                <a:effectLst/>
                <a:uLnTx/>
                <a:uFillTx/>
                <a:latin typeface="Aptos" panose="02110004020202020204"/>
                <a:ea typeface="+mn-ea"/>
                <a:cs typeface="+mn-cs"/>
              </a:rPr>
              <a:t>EM</a:t>
            </a:r>
            <a:r>
              <a:rPr kumimoji="0" lang="en-US" sz="900" b="0" i="0" u="none" strike="noStrike" kern="1200" cap="none" spc="0" normalizeH="0" baseline="0" noProof="0">
                <a:ln>
                  <a:noFill/>
                </a:ln>
                <a:solidFill>
                  <a:srgbClr val="000000"/>
                </a:solidFill>
                <a:effectLst/>
                <a:uLnTx/>
                <a:uFillTx/>
                <a:latin typeface="Aptos" panose="02110004020202020204"/>
                <a:ea typeface="+mn-ea"/>
                <a:cs typeface="+mn-cs"/>
              </a:rPr>
              <a:t>. </a:t>
            </a: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A guide to vaccinology: from basic principles to new developments.</a:t>
            </a:r>
            <a:r>
              <a:rPr kumimoji="0" lang="en-US" sz="900" b="0" i="0" u="none" strike="noStrike" kern="1200" cap="none" spc="0" normalizeH="0" baseline="0" noProof="0">
                <a:ln>
                  <a:noFill/>
                </a:ln>
                <a:solidFill>
                  <a:srgbClr val="000000"/>
                </a:solidFill>
                <a:effectLst/>
                <a:uLnTx/>
                <a:uFillTx/>
                <a:latin typeface="Aptos" panose="02110004020202020204"/>
                <a:ea typeface="+mn-ea"/>
                <a:cs typeface="+mn-cs"/>
              </a:rPr>
              <a:t> </a:t>
            </a:r>
            <a:r>
              <a:rPr kumimoji="0" lang="en-US" sz="900" b="0" i="1" u="none" strike="noStrike" kern="1200" cap="none" spc="0" normalizeH="0" baseline="0" noProof="0">
                <a:ln>
                  <a:noFill/>
                </a:ln>
                <a:solidFill>
                  <a:srgbClr val="000000"/>
                </a:solidFill>
                <a:effectLst/>
                <a:uLnTx/>
                <a:uFillTx/>
                <a:latin typeface="Aptos" panose="02110004020202020204"/>
                <a:ea typeface="+mn-ea"/>
                <a:cs typeface="+mn-cs"/>
              </a:rPr>
              <a:t>Nat Rev Immunol</a:t>
            </a:r>
            <a:r>
              <a:rPr kumimoji="0" lang="en-US" sz="900" b="0" i="0" u="none" strike="noStrike" kern="1200" cap="none" spc="0" normalizeH="0" baseline="0" noProof="0">
                <a:ln>
                  <a:noFill/>
                </a:ln>
                <a:solidFill>
                  <a:srgbClr val="000000"/>
                </a:solidFill>
                <a:effectLst/>
                <a:uLnTx/>
                <a:uFillTx/>
                <a:latin typeface="Aptos" panose="02110004020202020204"/>
                <a:ea typeface="+mn-ea"/>
                <a:cs typeface="+mn-cs"/>
              </a:rPr>
              <a:t>. 2021;21(2):83-100.</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ZW" sz="900" b="0" i="0" u="none" strike="noStrike" kern="100" cap="none" spc="0" normalizeH="0" baseline="0" noProof="0">
                <a:ln>
                  <a:noFill/>
                </a:ln>
                <a:solidFill>
                  <a:prstClr val="black"/>
                </a:solidFill>
                <a:effectLst/>
                <a:uLnTx/>
                <a:uFillTx/>
                <a:latin typeface="Aptos" panose="02110004020202020204"/>
                <a:ea typeface="+mn-ea"/>
                <a:cs typeface="+mn-cs"/>
              </a:rPr>
              <a:t>Teixeira R, </a:t>
            </a:r>
            <a:r>
              <a:rPr kumimoji="0" lang="en-ZW" sz="900" b="0" i="0" u="none" strike="noStrike" kern="100" cap="none" spc="0" normalizeH="0" baseline="0" noProof="0" err="1">
                <a:ln>
                  <a:noFill/>
                </a:ln>
                <a:solidFill>
                  <a:prstClr val="black"/>
                </a:solidFill>
                <a:effectLst/>
                <a:uLnTx/>
                <a:uFillTx/>
                <a:latin typeface="Aptos" panose="02110004020202020204"/>
                <a:ea typeface="+mn-ea"/>
                <a:cs typeface="+mn-cs"/>
              </a:rPr>
              <a:t>Kossyvaki</a:t>
            </a:r>
            <a:r>
              <a:rPr kumimoji="0" lang="en-ZW" sz="900" b="0" i="0" u="none" strike="noStrike" kern="100" cap="none" spc="0" normalizeH="0" baseline="0" noProof="0">
                <a:ln>
                  <a:noFill/>
                </a:ln>
                <a:solidFill>
                  <a:prstClr val="black"/>
                </a:solidFill>
                <a:effectLst/>
                <a:uLnTx/>
                <a:uFillTx/>
                <a:latin typeface="Aptos" panose="02110004020202020204"/>
                <a:ea typeface="+mn-ea"/>
                <a:cs typeface="+mn-cs"/>
              </a:rPr>
              <a:t> V, Galvez P, Méndez C. </a:t>
            </a:r>
            <a:r>
              <a:rPr kumimoji="0" lang="en-ZW" sz="900" b="0" i="0" u="none" strike="noStrike" kern="1200" cap="none" spc="0" normalizeH="0" baseline="0" noProof="0">
                <a:ln>
                  <a:noFill/>
                </a:ln>
                <a:solidFill>
                  <a:prstClr val="black"/>
                </a:solidFill>
                <a:effectLst/>
                <a:uLnTx/>
                <a:uFillTx/>
                <a:latin typeface="Aptos" panose="02110004020202020204"/>
                <a:ea typeface="+mn-ea"/>
                <a:cs typeface="+mn-cs"/>
              </a:rPr>
              <a:t>Pneumococcal serotype evolution and burden in European adults in the last decade: A systematic review. </a:t>
            </a:r>
            <a:r>
              <a:rPr kumimoji="0" lang="en-ZW" sz="900" b="0" i="1" u="none" strike="noStrike" kern="1200" cap="none" spc="0" normalizeH="0" baseline="0" noProof="0">
                <a:ln>
                  <a:noFill/>
                </a:ln>
                <a:solidFill>
                  <a:prstClr val="black"/>
                </a:solidFill>
                <a:effectLst/>
                <a:uLnTx/>
                <a:uFillTx/>
                <a:latin typeface="Aptos" panose="02110004020202020204"/>
                <a:ea typeface="+mn-ea"/>
                <a:cs typeface="+mn-cs"/>
              </a:rPr>
              <a:t>Microorganisms</a:t>
            </a:r>
            <a:r>
              <a:rPr kumimoji="0" lang="en-ZW" sz="900" b="0" i="0" u="none" strike="noStrike" kern="1200" cap="none" spc="0" normalizeH="0" baseline="0" noProof="0">
                <a:ln>
                  <a:noFill/>
                </a:ln>
                <a:solidFill>
                  <a:prstClr val="black"/>
                </a:solidFill>
                <a:effectLst/>
                <a:uLnTx/>
                <a:uFillTx/>
                <a:latin typeface="Aptos" panose="02110004020202020204"/>
                <a:ea typeface="+mn-ea"/>
                <a:cs typeface="+mn-cs"/>
              </a:rPr>
              <a:t>. 2023;11(6):1376. </a:t>
            </a:r>
            <a:endParaRPr kumimoji="0" lang="en-ZW" sz="900" b="0" i="0" u="none" strike="noStrike" kern="100" cap="none" spc="0" normalizeH="0" baseline="0" noProof="0">
              <a:ln>
                <a:noFill/>
              </a:ln>
              <a:solidFill>
                <a:prstClr val="black"/>
              </a:solidFill>
              <a:effectLst/>
              <a:uLnTx/>
              <a:uFillTx/>
              <a:latin typeface="Aptos" panose="021100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ZW" sz="900" b="0" i="0" u="none" strike="noStrike" kern="100" cap="none" spc="0" normalizeH="0" baseline="0" noProof="0">
                <a:ln>
                  <a:noFill/>
                </a:ln>
                <a:solidFill>
                  <a:prstClr val="black"/>
                </a:solidFill>
                <a:effectLst/>
                <a:uLnTx/>
                <a:uFillTx/>
                <a:latin typeface="Aptos" panose="02110004020202020204"/>
                <a:ea typeface="+mn-ea"/>
                <a:cs typeface="+mn-cs"/>
              </a:rPr>
              <a:t>Weinberger DM, Malley R, </a:t>
            </a:r>
            <a:r>
              <a:rPr kumimoji="0" lang="en-ZW" sz="900" b="0" i="0" u="none" strike="noStrike" kern="100" cap="none" spc="0" normalizeH="0" baseline="0" noProof="0" err="1">
                <a:ln>
                  <a:noFill/>
                </a:ln>
                <a:solidFill>
                  <a:prstClr val="black"/>
                </a:solidFill>
                <a:effectLst/>
                <a:uLnTx/>
                <a:uFillTx/>
                <a:latin typeface="Aptos" panose="02110004020202020204"/>
                <a:ea typeface="+mn-ea"/>
                <a:cs typeface="+mn-cs"/>
              </a:rPr>
              <a:t>Lipsitch</a:t>
            </a:r>
            <a:r>
              <a:rPr kumimoji="0" lang="en-ZW" sz="900" b="0" i="0" u="none" strike="noStrike" kern="100" cap="none" spc="0" normalizeH="0" baseline="0" noProof="0">
                <a:ln>
                  <a:noFill/>
                </a:ln>
                <a:solidFill>
                  <a:prstClr val="black"/>
                </a:solidFill>
                <a:effectLst/>
                <a:uLnTx/>
                <a:uFillTx/>
                <a:latin typeface="Aptos" panose="02110004020202020204"/>
                <a:ea typeface="+mn-ea"/>
                <a:cs typeface="+mn-cs"/>
              </a:rPr>
              <a:t> M. </a:t>
            </a:r>
            <a:r>
              <a:rPr kumimoji="0" lang="en-ZW" sz="900" b="0" i="0" u="none" strike="noStrike" kern="1200" cap="none" spc="0" normalizeH="0" baseline="0" noProof="0">
                <a:ln>
                  <a:noFill/>
                </a:ln>
                <a:solidFill>
                  <a:prstClr val="black"/>
                </a:solidFill>
                <a:effectLst/>
                <a:uLnTx/>
                <a:uFillTx/>
                <a:latin typeface="Aptos" panose="02110004020202020204"/>
                <a:ea typeface="+mn-ea"/>
                <a:cs typeface="+mn-cs"/>
              </a:rPr>
              <a:t>Serotype replacement in disease following pneumococcal vaccination: A discussion of the evidence. </a:t>
            </a:r>
            <a:r>
              <a:rPr kumimoji="0" lang="da-DK" sz="900" b="0" i="1" u="none" strike="noStrike" kern="1200" cap="none" spc="0" normalizeH="0" baseline="0" noProof="0">
                <a:ln>
                  <a:noFill/>
                </a:ln>
                <a:solidFill>
                  <a:prstClr val="black"/>
                </a:solidFill>
                <a:effectLst/>
                <a:uLnTx/>
                <a:uFillTx/>
                <a:latin typeface="Aptos" panose="02110004020202020204"/>
                <a:ea typeface="+mn-ea"/>
                <a:cs typeface="+mn-cs"/>
              </a:rPr>
              <a:t>Lancet</a:t>
            </a:r>
            <a:r>
              <a:rPr kumimoji="0" lang="da-DK" sz="900" b="0" i="0" u="none" strike="noStrike" kern="1200" cap="none" spc="0" normalizeH="0" baseline="0" noProof="0">
                <a:ln>
                  <a:noFill/>
                </a:ln>
                <a:solidFill>
                  <a:prstClr val="black"/>
                </a:solidFill>
                <a:effectLst/>
                <a:uLnTx/>
                <a:uFillTx/>
                <a:latin typeface="Aptos" panose="02110004020202020204"/>
                <a:ea typeface="+mn-ea"/>
                <a:cs typeface="+mn-cs"/>
              </a:rPr>
              <a:t>. 2011;378(9807):1962-1973.</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da-DK" sz="900" b="0" i="0" u="none" strike="noStrike" kern="100" cap="none" spc="0" normalizeH="0" baseline="0" noProof="0">
                <a:ln>
                  <a:noFill/>
                </a:ln>
                <a:solidFill>
                  <a:prstClr val="black"/>
                </a:solidFill>
                <a:effectLst/>
                <a:uLnTx/>
                <a:uFillTx/>
                <a:latin typeface="Aptos" panose="02110004020202020204"/>
                <a:ea typeface="+mn-ea"/>
                <a:cs typeface="+mn-cs"/>
              </a:rPr>
              <a:t>Hanquet G, Krizova P, Dalby T, et al. </a:t>
            </a: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Serotype replacement after introduction of 10-valent and 13-valent pneumococcal conjugate </a:t>
            </a:r>
            <a:r>
              <a:rPr kumimoji="0" lang="en-ZW" sz="900" b="0" i="0" u="none" strike="noStrike" kern="1200" cap="none" spc="0" normalizeH="0" baseline="0" noProof="0">
                <a:ln>
                  <a:noFill/>
                </a:ln>
                <a:solidFill>
                  <a:prstClr val="black"/>
                </a:solidFill>
                <a:effectLst/>
                <a:uLnTx/>
                <a:uFillTx/>
                <a:latin typeface="Aptos" panose="02110004020202020204"/>
                <a:ea typeface="+mn-ea"/>
                <a:cs typeface="+mn-cs"/>
              </a:rPr>
              <a:t>vaccines in 10 countries, Europe. </a:t>
            </a:r>
            <a:r>
              <a:rPr kumimoji="0" lang="en-ZW" sz="900" b="0" i="1" u="none" strike="noStrike" kern="1200" cap="none" spc="0" normalizeH="0" baseline="0" noProof="0">
                <a:ln>
                  <a:noFill/>
                </a:ln>
                <a:solidFill>
                  <a:prstClr val="black"/>
                </a:solidFill>
                <a:effectLst/>
                <a:uLnTx/>
                <a:uFillTx/>
                <a:latin typeface="Aptos" panose="02110004020202020204"/>
                <a:ea typeface="+mn-ea"/>
                <a:cs typeface="+mn-cs"/>
              </a:rPr>
              <a:t>Emerg Infect Dis</a:t>
            </a:r>
            <a:r>
              <a:rPr kumimoji="0" lang="en-ZW" sz="900" b="0" i="0" u="none" strike="noStrike" kern="1200" cap="none" spc="0" normalizeH="0" baseline="0" noProof="0">
                <a:ln>
                  <a:noFill/>
                </a:ln>
                <a:solidFill>
                  <a:prstClr val="black"/>
                </a:solidFill>
                <a:effectLst/>
                <a:uLnTx/>
                <a:uFillTx/>
                <a:latin typeface="Aptos" panose="02110004020202020204"/>
                <a:ea typeface="+mn-ea"/>
                <a:cs typeface="+mn-cs"/>
              </a:rPr>
              <a:t>. 2022;28(1):127-138.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ZW" sz="900" b="0" i="0" u="none" strike="noStrike" baseline="0" err="1"/>
              <a:t>Micoli</a:t>
            </a:r>
            <a:r>
              <a:rPr lang="en-ZW" sz="900" b="0" i="0" u="none" strike="noStrike" baseline="0"/>
              <a:t> F, Romano MR, Carboni F, Adamo R, Berti F. Strengths and weaknesses of pneumococcal conjugate vaccines. </a:t>
            </a:r>
            <a:r>
              <a:rPr lang="en-ZW" sz="900" b="0" i="1" u="none" strike="noStrike" baseline="0" err="1"/>
              <a:t>Glycoconj</a:t>
            </a:r>
            <a:r>
              <a:rPr lang="en-ZW" sz="900" b="0" i="1" u="none" strike="noStrike" baseline="0"/>
              <a:t> J.</a:t>
            </a:r>
            <a:r>
              <a:rPr lang="en-ZW" sz="900" b="0" i="0" u="none" strike="noStrike" baseline="0"/>
              <a:t> 2023;40(2):135-148.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0" i="0" u="none" strike="noStrike" baseline="0" err="1"/>
              <a:t>Pneumo</a:t>
            </a:r>
            <a:r>
              <a:rPr lang="en-US" sz="900" err="1"/>
              <a:t>sil</a:t>
            </a:r>
            <a:r>
              <a:rPr lang="en-US" sz="900" b="0" i="0" u="none" strike="noStrike" baseline="0"/>
              <a:t> [summary of product characteristics]. Maharashtra, India: Serum Institute of India Pvt. Ltd.; 2022.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ZW" sz="900" b="0" i="0" u="none" strike="noStrike" baseline="0"/>
              <a:t>CAPVAXIVE™ (Pneumococcal 21-valent Conjugate Vaccine) Prescribing Information, Merck Sharp &amp; Dohme LLC, 2024.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ZW" sz="900" b="0" i="0" u="none" strike="noStrike" baseline="0"/>
          </a:p>
        </p:txBody>
      </p:sp>
    </p:spTree>
    <p:extLst>
      <p:ext uri="{BB962C8B-B14F-4D97-AF65-F5344CB8AC3E}">
        <p14:creationId xmlns:p14="http://schemas.microsoft.com/office/powerpoint/2010/main" val="34438521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Slide Number Placeholder 3"/>
          <p:cNvSpPr>
            <a:spLocks noGrp="1"/>
          </p:cNvSpPr>
          <p:nvPr>
            <p:ph type="sldNum" sz="quarter" idx="5"/>
          </p:nvPr>
        </p:nvSpPr>
        <p:spPr/>
        <p:txBody>
          <a:bodyPr/>
          <a:lstStyle/>
          <a:p>
            <a:fld id="{EE7D4C3D-E959-4DA0-A5E8-F93AEE10CB07}" type="slidenum">
              <a:rPr lang="tr-TR" smtClean="0"/>
              <a:t>68</a:t>
            </a:fld>
            <a:endParaRPr lang="tr-TR"/>
          </a:p>
        </p:txBody>
      </p:sp>
    </p:spTree>
    <p:extLst>
      <p:ext uri="{BB962C8B-B14F-4D97-AF65-F5344CB8AC3E}">
        <p14:creationId xmlns:p14="http://schemas.microsoft.com/office/powerpoint/2010/main" val="164618636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D4C3D-E959-4DA0-A5E8-F93AEE10CB07}"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87392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D4C3D-E959-4DA0-A5E8-F93AEE10CB07}"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70968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63525"/>
            <a:ext cx="5486400" cy="3086100"/>
          </a:xfrm>
        </p:spPr>
      </p:sp>
      <p:sp>
        <p:nvSpPr>
          <p:cNvPr id="6" name="Notes Placeholder 5">
            <a:extLst>
              <a:ext uri="{FF2B5EF4-FFF2-40B4-BE49-F238E27FC236}">
                <a16:creationId xmlns:a16="http://schemas.microsoft.com/office/drawing/2014/main" id="{F515C829-E111-34DE-E6E8-55FA815FE6AB}"/>
              </a:ext>
            </a:extLst>
          </p:cNvPr>
          <p:cNvSpPr>
            <a:spLocks noGrp="1"/>
          </p:cNvSpPr>
          <p:nvPr>
            <p:ph type="body" sz="quarter" idx="3"/>
          </p:nvPr>
        </p:nvSpPr>
        <p:spPr>
          <a:xfrm>
            <a:off x="685800" y="3529230"/>
            <a:ext cx="5486400" cy="553476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Key Poin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PCV 20 demonstrated noninferiority to PCV 13 (for all 13 serotypes) and to PPV23 (for 6 of the 7 shared serotypes) </a:t>
            </a:r>
            <a:r>
              <a:rPr lang="en-US" sz="1200"/>
              <a:t>in adults ≥60 years of age</a:t>
            </a:r>
            <a:r>
              <a:rPr kumimoji="0" lang="en-US" sz="1200" b="0" i="0" u="none" strike="noStrike" kern="1200" cap="none" spc="0" normalizeH="0" baseline="0" noProof="0">
                <a:ln>
                  <a:noFill/>
                </a:ln>
                <a:effectLst/>
                <a:uLnTx/>
                <a:uFillTx/>
                <a:latin typeface="Aptos" panose="02110004020202020204"/>
                <a:ea typeface="+mn-ea"/>
                <a:cs typeface="+mn-cs"/>
              </a:rPr>
              <a:t>, </a:t>
            </a: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narrowly missing noninferiority for serotype 8. However, the serotype 8 OPA responses were in line with responses to other serotypes</a:t>
            </a:r>
            <a:r>
              <a:rPr kumimoji="0" lang="en-US" sz="1200" b="0" i="0" u="none" strike="noStrike" kern="1200" cap="none" spc="0" normalizeH="0" baseline="30000" noProof="0">
                <a:ln>
                  <a:noFill/>
                </a:ln>
                <a:solidFill>
                  <a:prstClr val="black"/>
                </a:solidFill>
                <a:effectLst/>
                <a:uLnTx/>
                <a:uFillTx/>
                <a:latin typeface="Aptos" panose="02110004020202020204"/>
                <a:ea typeface="+mn-ea"/>
                <a:cs typeface="+mn-cs"/>
              </a:rPr>
              <a:t>1,2</a:t>
            </a:r>
          </a:p>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ptos" panose="02110004020202020204"/>
                <a:ea typeface="Lato"/>
                <a:cs typeface="Lato"/>
                <a:sym typeface="Lato"/>
              </a:rPr>
              <a:t>Responses in younger adults 18 to 59 years of age have been bridged to responses in the pivotal comparison population (60 to 64 years of age)</a:t>
            </a:r>
            <a:r>
              <a:rPr kumimoji="0" lang="en-US" sz="1200" b="0" i="0" u="none" strike="noStrike" kern="0" cap="none" spc="0" normalizeH="0" baseline="30000" noProof="0">
                <a:ln>
                  <a:noFill/>
                </a:ln>
                <a:solidFill>
                  <a:srgbClr val="000000"/>
                </a:solidFill>
                <a:effectLst/>
                <a:uLnTx/>
                <a:uFillTx/>
                <a:latin typeface="Aptos" panose="02110004020202020204"/>
                <a:ea typeface="Lato"/>
                <a:cs typeface="Lato"/>
                <a:sym typeface="Lato"/>
              </a:rPr>
              <a:t>1,2</a:t>
            </a:r>
            <a:endParaRPr kumimoji="0" lang="en-US" sz="1200" b="0" i="0" u="none" strike="noStrike" kern="1200" cap="none" spc="0" normalizeH="0" baseline="30000" noProof="0">
              <a:ln>
                <a:noFill/>
              </a:ln>
              <a:solidFill>
                <a:prstClr val="black"/>
              </a:solidFill>
              <a:effectLst/>
              <a:uLnTx/>
              <a:uFillTx/>
              <a:latin typeface="Aptos" panose="02110004020202020204"/>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PCV 20 elicited functional immune responses to all 20 vaccine serotypes in adults ≥65 years of age with prior pneumococcal vaccination</a:t>
            </a:r>
            <a:r>
              <a:rPr lang="en-US" baseline="30000">
                <a:solidFill>
                  <a:prstClr val="black"/>
                </a:solidFill>
                <a:latin typeface="Aptos" panose="02110004020202020204"/>
              </a:rPr>
              <a:t>1</a:t>
            </a:r>
            <a:r>
              <a:rPr kumimoji="0" lang="en-US" sz="1200" b="0" i="0" u="none" strike="noStrike" kern="1200" cap="none" spc="0" normalizeH="0" baseline="30000" noProof="0">
                <a:ln>
                  <a:noFill/>
                </a:ln>
                <a:solidFill>
                  <a:prstClr val="black"/>
                </a:solidFill>
                <a:effectLst/>
                <a:uLnTx/>
                <a:uFillTx/>
                <a:latin typeface="Aptos" panose="02110004020202020204"/>
                <a:ea typeface="+mn-ea"/>
                <a:cs typeface="+mn-cs"/>
              </a:rPr>
              <a:t>,3</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PCV 20 can be co-administered with either the influenza or COVID-19 vaccines</a:t>
            </a:r>
            <a:r>
              <a:rPr kumimoji="0" lang="en-US" sz="1200" b="0" i="0" u="none" strike="noStrike" kern="1200" cap="none" spc="0" normalizeH="0" baseline="30000" noProof="0">
                <a:ln>
                  <a:noFill/>
                </a:ln>
                <a:solidFill>
                  <a:prstClr val="black"/>
                </a:solidFill>
                <a:effectLst/>
                <a:uLnTx/>
                <a:uFillTx/>
                <a:latin typeface="Aptos" panose="02110004020202020204"/>
                <a:ea typeface="+mn-ea"/>
                <a:cs typeface="+mn-cs"/>
              </a:rPr>
              <a:t>1,4,5</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110004020202020204"/>
                <a:ea typeface="+mn-ea"/>
                <a:cs typeface="+mn-cs"/>
              </a:rPr>
              <a:t>References</a:t>
            </a:r>
          </a:p>
          <a:p>
            <a:pPr marL="228600" indent="-228600">
              <a:spcAft>
                <a:spcPts val="600"/>
              </a:spcAft>
              <a:buFont typeface="+mj-lt"/>
              <a:buAutoNum type="arabicPeriod"/>
              <a:defRPr/>
            </a:pPr>
            <a:r>
              <a:rPr lang="en-US" sz="1050">
                <a:solidFill>
                  <a:prstClr val="black"/>
                </a:solidFill>
              </a:rPr>
              <a:t>PCV 20 [summary of product characteristics]. Brussels, Belgium: Pfizer Europe MA EEIG; 2024.</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050" b="0" i="0" u="none" strike="noStrike" kern="1200" cap="none" spc="0" normalizeH="0" baseline="0" noProof="0">
                <a:ln>
                  <a:noFill/>
                </a:ln>
                <a:solidFill>
                  <a:srgbClr val="212121"/>
                </a:solidFill>
                <a:effectLst/>
                <a:uLnTx/>
                <a:uFillTx/>
                <a:latin typeface="Aptos" panose="02110004020202020204"/>
                <a:ea typeface="+mn-ea"/>
                <a:cs typeface="+mn-cs"/>
              </a:rPr>
              <a:t>Essink B, Sabharwal C, Cannon K, et al. Pivotal phase 3 randomized clinical trial of the safety, tolerability, and immunogenicity of 20-valent pneumococcal conjugate vaccine in adults 18 years and older. </a:t>
            </a:r>
            <a:r>
              <a:rPr kumimoji="0" lang="en-US" sz="1050" b="0" i="1" u="none" strike="noStrike" kern="1200" cap="none" spc="0" normalizeH="0" baseline="0" noProof="0">
                <a:ln>
                  <a:noFill/>
                </a:ln>
                <a:solidFill>
                  <a:srgbClr val="212121"/>
                </a:solidFill>
                <a:effectLst/>
                <a:uLnTx/>
                <a:uFillTx/>
                <a:latin typeface="Aptos" panose="02110004020202020204"/>
                <a:ea typeface="+mn-ea"/>
                <a:cs typeface="+mn-cs"/>
              </a:rPr>
              <a:t>Clin Infect Dis</a:t>
            </a:r>
            <a:r>
              <a:rPr kumimoji="0" lang="en-US" sz="1050" b="0" i="0" u="none" strike="noStrike" kern="1200" cap="none" spc="0" normalizeH="0" baseline="0" noProof="0">
                <a:ln>
                  <a:noFill/>
                </a:ln>
                <a:solidFill>
                  <a:srgbClr val="212121"/>
                </a:solidFill>
                <a:effectLst/>
                <a:uLnTx/>
                <a:uFillTx/>
                <a:latin typeface="Aptos" panose="02110004020202020204"/>
                <a:ea typeface="+mn-ea"/>
                <a:cs typeface="+mn-cs"/>
              </a:rPr>
              <a:t>. 2021;75(3):390-398.</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Aptos" panose="02110004020202020204"/>
                <a:ea typeface="+mn-ea"/>
                <a:cs typeface="+mn-cs"/>
              </a:rPr>
              <a:t>Cannon K, Elder C, Young M, et al. A trial to evaluate the safety and immunogenicity of a 20-valent pneumococcal conjugate vaccine in populations of adults ≥65 years of age with different prior pneumococcal vaccination. </a:t>
            </a:r>
            <a:r>
              <a:rPr kumimoji="0" lang="en-US" sz="1050" b="0" i="1" u="none" strike="noStrike" kern="1200" cap="none" spc="0" normalizeH="0" baseline="0" noProof="0">
                <a:ln>
                  <a:noFill/>
                </a:ln>
                <a:solidFill>
                  <a:srgbClr val="000000"/>
                </a:solidFill>
                <a:effectLst/>
                <a:uLnTx/>
                <a:uFillTx/>
                <a:latin typeface="Aptos" panose="02110004020202020204"/>
                <a:ea typeface="+mn-ea"/>
                <a:cs typeface="+mn-cs"/>
              </a:rPr>
              <a:t>Vaccine.</a:t>
            </a:r>
            <a:r>
              <a:rPr kumimoji="0" lang="en-US" sz="1050" b="0" i="0" u="none" strike="noStrike" kern="1200" cap="none" spc="0" normalizeH="0" baseline="0" noProof="0">
                <a:ln>
                  <a:noFill/>
                </a:ln>
                <a:solidFill>
                  <a:srgbClr val="000000"/>
                </a:solidFill>
                <a:effectLst/>
                <a:uLnTx/>
                <a:uFillTx/>
                <a:latin typeface="Aptos" panose="02110004020202020204"/>
                <a:ea typeface="+mn-ea"/>
                <a:cs typeface="+mn-cs"/>
              </a:rPr>
              <a:t> 2021;39(51):7494-7502.</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Aptos" panose="02110004020202020204"/>
                <a:ea typeface="+mn-ea"/>
                <a:cs typeface="+mn-cs"/>
              </a:rPr>
              <a:t>Cannon K, Cardona JF, </a:t>
            </a:r>
            <a:r>
              <a:rPr kumimoji="0" lang="en-US" sz="1050" b="0" i="0" u="none" strike="noStrike" kern="1200" cap="none" spc="0" normalizeH="0" baseline="0" noProof="0" err="1">
                <a:ln>
                  <a:noFill/>
                </a:ln>
                <a:solidFill>
                  <a:srgbClr val="000000"/>
                </a:solidFill>
                <a:effectLst/>
                <a:uLnTx/>
                <a:uFillTx/>
                <a:latin typeface="Aptos" panose="02110004020202020204"/>
                <a:ea typeface="+mn-ea"/>
                <a:cs typeface="+mn-cs"/>
              </a:rPr>
              <a:t>Yacisin</a:t>
            </a:r>
            <a:r>
              <a:rPr kumimoji="0" lang="en-US" sz="1050" b="0" i="0" u="none" strike="noStrike" kern="1200" cap="none" spc="0" normalizeH="0" baseline="0" noProof="0">
                <a:ln>
                  <a:noFill/>
                </a:ln>
                <a:solidFill>
                  <a:srgbClr val="000000"/>
                </a:solidFill>
                <a:effectLst/>
                <a:uLnTx/>
                <a:uFillTx/>
                <a:latin typeface="Aptos" panose="02110004020202020204"/>
                <a:ea typeface="+mn-ea"/>
                <a:cs typeface="+mn-cs"/>
              </a:rPr>
              <a:t> K, et al. Safety and immunogenicity of a 20-valent pneumococcal conjugate vaccine coadministered with quadrivalent influenza vaccine: A phase 3 randomized trial. </a:t>
            </a:r>
            <a:r>
              <a:rPr kumimoji="0" lang="en-US" sz="1050" b="0" i="1" u="none" strike="noStrike" kern="1200" cap="none" spc="0" normalizeH="0" baseline="0" noProof="0">
                <a:ln>
                  <a:noFill/>
                </a:ln>
                <a:solidFill>
                  <a:srgbClr val="000000"/>
                </a:solidFill>
                <a:effectLst/>
                <a:uLnTx/>
                <a:uFillTx/>
                <a:latin typeface="Aptos" panose="02110004020202020204"/>
                <a:ea typeface="+mn-ea"/>
                <a:cs typeface="+mn-cs"/>
              </a:rPr>
              <a:t>Vaccine</a:t>
            </a:r>
            <a:r>
              <a:rPr kumimoji="0" lang="en-US" sz="1050" b="0" i="0" u="none" strike="noStrike" kern="1200" cap="none" spc="0" normalizeH="0" baseline="0" noProof="0">
                <a:ln>
                  <a:noFill/>
                </a:ln>
                <a:solidFill>
                  <a:srgbClr val="000000"/>
                </a:solidFill>
                <a:effectLst/>
                <a:uLnTx/>
                <a:uFillTx/>
                <a:latin typeface="Aptos" panose="02110004020202020204"/>
                <a:ea typeface="+mn-ea"/>
                <a:cs typeface="+mn-cs"/>
              </a:rPr>
              <a:t>. 2023;41(13):2137-2146.</a:t>
            </a:r>
          </a:p>
          <a:p>
            <a:pPr marL="228600" indent="-228600">
              <a:spcAft>
                <a:spcPts val="600"/>
              </a:spcAft>
              <a:buFont typeface="+mj-lt"/>
              <a:buAutoNum type="arabicPeriod"/>
              <a:defRPr/>
            </a:pPr>
            <a:r>
              <a:rPr kumimoji="0" lang="en-US" sz="1050" b="0" i="0" u="none" strike="noStrike" kern="1200" cap="none" spc="0" normalizeH="0" baseline="0" noProof="0">
                <a:ln>
                  <a:noFill/>
                </a:ln>
                <a:solidFill>
                  <a:srgbClr val="000000"/>
                </a:solidFill>
                <a:effectLst/>
                <a:uLnTx/>
                <a:uFillTx/>
                <a:latin typeface="Aptos" panose="02110004020202020204"/>
                <a:ea typeface="+mn-ea"/>
                <a:cs typeface="+mn-cs"/>
              </a:rPr>
              <a:t>Fitz-Patrick D, Young M, </a:t>
            </a:r>
            <a:r>
              <a:rPr kumimoji="0" lang="en-US" sz="1050" b="0" i="0" u="none" strike="noStrike" kern="1200" cap="none" spc="0" normalizeH="0" baseline="0" noProof="0" err="1">
                <a:ln>
                  <a:noFill/>
                </a:ln>
                <a:solidFill>
                  <a:srgbClr val="000000"/>
                </a:solidFill>
                <a:effectLst/>
                <a:uLnTx/>
                <a:uFillTx/>
                <a:latin typeface="Aptos" panose="02110004020202020204"/>
                <a:ea typeface="+mn-ea"/>
                <a:cs typeface="+mn-cs"/>
              </a:rPr>
              <a:t>Yacisin</a:t>
            </a:r>
            <a:r>
              <a:rPr kumimoji="0" lang="en-US" sz="1050" b="0" i="0" u="none" strike="noStrike" kern="1200" cap="none" spc="0" normalizeH="0" baseline="0" noProof="0">
                <a:ln>
                  <a:noFill/>
                </a:ln>
                <a:solidFill>
                  <a:srgbClr val="000000"/>
                </a:solidFill>
                <a:effectLst/>
                <a:uLnTx/>
                <a:uFillTx/>
                <a:latin typeface="Aptos" panose="02110004020202020204"/>
                <a:ea typeface="+mn-ea"/>
                <a:cs typeface="+mn-cs"/>
              </a:rPr>
              <a:t> K, et al. </a:t>
            </a:r>
            <a:r>
              <a:rPr kumimoji="0" lang="en-ZW" sz="1050" b="0" i="0" u="none" strike="noStrike" kern="1200" cap="none" spc="0" normalizeH="0" baseline="0" noProof="0">
                <a:ln>
                  <a:noFill/>
                </a:ln>
                <a:solidFill>
                  <a:srgbClr val="000000"/>
                </a:solidFill>
                <a:effectLst/>
                <a:uLnTx/>
                <a:uFillTx/>
                <a:latin typeface="Aptos" panose="02110004020202020204"/>
                <a:ea typeface="+mn-ea"/>
                <a:cs typeface="+mn-cs"/>
              </a:rPr>
              <a:t>Randomized trial to evaluate the safety, tolerability, and immunogenicity of a booster (third dose) of BNT162b2 COVID-19 vaccine coadministered with 20-valent pneumococcal conjugate vaccine in adults ≥65 years old. </a:t>
            </a:r>
            <a:r>
              <a:rPr kumimoji="0" lang="en-ZW" sz="1050" b="0" i="1" u="none" strike="noStrike" kern="1200" cap="none" spc="0" normalizeH="0" baseline="0" noProof="0">
                <a:ln>
                  <a:noFill/>
                </a:ln>
                <a:solidFill>
                  <a:srgbClr val="000000"/>
                </a:solidFill>
                <a:effectLst/>
                <a:uLnTx/>
                <a:uFillTx/>
                <a:latin typeface="Aptos" panose="02110004020202020204"/>
                <a:ea typeface="+mn-ea"/>
                <a:cs typeface="+mn-cs"/>
              </a:rPr>
              <a:t>Vaccine</a:t>
            </a:r>
            <a:r>
              <a:rPr kumimoji="0" lang="en-ZW" sz="1050" b="0" i="0" u="none" strike="noStrike" kern="1200" cap="none" spc="0" normalizeH="0" baseline="0" noProof="0">
                <a:ln>
                  <a:noFill/>
                </a:ln>
                <a:solidFill>
                  <a:srgbClr val="000000"/>
                </a:solidFill>
                <a:effectLst/>
                <a:uLnTx/>
                <a:uFillTx/>
                <a:latin typeface="Aptos" panose="02110004020202020204"/>
                <a:ea typeface="+mn-ea"/>
                <a:cs typeface="+mn-cs"/>
              </a:rPr>
              <a:t>. 2023;41(28):4190-4198.</a:t>
            </a:r>
            <a:endParaRPr kumimoji="0" lang="en-US" sz="1050" b="0" i="0" u="none" strike="noStrike" kern="1200" cap="none" spc="0" normalizeH="0" baseline="0" noProof="0">
              <a:ln>
                <a:noFill/>
              </a:ln>
              <a:solidFill>
                <a:prstClr val="black"/>
              </a:solidFill>
              <a:effectLst/>
              <a:uLnTx/>
              <a:uFillTx/>
              <a:latin typeface="Aptos" panose="02110004020202020204"/>
              <a:ea typeface="+mn-ea"/>
              <a:cs typeface="+mn-cs"/>
            </a:endParaRPr>
          </a:p>
          <a:p>
            <a:pPr marR="0" lvl="0" algn="l" defTabSz="914400" rtl="0" eaLnBrk="1" fontAlgn="auto" latinLnBrk="0" hangingPunct="1">
              <a:lnSpc>
                <a:spcPct val="100000"/>
              </a:lnSpc>
              <a:spcBef>
                <a:spcPts val="0"/>
              </a:spcBef>
              <a:spcAft>
                <a:spcPts val="600"/>
              </a:spcAft>
              <a:buClrTx/>
              <a:buSzTx/>
              <a:tabLst/>
              <a:defRPr/>
            </a:pPr>
            <a:endParaRPr kumimoji="0" lang="en-US" sz="1050" b="0" i="0" u="none" strike="noStrike" kern="1200" cap="none" spc="0" normalizeH="0" baseline="0" noProof="0">
              <a:ln>
                <a:noFill/>
              </a:ln>
              <a:solidFill>
                <a:srgbClr val="000000"/>
              </a:solidFill>
              <a:effectLst/>
              <a:uLnTx/>
              <a:uFillTx/>
              <a:latin typeface="Aptos" panose="02110004020202020204"/>
              <a:ea typeface="+mn-ea"/>
              <a:cs typeface="+mn-cs"/>
            </a:endParaRP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endParaRPr kumimoji="0" lang="en-US" sz="1200" b="1"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000000"/>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Slide Number Placeholder 8">
            <a:extLst>
              <a:ext uri="{FF2B5EF4-FFF2-40B4-BE49-F238E27FC236}">
                <a16:creationId xmlns:a16="http://schemas.microsoft.com/office/drawing/2014/main" id="{B75B57BE-069C-3D0B-16D5-385E73A23E1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E2D300-DD52-4321-94DF-38A962E6148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9148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a:extLst>
              <a:ext uri="{FF2B5EF4-FFF2-40B4-BE49-F238E27FC236}">
                <a16:creationId xmlns:a16="http://schemas.microsoft.com/office/drawing/2014/main" id="{EAE052E5-B689-4CA7-9163-05A4E4B651B5}"/>
              </a:ext>
            </a:extLst>
          </p:cNvPr>
          <p:cNvSpPr>
            <a:spLocks noGrp="1" noRot="1" noChangeAspect="1"/>
          </p:cNvSpPr>
          <p:nvPr>
            <p:ph type="sldImg"/>
          </p:nvPr>
        </p:nvSpPr>
        <p:spPr>
          <a:xfrm>
            <a:off x="741363" y="179388"/>
            <a:ext cx="5832475" cy="3281362"/>
          </a:xfrm>
        </p:spPr>
      </p:sp>
      <p:sp>
        <p:nvSpPr>
          <p:cNvPr id="5" name="Notes Placeholder 4">
            <a:extLst>
              <a:ext uri="{FF2B5EF4-FFF2-40B4-BE49-F238E27FC236}">
                <a16:creationId xmlns:a16="http://schemas.microsoft.com/office/drawing/2014/main" id="{2557DFB9-2057-4529-888F-E8B9B55DAC49}"/>
              </a:ext>
            </a:extLst>
          </p:cNvPr>
          <p:cNvSpPr>
            <a:spLocks noGrp="1"/>
          </p:cNvSpPr>
          <p:nvPr>
            <p:ph type="body" idx="1"/>
          </p:nvPr>
        </p:nvSpPr>
        <p:spPr>
          <a:xfrm>
            <a:off x="685800" y="3836100"/>
            <a:ext cx="5486400" cy="567366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W" sz="1100" b="1" i="0" u="none" strike="noStrike" kern="1200" cap="none" spc="0" normalizeH="0" baseline="0" noProof="0">
                <a:ln>
                  <a:noFill/>
                </a:ln>
                <a:solidFill>
                  <a:prstClr val="black"/>
                </a:solidFill>
                <a:effectLst/>
                <a:uLnTx/>
                <a:uFillTx/>
                <a:latin typeface="Aptos" panose="02110004020202020204"/>
                <a:ea typeface="+mn-ea"/>
                <a:cs typeface="+mn-cs"/>
              </a:rPr>
              <a:t>Key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W" sz="1100" b="0" i="0" u="none" strike="noStrike" kern="1200" cap="none" spc="0" normalizeH="0" baseline="0" noProof="0">
                <a:ln>
                  <a:noFill/>
                </a:ln>
                <a:solidFill>
                  <a:prstClr val="black"/>
                </a:solidFill>
                <a:effectLst/>
                <a:uLnTx/>
                <a:uFillTx/>
                <a:latin typeface="Aptos" panose="02110004020202020204"/>
                <a:ea typeface="+mn-ea"/>
                <a:cs typeface="+mn-cs"/>
              </a:rPr>
              <a:t>KPA 20 was developed based on </a:t>
            </a:r>
            <a:r>
              <a:rPr kumimoji="0" lang="en-US" sz="1100" b="0" i="0" u="none" strike="noStrike" kern="1200" cap="none" spc="0" normalizeH="0" baseline="0" noProof="0">
                <a:ln>
                  <a:noFill/>
                </a:ln>
                <a:solidFill>
                  <a:prstClr val="black"/>
                </a:solidFill>
                <a:effectLst/>
                <a:uLnTx/>
                <a:uFillTx/>
                <a:latin typeface="Aptos" panose="02110004020202020204"/>
                <a:ea typeface="+mn-ea"/>
                <a:cs typeface="+mn-cs"/>
              </a:rPr>
              <a:t>noninferiority of functional immune responses for all serotypes by comparison with the responses of vaccines with proven efficacy and effectiveness</a:t>
            </a:r>
            <a:r>
              <a:rPr kumimoji="0" lang="en-US" sz="1100" b="0" i="0" u="none" strike="noStrike" kern="1200" cap="none" spc="0" normalizeH="0" baseline="30000" noProof="0">
                <a:ln>
                  <a:noFill/>
                </a:ln>
                <a:solidFill>
                  <a:prstClr val="black"/>
                </a:solidFill>
                <a:effectLst/>
                <a:uLnTx/>
                <a:uFillTx/>
                <a:latin typeface="Aptos" panose="02110004020202020204"/>
                <a:ea typeface="+mn-ea"/>
                <a:cs typeface="+mn-cs"/>
              </a:rPr>
              <a:t>1-3</a:t>
            </a:r>
            <a:endParaRPr kumimoji="0" lang="en-US" sz="1100" b="1" i="0" u="none" strike="noStrike" kern="1200" cap="none" spc="0" normalizeH="0" baseline="30000" noProof="0">
              <a:ln>
                <a:noFill/>
              </a:ln>
              <a:solidFill>
                <a:prstClr val="black"/>
              </a:solidFill>
              <a:effectLst/>
              <a:uLnTx/>
              <a:uFillTx/>
              <a:latin typeface="Aptos" panose="021100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ptos" panose="02110004020202020204"/>
                <a:ea typeface="+mn-ea"/>
                <a:cs typeface="+mn-cs"/>
              </a:rPr>
              <a:t>Efficacy trials comparing KPA 20 with KPA 13 or placebo were not feasible due to the large sample size needed for a direct comparison and the ethical considerations of including a placebo group given the global availability of KPA 13 and its demonstrated efficacy against IPD and pneumonia</a:t>
            </a:r>
            <a:r>
              <a:rPr lang="en-US" sz="1100" baseline="30000">
                <a:solidFill>
                  <a:prstClr val="black"/>
                </a:solidFill>
                <a:latin typeface="Aptos" panose="02110004020202020204"/>
              </a:rPr>
              <a:t>2</a:t>
            </a:r>
            <a:endParaRPr kumimoji="0" lang="en-US" sz="1100" b="0" i="0" u="none" strike="noStrike" kern="1200" cap="none" spc="0" normalizeH="0" baseline="30000" noProof="0">
              <a:ln>
                <a:noFill/>
              </a:ln>
              <a:solidFill>
                <a:prstClr val="black"/>
              </a:solidFill>
              <a:effectLst/>
              <a:uLnTx/>
              <a:uFillTx/>
              <a:latin typeface="Aptos" panose="021100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ptos" panose="02110004020202020204"/>
                <a:ea typeface="+mn-ea"/>
                <a:cs typeface="+mn-cs"/>
              </a:rPr>
              <a:t>During KPA 20 clinical development, OPA responses 1-month post-vaccination for KPA 20 were compared with the OPA responses of vaccines with clinically proven protection: KPA 13 for the 13 serotypes shared between KPA 20 and KPA 13, and PPV23 for the 7 serotypes shared between KPA 20 and PPV23</a:t>
            </a:r>
            <a:r>
              <a:rPr kumimoji="0" lang="en-US" sz="1100" b="0" i="0" u="none" strike="noStrike" kern="1200" cap="none" spc="0" normalizeH="0" baseline="30000" noProof="0">
                <a:ln>
                  <a:noFill/>
                </a:ln>
                <a:solidFill>
                  <a:prstClr val="black"/>
                </a:solidFill>
                <a:effectLst/>
                <a:uLnTx/>
                <a:uFillTx/>
                <a:latin typeface="Aptos" panose="02110004020202020204"/>
                <a:ea typeface="+mn-ea"/>
                <a:cs typeface="+mn-cs"/>
              </a:rPr>
              <a:t>1-3</a:t>
            </a:r>
            <a:endParaRPr kumimoji="0" lang="en-ZW" sz="1200" b="0" i="0" u="none" strike="noStrike" kern="1200" cap="none" spc="0" normalizeH="0" baseline="3000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W" sz="12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W" sz="1000" b="1" i="0" u="none" strike="noStrike" kern="1200" cap="none" spc="0" normalizeH="0" baseline="0" noProof="0">
                <a:ln>
                  <a:noFill/>
                </a:ln>
                <a:solidFill>
                  <a:prstClr val="black"/>
                </a:solidFill>
                <a:effectLst/>
                <a:uLnTx/>
                <a:uFillTx/>
                <a:latin typeface="Aptos" panose="02110004020202020204"/>
                <a:ea typeface="+mn-ea"/>
                <a:cs typeface="+mn-cs"/>
              </a:rPr>
              <a:t>References</a:t>
            </a:r>
          </a:p>
          <a:p>
            <a:pPr marL="228600" indent="-228600">
              <a:buFontTx/>
              <a:buAutoNum type="arabicPeriod"/>
              <a:defRPr/>
            </a:pPr>
            <a:r>
              <a:rPr lang="en-US" sz="1000">
                <a:solidFill>
                  <a:prstClr val="black"/>
                </a:solidFill>
              </a:rPr>
              <a:t>KPA 20 [summary of product characteristics]. Brussels, Belgium: Pfizer Europe MA EEIG; 2024.</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srgbClr val="000000"/>
                </a:solidFill>
                <a:effectLst/>
                <a:uLnTx/>
                <a:uFillTx/>
                <a:latin typeface="Aptos" panose="02110004020202020204"/>
                <a:ea typeface="+mn-ea"/>
                <a:cs typeface="+mn-cs"/>
              </a:rPr>
              <a:t>European Medicines Agency Committee for Medicinal Products for Human Use (CHMP). Scientific advice: PF-0648207, October 18, 2018.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prstClr val="black"/>
                </a:solidFill>
                <a:effectLst/>
                <a:uLnTx/>
                <a:uFillTx/>
                <a:latin typeface="Aptos" panose="02110004020202020204"/>
                <a:ea typeface="+mn-ea"/>
                <a:cs typeface="+mn-cs"/>
              </a:rPr>
              <a:t>Prevnar 20® (Pneumococcal 20-valent Conjugate Vaccine) Prescribing Information, Wyeth Pharmaceuticals LLC, 2023.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e-IL" sz="1200" b="0" i="0" u="none" strike="noStrike" kern="1200" cap="none" spc="0" normalizeH="0" baseline="0" noProof="0">
              <a:ln>
                <a:noFill/>
              </a:ln>
              <a:solidFill>
                <a:prstClr val="black"/>
              </a:solidFill>
              <a:effectLst/>
              <a:uLnTx/>
              <a:uFillTx/>
              <a:latin typeface="Aptos" panose="02110004020202020204"/>
              <a:ea typeface="+mn-ea"/>
              <a:cs typeface="Arial" panose="020B0604020202020204" pitchFamily="34" charset="0"/>
            </a:endParaRPr>
          </a:p>
        </p:txBody>
      </p:sp>
      <p:sp>
        <p:nvSpPr>
          <p:cNvPr id="7" name="Slide Number Placeholder 6">
            <a:extLst>
              <a:ext uri="{FF2B5EF4-FFF2-40B4-BE49-F238E27FC236}">
                <a16:creationId xmlns:a16="http://schemas.microsoft.com/office/drawing/2014/main" id="{DDCB4751-5880-A8FA-CB33-6B611212613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E2D300-DD52-4321-94DF-38A962E6148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5"/>
          </p:nvPr>
        </p:nvSpPr>
        <p:spPr/>
        <p:txBody>
          <a:bodyPr/>
          <a:lstStyle/>
          <a:p>
            <a:fld id="{EE7D4C3D-E959-4DA0-A5E8-F93AEE10CB07}" type="slidenum">
              <a:rPr lang="tr-TR" smtClean="0"/>
              <a:t>75</a:t>
            </a:fld>
            <a:endParaRPr lang="tr-TR"/>
          </a:p>
        </p:txBody>
      </p:sp>
    </p:spTree>
    <p:extLst>
      <p:ext uri="{BB962C8B-B14F-4D97-AF65-F5344CB8AC3E}">
        <p14:creationId xmlns:p14="http://schemas.microsoft.com/office/powerpoint/2010/main" val="248548186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E0AB5-4989-9F9F-5F72-628F3A0387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041C5F-1720-C2DC-2B16-77E184EB26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CF10E9-DF5C-6417-50A3-90D0BAC35711}"/>
              </a:ext>
            </a:extLst>
          </p:cNvPr>
          <p:cNvSpPr>
            <a:spLocks noGrp="1"/>
          </p:cNvSpPr>
          <p:nvPr>
            <p:ph type="body" idx="1"/>
          </p:nvPr>
        </p:nvSpPr>
        <p:spPr/>
        <p:txBody>
          <a:bodyPr/>
          <a:lstStyle/>
          <a:p>
            <a:pPr marL="171450" indent="-171450">
              <a:buFont typeface="Arial" panose="020B0604020202020204" pitchFamily="34" charset="0"/>
              <a:buChar char="•"/>
            </a:pPr>
            <a:r>
              <a:rPr lang="en-US" sz="1000">
                <a:solidFill>
                  <a:schemeClr val="tx1"/>
                </a:solidFill>
                <a:cs typeface="Arial" panose="020B0604020202020204" pitchFamily="34" charset="0"/>
              </a:rPr>
              <a:t>Clinical development programs for both targeted indications include the same first-in-human study (NCT03529773)</a:t>
            </a:r>
            <a:r>
              <a:rPr lang="en-US" sz="1000" baseline="30000">
                <a:solidFill>
                  <a:schemeClr val="tx1"/>
                </a:solidFill>
                <a:cs typeface="Arial" panose="020B0604020202020204" pitchFamily="34" charset="0"/>
              </a:rPr>
              <a:t>1</a:t>
            </a:r>
          </a:p>
          <a:p>
            <a:pPr marL="171450" indent="-171450">
              <a:buFont typeface="Arial" panose="020B0604020202020204" pitchFamily="34" charset="0"/>
              <a:buChar char="•"/>
            </a:pPr>
            <a:r>
              <a:rPr lang="en-US" sz="1000">
                <a:solidFill>
                  <a:schemeClr val="tx1"/>
                </a:solidFill>
                <a:cs typeface="Arial" panose="020B0604020202020204" pitchFamily="34" charset="0"/>
              </a:rPr>
              <a:t>The Pfizer RSVpreF vaccine is currently in phase 3 of clinical development for both the </a:t>
            </a:r>
            <a:r>
              <a:rPr lang="en-US" sz="1000">
                <a:cs typeface="Arial" panose="020B0604020202020204" pitchFamily="34" charset="0"/>
              </a:rPr>
              <a:t>M</a:t>
            </a:r>
            <a:r>
              <a:rPr lang="en-US" sz="1000">
                <a:solidFill>
                  <a:schemeClr val="tx1"/>
                </a:solidFill>
                <a:cs typeface="Arial" panose="020B0604020202020204" pitchFamily="34" charset="0"/>
              </a:rPr>
              <a:t>aternal and </a:t>
            </a:r>
            <a:r>
              <a:rPr lang="en-US" sz="1000">
                <a:cs typeface="Arial" panose="020B0604020202020204" pitchFamily="34" charset="0"/>
              </a:rPr>
              <a:t>O</a:t>
            </a:r>
            <a:r>
              <a:rPr lang="en-US" sz="1000">
                <a:solidFill>
                  <a:schemeClr val="tx1"/>
                </a:solidFill>
                <a:cs typeface="Arial" panose="020B0604020202020204" pitchFamily="34" charset="0"/>
              </a:rPr>
              <a:t>lder Adult indications</a:t>
            </a:r>
            <a:r>
              <a:rPr lang="en-US" sz="1000" baseline="30000">
                <a:cs typeface="Arial" panose="020B0604020202020204" pitchFamily="34" charset="0"/>
              </a:rPr>
              <a:t>2</a:t>
            </a:r>
            <a:r>
              <a:rPr lang="en-US" sz="1000" baseline="30000">
                <a:solidFill>
                  <a:schemeClr val="tx1"/>
                </a:solidFill>
                <a:cs typeface="Arial" panose="020B0604020202020204" pitchFamily="34" charset="0"/>
              </a:rPr>
              <a:t>-4</a:t>
            </a:r>
          </a:p>
          <a:p>
            <a:endParaRPr lang="en-US" sz="1000" baseline="30000">
              <a:solidFill>
                <a:schemeClr val="tx1"/>
              </a:solidFill>
              <a:cs typeface="Arial" panose="020B0604020202020204" pitchFamily="34" charset="0"/>
            </a:endParaRPr>
          </a:p>
          <a:p>
            <a:r>
              <a:rPr lang="en-US" sz="1000" b="1" baseline="0">
                <a:solidFill>
                  <a:schemeClr val="tx1"/>
                </a:solidFill>
                <a:cs typeface="Arial" panose="020B0604020202020204" pitchFamily="34" charset="0"/>
              </a:rPr>
              <a:t>Referenc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000" b="0" i="0">
                <a:solidFill>
                  <a:schemeClr val="tx1"/>
                </a:solidFill>
                <a:effectLst/>
                <a:cs typeface="Arial" panose="020B0604020202020204" pitchFamily="34" charset="0"/>
              </a:rPr>
              <a:t>Falsey AR, Walsh EE, Scott DA, et al. Phase 1/2 randomized study of the immunogenicity, safety, and tolerability of a respiratory syncytial virus prefusion F vaccine in adults with concomitant inactivated influenza vaccine. </a:t>
            </a:r>
            <a:r>
              <a:rPr lang="en-US" sz="1000" b="0" i="1">
                <a:solidFill>
                  <a:schemeClr val="tx1"/>
                </a:solidFill>
                <a:effectLst/>
                <a:cs typeface="Arial" panose="020B0604020202020204" pitchFamily="34" charset="0"/>
              </a:rPr>
              <a:t>J Infect Dis</a:t>
            </a:r>
            <a:r>
              <a:rPr lang="en-US" sz="1000" b="0" i="0">
                <a:solidFill>
                  <a:schemeClr val="tx1"/>
                </a:solidFill>
                <a:effectLst/>
                <a:cs typeface="Arial" panose="020B0604020202020204" pitchFamily="34" charset="0"/>
              </a:rPr>
              <a:t>. 2022;225(12):2056-2066. doi:10.1093/infdis/jiab611</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000">
                <a:solidFill>
                  <a:schemeClr val="tx1"/>
                </a:solidFill>
                <a:cs typeface="Arial" panose="020B0604020202020204" pitchFamily="34" charset="0"/>
              </a:rPr>
              <a:t>A trial to </a:t>
            </a:r>
            <a:r>
              <a:rPr lang="en-US" sz="1000">
                <a:cs typeface="Arial" panose="020B0604020202020204" pitchFamily="34" charset="0"/>
              </a:rPr>
              <a:t>e</a:t>
            </a:r>
            <a:r>
              <a:rPr lang="en-US" sz="1000">
                <a:solidFill>
                  <a:schemeClr val="tx1"/>
                </a:solidFill>
                <a:cs typeface="Arial" panose="020B0604020202020204" pitchFamily="34" charset="0"/>
              </a:rPr>
              <a:t>valuate the efficacy and safety of RSVpreF in infants born to women vaccinated during pregnancy. ClinicalTrials.gov </a:t>
            </a:r>
            <a:r>
              <a:rPr lang="en-US" sz="1000" b="0">
                <a:solidFill>
                  <a:schemeClr val="tx1"/>
                </a:solidFill>
                <a:cs typeface="Arial" panose="020B0604020202020204" pitchFamily="34" charset="0"/>
              </a:rPr>
              <a:t>identifier: </a:t>
            </a:r>
            <a:r>
              <a:rPr kumimoji="0" lang="en-US" sz="1000" b="0" i="0" u="none" strike="noStrike" kern="1200" cap="none" spc="0" normalizeH="0" baseline="0" noProof="0">
                <a:ln>
                  <a:noFill/>
                </a:ln>
                <a:solidFill>
                  <a:schemeClr val="tx1"/>
                </a:solidFill>
                <a:effectLst/>
                <a:uLnTx/>
                <a:uFillTx/>
                <a:ea typeface="+mn-ea"/>
                <a:cs typeface="Arial" panose="020B0604020202020204" pitchFamily="34" charset="0"/>
              </a:rPr>
              <a:t>NCT04424316. </a:t>
            </a:r>
            <a:r>
              <a:rPr lang="en-US" sz="1000" b="0">
                <a:solidFill>
                  <a:schemeClr val="tx1"/>
                </a:solidFill>
                <a:cs typeface="Arial" panose="020B0604020202020204" pitchFamily="34" charset="0"/>
              </a:rPr>
              <a:t>Updated </a:t>
            </a:r>
            <a:r>
              <a:rPr lang="en-US" sz="1000">
                <a:solidFill>
                  <a:schemeClr val="tx1"/>
                </a:solidFill>
                <a:cs typeface="Arial" panose="020B0604020202020204" pitchFamily="34" charset="0"/>
              </a:rPr>
              <a:t>April 18</a:t>
            </a:r>
            <a:r>
              <a:rPr lang="en-US" sz="1000" b="0">
                <a:cs typeface="Arial" panose="020B0604020202020204" pitchFamily="34" charset="0"/>
              </a:rPr>
              <a:t>, 2023</a:t>
            </a:r>
            <a:r>
              <a:rPr lang="en-US" sz="1000">
                <a:solidFill>
                  <a:schemeClr val="tx1"/>
                </a:solidFill>
                <a:cs typeface="Arial" panose="020B0604020202020204" pitchFamily="34" charset="0"/>
              </a:rPr>
              <a:t>. Accessed </a:t>
            </a:r>
            <a:r>
              <a:rPr lang="en-US" sz="1000">
                <a:cs typeface="Arial" panose="020B0604020202020204" pitchFamily="34" charset="0"/>
              </a:rPr>
              <a:t>May 12</a:t>
            </a:r>
            <a:r>
              <a:rPr lang="en-US" sz="1000">
                <a:solidFill>
                  <a:schemeClr val="tx1"/>
                </a:solidFill>
                <a:cs typeface="Arial" panose="020B0604020202020204" pitchFamily="34" charset="0"/>
              </a:rPr>
              <a:t>, 2023. https://clinicaltrials.gov/ct2/show/NCT04424316</a:t>
            </a:r>
            <a:endParaRPr lang="en-US" sz="1000" b="0" i="0">
              <a:solidFill>
                <a:schemeClr val="tx1"/>
              </a:solidFill>
              <a:effectLst/>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nl-NL" sz="1000" b="0">
                <a:solidFill>
                  <a:schemeClr val="tx1"/>
                </a:solidFill>
                <a:cs typeface="Arial" panose="020B0604020202020204" pitchFamily="34" charset="0"/>
              </a:rPr>
              <a:t>Safety and immunogenicity of RSVpreF coadminisered with SIIV in adults </a:t>
            </a:r>
            <a:r>
              <a:rPr lang="en-US" sz="1000" b="0">
                <a:solidFill>
                  <a:schemeClr val="tx1"/>
                </a:solidFill>
                <a:cs typeface="Arial" panose="020B0604020202020204" pitchFamily="34" charset="0"/>
              </a:rPr>
              <a:t>≥65 years of age. ClinicalTrials.gov identifier: </a:t>
            </a:r>
            <a:r>
              <a:rPr kumimoji="0" lang="en-US" sz="1000" b="0" i="0" u="none" strike="noStrike" kern="1200" cap="none" spc="0" normalizeH="0" baseline="0" noProof="0">
                <a:ln>
                  <a:noFill/>
                </a:ln>
                <a:solidFill>
                  <a:schemeClr val="tx1"/>
                </a:solidFill>
                <a:effectLst/>
                <a:uLnTx/>
                <a:uFillTx/>
                <a:ea typeface="+mn-ea"/>
                <a:cs typeface="Arial" panose="020B0604020202020204" pitchFamily="34" charset="0"/>
              </a:rPr>
              <a:t>NCT05301322. </a:t>
            </a:r>
            <a:r>
              <a:rPr lang="en-US" sz="1000" b="0" baseline="0">
                <a:solidFill>
                  <a:schemeClr val="tx1"/>
                </a:solidFill>
                <a:cs typeface="Arial" panose="020B0604020202020204" pitchFamily="34" charset="0"/>
              </a:rPr>
              <a:t>Updated</a:t>
            </a:r>
            <a:r>
              <a:rPr lang="en-US" sz="1000" b="0">
                <a:solidFill>
                  <a:schemeClr val="tx1"/>
                </a:solidFill>
                <a:cs typeface="Arial" panose="020B0604020202020204" pitchFamily="34" charset="0"/>
              </a:rPr>
              <a:t> </a:t>
            </a:r>
            <a:r>
              <a:rPr lang="en-US" sz="1000">
                <a:cs typeface="Arial" panose="020B0604020202020204" pitchFamily="34" charset="0"/>
              </a:rPr>
              <a:t>February 23, 2023</a:t>
            </a:r>
            <a:r>
              <a:rPr lang="en-US" sz="1000" b="0">
                <a:solidFill>
                  <a:schemeClr val="tx1"/>
                </a:solidFill>
                <a:cs typeface="Arial" panose="020B0604020202020204" pitchFamily="34" charset="0"/>
              </a:rPr>
              <a:t>. Accessed </a:t>
            </a:r>
            <a:r>
              <a:rPr lang="en-US" sz="1000">
                <a:cs typeface="Arial" panose="020B0604020202020204" pitchFamily="34" charset="0"/>
              </a:rPr>
              <a:t>March 22</a:t>
            </a:r>
            <a:r>
              <a:rPr lang="en-US" sz="1000" b="0">
                <a:solidFill>
                  <a:schemeClr val="tx1"/>
                </a:solidFill>
                <a:cs typeface="Arial" panose="020B0604020202020204" pitchFamily="34" charset="0"/>
              </a:rPr>
              <a:t>, 2023. https://clinicaltrials.gov/ct2/show/NCT05301322</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000" b="0">
                <a:solidFill>
                  <a:schemeClr val="tx1"/>
                </a:solidFill>
                <a:cs typeface="Arial" panose="020B0604020202020204" pitchFamily="34" charset="0"/>
              </a:rPr>
              <a:t>Study to evaluate the efficacy, immunogenicity, and safety of RSVpreF in adults (RENOIR). ClinicalTrials.gov identifier: </a:t>
            </a:r>
            <a:r>
              <a:rPr kumimoji="0" lang="en-US" sz="1000" b="0" i="0" u="none" strike="noStrike" kern="1200" cap="none" spc="0" normalizeH="0" baseline="0" noProof="0">
                <a:ln>
                  <a:noFill/>
                </a:ln>
                <a:solidFill>
                  <a:schemeClr val="tx1"/>
                </a:solidFill>
                <a:effectLst/>
                <a:uLnTx/>
                <a:uFillTx/>
                <a:ea typeface="+mn-ea"/>
                <a:cs typeface="Arial" panose="020B0604020202020204" pitchFamily="34" charset="0"/>
              </a:rPr>
              <a:t>NCT05035212.</a:t>
            </a:r>
            <a:r>
              <a:rPr lang="en-US" sz="1000" b="0">
                <a:solidFill>
                  <a:schemeClr val="tx1"/>
                </a:solidFill>
                <a:cs typeface="Arial" panose="020B0604020202020204" pitchFamily="34" charset="0"/>
              </a:rPr>
              <a:t> Updated </a:t>
            </a:r>
            <a:r>
              <a:rPr lang="en-US" sz="1000">
                <a:cs typeface="Arial" panose="020B0604020202020204" pitchFamily="34" charset="0"/>
              </a:rPr>
              <a:t>March 20, 2023</a:t>
            </a:r>
            <a:r>
              <a:rPr lang="en-US" sz="1000" b="0">
                <a:solidFill>
                  <a:schemeClr val="tx1"/>
                </a:solidFill>
                <a:cs typeface="Arial" panose="020B0604020202020204" pitchFamily="34" charset="0"/>
              </a:rPr>
              <a:t>. Accessed </a:t>
            </a:r>
            <a:r>
              <a:rPr lang="en-US" sz="1000">
                <a:cs typeface="Arial" panose="020B0604020202020204" pitchFamily="34" charset="0"/>
              </a:rPr>
              <a:t>March 22, 2023.</a:t>
            </a:r>
            <a:r>
              <a:rPr lang="en-US" sz="1000" b="0">
                <a:solidFill>
                  <a:schemeClr val="tx1"/>
                </a:solidFill>
                <a:cs typeface="Arial" panose="020B0604020202020204" pitchFamily="34" charset="0"/>
              </a:rPr>
              <a:t> https://www.clinicaltrials.gov/ct2/show/NCT05035212</a:t>
            </a:r>
            <a:endParaRPr lang="en-US" sz="1000" b="0" baseline="0">
              <a:solidFill>
                <a:schemeClr val="tx1"/>
              </a:solidFill>
              <a:cs typeface="Arial" panose="020B0604020202020204" pitchFamily="34" charset="0"/>
            </a:endParaRPr>
          </a:p>
          <a:p>
            <a:pPr marL="228600" indent="-228600">
              <a:buFont typeface="+mj-lt"/>
              <a:buAutoNum type="arabicPeriod"/>
            </a:pPr>
            <a:endParaRPr lang="en-US" sz="1000" b="0" baseline="0"/>
          </a:p>
        </p:txBody>
      </p:sp>
      <p:sp>
        <p:nvSpPr>
          <p:cNvPr id="4" name="Slide Number Placeholder 3">
            <a:extLst>
              <a:ext uri="{FF2B5EF4-FFF2-40B4-BE49-F238E27FC236}">
                <a16:creationId xmlns:a16="http://schemas.microsoft.com/office/drawing/2014/main" id="{16938F32-0AF6-EC55-B440-21527CE42D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FDFD759-834F-19A4-33EA-9CD0981483D3}"/>
              </a:ext>
            </a:extLst>
          </p:cNvPr>
          <p:cNvSpPr txBox="1"/>
          <p:nvPr/>
        </p:nvSpPr>
        <p:spPr>
          <a:xfrm>
            <a:off x="6856413" y="-111319"/>
            <a:ext cx="5326895" cy="102027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SL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Title, Clinical trial progra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Falsey 2022/pg2057/col1/P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Peterson 2022/pg2078/col1/P3</a:t>
            </a: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imões 2022/pg1616/col2/P1-2</a:t>
            </a: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424316/pg2/P1 (This is a Pha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Baber 2022/pg2054/col2/P2</a:t>
            </a: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Schmoele-Thoma 2022/pg2378/col1/P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301322/pg3/Official Ti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035212/pg2/Official Title</a:t>
            </a: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Row 1 and footnote, Maternal and older adul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Falsey 2022/pg2057/col1/P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Row 2, Maternal phase 2b SAVV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imões 2022/pg1616/col2/P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NCT04032093/pg1/ClinicalTrials.gov Identifier</a:t>
            </a: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NCT04032093/pg2/Actual Study Start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NCT04032093/pg3/Actual Study Completion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Munjal ACIP Presentation 2023/pg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Row 3, Maternal Phase 2b noninferio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Peterson 2022/pg2078/col1/P3-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Row 4, Maternal pha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424316/pg1/ClinicalTrials.gov Identifi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424316/pg2/Detailed descrip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424316/pg2/Actual Study Start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424316/pg2/Estimated Primary Completion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424316/pg5/Ages Eligible for Stud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Pfizer News Release Feb 21, 2023/pg1/P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Row 5, Older adults phase 1/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Baber 2022/pg2054/col2/P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Baber 2022/pg2055/col1/P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NCT03572062/pg3/Official Title</a:t>
            </a: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NCT03572062/pg3/Actual Study Start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NCT03572062/pg3/Actual Study Completion D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Row 6, Older adults phase 2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Schmoele-Thoma 2022/pg2378/col1/P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785612/pg1/ClinicalTrials.gov Identifi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785612/pg2/P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785612/pg3/Actual Study Start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785612/pg3/Actual Study Completion D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Row 7, Older adults phase 3 NCT053013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301322/pg1/ClinicalTrials.gov Identifi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301322/pg3/Official Ti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301322/pg3/Actual Study Start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301322/pg3/Actual Study Completion D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Row 8, Older adults phase 3 RENOI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035212/pg1/Title (Study to Evalu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035212/pg1/ClinicalTrials.gov Identifi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035212/pg2/Official Ti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035212/pg2/Actual Study Start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035212/pg2/Estimated Study Completion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035212/pg7/Ages Eligible for Stud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O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Bullet 1, Clinical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Falsey 2022/pg2057/col1/P2-3</a:t>
            </a: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Bullet 2, RSVpreF is current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424316/pg2/P1 (This is a Pha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301322/pg3/Official Ti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035212/pg2/Official Title</a:t>
            </a: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endParaRPr>
          </a:p>
        </p:txBody>
      </p:sp>
    </p:spTree>
    <p:extLst>
      <p:ext uri="{BB962C8B-B14F-4D97-AF65-F5344CB8AC3E}">
        <p14:creationId xmlns:p14="http://schemas.microsoft.com/office/powerpoint/2010/main" val="31468201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6EB0F6-0CBB-6A4E-B00F-31FF6D66F0DB}" type="slidenum">
              <a:rPr lang="en-US" smtClean="0"/>
              <a:pPr/>
              <a:t>9</a:t>
            </a:fld>
            <a:endParaRPr lang="en-US"/>
          </a:p>
        </p:txBody>
      </p:sp>
      <p:sp>
        <p:nvSpPr>
          <p:cNvPr id="5" name="Rectangle 4">
            <a:extLst>
              <a:ext uri="{FF2B5EF4-FFF2-40B4-BE49-F238E27FC236}">
                <a16:creationId xmlns:a16="http://schemas.microsoft.com/office/drawing/2014/main" id="{7DF4FF16-3606-FEFE-2AB2-98383041F770}"/>
              </a:ext>
            </a:extLst>
          </p:cNvPr>
          <p:cNvSpPr/>
          <p:nvPr/>
        </p:nvSpPr>
        <p:spPr>
          <a:xfrm>
            <a:off x="3241964" y="1607129"/>
            <a:ext cx="2834985" cy="224443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DB70BA3-784F-0759-C32D-14649F13189F}"/>
              </a:ext>
            </a:extLst>
          </p:cNvPr>
          <p:cNvSpPr/>
          <p:nvPr/>
        </p:nvSpPr>
        <p:spPr>
          <a:xfrm>
            <a:off x="6543167" y="1683903"/>
            <a:ext cx="1558133" cy="168967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2. Veri Dünyamız. Gripten kaç kişi ölüyor? </a:t>
            </a:r>
          </a:p>
          <a:p>
            <a:pPr marL="0" marR="0" lvl="0" indent="0" algn="l" defTabSz="913852" rtl="0" eaLnBrk="1" fontAlgn="auto" latinLnBrk="0" hangingPunct="1">
              <a:lnSpc>
                <a:spcPct val="100000"/>
              </a:lnSpc>
              <a:spcBef>
                <a:spcPts val="0"/>
              </a:spcBef>
              <a:spcAft>
                <a:spcPts val="0"/>
              </a:spcAft>
              <a:buClrTx/>
              <a:buSzTx/>
              <a:buFontTx/>
              <a:buNone/>
              <a:tabLst/>
              <a:defRPr/>
            </a:pPr>
            <a:endParaRPr lang="en-GB">
              <a:solidFill>
                <a:schemeClr val="tx1"/>
              </a:solidFill>
              <a:latin typeface="Pfizer Diatype Office"/>
            </a:endParaRPr>
          </a:p>
          <a:p>
            <a:pPr marL="0" marR="0" lvl="0" indent="0" algn="l" defTabSz="913852" rtl="0" eaLnBrk="1" fontAlgn="auto" latinLnBrk="0" hangingPunct="1">
              <a:lnSpc>
                <a:spcPct val="100000"/>
              </a:lnSpc>
              <a:spcBef>
                <a:spcPts val="0"/>
              </a:spcBef>
              <a:spcAft>
                <a:spcPts val="0"/>
              </a:spcAft>
              <a:buClrTx/>
              <a:buSzTx/>
              <a:buFontTx/>
              <a:buNone/>
              <a:tabLst/>
              <a:defRPr/>
            </a:pPr>
            <a:r>
              <a:rPr lang="en-GB">
                <a:solidFill>
                  <a:schemeClr val="tx1"/>
                </a:solidFill>
                <a:latin typeface="Pfizer Diatype Office"/>
              </a:rPr>
              <a:t>Sayfa 8.</a:t>
            </a: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chemeClr val="tx1"/>
              </a:solidFill>
              <a:effectLst/>
              <a:uLnTx/>
              <a:uFillTx/>
              <a:latin typeface="Pfizer Diatype Office"/>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r>
              <a:rPr lang="en-GB">
                <a:solidFill>
                  <a:schemeClr val="tx1"/>
                </a:solidFill>
                <a:highlight>
                  <a:srgbClr val="FFFF00"/>
                </a:highlight>
                <a:latin typeface="Pfizer Diatype Office"/>
              </a:rPr>
              <a:t>3</a:t>
            </a:r>
            <a:r>
              <a:rPr kumimoji="0" lang="en-GB"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rPr>
              <a:t>.</a:t>
            </a:r>
            <a:r>
              <a:rPr kumimoji="0" lang="nl-NL"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rPr>
              <a:t> Metcalf CJE ve diğ. R Soc Açık Sci. 2022</a:t>
            </a:r>
            <a:endParaRPr kumimoji="0" lang="en-GB"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endParaRPr lang="en-GB">
              <a:solidFill>
                <a:schemeClr val="tx1"/>
              </a:solidFill>
              <a:highlight>
                <a:srgbClr val="FFFF00"/>
              </a:highlight>
              <a:latin typeface="Pfizer Diatype Office"/>
            </a:endParaRPr>
          </a:p>
          <a:p>
            <a:pPr marL="0" marR="0" lvl="0" indent="0" algn="l" defTabSz="913852" rtl="0" eaLnBrk="1" fontAlgn="auto" latinLnBrk="0" hangingPunct="1">
              <a:lnSpc>
                <a:spcPct val="100000"/>
              </a:lnSpc>
              <a:spcBef>
                <a:spcPts val="0"/>
              </a:spcBef>
              <a:spcAft>
                <a:spcPts val="0"/>
              </a:spcAft>
              <a:buClrTx/>
              <a:buSzTx/>
              <a:buFontTx/>
              <a:buNone/>
              <a:tabLst/>
              <a:defRPr/>
            </a:pPr>
            <a:r>
              <a:rPr lang="en-GB">
                <a:solidFill>
                  <a:schemeClr val="tx1"/>
                </a:solidFill>
                <a:highlight>
                  <a:srgbClr val="FFFF00"/>
                </a:highlight>
                <a:latin typeface="Pfizer Diatype Office"/>
              </a:rPr>
              <a:t>Sayfa 5: ‘Veri kaynakları', bölüm 1, 4 ve 8.</a:t>
            </a:r>
            <a:endParaRPr kumimoji="0" lang="en-GB" sz="900" b="0" i="0" u="none" strike="noStrike" kern="1200" cap="none" spc="0" normalizeH="0" baseline="0" noProof="0">
              <a:ln>
                <a:noFill/>
              </a:ln>
              <a:solidFill>
                <a:schemeClr val="tx1"/>
              </a:solidFill>
              <a:effectLst/>
              <a:highlight>
                <a:srgbClr val="FFFF00"/>
              </a:highlight>
              <a:uLnTx/>
              <a:uFillTx/>
              <a:latin typeface="Pfizer Diatype Office"/>
              <a:ea typeface="+mn-ea"/>
              <a:cs typeface="+mn-cs"/>
            </a:endParaRPr>
          </a:p>
        </p:txBody>
      </p:sp>
      <p:cxnSp>
        <p:nvCxnSpPr>
          <p:cNvPr id="7" name="Straight Connector 6">
            <a:extLst>
              <a:ext uri="{FF2B5EF4-FFF2-40B4-BE49-F238E27FC236}">
                <a16:creationId xmlns:a16="http://schemas.microsoft.com/office/drawing/2014/main" id="{0182BF08-65BF-38D0-F357-39C723A36931}"/>
              </a:ext>
            </a:extLst>
          </p:cNvPr>
          <p:cNvCxnSpPr>
            <a:cxnSpLocks/>
            <a:stCxn id="5" idx="3"/>
            <a:endCxn id="6" idx="1"/>
          </p:cNvCxnSpPr>
          <p:nvPr/>
        </p:nvCxnSpPr>
        <p:spPr>
          <a:xfrm flipV="1">
            <a:off x="6076949" y="2528743"/>
            <a:ext cx="466218" cy="200604"/>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0" name="Rectangle 9">
            <a:extLst>
              <a:ext uri="{FF2B5EF4-FFF2-40B4-BE49-F238E27FC236}">
                <a16:creationId xmlns:a16="http://schemas.microsoft.com/office/drawing/2014/main" id="{CE77A16A-1BCA-12C5-6E76-ECE69D6C3A0E}"/>
              </a:ext>
            </a:extLst>
          </p:cNvPr>
          <p:cNvSpPr/>
          <p:nvPr/>
        </p:nvSpPr>
        <p:spPr>
          <a:xfrm>
            <a:off x="781051" y="1607128"/>
            <a:ext cx="2460913" cy="224443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77178E1-AD79-0059-5666-C0B7B318CA8B}"/>
              </a:ext>
            </a:extLst>
          </p:cNvPr>
          <p:cNvSpPr/>
          <p:nvPr/>
        </p:nvSpPr>
        <p:spPr>
          <a:xfrm>
            <a:off x="-633937" y="1734703"/>
            <a:ext cx="1224486" cy="1081966"/>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1. Veri Dünyamız. Yaşlarına göre, zatürreden ölüm oranı Dünya. </a:t>
            </a:r>
          </a:p>
          <a:p>
            <a:pPr marL="0" marR="0" lvl="0" indent="0" algn="l" defTabSz="913852" rtl="0" eaLnBrk="1" fontAlgn="auto" latinLnBrk="0" hangingPunct="1">
              <a:lnSpc>
                <a:spcPct val="100000"/>
              </a:lnSpc>
              <a:spcBef>
                <a:spcPts val="0"/>
              </a:spcBef>
              <a:spcAft>
                <a:spcPts val="0"/>
              </a:spcAft>
              <a:buClrTx/>
              <a:buSzTx/>
              <a:buFontTx/>
              <a:buNone/>
              <a:tabLst/>
              <a:defRPr/>
            </a:pPr>
            <a:endParaRPr lang="en-GB">
              <a:solidFill>
                <a:schemeClr val="tx1"/>
              </a:solidFill>
              <a:latin typeface="Pfizer Diatype Office"/>
            </a:endParaRPr>
          </a:p>
          <a:p>
            <a:pPr marL="0" marR="0" lvl="0" indent="0" algn="l" defTabSz="913852" rtl="0" eaLnBrk="1" fontAlgn="auto" latinLnBrk="0" hangingPunct="1">
              <a:lnSpc>
                <a:spcPct val="100000"/>
              </a:lnSpc>
              <a:spcBef>
                <a:spcPts val="0"/>
              </a:spcBef>
              <a:spcAft>
                <a:spcPts val="0"/>
              </a:spcAft>
              <a:buClrTx/>
              <a:buSzTx/>
              <a:buFontTx/>
              <a:buNone/>
              <a:tabLst/>
              <a:defRPr/>
            </a:pPr>
            <a:r>
              <a:rPr lang="en-GB">
                <a:solidFill>
                  <a:schemeClr val="tx1"/>
                </a:solidFill>
                <a:latin typeface="Pfizer Diatype Office"/>
              </a:rPr>
              <a:t>Sayfa 1</a:t>
            </a:r>
            <a:endParaRPr kumimoji="0" lang="en-GB" sz="900" b="0" i="0" u="none" strike="noStrike" kern="1200" cap="none" spc="0" normalizeH="0" baseline="0" noProof="0">
              <a:ln>
                <a:noFill/>
              </a:ln>
              <a:solidFill>
                <a:schemeClr val="tx1"/>
              </a:solidFill>
              <a:effectLst/>
              <a:uLnTx/>
              <a:uFillTx/>
              <a:latin typeface="Pfizer Diatype Office"/>
              <a:ea typeface="+mn-ea"/>
              <a:cs typeface="+mn-cs"/>
            </a:endParaRPr>
          </a:p>
        </p:txBody>
      </p:sp>
      <p:cxnSp>
        <p:nvCxnSpPr>
          <p:cNvPr id="12" name="Straight Connector 11">
            <a:extLst>
              <a:ext uri="{FF2B5EF4-FFF2-40B4-BE49-F238E27FC236}">
                <a16:creationId xmlns:a16="http://schemas.microsoft.com/office/drawing/2014/main" id="{0F159D80-1556-37B0-8CAB-4D6C237D5E3D}"/>
              </a:ext>
            </a:extLst>
          </p:cNvPr>
          <p:cNvCxnSpPr>
            <a:cxnSpLocks/>
            <a:stCxn id="10" idx="1"/>
            <a:endCxn id="11" idx="3"/>
          </p:cNvCxnSpPr>
          <p:nvPr/>
        </p:nvCxnSpPr>
        <p:spPr>
          <a:xfrm flipH="1" flipV="1">
            <a:off x="590549" y="2275686"/>
            <a:ext cx="190502" cy="45366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878934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endParaRPr lang="en-US"/>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ED720B4-DF8E-0346-839F-EBE9BD4B0DD0}" type="slidenum">
              <a:rPr kumimoji="0" lang="en-US" sz="900" b="0" i="0" u="none" strike="noStrike" kern="1200" cap="none" spc="0" normalizeH="0" baseline="0" noProof="0" smtClean="0">
                <a:ln>
                  <a:noFill/>
                </a:ln>
                <a:solidFill>
                  <a:srgbClr val="000000"/>
                </a:solidFill>
                <a:effectLst/>
                <a:uLnTx/>
                <a:uFillTx/>
                <a:latin typeface="Aptos" panose="021100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2</a:t>
            </a:fld>
            <a:endParaRPr kumimoji="0" lang="en-US" sz="900" b="0" i="0" u="none" strike="noStrike" kern="1200" cap="none" spc="0" normalizeH="0" baseline="0" noProof="0">
              <a:ln>
                <a:noFill/>
              </a:ln>
              <a:solidFill>
                <a:srgbClr val="000000"/>
              </a:solidFill>
              <a:effectLst/>
              <a:uLnTx/>
              <a:uFillTx/>
              <a:latin typeface="Aptos" panose="02110004020202020204"/>
              <a:ea typeface="+mn-ea"/>
              <a:cs typeface="+mn-cs"/>
            </a:endParaRPr>
          </a:p>
        </p:txBody>
      </p:sp>
      <p:sp>
        <p:nvSpPr>
          <p:cNvPr id="7" name="Slide Image Placeholder 6">
            <a:extLst>
              <a:ext uri="{FF2B5EF4-FFF2-40B4-BE49-F238E27FC236}">
                <a16:creationId xmlns:a16="http://schemas.microsoft.com/office/drawing/2014/main" id="{168CF99F-B345-3188-04C6-4F8BEBB2EB49}"/>
              </a:ext>
            </a:extLst>
          </p:cNvPr>
          <p:cNvSpPr>
            <a:spLocks noGrp="1" noRot="1" noChangeAspect="1"/>
          </p:cNvSpPr>
          <p:nvPr>
            <p:ph type="sldImg"/>
          </p:nvPr>
        </p:nvSpPr>
        <p:spPr>
          <a:xfrm>
            <a:off x="828675" y="608013"/>
            <a:ext cx="5343525" cy="3006725"/>
          </a:xfrm>
        </p:spPr>
      </p:sp>
    </p:spTree>
    <p:extLst>
      <p:ext uri="{BB962C8B-B14F-4D97-AF65-F5344CB8AC3E}">
        <p14:creationId xmlns:p14="http://schemas.microsoft.com/office/powerpoint/2010/main" val="365779517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900" b="0" i="0" u="none" strike="noStrike" kern="1200" cap="none" spc="0" normalizeH="0" baseline="0" noProof="0" smtClean="0">
                <a:ln>
                  <a:noFill/>
                </a:ln>
                <a:solidFill>
                  <a:srgbClr val="000000"/>
                </a:solidFill>
                <a:effectLst/>
                <a:uLnTx/>
                <a:uFillTx/>
                <a:latin typeface="Aptos" panose="021100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3</a:t>
            </a:fld>
            <a:endParaRPr kumimoji="0" lang="en-US" sz="900" b="0" i="0" u="none" strike="noStrike" kern="1200" cap="none" spc="0" normalizeH="0" baseline="0" noProof="0">
              <a:ln>
                <a:noFill/>
              </a:ln>
              <a:solidFill>
                <a:srgbClr val="000000"/>
              </a:solidFill>
              <a:effectLst/>
              <a:uLnTx/>
              <a:uFillTx/>
              <a:latin typeface="Aptos" panose="02110004020202020204"/>
              <a:ea typeface="+mn-ea"/>
              <a:cs typeface="+mn-cs"/>
            </a:endParaRPr>
          </a:p>
        </p:txBody>
      </p:sp>
      <p:sp>
        <p:nvSpPr>
          <p:cNvPr id="6" name="Slide Image Placeholder 5">
            <a:extLst>
              <a:ext uri="{FF2B5EF4-FFF2-40B4-BE49-F238E27FC236}">
                <a16:creationId xmlns:a16="http://schemas.microsoft.com/office/drawing/2014/main" id="{7DC5E368-3491-9141-C8C5-321F22BC1391}"/>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F4935DEA-6780-9F17-3652-57027C99AEA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4179261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0ED720B4-DF8E-0346-839F-EBE9BD4B0DD0}"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5" name="Slide Image Placeholder 4">
            <a:extLst>
              <a:ext uri="{FF2B5EF4-FFF2-40B4-BE49-F238E27FC236}">
                <a16:creationId xmlns:a16="http://schemas.microsoft.com/office/drawing/2014/main" id="{376D0F3D-BB56-FFB9-CDC0-66F363898E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771CDA-CD78-6495-32E6-978373BA2B33}"/>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6536192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0ED720B4-DF8E-0346-839F-EBE9BD4B0DD0}"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5" name="Slide Image Placeholder 4">
            <a:extLst>
              <a:ext uri="{FF2B5EF4-FFF2-40B4-BE49-F238E27FC236}">
                <a16:creationId xmlns:a16="http://schemas.microsoft.com/office/drawing/2014/main" id="{B4434669-BF75-30D7-FB38-E1CEBFC7B6CF}"/>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ACF04A53-BD0E-1090-9B3E-0A452F698CB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3400357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03C04F-E276-1332-A98A-D6A843A4D7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4671EE-E003-EA13-F243-6B2991FAC0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536DBA-A6A8-76C4-2784-0D7CA4BE844A}"/>
              </a:ext>
            </a:extLst>
          </p:cNvPr>
          <p:cNvSpPr>
            <a:spLocks noGrp="1"/>
          </p:cNvSpPr>
          <p:nvPr>
            <p:ph type="body" idx="1"/>
          </p:nvPr>
        </p:nvSpPr>
        <p:spPr/>
        <p:txBody>
          <a:bodyPr/>
          <a:lstStyle/>
          <a:p>
            <a:endParaRPr lang="tr-TR"/>
          </a:p>
        </p:txBody>
      </p:sp>
      <p:sp>
        <p:nvSpPr>
          <p:cNvPr id="4" name="Slide Number Placeholder 3">
            <a:extLst>
              <a:ext uri="{FF2B5EF4-FFF2-40B4-BE49-F238E27FC236}">
                <a16:creationId xmlns:a16="http://schemas.microsoft.com/office/drawing/2014/main" id="{5C8F2F44-D6AE-F4FC-FA0C-DBDC557DD8FC}"/>
              </a:ext>
            </a:extLst>
          </p:cNvPr>
          <p:cNvSpPr>
            <a:spLocks noGrp="1"/>
          </p:cNvSpPr>
          <p:nvPr>
            <p:ph type="sldNum" sz="quarter" idx="5"/>
          </p:nvPr>
        </p:nvSpPr>
        <p:spPr/>
        <p:txBody>
          <a:bodyPr/>
          <a:lstStyle/>
          <a:p>
            <a:fld id="{A66EB0F6-0CBB-6A4E-B00F-31FF6D66F0DB}" type="slidenum">
              <a:rPr lang="en-US" smtClean="0"/>
              <a:pPr/>
              <a:t>91</a:t>
            </a:fld>
            <a:endParaRPr lang="en-US"/>
          </a:p>
        </p:txBody>
      </p:sp>
    </p:spTree>
    <p:extLst>
      <p:ext uri="{BB962C8B-B14F-4D97-AF65-F5344CB8AC3E}">
        <p14:creationId xmlns:p14="http://schemas.microsoft.com/office/powerpoint/2010/main" val="23396869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A0874-7624-2513-6063-6FD352FB09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95FB28-EF1E-241D-4B0A-26D791A3F4CB}"/>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565E61CF-3BC0-AEFC-E959-08F23134F474}"/>
              </a:ext>
            </a:extLst>
          </p:cNvPr>
          <p:cNvSpPr>
            <a:spLocks noGrp="1"/>
          </p:cNvSpPr>
          <p:nvPr>
            <p:ph type="body" idx="1"/>
          </p:nvPr>
        </p:nvSpPr>
        <p:spPr/>
        <p:txBody>
          <a:bodyPr/>
          <a:lstStyle/>
          <a:p>
            <a:endParaRPr lang="en-US" sz="900"/>
          </a:p>
        </p:txBody>
      </p:sp>
      <p:sp>
        <p:nvSpPr>
          <p:cNvPr id="4" name="Slide Number Placeholder 3">
            <a:extLst>
              <a:ext uri="{FF2B5EF4-FFF2-40B4-BE49-F238E27FC236}">
                <a16:creationId xmlns:a16="http://schemas.microsoft.com/office/drawing/2014/main" id="{FE8A378D-663C-3F81-1EEA-1418D228B41B}"/>
              </a:ext>
            </a:extLst>
          </p:cNvPr>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A66EB0F6-0CBB-6A4E-B00F-31FF6D66F0DB}"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15" name="Rectangle 14">
            <a:extLst>
              <a:ext uri="{FF2B5EF4-FFF2-40B4-BE49-F238E27FC236}">
                <a16:creationId xmlns:a16="http://schemas.microsoft.com/office/drawing/2014/main" id="{EC6E6894-C8A5-FD90-FF7E-92BF6FEC1E84}"/>
              </a:ext>
            </a:extLst>
          </p:cNvPr>
          <p:cNvSpPr/>
          <p:nvPr/>
        </p:nvSpPr>
        <p:spPr>
          <a:xfrm>
            <a:off x="863600" y="2070101"/>
            <a:ext cx="1866899" cy="178435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Rectangle 15">
            <a:extLst>
              <a:ext uri="{FF2B5EF4-FFF2-40B4-BE49-F238E27FC236}">
                <a16:creationId xmlns:a16="http://schemas.microsoft.com/office/drawing/2014/main" id="{EA8B0B01-0C8B-56F3-ABF1-10794F81053C}"/>
              </a:ext>
            </a:extLst>
          </p:cNvPr>
          <p:cNvSpPr/>
          <p:nvPr/>
        </p:nvSpPr>
        <p:spPr>
          <a:xfrm>
            <a:off x="-1206500" y="2153225"/>
            <a:ext cx="1820098" cy="145010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1. Bonani ve ark. Mide </a:t>
            </a:r>
            <a:r>
              <a:rPr kumimoji="0" lang="en-GB" sz="900" b="0" i="0" u="none" strike="noStrike" kern="1200" cap="none" spc="0" normalizeH="0" baseline="0" noProof="0" err="1">
                <a:ln>
                  <a:noFill/>
                </a:ln>
                <a:solidFill>
                  <a:prstClr val="black"/>
                </a:solidFill>
                <a:effectLst/>
                <a:uLnTx/>
                <a:uFillTx/>
                <a:latin typeface="Pfizer Diatype Office"/>
                <a:ea typeface="+mn-ea"/>
                <a:cs typeface="+mn-cs"/>
              </a:rPr>
              <a:t>Aşılama İmmünotezi</a:t>
            </a:r>
            <a:r>
              <a:rPr kumimoji="0" lang="en-GB" sz="900" b="0" i="0" u="none" strike="noStrike" kern="1200" cap="none" spc="0" normalizeH="0" baseline="0" noProof="0">
                <a:ln>
                  <a:noFill/>
                </a:ln>
                <a:solidFill>
                  <a:prstClr val="black"/>
                </a:solidFill>
                <a:effectLst/>
                <a:uLnTx/>
                <a:uFillTx/>
                <a:latin typeface="Pfizer Diatype Office"/>
                <a:ea typeface="+mn-ea"/>
                <a:cs typeface="+mn-cs"/>
              </a:rPr>
              <a:t>. </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1, 19] (12)2195786.</a:t>
            </a: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Pfizer Diatype Office"/>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 sütun 2, paragraf 4</a:t>
            </a:r>
          </a:p>
        </p:txBody>
      </p:sp>
      <p:cxnSp>
        <p:nvCxnSpPr>
          <p:cNvPr id="18" name="Straight Connector 17">
            <a:extLst>
              <a:ext uri="{FF2B5EF4-FFF2-40B4-BE49-F238E27FC236}">
                <a16:creationId xmlns:a16="http://schemas.microsoft.com/office/drawing/2014/main" id="{C5F096F1-D34B-D64C-675F-6B40EB851646}"/>
              </a:ext>
            </a:extLst>
          </p:cNvPr>
          <p:cNvCxnSpPr>
            <a:cxnSpLocks/>
            <a:stCxn id="15" idx="1"/>
            <a:endCxn id="16" idx="3"/>
          </p:cNvCxnSpPr>
          <p:nvPr/>
        </p:nvCxnSpPr>
        <p:spPr>
          <a:xfrm flipH="1" flipV="1">
            <a:off x="613598" y="2878280"/>
            <a:ext cx="250002" cy="83996"/>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81738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2F05B3-A817-00A2-E0F1-58C46C42BD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06C646-F1EB-12E1-2A44-BAA2785C31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410669-8BA8-974D-904F-C234954614EF}"/>
              </a:ext>
            </a:extLst>
          </p:cNvPr>
          <p:cNvSpPr>
            <a:spLocks noGrp="1"/>
          </p:cNvSpPr>
          <p:nvPr>
            <p:ph type="body" idx="1"/>
          </p:nvPr>
        </p:nvSpPr>
        <p:spPr/>
        <p:txBody>
          <a:bodyPr/>
          <a:lstStyle/>
          <a:p>
            <a:pPr marL="0" marR="0" lvl="0" indent="0" algn="l" defTabSz="228520" rtl="0" eaLnBrk="1" fontAlgn="auto" latinLnBrk="0" hangingPunct="1">
              <a:spcAft>
                <a:spcPts val="200"/>
              </a:spcAft>
              <a:buClrTx/>
              <a:buSzTx/>
              <a:buFontTx/>
              <a:buNone/>
              <a:tabLst/>
              <a:defRPr/>
            </a:pPr>
            <a:r>
              <a:rPr kumimoji="0" lang="en-US" sz="900" b="0" i="0" u="none" strike="noStrike" kern="1200" cap="none" spc="0" normalizeH="0" baseline="0" noProof="0">
                <a:ln>
                  <a:noFill/>
                </a:ln>
                <a:effectLst/>
                <a:uLnTx/>
                <a:uFillTx/>
              </a:rPr>
              <a:t>RSV, </a:t>
            </a:r>
            <a:r>
              <a:rPr lang="en-US" sz="900" b="0" err="1"/>
              <a:t>astım</a:t>
            </a:r>
            <a:r>
              <a:rPr lang="en-US" sz="900" b="0"/>
              <a:t>, KOAH ve kronik kalp yetmezliği</a:t>
            </a:r>
            <a:r>
              <a:rPr kumimoji="0" lang="en-US" sz="900" b="0" i="0" u="none" strike="noStrike" kern="1200" cap="none" spc="0" normalizeH="0" baseline="0" noProof="0">
                <a:ln>
                  <a:noFill/>
                </a:ln>
                <a:effectLst/>
                <a:uLnTx/>
                <a:uFillTx/>
              </a:rPr>
              <a:t> gibi</a:t>
            </a:r>
            <a:r>
              <a:rPr lang="en-US" sz="900" b="0"/>
              <a:t> akut solunum yetmezliği, pnömoni, hastaneye yatış ve ölüm gibi şiddetli sonuçlara neden olan</a:t>
            </a:r>
            <a:r>
              <a:rPr kumimoji="0" lang="en-US" sz="900" b="0" i="0" u="none" strike="noStrike" kern="1200" cap="none" spc="0" normalizeH="0" baseline="0" noProof="0">
                <a:ln>
                  <a:noFill/>
                </a:ln>
                <a:effectLst/>
                <a:uLnTx/>
                <a:uFillTx/>
              </a:rPr>
              <a:t> kompozit</a:t>
            </a:r>
            <a:r>
              <a:rPr lang="en-US" sz="900" b="0"/>
              <a:t> durumları</a:t>
            </a:r>
            <a:r>
              <a:rPr kumimoji="0" lang="en-US" sz="900" b="0" i="0" u="none" strike="noStrike" kern="1200" cap="none" spc="0" normalizeH="0" baseline="0" noProof="0">
                <a:ln>
                  <a:noFill/>
                </a:ln>
                <a:effectLst/>
                <a:uLnTx/>
                <a:uFillTx/>
              </a:rPr>
              <a:t> kötüleştirebilir</a:t>
            </a:r>
          </a:p>
          <a:p>
            <a:pPr>
              <a:spcAft>
                <a:spcPts val="200"/>
              </a:spcAft>
              <a:defRPr/>
            </a:pPr>
            <a:r>
              <a:rPr lang="en-GB" sz="900" b="0"/>
              <a:t>Mevcut KOAH, astım ve yüksek kan basıncının kötüleşmesi, yakın zamanda CAP</a:t>
            </a:r>
            <a:r>
              <a:rPr lang="en-GB" sz="900" b="0" baseline="30000"/>
              <a:t>2</a:t>
            </a:r>
            <a:r>
              <a:rPr lang="en-GB" sz="900" b="0"/>
              <a:t> tanısı konan hastaların %20'sinden fazlasında bildirilmiştir</a:t>
            </a:r>
          </a:p>
          <a:p>
            <a:pPr marL="285750" marR="0" lvl="0" indent="-285750" algn="l" defTabSz="228520" rtl="0" eaLnBrk="1" fontAlgn="auto" latinLnBrk="0" hangingPunct="1">
              <a:spcAft>
                <a:spcPts val="200"/>
              </a:spcAft>
              <a:buClrTx/>
              <a:buSzTx/>
              <a:buFont typeface="Arial" panose="020B0604020202020204" pitchFamily="34" charset="0"/>
              <a:buChar char="•"/>
              <a:tabLst/>
              <a:defRPr/>
            </a:pPr>
            <a:r>
              <a:rPr lang="en-GB" sz="900" b="0"/>
              <a:t>Hastalar ayrıca kronik bronşit, diyabet, kronik amfizem ve kalp hastalıklarının kötüleştiğini de bildirdiler </a:t>
            </a:r>
          </a:p>
          <a:p>
            <a:pPr marR="0" lvl="0" algn="l" defTabSz="228520" rtl="0" eaLnBrk="1" fontAlgn="auto" latinLnBrk="0" hangingPunct="1">
              <a:lnSpc>
                <a:spcPct val="100000"/>
              </a:lnSpc>
              <a:spcBef>
                <a:spcPts val="0"/>
              </a:spcBef>
              <a:spcAft>
                <a:spcPts val="200"/>
              </a:spcAft>
              <a:buClrTx/>
              <a:buSzTx/>
              <a:tabLst/>
              <a:defRPr/>
            </a:pPr>
            <a:r>
              <a:rPr lang="en-GB" sz="900" b="0"/>
              <a:t>Şiddetli ve kritik bir COVID-19, kronik böbrek</a:t>
            </a:r>
            <a:r>
              <a:rPr lang="en-GB" sz="900" b="0" baseline="30000"/>
              <a:t>3</a:t>
            </a:r>
            <a:r>
              <a:rPr lang="en-GB" sz="900" b="0"/>
              <a:t> ve karaciğer</a:t>
            </a:r>
            <a:r>
              <a:rPr lang="en-GB" sz="900" b="0" baseline="30000"/>
              <a:t>4</a:t>
            </a:r>
            <a:r>
              <a:rPr lang="en-GB" sz="900" b="0"/>
              <a:t> hastalıklarının kötüleşmesi veya ilerlemesiyle ilişkilidir</a:t>
            </a:r>
          </a:p>
          <a:p>
            <a:r>
              <a:rPr lang="en-GB" sz="900" b="0"/>
              <a:t>Grip virüslerinin KOAH'ın şiddetlenmesinde, havalandırılmamış hastane kökenli pnömonide ve akut solunum sıkıntısı gibi komplikasyonlara neden olmada rol oynadıkları gösterilmiştir</a:t>
            </a:r>
            <a:r>
              <a:rPr lang="en-GB" sz="900" b="0" baseline="30000"/>
              <a:t>5</a:t>
            </a:r>
            <a:endParaRPr lang="en-US" sz="900" b="0"/>
          </a:p>
          <a:p>
            <a:endParaRPr lang="en-US" sz="900"/>
          </a:p>
        </p:txBody>
      </p:sp>
      <p:sp>
        <p:nvSpPr>
          <p:cNvPr id="4" name="Slide Number Placeholder 3">
            <a:extLst>
              <a:ext uri="{FF2B5EF4-FFF2-40B4-BE49-F238E27FC236}">
                <a16:creationId xmlns:a16="http://schemas.microsoft.com/office/drawing/2014/main" id="{D81FDD31-B9B4-BBE3-B098-97612A1DC0DE}"/>
              </a:ext>
            </a:extLst>
          </p:cNvPr>
          <p:cNvSpPr>
            <a:spLocks noGrp="1"/>
          </p:cNvSpPr>
          <p:nvPr>
            <p:ph type="sldNum" sz="quarter" idx="5"/>
          </p:nvPr>
        </p:nvSpPr>
        <p:spPr/>
        <p:txBody>
          <a:bodyPr/>
          <a:lstStyle/>
          <a:p>
            <a:fld id="{A66EB0F6-0CBB-6A4E-B00F-31FF6D66F0DB}" type="slidenum">
              <a:rPr lang="en-US" smtClean="0"/>
              <a:pPr/>
              <a:t>10</a:t>
            </a:fld>
            <a:endParaRPr lang="en-US"/>
          </a:p>
        </p:txBody>
      </p:sp>
      <p:sp>
        <p:nvSpPr>
          <p:cNvPr id="5" name="Rectangle 4">
            <a:extLst>
              <a:ext uri="{FF2B5EF4-FFF2-40B4-BE49-F238E27FC236}">
                <a16:creationId xmlns:a16="http://schemas.microsoft.com/office/drawing/2014/main" id="{52D5F6B6-E2CB-D5A1-981F-56B467FC5AC6}"/>
              </a:ext>
            </a:extLst>
          </p:cNvPr>
          <p:cNvSpPr/>
          <p:nvPr/>
        </p:nvSpPr>
        <p:spPr>
          <a:xfrm>
            <a:off x="863601" y="1944256"/>
            <a:ext cx="1936749" cy="74295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B77B9D89-99C5-0B9D-59DE-2A5B565834EB}"/>
              </a:ext>
            </a:extLst>
          </p:cNvPr>
          <p:cNvSpPr/>
          <p:nvPr/>
        </p:nvSpPr>
        <p:spPr>
          <a:xfrm>
            <a:off x="-1130300" y="1411626"/>
            <a:ext cx="1745190" cy="78662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1. Yüksek Sağlık Konseyi. RSV'ye Karşı Aşılama (Yetişkinler) Eylül 2023: Sayfa 3, Paragraf 4</a:t>
            </a:r>
          </a:p>
        </p:txBody>
      </p:sp>
      <p:cxnSp>
        <p:nvCxnSpPr>
          <p:cNvPr id="7" name="Straight Connector 6">
            <a:extLst>
              <a:ext uri="{FF2B5EF4-FFF2-40B4-BE49-F238E27FC236}">
                <a16:creationId xmlns:a16="http://schemas.microsoft.com/office/drawing/2014/main" id="{1C253C1D-CB41-9D6C-9BD8-5FAB960B5AA1}"/>
              </a:ext>
            </a:extLst>
          </p:cNvPr>
          <p:cNvCxnSpPr>
            <a:cxnSpLocks/>
            <a:endCxn id="6" idx="3"/>
          </p:cNvCxnSpPr>
          <p:nvPr/>
        </p:nvCxnSpPr>
        <p:spPr>
          <a:xfrm flipH="1" flipV="1">
            <a:off x="614890" y="1804941"/>
            <a:ext cx="248711" cy="51079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31B48E42-C204-41CB-83F3-26AD926061DA}"/>
              </a:ext>
            </a:extLst>
          </p:cNvPr>
          <p:cNvSpPr/>
          <p:nvPr/>
        </p:nvSpPr>
        <p:spPr>
          <a:xfrm>
            <a:off x="4057652" y="1944256"/>
            <a:ext cx="1936749" cy="74295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86A54FD-FADF-E0AC-57F1-0CA564DCAE5F}"/>
              </a:ext>
            </a:extLst>
          </p:cNvPr>
          <p:cNvSpPr/>
          <p:nvPr/>
        </p:nvSpPr>
        <p:spPr>
          <a:xfrm>
            <a:off x="6379108" y="1411626"/>
            <a:ext cx="1745190" cy="78662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2. </a:t>
            </a:r>
            <a:r>
              <a:rPr kumimoji="0" lang="es-ES" sz="900" b="0" i="0" u="none" strike="noStrike" kern="1200" cap="none" spc="0" normalizeH="0" baseline="0" noProof="0">
                <a:ln>
                  <a:noFill/>
                </a:ln>
                <a:solidFill>
                  <a:schemeClr val="tx1"/>
                </a:solidFill>
                <a:effectLst/>
                <a:uLnTx/>
                <a:uFillTx/>
                <a:latin typeface="Pfizer Diatype Office"/>
                <a:ea typeface="+mn-ea"/>
                <a:cs typeface="+mn-cs"/>
              </a:rPr>
              <a:t>Torres A, ve diğ. </a:t>
            </a:r>
            <a:r>
              <a:rPr kumimoji="0" lang="es-ES" sz="900" b="0" i="0" u="none" strike="noStrike" kern="1200" cap="none" spc="0" normalizeH="0" baseline="0" noProof="0" err="1">
                <a:ln>
                  <a:noFill/>
                </a:ln>
                <a:solidFill>
                  <a:schemeClr val="tx1"/>
                </a:solidFill>
                <a:effectLst/>
                <a:uLnTx/>
                <a:uFillTx/>
                <a:latin typeface="Pfizer Diatype Office"/>
                <a:ea typeface="+mn-ea"/>
                <a:cs typeface="+mn-cs"/>
              </a:rPr>
              <a:t>Toraks</a:t>
            </a:r>
            <a:r>
              <a:rPr kumimoji="0" lang="es-ES" sz="900" b="0" i="0" u="none" strike="noStrike" kern="1200" cap="none" spc="0" normalizeH="0" baseline="0" noProof="0">
                <a:ln>
                  <a:noFill/>
                </a:ln>
                <a:solidFill>
                  <a:schemeClr val="tx1"/>
                </a:solidFill>
                <a:effectLst/>
                <a:uLnTx/>
                <a:uFillTx/>
                <a:latin typeface="Pfizer Diatype Office"/>
                <a:ea typeface="+mn-ea"/>
                <a:cs typeface="+mn-cs"/>
              </a:rPr>
              <a:t>. 2015; 70(10):984-989: Sayfa 4, sütun 2, para 6</a:t>
            </a:r>
            <a:endParaRPr kumimoji="0" lang="en-GB" sz="900" b="0" i="0" u="none" strike="noStrike" kern="1200" cap="none" spc="0" normalizeH="0" baseline="0" noProof="0">
              <a:ln>
                <a:noFill/>
              </a:ln>
              <a:solidFill>
                <a:schemeClr val="tx1"/>
              </a:solidFill>
              <a:effectLst/>
              <a:uLnTx/>
              <a:uFillTx/>
              <a:latin typeface="Pfizer Diatype Office"/>
              <a:ea typeface="+mn-ea"/>
              <a:cs typeface="+mn-cs"/>
            </a:endParaRPr>
          </a:p>
        </p:txBody>
      </p:sp>
      <p:cxnSp>
        <p:nvCxnSpPr>
          <p:cNvPr id="10" name="Straight Connector 9">
            <a:extLst>
              <a:ext uri="{FF2B5EF4-FFF2-40B4-BE49-F238E27FC236}">
                <a16:creationId xmlns:a16="http://schemas.microsoft.com/office/drawing/2014/main" id="{11C2439B-6604-BDA7-150B-0A2E32BC962B}"/>
              </a:ext>
            </a:extLst>
          </p:cNvPr>
          <p:cNvCxnSpPr>
            <a:cxnSpLocks/>
            <a:stCxn id="8" idx="3"/>
            <a:endCxn id="9" idx="1"/>
          </p:cNvCxnSpPr>
          <p:nvPr/>
        </p:nvCxnSpPr>
        <p:spPr>
          <a:xfrm flipV="1">
            <a:off x="5994401" y="1804941"/>
            <a:ext cx="384707" cy="51079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760BFE36-D5B9-9642-E1BD-8348CCC70FC0}"/>
              </a:ext>
            </a:extLst>
          </p:cNvPr>
          <p:cNvSpPr/>
          <p:nvPr/>
        </p:nvSpPr>
        <p:spPr>
          <a:xfrm>
            <a:off x="863601" y="2709046"/>
            <a:ext cx="1936749" cy="66237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3C68A83-C3CA-0F02-FD4F-8918FA3F2CB0}"/>
              </a:ext>
            </a:extLst>
          </p:cNvPr>
          <p:cNvSpPr/>
          <p:nvPr/>
        </p:nvSpPr>
        <p:spPr>
          <a:xfrm>
            <a:off x="-1130300" y="2176416"/>
            <a:ext cx="1745190" cy="98703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3. </a:t>
            </a:r>
            <a:r>
              <a:rPr kumimoji="0" lang="en-GB" sz="900" b="0" i="0" u="none" strike="noStrike" kern="1200" cap="none" spc="0" normalizeH="0" baseline="0" noProof="0" err="1">
                <a:ln>
                  <a:noFill/>
                </a:ln>
                <a:solidFill>
                  <a:schemeClr val="tx1"/>
                </a:solidFill>
                <a:effectLst/>
                <a:uLnTx/>
                <a:uFillTx/>
                <a:latin typeface="Pfizer Diatype Office"/>
                <a:ea typeface="+mn-ea"/>
                <a:cs typeface="+mn-cs"/>
              </a:rPr>
              <a:t>Hultström</a:t>
            </a:r>
            <a:r>
              <a:rPr kumimoji="0" lang="en-GB" sz="900" b="0" i="0" u="none" strike="noStrike" kern="1200" cap="none" spc="0" normalizeH="0" baseline="0" noProof="0">
                <a:ln>
                  <a:noFill/>
                </a:ln>
                <a:solidFill>
                  <a:schemeClr val="tx1"/>
                </a:solidFill>
                <a:effectLst/>
                <a:uLnTx/>
                <a:uFillTx/>
                <a:latin typeface="Pfizer Diatype Office"/>
                <a:ea typeface="+mn-ea"/>
                <a:cs typeface="+mn-cs"/>
              </a:rPr>
              <a:t> M, ve diğ. Kritik Bakım. 2021; 25(1):37: Sayfa 3, sütun 1, para 2.</a:t>
            </a: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4. Hu, X ve diğ. Ann Hepatol. 2022; 27(1):100653: Sayfa 8, sütun 1, para 2.</a:t>
            </a:r>
          </a:p>
        </p:txBody>
      </p:sp>
      <p:cxnSp>
        <p:nvCxnSpPr>
          <p:cNvPr id="13" name="Straight Connector 12">
            <a:extLst>
              <a:ext uri="{FF2B5EF4-FFF2-40B4-BE49-F238E27FC236}">
                <a16:creationId xmlns:a16="http://schemas.microsoft.com/office/drawing/2014/main" id="{162681C4-B986-C1A0-24BC-01D0BD4399AC}"/>
              </a:ext>
            </a:extLst>
          </p:cNvPr>
          <p:cNvCxnSpPr>
            <a:cxnSpLocks/>
            <a:endCxn id="12" idx="3"/>
          </p:cNvCxnSpPr>
          <p:nvPr/>
        </p:nvCxnSpPr>
        <p:spPr>
          <a:xfrm flipH="1" flipV="1">
            <a:off x="614890" y="2669936"/>
            <a:ext cx="248711" cy="410585"/>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82E5B179-71D6-58A3-022F-278754D36965}"/>
              </a:ext>
            </a:extLst>
          </p:cNvPr>
          <p:cNvSpPr/>
          <p:nvPr/>
        </p:nvSpPr>
        <p:spPr>
          <a:xfrm>
            <a:off x="4057652" y="2709046"/>
            <a:ext cx="1936749" cy="66237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298396B-7CD4-9009-34FC-8325A7D8A639}"/>
              </a:ext>
            </a:extLst>
          </p:cNvPr>
          <p:cNvSpPr/>
          <p:nvPr/>
        </p:nvSpPr>
        <p:spPr>
          <a:xfrm>
            <a:off x="6379108" y="2176416"/>
            <a:ext cx="1745190" cy="701315"/>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5. </a:t>
            </a:r>
            <a:r>
              <a:rPr kumimoji="0" lang="en-GB" sz="900" b="0" i="0" u="none" strike="noStrike" kern="1200" cap="none" spc="0" normalizeH="0" baseline="0" noProof="0" err="1">
                <a:ln>
                  <a:noFill/>
                </a:ln>
                <a:solidFill>
                  <a:schemeClr val="tx1"/>
                </a:solidFill>
                <a:effectLst/>
                <a:uLnTx/>
                <a:uFillTx/>
                <a:latin typeface="Pfizer Diatype Office"/>
                <a:ea typeface="+mn-ea"/>
                <a:cs typeface="+mn-cs"/>
              </a:rPr>
              <a:t>Koloniz</a:t>
            </a:r>
            <a:r>
              <a:rPr kumimoji="0" lang="en-GB" sz="900" b="0" i="0" u="none" strike="noStrike" kern="1200" cap="none" spc="0" normalizeH="0" baseline="0" noProof="0">
                <a:ln>
                  <a:noFill/>
                </a:ln>
                <a:solidFill>
                  <a:schemeClr val="tx1"/>
                </a:solidFill>
                <a:effectLst/>
                <a:uLnTx/>
                <a:uFillTx/>
                <a:latin typeface="Pfizer Diatype Office"/>
                <a:ea typeface="+mn-ea"/>
                <a:cs typeface="+mn-cs"/>
              </a:rPr>
              <a:t> C, ve diğ. </a:t>
            </a:r>
            <a:r>
              <a:rPr kumimoji="0" lang="en-GB" sz="900" b="0" i="0" u="none" strike="noStrike" kern="1200" cap="none" spc="0" normalizeH="0" baseline="0" noProof="0" err="1">
                <a:ln>
                  <a:noFill/>
                </a:ln>
                <a:solidFill>
                  <a:schemeClr val="tx1"/>
                </a:solidFill>
                <a:effectLst/>
                <a:uLnTx/>
                <a:uFillTx/>
                <a:latin typeface="Pfizer Diatype Office"/>
                <a:ea typeface="+mn-ea"/>
                <a:cs typeface="+mn-cs"/>
              </a:rPr>
              <a:t>Eur</a:t>
            </a:r>
            <a:r>
              <a:rPr kumimoji="0" lang="en-GB" sz="900" b="0" i="0" u="none" strike="noStrike" kern="1200" cap="none" spc="0" normalizeH="0" baseline="0" noProof="0">
                <a:ln>
                  <a:noFill/>
                </a:ln>
                <a:solidFill>
                  <a:schemeClr val="tx1"/>
                </a:solidFill>
                <a:effectLst/>
                <a:uLnTx/>
                <a:uFillTx/>
                <a:latin typeface="Pfizer Diatype Office"/>
                <a:ea typeface="+mn-ea"/>
                <a:cs typeface="+mn-cs"/>
              </a:rPr>
              <a:t> Respir Rev 2022; 31: 220051: Sayfa 3, paragraf 1-3</a:t>
            </a:r>
          </a:p>
        </p:txBody>
      </p:sp>
      <p:cxnSp>
        <p:nvCxnSpPr>
          <p:cNvPr id="16" name="Straight Connector 15">
            <a:extLst>
              <a:ext uri="{FF2B5EF4-FFF2-40B4-BE49-F238E27FC236}">
                <a16:creationId xmlns:a16="http://schemas.microsoft.com/office/drawing/2014/main" id="{E1F795CD-8FFB-97FD-CA9D-479F6D8D2835}"/>
              </a:ext>
            </a:extLst>
          </p:cNvPr>
          <p:cNvCxnSpPr>
            <a:cxnSpLocks/>
            <a:stCxn id="14" idx="3"/>
            <a:endCxn id="15" idx="1"/>
          </p:cNvCxnSpPr>
          <p:nvPr/>
        </p:nvCxnSpPr>
        <p:spPr>
          <a:xfrm flipV="1">
            <a:off x="5994401" y="2527074"/>
            <a:ext cx="384707" cy="51315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086653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0D5C7F-E3AA-4D92-7A99-25A7EC092A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110FA2-0A00-977C-1A33-23EE9A02C4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66F71B-8C9C-9CA9-CFF8-CDC01361728E}"/>
              </a:ext>
            </a:extLst>
          </p:cNvPr>
          <p:cNvSpPr>
            <a:spLocks noGrp="1"/>
          </p:cNvSpPr>
          <p:nvPr>
            <p:ph type="body" idx="1"/>
          </p:nvPr>
        </p:nvSpPr>
        <p:spPr/>
        <p:txBody>
          <a:bodyPr/>
          <a:lstStyle/>
          <a:p>
            <a:r>
              <a:rPr lang="en-US" sz="1000" b="1"/>
              <a:t>Referanslar:</a:t>
            </a:r>
          </a:p>
          <a:p>
            <a:pPr marL="0" lvl="0" indent="0">
              <a:buNone/>
              <a:defRPr/>
            </a:pPr>
            <a:r>
              <a:rPr lang="en-GB" sz="1000"/>
              <a:t>1. DSÖ. </a:t>
            </a:r>
            <a:r>
              <a:rPr lang="en-US" sz="1000"/>
              <a:t>Bu sonbaharda ve kış aylarında üçlü bir tehditi önlemek - kendimizi ve başkalarını solunum yolu hastalıklarından korumak için dersleri uygulamak ve bireysel riskleri anlamak</a:t>
            </a:r>
            <a:r>
              <a:rPr lang="en-GB" sz="1000"/>
              <a:t>. </a:t>
            </a:r>
            <a:r>
              <a:rPr lang="en-GB" sz="1000">
                <a:hlinkClick r:id="rId3">
                  <a:extLst>
                    <a:ext uri="{A12FA001-AC4F-418D-AE19-62706E023703}">
                      <ahyp:hlinkClr xmlns:ahyp="http://schemas.microsoft.com/office/drawing/2018/hyperlinkcolor" val="tx"/>
                    </a:ext>
                  </a:extLst>
                </a:hlinkClick>
              </a:rPr>
              <a:t>https://www.who.int/europe/event/preventing-a-triple-threat-this-autumn-and-winter--applying-lessons-and-understanding-individual-risk-to-protect-ourselves-and-others-from-respiratory-illness</a:t>
            </a:r>
            <a:r>
              <a:rPr lang="en-GB" sz="1000"/>
              <a:t>. 12 Şubat 2025 tarihinde erişildi.</a:t>
            </a:r>
          </a:p>
          <a:p>
            <a:pPr marL="0" lvl="0" indent="0">
              <a:buNone/>
              <a:defRPr/>
            </a:pPr>
            <a:r>
              <a:rPr lang="en-GB" sz="1000">
                <a:latin typeface="Pfizer Diatype Office"/>
              </a:rPr>
              <a:t>2</a:t>
            </a:r>
            <a:r>
              <a:rPr kumimoji="0" lang="en-GB" sz="1000" b="0" i="0" u="none" strike="noStrike" kern="1200" cap="none" spc="0" normalizeH="0" baseline="0" noProof="0">
                <a:ln>
                  <a:noFill/>
                </a:ln>
                <a:effectLst/>
                <a:uLnTx/>
                <a:uFillTx/>
                <a:latin typeface="Pfizer Diatype Office"/>
                <a:ea typeface="+mn-ea"/>
                <a:cs typeface="+mn-cs"/>
              </a:rPr>
              <a:t>. </a:t>
            </a:r>
            <a:r>
              <a:rPr lang="en-GB" sz="1000"/>
              <a:t>GBD 2021 - Düşük Solunum Yolu Enfeksiyonları ve Antimikrobiyal Direnç İş Ortakları. </a:t>
            </a:r>
            <a:r>
              <a:rPr lang="en-GB" sz="1000" i="1"/>
              <a:t>Lancet Dis</a:t>
            </a:r>
            <a:r>
              <a:rPr lang="en-GB" sz="1000"/>
              <a:t>. 2024; 24(9):974-1002. </a:t>
            </a:r>
            <a:endParaRPr kumimoji="0" lang="en-GB" sz="1000" b="0" i="0" u="none" strike="noStrike" kern="1200" cap="none" spc="0" normalizeH="0" baseline="0" noProof="0">
              <a:ln>
                <a:noFill/>
              </a:ln>
              <a:effectLst/>
              <a:uLnTx/>
              <a:uFillTx/>
              <a:latin typeface="Pfizer Diatype Office"/>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effectLst/>
                <a:highlight>
                  <a:srgbClr val="FFFF00"/>
                </a:highlight>
                <a:uLnTx/>
                <a:uFillTx/>
                <a:latin typeface="Pfizer Diatype Office"/>
                <a:ea typeface="+mn-ea"/>
                <a:cs typeface="+mn-cs"/>
              </a:rPr>
              <a:t>3</a:t>
            </a:r>
            <a:r>
              <a:rPr kumimoji="0" lang="en-GB" sz="1000" b="0" i="0" u="none" strike="noStrike" kern="1200" cap="none" spc="0" normalizeH="0" baseline="0" noProof="0">
                <a:ln>
                  <a:noFill/>
                </a:ln>
                <a:effectLst/>
                <a:uLnTx/>
                <a:uFillTx/>
                <a:latin typeface="Pfizer Diatype Office"/>
                <a:ea typeface="+mn-ea"/>
                <a:cs typeface="+mn-cs"/>
              </a:rPr>
              <a:t>. </a:t>
            </a:r>
            <a:r>
              <a:rPr kumimoji="0" lang="sv-SE" sz="1000" b="0" i="0" u="none" strike="noStrike" kern="1200" cap="none" spc="0" normalizeH="0" baseline="0" noProof="0">
                <a:ln>
                  <a:noFill/>
                </a:ln>
                <a:effectLst/>
                <a:uLnTx/>
                <a:uFillTx/>
                <a:latin typeface="Pfizer Diatype Office"/>
                <a:ea typeface="+mn-ea"/>
                <a:cs typeface="+mn-cs"/>
              </a:rPr>
              <a:t>Oliva J., Terrier O. </a:t>
            </a:r>
            <a:r>
              <a:rPr kumimoji="0" lang="sv-SE" sz="1000" b="0" i="1" u="none" strike="noStrike" kern="1200" cap="none" spc="0" normalizeH="0" baseline="0" noProof="0">
                <a:ln>
                  <a:noFill/>
                </a:ln>
                <a:effectLst/>
                <a:uLnTx/>
                <a:uFillTx/>
                <a:latin typeface="Pfizer Diatype Office"/>
                <a:ea typeface="+mn-ea"/>
                <a:cs typeface="+mn-cs"/>
              </a:rPr>
              <a:t>Virüsler</a:t>
            </a:r>
            <a:r>
              <a:rPr kumimoji="0" lang="sv-SE" sz="1000" b="0" i="0" u="none" strike="noStrike" kern="1200" cap="none" spc="0" normalizeH="0" baseline="0" noProof="0">
                <a:ln>
                  <a:noFill/>
                </a:ln>
                <a:effectLst/>
                <a:uLnTx/>
                <a:uFillTx/>
                <a:latin typeface="Pfizer Diatype Office"/>
                <a:ea typeface="+mn-ea"/>
                <a:cs typeface="+mn-cs"/>
              </a:rPr>
              <a:t>. 2021; 13(9):1725.</a:t>
            </a:r>
          </a:p>
          <a:p>
            <a:pPr marL="0" marR="0" lvl="0" indent="0" algn="l" defTabSz="913852" rtl="0" eaLnBrk="1" fontAlgn="auto" latinLnBrk="0" hangingPunct="1">
              <a:lnSpc>
                <a:spcPct val="100000"/>
              </a:lnSpc>
              <a:spcBef>
                <a:spcPts val="0"/>
              </a:spcBef>
              <a:spcAft>
                <a:spcPts val="0"/>
              </a:spcAft>
              <a:buClrTx/>
              <a:buSzTx/>
              <a:buFontTx/>
              <a:buNone/>
              <a:tabLst/>
              <a:defRPr/>
            </a:pPr>
            <a:r>
              <a:rPr lang="en-US" sz="1000">
                <a:highlight>
                  <a:srgbClr val="FFFF00"/>
                </a:highlight>
              </a:rPr>
              <a:t>4</a:t>
            </a:r>
            <a:r>
              <a:rPr lang="en-US" sz="1000"/>
              <a:t>. Veri Dünyamız. Yaş Yapısı. Şubat 2024. https://ourworldindata.org/age-structure. 29 Ağustos 2024 tarihinde erişildi.</a:t>
            </a:r>
          </a:p>
          <a:p>
            <a:pPr marL="0" marR="0" lvl="0" indent="0" algn="l" defTabSz="913852" rtl="0" eaLnBrk="1" fontAlgn="auto" latinLnBrk="0" hangingPunct="1">
              <a:lnSpc>
                <a:spcPct val="100000"/>
              </a:lnSpc>
              <a:spcBef>
                <a:spcPts val="0"/>
              </a:spcBef>
              <a:spcAft>
                <a:spcPts val="0"/>
              </a:spcAft>
              <a:buClrTx/>
              <a:buSzTx/>
              <a:buFontTx/>
              <a:buNone/>
              <a:tabLst/>
              <a:defRPr/>
            </a:pPr>
            <a:r>
              <a:rPr lang="en-GB" sz="1000">
                <a:latin typeface="Pfizer Diatype Office"/>
              </a:rPr>
              <a:t>5</a:t>
            </a:r>
            <a:r>
              <a:rPr kumimoji="0" lang="en-GB" sz="1000" b="0" i="0" u="none" strike="noStrike" kern="1200" cap="none" spc="0" normalizeH="0" baseline="0" noProof="0">
                <a:ln>
                  <a:noFill/>
                </a:ln>
                <a:effectLst/>
                <a:uLnTx/>
                <a:uFillTx/>
                <a:latin typeface="Pfizer Diatype Office"/>
                <a:ea typeface="+mn-ea"/>
                <a:cs typeface="+mn-cs"/>
              </a:rPr>
              <a:t>. Hernandez-Ruiz, Vet. </a:t>
            </a:r>
            <a:r>
              <a:rPr kumimoji="0" lang="en-GB" sz="1000" b="0" i="1" u="none" strike="noStrike" kern="1200" cap="none" spc="0" normalizeH="0" baseline="0" noProof="0" err="1">
                <a:ln>
                  <a:noFill/>
                </a:ln>
                <a:effectLst/>
                <a:uLnTx/>
                <a:uFillTx/>
                <a:latin typeface="Pfizer Diatype Office"/>
                <a:ea typeface="+mn-ea"/>
                <a:cs typeface="+mn-cs"/>
              </a:rPr>
              <a:t>Nörol</a:t>
            </a:r>
            <a:r>
              <a:rPr kumimoji="0" lang="en-GB" sz="1000" b="0" i="1" u="none" strike="noStrike" kern="1200" cap="none" spc="0" normalizeH="0" baseline="0" noProof="0">
                <a:ln>
                  <a:noFill/>
                </a:ln>
                <a:effectLst/>
                <a:uLnTx/>
                <a:uFillTx/>
                <a:latin typeface="Pfizer Diatype Office"/>
                <a:ea typeface="+mn-ea"/>
                <a:cs typeface="+mn-cs"/>
              </a:rPr>
              <a:t> Sci </a:t>
            </a:r>
            <a:r>
              <a:rPr kumimoji="0" lang="en-GB" sz="1000" b="0" i="0" u="none" strike="noStrike" kern="1200" cap="none" spc="0" normalizeH="0" baseline="0" noProof="0">
                <a:ln>
                  <a:noFill/>
                </a:ln>
                <a:effectLst/>
                <a:uLnTx/>
                <a:uFillTx/>
                <a:latin typeface="Pfizer Diatype Office"/>
                <a:ea typeface="+mn-ea"/>
                <a:cs typeface="+mn-cs"/>
              </a:rPr>
              <a:t>202.43(11):6215-6224.</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effectLst/>
                <a:uLnTx/>
                <a:uFillTx/>
                <a:latin typeface="Pfizer Diatype Office"/>
                <a:ea typeface="+mn-ea"/>
                <a:cs typeface="+mn-cs"/>
              </a:rPr>
              <a:t>6. Lian J. ve </a:t>
            </a:r>
            <a:r>
              <a:rPr kumimoji="0" lang="en-GB" sz="1000" b="0" i="1" u="none" strike="noStrike" kern="1200" cap="none" spc="0" normalizeH="0" baseline="0" noProof="0">
                <a:ln>
                  <a:noFill/>
                </a:ln>
                <a:effectLst/>
                <a:uLnTx/>
                <a:uFillTx/>
                <a:latin typeface="Pfizer Diatype Office"/>
                <a:ea typeface="+mn-ea"/>
                <a:cs typeface="+mn-cs"/>
              </a:rPr>
              <a:t>J</a:t>
            </a:r>
            <a:r>
              <a:rPr kumimoji="0" lang="en-GB" sz="1000" b="0" i="0" u="none" strike="noStrike" kern="1200" cap="none" spc="0" normalizeH="0" baseline="0" noProof="0">
                <a:ln>
                  <a:noFill/>
                </a:ln>
                <a:effectLst/>
                <a:uLnTx/>
                <a:uFillTx/>
                <a:latin typeface="Pfizer Diatype Office"/>
                <a:ea typeface="+mn-ea"/>
                <a:cs typeface="+mn-cs"/>
              </a:rPr>
              <a:t>. </a:t>
            </a:r>
            <a:r>
              <a:rPr kumimoji="0" lang="en-GB" sz="1000" b="0" i="1" u="none" strike="noStrike" kern="1200" cap="none" spc="0" normalizeH="0" baseline="0" noProof="0" err="1">
                <a:ln>
                  <a:noFill/>
                </a:ln>
                <a:effectLst/>
                <a:uLnTx/>
                <a:uFillTx/>
                <a:latin typeface="Pfizer Diatype Office"/>
                <a:ea typeface="+mn-ea"/>
                <a:cs typeface="+mn-cs"/>
              </a:rPr>
              <a:t>Hematol</a:t>
            </a:r>
            <a:r>
              <a:rPr kumimoji="0" lang="en-GB" sz="1000" b="0" i="1" u="none" strike="noStrike" kern="1200" cap="none" spc="0" normalizeH="0" baseline="0" noProof="0">
                <a:ln>
                  <a:noFill/>
                </a:ln>
                <a:effectLst/>
                <a:uLnTx/>
                <a:uFillTx/>
                <a:latin typeface="Pfizer Diatype Office"/>
                <a:ea typeface="+mn-ea"/>
                <a:cs typeface="+mn-cs"/>
              </a:rPr>
              <a:t> Oncol</a:t>
            </a:r>
            <a:r>
              <a:rPr kumimoji="0" lang="en-GB" sz="1000" b="0" i="0" u="none" strike="noStrike" kern="1200" cap="none" spc="0" normalizeH="0" baseline="0" noProof="0">
                <a:ln>
                  <a:noFill/>
                </a:ln>
                <a:effectLst/>
                <a:uLnTx/>
                <a:uFillTx/>
                <a:latin typeface="Pfizer Diatype Office"/>
                <a:ea typeface="+mn-ea"/>
                <a:cs typeface="+mn-cs"/>
              </a:rPr>
              <a:t>. 2020; 13(1):151</a:t>
            </a:r>
            <a:r>
              <a:rPr lang="en-GB" sz="1000">
                <a:latin typeface="Pfizer Diatype Office"/>
              </a:rPr>
              <a:t>.</a:t>
            </a:r>
          </a:p>
          <a:p>
            <a:pPr marL="0" marR="0" lvl="0" indent="0" algn="l" defTabSz="913852" rtl="0" eaLnBrk="1" fontAlgn="auto" latinLnBrk="0" hangingPunct="1">
              <a:lnSpc>
                <a:spcPct val="100000"/>
              </a:lnSpc>
              <a:spcBef>
                <a:spcPts val="0"/>
              </a:spcBef>
              <a:spcAft>
                <a:spcPts val="0"/>
              </a:spcAft>
              <a:buClrTx/>
              <a:buSzTx/>
              <a:buFontTx/>
              <a:buNone/>
              <a:tabLst/>
              <a:defRPr/>
            </a:pPr>
            <a:r>
              <a:rPr lang="en-GB" sz="1000">
                <a:highlight>
                  <a:srgbClr val="FFFF00"/>
                </a:highlight>
              </a:rPr>
              <a:t>7</a:t>
            </a:r>
            <a:r>
              <a:rPr lang="en-GB" sz="1000"/>
              <a:t>. Tu-Y, ve diğ. </a:t>
            </a:r>
            <a:r>
              <a:rPr lang="en-GB" sz="1000" i="1"/>
              <a:t>Adv Respir Dis</a:t>
            </a:r>
            <a:r>
              <a:rPr lang="en-GB" sz="1000"/>
              <a:t>. [19:17534666241308408]</a:t>
            </a:r>
          </a:p>
          <a:p>
            <a:pPr marL="0" marR="0" lvl="0" indent="0" algn="l" defTabSz="913852" rtl="0" eaLnBrk="1" fontAlgn="auto" latinLnBrk="0" hangingPunct="1">
              <a:lnSpc>
                <a:spcPct val="100000"/>
              </a:lnSpc>
              <a:spcBef>
                <a:spcPts val="0"/>
              </a:spcBef>
              <a:spcAft>
                <a:spcPts val="0"/>
              </a:spcAft>
              <a:buClrTx/>
              <a:buSzTx/>
              <a:buFontTx/>
              <a:buNone/>
              <a:tabLst/>
              <a:defRPr/>
            </a:pPr>
            <a:r>
              <a:rPr lang="en-GB" sz="1000">
                <a:highlight>
                  <a:srgbClr val="FFFF00"/>
                </a:highlight>
              </a:rPr>
              <a:t>8</a:t>
            </a:r>
            <a:r>
              <a:rPr lang="en-GB" sz="1000"/>
              <a:t>. HKM. Solunum Enfeksiyonları ve Astım. 22 Ocak 2024. </a:t>
            </a:r>
            <a:r>
              <a:rPr lang="en-GB" sz="1000">
                <a:hlinkClick r:id="rId4">
                  <a:extLst>
                    <a:ext uri="{A12FA001-AC4F-418D-AE19-62706E023703}">
                      <ahyp:hlinkClr xmlns:ahyp="http://schemas.microsoft.com/office/drawing/2018/hyperlinkcolor" val="tx"/>
                    </a:ext>
                  </a:extLst>
                </a:hlinkClick>
              </a:rPr>
              <a:t>https://www.cdc.gov/asthma/respiratory-infections/</a:t>
            </a:r>
            <a:r>
              <a:rPr lang="en-GB" sz="1000"/>
              <a:t>. 21 Mart 2025 tarihinde erişildi.</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effectLst/>
                <a:highlight>
                  <a:srgbClr val="FFFF00"/>
                </a:highlight>
                <a:uLnTx/>
                <a:uFillTx/>
                <a:latin typeface="Pfizer Diatype Office"/>
                <a:ea typeface="+mn-ea"/>
                <a:cs typeface="+mn-cs"/>
              </a:rPr>
              <a:t>9</a:t>
            </a:r>
            <a:r>
              <a:rPr kumimoji="0" lang="en-GB" sz="1000" b="0" i="0" u="none" strike="noStrike" kern="1200" cap="none" spc="0" normalizeH="0" baseline="0" noProof="0">
                <a:ln>
                  <a:noFill/>
                </a:ln>
                <a:effectLst/>
                <a:uLnTx/>
                <a:uFillTx/>
                <a:latin typeface="Pfizer Diatype Office"/>
                <a:ea typeface="+mn-ea"/>
                <a:cs typeface="+mn-cs"/>
              </a:rPr>
              <a:t>. Veri Dünyamız. Pnömoniden, yaşlarına göre ölüm oranı, Dünya. </a:t>
            </a:r>
            <a:r>
              <a:rPr kumimoji="0" lang="en-GB" sz="1000" b="0" i="0" u="none" strike="noStrike" kern="1200" cap="none" spc="0" normalizeH="0" baseline="0" noProof="0">
                <a:ln>
                  <a:noFill/>
                </a:ln>
                <a:effectLst/>
                <a:uLnTx/>
                <a:uFillTx/>
                <a:latin typeface="Pfizer Diatype Office"/>
                <a:ea typeface="+mn-ea"/>
                <a:cs typeface="+mn-cs"/>
                <a:hlinkClick r:id="rId5"/>
              </a:rPr>
              <a:t>https://ourworldindata.org/grapher/pneumonia-mortality-by-age</a:t>
            </a:r>
            <a:r>
              <a:rPr kumimoji="0" lang="en-GB" sz="1000" b="0" i="0" u="none" strike="noStrike" kern="1200" cap="none" spc="0" normalizeH="0" baseline="0" noProof="0">
                <a:ln>
                  <a:noFill/>
                </a:ln>
                <a:effectLst/>
                <a:uLnTx/>
                <a:uFillTx/>
                <a:latin typeface="Pfizer Diatype Office"/>
                <a:ea typeface="+mn-ea"/>
                <a:cs typeface="+mn-cs"/>
              </a:rPr>
              <a:t>. 28 Mart 2025 tarihinde erişildi.</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effectLst/>
                <a:highlight>
                  <a:srgbClr val="FFFF00"/>
                </a:highlight>
                <a:uLnTx/>
                <a:uFillTx/>
                <a:latin typeface="Pfizer Diatype Office"/>
                <a:ea typeface="+mn-ea"/>
                <a:cs typeface="+mn-cs"/>
              </a:rPr>
              <a:t>10</a:t>
            </a:r>
            <a:r>
              <a:rPr kumimoji="0" lang="en-GB" sz="1000" b="0" i="0" u="none" strike="noStrike" kern="1200" cap="none" spc="0" normalizeH="0" baseline="0" noProof="0">
                <a:ln>
                  <a:noFill/>
                </a:ln>
                <a:effectLst/>
                <a:uLnTx/>
                <a:uFillTx/>
                <a:latin typeface="Pfizer Diatype Office"/>
                <a:ea typeface="+mn-ea"/>
                <a:cs typeface="+mn-cs"/>
              </a:rPr>
              <a:t>. Veriler Dünyası. Gripten kaç kişi öldü? </a:t>
            </a:r>
            <a:r>
              <a:rPr kumimoji="0" lang="en-GB" sz="1000" b="0" i="0" u="none" strike="noStrike" kern="1200" cap="none" spc="0" normalizeH="0" baseline="0" noProof="0">
                <a:ln>
                  <a:noFill/>
                </a:ln>
                <a:effectLst/>
                <a:uLnTx/>
                <a:uFillTx/>
                <a:latin typeface="Pfizer Diatype Office"/>
                <a:ea typeface="+mn-ea"/>
                <a:cs typeface="+mn-cs"/>
                <a:hlinkClick r:id="rId6">
                  <a:extLst>
                    <a:ext uri="{A12FA001-AC4F-418D-AE19-62706E023703}">
                      <ahyp:hlinkClr xmlns:ahyp="http://schemas.microsoft.com/office/drawing/2018/hyperlinkcolor" val="tx"/>
                    </a:ext>
                  </a:extLst>
                </a:hlinkClick>
              </a:rPr>
              <a:t>https://ourworldindata.org/influenza-deaths</a:t>
            </a:r>
            <a:r>
              <a:rPr kumimoji="0" lang="en-GB" sz="1000" b="0" i="0" u="none" strike="noStrike" kern="1200" cap="none" spc="0" normalizeH="0" baseline="0" noProof="0">
                <a:ln>
                  <a:noFill/>
                </a:ln>
                <a:effectLst/>
                <a:uLnTx/>
                <a:uFillTx/>
                <a:latin typeface="Pfizer Diatype Office"/>
                <a:ea typeface="+mn-ea"/>
                <a:cs typeface="+mn-cs"/>
              </a:rPr>
              <a:t>. 28 Mart 2025 tarihinde erişildi.</a:t>
            </a: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sv-SE" sz="1000" b="0" i="0" u="none" strike="noStrike" kern="1200" cap="none" spc="0" normalizeH="0" baseline="0" noProof="0">
              <a:ln>
                <a:noFill/>
              </a:ln>
              <a:effectLst/>
              <a:uLnTx/>
              <a:uFillTx/>
              <a:latin typeface="Pfizer Diatype Office"/>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effectLst/>
              <a:uLnTx/>
              <a:uFillTx/>
              <a:latin typeface="Pfizer Diatype Office"/>
              <a:ea typeface="+mn-ea"/>
              <a:cs typeface="+mn-cs"/>
            </a:endParaRPr>
          </a:p>
          <a:p>
            <a:endParaRPr lang="en-US" sz="1000"/>
          </a:p>
        </p:txBody>
      </p:sp>
      <p:sp>
        <p:nvSpPr>
          <p:cNvPr id="4" name="Slide Number Placeholder 3">
            <a:extLst>
              <a:ext uri="{FF2B5EF4-FFF2-40B4-BE49-F238E27FC236}">
                <a16:creationId xmlns:a16="http://schemas.microsoft.com/office/drawing/2014/main" id="{69E047AE-2744-5D87-9695-B146D59247A6}"/>
              </a:ext>
            </a:extLst>
          </p:cNvPr>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A66EB0F6-0CBB-6A4E-B00F-31FF6D66F0DB}"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5" name="Rectangle 4">
            <a:extLst>
              <a:ext uri="{FF2B5EF4-FFF2-40B4-BE49-F238E27FC236}">
                <a16:creationId xmlns:a16="http://schemas.microsoft.com/office/drawing/2014/main" id="{883DFCD9-C5D8-00A2-520A-5B034C40F1E4}"/>
              </a:ext>
            </a:extLst>
          </p:cNvPr>
          <p:cNvSpPr/>
          <p:nvPr/>
        </p:nvSpPr>
        <p:spPr>
          <a:xfrm>
            <a:off x="941613" y="1825169"/>
            <a:ext cx="1292074" cy="89048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Rectangle 5">
            <a:extLst>
              <a:ext uri="{FF2B5EF4-FFF2-40B4-BE49-F238E27FC236}">
                <a16:creationId xmlns:a16="http://schemas.microsoft.com/office/drawing/2014/main" id="{3F368F9C-C80E-24C6-9D9E-E118170D090F}"/>
              </a:ext>
            </a:extLst>
          </p:cNvPr>
          <p:cNvSpPr/>
          <p:nvPr/>
        </p:nvSpPr>
        <p:spPr>
          <a:xfrm>
            <a:off x="-1143000" y="231608"/>
            <a:ext cx="1654627" cy="1521681"/>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1. Dünya Sağlık Örgütü. Bu sonbahar ve kış üçlü tehdidini engelliyor.</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 paragraf 1</a:t>
            </a: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Pfizer Diatype Office"/>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2. GBD 2021 Lancet Dis. 24 Eyl; 24(9):974-1002</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1, Soyut, Bulgular, n5-6</a:t>
            </a:r>
          </a:p>
        </p:txBody>
      </p:sp>
      <p:cxnSp>
        <p:nvCxnSpPr>
          <p:cNvPr id="7" name="Straight Connector 6">
            <a:extLst>
              <a:ext uri="{FF2B5EF4-FFF2-40B4-BE49-F238E27FC236}">
                <a16:creationId xmlns:a16="http://schemas.microsoft.com/office/drawing/2014/main" id="{9AB80914-59EE-5B0D-C87D-3CF6723A2121}"/>
              </a:ext>
            </a:extLst>
          </p:cNvPr>
          <p:cNvCxnSpPr>
            <a:cxnSpLocks/>
            <a:stCxn id="6" idx="3"/>
            <a:endCxn id="5" idx="0"/>
          </p:cNvCxnSpPr>
          <p:nvPr/>
        </p:nvCxnSpPr>
        <p:spPr>
          <a:xfrm>
            <a:off x="511627" y="992449"/>
            <a:ext cx="1076023" cy="83272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CD9E0C8C-4948-78FC-CD11-BFCF3D7315D7}"/>
              </a:ext>
            </a:extLst>
          </p:cNvPr>
          <p:cNvSpPr/>
          <p:nvPr/>
        </p:nvSpPr>
        <p:spPr>
          <a:xfrm>
            <a:off x="2233687" y="1825168"/>
            <a:ext cx="1283726" cy="89048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D40601A9-E49C-876C-5BFD-49B0346EBA3A}"/>
              </a:ext>
            </a:extLst>
          </p:cNvPr>
          <p:cNvSpPr/>
          <p:nvPr/>
        </p:nvSpPr>
        <p:spPr>
          <a:xfrm>
            <a:off x="6361791" y="1503069"/>
            <a:ext cx="1654627" cy="794658"/>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2. GBD 2021 Lancet Dis. 24 Eyl; 24(9):974-1002</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9 (982), sütun 1, para 2, ln7-11.</a:t>
            </a:r>
          </a:p>
        </p:txBody>
      </p:sp>
      <p:cxnSp>
        <p:nvCxnSpPr>
          <p:cNvPr id="10" name="Straight Connector 9">
            <a:extLst>
              <a:ext uri="{FF2B5EF4-FFF2-40B4-BE49-F238E27FC236}">
                <a16:creationId xmlns:a16="http://schemas.microsoft.com/office/drawing/2014/main" id="{E9946BD8-85E4-522C-F8F0-B9F45C079D8E}"/>
              </a:ext>
            </a:extLst>
          </p:cNvPr>
          <p:cNvCxnSpPr>
            <a:cxnSpLocks/>
            <a:stCxn id="9" idx="1"/>
            <a:endCxn id="42" idx="3"/>
          </p:cNvCxnSpPr>
          <p:nvPr/>
        </p:nvCxnSpPr>
        <p:spPr>
          <a:xfrm flipH="1">
            <a:off x="5905501" y="1900398"/>
            <a:ext cx="456290" cy="370211"/>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2" name="Rectangle 11">
            <a:extLst>
              <a:ext uri="{FF2B5EF4-FFF2-40B4-BE49-F238E27FC236}">
                <a16:creationId xmlns:a16="http://schemas.microsoft.com/office/drawing/2014/main" id="{EA12C831-5694-FE08-FA7C-714A4B38F3E5}"/>
              </a:ext>
            </a:extLst>
          </p:cNvPr>
          <p:cNvSpPr/>
          <p:nvPr/>
        </p:nvSpPr>
        <p:spPr>
          <a:xfrm>
            <a:off x="6361791" y="2879832"/>
            <a:ext cx="2297796" cy="910000"/>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lang="en-GB">
                <a:solidFill>
                  <a:prstClr val="black"/>
                </a:solidFill>
                <a:highlight>
                  <a:srgbClr val="FFFF00"/>
                </a:highlight>
                <a:latin typeface="Pfizer Diatype Office"/>
              </a:rPr>
              <a:t>7</a:t>
            </a:r>
            <a:r>
              <a:rPr kumimoji="0" lang="en-GB" sz="900" b="0" i="0" u="none" strike="noStrike" kern="1200" cap="none" spc="0" normalizeH="0" baseline="0" noProof="0">
                <a:ln>
                  <a:noFill/>
                </a:ln>
                <a:solidFill>
                  <a:prstClr val="black"/>
                </a:solidFill>
                <a:effectLst/>
                <a:highlight>
                  <a:srgbClr val="FFFF00"/>
                </a:highlight>
                <a:uLnTx/>
                <a:uFillTx/>
                <a:latin typeface="Pfizer Diatype Office"/>
                <a:ea typeface="+mn-ea"/>
                <a:cs typeface="+mn-cs"/>
              </a:rPr>
              <a:t>.</a:t>
            </a:r>
            <a:r>
              <a:rPr kumimoji="0" lang="en-GB" sz="900" b="0" i="0" u="none" strike="noStrike" kern="1200" cap="none" spc="0" normalizeH="0" baseline="0" noProof="0">
                <a:ln>
                  <a:noFill/>
                </a:ln>
                <a:solidFill>
                  <a:prstClr val="black"/>
                </a:solidFill>
                <a:effectLst/>
                <a:uLnTx/>
                <a:uFillTx/>
                <a:latin typeface="Pfizer Diatype Office"/>
                <a:ea typeface="+mn-ea"/>
                <a:cs typeface="+mn-cs"/>
              </a:rPr>
              <a:t> Veriler Dünyamız. Yaşlarına göre, zatürreden ölüm oranı Dünya. </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1.</a:t>
            </a:r>
          </a:p>
          <a:p>
            <a:pPr marL="0" marR="0" lvl="0" indent="0" algn="l" defTabSz="913852" rtl="0" eaLnBrk="1" fontAlgn="auto" latinLnBrk="0" hangingPunct="1">
              <a:lnSpc>
                <a:spcPct val="100000"/>
              </a:lnSpc>
              <a:spcBef>
                <a:spcPts val="0"/>
              </a:spcBef>
              <a:spcAft>
                <a:spcPts val="0"/>
              </a:spcAft>
              <a:buClrTx/>
              <a:buSzTx/>
              <a:buFontTx/>
              <a:buNone/>
              <a:tabLst/>
              <a:defRPr/>
            </a:pPr>
            <a:r>
              <a:rPr lang="en-GB">
                <a:solidFill>
                  <a:prstClr val="black"/>
                </a:solidFill>
                <a:highlight>
                  <a:srgbClr val="FFFF00"/>
                </a:highlight>
                <a:latin typeface="Pfizer Diatype Office"/>
              </a:rPr>
              <a:t>8</a:t>
            </a:r>
            <a:r>
              <a:rPr kumimoji="0" lang="en-GB" sz="900" b="0" i="0" u="none" strike="noStrike" kern="1200" cap="none" spc="0" normalizeH="0" baseline="0" noProof="0">
                <a:ln>
                  <a:noFill/>
                </a:ln>
                <a:solidFill>
                  <a:prstClr val="black"/>
                </a:solidFill>
                <a:effectLst/>
                <a:highlight>
                  <a:srgbClr val="FFFF00"/>
                </a:highlight>
                <a:uLnTx/>
                <a:uFillTx/>
                <a:latin typeface="Pfizer Diatype Office"/>
                <a:ea typeface="+mn-ea"/>
                <a:cs typeface="+mn-cs"/>
              </a:rPr>
              <a:t>.</a:t>
            </a:r>
            <a:r>
              <a:rPr kumimoji="0" lang="en-GB" sz="900" b="0" i="0" u="none" strike="noStrike" kern="1200" cap="none" spc="0" normalizeH="0" baseline="0" noProof="0">
                <a:ln>
                  <a:noFill/>
                </a:ln>
                <a:solidFill>
                  <a:prstClr val="black"/>
                </a:solidFill>
                <a:effectLst/>
                <a:uLnTx/>
                <a:uFillTx/>
                <a:latin typeface="Pfizer Diatype Office"/>
                <a:ea typeface="+mn-ea"/>
                <a:cs typeface="+mn-cs"/>
              </a:rPr>
              <a:t> Verilerdeki Dünyamız. Gripten kaç kişi ölüyor? </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8.</a:t>
            </a:r>
          </a:p>
        </p:txBody>
      </p:sp>
      <p:cxnSp>
        <p:nvCxnSpPr>
          <p:cNvPr id="13" name="Straight Connector 12">
            <a:extLst>
              <a:ext uri="{FF2B5EF4-FFF2-40B4-BE49-F238E27FC236}">
                <a16:creationId xmlns:a16="http://schemas.microsoft.com/office/drawing/2014/main" id="{0CE12378-158B-8AE2-4E24-C1405A10243F}"/>
              </a:ext>
            </a:extLst>
          </p:cNvPr>
          <p:cNvCxnSpPr>
            <a:cxnSpLocks/>
            <a:stCxn id="12" idx="1"/>
            <a:endCxn id="47" idx="3"/>
          </p:cNvCxnSpPr>
          <p:nvPr/>
        </p:nvCxnSpPr>
        <p:spPr>
          <a:xfrm flipH="1" flipV="1">
            <a:off x="5834640" y="3273200"/>
            <a:ext cx="527151" cy="61632"/>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FE2E8DA8-0C01-0E5E-D3AC-5317E353CFE3}"/>
              </a:ext>
            </a:extLst>
          </p:cNvPr>
          <p:cNvSpPr/>
          <p:nvPr/>
        </p:nvSpPr>
        <p:spPr>
          <a:xfrm>
            <a:off x="1316182" y="2801374"/>
            <a:ext cx="1715676" cy="95079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Rectangle 14">
            <a:extLst>
              <a:ext uri="{FF2B5EF4-FFF2-40B4-BE49-F238E27FC236}">
                <a16:creationId xmlns:a16="http://schemas.microsoft.com/office/drawing/2014/main" id="{EE750A91-0A72-861C-D5B8-6CA757F9FB58}"/>
              </a:ext>
            </a:extLst>
          </p:cNvPr>
          <p:cNvSpPr/>
          <p:nvPr/>
        </p:nvSpPr>
        <p:spPr>
          <a:xfrm>
            <a:off x="-1840656" y="1901535"/>
            <a:ext cx="2313214" cy="1313296"/>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5. </a:t>
            </a:r>
            <a:r>
              <a:rPr kumimoji="0" lang="fr-FR" sz="900" b="0" i="0" u="none" strike="noStrike" kern="1200" cap="none" spc="0" normalizeH="0" baseline="0" noProof="0">
                <a:ln>
                  <a:noFill/>
                </a:ln>
                <a:solidFill>
                  <a:prstClr val="black"/>
                </a:solidFill>
                <a:effectLst/>
                <a:uLnTx/>
                <a:uFillTx/>
                <a:latin typeface="Pfizer Diatype Office"/>
                <a:ea typeface="+mn-ea"/>
                <a:cs typeface="+mn-cs"/>
              </a:rPr>
              <a:t>Hernandez-Ruiz, Vet. 2022.</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1, sütun 1, son satır, sütun 2'ye kadar, ilk satır</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 sütun 1, para 2, ln1-3</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 sütun 1, paragraf 2, ln6-13</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 sütun 2, para 2, ln2-8</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 sütun 2, paragraf 3, ln1-8</a:t>
            </a: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Pfizer Diatype Office"/>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6. </a:t>
            </a:r>
            <a:r>
              <a:rPr kumimoji="0" lang="fr-FR" sz="900" b="0" i="0" u="none" strike="noStrike" kern="1200" cap="none" spc="0" normalizeH="0" baseline="0" noProof="0" err="1">
                <a:ln>
                  <a:noFill/>
                </a:ln>
                <a:solidFill>
                  <a:prstClr val="black"/>
                </a:solidFill>
                <a:effectLst/>
                <a:uLnTx/>
                <a:uFillTx/>
                <a:latin typeface="Pfizer Diatype Office"/>
                <a:ea typeface="+mn-ea"/>
                <a:cs typeface="+mn-cs"/>
              </a:rPr>
              <a:t>Lian</a:t>
            </a:r>
            <a:r>
              <a:rPr kumimoji="0" lang="fr-FR" sz="900" b="0" i="0" u="none" strike="noStrike" kern="1200" cap="none" spc="0" normalizeH="0" baseline="0" noProof="0">
                <a:ln>
                  <a:noFill/>
                </a:ln>
                <a:solidFill>
                  <a:prstClr val="black"/>
                </a:solidFill>
                <a:effectLst/>
                <a:uLnTx/>
                <a:uFillTx/>
                <a:latin typeface="Pfizer Diatype Office"/>
                <a:ea typeface="+mn-ea"/>
                <a:cs typeface="+mn-cs"/>
              </a:rPr>
              <a:t>, J. ve J. </a:t>
            </a:r>
            <a:r>
              <a:rPr kumimoji="0" lang="fr-FR" sz="900" b="0" i="0" u="none" strike="noStrike" kern="1200" cap="none" spc="0" normalizeH="0" baseline="0" noProof="0" err="1">
                <a:ln>
                  <a:noFill/>
                </a:ln>
                <a:solidFill>
                  <a:prstClr val="black"/>
                </a:solidFill>
                <a:effectLst/>
                <a:uLnTx/>
                <a:uFillTx/>
                <a:latin typeface="Pfizer Diatype Office"/>
                <a:ea typeface="+mn-ea"/>
                <a:cs typeface="+mn-cs"/>
              </a:rPr>
              <a:t>Hematol Oncol</a:t>
            </a:r>
            <a:r>
              <a:rPr kumimoji="0" lang="fr-FR" sz="900" b="0" i="0" u="none" strike="noStrike" kern="1200" cap="none" spc="0" normalizeH="0" baseline="0" noProof="0">
                <a:ln>
                  <a:noFill/>
                </a:ln>
                <a:solidFill>
                  <a:prstClr val="black"/>
                </a:solidFill>
                <a:effectLst/>
                <a:uLnTx/>
                <a:uFillTx/>
                <a:latin typeface="Pfizer Diatype Office"/>
                <a:ea typeface="+mn-ea"/>
                <a:cs typeface="+mn-cs"/>
              </a:rPr>
              <a:t>. 2020'de.</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prstClr val="black"/>
                </a:solidFill>
                <a:effectLst/>
                <a:uLnTx/>
                <a:uFillTx/>
                <a:latin typeface="Pfizer Diatype Office"/>
                <a:ea typeface="+mn-ea"/>
                <a:cs typeface="+mn-cs"/>
              </a:rPr>
              <a:t>Sayfa 1, soyut, n1-3.</a:t>
            </a:r>
          </a:p>
        </p:txBody>
      </p:sp>
      <p:cxnSp>
        <p:nvCxnSpPr>
          <p:cNvPr id="16" name="Straight Connector 15">
            <a:extLst>
              <a:ext uri="{FF2B5EF4-FFF2-40B4-BE49-F238E27FC236}">
                <a16:creationId xmlns:a16="http://schemas.microsoft.com/office/drawing/2014/main" id="{1308183B-EB11-D384-6E00-D707FE9FCD5C}"/>
              </a:ext>
            </a:extLst>
          </p:cNvPr>
          <p:cNvCxnSpPr>
            <a:cxnSpLocks/>
            <a:stCxn id="15" idx="3"/>
            <a:endCxn id="14" idx="1"/>
          </p:cNvCxnSpPr>
          <p:nvPr/>
        </p:nvCxnSpPr>
        <p:spPr>
          <a:xfrm>
            <a:off x="472558" y="2558183"/>
            <a:ext cx="843624" cy="71858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25" name="Rectangle 24">
            <a:extLst>
              <a:ext uri="{FF2B5EF4-FFF2-40B4-BE49-F238E27FC236}">
                <a16:creationId xmlns:a16="http://schemas.microsoft.com/office/drawing/2014/main" id="{18A2406D-47F7-A622-001E-6C580E959E63}"/>
              </a:ext>
            </a:extLst>
          </p:cNvPr>
          <p:cNvSpPr/>
          <p:nvPr/>
        </p:nvSpPr>
        <p:spPr>
          <a:xfrm>
            <a:off x="4517573" y="468749"/>
            <a:ext cx="1654627" cy="550294"/>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highlight>
                  <a:srgbClr val="FFFF00"/>
                </a:highlight>
                <a:uLnTx/>
                <a:uFillTx/>
                <a:latin typeface="Pfizer Diatype Office"/>
                <a:ea typeface="+mn-ea"/>
                <a:cs typeface="+mn-cs"/>
              </a:rPr>
              <a:t>4.</a:t>
            </a:r>
            <a:r>
              <a:rPr kumimoji="0" lang="en-GB" sz="900" b="0" i="0" u="none" strike="noStrike" kern="1200" cap="none" spc="0" normalizeH="0" baseline="0" noProof="0">
                <a:ln>
                  <a:noFill/>
                </a:ln>
                <a:solidFill>
                  <a:prstClr val="black"/>
                </a:solidFill>
                <a:effectLst/>
                <a:uLnTx/>
                <a:uFillTx/>
                <a:latin typeface="Pfizer Diatype Office"/>
                <a:ea typeface="+mn-ea"/>
                <a:cs typeface="+mn-cs"/>
              </a:rPr>
              <a:t> Verilerdeki Dünyamız. Yaş Yapısı. Şubat 2024.</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6.</a:t>
            </a:r>
          </a:p>
        </p:txBody>
      </p:sp>
      <p:cxnSp>
        <p:nvCxnSpPr>
          <p:cNvPr id="26" name="Straight Connector 25">
            <a:extLst>
              <a:ext uri="{FF2B5EF4-FFF2-40B4-BE49-F238E27FC236}">
                <a16:creationId xmlns:a16="http://schemas.microsoft.com/office/drawing/2014/main" id="{8A8474B0-00E7-743B-9BD8-B389FD08707E}"/>
              </a:ext>
            </a:extLst>
          </p:cNvPr>
          <p:cNvCxnSpPr>
            <a:cxnSpLocks/>
            <a:stCxn id="25" idx="2"/>
          </p:cNvCxnSpPr>
          <p:nvPr/>
        </p:nvCxnSpPr>
        <p:spPr>
          <a:xfrm flipH="1">
            <a:off x="4075006" y="1019043"/>
            <a:ext cx="1269881" cy="797194"/>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B3C78C6D-6232-91E2-C4DB-2A8DEB0FCCEF}"/>
              </a:ext>
            </a:extLst>
          </p:cNvPr>
          <p:cNvSpPr/>
          <p:nvPr/>
        </p:nvSpPr>
        <p:spPr>
          <a:xfrm>
            <a:off x="3566554" y="1825168"/>
            <a:ext cx="1016905" cy="89048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5" name="Rectangle 34">
            <a:extLst>
              <a:ext uri="{FF2B5EF4-FFF2-40B4-BE49-F238E27FC236}">
                <a16:creationId xmlns:a16="http://schemas.microsoft.com/office/drawing/2014/main" id="{26A126A4-3E28-2DA0-82DC-A3EF700D9809}"/>
              </a:ext>
            </a:extLst>
          </p:cNvPr>
          <p:cNvSpPr/>
          <p:nvPr/>
        </p:nvSpPr>
        <p:spPr>
          <a:xfrm>
            <a:off x="-1166255" y="3437464"/>
            <a:ext cx="1677881" cy="1460517"/>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highlight>
                  <a:srgbClr val="FFFF00"/>
                </a:highlight>
                <a:uLnTx/>
                <a:uFillTx/>
                <a:latin typeface="Pfizer Diatype Office"/>
                <a:ea typeface="+mn-ea"/>
                <a:cs typeface="+mn-cs"/>
              </a:rPr>
              <a:t>7.</a:t>
            </a:r>
            <a:r>
              <a:rPr kumimoji="0" lang="en-GB" sz="900" b="0" i="0" u="none" strike="noStrike" kern="1200" cap="none" spc="0" normalizeH="0" baseline="0" noProof="0">
                <a:ln>
                  <a:noFill/>
                </a:ln>
                <a:solidFill>
                  <a:prstClr val="black"/>
                </a:solidFill>
                <a:effectLst/>
                <a:uLnTx/>
                <a:uFillTx/>
                <a:latin typeface="Pfizer Diatype Office"/>
                <a:ea typeface="+mn-ea"/>
                <a:cs typeface="+mn-cs"/>
              </a:rPr>
              <a:t> TuY, ve diğ:</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9, sütun 2, paragraf 3; Sayfa 10, sütun 1, paragraf 2</a:t>
            </a: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Pfizer Diatype Office"/>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highlight>
                  <a:srgbClr val="FFFF00"/>
                </a:highlight>
                <a:uLnTx/>
                <a:uFillTx/>
                <a:latin typeface="Pfizer Diatype Office"/>
                <a:ea typeface="+mn-ea"/>
                <a:cs typeface="+mn-cs"/>
              </a:rPr>
              <a:t>8.</a:t>
            </a:r>
            <a:r>
              <a:rPr kumimoji="0" lang="en-GB" sz="900" b="0" i="0" u="none" strike="noStrike" kern="1200" cap="none" spc="0" normalizeH="0" baseline="0" noProof="0">
                <a:ln>
                  <a:noFill/>
                </a:ln>
                <a:solidFill>
                  <a:prstClr val="black"/>
                </a:solidFill>
                <a:effectLst/>
                <a:uLnTx/>
                <a:uFillTx/>
                <a:latin typeface="Pfizer Diatype Office"/>
                <a:ea typeface="+mn-ea"/>
                <a:cs typeface="+mn-cs"/>
              </a:rPr>
              <a:t> CDC. Solunum Enfeksiyonları ve Astım. </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1, madde işareti 1</a:t>
            </a:r>
          </a:p>
        </p:txBody>
      </p:sp>
      <p:sp>
        <p:nvSpPr>
          <p:cNvPr id="46" name="Rectangle 45">
            <a:extLst>
              <a:ext uri="{FF2B5EF4-FFF2-40B4-BE49-F238E27FC236}">
                <a16:creationId xmlns:a16="http://schemas.microsoft.com/office/drawing/2014/main" id="{43CE3E0C-096B-3668-1047-41AB7F3ED415}"/>
              </a:ext>
            </a:extLst>
          </p:cNvPr>
          <p:cNvSpPr/>
          <p:nvPr/>
        </p:nvSpPr>
        <p:spPr>
          <a:xfrm>
            <a:off x="1873776" y="9458"/>
            <a:ext cx="2316163" cy="1122566"/>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highlight>
                  <a:srgbClr val="FFFF00"/>
                </a:highlight>
                <a:uLnTx/>
                <a:uFillTx/>
                <a:latin typeface="Pfizer Diatype Office"/>
                <a:ea typeface="+mn-ea"/>
                <a:cs typeface="+mn-cs"/>
              </a:rPr>
              <a:t>3.</a:t>
            </a:r>
            <a:r>
              <a:rPr kumimoji="0" lang="en-GB" sz="900" b="0" i="0" u="none" strike="noStrike" kern="1200" cap="none" spc="0" normalizeH="0" baseline="0" noProof="0">
                <a:ln>
                  <a:noFill/>
                </a:ln>
                <a:solidFill>
                  <a:prstClr val="black"/>
                </a:solidFill>
                <a:effectLst/>
                <a:uLnTx/>
                <a:uFillTx/>
                <a:latin typeface="Pfizer Diatype Office"/>
                <a:ea typeface="+mn-ea"/>
                <a:cs typeface="+mn-cs"/>
              </a:rPr>
              <a:t> Oliva J., Terrier O. Virüsleri. 2021'de.</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a:ln>
                  <a:noFill/>
                </a:ln>
                <a:solidFill>
                  <a:prstClr val="black"/>
                </a:solidFill>
                <a:effectLst/>
                <a:uLnTx/>
                <a:uFillTx/>
                <a:latin typeface="Pfizer Diatype Office"/>
                <a:ea typeface="+mn-ea"/>
                <a:cs typeface="+mn-cs"/>
              </a:rPr>
              <a:t>Sayfa 2, paragraf 2, ln5-8</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a:ln>
                  <a:noFill/>
                </a:ln>
                <a:solidFill>
                  <a:prstClr val="black"/>
                </a:solidFill>
                <a:effectLst/>
                <a:uLnTx/>
                <a:uFillTx/>
                <a:latin typeface="Pfizer Diatype Office"/>
                <a:ea typeface="+mn-ea"/>
                <a:cs typeface="+mn-cs"/>
              </a:rPr>
              <a:t>Sayfa 2, paragraf 3, n8-11</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a:ln>
                  <a:noFill/>
                </a:ln>
                <a:solidFill>
                  <a:prstClr val="black"/>
                </a:solidFill>
                <a:effectLst/>
                <a:uLnTx/>
                <a:uFillTx/>
                <a:latin typeface="Pfizer Diatype Office"/>
                <a:ea typeface="+mn-ea"/>
                <a:cs typeface="+mn-cs"/>
              </a:rPr>
              <a:t>Sayfa 2, paragraf 1, n9-10</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a:ln>
                  <a:noFill/>
                </a:ln>
                <a:solidFill>
                  <a:prstClr val="black"/>
                </a:solidFill>
                <a:effectLst/>
                <a:uLnTx/>
                <a:uFillTx/>
                <a:latin typeface="Pfizer Diatype Office"/>
                <a:ea typeface="+mn-ea"/>
                <a:cs typeface="+mn-cs"/>
              </a:rPr>
              <a:t>Sayfa 3, paragraf 3, paragraf 4</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a:ln>
                  <a:noFill/>
                </a:ln>
                <a:solidFill>
                  <a:prstClr val="black"/>
                </a:solidFill>
                <a:effectLst/>
                <a:uLnTx/>
                <a:uFillTx/>
                <a:latin typeface="Pfizer Diatype Office"/>
                <a:ea typeface="+mn-ea"/>
                <a:cs typeface="+mn-cs"/>
              </a:rPr>
              <a:t>Sayfa 4, paragraf 2</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a:ln>
                  <a:noFill/>
                </a:ln>
                <a:solidFill>
                  <a:prstClr val="black"/>
                </a:solidFill>
                <a:effectLst/>
                <a:uLnTx/>
                <a:uFillTx/>
                <a:latin typeface="Pfizer Diatype Office"/>
                <a:ea typeface="+mn-ea"/>
                <a:cs typeface="+mn-cs"/>
              </a:rPr>
              <a:t>Sayfa 2, paragraf 2, n10-12</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a:ln>
                  <a:noFill/>
                </a:ln>
                <a:solidFill>
                  <a:prstClr val="black"/>
                </a:solidFill>
                <a:effectLst/>
                <a:uLnTx/>
                <a:uFillTx/>
                <a:latin typeface="Pfizer Diatype Office"/>
                <a:ea typeface="+mn-ea"/>
                <a:cs typeface="+mn-cs"/>
              </a:rPr>
              <a:t>Sayfa 2, paragraf 1, ln4-5</a:t>
            </a:r>
          </a:p>
        </p:txBody>
      </p:sp>
      <p:sp>
        <p:nvSpPr>
          <p:cNvPr id="47" name="Rectangle 46">
            <a:extLst>
              <a:ext uri="{FF2B5EF4-FFF2-40B4-BE49-F238E27FC236}">
                <a16:creationId xmlns:a16="http://schemas.microsoft.com/office/drawing/2014/main" id="{C25AD873-EF05-F196-071A-C7FF5F965533}"/>
              </a:ext>
            </a:extLst>
          </p:cNvPr>
          <p:cNvSpPr/>
          <p:nvPr/>
        </p:nvSpPr>
        <p:spPr>
          <a:xfrm>
            <a:off x="4351503" y="2794229"/>
            <a:ext cx="1483137" cy="95794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48" name="Straight Connector 47">
            <a:extLst>
              <a:ext uri="{FF2B5EF4-FFF2-40B4-BE49-F238E27FC236}">
                <a16:creationId xmlns:a16="http://schemas.microsoft.com/office/drawing/2014/main" id="{6DB5066F-30B0-7321-53BE-3A042C23A45C}"/>
              </a:ext>
            </a:extLst>
          </p:cNvPr>
          <p:cNvCxnSpPr>
            <a:cxnSpLocks/>
            <a:endCxn id="46" idx="2"/>
          </p:cNvCxnSpPr>
          <p:nvPr/>
        </p:nvCxnSpPr>
        <p:spPr>
          <a:xfrm flipV="1">
            <a:off x="2815392" y="1132024"/>
            <a:ext cx="216466" cy="686217"/>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42" name="Rectangle 41">
            <a:extLst>
              <a:ext uri="{FF2B5EF4-FFF2-40B4-BE49-F238E27FC236}">
                <a16:creationId xmlns:a16="http://schemas.microsoft.com/office/drawing/2014/main" id="{AA5A7F13-86F7-5F80-7895-83555F39D616}"/>
              </a:ext>
            </a:extLst>
          </p:cNvPr>
          <p:cNvSpPr/>
          <p:nvPr/>
        </p:nvSpPr>
        <p:spPr>
          <a:xfrm>
            <a:off x="4620491" y="1825569"/>
            <a:ext cx="1285010" cy="89008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6" name="Rectangle 65">
            <a:extLst>
              <a:ext uri="{FF2B5EF4-FFF2-40B4-BE49-F238E27FC236}">
                <a16:creationId xmlns:a16="http://schemas.microsoft.com/office/drawing/2014/main" id="{3936BFDD-DC85-F2B9-6652-7C7602360E6A}"/>
              </a:ext>
            </a:extLst>
          </p:cNvPr>
          <p:cNvSpPr/>
          <p:nvPr/>
        </p:nvSpPr>
        <p:spPr>
          <a:xfrm>
            <a:off x="3067775" y="2801375"/>
            <a:ext cx="1220207" cy="95079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67" name="Straight Connector 66">
            <a:extLst>
              <a:ext uri="{FF2B5EF4-FFF2-40B4-BE49-F238E27FC236}">
                <a16:creationId xmlns:a16="http://schemas.microsoft.com/office/drawing/2014/main" id="{8960FBCA-13AC-1B5C-BD2C-A77923B09CE9}"/>
              </a:ext>
            </a:extLst>
          </p:cNvPr>
          <p:cNvCxnSpPr>
            <a:cxnSpLocks/>
            <a:stCxn id="35" idx="3"/>
            <a:endCxn id="66" idx="2"/>
          </p:cNvCxnSpPr>
          <p:nvPr/>
        </p:nvCxnSpPr>
        <p:spPr>
          <a:xfrm flipV="1">
            <a:off x="511626" y="3752170"/>
            <a:ext cx="3166253" cy="41555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86840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DCFD5D-B70C-4F03-8305-641FDBDA064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B1659504-3A90-CB38-94E8-3480E53600B4}"/>
              </a:ext>
            </a:extLst>
          </p:cNvPr>
          <p:cNvSpPr txBox="1"/>
          <p:nvPr/>
        </p:nvSpPr>
        <p:spPr>
          <a:xfrm>
            <a:off x="276045" y="586596"/>
            <a:ext cx="2777706" cy="215444"/>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Jain 2022/pg1/para 2 (Introduction)/ln 3-6; para 3/ln 1 </a:t>
            </a:r>
          </a:p>
        </p:txBody>
      </p:sp>
      <p:cxnSp>
        <p:nvCxnSpPr>
          <p:cNvPr id="8" name="Straight Arrow Connector 7">
            <a:extLst>
              <a:ext uri="{FF2B5EF4-FFF2-40B4-BE49-F238E27FC236}">
                <a16:creationId xmlns:a16="http://schemas.microsoft.com/office/drawing/2014/main" id="{B58931B1-E814-7A59-080D-A7B9687AF0E1}"/>
              </a:ext>
            </a:extLst>
          </p:cNvPr>
          <p:cNvCxnSpPr>
            <a:cxnSpLocks/>
            <a:endCxn id="9" idx="1"/>
          </p:cNvCxnSpPr>
          <p:nvPr/>
        </p:nvCxnSpPr>
        <p:spPr>
          <a:xfrm>
            <a:off x="526211" y="802040"/>
            <a:ext cx="379563" cy="742088"/>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FE9C103B-AF11-1C79-34A4-FBAB3F759EBE}"/>
              </a:ext>
            </a:extLst>
          </p:cNvPr>
          <p:cNvSpPr/>
          <p:nvPr/>
        </p:nvSpPr>
        <p:spPr>
          <a:xfrm>
            <a:off x="905774" y="1337094"/>
            <a:ext cx="4744528" cy="41406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806E1EF8-5E24-1195-F25C-0A609B37A293}"/>
              </a:ext>
            </a:extLst>
          </p:cNvPr>
          <p:cNvSpPr/>
          <p:nvPr/>
        </p:nvSpPr>
        <p:spPr>
          <a:xfrm>
            <a:off x="3429000" y="2092122"/>
            <a:ext cx="2359325" cy="26720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TextBox 11">
            <a:extLst>
              <a:ext uri="{FF2B5EF4-FFF2-40B4-BE49-F238E27FC236}">
                <a16:creationId xmlns:a16="http://schemas.microsoft.com/office/drawing/2014/main" id="{D7A46C1C-1236-8E06-8FBA-63D0D3C174B3}"/>
              </a:ext>
            </a:extLst>
          </p:cNvPr>
          <p:cNvSpPr txBox="1"/>
          <p:nvPr/>
        </p:nvSpPr>
        <p:spPr>
          <a:xfrm>
            <a:off x="5788325" y="642615"/>
            <a:ext cx="789318" cy="461665"/>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Bergeron 2021/pg1/para 1/ln 1-3</a:t>
            </a:r>
          </a:p>
        </p:txBody>
      </p:sp>
      <p:cxnSp>
        <p:nvCxnSpPr>
          <p:cNvPr id="13" name="Straight Arrow Connector 12">
            <a:extLst>
              <a:ext uri="{FF2B5EF4-FFF2-40B4-BE49-F238E27FC236}">
                <a16:creationId xmlns:a16="http://schemas.microsoft.com/office/drawing/2014/main" id="{61190A86-7F92-EABA-85F7-9DCD78816AA5}"/>
              </a:ext>
            </a:extLst>
          </p:cNvPr>
          <p:cNvCxnSpPr>
            <a:cxnSpLocks/>
          </p:cNvCxnSpPr>
          <p:nvPr/>
        </p:nvCxnSpPr>
        <p:spPr>
          <a:xfrm flipH="1">
            <a:off x="5721469" y="1104280"/>
            <a:ext cx="595223" cy="98784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52E1E02A-D65C-849F-85B7-234D21F22088}"/>
              </a:ext>
            </a:extLst>
          </p:cNvPr>
          <p:cNvSpPr txBox="1"/>
          <p:nvPr/>
        </p:nvSpPr>
        <p:spPr>
          <a:xfrm>
            <a:off x="6261189" y="2099769"/>
            <a:ext cx="595223" cy="584775"/>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Jain 2022/p 2/para 1/ln 2-4</a:t>
            </a:r>
          </a:p>
        </p:txBody>
      </p:sp>
      <p:sp>
        <p:nvSpPr>
          <p:cNvPr id="16" name="Rectangle 15">
            <a:extLst>
              <a:ext uri="{FF2B5EF4-FFF2-40B4-BE49-F238E27FC236}">
                <a16:creationId xmlns:a16="http://schemas.microsoft.com/office/drawing/2014/main" id="{67FF84C8-51E9-CDCC-3439-B8D6516B79FC}"/>
              </a:ext>
            </a:extLst>
          </p:cNvPr>
          <p:cNvSpPr/>
          <p:nvPr/>
        </p:nvSpPr>
        <p:spPr>
          <a:xfrm>
            <a:off x="3429000" y="2392156"/>
            <a:ext cx="2359325" cy="26720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7" name="Straight Arrow Connector 16">
            <a:extLst>
              <a:ext uri="{FF2B5EF4-FFF2-40B4-BE49-F238E27FC236}">
                <a16:creationId xmlns:a16="http://schemas.microsoft.com/office/drawing/2014/main" id="{B4645F56-FD91-80FB-E2F4-A021BF8A2DCC}"/>
              </a:ext>
            </a:extLst>
          </p:cNvPr>
          <p:cNvCxnSpPr>
            <a:cxnSpLocks/>
            <a:endCxn id="16" idx="3"/>
          </p:cNvCxnSpPr>
          <p:nvPr/>
        </p:nvCxnSpPr>
        <p:spPr>
          <a:xfrm flipH="1">
            <a:off x="5788325" y="2320604"/>
            <a:ext cx="471276" cy="20515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9" name="Rectangle 18">
            <a:extLst>
              <a:ext uri="{FF2B5EF4-FFF2-40B4-BE49-F238E27FC236}">
                <a16:creationId xmlns:a16="http://schemas.microsoft.com/office/drawing/2014/main" id="{1CFF694D-3589-0E67-86EF-A8303E3A7AF3}"/>
              </a:ext>
            </a:extLst>
          </p:cNvPr>
          <p:cNvSpPr/>
          <p:nvPr/>
        </p:nvSpPr>
        <p:spPr>
          <a:xfrm>
            <a:off x="844309" y="1773806"/>
            <a:ext cx="2583103" cy="168538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 name="TextBox 19">
            <a:extLst>
              <a:ext uri="{FF2B5EF4-FFF2-40B4-BE49-F238E27FC236}">
                <a16:creationId xmlns:a16="http://schemas.microsoft.com/office/drawing/2014/main" id="{B3D2CADF-3672-DEE4-3C5E-697A9A569A14}"/>
              </a:ext>
            </a:extLst>
          </p:cNvPr>
          <p:cNvSpPr txBox="1"/>
          <p:nvPr/>
        </p:nvSpPr>
        <p:spPr>
          <a:xfrm>
            <a:off x="93811" y="2089771"/>
            <a:ext cx="606006" cy="461665"/>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Jung 2020/pg3/Fig 1</a:t>
            </a:r>
          </a:p>
        </p:txBody>
      </p:sp>
      <p:cxnSp>
        <p:nvCxnSpPr>
          <p:cNvPr id="21" name="Straight Arrow Connector 20">
            <a:extLst>
              <a:ext uri="{FF2B5EF4-FFF2-40B4-BE49-F238E27FC236}">
                <a16:creationId xmlns:a16="http://schemas.microsoft.com/office/drawing/2014/main" id="{1AEFF99B-CE1A-188D-5262-99E3ABF638D2}"/>
              </a:ext>
            </a:extLst>
          </p:cNvPr>
          <p:cNvCxnSpPr>
            <a:cxnSpLocks/>
          </p:cNvCxnSpPr>
          <p:nvPr/>
        </p:nvCxnSpPr>
        <p:spPr>
          <a:xfrm>
            <a:off x="684212" y="2312762"/>
            <a:ext cx="158509" cy="784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3" name="Rectangle 22">
            <a:extLst>
              <a:ext uri="{FF2B5EF4-FFF2-40B4-BE49-F238E27FC236}">
                <a16:creationId xmlns:a16="http://schemas.microsoft.com/office/drawing/2014/main" id="{9BD26C86-CB8B-A027-406A-33AD27D39EBD}"/>
              </a:ext>
            </a:extLst>
          </p:cNvPr>
          <p:cNvSpPr/>
          <p:nvPr/>
        </p:nvSpPr>
        <p:spPr>
          <a:xfrm>
            <a:off x="3516401" y="2684544"/>
            <a:ext cx="2359325" cy="39542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4" name="TextBox 23">
            <a:extLst>
              <a:ext uri="{FF2B5EF4-FFF2-40B4-BE49-F238E27FC236}">
                <a16:creationId xmlns:a16="http://schemas.microsoft.com/office/drawing/2014/main" id="{3C2207DF-C6BF-75F6-1FCB-C4A4D068A717}"/>
              </a:ext>
            </a:extLst>
          </p:cNvPr>
          <p:cNvSpPr txBox="1"/>
          <p:nvPr/>
        </p:nvSpPr>
        <p:spPr>
          <a:xfrm>
            <a:off x="6241062" y="2718354"/>
            <a:ext cx="595223" cy="954107"/>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Jain 2022/p 2/para 1/ln 4-7; Bergeron  2021 p 1/para 1</a:t>
            </a:r>
          </a:p>
        </p:txBody>
      </p:sp>
      <p:cxnSp>
        <p:nvCxnSpPr>
          <p:cNvPr id="25" name="Straight Arrow Connector 24">
            <a:extLst>
              <a:ext uri="{FF2B5EF4-FFF2-40B4-BE49-F238E27FC236}">
                <a16:creationId xmlns:a16="http://schemas.microsoft.com/office/drawing/2014/main" id="{8243050E-1091-33B8-4544-A52B4DB6A684}"/>
              </a:ext>
            </a:extLst>
          </p:cNvPr>
          <p:cNvCxnSpPr>
            <a:cxnSpLocks/>
            <a:endCxn id="23" idx="3"/>
          </p:cNvCxnSpPr>
          <p:nvPr/>
        </p:nvCxnSpPr>
        <p:spPr>
          <a:xfrm flipH="1" flipV="1">
            <a:off x="5875726" y="2882254"/>
            <a:ext cx="363748" cy="569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C3025F48-B657-DE2A-930E-59C830843750}"/>
              </a:ext>
            </a:extLst>
          </p:cNvPr>
          <p:cNvSpPr txBox="1"/>
          <p:nvPr/>
        </p:nvSpPr>
        <p:spPr>
          <a:xfrm>
            <a:off x="6237542" y="3893359"/>
            <a:ext cx="595223" cy="707886"/>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ptos" panose="02110004020202020204"/>
                <a:ea typeface="+mn-ea"/>
                <a:cs typeface="+mn-cs"/>
              </a:rPr>
              <a:t>Bergeron  2021 p 2/para 1/ln 1-2; para 2</a:t>
            </a:r>
          </a:p>
        </p:txBody>
      </p:sp>
      <p:cxnSp>
        <p:nvCxnSpPr>
          <p:cNvPr id="28" name="Straight Arrow Connector 27">
            <a:extLst>
              <a:ext uri="{FF2B5EF4-FFF2-40B4-BE49-F238E27FC236}">
                <a16:creationId xmlns:a16="http://schemas.microsoft.com/office/drawing/2014/main" id="{BF592318-ED09-6A2E-9855-664FA46D5E2B}"/>
              </a:ext>
            </a:extLst>
          </p:cNvPr>
          <p:cNvCxnSpPr>
            <a:cxnSpLocks/>
          </p:cNvCxnSpPr>
          <p:nvPr/>
        </p:nvCxnSpPr>
        <p:spPr>
          <a:xfrm flipH="1" flipV="1">
            <a:off x="5785014" y="3764177"/>
            <a:ext cx="450940" cy="35001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628651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5A3D8C-E7B9-49B7-A4FA-D220353EA038}" type="slidenum">
              <a:rPr lang="en-US" smtClean="0"/>
              <a:pPr/>
              <a:t>14</a:t>
            </a:fld>
            <a:endParaRPr lang="en-US"/>
          </a:p>
        </p:txBody>
      </p:sp>
    </p:spTree>
    <p:extLst>
      <p:ext uri="{BB962C8B-B14F-4D97-AF65-F5344CB8AC3E}">
        <p14:creationId xmlns:p14="http://schemas.microsoft.com/office/powerpoint/2010/main" val="36823404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Blue">
    <p:bg>
      <p:bgPr>
        <a:solidFill>
          <a:srgbClr val="0000CA"/>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D884F4-659B-441F-45EE-F923C221E500}"/>
              </a:ext>
            </a:extLst>
          </p:cNvPr>
          <p:cNvPicPr>
            <a:picLocks noChangeAspect="1"/>
          </p:cNvPicPr>
          <p:nvPr userDrawn="1"/>
        </p:nvPicPr>
        <p:blipFill>
          <a:blip r:embed="rId2"/>
          <a:stretch>
            <a:fillRect/>
          </a:stretch>
        </p:blipFill>
        <p:spPr>
          <a:xfrm>
            <a:off x="619206" y="5750031"/>
            <a:ext cx="1443897" cy="589314"/>
          </a:xfrm>
          <a:prstGeom prst="rect">
            <a:avLst/>
          </a:prstGeom>
        </p:spPr>
      </p:pic>
      <p:sp>
        <p:nvSpPr>
          <p:cNvPr id="6" name="Title 6">
            <a:extLst>
              <a:ext uri="{FF2B5EF4-FFF2-40B4-BE49-F238E27FC236}">
                <a16:creationId xmlns:a16="http://schemas.microsoft.com/office/drawing/2014/main" id="{4B97BE01-F0D5-3584-357C-76DC10137DB3}"/>
              </a:ext>
            </a:extLst>
          </p:cNvPr>
          <p:cNvSpPr>
            <a:spLocks noGrp="1"/>
          </p:cNvSpPr>
          <p:nvPr>
            <p:ph type="title" hasCustomPrompt="1"/>
          </p:nvPr>
        </p:nvSpPr>
        <p:spPr>
          <a:xfrm>
            <a:off x="535798" y="648878"/>
            <a:ext cx="9186800" cy="2436565"/>
          </a:xfrm>
          <a:prstGeom prst="rect">
            <a:avLst/>
          </a:prstGeom>
        </p:spPr>
        <p:txBody>
          <a:bodyPr/>
          <a:lstStyle>
            <a:lvl1pPr>
              <a:lnSpc>
                <a:spcPct val="80000"/>
              </a:lnSpc>
              <a:defRPr lang="en-US" sz="7200" b="1" kern="1200" spc="-25" dirty="0">
                <a:solidFill>
                  <a:schemeClr val="bg1"/>
                </a:solidFill>
                <a:latin typeface="Pfizer Tomorrow" panose="02010503040201060303" pitchFamily="2" charset="77"/>
                <a:ea typeface="+mj-ea"/>
                <a:cs typeface="+mj-cs"/>
              </a:defRPr>
            </a:lvl1pPr>
          </a:lstStyle>
          <a:p>
            <a:r>
              <a:rPr lang="en-US"/>
              <a:t>Presentation Title</a:t>
            </a:r>
          </a:p>
        </p:txBody>
      </p:sp>
      <p:sp>
        <p:nvSpPr>
          <p:cNvPr id="8" name="Text Placeholder 10">
            <a:extLst>
              <a:ext uri="{FF2B5EF4-FFF2-40B4-BE49-F238E27FC236}">
                <a16:creationId xmlns:a16="http://schemas.microsoft.com/office/drawing/2014/main" id="{3688C328-0B4B-58D0-9900-6682D7CF32F3}"/>
              </a:ext>
            </a:extLst>
          </p:cNvPr>
          <p:cNvSpPr>
            <a:spLocks noGrp="1"/>
          </p:cNvSpPr>
          <p:nvPr>
            <p:ph type="body" sz="quarter" idx="12" hasCustomPrompt="1"/>
          </p:nvPr>
        </p:nvSpPr>
        <p:spPr>
          <a:xfrm>
            <a:off x="558097" y="3226917"/>
            <a:ext cx="4871840" cy="1349296"/>
          </a:xfrm>
          <a:prstGeom prst="rect">
            <a:avLst/>
          </a:prstGeom>
        </p:spPr>
        <p:txBody>
          <a:bodyPr/>
          <a:lstStyle>
            <a:lvl1pPr marL="0" indent="0">
              <a:buNone/>
              <a:defRPr lang="en-US" sz="2800" b="0" i="0" kern="1200" spc="-50" dirty="0" smtClean="0">
                <a:solidFill>
                  <a:schemeClr val="bg1"/>
                </a:solidFill>
                <a:latin typeface="Pfizer Tomorrow" panose="02010503040201060303" pitchFamily="50" charset="0"/>
                <a:ea typeface="+mn-ea"/>
                <a:cs typeface="+mn-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Subhead Here</a:t>
            </a:r>
          </a:p>
        </p:txBody>
      </p:sp>
      <p:sp>
        <p:nvSpPr>
          <p:cNvPr id="9" name="Text Placeholder 10">
            <a:extLst>
              <a:ext uri="{FF2B5EF4-FFF2-40B4-BE49-F238E27FC236}">
                <a16:creationId xmlns:a16="http://schemas.microsoft.com/office/drawing/2014/main" id="{9431BDA7-408E-5430-44C0-841A25EDBB9D}"/>
              </a:ext>
            </a:extLst>
          </p:cNvPr>
          <p:cNvSpPr>
            <a:spLocks noGrp="1"/>
          </p:cNvSpPr>
          <p:nvPr>
            <p:ph type="body" sz="quarter" idx="13" hasCustomPrompt="1"/>
          </p:nvPr>
        </p:nvSpPr>
        <p:spPr>
          <a:xfrm>
            <a:off x="6705157" y="5926783"/>
            <a:ext cx="4871840" cy="422078"/>
          </a:xfrm>
          <a:prstGeom prst="rect">
            <a:avLst/>
          </a:prstGeom>
        </p:spPr>
        <p:txBody>
          <a:bodyPr rIns="0"/>
          <a:lstStyle>
            <a:lvl1pPr marL="0" indent="0" algn="r">
              <a:buNone/>
              <a:defRPr lang="en-US" sz="2000" b="0" i="0" kern="1200" spc="-50" dirty="0" smtClean="0">
                <a:solidFill>
                  <a:schemeClr val="bg1"/>
                </a:solidFill>
                <a:latin typeface="Pfizer Tomorrow" panose="02010503040201060303" pitchFamily="50" charset="0"/>
                <a:ea typeface="+mn-ea"/>
                <a:cs typeface="+mn-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Date Here</a:t>
            </a:r>
          </a:p>
        </p:txBody>
      </p:sp>
    </p:spTree>
    <p:extLst>
      <p:ext uri="{BB962C8B-B14F-4D97-AF65-F5344CB8AC3E}">
        <p14:creationId xmlns:p14="http://schemas.microsoft.com/office/powerpoint/2010/main" val="13877713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g Type Moment White">
    <p:spTree>
      <p:nvGrpSpPr>
        <p:cNvPr id="1" name=""/>
        <p:cNvGrpSpPr/>
        <p:nvPr/>
      </p:nvGrpSpPr>
      <p:grpSpPr>
        <a:xfrm>
          <a:off x="0" y="0"/>
          <a:ext cx="0" cy="0"/>
          <a:chOff x="0" y="0"/>
          <a:chExt cx="0" cy="0"/>
        </a:xfrm>
      </p:grpSpPr>
      <p:sp>
        <p:nvSpPr>
          <p:cNvPr id="9" name="Title 6">
            <a:extLst>
              <a:ext uri="{FF2B5EF4-FFF2-40B4-BE49-F238E27FC236}">
                <a16:creationId xmlns:a16="http://schemas.microsoft.com/office/drawing/2014/main" id="{489E405B-0B26-17CF-37C3-F54FFF4BE8A4}"/>
              </a:ext>
            </a:extLst>
          </p:cNvPr>
          <p:cNvSpPr>
            <a:spLocks noGrp="1"/>
          </p:cNvSpPr>
          <p:nvPr>
            <p:ph type="title" hasCustomPrompt="1"/>
          </p:nvPr>
        </p:nvSpPr>
        <p:spPr>
          <a:xfrm>
            <a:off x="491200" y="615426"/>
            <a:ext cx="9186800" cy="3811609"/>
          </a:xfrm>
          <a:prstGeom prst="rect">
            <a:avLst/>
          </a:prstGeom>
        </p:spPr>
        <p:txBody>
          <a:bodyPr/>
          <a:lstStyle>
            <a:lvl1pPr>
              <a:lnSpc>
                <a:spcPct val="80000"/>
              </a:lnSpc>
              <a:defRPr lang="en-US" sz="9648" b="1" kern="1200" spc="-25" dirty="0">
                <a:solidFill>
                  <a:schemeClr val="accent1"/>
                </a:solidFill>
                <a:latin typeface="Pfizer Tomorrow" panose="02010503040201060303" pitchFamily="2" charset="77"/>
                <a:ea typeface="+mj-ea"/>
                <a:cs typeface="+mj-cs"/>
              </a:defRPr>
            </a:lvl1pPr>
          </a:lstStyle>
          <a:p>
            <a:r>
              <a:rPr lang="en-US"/>
              <a:t>“Quote Here”</a:t>
            </a:r>
          </a:p>
        </p:txBody>
      </p:sp>
      <p:sp>
        <p:nvSpPr>
          <p:cNvPr id="2" name="Slide Number Placeholder 9">
            <a:extLst>
              <a:ext uri="{FF2B5EF4-FFF2-40B4-BE49-F238E27FC236}">
                <a16:creationId xmlns:a16="http://schemas.microsoft.com/office/drawing/2014/main" id="{8E985200-51DA-8A44-613B-F59B875B6FFE}"/>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11592258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Medium Type Moment Blue">
    <p:bg>
      <p:bgPr>
        <a:solidFill>
          <a:srgbClr val="0000CA"/>
        </a:solidFill>
        <a:effectLst/>
      </p:bgPr>
    </p:bg>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9A454539-8AC2-AF11-7CA2-9F733567B3CC}"/>
              </a:ext>
            </a:extLst>
          </p:cNvPr>
          <p:cNvSpPr>
            <a:spLocks noGrp="1"/>
          </p:cNvSpPr>
          <p:nvPr>
            <p:ph type="title" hasCustomPrompt="1"/>
          </p:nvPr>
        </p:nvSpPr>
        <p:spPr>
          <a:xfrm>
            <a:off x="535798" y="648879"/>
            <a:ext cx="9186800" cy="3811609"/>
          </a:xfrm>
          <a:prstGeom prst="rect">
            <a:avLst/>
          </a:prstGeom>
        </p:spPr>
        <p:txBody>
          <a:bodyPr/>
          <a:lstStyle>
            <a:lvl1pPr>
              <a:lnSpc>
                <a:spcPct val="80000"/>
              </a:lnSpc>
              <a:defRPr lang="en-US" sz="4799" b="1" kern="1200" spc="-25" dirty="0">
                <a:solidFill>
                  <a:schemeClr val="bg1"/>
                </a:solidFill>
                <a:latin typeface="Pfizer Tomorrow" panose="02010503040201060303" pitchFamily="2" charset="77"/>
                <a:ea typeface="+mj-ea"/>
                <a:cs typeface="+mj-cs"/>
              </a:defRPr>
            </a:lvl1pPr>
          </a:lstStyle>
          <a:p>
            <a:r>
              <a:rPr lang="en-US"/>
              <a:t>Body copy here</a:t>
            </a:r>
          </a:p>
        </p:txBody>
      </p:sp>
      <p:pic>
        <p:nvPicPr>
          <p:cNvPr id="5" name="Picture 4">
            <a:extLst>
              <a:ext uri="{FF2B5EF4-FFF2-40B4-BE49-F238E27FC236}">
                <a16:creationId xmlns:a16="http://schemas.microsoft.com/office/drawing/2014/main" id="{5B0C7902-1586-CD80-002A-1B5FD1BEB09B}"/>
              </a:ext>
            </a:extLst>
          </p:cNvPr>
          <p:cNvPicPr>
            <a:picLocks noChangeAspect="1"/>
          </p:cNvPicPr>
          <p:nvPr userDrawn="1"/>
        </p:nvPicPr>
        <p:blipFill>
          <a:blip r:embed="rId2"/>
          <a:stretch>
            <a:fillRect/>
          </a:stretch>
        </p:blipFill>
        <p:spPr>
          <a:xfrm>
            <a:off x="612281" y="6416125"/>
            <a:ext cx="728130" cy="297141"/>
          </a:xfrm>
          <a:prstGeom prst="rect">
            <a:avLst/>
          </a:prstGeom>
        </p:spPr>
      </p:pic>
      <p:sp>
        <p:nvSpPr>
          <p:cNvPr id="13" name="Slide Number Placeholder 9">
            <a:extLst>
              <a:ext uri="{FF2B5EF4-FFF2-40B4-BE49-F238E27FC236}">
                <a16:creationId xmlns:a16="http://schemas.microsoft.com/office/drawing/2014/main" id="{F8554D4F-C8C1-A55E-351A-DB7F90FDD00E}"/>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bg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10245732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edium Type Moment White">
    <p:spTree>
      <p:nvGrpSpPr>
        <p:cNvPr id="1" name=""/>
        <p:cNvGrpSpPr/>
        <p:nvPr/>
      </p:nvGrpSpPr>
      <p:grpSpPr>
        <a:xfrm>
          <a:off x="0" y="0"/>
          <a:ext cx="0" cy="0"/>
          <a:chOff x="0" y="0"/>
          <a:chExt cx="0" cy="0"/>
        </a:xfrm>
      </p:grpSpPr>
      <p:sp>
        <p:nvSpPr>
          <p:cNvPr id="9" name="Title 6">
            <a:extLst>
              <a:ext uri="{FF2B5EF4-FFF2-40B4-BE49-F238E27FC236}">
                <a16:creationId xmlns:a16="http://schemas.microsoft.com/office/drawing/2014/main" id="{489E405B-0B26-17CF-37C3-F54FFF4BE8A4}"/>
              </a:ext>
            </a:extLst>
          </p:cNvPr>
          <p:cNvSpPr>
            <a:spLocks noGrp="1"/>
          </p:cNvSpPr>
          <p:nvPr>
            <p:ph type="title" hasCustomPrompt="1"/>
          </p:nvPr>
        </p:nvSpPr>
        <p:spPr>
          <a:xfrm>
            <a:off x="535798" y="648879"/>
            <a:ext cx="9186800" cy="3811609"/>
          </a:xfrm>
          <a:prstGeom prst="rect">
            <a:avLst/>
          </a:prstGeom>
        </p:spPr>
        <p:txBody>
          <a:bodyPr/>
          <a:lstStyle>
            <a:lvl1pPr>
              <a:lnSpc>
                <a:spcPct val="80000"/>
              </a:lnSpc>
              <a:defRPr lang="en-US" sz="4799" b="1" kern="1200" spc="-25" dirty="0">
                <a:solidFill>
                  <a:schemeClr val="accent1"/>
                </a:solidFill>
                <a:latin typeface="Pfizer Tomorrow" panose="02010503040201060303" pitchFamily="2" charset="77"/>
                <a:ea typeface="+mj-ea"/>
                <a:cs typeface="+mj-cs"/>
              </a:defRPr>
            </a:lvl1pPr>
          </a:lstStyle>
          <a:p>
            <a:r>
              <a:rPr lang="en-US"/>
              <a:t>Body copy here</a:t>
            </a:r>
          </a:p>
        </p:txBody>
      </p:sp>
      <p:sp>
        <p:nvSpPr>
          <p:cNvPr id="2" name="Slide Number Placeholder 9">
            <a:extLst>
              <a:ext uri="{FF2B5EF4-FFF2-40B4-BE49-F238E27FC236}">
                <a16:creationId xmlns:a16="http://schemas.microsoft.com/office/drawing/2014/main" id="{940564BF-4736-C8E4-A20D-CE9EEB94DE7B}"/>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33607535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aragraph 1 Column">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AD7E2B1-793C-339F-DC80-26B6E30CEE6C}"/>
              </a:ext>
            </a:extLst>
          </p:cNvPr>
          <p:cNvSpPr>
            <a:spLocks noGrp="1"/>
          </p:cNvSpPr>
          <p:nvPr>
            <p:ph type="body" sz="quarter" idx="12" hasCustomPrompt="1"/>
          </p:nvPr>
        </p:nvSpPr>
        <p:spPr>
          <a:xfrm>
            <a:off x="3935694" y="635357"/>
            <a:ext cx="7646706" cy="4612504"/>
          </a:xfrm>
          <a:prstGeom prst="rect">
            <a:avLst/>
          </a:prstGeom>
        </p:spPr>
        <p:txBody>
          <a:bodyPr/>
          <a:lstStyle>
            <a:lvl1pPr marL="0" indent="0">
              <a:buNone/>
              <a:defRPr lang="en-US" sz="1800" b="0" i="0" kern="1200" spc="-50" dirty="0" smtClean="0">
                <a:solidFill>
                  <a:srgbClr val="02005E"/>
                </a:solidFill>
                <a:latin typeface="Pfizer Tomorrow" panose="02010503040201060303" pitchFamily="50" charset="0"/>
                <a:ea typeface="+mn-ea"/>
                <a:cs typeface="+mn-cs"/>
              </a:defRPr>
            </a:lvl1pPr>
            <a:lvl2pPr>
              <a:defRPr lang="en-US" sz="1800" b="0" i="0" kern="1200" spc="-50" dirty="0" smtClean="0">
                <a:solidFill>
                  <a:srgbClr val="02005E"/>
                </a:solidFill>
                <a:latin typeface="Pfizer Tomorrow" panose="02010503040201060303" pitchFamily="50" charset="0"/>
                <a:ea typeface="+mn-ea"/>
                <a:cs typeface="+mn-cs"/>
              </a:defRPr>
            </a:lvl2pPr>
            <a:lvl3pPr>
              <a:defRPr lang="en-US" sz="1800" b="0" i="0" kern="1200" spc="-50" dirty="0" smtClean="0">
                <a:solidFill>
                  <a:srgbClr val="02005E"/>
                </a:solidFill>
                <a:latin typeface="Pfizer Tomorrow" panose="02010503040201060303" pitchFamily="50" charset="0"/>
                <a:ea typeface="+mn-ea"/>
                <a:cs typeface="+mn-cs"/>
              </a:defRPr>
            </a:lvl3pPr>
            <a:lvl4pPr>
              <a:defRPr lang="en-US" sz="1800" b="0" i="0" kern="1200" spc="-50" dirty="0" smtClean="0">
                <a:solidFill>
                  <a:srgbClr val="02005E"/>
                </a:solidFill>
                <a:latin typeface="Pfizer Tomorrow" panose="02010503040201060303" pitchFamily="50" charset="0"/>
                <a:ea typeface="+mn-ea"/>
                <a:cs typeface="+mn-cs"/>
              </a:defRPr>
            </a:lvl4pPr>
            <a:lvl5pPr>
              <a:defRPr lang="en-US" sz="1800" b="0" i="0" kern="1200" spc="-50" dirty="0">
                <a:solidFill>
                  <a:srgbClr val="02005E"/>
                </a:solidFill>
                <a:latin typeface="Pfizer Tomorrow" panose="02010503040201060303" pitchFamily="50" charset="0"/>
                <a:ea typeface="+mn-ea"/>
                <a:cs typeface="+mn-cs"/>
              </a:defRPr>
            </a:lvl5pPr>
          </a:lstStyle>
          <a:p>
            <a:pPr lvl="0"/>
            <a:r>
              <a:rPr lang="en-US"/>
              <a:t>Body copy here</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9">
            <a:extLst>
              <a:ext uri="{FF2B5EF4-FFF2-40B4-BE49-F238E27FC236}">
                <a16:creationId xmlns:a16="http://schemas.microsoft.com/office/drawing/2014/main" id="{AD279B2C-2318-A99F-A5E8-8AF8F8CC5E0D}"/>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
        <p:nvSpPr>
          <p:cNvPr id="6" name="Text Placeholder 13">
            <a:extLst>
              <a:ext uri="{FF2B5EF4-FFF2-40B4-BE49-F238E27FC236}">
                <a16:creationId xmlns:a16="http://schemas.microsoft.com/office/drawing/2014/main" id="{6D540E61-30C3-56FF-B068-D6D33D73989E}"/>
              </a:ext>
            </a:extLst>
          </p:cNvPr>
          <p:cNvSpPr>
            <a:spLocks noGrp="1"/>
          </p:cNvSpPr>
          <p:nvPr>
            <p:ph type="body" sz="quarter" idx="13" hasCustomPrompt="1"/>
          </p:nvPr>
        </p:nvSpPr>
        <p:spPr>
          <a:xfrm>
            <a:off x="613175" y="1063182"/>
            <a:ext cx="3154745" cy="457200"/>
          </a:xfrm>
          <a:prstGeom prst="rect">
            <a:avLst/>
          </a:prstGeom>
        </p:spPr>
        <p:txBody>
          <a:bodyPr lIns="0" tIns="0" rIns="0" bIns="0"/>
          <a:lstStyle>
            <a:lvl1pPr marL="0" indent="0">
              <a:buNone/>
              <a:defRPr lang="en-US" sz="1800" b="0" i="0" kern="1200" spc="-25" dirty="0" smtClean="0">
                <a:solidFill>
                  <a:srgbClr val="0000CA"/>
                </a:solidFill>
                <a:latin typeface="Pfizer Tomorrow" panose="02010503040201060303" pitchFamily="50" charset="0"/>
                <a:ea typeface="+mn-ea"/>
                <a:cs typeface="+mn-cs"/>
              </a:defRPr>
            </a:lvl1pPr>
            <a:lvl2pPr>
              <a:defRPr lang="en-US" sz="1800" b="0" kern="1200" spc="-25" dirty="0" smtClean="0">
                <a:solidFill>
                  <a:srgbClr val="0000CA"/>
                </a:solidFill>
                <a:latin typeface="Pfizer Diatype" panose="020B0504040202060203" pitchFamily="34" charset="77"/>
                <a:ea typeface="+mn-ea"/>
                <a:cs typeface="+mn-cs"/>
              </a:defRPr>
            </a:lvl2pPr>
            <a:lvl3pPr>
              <a:defRPr lang="en-US" sz="1800" b="0" kern="1200" spc="-25" dirty="0" smtClean="0">
                <a:solidFill>
                  <a:srgbClr val="0000CA"/>
                </a:solidFill>
                <a:latin typeface="Pfizer Diatype" panose="020B0504040202060203" pitchFamily="34" charset="77"/>
                <a:ea typeface="+mn-ea"/>
                <a:cs typeface="+mn-cs"/>
              </a:defRPr>
            </a:lvl3pPr>
            <a:lvl4pPr>
              <a:defRPr lang="en-US" sz="1800" b="0" kern="1200" spc="-25" dirty="0" smtClean="0">
                <a:solidFill>
                  <a:srgbClr val="0000CA"/>
                </a:solidFill>
                <a:latin typeface="Pfizer Diatype" panose="020B0504040202060203" pitchFamily="34" charset="77"/>
                <a:ea typeface="+mn-ea"/>
                <a:cs typeface="+mn-cs"/>
              </a:defRPr>
            </a:lvl4pPr>
            <a:lvl5pPr>
              <a:defRPr lang="en-US" sz="1800" b="0" kern="1200" spc="-25" dirty="0">
                <a:solidFill>
                  <a:srgbClr val="0000CA"/>
                </a:solidFill>
                <a:latin typeface="Pfizer Diatype" panose="020B0504040202060203" pitchFamily="34" charset="77"/>
                <a:ea typeface="+mn-ea"/>
                <a:cs typeface="+mn-cs"/>
              </a:defRPr>
            </a:lvl5pPr>
          </a:lstStyle>
          <a:p>
            <a:pPr lvl="0"/>
            <a:r>
              <a:rPr lang="en-US"/>
              <a:t>Subhead Here</a:t>
            </a:r>
          </a:p>
        </p:txBody>
      </p:sp>
      <p:sp>
        <p:nvSpPr>
          <p:cNvPr id="7" name="Title 6">
            <a:extLst>
              <a:ext uri="{FF2B5EF4-FFF2-40B4-BE49-F238E27FC236}">
                <a16:creationId xmlns:a16="http://schemas.microsoft.com/office/drawing/2014/main" id="{2AD10CC7-B18B-7D0C-1DF5-A468CB324989}"/>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1" kern="1200" spc="-25" dirty="0">
                <a:solidFill>
                  <a:schemeClr val="accent1"/>
                </a:solidFill>
                <a:latin typeface="Pfizer Tomorrow" panose="02010503040201060303" pitchFamily="2" charset="77"/>
                <a:ea typeface="+mj-ea"/>
                <a:cs typeface="+mj-cs"/>
              </a:defRPr>
            </a:lvl1pPr>
          </a:lstStyle>
          <a:p>
            <a:r>
              <a:rPr lang="en-US"/>
              <a:t>Headline Here</a:t>
            </a:r>
          </a:p>
        </p:txBody>
      </p:sp>
    </p:spTree>
    <p:extLst>
      <p:ext uri="{BB962C8B-B14F-4D97-AF65-F5344CB8AC3E}">
        <p14:creationId xmlns:p14="http://schemas.microsoft.com/office/powerpoint/2010/main" val="8814477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aragraph 2 Column">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AD7E2B1-793C-339F-DC80-26B6E30CEE6C}"/>
              </a:ext>
            </a:extLst>
          </p:cNvPr>
          <p:cNvSpPr>
            <a:spLocks noGrp="1"/>
          </p:cNvSpPr>
          <p:nvPr>
            <p:ph type="body" sz="quarter" idx="12" hasCustomPrompt="1"/>
          </p:nvPr>
        </p:nvSpPr>
        <p:spPr>
          <a:xfrm>
            <a:off x="3935694" y="638335"/>
            <a:ext cx="7645992" cy="4622778"/>
          </a:xfrm>
          <a:prstGeom prst="rect">
            <a:avLst/>
          </a:prstGeom>
        </p:spPr>
        <p:txBody>
          <a:bodyPr numCol="2" spcCol="914400"/>
          <a:lstStyle>
            <a:lvl1pPr marL="0" indent="0">
              <a:buNone/>
              <a:defRPr lang="en-US" sz="1800" b="0" i="0" kern="1200" spc="-50" dirty="0" smtClean="0">
                <a:solidFill>
                  <a:srgbClr val="02005E"/>
                </a:solidFill>
                <a:latin typeface="Pfizer Tomorrow" panose="02010503040201060303" pitchFamily="50" charset="0"/>
                <a:ea typeface="+mn-ea"/>
                <a:cs typeface="+mn-cs"/>
              </a:defRPr>
            </a:lvl1pPr>
            <a:lvl2pPr>
              <a:defRPr lang="en-US" sz="1800" b="0" i="0" kern="1200" spc="-50" dirty="0" smtClean="0">
                <a:solidFill>
                  <a:srgbClr val="02005E"/>
                </a:solidFill>
                <a:latin typeface="Pfizer Tomorrow" panose="02010503040201060303" pitchFamily="50" charset="0"/>
                <a:ea typeface="+mn-ea"/>
                <a:cs typeface="+mn-cs"/>
              </a:defRPr>
            </a:lvl2pPr>
            <a:lvl3pPr>
              <a:defRPr lang="en-US" sz="1800" b="0" i="0" kern="1200" spc="-50" dirty="0" smtClean="0">
                <a:solidFill>
                  <a:srgbClr val="02005E"/>
                </a:solidFill>
                <a:latin typeface="Pfizer Tomorrow" panose="02010503040201060303" pitchFamily="50" charset="0"/>
                <a:ea typeface="+mn-ea"/>
                <a:cs typeface="+mn-cs"/>
              </a:defRPr>
            </a:lvl3pPr>
            <a:lvl4pPr>
              <a:defRPr lang="en-US" sz="1800" b="0" i="0" kern="1200" spc="-50" dirty="0" smtClean="0">
                <a:solidFill>
                  <a:srgbClr val="02005E"/>
                </a:solidFill>
                <a:latin typeface="Pfizer Tomorrow" panose="02010503040201060303" pitchFamily="50" charset="0"/>
                <a:ea typeface="+mn-ea"/>
                <a:cs typeface="+mn-cs"/>
              </a:defRPr>
            </a:lvl4pPr>
            <a:lvl5pPr>
              <a:defRPr lang="en-US" sz="1800" b="0" i="0" kern="1200" spc="-50" dirty="0">
                <a:solidFill>
                  <a:srgbClr val="02005E"/>
                </a:solidFill>
                <a:latin typeface="Pfizer Tomorrow" panose="02010503040201060303" pitchFamily="50" charset="0"/>
                <a:ea typeface="+mn-ea"/>
                <a:cs typeface="+mn-cs"/>
              </a:defRPr>
            </a:lvl5pPr>
          </a:lstStyle>
          <a:p>
            <a:pPr lvl="0"/>
            <a:r>
              <a:rPr lang="en-US"/>
              <a:t>Body copy here</a:t>
            </a:r>
          </a:p>
          <a:p>
            <a:pPr lvl="1"/>
            <a:r>
              <a:rPr lang="en-US"/>
              <a:t>Second level</a:t>
            </a:r>
          </a:p>
          <a:p>
            <a:pPr lvl="2"/>
            <a:r>
              <a:rPr lang="en-US"/>
              <a:t>Third level</a:t>
            </a:r>
          </a:p>
          <a:p>
            <a:pPr lvl="3"/>
            <a:r>
              <a:rPr lang="en-US"/>
              <a:t>Fourth level</a:t>
            </a:r>
          </a:p>
          <a:p>
            <a:pPr lvl="4"/>
            <a:r>
              <a:rPr lang="en-US"/>
              <a:t>Fifth level</a:t>
            </a:r>
          </a:p>
        </p:txBody>
      </p:sp>
      <p:sp>
        <p:nvSpPr>
          <p:cNvPr id="2" name="Text Placeholder 13">
            <a:extLst>
              <a:ext uri="{FF2B5EF4-FFF2-40B4-BE49-F238E27FC236}">
                <a16:creationId xmlns:a16="http://schemas.microsoft.com/office/drawing/2014/main" id="{F28B838B-6DD8-E3C9-2452-3FCA0494CD8C}"/>
              </a:ext>
            </a:extLst>
          </p:cNvPr>
          <p:cNvSpPr>
            <a:spLocks noGrp="1"/>
          </p:cNvSpPr>
          <p:nvPr>
            <p:ph type="body" sz="quarter" idx="13" hasCustomPrompt="1"/>
          </p:nvPr>
        </p:nvSpPr>
        <p:spPr>
          <a:xfrm>
            <a:off x="613175" y="1063182"/>
            <a:ext cx="3154745" cy="457200"/>
          </a:xfrm>
          <a:prstGeom prst="rect">
            <a:avLst/>
          </a:prstGeom>
        </p:spPr>
        <p:txBody>
          <a:bodyPr lIns="0" tIns="0" rIns="0" bIns="0"/>
          <a:lstStyle>
            <a:lvl1pPr marL="0" indent="0">
              <a:buNone/>
              <a:defRPr lang="en-US" sz="1800" b="0" i="0" kern="1200" spc="-25" dirty="0" smtClean="0">
                <a:solidFill>
                  <a:srgbClr val="0000CA"/>
                </a:solidFill>
                <a:latin typeface="Pfizer Tomorrow" panose="02010503040201060303" pitchFamily="50" charset="0"/>
                <a:ea typeface="+mn-ea"/>
                <a:cs typeface="+mn-cs"/>
              </a:defRPr>
            </a:lvl1pPr>
            <a:lvl2pPr>
              <a:defRPr lang="en-US" sz="1800" b="0" kern="1200" spc="-25" dirty="0" smtClean="0">
                <a:solidFill>
                  <a:srgbClr val="0000CA"/>
                </a:solidFill>
                <a:latin typeface="Pfizer Diatype" panose="020B0504040202060203" pitchFamily="34" charset="77"/>
                <a:ea typeface="+mn-ea"/>
                <a:cs typeface="+mn-cs"/>
              </a:defRPr>
            </a:lvl2pPr>
            <a:lvl3pPr>
              <a:defRPr lang="en-US" sz="1800" b="0" kern="1200" spc="-25" dirty="0" smtClean="0">
                <a:solidFill>
                  <a:srgbClr val="0000CA"/>
                </a:solidFill>
                <a:latin typeface="Pfizer Diatype" panose="020B0504040202060203" pitchFamily="34" charset="77"/>
                <a:ea typeface="+mn-ea"/>
                <a:cs typeface="+mn-cs"/>
              </a:defRPr>
            </a:lvl3pPr>
            <a:lvl4pPr>
              <a:defRPr lang="en-US" sz="1800" b="0" kern="1200" spc="-25" dirty="0" smtClean="0">
                <a:solidFill>
                  <a:srgbClr val="0000CA"/>
                </a:solidFill>
                <a:latin typeface="Pfizer Diatype" panose="020B0504040202060203" pitchFamily="34" charset="77"/>
                <a:ea typeface="+mn-ea"/>
                <a:cs typeface="+mn-cs"/>
              </a:defRPr>
            </a:lvl4pPr>
            <a:lvl5pPr>
              <a:defRPr lang="en-US" sz="1800" b="0" kern="1200" spc="-25" dirty="0">
                <a:solidFill>
                  <a:srgbClr val="0000CA"/>
                </a:solidFill>
                <a:latin typeface="Pfizer Diatype" panose="020B0504040202060203" pitchFamily="34" charset="77"/>
                <a:ea typeface="+mn-ea"/>
                <a:cs typeface="+mn-cs"/>
              </a:defRPr>
            </a:lvl5pPr>
          </a:lstStyle>
          <a:p>
            <a:pPr lvl="0"/>
            <a:r>
              <a:rPr lang="en-US"/>
              <a:t>Subhead Here</a:t>
            </a:r>
          </a:p>
        </p:txBody>
      </p:sp>
      <p:sp>
        <p:nvSpPr>
          <p:cNvPr id="4" name="Title 6">
            <a:extLst>
              <a:ext uri="{FF2B5EF4-FFF2-40B4-BE49-F238E27FC236}">
                <a16:creationId xmlns:a16="http://schemas.microsoft.com/office/drawing/2014/main" id="{B61E5C7A-7A05-2496-C58A-DCD9B6EE64C0}"/>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5" name="Slide Number Placeholder 9">
            <a:extLst>
              <a:ext uri="{FF2B5EF4-FFF2-40B4-BE49-F238E27FC236}">
                <a16:creationId xmlns:a16="http://schemas.microsoft.com/office/drawing/2014/main" id="{9183D3A8-535F-7709-FB22-9EEEA8DF7E53}"/>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19906504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aragraph 3 Column">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69315370-2F4C-0B25-10FC-425ECB5156F4}"/>
              </a:ext>
            </a:extLst>
          </p:cNvPr>
          <p:cNvSpPr>
            <a:spLocks noGrp="1"/>
          </p:cNvSpPr>
          <p:nvPr>
            <p:ph type="body" sz="quarter" idx="12" hasCustomPrompt="1"/>
          </p:nvPr>
        </p:nvSpPr>
        <p:spPr>
          <a:xfrm>
            <a:off x="3935694" y="638335"/>
            <a:ext cx="7645992" cy="4622778"/>
          </a:xfrm>
          <a:prstGeom prst="rect">
            <a:avLst/>
          </a:prstGeom>
        </p:spPr>
        <p:txBody>
          <a:bodyPr numCol="3" spcCol="914400"/>
          <a:lstStyle>
            <a:lvl1pPr marL="0" indent="0">
              <a:buNone/>
              <a:defRPr lang="en-US" sz="1600" b="0" i="0" kern="1200" spc="-50" dirty="0" smtClean="0">
                <a:solidFill>
                  <a:srgbClr val="02005E"/>
                </a:solidFill>
                <a:latin typeface="Pfizer Tomorrow" panose="02010503040201060303" pitchFamily="50" charset="0"/>
                <a:ea typeface="+mn-ea"/>
                <a:cs typeface="+mn-cs"/>
              </a:defRPr>
            </a:lvl1pPr>
            <a:lvl2pPr>
              <a:defRPr lang="en-US" sz="1600" b="0" i="0" kern="1200" spc="-50" dirty="0" smtClean="0">
                <a:solidFill>
                  <a:srgbClr val="02005E"/>
                </a:solidFill>
                <a:latin typeface="Pfizer Tomorrow" panose="02010503040201060303" pitchFamily="50" charset="0"/>
                <a:ea typeface="+mn-ea"/>
                <a:cs typeface="+mn-cs"/>
              </a:defRPr>
            </a:lvl2pPr>
            <a:lvl3pPr>
              <a:defRPr lang="en-US" sz="1600" b="0" i="0" kern="1200" spc="-50" dirty="0" smtClean="0">
                <a:solidFill>
                  <a:srgbClr val="02005E"/>
                </a:solidFill>
                <a:latin typeface="Pfizer Tomorrow" panose="02010503040201060303" pitchFamily="50" charset="0"/>
                <a:ea typeface="+mn-ea"/>
                <a:cs typeface="+mn-cs"/>
              </a:defRPr>
            </a:lvl3pPr>
            <a:lvl4pPr>
              <a:defRPr lang="en-US" sz="1600" b="0" i="0" kern="1200" spc="-50" dirty="0" smtClean="0">
                <a:solidFill>
                  <a:srgbClr val="02005E"/>
                </a:solidFill>
                <a:latin typeface="Pfizer Tomorrow" panose="02010503040201060303" pitchFamily="50" charset="0"/>
                <a:ea typeface="+mn-ea"/>
                <a:cs typeface="+mn-cs"/>
              </a:defRPr>
            </a:lvl4pPr>
            <a:lvl5pPr>
              <a:defRPr lang="en-US" sz="1600" b="0" i="0" kern="1200" spc="-50" dirty="0">
                <a:solidFill>
                  <a:srgbClr val="02005E"/>
                </a:solidFill>
                <a:latin typeface="Pfizer Tomorrow" panose="02010503040201060303" pitchFamily="50" charset="0"/>
                <a:ea typeface="+mn-ea"/>
                <a:cs typeface="+mn-cs"/>
              </a:defRPr>
            </a:lvl5pPr>
          </a:lstStyle>
          <a:p>
            <a:pPr lvl="0"/>
            <a:r>
              <a:rPr lang="en-US"/>
              <a:t>Body copy here</a:t>
            </a:r>
          </a:p>
          <a:p>
            <a:pPr lvl="1"/>
            <a:r>
              <a:rPr lang="en-US"/>
              <a:t>Second level</a:t>
            </a:r>
          </a:p>
          <a:p>
            <a:pPr lvl="2"/>
            <a:r>
              <a:rPr lang="en-US"/>
              <a:t>Third level</a:t>
            </a:r>
          </a:p>
          <a:p>
            <a:pPr lvl="3"/>
            <a:r>
              <a:rPr lang="en-US"/>
              <a:t>Fourth level</a:t>
            </a:r>
          </a:p>
          <a:p>
            <a:pPr lvl="4"/>
            <a:r>
              <a:rPr lang="en-US"/>
              <a:t>Fifth level</a:t>
            </a:r>
          </a:p>
        </p:txBody>
      </p:sp>
      <p:sp>
        <p:nvSpPr>
          <p:cNvPr id="5" name="Text Placeholder 13">
            <a:extLst>
              <a:ext uri="{FF2B5EF4-FFF2-40B4-BE49-F238E27FC236}">
                <a16:creationId xmlns:a16="http://schemas.microsoft.com/office/drawing/2014/main" id="{9EBD02BC-B75D-C573-A40B-01833A8D77AC}"/>
              </a:ext>
            </a:extLst>
          </p:cNvPr>
          <p:cNvSpPr>
            <a:spLocks noGrp="1"/>
          </p:cNvSpPr>
          <p:nvPr>
            <p:ph type="body" sz="quarter" idx="13" hasCustomPrompt="1"/>
          </p:nvPr>
        </p:nvSpPr>
        <p:spPr>
          <a:xfrm>
            <a:off x="613175" y="1063182"/>
            <a:ext cx="3154745" cy="457200"/>
          </a:xfrm>
          <a:prstGeom prst="rect">
            <a:avLst/>
          </a:prstGeom>
        </p:spPr>
        <p:txBody>
          <a:bodyPr lIns="0" tIns="0" rIns="0" bIns="0"/>
          <a:lstStyle>
            <a:lvl1pPr marL="0" indent="0">
              <a:buNone/>
              <a:defRPr lang="en-US" sz="1800" b="0" i="0" kern="1200" spc="-25" dirty="0" smtClean="0">
                <a:solidFill>
                  <a:srgbClr val="0000CA"/>
                </a:solidFill>
                <a:latin typeface="Pfizer Tomorrow" panose="02010503040201060303" pitchFamily="50" charset="0"/>
                <a:ea typeface="+mn-ea"/>
                <a:cs typeface="+mn-cs"/>
              </a:defRPr>
            </a:lvl1pPr>
            <a:lvl2pPr>
              <a:defRPr lang="en-US" sz="1800" b="0" kern="1200" spc="-25" dirty="0" smtClean="0">
                <a:solidFill>
                  <a:srgbClr val="0000CA"/>
                </a:solidFill>
                <a:latin typeface="Pfizer Diatype" panose="020B0504040202060203" pitchFamily="34" charset="77"/>
                <a:ea typeface="+mn-ea"/>
                <a:cs typeface="+mn-cs"/>
              </a:defRPr>
            </a:lvl2pPr>
            <a:lvl3pPr>
              <a:defRPr lang="en-US" sz="1800" b="0" kern="1200" spc="-25" dirty="0" smtClean="0">
                <a:solidFill>
                  <a:srgbClr val="0000CA"/>
                </a:solidFill>
                <a:latin typeface="Pfizer Diatype" panose="020B0504040202060203" pitchFamily="34" charset="77"/>
                <a:ea typeface="+mn-ea"/>
                <a:cs typeface="+mn-cs"/>
              </a:defRPr>
            </a:lvl3pPr>
            <a:lvl4pPr>
              <a:defRPr lang="en-US" sz="1800" b="0" kern="1200" spc="-25" dirty="0" smtClean="0">
                <a:solidFill>
                  <a:srgbClr val="0000CA"/>
                </a:solidFill>
                <a:latin typeface="Pfizer Diatype" panose="020B0504040202060203" pitchFamily="34" charset="77"/>
                <a:ea typeface="+mn-ea"/>
                <a:cs typeface="+mn-cs"/>
              </a:defRPr>
            </a:lvl4pPr>
            <a:lvl5pPr>
              <a:defRPr lang="en-US" sz="1800" b="0" kern="1200" spc="-25" dirty="0">
                <a:solidFill>
                  <a:srgbClr val="0000CA"/>
                </a:solidFill>
                <a:latin typeface="Pfizer Diatype" panose="020B0504040202060203" pitchFamily="34" charset="77"/>
                <a:ea typeface="+mn-ea"/>
                <a:cs typeface="+mn-cs"/>
              </a:defRPr>
            </a:lvl5pPr>
          </a:lstStyle>
          <a:p>
            <a:pPr lvl="0"/>
            <a:r>
              <a:rPr lang="en-US"/>
              <a:t>Subhead Here</a:t>
            </a:r>
          </a:p>
        </p:txBody>
      </p:sp>
      <p:sp>
        <p:nvSpPr>
          <p:cNvPr id="6" name="Title 6">
            <a:extLst>
              <a:ext uri="{FF2B5EF4-FFF2-40B4-BE49-F238E27FC236}">
                <a16:creationId xmlns:a16="http://schemas.microsoft.com/office/drawing/2014/main" id="{637FFC79-3AFE-A8D3-EC82-8392A143C501}"/>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7" name="Slide Number Placeholder 9">
            <a:extLst>
              <a:ext uri="{FF2B5EF4-FFF2-40B4-BE49-F238E27FC236}">
                <a16:creationId xmlns:a16="http://schemas.microsoft.com/office/drawing/2014/main" id="{303E3580-E400-6DD8-0415-6940A937C637}"/>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25182857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AD7E2B1-793C-339F-DC80-26B6E30CEE6C}"/>
              </a:ext>
            </a:extLst>
          </p:cNvPr>
          <p:cNvSpPr>
            <a:spLocks noGrp="1"/>
          </p:cNvSpPr>
          <p:nvPr>
            <p:ph type="body" sz="quarter" idx="12" hasCustomPrompt="1"/>
          </p:nvPr>
        </p:nvSpPr>
        <p:spPr>
          <a:xfrm>
            <a:off x="3935694" y="648609"/>
            <a:ext cx="7645992" cy="4612504"/>
          </a:xfrm>
          <a:prstGeom prst="rect">
            <a:avLst/>
          </a:prstGeom>
        </p:spPr>
        <p:txBody>
          <a:bodyPr numCol="1" spcCol="914400"/>
          <a:lstStyle>
            <a:lvl1pPr marL="285679" indent="-285679">
              <a:buFont typeface="Arial" panose="020B0604020202020204" pitchFamily="34" charset="0"/>
              <a:buChar char="•"/>
              <a:defRPr lang="en-US" sz="1800" b="0" i="0" kern="1200" spc="-50" dirty="0" smtClean="0">
                <a:solidFill>
                  <a:srgbClr val="02005E"/>
                </a:solidFill>
                <a:latin typeface="Pfizer Tomorrow" panose="02010503040201060303" pitchFamily="50" charset="0"/>
                <a:ea typeface="+mn-ea"/>
                <a:cs typeface="+mn-cs"/>
              </a:defRPr>
            </a:lvl1pPr>
            <a:lvl2pPr>
              <a:defRPr lang="en-US" sz="1800" b="0" i="0" kern="1200" spc="-50" dirty="0" smtClean="0">
                <a:solidFill>
                  <a:srgbClr val="02005E"/>
                </a:solidFill>
                <a:latin typeface="Pfizer Tomorrow" panose="02010503040201060303" pitchFamily="50" charset="0"/>
                <a:ea typeface="+mn-ea"/>
                <a:cs typeface="+mn-cs"/>
              </a:defRPr>
            </a:lvl2pPr>
            <a:lvl3pPr>
              <a:defRPr lang="en-US" sz="1800" b="0" i="0" kern="1200" spc="-50" dirty="0" smtClean="0">
                <a:solidFill>
                  <a:srgbClr val="02005E"/>
                </a:solidFill>
                <a:latin typeface="Pfizer Tomorrow" panose="02010503040201060303" pitchFamily="50" charset="0"/>
                <a:ea typeface="+mn-ea"/>
                <a:cs typeface="+mn-cs"/>
              </a:defRPr>
            </a:lvl3pPr>
            <a:lvl4pPr>
              <a:defRPr lang="en-US" sz="1800" b="0" i="0" kern="1200" spc="-50" dirty="0" smtClean="0">
                <a:solidFill>
                  <a:srgbClr val="02005E"/>
                </a:solidFill>
                <a:latin typeface="Pfizer Tomorrow" panose="02010503040201060303" pitchFamily="50" charset="0"/>
                <a:ea typeface="+mn-ea"/>
                <a:cs typeface="+mn-cs"/>
              </a:defRPr>
            </a:lvl4pPr>
            <a:lvl5pPr>
              <a:defRPr lang="en-US" sz="1800" b="0" i="0" kern="1200" spc="-50" dirty="0">
                <a:solidFill>
                  <a:srgbClr val="02005E"/>
                </a:solidFill>
                <a:latin typeface="Pfizer Tomorrow" panose="02010503040201060303" pitchFamily="50" charset="0"/>
                <a:ea typeface="+mn-ea"/>
                <a:cs typeface="+mn-cs"/>
              </a:defRPr>
            </a:lvl5pPr>
          </a:lstStyle>
          <a:p>
            <a:pPr lvl="0"/>
            <a:r>
              <a:rPr lang="en-US"/>
              <a:t>Body copy here</a:t>
            </a:r>
          </a:p>
          <a:p>
            <a:pPr lvl="1"/>
            <a:r>
              <a:rPr lang="en-US"/>
              <a:t>Second level</a:t>
            </a:r>
          </a:p>
          <a:p>
            <a:pPr lvl="2"/>
            <a:r>
              <a:rPr lang="en-US"/>
              <a:t>Third level</a:t>
            </a:r>
          </a:p>
          <a:p>
            <a:pPr lvl="3"/>
            <a:r>
              <a:rPr lang="en-US"/>
              <a:t>Fourth level</a:t>
            </a:r>
          </a:p>
          <a:p>
            <a:pPr lvl="4"/>
            <a:r>
              <a:rPr lang="en-US"/>
              <a:t>Fifth level</a:t>
            </a:r>
          </a:p>
        </p:txBody>
      </p:sp>
      <p:sp>
        <p:nvSpPr>
          <p:cNvPr id="5" name="Text Placeholder 13">
            <a:extLst>
              <a:ext uri="{FF2B5EF4-FFF2-40B4-BE49-F238E27FC236}">
                <a16:creationId xmlns:a16="http://schemas.microsoft.com/office/drawing/2014/main" id="{7DC160FF-08F1-8833-851D-3D39A5A9A8E4}"/>
              </a:ext>
            </a:extLst>
          </p:cNvPr>
          <p:cNvSpPr>
            <a:spLocks noGrp="1"/>
          </p:cNvSpPr>
          <p:nvPr>
            <p:ph type="body" sz="quarter" idx="13" hasCustomPrompt="1"/>
          </p:nvPr>
        </p:nvSpPr>
        <p:spPr>
          <a:xfrm>
            <a:off x="613175" y="1063182"/>
            <a:ext cx="3154745" cy="457200"/>
          </a:xfrm>
          <a:prstGeom prst="rect">
            <a:avLst/>
          </a:prstGeom>
        </p:spPr>
        <p:txBody>
          <a:bodyPr lIns="0" tIns="0" rIns="0" bIns="0"/>
          <a:lstStyle>
            <a:lvl1pPr marL="0" indent="0">
              <a:buNone/>
              <a:defRPr lang="en-US" sz="1800" b="0" i="0" kern="1200" spc="-25" dirty="0" smtClean="0">
                <a:solidFill>
                  <a:srgbClr val="0000CA"/>
                </a:solidFill>
                <a:latin typeface="Pfizer Tomorrow" panose="02010503040201060303" pitchFamily="50" charset="0"/>
                <a:ea typeface="+mn-ea"/>
                <a:cs typeface="+mn-cs"/>
              </a:defRPr>
            </a:lvl1pPr>
            <a:lvl2pPr>
              <a:defRPr lang="en-US" sz="1800" b="0" kern="1200" spc="-25" dirty="0" smtClean="0">
                <a:solidFill>
                  <a:srgbClr val="0000CA"/>
                </a:solidFill>
                <a:latin typeface="Pfizer Diatype" panose="020B0504040202060203" pitchFamily="34" charset="77"/>
                <a:ea typeface="+mn-ea"/>
                <a:cs typeface="+mn-cs"/>
              </a:defRPr>
            </a:lvl2pPr>
            <a:lvl3pPr>
              <a:defRPr lang="en-US" sz="1800" b="0" kern="1200" spc="-25" dirty="0" smtClean="0">
                <a:solidFill>
                  <a:srgbClr val="0000CA"/>
                </a:solidFill>
                <a:latin typeface="Pfizer Diatype" panose="020B0504040202060203" pitchFamily="34" charset="77"/>
                <a:ea typeface="+mn-ea"/>
                <a:cs typeface="+mn-cs"/>
              </a:defRPr>
            </a:lvl3pPr>
            <a:lvl4pPr>
              <a:defRPr lang="en-US" sz="1800" b="0" kern="1200" spc="-25" dirty="0" smtClean="0">
                <a:solidFill>
                  <a:srgbClr val="0000CA"/>
                </a:solidFill>
                <a:latin typeface="Pfizer Diatype" panose="020B0504040202060203" pitchFamily="34" charset="77"/>
                <a:ea typeface="+mn-ea"/>
                <a:cs typeface="+mn-cs"/>
              </a:defRPr>
            </a:lvl4pPr>
            <a:lvl5pPr>
              <a:defRPr lang="en-US" sz="1800" b="0" kern="1200" spc="-25" dirty="0">
                <a:solidFill>
                  <a:srgbClr val="0000CA"/>
                </a:solidFill>
                <a:latin typeface="Pfizer Diatype" panose="020B0504040202060203" pitchFamily="34" charset="77"/>
                <a:ea typeface="+mn-ea"/>
                <a:cs typeface="+mn-cs"/>
              </a:defRPr>
            </a:lvl5pPr>
          </a:lstStyle>
          <a:p>
            <a:pPr lvl="0"/>
            <a:r>
              <a:rPr lang="en-US"/>
              <a:t>Subhead Here</a:t>
            </a:r>
          </a:p>
        </p:txBody>
      </p:sp>
      <p:sp>
        <p:nvSpPr>
          <p:cNvPr id="6" name="Title 6">
            <a:extLst>
              <a:ext uri="{FF2B5EF4-FFF2-40B4-BE49-F238E27FC236}">
                <a16:creationId xmlns:a16="http://schemas.microsoft.com/office/drawing/2014/main" id="{5451C8AF-8557-553A-11CE-E9D12C93CCA1}"/>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7" name="Slide Number Placeholder 9">
            <a:extLst>
              <a:ext uri="{FF2B5EF4-FFF2-40B4-BE49-F238E27FC236}">
                <a16:creationId xmlns:a16="http://schemas.microsoft.com/office/drawing/2014/main" id="{93383E91-25CB-9E9E-21C0-10D11AD8FDC1}"/>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27798761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line with Text">
    <p:spTree>
      <p:nvGrpSpPr>
        <p:cNvPr id="1" name=""/>
        <p:cNvGrpSpPr/>
        <p:nvPr/>
      </p:nvGrpSpPr>
      <p:grpSpPr>
        <a:xfrm>
          <a:off x="0" y="0"/>
          <a:ext cx="0" cy="0"/>
          <a:chOff x="0" y="0"/>
          <a:chExt cx="0" cy="0"/>
        </a:xfrm>
      </p:grpSpPr>
      <p:sp>
        <p:nvSpPr>
          <p:cNvPr id="9" name="Title 6">
            <a:extLst>
              <a:ext uri="{FF2B5EF4-FFF2-40B4-BE49-F238E27FC236}">
                <a16:creationId xmlns:a16="http://schemas.microsoft.com/office/drawing/2014/main" id="{489E405B-0B26-17CF-37C3-F54FFF4BE8A4}"/>
              </a:ext>
            </a:extLst>
          </p:cNvPr>
          <p:cNvSpPr>
            <a:spLocks noGrp="1"/>
          </p:cNvSpPr>
          <p:nvPr>
            <p:ph type="title" hasCustomPrompt="1"/>
          </p:nvPr>
        </p:nvSpPr>
        <p:spPr>
          <a:xfrm>
            <a:off x="614489" y="622770"/>
            <a:ext cx="3154776" cy="405454"/>
          </a:xfrm>
          <a:prstGeom prst="rect">
            <a:avLst/>
          </a:prstGeom>
        </p:spPr>
        <p:txBody>
          <a:bodyPr lIns="0" tIns="0" rIns="0" bIns="0"/>
          <a:lstStyle>
            <a:lvl1pPr>
              <a:defRPr lang="en-US" sz="29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11" name="Text Placeholder 10">
            <a:extLst>
              <a:ext uri="{FF2B5EF4-FFF2-40B4-BE49-F238E27FC236}">
                <a16:creationId xmlns:a16="http://schemas.microsoft.com/office/drawing/2014/main" id="{7AD7E2B1-793C-339F-DC80-26B6E30CEE6C}"/>
              </a:ext>
            </a:extLst>
          </p:cNvPr>
          <p:cNvSpPr>
            <a:spLocks noGrp="1"/>
          </p:cNvSpPr>
          <p:nvPr>
            <p:ph type="body" sz="quarter" idx="12" hasCustomPrompt="1"/>
          </p:nvPr>
        </p:nvSpPr>
        <p:spPr>
          <a:xfrm>
            <a:off x="612850" y="1344759"/>
            <a:ext cx="3427224" cy="4480719"/>
          </a:xfrm>
          <a:prstGeom prst="rect">
            <a:avLst/>
          </a:prstGeom>
        </p:spPr>
        <p:txBody>
          <a:bodyPr lIns="0" tIns="0" rIns="0" bIns="0"/>
          <a:lstStyle>
            <a:lvl1pPr marL="0" indent="0">
              <a:buNone/>
              <a:defRPr lang="en-US" sz="1600" b="0" i="0" kern="1200" spc="-50" dirty="0" smtClean="0">
                <a:solidFill>
                  <a:srgbClr val="02005E"/>
                </a:solidFill>
                <a:latin typeface="Pfizer Tomorrow" panose="02010503040201060303" pitchFamily="50" charset="0"/>
                <a:ea typeface="+mn-ea"/>
                <a:cs typeface="+mn-cs"/>
              </a:defRPr>
            </a:lvl1pPr>
            <a:lvl2pPr>
              <a:defRPr lang="en-US" sz="1600" b="0" i="0" kern="1200" spc="-50" dirty="0" smtClean="0">
                <a:solidFill>
                  <a:srgbClr val="02005E"/>
                </a:solidFill>
                <a:latin typeface="Pfizer Tomorrow" panose="02010503040201060303" pitchFamily="50" charset="0"/>
                <a:ea typeface="+mn-ea"/>
                <a:cs typeface="+mn-cs"/>
              </a:defRPr>
            </a:lvl2pPr>
            <a:lvl3pPr>
              <a:defRPr lang="en-US" sz="1600" b="0" i="0" kern="1200" spc="-50" dirty="0" smtClean="0">
                <a:solidFill>
                  <a:srgbClr val="02005E"/>
                </a:solidFill>
                <a:latin typeface="Pfizer Tomorrow" panose="02010503040201060303" pitchFamily="50" charset="0"/>
                <a:ea typeface="+mn-ea"/>
                <a:cs typeface="+mn-cs"/>
              </a:defRPr>
            </a:lvl3pPr>
            <a:lvl4pPr>
              <a:defRPr lang="en-US" sz="1600" b="0" i="0" kern="1200" spc="-50" dirty="0" smtClean="0">
                <a:solidFill>
                  <a:srgbClr val="02005E"/>
                </a:solidFill>
                <a:latin typeface="Pfizer Tomorrow" panose="02010503040201060303" pitchFamily="50" charset="0"/>
                <a:ea typeface="+mn-ea"/>
                <a:cs typeface="+mn-cs"/>
              </a:defRPr>
            </a:lvl4pPr>
            <a:lvl5pPr>
              <a:defRPr lang="en-US" sz="1600" b="0" i="0" kern="1200" spc="-50" dirty="0">
                <a:solidFill>
                  <a:srgbClr val="02005E"/>
                </a:solidFill>
                <a:latin typeface="Pfizer Tomorrow" panose="02010503040201060303" pitchFamily="50" charset="0"/>
                <a:ea typeface="+mn-ea"/>
                <a:cs typeface="+mn-cs"/>
              </a:defRPr>
            </a:lvl5pPr>
          </a:lstStyle>
          <a:p>
            <a:pPr lvl="0"/>
            <a:r>
              <a:rPr lang="en-US"/>
              <a:t>Body copy here</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9">
            <a:extLst>
              <a:ext uri="{FF2B5EF4-FFF2-40B4-BE49-F238E27FC236}">
                <a16:creationId xmlns:a16="http://schemas.microsoft.com/office/drawing/2014/main" id="{75126652-EED8-B3AC-89F2-9AF80818509D}"/>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38515339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White">
    <p:spTree>
      <p:nvGrpSpPr>
        <p:cNvPr id="1" name=""/>
        <p:cNvGrpSpPr/>
        <p:nvPr/>
      </p:nvGrpSpPr>
      <p:grpSpPr>
        <a:xfrm>
          <a:off x="0" y="0"/>
          <a:ext cx="0" cy="0"/>
          <a:chOff x="0" y="0"/>
          <a:chExt cx="0" cy="0"/>
        </a:xfrm>
      </p:grpSpPr>
      <p:sp>
        <p:nvSpPr>
          <p:cNvPr id="5" name="Slide Number Placeholder 9">
            <a:extLst>
              <a:ext uri="{FF2B5EF4-FFF2-40B4-BE49-F238E27FC236}">
                <a16:creationId xmlns:a16="http://schemas.microsoft.com/office/drawing/2014/main" id="{AD279B2C-2318-A99F-A5E8-8AF8F8CC5E0D}"/>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cxnSp>
        <p:nvCxnSpPr>
          <p:cNvPr id="3" name="Straight Connector 2">
            <a:extLst>
              <a:ext uri="{FF2B5EF4-FFF2-40B4-BE49-F238E27FC236}">
                <a16:creationId xmlns:a16="http://schemas.microsoft.com/office/drawing/2014/main" id="{C8C7E3CE-1F9F-9AA3-26C9-23F80F7AF717}"/>
              </a:ext>
            </a:extLst>
          </p:cNvPr>
          <p:cNvCxnSpPr>
            <a:cxnSpLocks/>
          </p:cNvCxnSpPr>
          <p:nvPr userDrawn="1"/>
        </p:nvCxnSpPr>
        <p:spPr>
          <a:xfrm>
            <a:off x="6096000" y="1607834"/>
            <a:ext cx="548685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A731C635-B926-7969-3A5A-6FE73426FDA1}"/>
              </a:ext>
            </a:extLst>
          </p:cNvPr>
          <p:cNvCxnSpPr>
            <a:cxnSpLocks/>
          </p:cNvCxnSpPr>
          <p:nvPr userDrawn="1"/>
        </p:nvCxnSpPr>
        <p:spPr>
          <a:xfrm>
            <a:off x="6096000" y="2522330"/>
            <a:ext cx="548685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4BB27204-BADD-8BA2-8D91-1344B8BC32FB}"/>
              </a:ext>
            </a:extLst>
          </p:cNvPr>
          <p:cNvCxnSpPr>
            <a:cxnSpLocks/>
          </p:cNvCxnSpPr>
          <p:nvPr userDrawn="1"/>
        </p:nvCxnSpPr>
        <p:spPr>
          <a:xfrm>
            <a:off x="6096000" y="3436825"/>
            <a:ext cx="548685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27463039-9A11-F5D9-1811-01E9FE3F86A7}"/>
              </a:ext>
            </a:extLst>
          </p:cNvPr>
          <p:cNvCxnSpPr>
            <a:cxnSpLocks/>
          </p:cNvCxnSpPr>
          <p:nvPr userDrawn="1"/>
        </p:nvCxnSpPr>
        <p:spPr>
          <a:xfrm>
            <a:off x="6096000" y="4340684"/>
            <a:ext cx="548685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10" name="Text Placeholder 10">
            <a:extLst>
              <a:ext uri="{FF2B5EF4-FFF2-40B4-BE49-F238E27FC236}">
                <a16:creationId xmlns:a16="http://schemas.microsoft.com/office/drawing/2014/main" id="{51D833DF-0E98-8436-A9BD-6B4F5F80ADE9}"/>
              </a:ext>
            </a:extLst>
          </p:cNvPr>
          <p:cNvSpPr>
            <a:spLocks noGrp="1"/>
          </p:cNvSpPr>
          <p:nvPr>
            <p:ph type="body" sz="quarter" idx="24" hasCustomPrompt="1"/>
          </p:nvPr>
        </p:nvSpPr>
        <p:spPr>
          <a:xfrm>
            <a:off x="6096000" y="975155"/>
            <a:ext cx="5486370" cy="341632"/>
          </a:xfrm>
          <a:prstGeom prst="rect">
            <a:avLst/>
          </a:prstGeom>
        </p:spPr>
        <p:txBody>
          <a:bodyPr wrap="square" lIns="0" tIns="0" rIns="0" bIns="0" anchor="ctr" anchorCtr="0">
            <a:spAutoFit/>
          </a:bodyPr>
          <a:lstStyle>
            <a:lvl1pPr marL="0" indent="0" algn="l">
              <a:buNone/>
              <a:defRPr lang="en-US" sz="2400" b="1" i="0" kern="1200" spc="0" dirty="0" smtClean="0">
                <a:solidFill>
                  <a:schemeClr val="accent1"/>
                </a:solidFill>
                <a:latin typeface="Pfizer Tomorrow" panose="02010503040201060303" pitchFamily="50" charset="0"/>
                <a:ea typeface="+mn-ea"/>
                <a:cs typeface="+mn-cs"/>
              </a:defRPr>
            </a:lvl1pPr>
            <a:lvl2pPr>
              <a:defRPr lang="en-US" sz="1100" b="0" i="0" kern="1200" spc="-50" dirty="0" smtClean="0">
                <a:solidFill>
                  <a:schemeClr val="bg1"/>
                </a:solidFill>
                <a:latin typeface="Pfizer Diatype Office" panose="020B0504040202060203" pitchFamily="34" charset="77"/>
                <a:ea typeface="+mn-ea"/>
                <a:cs typeface="+mn-cs"/>
              </a:defRPr>
            </a:lvl2pPr>
            <a:lvl3pPr>
              <a:defRPr lang="en-US" sz="1100" b="0" i="0" kern="1200" spc="-50" dirty="0" smtClean="0">
                <a:solidFill>
                  <a:schemeClr val="bg1"/>
                </a:solidFill>
                <a:latin typeface="Pfizer Diatype Office" panose="020B0504040202060203" pitchFamily="34" charset="77"/>
                <a:ea typeface="+mn-ea"/>
                <a:cs typeface="+mn-cs"/>
              </a:defRPr>
            </a:lvl3pPr>
            <a:lvl4pPr>
              <a:defRPr lang="en-US" sz="1100" b="0" i="0" kern="1200" spc="-50" dirty="0" smtClean="0">
                <a:solidFill>
                  <a:schemeClr val="bg1"/>
                </a:solidFill>
                <a:latin typeface="Pfizer Diatype Office" panose="020B0504040202060203" pitchFamily="34" charset="77"/>
                <a:ea typeface="+mn-ea"/>
                <a:cs typeface="+mn-cs"/>
              </a:defRPr>
            </a:lvl4pPr>
            <a:lvl5pPr>
              <a:defRPr lang="en-US" sz="1100" b="0" i="0" kern="1200" spc="-50" dirty="0">
                <a:solidFill>
                  <a:schemeClr val="bg1"/>
                </a:solidFill>
                <a:latin typeface="Pfizer Diatype Office" panose="020B0504040202060203" pitchFamily="34" charset="77"/>
                <a:ea typeface="+mn-ea"/>
                <a:cs typeface="+mn-cs"/>
              </a:defRPr>
            </a:lvl5pPr>
          </a:lstStyle>
          <a:p>
            <a:pPr lvl="0"/>
            <a:r>
              <a:rPr lang="en-US"/>
              <a:t>Agenda Item #1</a:t>
            </a:r>
          </a:p>
        </p:txBody>
      </p:sp>
      <p:sp>
        <p:nvSpPr>
          <p:cNvPr id="12" name="Text Placeholder 10">
            <a:extLst>
              <a:ext uri="{FF2B5EF4-FFF2-40B4-BE49-F238E27FC236}">
                <a16:creationId xmlns:a16="http://schemas.microsoft.com/office/drawing/2014/main" id="{259A8495-9AD2-E03C-F182-E2415F0FA3A1}"/>
              </a:ext>
            </a:extLst>
          </p:cNvPr>
          <p:cNvSpPr>
            <a:spLocks noGrp="1"/>
          </p:cNvSpPr>
          <p:nvPr>
            <p:ph type="body" sz="quarter" idx="25" hasCustomPrompt="1"/>
          </p:nvPr>
        </p:nvSpPr>
        <p:spPr>
          <a:xfrm>
            <a:off x="6096000" y="1857751"/>
            <a:ext cx="5486370" cy="341632"/>
          </a:xfrm>
          <a:prstGeom prst="rect">
            <a:avLst/>
          </a:prstGeom>
        </p:spPr>
        <p:txBody>
          <a:bodyPr wrap="square" lIns="0" tIns="0" rIns="0" bIns="0" anchor="ctr" anchorCtr="0">
            <a:spAutoFit/>
          </a:bodyPr>
          <a:lstStyle>
            <a:lvl1pPr marL="0" indent="0" algn="l">
              <a:buNone/>
              <a:defRPr lang="en-US" sz="2400" b="1" i="0" kern="1200" spc="0" dirty="0" smtClean="0">
                <a:solidFill>
                  <a:schemeClr val="accent1"/>
                </a:solidFill>
                <a:latin typeface="Pfizer Tomorrow" panose="02010503040201060303" pitchFamily="50" charset="0"/>
                <a:ea typeface="+mn-ea"/>
                <a:cs typeface="+mn-cs"/>
              </a:defRPr>
            </a:lvl1pPr>
            <a:lvl2pPr>
              <a:defRPr lang="en-US" sz="1100" b="0" i="0" kern="1200" spc="-50" dirty="0" smtClean="0">
                <a:solidFill>
                  <a:schemeClr val="bg1"/>
                </a:solidFill>
                <a:latin typeface="Pfizer Diatype Office" panose="020B0504040202060203" pitchFamily="34" charset="77"/>
                <a:ea typeface="+mn-ea"/>
                <a:cs typeface="+mn-cs"/>
              </a:defRPr>
            </a:lvl2pPr>
            <a:lvl3pPr>
              <a:defRPr lang="en-US" sz="1100" b="0" i="0" kern="1200" spc="-50" dirty="0" smtClean="0">
                <a:solidFill>
                  <a:schemeClr val="bg1"/>
                </a:solidFill>
                <a:latin typeface="Pfizer Diatype Office" panose="020B0504040202060203" pitchFamily="34" charset="77"/>
                <a:ea typeface="+mn-ea"/>
                <a:cs typeface="+mn-cs"/>
              </a:defRPr>
            </a:lvl3pPr>
            <a:lvl4pPr>
              <a:defRPr lang="en-US" sz="1100" b="0" i="0" kern="1200" spc="-50" dirty="0" smtClean="0">
                <a:solidFill>
                  <a:schemeClr val="bg1"/>
                </a:solidFill>
                <a:latin typeface="Pfizer Diatype Office" panose="020B0504040202060203" pitchFamily="34" charset="77"/>
                <a:ea typeface="+mn-ea"/>
                <a:cs typeface="+mn-cs"/>
              </a:defRPr>
            </a:lvl4pPr>
            <a:lvl5pPr>
              <a:defRPr lang="en-US" sz="1100" b="0" i="0" kern="1200" spc="-50" dirty="0">
                <a:solidFill>
                  <a:schemeClr val="bg1"/>
                </a:solidFill>
                <a:latin typeface="Pfizer Diatype Office" panose="020B0504040202060203" pitchFamily="34" charset="77"/>
                <a:ea typeface="+mn-ea"/>
                <a:cs typeface="+mn-cs"/>
              </a:defRPr>
            </a:lvl5pPr>
          </a:lstStyle>
          <a:p>
            <a:pPr lvl="0"/>
            <a:r>
              <a:rPr lang="en-US"/>
              <a:t>Agenda Item #2</a:t>
            </a:r>
          </a:p>
        </p:txBody>
      </p:sp>
      <p:sp>
        <p:nvSpPr>
          <p:cNvPr id="13" name="Text Placeholder 10">
            <a:extLst>
              <a:ext uri="{FF2B5EF4-FFF2-40B4-BE49-F238E27FC236}">
                <a16:creationId xmlns:a16="http://schemas.microsoft.com/office/drawing/2014/main" id="{E348126B-16C9-CEC7-8E8C-D685EF627643}"/>
              </a:ext>
            </a:extLst>
          </p:cNvPr>
          <p:cNvSpPr>
            <a:spLocks noGrp="1"/>
          </p:cNvSpPr>
          <p:nvPr>
            <p:ph type="body" sz="quarter" idx="26" hasCustomPrompt="1"/>
          </p:nvPr>
        </p:nvSpPr>
        <p:spPr>
          <a:xfrm>
            <a:off x="6096000" y="2800645"/>
            <a:ext cx="5486370" cy="341632"/>
          </a:xfrm>
          <a:prstGeom prst="rect">
            <a:avLst/>
          </a:prstGeom>
        </p:spPr>
        <p:txBody>
          <a:bodyPr wrap="square" lIns="0" tIns="0" rIns="0" bIns="0" anchor="ctr" anchorCtr="0">
            <a:spAutoFit/>
          </a:bodyPr>
          <a:lstStyle>
            <a:lvl1pPr marL="0" indent="0" algn="l">
              <a:buNone/>
              <a:defRPr lang="en-US" sz="2400" b="1" i="0" kern="1200" spc="0" dirty="0" smtClean="0">
                <a:solidFill>
                  <a:schemeClr val="accent1"/>
                </a:solidFill>
                <a:latin typeface="Pfizer Tomorrow" panose="02010503040201060303" pitchFamily="50" charset="0"/>
                <a:ea typeface="+mn-ea"/>
                <a:cs typeface="+mn-cs"/>
              </a:defRPr>
            </a:lvl1pPr>
            <a:lvl2pPr>
              <a:defRPr lang="en-US" sz="1100" b="0" i="0" kern="1200" spc="-50" dirty="0" smtClean="0">
                <a:solidFill>
                  <a:schemeClr val="bg1"/>
                </a:solidFill>
                <a:latin typeface="Pfizer Diatype Office" panose="020B0504040202060203" pitchFamily="34" charset="77"/>
                <a:ea typeface="+mn-ea"/>
                <a:cs typeface="+mn-cs"/>
              </a:defRPr>
            </a:lvl2pPr>
            <a:lvl3pPr>
              <a:defRPr lang="en-US" sz="1100" b="0" i="0" kern="1200" spc="-50" dirty="0" smtClean="0">
                <a:solidFill>
                  <a:schemeClr val="bg1"/>
                </a:solidFill>
                <a:latin typeface="Pfizer Diatype Office" panose="020B0504040202060203" pitchFamily="34" charset="77"/>
                <a:ea typeface="+mn-ea"/>
                <a:cs typeface="+mn-cs"/>
              </a:defRPr>
            </a:lvl3pPr>
            <a:lvl4pPr>
              <a:defRPr lang="en-US" sz="1100" b="0" i="0" kern="1200" spc="-50" dirty="0" smtClean="0">
                <a:solidFill>
                  <a:schemeClr val="bg1"/>
                </a:solidFill>
                <a:latin typeface="Pfizer Diatype Office" panose="020B0504040202060203" pitchFamily="34" charset="77"/>
                <a:ea typeface="+mn-ea"/>
                <a:cs typeface="+mn-cs"/>
              </a:defRPr>
            </a:lvl4pPr>
            <a:lvl5pPr>
              <a:defRPr lang="en-US" sz="1100" b="0" i="0" kern="1200" spc="-50" dirty="0">
                <a:solidFill>
                  <a:schemeClr val="bg1"/>
                </a:solidFill>
                <a:latin typeface="Pfizer Diatype Office" panose="020B0504040202060203" pitchFamily="34" charset="77"/>
                <a:ea typeface="+mn-ea"/>
                <a:cs typeface="+mn-cs"/>
              </a:defRPr>
            </a:lvl5pPr>
          </a:lstStyle>
          <a:p>
            <a:pPr lvl="0"/>
            <a:r>
              <a:rPr lang="en-US"/>
              <a:t>Agenda Item #3</a:t>
            </a:r>
          </a:p>
        </p:txBody>
      </p:sp>
      <p:sp>
        <p:nvSpPr>
          <p:cNvPr id="14" name="Text Placeholder 10">
            <a:extLst>
              <a:ext uri="{FF2B5EF4-FFF2-40B4-BE49-F238E27FC236}">
                <a16:creationId xmlns:a16="http://schemas.microsoft.com/office/drawing/2014/main" id="{3BB4DAC6-9632-EC05-7ABD-6287F25654A7}"/>
              </a:ext>
            </a:extLst>
          </p:cNvPr>
          <p:cNvSpPr>
            <a:spLocks noGrp="1"/>
          </p:cNvSpPr>
          <p:nvPr>
            <p:ph type="body" sz="quarter" idx="27" hasCustomPrompt="1"/>
          </p:nvPr>
        </p:nvSpPr>
        <p:spPr>
          <a:xfrm>
            <a:off x="6096000" y="3704408"/>
            <a:ext cx="5486370" cy="341632"/>
          </a:xfrm>
          <a:prstGeom prst="rect">
            <a:avLst/>
          </a:prstGeom>
        </p:spPr>
        <p:txBody>
          <a:bodyPr wrap="square" lIns="0" tIns="0" rIns="0" bIns="0" anchor="ctr" anchorCtr="0">
            <a:spAutoFit/>
          </a:bodyPr>
          <a:lstStyle>
            <a:lvl1pPr marL="0" indent="0" algn="l">
              <a:buNone/>
              <a:defRPr lang="en-US" sz="2400" b="1" i="0" kern="1200" spc="0" dirty="0" smtClean="0">
                <a:solidFill>
                  <a:schemeClr val="accent1"/>
                </a:solidFill>
                <a:latin typeface="Pfizer Tomorrow" panose="02010503040201060303" pitchFamily="50" charset="0"/>
                <a:ea typeface="+mn-ea"/>
                <a:cs typeface="+mn-cs"/>
              </a:defRPr>
            </a:lvl1pPr>
            <a:lvl2pPr>
              <a:defRPr lang="en-US" sz="1100" b="0" i="0" kern="1200" spc="-50" dirty="0" smtClean="0">
                <a:solidFill>
                  <a:schemeClr val="bg1"/>
                </a:solidFill>
                <a:latin typeface="Pfizer Diatype Office" panose="020B0504040202060203" pitchFamily="34" charset="77"/>
                <a:ea typeface="+mn-ea"/>
                <a:cs typeface="+mn-cs"/>
              </a:defRPr>
            </a:lvl2pPr>
            <a:lvl3pPr>
              <a:defRPr lang="en-US" sz="1100" b="0" i="0" kern="1200" spc="-50" dirty="0" smtClean="0">
                <a:solidFill>
                  <a:schemeClr val="bg1"/>
                </a:solidFill>
                <a:latin typeface="Pfizer Diatype Office" panose="020B0504040202060203" pitchFamily="34" charset="77"/>
                <a:ea typeface="+mn-ea"/>
                <a:cs typeface="+mn-cs"/>
              </a:defRPr>
            </a:lvl3pPr>
            <a:lvl4pPr>
              <a:defRPr lang="en-US" sz="1100" b="0" i="0" kern="1200" spc="-50" dirty="0" smtClean="0">
                <a:solidFill>
                  <a:schemeClr val="bg1"/>
                </a:solidFill>
                <a:latin typeface="Pfizer Diatype Office" panose="020B0504040202060203" pitchFamily="34" charset="77"/>
                <a:ea typeface="+mn-ea"/>
                <a:cs typeface="+mn-cs"/>
              </a:defRPr>
            </a:lvl4pPr>
            <a:lvl5pPr>
              <a:defRPr lang="en-US" sz="1100" b="0" i="0" kern="1200" spc="-50" dirty="0">
                <a:solidFill>
                  <a:schemeClr val="bg1"/>
                </a:solidFill>
                <a:latin typeface="Pfizer Diatype Office" panose="020B0504040202060203" pitchFamily="34" charset="77"/>
                <a:ea typeface="+mn-ea"/>
                <a:cs typeface="+mn-cs"/>
              </a:defRPr>
            </a:lvl5pPr>
          </a:lstStyle>
          <a:p>
            <a:pPr lvl="0"/>
            <a:r>
              <a:rPr lang="en-US"/>
              <a:t>Agenda Item #4</a:t>
            </a:r>
          </a:p>
        </p:txBody>
      </p:sp>
      <p:cxnSp>
        <p:nvCxnSpPr>
          <p:cNvPr id="15" name="Straight Connector 14">
            <a:extLst>
              <a:ext uri="{FF2B5EF4-FFF2-40B4-BE49-F238E27FC236}">
                <a16:creationId xmlns:a16="http://schemas.microsoft.com/office/drawing/2014/main" id="{77EFEA9C-CD9B-2E35-52B2-F8AEE3098DDA}"/>
              </a:ext>
            </a:extLst>
          </p:cNvPr>
          <p:cNvCxnSpPr>
            <a:cxnSpLocks/>
          </p:cNvCxnSpPr>
          <p:nvPr userDrawn="1"/>
        </p:nvCxnSpPr>
        <p:spPr>
          <a:xfrm>
            <a:off x="6096000" y="5265809"/>
            <a:ext cx="548685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16" name="Text Placeholder 10">
            <a:extLst>
              <a:ext uri="{FF2B5EF4-FFF2-40B4-BE49-F238E27FC236}">
                <a16:creationId xmlns:a16="http://schemas.microsoft.com/office/drawing/2014/main" id="{6C94B73D-E65E-59A7-ABF9-544FB972F0C9}"/>
              </a:ext>
            </a:extLst>
          </p:cNvPr>
          <p:cNvSpPr>
            <a:spLocks noGrp="1"/>
          </p:cNvSpPr>
          <p:nvPr>
            <p:ph type="body" sz="quarter" idx="28" hasCustomPrompt="1"/>
          </p:nvPr>
        </p:nvSpPr>
        <p:spPr>
          <a:xfrm>
            <a:off x="6096000" y="4629533"/>
            <a:ext cx="5486370" cy="341632"/>
          </a:xfrm>
          <a:prstGeom prst="rect">
            <a:avLst/>
          </a:prstGeom>
        </p:spPr>
        <p:txBody>
          <a:bodyPr wrap="square" lIns="0" tIns="0" rIns="0" bIns="0" anchor="ctr" anchorCtr="0">
            <a:spAutoFit/>
          </a:bodyPr>
          <a:lstStyle>
            <a:lvl1pPr marL="0" indent="0" algn="l">
              <a:buNone/>
              <a:defRPr lang="en-US" sz="2400" b="1" i="0" kern="1200" spc="0" dirty="0" smtClean="0">
                <a:solidFill>
                  <a:schemeClr val="accent1"/>
                </a:solidFill>
                <a:latin typeface="Pfizer Tomorrow" panose="02010503040201060303" pitchFamily="50" charset="0"/>
                <a:ea typeface="+mn-ea"/>
                <a:cs typeface="+mn-cs"/>
              </a:defRPr>
            </a:lvl1pPr>
            <a:lvl2pPr>
              <a:defRPr lang="en-US" sz="1100" b="0" i="0" kern="1200" spc="-50" dirty="0" smtClean="0">
                <a:solidFill>
                  <a:schemeClr val="bg1"/>
                </a:solidFill>
                <a:latin typeface="Pfizer Diatype Office" panose="020B0504040202060203" pitchFamily="34" charset="77"/>
                <a:ea typeface="+mn-ea"/>
                <a:cs typeface="+mn-cs"/>
              </a:defRPr>
            </a:lvl2pPr>
            <a:lvl3pPr>
              <a:defRPr lang="en-US" sz="1100" b="0" i="0" kern="1200" spc="-50" dirty="0" smtClean="0">
                <a:solidFill>
                  <a:schemeClr val="bg1"/>
                </a:solidFill>
                <a:latin typeface="Pfizer Diatype Office" panose="020B0504040202060203" pitchFamily="34" charset="77"/>
                <a:ea typeface="+mn-ea"/>
                <a:cs typeface="+mn-cs"/>
              </a:defRPr>
            </a:lvl3pPr>
            <a:lvl4pPr>
              <a:defRPr lang="en-US" sz="1100" b="0" i="0" kern="1200" spc="-50" dirty="0" smtClean="0">
                <a:solidFill>
                  <a:schemeClr val="bg1"/>
                </a:solidFill>
                <a:latin typeface="Pfizer Diatype Office" panose="020B0504040202060203" pitchFamily="34" charset="77"/>
                <a:ea typeface="+mn-ea"/>
                <a:cs typeface="+mn-cs"/>
              </a:defRPr>
            </a:lvl4pPr>
            <a:lvl5pPr>
              <a:defRPr lang="en-US" sz="1100" b="0" i="0" kern="1200" spc="-50" dirty="0">
                <a:solidFill>
                  <a:schemeClr val="bg1"/>
                </a:solidFill>
                <a:latin typeface="Pfizer Diatype Office" panose="020B0504040202060203" pitchFamily="34" charset="77"/>
                <a:ea typeface="+mn-ea"/>
                <a:cs typeface="+mn-cs"/>
              </a:defRPr>
            </a:lvl5pPr>
          </a:lstStyle>
          <a:p>
            <a:pPr lvl="0"/>
            <a:r>
              <a:rPr lang="en-US"/>
              <a:t>Agenda Item #5</a:t>
            </a:r>
          </a:p>
        </p:txBody>
      </p:sp>
      <p:cxnSp>
        <p:nvCxnSpPr>
          <p:cNvPr id="17" name="Straight Connector 16">
            <a:extLst>
              <a:ext uri="{FF2B5EF4-FFF2-40B4-BE49-F238E27FC236}">
                <a16:creationId xmlns:a16="http://schemas.microsoft.com/office/drawing/2014/main" id="{02555C83-4A02-D55B-C220-7C0CE191614E}"/>
              </a:ext>
            </a:extLst>
          </p:cNvPr>
          <p:cNvCxnSpPr>
            <a:cxnSpLocks/>
          </p:cNvCxnSpPr>
          <p:nvPr userDrawn="1"/>
        </p:nvCxnSpPr>
        <p:spPr>
          <a:xfrm>
            <a:off x="6096000" y="6169902"/>
            <a:ext cx="548685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18" name="Text Placeholder 10">
            <a:extLst>
              <a:ext uri="{FF2B5EF4-FFF2-40B4-BE49-F238E27FC236}">
                <a16:creationId xmlns:a16="http://schemas.microsoft.com/office/drawing/2014/main" id="{1ACE479E-62F1-6541-321C-17802D2AB5D9}"/>
              </a:ext>
            </a:extLst>
          </p:cNvPr>
          <p:cNvSpPr>
            <a:spLocks noGrp="1"/>
          </p:cNvSpPr>
          <p:nvPr>
            <p:ph type="body" sz="quarter" idx="29" hasCustomPrompt="1"/>
          </p:nvPr>
        </p:nvSpPr>
        <p:spPr>
          <a:xfrm>
            <a:off x="6096000" y="5533626"/>
            <a:ext cx="5486370" cy="341632"/>
          </a:xfrm>
          <a:prstGeom prst="rect">
            <a:avLst/>
          </a:prstGeom>
        </p:spPr>
        <p:txBody>
          <a:bodyPr wrap="square" lIns="0" tIns="0" rIns="0" bIns="0" anchor="ctr" anchorCtr="0">
            <a:spAutoFit/>
          </a:bodyPr>
          <a:lstStyle>
            <a:lvl1pPr marL="0" indent="0" algn="l">
              <a:buNone/>
              <a:defRPr lang="en-US" sz="2400" b="1" i="0" kern="1200" spc="0" dirty="0" smtClean="0">
                <a:solidFill>
                  <a:schemeClr val="accent1"/>
                </a:solidFill>
                <a:latin typeface="Pfizer Tomorrow" panose="02010503040201060303" pitchFamily="50" charset="0"/>
                <a:ea typeface="+mn-ea"/>
                <a:cs typeface="+mn-cs"/>
              </a:defRPr>
            </a:lvl1pPr>
            <a:lvl2pPr>
              <a:defRPr lang="en-US" sz="1100" b="0" i="0" kern="1200" spc="-50" dirty="0" smtClean="0">
                <a:solidFill>
                  <a:schemeClr val="bg1"/>
                </a:solidFill>
                <a:latin typeface="Pfizer Diatype Office" panose="020B0504040202060203" pitchFamily="34" charset="77"/>
                <a:ea typeface="+mn-ea"/>
                <a:cs typeface="+mn-cs"/>
              </a:defRPr>
            </a:lvl2pPr>
            <a:lvl3pPr>
              <a:defRPr lang="en-US" sz="1100" b="0" i="0" kern="1200" spc="-50" dirty="0" smtClean="0">
                <a:solidFill>
                  <a:schemeClr val="bg1"/>
                </a:solidFill>
                <a:latin typeface="Pfizer Diatype Office" panose="020B0504040202060203" pitchFamily="34" charset="77"/>
                <a:ea typeface="+mn-ea"/>
                <a:cs typeface="+mn-cs"/>
              </a:defRPr>
            </a:lvl3pPr>
            <a:lvl4pPr>
              <a:defRPr lang="en-US" sz="1100" b="0" i="0" kern="1200" spc="-50" dirty="0" smtClean="0">
                <a:solidFill>
                  <a:schemeClr val="bg1"/>
                </a:solidFill>
                <a:latin typeface="Pfizer Diatype Office" panose="020B0504040202060203" pitchFamily="34" charset="77"/>
                <a:ea typeface="+mn-ea"/>
                <a:cs typeface="+mn-cs"/>
              </a:defRPr>
            </a:lvl4pPr>
            <a:lvl5pPr>
              <a:defRPr lang="en-US" sz="1100" b="0" i="0" kern="1200" spc="-50" dirty="0">
                <a:solidFill>
                  <a:schemeClr val="bg1"/>
                </a:solidFill>
                <a:latin typeface="Pfizer Diatype Office" panose="020B0504040202060203" pitchFamily="34" charset="77"/>
                <a:ea typeface="+mn-ea"/>
                <a:cs typeface="+mn-cs"/>
              </a:defRPr>
            </a:lvl5pPr>
          </a:lstStyle>
          <a:p>
            <a:pPr lvl="0"/>
            <a:r>
              <a:rPr lang="en-US"/>
              <a:t>Agenda Item #6</a:t>
            </a:r>
          </a:p>
        </p:txBody>
      </p:sp>
      <p:sp>
        <p:nvSpPr>
          <p:cNvPr id="6" name="Title 6">
            <a:extLst>
              <a:ext uri="{FF2B5EF4-FFF2-40B4-BE49-F238E27FC236}">
                <a16:creationId xmlns:a16="http://schemas.microsoft.com/office/drawing/2014/main" id="{23670BCF-78C5-2E48-AF7B-AB7FBB3AB577}"/>
              </a:ext>
            </a:extLst>
          </p:cNvPr>
          <p:cNvSpPr>
            <a:spLocks noGrp="1"/>
          </p:cNvSpPr>
          <p:nvPr>
            <p:ph type="title" hasCustomPrompt="1"/>
          </p:nvPr>
        </p:nvSpPr>
        <p:spPr>
          <a:xfrm>
            <a:off x="535799" y="700250"/>
            <a:ext cx="4652650" cy="744822"/>
          </a:xfrm>
          <a:prstGeom prst="rect">
            <a:avLst/>
          </a:prstGeom>
        </p:spPr>
        <p:txBody>
          <a:bodyPr/>
          <a:lstStyle>
            <a:lvl1pPr>
              <a:lnSpc>
                <a:spcPct val="80000"/>
              </a:lnSpc>
              <a:defRPr lang="en-US" sz="4799" b="1" kern="1200" spc="-25" dirty="0">
                <a:solidFill>
                  <a:schemeClr val="accent1"/>
                </a:solidFill>
                <a:latin typeface="+mj-lt"/>
                <a:ea typeface="+mj-ea"/>
                <a:cs typeface="+mj-cs"/>
              </a:defRPr>
            </a:lvl1pPr>
          </a:lstStyle>
          <a:p>
            <a:r>
              <a:rPr lang="en-US"/>
              <a:t>Today’s Agenda</a:t>
            </a:r>
          </a:p>
        </p:txBody>
      </p:sp>
    </p:spTree>
    <p:extLst>
      <p:ext uri="{BB962C8B-B14F-4D97-AF65-F5344CB8AC3E}">
        <p14:creationId xmlns:p14="http://schemas.microsoft.com/office/powerpoint/2010/main" val="39851574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Cyan">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5" name="Slide Number Placeholder 9">
            <a:extLst>
              <a:ext uri="{FF2B5EF4-FFF2-40B4-BE49-F238E27FC236}">
                <a16:creationId xmlns:a16="http://schemas.microsoft.com/office/drawing/2014/main" id="{9183D3A8-535F-7709-FB22-9EEEA8DF7E53}"/>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
        <p:nvSpPr>
          <p:cNvPr id="3" name="Text Placeholder 10">
            <a:extLst>
              <a:ext uri="{FF2B5EF4-FFF2-40B4-BE49-F238E27FC236}">
                <a16:creationId xmlns:a16="http://schemas.microsoft.com/office/drawing/2014/main" id="{2E41EABB-FF56-2101-0B25-B01DDF6CDFBE}"/>
              </a:ext>
            </a:extLst>
          </p:cNvPr>
          <p:cNvSpPr>
            <a:spLocks noGrp="1"/>
          </p:cNvSpPr>
          <p:nvPr>
            <p:ph type="body" sz="quarter" idx="15" hasCustomPrompt="1"/>
          </p:nvPr>
        </p:nvSpPr>
        <p:spPr>
          <a:xfrm>
            <a:off x="1116956" y="1662169"/>
            <a:ext cx="3660698" cy="319623"/>
          </a:xfrm>
          <a:prstGeom prst="rect">
            <a:avLst/>
          </a:prstGeom>
        </p:spPr>
        <p:txBody>
          <a:bodyPr lIns="0" tIns="91440" bIns="91440" anchor="ctr"/>
          <a:lstStyle>
            <a:lvl1pPr marL="0" indent="0">
              <a:buNone/>
              <a:defRPr lang="en-US" sz="1600" b="1" i="0" kern="1200" spc="-50" dirty="0" smtClean="0">
                <a:solidFill>
                  <a:schemeClr val="accent1"/>
                </a:solidFill>
                <a:latin typeface="+mj-lt"/>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Agenda Item #1</a:t>
            </a:r>
          </a:p>
        </p:txBody>
      </p:sp>
      <p:sp>
        <p:nvSpPr>
          <p:cNvPr id="7" name="Text Placeholder 10">
            <a:extLst>
              <a:ext uri="{FF2B5EF4-FFF2-40B4-BE49-F238E27FC236}">
                <a16:creationId xmlns:a16="http://schemas.microsoft.com/office/drawing/2014/main" id="{BB74E7E2-15F6-844E-450D-364132DA3411}"/>
              </a:ext>
            </a:extLst>
          </p:cNvPr>
          <p:cNvSpPr>
            <a:spLocks noGrp="1"/>
          </p:cNvSpPr>
          <p:nvPr>
            <p:ph type="body" sz="quarter" idx="16" hasCustomPrompt="1"/>
          </p:nvPr>
        </p:nvSpPr>
        <p:spPr>
          <a:xfrm>
            <a:off x="620860" y="1662169"/>
            <a:ext cx="474293" cy="319623"/>
          </a:xfrm>
          <a:prstGeom prst="rect">
            <a:avLst/>
          </a:prstGeom>
        </p:spPr>
        <p:txBody>
          <a:bodyPr lIns="0" tIns="91440" bIns="91440" anchor="ctr"/>
          <a:lstStyle>
            <a:lvl1pPr marL="0" indent="0">
              <a:buNone/>
              <a:defRPr lang="en-US" sz="1600" b="1" i="0" kern="1200" spc="-50" dirty="0" smtClean="0">
                <a:solidFill>
                  <a:schemeClr val="accent1"/>
                </a:solidFill>
                <a:latin typeface="+mj-lt"/>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01</a:t>
            </a:r>
          </a:p>
        </p:txBody>
      </p:sp>
      <p:sp>
        <p:nvSpPr>
          <p:cNvPr id="8" name="Text Placeholder 10">
            <a:extLst>
              <a:ext uri="{FF2B5EF4-FFF2-40B4-BE49-F238E27FC236}">
                <a16:creationId xmlns:a16="http://schemas.microsoft.com/office/drawing/2014/main" id="{A8A908E3-F5E3-5DBE-4932-BE71140E1CBA}"/>
              </a:ext>
            </a:extLst>
          </p:cNvPr>
          <p:cNvSpPr>
            <a:spLocks noGrp="1"/>
          </p:cNvSpPr>
          <p:nvPr>
            <p:ph type="body" sz="quarter" idx="17" hasCustomPrompt="1"/>
          </p:nvPr>
        </p:nvSpPr>
        <p:spPr>
          <a:xfrm>
            <a:off x="6096000" y="1662169"/>
            <a:ext cx="1830349" cy="319623"/>
          </a:xfrm>
          <a:prstGeom prst="rect">
            <a:avLst/>
          </a:prstGeom>
        </p:spPr>
        <p:txBody>
          <a:bodyPr lIns="0" tIns="91440" rIns="0" bIns="91440" anchor="ctr"/>
          <a:lstStyle>
            <a:lvl1pPr marL="0" indent="0" algn="r">
              <a:buNone/>
              <a:defRPr lang="en-US" sz="1600" b="1" i="0" kern="1200" spc="-50" dirty="0" smtClean="0">
                <a:solidFill>
                  <a:schemeClr val="accent1"/>
                </a:solidFill>
                <a:latin typeface="+mj-lt"/>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20 Mins</a:t>
            </a:r>
          </a:p>
        </p:txBody>
      </p:sp>
      <p:cxnSp>
        <p:nvCxnSpPr>
          <p:cNvPr id="9" name="Straight Connector 8">
            <a:extLst>
              <a:ext uri="{FF2B5EF4-FFF2-40B4-BE49-F238E27FC236}">
                <a16:creationId xmlns:a16="http://schemas.microsoft.com/office/drawing/2014/main" id="{BAB64E0E-A25F-2925-6C02-4D66DD54862F}"/>
              </a:ext>
            </a:extLst>
          </p:cNvPr>
          <p:cNvCxnSpPr/>
          <p:nvPr userDrawn="1"/>
        </p:nvCxnSpPr>
        <p:spPr>
          <a:xfrm>
            <a:off x="622239" y="2438557"/>
            <a:ext cx="7305489" cy="0"/>
          </a:xfrm>
          <a:prstGeom prst="line">
            <a:avLst/>
          </a:prstGeom>
        </p:spPr>
        <p:style>
          <a:lnRef idx="2">
            <a:schemeClr val="accent1"/>
          </a:lnRef>
          <a:fillRef idx="0">
            <a:schemeClr val="accent1"/>
          </a:fillRef>
          <a:effectRef idx="1">
            <a:schemeClr val="accent1"/>
          </a:effectRef>
          <a:fontRef idx="minor">
            <a:schemeClr val="tx1"/>
          </a:fontRef>
        </p:style>
      </p:cxnSp>
      <p:sp>
        <p:nvSpPr>
          <p:cNvPr id="10" name="Text Placeholder 10">
            <a:extLst>
              <a:ext uri="{FF2B5EF4-FFF2-40B4-BE49-F238E27FC236}">
                <a16:creationId xmlns:a16="http://schemas.microsoft.com/office/drawing/2014/main" id="{8B72064C-072D-96C3-3369-1062783BF7F1}"/>
              </a:ext>
            </a:extLst>
          </p:cNvPr>
          <p:cNvSpPr>
            <a:spLocks noGrp="1"/>
          </p:cNvSpPr>
          <p:nvPr>
            <p:ph type="body" sz="quarter" idx="21" hasCustomPrompt="1"/>
          </p:nvPr>
        </p:nvSpPr>
        <p:spPr>
          <a:xfrm>
            <a:off x="1116956" y="1993052"/>
            <a:ext cx="3660698" cy="319623"/>
          </a:xfrm>
          <a:prstGeom prst="rect">
            <a:avLst/>
          </a:prstGeom>
        </p:spPr>
        <p:txBody>
          <a:bodyPr lIns="0" tIns="91440" bIns="91440" anchor="ctr"/>
          <a:lstStyle>
            <a:lvl1pPr marL="0" indent="0">
              <a:buNone/>
              <a:defRPr lang="en-US" sz="1600" b="0" i="0" kern="1200" spc="-50" dirty="0" smtClean="0">
                <a:solidFill>
                  <a:schemeClr val="accent1"/>
                </a:solidFill>
                <a:latin typeface="Pfizer Tomorrow" panose="02010503040201060303" pitchFamily="50"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Secondary Item</a:t>
            </a:r>
          </a:p>
        </p:txBody>
      </p:sp>
      <p:sp>
        <p:nvSpPr>
          <p:cNvPr id="12" name="Text Placeholder 10">
            <a:extLst>
              <a:ext uri="{FF2B5EF4-FFF2-40B4-BE49-F238E27FC236}">
                <a16:creationId xmlns:a16="http://schemas.microsoft.com/office/drawing/2014/main" id="{4566E5DF-BCF8-C2E5-E580-713203D6E998}"/>
              </a:ext>
            </a:extLst>
          </p:cNvPr>
          <p:cNvSpPr>
            <a:spLocks noGrp="1"/>
          </p:cNvSpPr>
          <p:nvPr>
            <p:ph type="body" sz="quarter" idx="22" hasCustomPrompt="1"/>
          </p:nvPr>
        </p:nvSpPr>
        <p:spPr>
          <a:xfrm>
            <a:off x="6096000" y="1993052"/>
            <a:ext cx="1830349" cy="319623"/>
          </a:xfrm>
          <a:prstGeom prst="rect">
            <a:avLst/>
          </a:prstGeom>
        </p:spPr>
        <p:txBody>
          <a:bodyPr lIns="0" tIns="91440" rIns="0" bIns="91440" anchor="ctr"/>
          <a:lstStyle>
            <a:lvl1pPr marL="0" indent="0" algn="r">
              <a:buNone/>
              <a:defRPr lang="en-US" sz="1600" b="0" i="0" kern="1200" spc="-50" dirty="0" smtClean="0">
                <a:solidFill>
                  <a:schemeClr val="accent1"/>
                </a:solidFill>
                <a:latin typeface="Pfizer Tomorrow" panose="02010503040201060303" pitchFamily="50"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8 Mins</a:t>
            </a:r>
          </a:p>
        </p:txBody>
      </p:sp>
      <p:sp>
        <p:nvSpPr>
          <p:cNvPr id="13" name="Text Placeholder 10">
            <a:extLst>
              <a:ext uri="{FF2B5EF4-FFF2-40B4-BE49-F238E27FC236}">
                <a16:creationId xmlns:a16="http://schemas.microsoft.com/office/drawing/2014/main" id="{6C702548-0725-48D7-4B65-971D9B9331D6}"/>
              </a:ext>
            </a:extLst>
          </p:cNvPr>
          <p:cNvSpPr>
            <a:spLocks noGrp="1"/>
          </p:cNvSpPr>
          <p:nvPr>
            <p:ph type="body" sz="quarter" idx="23" hasCustomPrompt="1"/>
          </p:nvPr>
        </p:nvSpPr>
        <p:spPr>
          <a:xfrm>
            <a:off x="1115577" y="2576880"/>
            <a:ext cx="3660698" cy="319623"/>
          </a:xfrm>
          <a:prstGeom prst="rect">
            <a:avLst/>
          </a:prstGeom>
        </p:spPr>
        <p:txBody>
          <a:bodyPr lIns="0" tIns="91440" bIns="91440" anchor="ctr"/>
          <a:lstStyle>
            <a:lvl1pPr marL="0" indent="0">
              <a:buNone/>
              <a:defRPr lang="en-US" sz="1600" b="1" i="0" kern="1200" spc="-50" dirty="0" smtClean="0">
                <a:solidFill>
                  <a:schemeClr val="accent1"/>
                </a:solidFill>
                <a:latin typeface="+mj-lt"/>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Agenda Item #2</a:t>
            </a:r>
          </a:p>
        </p:txBody>
      </p:sp>
      <p:sp>
        <p:nvSpPr>
          <p:cNvPr id="14" name="Text Placeholder 10">
            <a:extLst>
              <a:ext uri="{FF2B5EF4-FFF2-40B4-BE49-F238E27FC236}">
                <a16:creationId xmlns:a16="http://schemas.microsoft.com/office/drawing/2014/main" id="{49A9E464-B28B-776F-C87D-2EDBC4D0CFEC}"/>
              </a:ext>
            </a:extLst>
          </p:cNvPr>
          <p:cNvSpPr>
            <a:spLocks noGrp="1"/>
          </p:cNvSpPr>
          <p:nvPr>
            <p:ph type="body" sz="quarter" idx="24" hasCustomPrompt="1"/>
          </p:nvPr>
        </p:nvSpPr>
        <p:spPr>
          <a:xfrm>
            <a:off x="619481" y="2576880"/>
            <a:ext cx="474293" cy="319623"/>
          </a:xfrm>
          <a:prstGeom prst="rect">
            <a:avLst/>
          </a:prstGeom>
        </p:spPr>
        <p:txBody>
          <a:bodyPr lIns="0" tIns="91440" bIns="91440" anchor="ctr"/>
          <a:lstStyle>
            <a:lvl1pPr marL="0" indent="0">
              <a:buNone/>
              <a:defRPr lang="en-US" sz="1600" b="1" i="0" kern="1200" spc="-50" dirty="0" smtClean="0">
                <a:solidFill>
                  <a:schemeClr val="accent1"/>
                </a:solidFill>
                <a:latin typeface="+mj-lt"/>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02</a:t>
            </a:r>
          </a:p>
        </p:txBody>
      </p:sp>
      <p:sp>
        <p:nvSpPr>
          <p:cNvPr id="15" name="Text Placeholder 10">
            <a:extLst>
              <a:ext uri="{FF2B5EF4-FFF2-40B4-BE49-F238E27FC236}">
                <a16:creationId xmlns:a16="http://schemas.microsoft.com/office/drawing/2014/main" id="{D474865A-2D04-3A82-8BF5-C1C83CFA022A}"/>
              </a:ext>
            </a:extLst>
          </p:cNvPr>
          <p:cNvSpPr>
            <a:spLocks noGrp="1"/>
          </p:cNvSpPr>
          <p:nvPr>
            <p:ph type="body" sz="quarter" idx="25" hasCustomPrompt="1"/>
          </p:nvPr>
        </p:nvSpPr>
        <p:spPr>
          <a:xfrm>
            <a:off x="6094621" y="2576880"/>
            <a:ext cx="1830349" cy="319623"/>
          </a:xfrm>
          <a:prstGeom prst="rect">
            <a:avLst/>
          </a:prstGeom>
        </p:spPr>
        <p:txBody>
          <a:bodyPr lIns="0" tIns="91440" rIns="0" bIns="91440" anchor="ctr"/>
          <a:lstStyle>
            <a:lvl1pPr marL="0" indent="0" algn="r">
              <a:buNone/>
              <a:defRPr lang="en-US" sz="1600" b="1" i="0" kern="1200" spc="-50" dirty="0" smtClean="0">
                <a:solidFill>
                  <a:schemeClr val="accent1"/>
                </a:solidFill>
                <a:latin typeface="+mj-lt"/>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20 Mins</a:t>
            </a:r>
          </a:p>
        </p:txBody>
      </p:sp>
      <p:cxnSp>
        <p:nvCxnSpPr>
          <p:cNvPr id="16" name="Straight Connector 15">
            <a:extLst>
              <a:ext uri="{FF2B5EF4-FFF2-40B4-BE49-F238E27FC236}">
                <a16:creationId xmlns:a16="http://schemas.microsoft.com/office/drawing/2014/main" id="{139B4DDA-CD4D-B6EE-A8DD-069F16BB5C73}"/>
              </a:ext>
            </a:extLst>
          </p:cNvPr>
          <p:cNvCxnSpPr/>
          <p:nvPr userDrawn="1"/>
        </p:nvCxnSpPr>
        <p:spPr>
          <a:xfrm>
            <a:off x="620860" y="3353268"/>
            <a:ext cx="7305489" cy="0"/>
          </a:xfrm>
          <a:prstGeom prst="line">
            <a:avLst/>
          </a:prstGeom>
        </p:spPr>
        <p:style>
          <a:lnRef idx="2">
            <a:schemeClr val="accent1"/>
          </a:lnRef>
          <a:fillRef idx="0">
            <a:schemeClr val="accent1"/>
          </a:fillRef>
          <a:effectRef idx="1">
            <a:schemeClr val="accent1"/>
          </a:effectRef>
          <a:fontRef idx="minor">
            <a:schemeClr val="tx1"/>
          </a:fontRef>
        </p:style>
      </p:cxnSp>
      <p:sp>
        <p:nvSpPr>
          <p:cNvPr id="17" name="Text Placeholder 10">
            <a:extLst>
              <a:ext uri="{FF2B5EF4-FFF2-40B4-BE49-F238E27FC236}">
                <a16:creationId xmlns:a16="http://schemas.microsoft.com/office/drawing/2014/main" id="{D2EC1F90-529C-F02A-FB7F-C26DD6CF091A}"/>
              </a:ext>
            </a:extLst>
          </p:cNvPr>
          <p:cNvSpPr>
            <a:spLocks noGrp="1"/>
          </p:cNvSpPr>
          <p:nvPr>
            <p:ph type="body" sz="quarter" idx="26" hasCustomPrompt="1"/>
          </p:nvPr>
        </p:nvSpPr>
        <p:spPr>
          <a:xfrm>
            <a:off x="1115577" y="2907763"/>
            <a:ext cx="3660698" cy="319623"/>
          </a:xfrm>
          <a:prstGeom prst="rect">
            <a:avLst/>
          </a:prstGeom>
        </p:spPr>
        <p:txBody>
          <a:bodyPr lIns="0" tIns="91440" bIns="91440" anchor="ctr"/>
          <a:lstStyle>
            <a:lvl1pPr marL="0" indent="0">
              <a:buNone/>
              <a:defRPr lang="en-US" sz="1600" b="0" i="0" kern="1200" spc="-50" dirty="0" smtClean="0">
                <a:solidFill>
                  <a:schemeClr val="accent1"/>
                </a:solidFill>
                <a:latin typeface="Pfizer Tomorrow" panose="02010503040201060303" pitchFamily="50"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Secondary Item</a:t>
            </a:r>
          </a:p>
        </p:txBody>
      </p:sp>
      <p:sp>
        <p:nvSpPr>
          <p:cNvPr id="18" name="Text Placeholder 10">
            <a:extLst>
              <a:ext uri="{FF2B5EF4-FFF2-40B4-BE49-F238E27FC236}">
                <a16:creationId xmlns:a16="http://schemas.microsoft.com/office/drawing/2014/main" id="{7496BB57-545A-5A00-C5C4-E95435DA3FF4}"/>
              </a:ext>
            </a:extLst>
          </p:cNvPr>
          <p:cNvSpPr>
            <a:spLocks noGrp="1"/>
          </p:cNvSpPr>
          <p:nvPr>
            <p:ph type="body" sz="quarter" idx="27" hasCustomPrompt="1"/>
          </p:nvPr>
        </p:nvSpPr>
        <p:spPr>
          <a:xfrm>
            <a:off x="6094621" y="2907763"/>
            <a:ext cx="1830349" cy="319623"/>
          </a:xfrm>
          <a:prstGeom prst="rect">
            <a:avLst/>
          </a:prstGeom>
        </p:spPr>
        <p:txBody>
          <a:bodyPr lIns="0" tIns="91440" rIns="0" bIns="91440" anchor="ctr"/>
          <a:lstStyle>
            <a:lvl1pPr marL="0" indent="0" algn="r">
              <a:buNone/>
              <a:defRPr lang="en-US" sz="1600" b="0" i="0" kern="1200" spc="-50" dirty="0" smtClean="0">
                <a:solidFill>
                  <a:schemeClr val="accent1"/>
                </a:solidFill>
                <a:latin typeface="Pfizer Tomorrow" panose="02010503040201060303" pitchFamily="50"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8 Mins</a:t>
            </a:r>
          </a:p>
        </p:txBody>
      </p:sp>
      <p:sp>
        <p:nvSpPr>
          <p:cNvPr id="19" name="Text Placeholder 10">
            <a:extLst>
              <a:ext uri="{FF2B5EF4-FFF2-40B4-BE49-F238E27FC236}">
                <a16:creationId xmlns:a16="http://schemas.microsoft.com/office/drawing/2014/main" id="{B5B14417-6659-A2DF-E15E-CD91B1E5EBC7}"/>
              </a:ext>
            </a:extLst>
          </p:cNvPr>
          <p:cNvSpPr>
            <a:spLocks noGrp="1"/>
          </p:cNvSpPr>
          <p:nvPr>
            <p:ph type="body" sz="quarter" idx="28" hasCustomPrompt="1"/>
          </p:nvPr>
        </p:nvSpPr>
        <p:spPr>
          <a:xfrm>
            <a:off x="1114198" y="3494312"/>
            <a:ext cx="3660698" cy="319623"/>
          </a:xfrm>
          <a:prstGeom prst="rect">
            <a:avLst/>
          </a:prstGeom>
        </p:spPr>
        <p:txBody>
          <a:bodyPr lIns="0" tIns="91440" bIns="91440" anchor="ctr"/>
          <a:lstStyle>
            <a:lvl1pPr marL="0" indent="0">
              <a:buNone/>
              <a:defRPr lang="en-US" sz="1600" b="1" i="0" kern="1200" spc="-50" dirty="0" smtClean="0">
                <a:solidFill>
                  <a:schemeClr val="accent1"/>
                </a:solidFill>
                <a:latin typeface="+mj-lt"/>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Agenda Item #3</a:t>
            </a:r>
          </a:p>
        </p:txBody>
      </p:sp>
      <p:sp>
        <p:nvSpPr>
          <p:cNvPr id="20" name="Text Placeholder 10">
            <a:extLst>
              <a:ext uri="{FF2B5EF4-FFF2-40B4-BE49-F238E27FC236}">
                <a16:creationId xmlns:a16="http://schemas.microsoft.com/office/drawing/2014/main" id="{0ACAF02C-0538-7103-1DEF-02E81E080AC2}"/>
              </a:ext>
            </a:extLst>
          </p:cNvPr>
          <p:cNvSpPr>
            <a:spLocks noGrp="1"/>
          </p:cNvSpPr>
          <p:nvPr>
            <p:ph type="body" sz="quarter" idx="29" hasCustomPrompt="1"/>
          </p:nvPr>
        </p:nvSpPr>
        <p:spPr>
          <a:xfrm>
            <a:off x="618102" y="3494312"/>
            <a:ext cx="474293" cy="319623"/>
          </a:xfrm>
          <a:prstGeom prst="rect">
            <a:avLst/>
          </a:prstGeom>
        </p:spPr>
        <p:txBody>
          <a:bodyPr lIns="0" tIns="91440" bIns="91440" anchor="ctr"/>
          <a:lstStyle>
            <a:lvl1pPr marL="0" indent="0">
              <a:buNone/>
              <a:defRPr lang="en-US" sz="1600" b="1" i="0" kern="1200" spc="-50" dirty="0" smtClean="0">
                <a:solidFill>
                  <a:schemeClr val="accent1"/>
                </a:solidFill>
                <a:latin typeface="+mj-lt"/>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03</a:t>
            </a:r>
          </a:p>
        </p:txBody>
      </p:sp>
      <p:sp>
        <p:nvSpPr>
          <p:cNvPr id="21" name="Text Placeholder 10">
            <a:extLst>
              <a:ext uri="{FF2B5EF4-FFF2-40B4-BE49-F238E27FC236}">
                <a16:creationId xmlns:a16="http://schemas.microsoft.com/office/drawing/2014/main" id="{CFE20589-EF9C-7E9D-D7CC-494ABBE50549}"/>
              </a:ext>
            </a:extLst>
          </p:cNvPr>
          <p:cNvSpPr>
            <a:spLocks noGrp="1"/>
          </p:cNvSpPr>
          <p:nvPr>
            <p:ph type="body" sz="quarter" idx="30" hasCustomPrompt="1"/>
          </p:nvPr>
        </p:nvSpPr>
        <p:spPr>
          <a:xfrm>
            <a:off x="6093242" y="3494312"/>
            <a:ext cx="1830349" cy="319623"/>
          </a:xfrm>
          <a:prstGeom prst="rect">
            <a:avLst/>
          </a:prstGeom>
        </p:spPr>
        <p:txBody>
          <a:bodyPr lIns="0" tIns="91440" rIns="0" bIns="91440" anchor="ctr"/>
          <a:lstStyle>
            <a:lvl1pPr marL="0" indent="0" algn="r">
              <a:buNone/>
              <a:defRPr lang="en-US" sz="1600" b="1" i="0" kern="1200" spc="-50" dirty="0" smtClean="0">
                <a:solidFill>
                  <a:schemeClr val="accent1"/>
                </a:solidFill>
                <a:latin typeface="+mj-lt"/>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20 Mins</a:t>
            </a:r>
          </a:p>
        </p:txBody>
      </p:sp>
      <p:cxnSp>
        <p:nvCxnSpPr>
          <p:cNvPr id="22" name="Straight Connector 21">
            <a:extLst>
              <a:ext uri="{FF2B5EF4-FFF2-40B4-BE49-F238E27FC236}">
                <a16:creationId xmlns:a16="http://schemas.microsoft.com/office/drawing/2014/main" id="{CDF7090C-0A9D-609E-EBA2-5D1BC7A51A54}"/>
              </a:ext>
            </a:extLst>
          </p:cNvPr>
          <p:cNvCxnSpPr/>
          <p:nvPr userDrawn="1"/>
        </p:nvCxnSpPr>
        <p:spPr>
          <a:xfrm>
            <a:off x="619481" y="4270700"/>
            <a:ext cx="7305489" cy="0"/>
          </a:xfrm>
          <a:prstGeom prst="line">
            <a:avLst/>
          </a:prstGeom>
        </p:spPr>
        <p:style>
          <a:lnRef idx="2">
            <a:schemeClr val="accent1"/>
          </a:lnRef>
          <a:fillRef idx="0">
            <a:schemeClr val="accent1"/>
          </a:fillRef>
          <a:effectRef idx="1">
            <a:schemeClr val="accent1"/>
          </a:effectRef>
          <a:fontRef idx="minor">
            <a:schemeClr val="tx1"/>
          </a:fontRef>
        </p:style>
      </p:cxnSp>
      <p:sp>
        <p:nvSpPr>
          <p:cNvPr id="23" name="Text Placeholder 10">
            <a:extLst>
              <a:ext uri="{FF2B5EF4-FFF2-40B4-BE49-F238E27FC236}">
                <a16:creationId xmlns:a16="http://schemas.microsoft.com/office/drawing/2014/main" id="{27733F01-895E-D296-BD5E-AA6566CCD249}"/>
              </a:ext>
            </a:extLst>
          </p:cNvPr>
          <p:cNvSpPr>
            <a:spLocks noGrp="1"/>
          </p:cNvSpPr>
          <p:nvPr>
            <p:ph type="body" sz="quarter" idx="31" hasCustomPrompt="1"/>
          </p:nvPr>
        </p:nvSpPr>
        <p:spPr>
          <a:xfrm>
            <a:off x="1114198" y="3825195"/>
            <a:ext cx="3660698" cy="319623"/>
          </a:xfrm>
          <a:prstGeom prst="rect">
            <a:avLst/>
          </a:prstGeom>
        </p:spPr>
        <p:txBody>
          <a:bodyPr lIns="0" tIns="91440" bIns="91440" anchor="ctr"/>
          <a:lstStyle>
            <a:lvl1pPr marL="0" indent="0">
              <a:buNone/>
              <a:defRPr lang="en-US" sz="1600" b="0" i="0" kern="1200" spc="-50" dirty="0" smtClean="0">
                <a:solidFill>
                  <a:schemeClr val="accent1"/>
                </a:solidFill>
                <a:latin typeface="Pfizer Tomorrow" panose="02010503040201060303" pitchFamily="50"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Secondary Item</a:t>
            </a:r>
          </a:p>
        </p:txBody>
      </p:sp>
      <p:sp>
        <p:nvSpPr>
          <p:cNvPr id="24" name="Text Placeholder 10">
            <a:extLst>
              <a:ext uri="{FF2B5EF4-FFF2-40B4-BE49-F238E27FC236}">
                <a16:creationId xmlns:a16="http://schemas.microsoft.com/office/drawing/2014/main" id="{4605E915-E7FA-965E-47F3-16FABE873E59}"/>
              </a:ext>
            </a:extLst>
          </p:cNvPr>
          <p:cNvSpPr>
            <a:spLocks noGrp="1"/>
          </p:cNvSpPr>
          <p:nvPr>
            <p:ph type="body" sz="quarter" idx="32" hasCustomPrompt="1"/>
          </p:nvPr>
        </p:nvSpPr>
        <p:spPr>
          <a:xfrm>
            <a:off x="6093242" y="3825195"/>
            <a:ext cx="1830349" cy="319623"/>
          </a:xfrm>
          <a:prstGeom prst="rect">
            <a:avLst/>
          </a:prstGeom>
        </p:spPr>
        <p:txBody>
          <a:bodyPr lIns="0" tIns="91440" rIns="0" bIns="91440" anchor="ctr"/>
          <a:lstStyle>
            <a:lvl1pPr marL="0" indent="0" algn="r">
              <a:buNone/>
              <a:defRPr lang="en-US" sz="1600" b="0" i="0" kern="1200" spc="-50" dirty="0" smtClean="0">
                <a:solidFill>
                  <a:schemeClr val="accent1"/>
                </a:solidFill>
                <a:latin typeface="Pfizer Tomorrow" panose="02010503040201060303" pitchFamily="50"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8 Mins</a:t>
            </a:r>
          </a:p>
        </p:txBody>
      </p:sp>
      <p:cxnSp>
        <p:nvCxnSpPr>
          <p:cNvPr id="25" name="Straight Connector 24">
            <a:extLst>
              <a:ext uri="{FF2B5EF4-FFF2-40B4-BE49-F238E27FC236}">
                <a16:creationId xmlns:a16="http://schemas.microsoft.com/office/drawing/2014/main" id="{20DBD71B-D4D4-DFAA-7D60-1DED4364D92C}"/>
              </a:ext>
            </a:extLst>
          </p:cNvPr>
          <p:cNvCxnSpPr/>
          <p:nvPr userDrawn="1"/>
        </p:nvCxnSpPr>
        <p:spPr>
          <a:xfrm>
            <a:off x="618102" y="5218954"/>
            <a:ext cx="7305489" cy="0"/>
          </a:xfrm>
          <a:prstGeom prst="line">
            <a:avLst/>
          </a:prstGeom>
        </p:spPr>
        <p:style>
          <a:lnRef idx="2">
            <a:schemeClr val="accent1"/>
          </a:lnRef>
          <a:fillRef idx="0">
            <a:schemeClr val="accent1"/>
          </a:fillRef>
          <a:effectRef idx="1">
            <a:schemeClr val="accent1"/>
          </a:effectRef>
          <a:fontRef idx="minor">
            <a:schemeClr val="tx1"/>
          </a:fontRef>
        </p:style>
      </p:cxnSp>
      <p:sp>
        <p:nvSpPr>
          <p:cNvPr id="26" name="Text Placeholder 10">
            <a:extLst>
              <a:ext uri="{FF2B5EF4-FFF2-40B4-BE49-F238E27FC236}">
                <a16:creationId xmlns:a16="http://schemas.microsoft.com/office/drawing/2014/main" id="{54563BFB-0A4E-1239-05E4-D5EA65BB83DA}"/>
              </a:ext>
            </a:extLst>
          </p:cNvPr>
          <p:cNvSpPr>
            <a:spLocks noGrp="1"/>
          </p:cNvSpPr>
          <p:nvPr>
            <p:ph type="body" sz="quarter" idx="33" hasCustomPrompt="1"/>
          </p:nvPr>
        </p:nvSpPr>
        <p:spPr>
          <a:xfrm>
            <a:off x="1112819" y="4411743"/>
            <a:ext cx="3660698" cy="319623"/>
          </a:xfrm>
          <a:prstGeom prst="rect">
            <a:avLst/>
          </a:prstGeom>
        </p:spPr>
        <p:txBody>
          <a:bodyPr lIns="0" tIns="91440" bIns="91440" anchor="ctr"/>
          <a:lstStyle>
            <a:lvl1pPr marL="0" indent="0">
              <a:buNone/>
              <a:defRPr lang="en-US" sz="1600" b="1" i="0" kern="1200" spc="-50" dirty="0" smtClean="0">
                <a:solidFill>
                  <a:schemeClr val="accent1"/>
                </a:solidFill>
                <a:latin typeface="+mj-lt"/>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Agenda Item #4</a:t>
            </a:r>
          </a:p>
        </p:txBody>
      </p:sp>
      <p:sp>
        <p:nvSpPr>
          <p:cNvPr id="27" name="Text Placeholder 10">
            <a:extLst>
              <a:ext uri="{FF2B5EF4-FFF2-40B4-BE49-F238E27FC236}">
                <a16:creationId xmlns:a16="http://schemas.microsoft.com/office/drawing/2014/main" id="{86E60367-6B46-717C-B4AB-2C3EE0AC4AAE}"/>
              </a:ext>
            </a:extLst>
          </p:cNvPr>
          <p:cNvSpPr>
            <a:spLocks noGrp="1"/>
          </p:cNvSpPr>
          <p:nvPr>
            <p:ph type="body" sz="quarter" idx="34" hasCustomPrompt="1"/>
          </p:nvPr>
        </p:nvSpPr>
        <p:spPr>
          <a:xfrm>
            <a:off x="6091863" y="4411743"/>
            <a:ext cx="1830349" cy="319623"/>
          </a:xfrm>
          <a:prstGeom prst="rect">
            <a:avLst/>
          </a:prstGeom>
        </p:spPr>
        <p:txBody>
          <a:bodyPr lIns="0" tIns="91440" rIns="0" bIns="91440" anchor="ctr"/>
          <a:lstStyle>
            <a:lvl1pPr marL="0" indent="0" algn="r">
              <a:buNone/>
              <a:defRPr lang="en-US" sz="1600" b="1" i="0" kern="1200" spc="-50" dirty="0" smtClean="0">
                <a:solidFill>
                  <a:schemeClr val="accent1"/>
                </a:solidFill>
                <a:latin typeface="+mj-lt"/>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20 Mins</a:t>
            </a:r>
          </a:p>
        </p:txBody>
      </p:sp>
      <p:sp>
        <p:nvSpPr>
          <p:cNvPr id="28" name="Text Placeholder 10">
            <a:extLst>
              <a:ext uri="{FF2B5EF4-FFF2-40B4-BE49-F238E27FC236}">
                <a16:creationId xmlns:a16="http://schemas.microsoft.com/office/drawing/2014/main" id="{FD5DA994-52F6-4C7C-90E4-11D9650B4944}"/>
              </a:ext>
            </a:extLst>
          </p:cNvPr>
          <p:cNvSpPr>
            <a:spLocks noGrp="1"/>
          </p:cNvSpPr>
          <p:nvPr>
            <p:ph type="body" sz="quarter" idx="39" hasCustomPrompt="1"/>
          </p:nvPr>
        </p:nvSpPr>
        <p:spPr>
          <a:xfrm>
            <a:off x="618726" y="4413286"/>
            <a:ext cx="474293" cy="319623"/>
          </a:xfrm>
          <a:prstGeom prst="rect">
            <a:avLst/>
          </a:prstGeom>
        </p:spPr>
        <p:txBody>
          <a:bodyPr lIns="0" tIns="91440" bIns="91440" anchor="ctr"/>
          <a:lstStyle>
            <a:lvl1pPr marL="0" indent="0">
              <a:buNone/>
              <a:defRPr lang="en-US" sz="1600" b="1" i="0" kern="1200" spc="-50" dirty="0" smtClean="0">
                <a:solidFill>
                  <a:schemeClr val="accent1"/>
                </a:solidFill>
                <a:latin typeface="+mj-lt"/>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04</a:t>
            </a:r>
          </a:p>
        </p:txBody>
      </p:sp>
      <p:sp>
        <p:nvSpPr>
          <p:cNvPr id="29" name="Text Placeholder 10">
            <a:extLst>
              <a:ext uri="{FF2B5EF4-FFF2-40B4-BE49-F238E27FC236}">
                <a16:creationId xmlns:a16="http://schemas.microsoft.com/office/drawing/2014/main" id="{0B3013C7-F4F9-1ABC-CB8E-FCBF0DF980CB}"/>
              </a:ext>
            </a:extLst>
          </p:cNvPr>
          <p:cNvSpPr>
            <a:spLocks noGrp="1"/>
          </p:cNvSpPr>
          <p:nvPr>
            <p:ph type="body" sz="quarter" idx="42" hasCustomPrompt="1"/>
          </p:nvPr>
        </p:nvSpPr>
        <p:spPr>
          <a:xfrm>
            <a:off x="1112819" y="4760377"/>
            <a:ext cx="3660698" cy="319623"/>
          </a:xfrm>
          <a:prstGeom prst="rect">
            <a:avLst/>
          </a:prstGeom>
        </p:spPr>
        <p:txBody>
          <a:bodyPr lIns="0" tIns="91440" bIns="91440" anchor="ctr"/>
          <a:lstStyle>
            <a:lvl1pPr marL="0" indent="0">
              <a:buNone/>
              <a:defRPr lang="en-US" sz="1600" b="0" i="0" kern="1200" spc="-50" dirty="0" smtClean="0">
                <a:solidFill>
                  <a:schemeClr val="accent1"/>
                </a:solidFill>
                <a:latin typeface="Pfizer Tomorrow" panose="02010503040201060303" pitchFamily="50"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Secondary Item</a:t>
            </a:r>
          </a:p>
        </p:txBody>
      </p:sp>
      <p:sp>
        <p:nvSpPr>
          <p:cNvPr id="30" name="Text Placeholder 10">
            <a:extLst>
              <a:ext uri="{FF2B5EF4-FFF2-40B4-BE49-F238E27FC236}">
                <a16:creationId xmlns:a16="http://schemas.microsoft.com/office/drawing/2014/main" id="{2CAD3342-3307-1459-FF7C-C77621F27154}"/>
              </a:ext>
            </a:extLst>
          </p:cNvPr>
          <p:cNvSpPr>
            <a:spLocks noGrp="1"/>
          </p:cNvSpPr>
          <p:nvPr>
            <p:ph type="body" sz="quarter" idx="43" hasCustomPrompt="1"/>
          </p:nvPr>
        </p:nvSpPr>
        <p:spPr>
          <a:xfrm>
            <a:off x="6091863" y="4760377"/>
            <a:ext cx="1830349" cy="319623"/>
          </a:xfrm>
          <a:prstGeom prst="rect">
            <a:avLst/>
          </a:prstGeom>
        </p:spPr>
        <p:txBody>
          <a:bodyPr lIns="0" tIns="91440" rIns="0" bIns="91440" anchor="ctr"/>
          <a:lstStyle>
            <a:lvl1pPr marL="0" indent="0" algn="r">
              <a:buNone/>
              <a:defRPr lang="en-US" sz="1600" b="0" i="0" kern="1200" spc="-50" dirty="0" smtClean="0">
                <a:solidFill>
                  <a:schemeClr val="accent1"/>
                </a:solidFill>
                <a:latin typeface="Pfizer Tomorrow" panose="02010503040201060303" pitchFamily="50"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8 Mins</a:t>
            </a:r>
          </a:p>
        </p:txBody>
      </p:sp>
      <p:cxnSp>
        <p:nvCxnSpPr>
          <p:cNvPr id="32" name="Straight Connector 31">
            <a:extLst>
              <a:ext uri="{FF2B5EF4-FFF2-40B4-BE49-F238E27FC236}">
                <a16:creationId xmlns:a16="http://schemas.microsoft.com/office/drawing/2014/main" id="{7A6056DA-18D4-23B2-6A2F-47AB3EEFCC7B}"/>
              </a:ext>
            </a:extLst>
          </p:cNvPr>
          <p:cNvCxnSpPr/>
          <p:nvPr userDrawn="1"/>
        </p:nvCxnSpPr>
        <p:spPr>
          <a:xfrm>
            <a:off x="615344" y="6165665"/>
            <a:ext cx="7305489" cy="0"/>
          </a:xfrm>
          <a:prstGeom prst="line">
            <a:avLst/>
          </a:prstGeom>
        </p:spPr>
        <p:style>
          <a:lnRef idx="2">
            <a:schemeClr val="accent1"/>
          </a:lnRef>
          <a:fillRef idx="0">
            <a:schemeClr val="accent1"/>
          </a:fillRef>
          <a:effectRef idx="1">
            <a:schemeClr val="accent1"/>
          </a:effectRef>
          <a:fontRef idx="minor">
            <a:schemeClr val="tx1"/>
          </a:fontRef>
        </p:style>
      </p:cxnSp>
      <p:sp>
        <p:nvSpPr>
          <p:cNvPr id="33" name="Text Placeholder 10">
            <a:extLst>
              <a:ext uri="{FF2B5EF4-FFF2-40B4-BE49-F238E27FC236}">
                <a16:creationId xmlns:a16="http://schemas.microsoft.com/office/drawing/2014/main" id="{8EAB4F4B-7C66-EBBB-E83C-20555AEEC0BD}"/>
              </a:ext>
            </a:extLst>
          </p:cNvPr>
          <p:cNvSpPr>
            <a:spLocks noGrp="1"/>
          </p:cNvSpPr>
          <p:nvPr>
            <p:ph type="body" sz="quarter" idx="44" hasCustomPrompt="1"/>
          </p:nvPr>
        </p:nvSpPr>
        <p:spPr>
          <a:xfrm>
            <a:off x="1110061" y="5358454"/>
            <a:ext cx="3660698" cy="319623"/>
          </a:xfrm>
          <a:prstGeom prst="rect">
            <a:avLst/>
          </a:prstGeom>
        </p:spPr>
        <p:txBody>
          <a:bodyPr lIns="0" tIns="91440" bIns="91440" anchor="ctr"/>
          <a:lstStyle>
            <a:lvl1pPr marL="0" indent="0">
              <a:buNone/>
              <a:defRPr lang="en-US" sz="1600" b="1" i="0" kern="1200" spc="-50" dirty="0" smtClean="0">
                <a:solidFill>
                  <a:schemeClr val="accent1"/>
                </a:solidFill>
                <a:latin typeface="+mj-lt"/>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Agenda Item #4</a:t>
            </a:r>
          </a:p>
        </p:txBody>
      </p:sp>
      <p:sp>
        <p:nvSpPr>
          <p:cNvPr id="34" name="Text Placeholder 10">
            <a:extLst>
              <a:ext uri="{FF2B5EF4-FFF2-40B4-BE49-F238E27FC236}">
                <a16:creationId xmlns:a16="http://schemas.microsoft.com/office/drawing/2014/main" id="{9A07E161-15CE-1EB3-EF09-287A0C700E32}"/>
              </a:ext>
            </a:extLst>
          </p:cNvPr>
          <p:cNvSpPr>
            <a:spLocks noGrp="1"/>
          </p:cNvSpPr>
          <p:nvPr>
            <p:ph type="body" sz="quarter" idx="45" hasCustomPrompt="1"/>
          </p:nvPr>
        </p:nvSpPr>
        <p:spPr>
          <a:xfrm>
            <a:off x="6089105" y="5358454"/>
            <a:ext cx="1830349" cy="319623"/>
          </a:xfrm>
          <a:prstGeom prst="rect">
            <a:avLst/>
          </a:prstGeom>
        </p:spPr>
        <p:txBody>
          <a:bodyPr lIns="0" tIns="91440" rIns="0" bIns="91440" anchor="ctr"/>
          <a:lstStyle>
            <a:lvl1pPr marL="0" indent="0" algn="r">
              <a:buNone/>
              <a:defRPr lang="en-US" sz="1600" b="1" i="0" kern="1200" spc="-50" dirty="0" smtClean="0">
                <a:solidFill>
                  <a:schemeClr val="accent1"/>
                </a:solidFill>
                <a:latin typeface="+mj-lt"/>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20 Mins</a:t>
            </a:r>
          </a:p>
        </p:txBody>
      </p:sp>
      <p:sp>
        <p:nvSpPr>
          <p:cNvPr id="35" name="Text Placeholder 10">
            <a:extLst>
              <a:ext uri="{FF2B5EF4-FFF2-40B4-BE49-F238E27FC236}">
                <a16:creationId xmlns:a16="http://schemas.microsoft.com/office/drawing/2014/main" id="{D9FE9ACA-E01E-460F-70CC-E3E7C0010956}"/>
              </a:ext>
            </a:extLst>
          </p:cNvPr>
          <p:cNvSpPr>
            <a:spLocks noGrp="1"/>
          </p:cNvSpPr>
          <p:nvPr>
            <p:ph type="body" sz="quarter" idx="46" hasCustomPrompt="1"/>
          </p:nvPr>
        </p:nvSpPr>
        <p:spPr>
          <a:xfrm>
            <a:off x="615968" y="5359997"/>
            <a:ext cx="474293" cy="319623"/>
          </a:xfrm>
          <a:prstGeom prst="rect">
            <a:avLst/>
          </a:prstGeom>
        </p:spPr>
        <p:txBody>
          <a:bodyPr lIns="0" tIns="91440" bIns="91440" anchor="ctr"/>
          <a:lstStyle>
            <a:lvl1pPr marL="0" indent="0">
              <a:buNone/>
              <a:defRPr lang="en-US" sz="1600" b="1" i="0" kern="1200" spc="-50" dirty="0" smtClean="0">
                <a:solidFill>
                  <a:schemeClr val="accent1"/>
                </a:solidFill>
                <a:latin typeface="+mj-lt"/>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05</a:t>
            </a:r>
          </a:p>
        </p:txBody>
      </p:sp>
      <p:sp>
        <p:nvSpPr>
          <p:cNvPr id="36" name="Text Placeholder 10">
            <a:extLst>
              <a:ext uri="{FF2B5EF4-FFF2-40B4-BE49-F238E27FC236}">
                <a16:creationId xmlns:a16="http://schemas.microsoft.com/office/drawing/2014/main" id="{604B61DC-D8D7-FECD-D305-7F9020EDC940}"/>
              </a:ext>
            </a:extLst>
          </p:cNvPr>
          <p:cNvSpPr>
            <a:spLocks noGrp="1"/>
          </p:cNvSpPr>
          <p:nvPr>
            <p:ph type="body" sz="quarter" idx="47" hasCustomPrompt="1"/>
          </p:nvPr>
        </p:nvSpPr>
        <p:spPr>
          <a:xfrm>
            <a:off x="1110061" y="5707088"/>
            <a:ext cx="3660698" cy="319623"/>
          </a:xfrm>
          <a:prstGeom prst="rect">
            <a:avLst/>
          </a:prstGeom>
        </p:spPr>
        <p:txBody>
          <a:bodyPr lIns="0" tIns="91440" bIns="91440" anchor="ctr"/>
          <a:lstStyle>
            <a:lvl1pPr marL="0" indent="0">
              <a:buNone/>
              <a:defRPr lang="en-US" sz="1600" b="0" i="0" kern="1200" spc="-50" dirty="0" smtClean="0">
                <a:solidFill>
                  <a:schemeClr val="accent1"/>
                </a:solidFill>
                <a:latin typeface="Pfizer Tomorrow" panose="02010503040201060303" pitchFamily="50"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Secondary Item</a:t>
            </a:r>
          </a:p>
        </p:txBody>
      </p:sp>
      <p:sp>
        <p:nvSpPr>
          <p:cNvPr id="37" name="Text Placeholder 10">
            <a:extLst>
              <a:ext uri="{FF2B5EF4-FFF2-40B4-BE49-F238E27FC236}">
                <a16:creationId xmlns:a16="http://schemas.microsoft.com/office/drawing/2014/main" id="{FF91091F-207D-0D8D-A257-9CC45AFDF35D}"/>
              </a:ext>
            </a:extLst>
          </p:cNvPr>
          <p:cNvSpPr>
            <a:spLocks noGrp="1"/>
          </p:cNvSpPr>
          <p:nvPr>
            <p:ph type="body" sz="quarter" idx="48" hasCustomPrompt="1"/>
          </p:nvPr>
        </p:nvSpPr>
        <p:spPr>
          <a:xfrm>
            <a:off x="6089105" y="5707088"/>
            <a:ext cx="1830349" cy="319623"/>
          </a:xfrm>
          <a:prstGeom prst="rect">
            <a:avLst/>
          </a:prstGeom>
        </p:spPr>
        <p:txBody>
          <a:bodyPr lIns="0" tIns="91440" rIns="0" bIns="91440" anchor="ctr"/>
          <a:lstStyle>
            <a:lvl1pPr marL="0" indent="0" algn="r">
              <a:buNone/>
              <a:defRPr lang="en-US" sz="1600" b="0" i="0" kern="1200" spc="-50" dirty="0" smtClean="0">
                <a:solidFill>
                  <a:schemeClr val="accent1"/>
                </a:solidFill>
                <a:latin typeface="Pfizer Tomorrow" panose="02010503040201060303" pitchFamily="50"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a:t>8 Mins</a:t>
            </a:r>
          </a:p>
        </p:txBody>
      </p:sp>
      <p:sp>
        <p:nvSpPr>
          <p:cNvPr id="2" name="Title 6">
            <a:extLst>
              <a:ext uri="{FF2B5EF4-FFF2-40B4-BE49-F238E27FC236}">
                <a16:creationId xmlns:a16="http://schemas.microsoft.com/office/drawing/2014/main" id="{73457D3E-901F-4A7B-CA9B-D3F0EF5FC34E}"/>
              </a:ext>
            </a:extLst>
          </p:cNvPr>
          <p:cNvSpPr>
            <a:spLocks noGrp="1"/>
          </p:cNvSpPr>
          <p:nvPr>
            <p:ph type="title" hasCustomPrompt="1"/>
          </p:nvPr>
        </p:nvSpPr>
        <p:spPr>
          <a:xfrm>
            <a:off x="535798" y="700250"/>
            <a:ext cx="7390551" cy="744822"/>
          </a:xfrm>
          <a:prstGeom prst="rect">
            <a:avLst/>
          </a:prstGeom>
        </p:spPr>
        <p:txBody>
          <a:bodyPr/>
          <a:lstStyle>
            <a:lvl1pPr>
              <a:lnSpc>
                <a:spcPct val="80000"/>
              </a:lnSpc>
              <a:defRPr lang="en-US" sz="4799" b="1" kern="1200" spc="-25" dirty="0">
                <a:solidFill>
                  <a:schemeClr val="accent1"/>
                </a:solidFill>
                <a:latin typeface="+mj-lt"/>
                <a:ea typeface="+mj-ea"/>
                <a:cs typeface="+mj-cs"/>
              </a:defRPr>
            </a:lvl1pPr>
          </a:lstStyle>
          <a:p>
            <a:r>
              <a:rPr lang="en-US"/>
              <a:t>Today’s Agenda</a:t>
            </a:r>
          </a:p>
        </p:txBody>
      </p:sp>
    </p:spTree>
    <p:extLst>
      <p:ext uri="{BB962C8B-B14F-4D97-AF65-F5344CB8AC3E}">
        <p14:creationId xmlns:p14="http://schemas.microsoft.com/office/powerpoint/2010/main" val="7200016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with Image Dark">
    <p:bg>
      <p:bgPr>
        <a:solidFill>
          <a:srgbClr val="0000CA"/>
        </a:solidFill>
        <a:effectLst/>
      </p:bgPr>
    </p:bg>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77BB5660-0ACC-420C-FE42-E4567F70BFDC}"/>
              </a:ext>
            </a:extLst>
          </p:cNvPr>
          <p:cNvSpPr>
            <a:spLocks noGrp="1"/>
          </p:cNvSpPr>
          <p:nvPr>
            <p:ph type="pic" sz="quarter" idx="14"/>
          </p:nvPr>
        </p:nvSpPr>
        <p:spPr>
          <a:xfrm>
            <a:off x="0" y="0"/>
            <a:ext cx="12192000" cy="6858000"/>
          </a:xfrm>
          <a:prstGeom prst="rect">
            <a:avLst/>
          </a:prstGeom>
        </p:spPr>
        <p:txBody>
          <a:bodyPr/>
          <a:lstStyle>
            <a:lvl1pPr>
              <a:defRPr>
                <a:latin typeface="Pfizer Tomorrow" panose="02010503040201060303" pitchFamily="50" charset="0"/>
              </a:defRPr>
            </a:lvl1pPr>
          </a:lstStyle>
          <a:p>
            <a:endParaRPr lang="en-US"/>
          </a:p>
        </p:txBody>
      </p:sp>
      <p:sp>
        <p:nvSpPr>
          <p:cNvPr id="3" name="Title 6">
            <a:extLst>
              <a:ext uri="{FF2B5EF4-FFF2-40B4-BE49-F238E27FC236}">
                <a16:creationId xmlns:a16="http://schemas.microsoft.com/office/drawing/2014/main" id="{DB4DEE37-4C57-A98E-FC92-AA751D7B200F}"/>
              </a:ext>
            </a:extLst>
          </p:cNvPr>
          <p:cNvSpPr>
            <a:spLocks noGrp="1"/>
          </p:cNvSpPr>
          <p:nvPr>
            <p:ph type="title" hasCustomPrompt="1"/>
          </p:nvPr>
        </p:nvSpPr>
        <p:spPr>
          <a:xfrm>
            <a:off x="535798" y="648878"/>
            <a:ext cx="9186800" cy="2436565"/>
          </a:xfrm>
          <a:prstGeom prst="rect">
            <a:avLst/>
          </a:prstGeom>
        </p:spPr>
        <p:txBody>
          <a:bodyPr/>
          <a:lstStyle>
            <a:lvl1pPr>
              <a:lnSpc>
                <a:spcPct val="80000"/>
              </a:lnSpc>
              <a:defRPr lang="en-US" sz="7200" b="1" kern="1200" spc="-25" dirty="0">
                <a:solidFill>
                  <a:schemeClr val="bg1"/>
                </a:solidFill>
                <a:latin typeface="Pfizer Tomorrow" panose="02010503040201060303" pitchFamily="2" charset="77"/>
                <a:ea typeface="+mj-ea"/>
                <a:cs typeface="+mj-cs"/>
              </a:defRPr>
            </a:lvl1pPr>
          </a:lstStyle>
          <a:p>
            <a:r>
              <a:rPr lang="en-US"/>
              <a:t>Presentation Title</a:t>
            </a:r>
          </a:p>
        </p:txBody>
      </p:sp>
      <p:sp>
        <p:nvSpPr>
          <p:cNvPr id="5" name="Text Placeholder 10">
            <a:extLst>
              <a:ext uri="{FF2B5EF4-FFF2-40B4-BE49-F238E27FC236}">
                <a16:creationId xmlns:a16="http://schemas.microsoft.com/office/drawing/2014/main" id="{21666A8F-937A-95F5-09E9-A7E0813E857E}"/>
              </a:ext>
            </a:extLst>
          </p:cNvPr>
          <p:cNvSpPr>
            <a:spLocks noGrp="1"/>
          </p:cNvSpPr>
          <p:nvPr>
            <p:ph type="body" sz="quarter" idx="12" hasCustomPrompt="1"/>
          </p:nvPr>
        </p:nvSpPr>
        <p:spPr>
          <a:xfrm>
            <a:off x="558097" y="3226917"/>
            <a:ext cx="4871840" cy="1349296"/>
          </a:xfrm>
          <a:prstGeom prst="rect">
            <a:avLst/>
          </a:prstGeom>
        </p:spPr>
        <p:txBody>
          <a:bodyPr/>
          <a:lstStyle>
            <a:lvl1pPr marL="0" indent="0">
              <a:buNone/>
              <a:defRPr lang="en-US" sz="2800" b="0" i="0" kern="1200" spc="-50" dirty="0" smtClean="0">
                <a:solidFill>
                  <a:schemeClr val="bg1"/>
                </a:solidFill>
                <a:latin typeface="Pfizer Tomorrow" panose="02010503040201060303" pitchFamily="50" charset="0"/>
                <a:ea typeface="+mn-ea"/>
                <a:cs typeface="+mn-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Subhead Here</a:t>
            </a:r>
          </a:p>
        </p:txBody>
      </p:sp>
      <p:pic>
        <p:nvPicPr>
          <p:cNvPr id="6" name="Picture 5">
            <a:extLst>
              <a:ext uri="{FF2B5EF4-FFF2-40B4-BE49-F238E27FC236}">
                <a16:creationId xmlns:a16="http://schemas.microsoft.com/office/drawing/2014/main" id="{E3DEB21D-58AB-EA20-F824-1739C3370256}"/>
              </a:ext>
            </a:extLst>
          </p:cNvPr>
          <p:cNvPicPr>
            <a:picLocks noChangeAspect="1"/>
          </p:cNvPicPr>
          <p:nvPr userDrawn="1"/>
        </p:nvPicPr>
        <p:blipFill>
          <a:blip r:embed="rId2"/>
          <a:stretch>
            <a:fillRect/>
          </a:stretch>
        </p:blipFill>
        <p:spPr>
          <a:xfrm>
            <a:off x="619206" y="5750031"/>
            <a:ext cx="1443897" cy="589314"/>
          </a:xfrm>
          <a:prstGeom prst="rect">
            <a:avLst/>
          </a:prstGeom>
        </p:spPr>
      </p:pic>
      <p:sp>
        <p:nvSpPr>
          <p:cNvPr id="10" name="Text Placeholder 10">
            <a:extLst>
              <a:ext uri="{FF2B5EF4-FFF2-40B4-BE49-F238E27FC236}">
                <a16:creationId xmlns:a16="http://schemas.microsoft.com/office/drawing/2014/main" id="{AB6369F7-1D82-F6C8-6D8D-FBB41C2FB9DC}"/>
              </a:ext>
            </a:extLst>
          </p:cNvPr>
          <p:cNvSpPr>
            <a:spLocks noGrp="1"/>
          </p:cNvSpPr>
          <p:nvPr>
            <p:ph type="body" sz="quarter" idx="13" hasCustomPrompt="1"/>
          </p:nvPr>
        </p:nvSpPr>
        <p:spPr>
          <a:xfrm>
            <a:off x="6705157" y="5926783"/>
            <a:ext cx="4871840" cy="422078"/>
          </a:xfrm>
          <a:prstGeom prst="rect">
            <a:avLst/>
          </a:prstGeom>
        </p:spPr>
        <p:txBody>
          <a:bodyPr rIns="0"/>
          <a:lstStyle>
            <a:lvl1pPr marL="0" indent="0" algn="r">
              <a:buNone/>
              <a:defRPr lang="en-US" sz="2000" b="0" i="0" kern="1200" spc="-50" dirty="0" smtClean="0">
                <a:solidFill>
                  <a:schemeClr val="bg1"/>
                </a:solidFill>
                <a:latin typeface="Pfizer Tomorrow" panose="02010503040201060303" pitchFamily="50" charset="0"/>
                <a:ea typeface="+mn-ea"/>
                <a:cs typeface="+mn-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Date Here</a:t>
            </a:r>
          </a:p>
        </p:txBody>
      </p:sp>
    </p:spTree>
    <p:extLst>
      <p:ext uri="{BB962C8B-B14F-4D97-AF65-F5344CB8AC3E}">
        <p14:creationId xmlns:p14="http://schemas.microsoft.com/office/powerpoint/2010/main" val="11094096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 Colleagues">
    <p:spTree>
      <p:nvGrpSpPr>
        <p:cNvPr id="1" name=""/>
        <p:cNvGrpSpPr/>
        <p:nvPr/>
      </p:nvGrpSpPr>
      <p:grpSpPr>
        <a:xfrm>
          <a:off x="0" y="0"/>
          <a:ext cx="0" cy="0"/>
          <a:chOff x="0" y="0"/>
          <a:chExt cx="0" cy="0"/>
        </a:xfrm>
      </p:grpSpPr>
      <p:sp>
        <p:nvSpPr>
          <p:cNvPr id="28" name="Picture Placeholder 14">
            <a:extLst>
              <a:ext uri="{FF2B5EF4-FFF2-40B4-BE49-F238E27FC236}">
                <a16:creationId xmlns:a16="http://schemas.microsoft.com/office/drawing/2014/main" id="{4D9D1C4A-C60A-6C1A-E63A-34CC543A092F}"/>
              </a:ext>
            </a:extLst>
          </p:cNvPr>
          <p:cNvSpPr>
            <a:spLocks noGrp="1"/>
          </p:cNvSpPr>
          <p:nvPr>
            <p:ph type="pic" sz="quarter" idx="21"/>
          </p:nvPr>
        </p:nvSpPr>
        <p:spPr>
          <a:xfrm>
            <a:off x="615419" y="1250081"/>
            <a:ext cx="2102844" cy="4118377"/>
          </a:xfrm>
          <a:prstGeom prst="rect">
            <a:avLst/>
          </a:prstGeom>
        </p:spPr>
        <p:txBody>
          <a:bodyPr/>
          <a:lstStyle>
            <a:lvl1pPr>
              <a:defRPr>
                <a:latin typeface="Pfizer Tomorrow" panose="02010503040201060303" pitchFamily="50" charset="0"/>
              </a:defRPr>
            </a:lvl1pPr>
          </a:lstStyle>
          <a:p>
            <a:endParaRPr lang="en-US"/>
          </a:p>
        </p:txBody>
      </p:sp>
      <p:sp>
        <p:nvSpPr>
          <p:cNvPr id="29" name="Picture Placeholder 14">
            <a:extLst>
              <a:ext uri="{FF2B5EF4-FFF2-40B4-BE49-F238E27FC236}">
                <a16:creationId xmlns:a16="http://schemas.microsoft.com/office/drawing/2014/main" id="{6EA5A9F9-5CBE-1CC9-D1DF-746629D2E0B6}"/>
              </a:ext>
            </a:extLst>
          </p:cNvPr>
          <p:cNvSpPr>
            <a:spLocks noGrp="1"/>
          </p:cNvSpPr>
          <p:nvPr>
            <p:ph type="pic" sz="quarter" idx="22"/>
          </p:nvPr>
        </p:nvSpPr>
        <p:spPr>
          <a:xfrm>
            <a:off x="2843751" y="1250081"/>
            <a:ext cx="2102844" cy="4118377"/>
          </a:xfrm>
          <a:prstGeom prst="rect">
            <a:avLst/>
          </a:prstGeom>
        </p:spPr>
        <p:txBody>
          <a:bodyPr/>
          <a:lstStyle>
            <a:lvl1pPr>
              <a:defRPr>
                <a:latin typeface="Pfizer Tomorrow" panose="02010503040201060303" pitchFamily="50" charset="0"/>
              </a:defRPr>
            </a:lvl1pPr>
          </a:lstStyle>
          <a:p>
            <a:endParaRPr lang="en-US"/>
          </a:p>
        </p:txBody>
      </p:sp>
      <p:sp>
        <p:nvSpPr>
          <p:cNvPr id="30" name="Picture Placeholder 14">
            <a:extLst>
              <a:ext uri="{FF2B5EF4-FFF2-40B4-BE49-F238E27FC236}">
                <a16:creationId xmlns:a16="http://schemas.microsoft.com/office/drawing/2014/main" id="{D60A1182-B6DA-22DA-AC08-A79D617B2107}"/>
              </a:ext>
            </a:extLst>
          </p:cNvPr>
          <p:cNvSpPr>
            <a:spLocks noGrp="1"/>
          </p:cNvSpPr>
          <p:nvPr>
            <p:ph type="pic" sz="quarter" idx="23"/>
          </p:nvPr>
        </p:nvSpPr>
        <p:spPr>
          <a:xfrm>
            <a:off x="5049682" y="1250081"/>
            <a:ext cx="2102844" cy="4118377"/>
          </a:xfrm>
          <a:prstGeom prst="rect">
            <a:avLst/>
          </a:prstGeom>
        </p:spPr>
        <p:txBody>
          <a:bodyPr/>
          <a:lstStyle>
            <a:lvl1pPr>
              <a:defRPr>
                <a:latin typeface="Pfizer Tomorrow" panose="02010503040201060303" pitchFamily="50" charset="0"/>
              </a:defRPr>
            </a:lvl1pPr>
          </a:lstStyle>
          <a:p>
            <a:endParaRPr lang="en-US"/>
          </a:p>
        </p:txBody>
      </p:sp>
      <p:sp>
        <p:nvSpPr>
          <p:cNvPr id="31" name="Picture Placeholder 14">
            <a:extLst>
              <a:ext uri="{FF2B5EF4-FFF2-40B4-BE49-F238E27FC236}">
                <a16:creationId xmlns:a16="http://schemas.microsoft.com/office/drawing/2014/main" id="{4EDCEA16-07DF-77CC-9173-DE731391D4C4}"/>
              </a:ext>
            </a:extLst>
          </p:cNvPr>
          <p:cNvSpPr>
            <a:spLocks noGrp="1"/>
          </p:cNvSpPr>
          <p:nvPr>
            <p:ph type="pic" sz="quarter" idx="24"/>
          </p:nvPr>
        </p:nvSpPr>
        <p:spPr>
          <a:xfrm>
            <a:off x="7266585" y="1250081"/>
            <a:ext cx="2102844" cy="4118377"/>
          </a:xfrm>
          <a:prstGeom prst="rect">
            <a:avLst/>
          </a:prstGeom>
        </p:spPr>
        <p:txBody>
          <a:bodyPr/>
          <a:lstStyle>
            <a:lvl1pPr>
              <a:defRPr>
                <a:latin typeface="Pfizer Tomorrow" panose="02010503040201060303" pitchFamily="50" charset="0"/>
              </a:defRPr>
            </a:lvl1pPr>
          </a:lstStyle>
          <a:p>
            <a:endParaRPr lang="en-US"/>
          </a:p>
        </p:txBody>
      </p:sp>
      <p:sp>
        <p:nvSpPr>
          <p:cNvPr id="32" name="Picture Placeholder 14">
            <a:extLst>
              <a:ext uri="{FF2B5EF4-FFF2-40B4-BE49-F238E27FC236}">
                <a16:creationId xmlns:a16="http://schemas.microsoft.com/office/drawing/2014/main" id="{30A8BC55-0D5D-BC42-C91A-EFBE13681A3A}"/>
              </a:ext>
            </a:extLst>
          </p:cNvPr>
          <p:cNvSpPr>
            <a:spLocks noGrp="1"/>
          </p:cNvSpPr>
          <p:nvPr>
            <p:ph type="pic" sz="quarter" idx="25"/>
          </p:nvPr>
        </p:nvSpPr>
        <p:spPr>
          <a:xfrm>
            <a:off x="9472516" y="1250081"/>
            <a:ext cx="2102844" cy="4118377"/>
          </a:xfrm>
          <a:prstGeom prst="rect">
            <a:avLst/>
          </a:prstGeom>
        </p:spPr>
        <p:txBody>
          <a:bodyPr/>
          <a:lstStyle>
            <a:lvl1pPr>
              <a:defRPr>
                <a:latin typeface="Pfizer Tomorrow" panose="02010503040201060303" pitchFamily="50" charset="0"/>
              </a:defRPr>
            </a:lvl1pPr>
          </a:lstStyle>
          <a:p>
            <a:endParaRPr lang="en-US"/>
          </a:p>
        </p:txBody>
      </p:sp>
      <p:sp>
        <p:nvSpPr>
          <p:cNvPr id="2" name="Title 6">
            <a:extLst>
              <a:ext uri="{FF2B5EF4-FFF2-40B4-BE49-F238E27FC236}">
                <a16:creationId xmlns:a16="http://schemas.microsoft.com/office/drawing/2014/main" id="{30DA4A48-1E02-20AC-D056-00D2037BC53D}"/>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3" name="Text Placeholder 10">
            <a:extLst>
              <a:ext uri="{FF2B5EF4-FFF2-40B4-BE49-F238E27FC236}">
                <a16:creationId xmlns:a16="http://schemas.microsoft.com/office/drawing/2014/main" id="{42D41E0E-697B-9011-3E20-4C1591E144F8}"/>
              </a:ext>
            </a:extLst>
          </p:cNvPr>
          <p:cNvSpPr>
            <a:spLocks noGrp="1"/>
          </p:cNvSpPr>
          <p:nvPr>
            <p:ph type="body" sz="quarter" idx="13" hasCustomPrompt="1"/>
          </p:nvPr>
        </p:nvSpPr>
        <p:spPr>
          <a:xfrm>
            <a:off x="617597" y="5509773"/>
            <a:ext cx="1837755" cy="249299"/>
          </a:xfrm>
          <a:prstGeom prst="rect">
            <a:avLst/>
          </a:prstGeom>
        </p:spPr>
        <p:txBody>
          <a:bodyPr lIns="0" tIns="0" rIns="0" bIns="0">
            <a:spAutoFit/>
          </a:bodyPr>
          <a:lstStyle>
            <a:lvl1pPr marL="0" indent="0">
              <a:buNone/>
              <a:defRPr lang="en-US" sz="18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4" name="Text Placeholder 10">
            <a:extLst>
              <a:ext uri="{FF2B5EF4-FFF2-40B4-BE49-F238E27FC236}">
                <a16:creationId xmlns:a16="http://schemas.microsoft.com/office/drawing/2014/main" id="{E9D5A23C-E54E-FD3B-6A69-0D8C51F95006}"/>
              </a:ext>
            </a:extLst>
          </p:cNvPr>
          <p:cNvSpPr>
            <a:spLocks noGrp="1"/>
          </p:cNvSpPr>
          <p:nvPr>
            <p:ph type="body" sz="quarter" idx="14" hasCustomPrompt="1"/>
          </p:nvPr>
        </p:nvSpPr>
        <p:spPr>
          <a:xfrm>
            <a:off x="619122" y="5808271"/>
            <a:ext cx="1837755" cy="227755"/>
          </a:xfrm>
          <a:prstGeom prst="rect">
            <a:avLst/>
          </a:prstGeom>
        </p:spPr>
        <p:txBody>
          <a:bodyPr lIns="0" tIns="0" rIns="0" bIns="0">
            <a:spAutoFit/>
          </a:bodyPr>
          <a:lstStyle>
            <a:lvl1pPr marL="0" indent="0">
              <a:buNone/>
              <a:defRPr lang="en-US" sz="16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5" name="Text Placeholder 10">
            <a:extLst>
              <a:ext uri="{FF2B5EF4-FFF2-40B4-BE49-F238E27FC236}">
                <a16:creationId xmlns:a16="http://schemas.microsoft.com/office/drawing/2014/main" id="{C62722E1-2015-E360-2020-2E667BC8A12E}"/>
              </a:ext>
            </a:extLst>
          </p:cNvPr>
          <p:cNvSpPr>
            <a:spLocks noGrp="1"/>
          </p:cNvSpPr>
          <p:nvPr>
            <p:ph type="body" sz="quarter" idx="26" hasCustomPrompt="1"/>
          </p:nvPr>
        </p:nvSpPr>
        <p:spPr>
          <a:xfrm>
            <a:off x="2843751" y="5509773"/>
            <a:ext cx="1837755" cy="249299"/>
          </a:xfrm>
          <a:prstGeom prst="rect">
            <a:avLst/>
          </a:prstGeom>
        </p:spPr>
        <p:txBody>
          <a:bodyPr lIns="0" tIns="0" rIns="0" bIns="0">
            <a:spAutoFit/>
          </a:bodyPr>
          <a:lstStyle>
            <a:lvl1pPr marL="0" indent="0">
              <a:buNone/>
              <a:defRPr lang="en-US" sz="18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6" name="Text Placeholder 10">
            <a:extLst>
              <a:ext uri="{FF2B5EF4-FFF2-40B4-BE49-F238E27FC236}">
                <a16:creationId xmlns:a16="http://schemas.microsoft.com/office/drawing/2014/main" id="{667437FB-6B19-000B-1907-FF25ACBCB85E}"/>
              </a:ext>
            </a:extLst>
          </p:cNvPr>
          <p:cNvSpPr>
            <a:spLocks noGrp="1"/>
          </p:cNvSpPr>
          <p:nvPr>
            <p:ph type="body" sz="quarter" idx="27" hasCustomPrompt="1"/>
          </p:nvPr>
        </p:nvSpPr>
        <p:spPr>
          <a:xfrm>
            <a:off x="2845276" y="5808271"/>
            <a:ext cx="1837755" cy="227755"/>
          </a:xfrm>
          <a:prstGeom prst="rect">
            <a:avLst/>
          </a:prstGeom>
        </p:spPr>
        <p:txBody>
          <a:bodyPr lIns="0" tIns="0" rIns="0" bIns="0">
            <a:spAutoFit/>
          </a:bodyPr>
          <a:lstStyle>
            <a:lvl1pPr marL="0" indent="0">
              <a:buNone/>
              <a:defRPr lang="en-US" sz="16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7" name="Text Placeholder 10">
            <a:extLst>
              <a:ext uri="{FF2B5EF4-FFF2-40B4-BE49-F238E27FC236}">
                <a16:creationId xmlns:a16="http://schemas.microsoft.com/office/drawing/2014/main" id="{2F756DC4-E021-B156-AF7D-32AE0F32610F}"/>
              </a:ext>
            </a:extLst>
          </p:cNvPr>
          <p:cNvSpPr>
            <a:spLocks noGrp="1"/>
          </p:cNvSpPr>
          <p:nvPr>
            <p:ph type="body" sz="quarter" idx="28" hasCustomPrompt="1"/>
          </p:nvPr>
        </p:nvSpPr>
        <p:spPr>
          <a:xfrm>
            <a:off x="5049682" y="5509773"/>
            <a:ext cx="1837755" cy="249299"/>
          </a:xfrm>
          <a:prstGeom prst="rect">
            <a:avLst/>
          </a:prstGeom>
        </p:spPr>
        <p:txBody>
          <a:bodyPr lIns="0" tIns="0" rIns="0" bIns="0">
            <a:spAutoFit/>
          </a:bodyPr>
          <a:lstStyle>
            <a:lvl1pPr marL="0" indent="0">
              <a:buNone/>
              <a:defRPr lang="en-US" sz="18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8" name="Text Placeholder 10">
            <a:extLst>
              <a:ext uri="{FF2B5EF4-FFF2-40B4-BE49-F238E27FC236}">
                <a16:creationId xmlns:a16="http://schemas.microsoft.com/office/drawing/2014/main" id="{12EAEA7A-BB93-9937-30C8-E498B50BDB5F}"/>
              </a:ext>
            </a:extLst>
          </p:cNvPr>
          <p:cNvSpPr>
            <a:spLocks noGrp="1"/>
          </p:cNvSpPr>
          <p:nvPr>
            <p:ph type="body" sz="quarter" idx="29" hasCustomPrompt="1"/>
          </p:nvPr>
        </p:nvSpPr>
        <p:spPr>
          <a:xfrm>
            <a:off x="5051207" y="5808271"/>
            <a:ext cx="1837755" cy="227755"/>
          </a:xfrm>
          <a:prstGeom prst="rect">
            <a:avLst/>
          </a:prstGeom>
        </p:spPr>
        <p:txBody>
          <a:bodyPr lIns="0" tIns="0" rIns="0" bIns="0">
            <a:spAutoFit/>
          </a:bodyPr>
          <a:lstStyle>
            <a:lvl1pPr marL="0" indent="0">
              <a:buNone/>
              <a:defRPr lang="en-US" sz="16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9" name="Text Placeholder 10">
            <a:extLst>
              <a:ext uri="{FF2B5EF4-FFF2-40B4-BE49-F238E27FC236}">
                <a16:creationId xmlns:a16="http://schemas.microsoft.com/office/drawing/2014/main" id="{46788494-7D87-766C-7F7B-F69E82A07522}"/>
              </a:ext>
            </a:extLst>
          </p:cNvPr>
          <p:cNvSpPr>
            <a:spLocks noGrp="1"/>
          </p:cNvSpPr>
          <p:nvPr>
            <p:ph type="body" sz="quarter" idx="30" hasCustomPrompt="1"/>
          </p:nvPr>
        </p:nvSpPr>
        <p:spPr>
          <a:xfrm>
            <a:off x="7266585" y="5509773"/>
            <a:ext cx="1837755" cy="249299"/>
          </a:xfrm>
          <a:prstGeom prst="rect">
            <a:avLst/>
          </a:prstGeom>
        </p:spPr>
        <p:txBody>
          <a:bodyPr lIns="0" tIns="0" rIns="0" bIns="0">
            <a:spAutoFit/>
          </a:bodyPr>
          <a:lstStyle>
            <a:lvl1pPr marL="0" indent="0">
              <a:buNone/>
              <a:defRPr lang="en-US" sz="18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10" name="Text Placeholder 10">
            <a:extLst>
              <a:ext uri="{FF2B5EF4-FFF2-40B4-BE49-F238E27FC236}">
                <a16:creationId xmlns:a16="http://schemas.microsoft.com/office/drawing/2014/main" id="{C36BFB38-86F0-B2E7-9543-A9886C40AA95}"/>
              </a:ext>
            </a:extLst>
          </p:cNvPr>
          <p:cNvSpPr>
            <a:spLocks noGrp="1"/>
          </p:cNvSpPr>
          <p:nvPr>
            <p:ph type="body" sz="quarter" idx="31" hasCustomPrompt="1"/>
          </p:nvPr>
        </p:nvSpPr>
        <p:spPr>
          <a:xfrm>
            <a:off x="7268110" y="5808271"/>
            <a:ext cx="1837755" cy="227755"/>
          </a:xfrm>
          <a:prstGeom prst="rect">
            <a:avLst/>
          </a:prstGeom>
        </p:spPr>
        <p:txBody>
          <a:bodyPr lIns="0" tIns="0" rIns="0" bIns="0">
            <a:spAutoFit/>
          </a:bodyPr>
          <a:lstStyle>
            <a:lvl1pPr marL="0" indent="0">
              <a:buNone/>
              <a:defRPr lang="en-US" sz="16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11" name="Text Placeholder 10">
            <a:extLst>
              <a:ext uri="{FF2B5EF4-FFF2-40B4-BE49-F238E27FC236}">
                <a16:creationId xmlns:a16="http://schemas.microsoft.com/office/drawing/2014/main" id="{6D2FC059-DE8F-0195-4010-060716C999DE}"/>
              </a:ext>
            </a:extLst>
          </p:cNvPr>
          <p:cNvSpPr>
            <a:spLocks noGrp="1"/>
          </p:cNvSpPr>
          <p:nvPr>
            <p:ph type="body" sz="quarter" idx="32" hasCustomPrompt="1"/>
          </p:nvPr>
        </p:nvSpPr>
        <p:spPr>
          <a:xfrm>
            <a:off x="9475445" y="5509773"/>
            <a:ext cx="1837755" cy="249299"/>
          </a:xfrm>
          <a:prstGeom prst="rect">
            <a:avLst/>
          </a:prstGeom>
        </p:spPr>
        <p:txBody>
          <a:bodyPr lIns="0" tIns="0" rIns="0" bIns="0">
            <a:spAutoFit/>
          </a:bodyPr>
          <a:lstStyle>
            <a:lvl1pPr marL="0" indent="0">
              <a:buNone/>
              <a:defRPr lang="en-US" sz="18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12" name="Text Placeholder 10">
            <a:extLst>
              <a:ext uri="{FF2B5EF4-FFF2-40B4-BE49-F238E27FC236}">
                <a16:creationId xmlns:a16="http://schemas.microsoft.com/office/drawing/2014/main" id="{CEADE450-A97B-D34D-338E-8C617B7CC1CA}"/>
              </a:ext>
            </a:extLst>
          </p:cNvPr>
          <p:cNvSpPr>
            <a:spLocks noGrp="1"/>
          </p:cNvSpPr>
          <p:nvPr>
            <p:ph type="body" sz="quarter" idx="33" hasCustomPrompt="1"/>
          </p:nvPr>
        </p:nvSpPr>
        <p:spPr>
          <a:xfrm>
            <a:off x="9476970" y="5808271"/>
            <a:ext cx="1837755" cy="227755"/>
          </a:xfrm>
          <a:prstGeom prst="rect">
            <a:avLst/>
          </a:prstGeom>
        </p:spPr>
        <p:txBody>
          <a:bodyPr lIns="0" tIns="0" rIns="0" bIns="0">
            <a:spAutoFit/>
          </a:bodyPr>
          <a:lstStyle>
            <a:lvl1pPr marL="0" indent="0">
              <a:buNone/>
              <a:defRPr lang="en-US" sz="16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13" name="Slide Number Placeholder 9">
            <a:extLst>
              <a:ext uri="{FF2B5EF4-FFF2-40B4-BE49-F238E27FC236}">
                <a16:creationId xmlns:a16="http://schemas.microsoft.com/office/drawing/2014/main" id="{5CBB6993-30F6-9FBE-1028-2A728B51E210}"/>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28975420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 Colleagues">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858D873B-694F-83DD-D2A2-4EF1E5A96000}"/>
              </a:ext>
            </a:extLst>
          </p:cNvPr>
          <p:cNvSpPr>
            <a:spLocks noGrp="1"/>
          </p:cNvSpPr>
          <p:nvPr>
            <p:ph type="body" sz="quarter" idx="13" hasCustomPrompt="1"/>
          </p:nvPr>
        </p:nvSpPr>
        <p:spPr>
          <a:xfrm>
            <a:off x="627222" y="3151966"/>
            <a:ext cx="1837755" cy="193899"/>
          </a:xfrm>
          <a:prstGeom prst="rect">
            <a:avLst/>
          </a:prstGeom>
        </p:spPr>
        <p:txBody>
          <a:bodyPr lIns="0" tIns="0" rIns="0" bIns="0">
            <a:spAutoFit/>
          </a:bodyPr>
          <a:lstStyle>
            <a:lvl1pPr marL="0" indent="0">
              <a:buNone/>
              <a:defRPr lang="en-US" sz="14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5" name="Text Placeholder 10">
            <a:extLst>
              <a:ext uri="{FF2B5EF4-FFF2-40B4-BE49-F238E27FC236}">
                <a16:creationId xmlns:a16="http://schemas.microsoft.com/office/drawing/2014/main" id="{A0B1B19A-42FC-1B50-518A-6962FA82FBF2}"/>
              </a:ext>
            </a:extLst>
          </p:cNvPr>
          <p:cNvSpPr>
            <a:spLocks noGrp="1"/>
          </p:cNvSpPr>
          <p:nvPr>
            <p:ph type="body" sz="quarter" idx="14" hasCustomPrompt="1"/>
          </p:nvPr>
        </p:nvSpPr>
        <p:spPr>
          <a:xfrm>
            <a:off x="638372" y="3363839"/>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7" name="Picture Placeholder 14">
            <a:extLst>
              <a:ext uri="{FF2B5EF4-FFF2-40B4-BE49-F238E27FC236}">
                <a16:creationId xmlns:a16="http://schemas.microsoft.com/office/drawing/2014/main" id="{E792131A-A807-29E8-1B02-4731D4FF28E9}"/>
              </a:ext>
            </a:extLst>
          </p:cNvPr>
          <p:cNvSpPr>
            <a:spLocks noGrp="1"/>
          </p:cNvSpPr>
          <p:nvPr>
            <p:ph type="pic" sz="quarter" idx="15"/>
          </p:nvPr>
        </p:nvSpPr>
        <p:spPr>
          <a:xfrm>
            <a:off x="627222" y="1237319"/>
            <a:ext cx="3196633" cy="1893981"/>
          </a:xfrm>
          <a:prstGeom prst="rect">
            <a:avLst/>
          </a:prstGeom>
        </p:spPr>
        <p:txBody>
          <a:bodyPr/>
          <a:lstStyle>
            <a:lvl1pPr>
              <a:defRPr>
                <a:latin typeface="Pfizer Tomorrow" panose="02010503040201060303" pitchFamily="50" charset="0"/>
              </a:defRPr>
            </a:lvl1pPr>
          </a:lstStyle>
          <a:p>
            <a:endParaRPr lang="en-US"/>
          </a:p>
        </p:txBody>
      </p:sp>
      <p:sp>
        <p:nvSpPr>
          <p:cNvPr id="30" name="Text Placeholder 10">
            <a:extLst>
              <a:ext uri="{FF2B5EF4-FFF2-40B4-BE49-F238E27FC236}">
                <a16:creationId xmlns:a16="http://schemas.microsoft.com/office/drawing/2014/main" id="{8182F282-1F36-DFD9-0A40-4696A9E86D13}"/>
              </a:ext>
            </a:extLst>
          </p:cNvPr>
          <p:cNvSpPr>
            <a:spLocks noGrp="1"/>
          </p:cNvSpPr>
          <p:nvPr>
            <p:ph type="body" sz="quarter" idx="16" hasCustomPrompt="1"/>
          </p:nvPr>
        </p:nvSpPr>
        <p:spPr>
          <a:xfrm>
            <a:off x="8384705" y="3151966"/>
            <a:ext cx="1837755" cy="193899"/>
          </a:xfrm>
          <a:prstGeom prst="rect">
            <a:avLst/>
          </a:prstGeom>
        </p:spPr>
        <p:txBody>
          <a:bodyPr lIns="0" tIns="0" rIns="0" bIns="0">
            <a:spAutoFit/>
          </a:bodyPr>
          <a:lstStyle>
            <a:lvl1pPr marL="0" indent="0">
              <a:buNone/>
              <a:defRPr lang="en-US" sz="14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31" name="Text Placeholder 10">
            <a:extLst>
              <a:ext uri="{FF2B5EF4-FFF2-40B4-BE49-F238E27FC236}">
                <a16:creationId xmlns:a16="http://schemas.microsoft.com/office/drawing/2014/main" id="{576A6CC9-940E-0BA2-969D-26FA2C10FCFF}"/>
              </a:ext>
            </a:extLst>
          </p:cNvPr>
          <p:cNvSpPr>
            <a:spLocks noGrp="1"/>
          </p:cNvSpPr>
          <p:nvPr>
            <p:ph type="body" sz="quarter" idx="17" hasCustomPrompt="1"/>
          </p:nvPr>
        </p:nvSpPr>
        <p:spPr>
          <a:xfrm>
            <a:off x="8395855" y="3363839"/>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32" name="Picture Placeholder 14">
            <a:extLst>
              <a:ext uri="{FF2B5EF4-FFF2-40B4-BE49-F238E27FC236}">
                <a16:creationId xmlns:a16="http://schemas.microsoft.com/office/drawing/2014/main" id="{EE6914E8-CFD3-831D-7CFD-B270B24C03BD}"/>
              </a:ext>
            </a:extLst>
          </p:cNvPr>
          <p:cNvSpPr>
            <a:spLocks noGrp="1"/>
          </p:cNvSpPr>
          <p:nvPr>
            <p:ph type="pic" sz="quarter" idx="18"/>
          </p:nvPr>
        </p:nvSpPr>
        <p:spPr>
          <a:xfrm>
            <a:off x="8384705" y="1237319"/>
            <a:ext cx="3196633" cy="1893981"/>
          </a:xfrm>
          <a:prstGeom prst="rect">
            <a:avLst/>
          </a:prstGeom>
        </p:spPr>
        <p:txBody>
          <a:bodyPr/>
          <a:lstStyle>
            <a:lvl1pPr>
              <a:defRPr>
                <a:latin typeface="Pfizer Tomorrow" panose="02010503040201060303" pitchFamily="50" charset="0"/>
              </a:defRPr>
            </a:lvl1pPr>
          </a:lstStyle>
          <a:p>
            <a:endParaRPr lang="en-US"/>
          </a:p>
        </p:txBody>
      </p:sp>
      <p:sp>
        <p:nvSpPr>
          <p:cNvPr id="33" name="Text Placeholder 10">
            <a:extLst>
              <a:ext uri="{FF2B5EF4-FFF2-40B4-BE49-F238E27FC236}">
                <a16:creationId xmlns:a16="http://schemas.microsoft.com/office/drawing/2014/main" id="{58D5E607-C33D-BB62-5755-8295D3D917F2}"/>
              </a:ext>
            </a:extLst>
          </p:cNvPr>
          <p:cNvSpPr>
            <a:spLocks noGrp="1"/>
          </p:cNvSpPr>
          <p:nvPr>
            <p:ph type="body" sz="quarter" idx="19" hasCustomPrompt="1"/>
          </p:nvPr>
        </p:nvSpPr>
        <p:spPr>
          <a:xfrm>
            <a:off x="4505963" y="3151966"/>
            <a:ext cx="1837755" cy="193899"/>
          </a:xfrm>
          <a:prstGeom prst="rect">
            <a:avLst/>
          </a:prstGeom>
        </p:spPr>
        <p:txBody>
          <a:bodyPr lIns="0" tIns="0" rIns="0" bIns="0">
            <a:spAutoFit/>
          </a:bodyPr>
          <a:lstStyle>
            <a:lvl1pPr marL="0" indent="0">
              <a:buNone/>
              <a:defRPr lang="en-US" sz="14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34" name="Text Placeholder 10">
            <a:extLst>
              <a:ext uri="{FF2B5EF4-FFF2-40B4-BE49-F238E27FC236}">
                <a16:creationId xmlns:a16="http://schemas.microsoft.com/office/drawing/2014/main" id="{241B3C3A-F01E-196D-D38C-843E49D39EC0}"/>
              </a:ext>
            </a:extLst>
          </p:cNvPr>
          <p:cNvSpPr>
            <a:spLocks noGrp="1"/>
          </p:cNvSpPr>
          <p:nvPr>
            <p:ph type="body" sz="quarter" idx="20" hasCustomPrompt="1"/>
          </p:nvPr>
        </p:nvSpPr>
        <p:spPr>
          <a:xfrm>
            <a:off x="4517113" y="3363839"/>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35" name="Picture Placeholder 14">
            <a:extLst>
              <a:ext uri="{FF2B5EF4-FFF2-40B4-BE49-F238E27FC236}">
                <a16:creationId xmlns:a16="http://schemas.microsoft.com/office/drawing/2014/main" id="{8BB45D3D-0955-EF2F-CE76-08D6102FDC99}"/>
              </a:ext>
            </a:extLst>
          </p:cNvPr>
          <p:cNvSpPr>
            <a:spLocks noGrp="1"/>
          </p:cNvSpPr>
          <p:nvPr>
            <p:ph type="pic" sz="quarter" idx="21"/>
          </p:nvPr>
        </p:nvSpPr>
        <p:spPr>
          <a:xfrm>
            <a:off x="4505963" y="1237319"/>
            <a:ext cx="3196633" cy="1893981"/>
          </a:xfrm>
          <a:prstGeom prst="rect">
            <a:avLst/>
          </a:prstGeom>
        </p:spPr>
        <p:txBody>
          <a:bodyPr/>
          <a:lstStyle>
            <a:lvl1pPr>
              <a:defRPr>
                <a:latin typeface="Pfizer Tomorrow" panose="02010503040201060303" pitchFamily="50" charset="0"/>
              </a:defRPr>
            </a:lvl1pPr>
          </a:lstStyle>
          <a:p>
            <a:endParaRPr lang="en-US"/>
          </a:p>
        </p:txBody>
      </p:sp>
      <p:sp>
        <p:nvSpPr>
          <p:cNvPr id="36" name="Text Placeholder 10">
            <a:extLst>
              <a:ext uri="{FF2B5EF4-FFF2-40B4-BE49-F238E27FC236}">
                <a16:creationId xmlns:a16="http://schemas.microsoft.com/office/drawing/2014/main" id="{DF152ABC-DBCB-836C-CE37-E1C61ABD1AFC}"/>
              </a:ext>
            </a:extLst>
          </p:cNvPr>
          <p:cNvSpPr>
            <a:spLocks noGrp="1"/>
          </p:cNvSpPr>
          <p:nvPr>
            <p:ph type="body" sz="quarter" idx="22" hasCustomPrompt="1"/>
          </p:nvPr>
        </p:nvSpPr>
        <p:spPr>
          <a:xfrm>
            <a:off x="625305" y="5710310"/>
            <a:ext cx="1837755" cy="193899"/>
          </a:xfrm>
          <a:prstGeom prst="rect">
            <a:avLst/>
          </a:prstGeom>
        </p:spPr>
        <p:txBody>
          <a:bodyPr lIns="0" tIns="0" rIns="0" bIns="0">
            <a:spAutoFit/>
          </a:bodyPr>
          <a:lstStyle>
            <a:lvl1pPr marL="0" indent="0">
              <a:buNone/>
              <a:defRPr lang="en-US" sz="14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37" name="Text Placeholder 10">
            <a:extLst>
              <a:ext uri="{FF2B5EF4-FFF2-40B4-BE49-F238E27FC236}">
                <a16:creationId xmlns:a16="http://schemas.microsoft.com/office/drawing/2014/main" id="{CC48DE59-F490-F5C5-0C1B-68C84E7DB5F6}"/>
              </a:ext>
            </a:extLst>
          </p:cNvPr>
          <p:cNvSpPr>
            <a:spLocks noGrp="1"/>
          </p:cNvSpPr>
          <p:nvPr>
            <p:ph type="body" sz="quarter" idx="23" hasCustomPrompt="1"/>
          </p:nvPr>
        </p:nvSpPr>
        <p:spPr>
          <a:xfrm>
            <a:off x="636455" y="5922183"/>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38" name="Picture Placeholder 14">
            <a:extLst>
              <a:ext uri="{FF2B5EF4-FFF2-40B4-BE49-F238E27FC236}">
                <a16:creationId xmlns:a16="http://schemas.microsoft.com/office/drawing/2014/main" id="{047B3DF4-C713-9BA7-B586-A9239FA265B3}"/>
              </a:ext>
            </a:extLst>
          </p:cNvPr>
          <p:cNvSpPr>
            <a:spLocks noGrp="1"/>
          </p:cNvSpPr>
          <p:nvPr>
            <p:ph type="pic" sz="quarter" idx="24"/>
          </p:nvPr>
        </p:nvSpPr>
        <p:spPr>
          <a:xfrm>
            <a:off x="625305" y="3795663"/>
            <a:ext cx="3196633" cy="1893981"/>
          </a:xfrm>
          <a:prstGeom prst="rect">
            <a:avLst/>
          </a:prstGeom>
        </p:spPr>
        <p:txBody>
          <a:bodyPr/>
          <a:lstStyle>
            <a:lvl1pPr>
              <a:defRPr>
                <a:latin typeface="Pfizer Tomorrow" panose="02010503040201060303" pitchFamily="50" charset="0"/>
              </a:defRPr>
            </a:lvl1pPr>
          </a:lstStyle>
          <a:p>
            <a:endParaRPr lang="en-US"/>
          </a:p>
        </p:txBody>
      </p:sp>
      <p:sp>
        <p:nvSpPr>
          <p:cNvPr id="39" name="Text Placeholder 10">
            <a:extLst>
              <a:ext uri="{FF2B5EF4-FFF2-40B4-BE49-F238E27FC236}">
                <a16:creationId xmlns:a16="http://schemas.microsoft.com/office/drawing/2014/main" id="{BD18FCD7-31A8-C085-9D72-AD2407DBB4BE}"/>
              </a:ext>
            </a:extLst>
          </p:cNvPr>
          <p:cNvSpPr>
            <a:spLocks noGrp="1"/>
          </p:cNvSpPr>
          <p:nvPr>
            <p:ph type="body" sz="quarter" idx="25" hasCustomPrompt="1"/>
          </p:nvPr>
        </p:nvSpPr>
        <p:spPr>
          <a:xfrm>
            <a:off x="8382788" y="5710310"/>
            <a:ext cx="1837755" cy="193899"/>
          </a:xfrm>
          <a:prstGeom prst="rect">
            <a:avLst/>
          </a:prstGeom>
        </p:spPr>
        <p:txBody>
          <a:bodyPr lIns="0" tIns="0" rIns="0" bIns="0">
            <a:spAutoFit/>
          </a:bodyPr>
          <a:lstStyle>
            <a:lvl1pPr marL="0" indent="0">
              <a:buNone/>
              <a:defRPr lang="en-US" sz="14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40" name="Text Placeholder 10">
            <a:extLst>
              <a:ext uri="{FF2B5EF4-FFF2-40B4-BE49-F238E27FC236}">
                <a16:creationId xmlns:a16="http://schemas.microsoft.com/office/drawing/2014/main" id="{2A500668-8B48-98D3-8A93-0E8ADBE3F949}"/>
              </a:ext>
            </a:extLst>
          </p:cNvPr>
          <p:cNvSpPr>
            <a:spLocks noGrp="1"/>
          </p:cNvSpPr>
          <p:nvPr>
            <p:ph type="body" sz="quarter" idx="26" hasCustomPrompt="1"/>
          </p:nvPr>
        </p:nvSpPr>
        <p:spPr>
          <a:xfrm>
            <a:off x="8393938" y="5922183"/>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41" name="Picture Placeholder 14">
            <a:extLst>
              <a:ext uri="{FF2B5EF4-FFF2-40B4-BE49-F238E27FC236}">
                <a16:creationId xmlns:a16="http://schemas.microsoft.com/office/drawing/2014/main" id="{AD93AF73-8E92-7AAF-1F17-8361A3F4DA2E}"/>
              </a:ext>
            </a:extLst>
          </p:cNvPr>
          <p:cNvSpPr>
            <a:spLocks noGrp="1"/>
          </p:cNvSpPr>
          <p:nvPr>
            <p:ph type="pic" sz="quarter" idx="27"/>
          </p:nvPr>
        </p:nvSpPr>
        <p:spPr>
          <a:xfrm>
            <a:off x="8382788" y="3795663"/>
            <a:ext cx="3196633" cy="1893981"/>
          </a:xfrm>
          <a:prstGeom prst="rect">
            <a:avLst/>
          </a:prstGeom>
        </p:spPr>
        <p:txBody>
          <a:bodyPr/>
          <a:lstStyle>
            <a:lvl1pPr>
              <a:defRPr>
                <a:latin typeface="Pfizer Tomorrow" panose="02010503040201060303" pitchFamily="50" charset="0"/>
              </a:defRPr>
            </a:lvl1pPr>
          </a:lstStyle>
          <a:p>
            <a:endParaRPr lang="en-US"/>
          </a:p>
        </p:txBody>
      </p:sp>
      <p:sp>
        <p:nvSpPr>
          <p:cNvPr id="45" name="Text Placeholder 10">
            <a:extLst>
              <a:ext uri="{FF2B5EF4-FFF2-40B4-BE49-F238E27FC236}">
                <a16:creationId xmlns:a16="http://schemas.microsoft.com/office/drawing/2014/main" id="{493127A3-4710-78CB-EBD1-33DA0E3F67BC}"/>
              </a:ext>
            </a:extLst>
          </p:cNvPr>
          <p:cNvSpPr>
            <a:spLocks noGrp="1"/>
          </p:cNvSpPr>
          <p:nvPr>
            <p:ph type="body" sz="quarter" idx="28" hasCustomPrompt="1"/>
          </p:nvPr>
        </p:nvSpPr>
        <p:spPr>
          <a:xfrm>
            <a:off x="4504046" y="5710310"/>
            <a:ext cx="1837755" cy="193899"/>
          </a:xfrm>
          <a:prstGeom prst="rect">
            <a:avLst/>
          </a:prstGeom>
        </p:spPr>
        <p:txBody>
          <a:bodyPr lIns="0" tIns="0" rIns="0" bIns="0">
            <a:spAutoFit/>
          </a:bodyPr>
          <a:lstStyle>
            <a:lvl1pPr marL="0" indent="0">
              <a:buNone/>
              <a:defRPr lang="en-US" sz="14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46" name="Text Placeholder 10">
            <a:extLst>
              <a:ext uri="{FF2B5EF4-FFF2-40B4-BE49-F238E27FC236}">
                <a16:creationId xmlns:a16="http://schemas.microsoft.com/office/drawing/2014/main" id="{FF8696CC-F18F-D96D-B5CF-26FD7E4F6712}"/>
              </a:ext>
            </a:extLst>
          </p:cNvPr>
          <p:cNvSpPr>
            <a:spLocks noGrp="1"/>
          </p:cNvSpPr>
          <p:nvPr>
            <p:ph type="body" sz="quarter" idx="29" hasCustomPrompt="1"/>
          </p:nvPr>
        </p:nvSpPr>
        <p:spPr>
          <a:xfrm>
            <a:off x="4515196" y="5922183"/>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47" name="Picture Placeholder 14">
            <a:extLst>
              <a:ext uri="{FF2B5EF4-FFF2-40B4-BE49-F238E27FC236}">
                <a16:creationId xmlns:a16="http://schemas.microsoft.com/office/drawing/2014/main" id="{FBF12A63-9BB7-4FD1-BA4A-F72769735A22}"/>
              </a:ext>
            </a:extLst>
          </p:cNvPr>
          <p:cNvSpPr>
            <a:spLocks noGrp="1"/>
          </p:cNvSpPr>
          <p:nvPr>
            <p:ph type="pic" sz="quarter" idx="30"/>
          </p:nvPr>
        </p:nvSpPr>
        <p:spPr>
          <a:xfrm>
            <a:off x="4504046" y="3795663"/>
            <a:ext cx="3196633" cy="1893981"/>
          </a:xfrm>
          <a:prstGeom prst="rect">
            <a:avLst/>
          </a:prstGeom>
        </p:spPr>
        <p:txBody>
          <a:bodyPr/>
          <a:lstStyle>
            <a:lvl1pPr>
              <a:defRPr>
                <a:latin typeface="Pfizer Tomorrow" panose="02010503040201060303" pitchFamily="50" charset="0"/>
              </a:defRPr>
            </a:lvl1pPr>
          </a:lstStyle>
          <a:p>
            <a:endParaRPr lang="en-US"/>
          </a:p>
        </p:txBody>
      </p:sp>
      <p:sp>
        <p:nvSpPr>
          <p:cNvPr id="3" name="Title 6">
            <a:extLst>
              <a:ext uri="{FF2B5EF4-FFF2-40B4-BE49-F238E27FC236}">
                <a16:creationId xmlns:a16="http://schemas.microsoft.com/office/drawing/2014/main" id="{008D5626-8760-56C7-8310-F40B3AB377FB}"/>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4" name="Slide Number Placeholder 9">
            <a:extLst>
              <a:ext uri="{FF2B5EF4-FFF2-40B4-BE49-F238E27FC236}">
                <a16:creationId xmlns:a16="http://schemas.microsoft.com/office/drawing/2014/main" id="{E1FFA7DB-1567-B22D-EF2E-22A22E9B869E}"/>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6878830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0 Colleagues">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BC5712B1-FB28-23FF-D6B6-9C214A5EF6D7}"/>
              </a:ext>
            </a:extLst>
          </p:cNvPr>
          <p:cNvSpPr>
            <a:spLocks noGrp="1"/>
          </p:cNvSpPr>
          <p:nvPr>
            <p:ph type="body" sz="quarter" idx="16" hasCustomPrompt="1"/>
          </p:nvPr>
        </p:nvSpPr>
        <p:spPr>
          <a:xfrm>
            <a:off x="8971852" y="3151966"/>
            <a:ext cx="1837755" cy="193899"/>
          </a:xfrm>
          <a:prstGeom prst="rect">
            <a:avLst/>
          </a:prstGeom>
        </p:spPr>
        <p:txBody>
          <a:bodyPr lIns="0" tIns="0" rIns="0" bIns="0">
            <a:spAutoFit/>
          </a:bodyPr>
          <a:lstStyle>
            <a:lvl1pPr marL="0" indent="0">
              <a:buNone/>
              <a:defRPr lang="en-US" sz="14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6" name="Text Placeholder 10">
            <a:extLst>
              <a:ext uri="{FF2B5EF4-FFF2-40B4-BE49-F238E27FC236}">
                <a16:creationId xmlns:a16="http://schemas.microsoft.com/office/drawing/2014/main" id="{B7B92FB3-8432-11CE-25F8-2740839BAE47}"/>
              </a:ext>
            </a:extLst>
          </p:cNvPr>
          <p:cNvSpPr>
            <a:spLocks noGrp="1"/>
          </p:cNvSpPr>
          <p:nvPr>
            <p:ph type="body" sz="quarter" idx="17" hasCustomPrompt="1"/>
          </p:nvPr>
        </p:nvSpPr>
        <p:spPr>
          <a:xfrm>
            <a:off x="8983001" y="3363839"/>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7" name="Picture Placeholder 14">
            <a:extLst>
              <a:ext uri="{FF2B5EF4-FFF2-40B4-BE49-F238E27FC236}">
                <a16:creationId xmlns:a16="http://schemas.microsoft.com/office/drawing/2014/main" id="{BE695DAF-E149-B157-4E3F-6BF635C0A7CC}"/>
              </a:ext>
            </a:extLst>
          </p:cNvPr>
          <p:cNvSpPr>
            <a:spLocks noGrp="1"/>
          </p:cNvSpPr>
          <p:nvPr>
            <p:ph type="pic" sz="quarter" idx="18"/>
          </p:nvPr>
        </p:nvSpPr>
        <p:spPr>
          <a:xfrm>
            <a:off x="8971851" y="1237319"/>
            <a:ext cx="1925743" cy="1893981"/>
          </a:xfrm>
          <a:prstGeom prst="rect">
            <a:avLst/>
          </a:prstGeom>
        </p:spPr>
        <p:txBody>
          <a:bodyPr/>
          <a:lstStyle>
            <a:lvl1pPr>
              <a:defRPr>
                <a:latin typeface="Pfizer Tomorrow" panose="02010503040201060303" pitchFamily="50" charset="0"/>
              </a:defRPr>
            </a:lvl1pPr>
          </a:lstStyle>
          <a:p>
            <a:endParaRPr lang="en-US"/>
          </a:p>
        </p:txBody>
      </p:sp>
      <p:sp>
        <p:nvSpPr>
          <p:cNvPr id="8" name="Text Placeholder 10">
            <a:extLst>
              <a:ext uri="{FF2B5EF4-FFF2-40B4-BE49-F238E27FC236}">
                <a16:creationId xmlns:a16="http://schemas.microsoft.com/office/drawing/2014/main" id="{D00D35B2-19DF-447F-A500-FBA38FE9D00B}"/>
              </a:ext>
            </a:extLst>
          </p:cNvPr>
          <p:cNvSpPr>
            <a:spLocks noGrp="1"/>
          </p:cNvSpPr>
          <p:nvPr>
            <p:ph type="body" sz="quarter" idx="13" hasCustomPrompt="1"/>
          </p:nvPr>
        </p:nvSpPr>
        <p:spPr>
          <a:xfrm>
            <a:off x="627222" y="3151966"/>
            <a:ext cx="1837755" cy="193899"/>
          </a:xfrm>
          <a:prstGeom prst="rect">
            <a:avLst/>
          </a:prstGeom>
        </p:spPr>
        <p:txBody>
          <a:bodyPr lIns="0" tIns="0" rIns="0" bIns="0">
            <a:spAutoFit/>
          </a:bodyPr>
          <a:lstStyle>
            <a:lvl1pPr marL="0" indent="0">
              <a:buNone/>
              <a:defRPr lang="en-US" sz="14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9" name="Text Placeholder 10">
            <a:extLst>
              <a:ext uri="{FF2B5EF4-FFF2-40B4-BE49-F238E27FC236}">
                <a16:creationId xmlns:a16="http://schemas.microsoft.com/office/drawing/2014/main" id="{5976D896-F869-2541-3837-4728B3F504B3}"/>
              </a:ext>
            </a:extLst>
          </p:cNvPr>
          <p:cNvSpPr>
            <a:spLocks noGrp="1"/>
          </p:cNvSpPr>
          <p:nvPr>
            <p:ph type="body" sz="quarter" idx="14" hasCustomPrompt="1"/>
          </p:nvPr>
        </p:nvSpPr>
        <p:spPr>
          <a:xfrm>
            <a:off x="638372" y="3363839"/>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10" name="Picture Placeholder 14">
            <a:extLst>
              <a:ext uri="{FF2B5EF4-FFF2-40B4-BE49-F238E27FC236}">
                <a16:creationId xmlns:a16="http://schemas.microsoft.com/office/drawing/2014/main" id="{262B5919-0C9A-7FB5-A0DA-49D2B48102BA}"/>
              </a:ext>
            </a:extLst>
          </p:cNvPr>
          <p:cNvSpPr>
            <a:spLocks noGrp="1"/>
          </p:cNvSpPr>
          <p:nvPr>
            <p:ph type="pic" sz="quarter" idx="15"/>
          </p:nvPr>
        </p:nvSpPr>
        <p:spPr>
          <a:xfrm>
            <a:off x="627222" y="1237319"/>
            <a:ext cx="1925743" cy="1893981"/>
          </a:xfrm>
          <a:prstGeom prst="rect">
            <a:avLst/>
          </a:prstGeom>
        </p:spPr>
        <p:txBody>
          <a:bodyPr/>
          <a:lstStyle>
            <a:lvl1pPr>
              <a:defRPr>
                <a:latin typeface="Pfizer Tomorrow" panose="02010503040201060303" pitchFamily="50" charset="0"/>
              </a:defRPr>
            </a:lvl1pPr>
          </a:lstStyle>
          <a:p>
            <a:endParaRPr lang="en-US"/>
          </a:p>
        </p:txBody>
      </p:sp>
      <p:sp>
        <p:nvSpPr>
          <p:cNvPr id="11" name="Text Placeholder 10">
            <a:extLst>
              <a:ext uri="{FF2B5EF4-FFF2-40B4-BE49-F238E27FC236}">
                <a16:creationId xmlns:a16="http://schemas.microsoft.com/office/drawing/2014/main" id="{DE1BC812-137A-95C0-CDEF-E843CDF0FF3C}"/>
              </a:ext>
            </a:extLst>
          </p:cNvPr>
          <p:cNvSpPr>
            <a:spLocks noGrp="1"/>
          </p:cNvSpPr>
          <p:nvPr>
            <p:ph type="body" sz="quarter" idx="19" hasCustomPrompt="1"/>
          </p:nvPr>
        </p:nvSpPr>
        <p:spPr>
          <a:xfrm>
            <a:off x="627222" y="5694444"/>
            <a:ext cx="1837755" cy="193899"/>
          </a:xfrm>
          <a:prstGeom prst="rect">
            <a:avLst/>
          </a:prstGeom>
        </p:spPr>
        <p:txBody>
          <a:bodyPr lIns="0" tIns="0" rIns="0" bIns="0">
            <a:spAutoFit/>
          </a:bodyPr>
          <a:lstStyle>
            <a:lvl1pPr marL="0" indent="0">
              <a:buNone/>
              <a:defRPr lang="en-US" sz="14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12" name="Text Placeholder 10">
            <a:extLst>
              <a:ext uri="{FF2B5EF4-FFF2-40B4-BE49-F238E27FC236}">
                <a16:creationId xmlns:a16="http://schemas.microsoft.com/office/drawing/2014/main" id="{54A44834-9974-6780-C5DB-D0C1B154B2ED}"/>
              </a:ext>
            </a:extLst>
          </p:cNvPr>
          <p:cNvSpPr>
            <a:spLocks noGrp="1"/>
          </p:cNvSpPr>
          <p:nvPr>
            <p:ph type="body" sz="quarter" idx="20" hasCustomPrompt="1"/>
          </p:nvPr>
        </p:nvSpPr>
        <p:spPr>
          <a:xfrm>
            <a:off x="638372" y="5906317"/>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13" name="Picture Placeholder 14">
            <a:extLst>
              <a:ext uri="{FF2B5EF4-FFF2-40B4-BE49-F238E27FC236}">
                <a16:creationId xmlns:a16="http://schemas.microsoft.com/office/drawing/2014/main" id="{F8CB46FA-7574-F6DC-3657-390F3576A2E6}"/>
              </a:ext>
            </a:extLst>
          </p:cNvPr>
          <p:cNvSpPr>
            <a:spLocks noGrp="1"/>
          </p:cNvSpPr>
          <p:nvPr>
            <p:ph type="pic" sz="quarter" idx="21"/>
          </p:nvPr>
        </p:nvSpPr>
        <p:spPr>
          <a:xfrm>
            <a:off x="627222" y="3779798"/>
            <a:ext cx="1925743" cy="1893981"/>
          </a:xfrm>
          <a:prstGeom prst="rect">
            <a:avLst/>
          </a:prstGeom>
        </p:spPr>
        <p:txBody>
          <a:bodyPr/>
          <a:lstStyle>
            <a:lvl1pPr>
              <a:defRPr>
                <a:latin typeface="Pfizer Tomorrow" panose="02010503040201060303" pitchFamily="50" charset="0"/>
              </a:defRPr>
            </a:lvl1pPr>
          </a:lstStyle>
          <a:p>
            <a:endParaRPr lang="en-US"/>
          </a:p>
        </p:txBody>
      </p:sp>
      <p:sp>
        <p:nvSpPr>
          <p:cNvPr id="14" name="Text Placeholder 10">
            <a:extLst>
              <a:ext uri="{FF2B5EF4-FFF2-40B4-BE49-F238E27FC236}">
                <a16:creationId xmlns:a16="http://schemas.microsoft.com/office/drawing/2014/main" id="{5B1F38CA-846B-FF01-3C41-6EBB9A495801}"/>
              </a:ext>
            </a:extLst>
          </p:cNvPr>
          <p:cNvSpPr>
            <a:spLocks noGrp="1"/>
          </p:cNvSpPr>
          <p:nvPr>
            <p:ph type="body" sz="quarter" idx="22" hasCustomPrompt="1"/>
          </p:nvPr>
        </p:nvSpPr>
        <p:spPr>
          <a:xfrm>
            <a:off x="2716832" y="3151966"/>
            <a:ext cx="1837755" cy="193899"/>
          </a:xfrm>
          <a:prstGeom prst="rect">
            <a:avLst/>
          </a:prstGeom>
        </p:spPr>
        <p:txBody>
          <a:bodyPr lIns="0" tIns="0" rIns="0" bIns="0">
            <a:spAutoFit/>
          </a:bodyPr>
          <a:lstStyle>
            <a:lvl1pPr marL="0" indent="0">
              <a:buNone/>
              <a:defRPr lang="en-US" sz="14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15" name="Text Placeholder 10">
            <a:extLst>
              <a:ext uri="{FF2B5EF4-FFF2-40B4-BE49-F238E27FC236}">
                <a16:creationId xmlns:a16="http://schemas.microsoft.com/office/drawing/2014/main" id="{BD09823A-486D-2CA4-3F63-D54996BBFA5C}"/>
              </a:ext>
            </a:extLst>
          </p:cNvPr>
          <p:cNvSpPr>
            <a:spLocks noGrp="1"/>
          </p:cNvSpPr>
          <p:nvPr>
            <p:ph type="body" sz="quarter" idx="23" hasCustomPrompt="1"/>
          </p:nvPr>
        </p:nvSpPr>
        <p:spPr>
          <a:xfrm>
            <a:off x="2727982" y="3363839"/>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16" name="Picture Placeholder 14">
            <a:extLst>
              <a:ext uri="{FF2B5EF4-FFF2-40B4-BE49-F238E27FC236}">
                <a16:creationId xmlns:a16="http://schemas.microsoft.com/office/drawing/2014/main" id="{8109E527-4EF5-19A8-E642-F7BDA50E993A}"/>
              </a:ext>
            </a:extLst>
          </p:cNvPr>
          <p:cNvSpPr>
            <a:spLocks noGrp="1"/>
          </p:cNvSpPr>
          <p:nvPr>
            <p:ph type="pic" sz="quarter" idx="24"/>
          </p:nvPr>
        </p:nvSpPr>
        <p:spPr>
          <a:xfrm>
            <a:off x="2716832" y="1237319"/>
            <a:ext cx="1925743" cy="1893981"/>
          </a:xfrm>
          <a:prstGeom prst="rect">
            <a:avLst/>
          </a:prstGeom>
        </p:spPr>
        <p:txBody>
          <a:bodyPr/>
          <a:lstStyle>
            <a:lvl1pPr>
              <a:defRPr>
                <a:latin typeface="Pfizer Tomorrow" panose="02010503040201060303" pitchFamily="50" charset="0"/>
              </a:defRPr>
            </a:lvl1pPr>
          </a:lstStyle>
          <a:p>
            <a:endParaRPr lang="en-US"/>
          </a:p>
        </p:txBody>
      </p:sp>
      <p:sp>
        <p:nvSpPr>
          <p:cNvPr id="17" name="Text Placeholder 10">
            <a:extLst>
              <a:ext uri="{FF2B5EF4-FFF2-40B4-BE49-F238E27FC236}">
                <a16:creationId xmlns:a16="http://schemas.microsoft.com/office/drawing/2014/main" id="{12E56D33-9057-8630-98C4-93C357698E50}"/>
              </a:ext>
            </a:extLst>
          </p:cNvPr>
          <p:cNvSpPr>
            <a:spLocks noGrp="1"/>
          </p:cNvSpPr>
          <p:nvPr>
            <p:ph type="body" sz="quarter" idx="25" hasCustomPrompt="1"/>
          </p:nvPr>
        </p:nvSpPr>
        <p:spPr>
          <a:xfrm>
            <a:off x="2716832" y="5694444"/>
            <a:ext cx="1837755" cy="193899"/>
          </a:xfrm>
          <a:prstGeom prst="rect">
            <a:avLst/>
          </a:prstGeom>
        </p:spPr>
        <p:txBody>
          <a:bodyPr lIns="0" tIns="0" rIns="0" bIns="0">
            <a:spAutoFit/>
          </a:bodyPr>
          <a:lstStyle>
            <a:lvl1pPr marL="0" indent="0">
              <a:buNone/>
              <a:defRPr lang="en-US" sz="14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18" name="Text Placeholder 10">
            <a:extLst>
              <a:ext uri="{FF2B5EF4-FFF2-40B4-BE49-F238E27FC236}">
                <a16:creationId xmlns:a16="http://schemas.microsoft.com/office/drawing/2014/main" id="{927F9EB9-9886-6A49-38A4-98CEB629813D}"/>
              </a:ext>
            </a:extLst>
          </p:cNvPr>
          <p:cNvSpPr>
            <a:spLocks noGrp="1"/>
          </p:cNvSpPr>
          <p:nvPr>
            <p:ph type="body" sz="quarter" idx="26" hasCustomPrompt="1"/>
          </p:nvPr>
        </p:nvSpPr>
        <p:spPr>
          <a:xfrm>
            <a:off x="2727982" y="5906317"/>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19" name="Picture Placeholder 14">
            <a:extLst>
              <a:ext uri="{FF2B5EF4-FFF2-40B4-BE49-F238E27FC236}">
                <a16:creationId xmlns:a16="http://schemas.microsoft.com/office/drawing/2014/main" id="{0181C5E2-BC92-6FE6-2E3F-D5D3E85D02B1}"/>
              </a:ext>
            </a:extLst>
          </p:cNvPr>
          <p:cNvSpPr>
            <a:spLocks noGrp="1"/>
          </p:cNvSpPr>
          <p:nvPr>
            <p:ph type="pic" sz="quarter" idx="27"/>
          </p:nvPr>
        </p:nvSpPr>
        <p:spPr>
          <a:xfrm>
            <a:off x="2716832" y="3779798"/>
            <a:ext cx="1925743" cy="1893981"/>
          </a:xfrm>
          <a:prstGeom prst="rect">
            <a:avLst/>
          </a:prstGeom>
        </p:spPr>
        <p:txBody>
          <a:bodyPr/>
          <a:lstStyle>
            <a:lvl1pPr>
              <a:defRPr>
                <a:latin typeface="Pfizer Tomorrow" panose="02010503040201060303" pitchFamily="50" charset="0"/>
              </a:defRPr>
            </a:lvl1pPr>
          </a:lstStyle>
          <a:p>
            <a:endParaRPr lang="en-US"/>
          </a:p>
        </p:txBody>
      </p:sp>
      <p:sp>
        <p:nvSpPr>
          <p:cNvPr id="20" name="Text Placeholder 10">
            <a:extLst>
              <a:ext uri="{FF2B5EF4-FFF2-40B4-BE49-F238E27FC236}">
                <a16:creationId xmlns:a16="http://schemas.microsoft.com/office/drawing/2014/main" id="{AB2C5926-54DB-4A66-27B2-C49294C11E0B}"/>
              </a:ext>
            </a:extLst>
          </p:cNvPr>
          <p:cNvSpPr>
            <a:spLocks noGrp="1"/>
          </p:cNvSpPr>
          <p:nvPr>
            <p:ph type="body" sz="quarter" idx="28" hasCustomPrompt="1"/>
          </p:nvPr>
        </p:nvSpPr>
        <p:spPr>
          <a:xfrm>
            <a:off x="4801839" y="3151966"/>
            <a:ext cx="1837755" cy="193899"/>
          </a:xfrm>
          <a:prstGeom prst="rect">
            <a:avLst/>
          </a:prstGeom>
        </p:spPr>
        <p:txBody>
          <a:bodyPr lIns="0" tIns="0" rIns="0" bIns="0">
            <a:spAutoFit/>
          </a:bodyPr>
          <a:lstStyle>
            <a:lvl1pPr marL="0" indent="0">
              <a:buNone/>
              <a:defRPr lang="en-US" sz="14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21" name="Text Placeholder 10">
            <a:extLst>
              <a:ext uri="{FF2B5EF4-FFF2-40B4-BE49-F238E27FC236}">
                <a16:creationId xmlns:a16="http://schemas.microsoft.com/office/drawing/2014/main" id="{62914014-F18E-BD18-0B42-C53AB0E77F96}"/>
              </a:ext>
            </a:extLst>
          </p:cNvPr>
          <p:cNvSpPr>
            <a:spLocks noGrp="1"/>
          </p:cNvSpPr>
          <p:nvPr>
            <p:ph type="body" sz="quarter" idx="29" hasCustomPrompt="1"/>
          </p:nvPr>
        </p:nvSpPr>
        <p:spPr>
          <a:xfrm>
            <a:off x="4812988" y="3363839"/>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22" name="Picture Placeholder 14">
            <a:extLst>
              <a:ext uri="{FF2B5EF4-FFF2-40B4-BE49-F238E27FC236}">
                <a16:creationId xmlns:a16="http://schemas.microsoft.com/office/drawing/2014/main" id="{AF224A82-961E-C4C1-10FD-6E85A25D076C}"/>
              </a:ext>
            </a:extLst>
          </p:cNvPr>
          <p:cNvSpPr>
            <a:spLocks noGrp="1"/>
          </p:cNvSpPr>
          <p:nvPr>
            <p:ph type="pic" sz="quarter" idx="30"/>
          </p:nvPr>
        </p:nvSpPr>
        <p:spPr>
          <a:xfrm>
            <a:off x="4801838" y="1237319"/>
            <a:ext cx="1925743" cy="1893981"/>
          </a:xfrm>
          <a:prstGeom prst="rect">
            <a:avLst/>
          </a:prstGeom>
        </p:spPr>
        <p:txBody>
          <a:bodyPr/>
          <a:lstStyle>
            <a:lvl1pPr>
              <a:defRPr>
                <a:latin typeface="Pfizer Tomorrow" panose="02010503040201060303" pitchFamily="50" charset="0"/>
              </a:defRPr>
            </a:lvl1pPr>
          </a:lstStyle>
          <a:p>
            <a:endParaRPr lang="en-US"/>
          </a:p>
        </p:txBody>
      </p:sp>
      <p:sp>
        <p:nvSpPr>
          <p:cNvPr id="23" name="Text Placeholder 10">
            <a:extLst>
              <a:ext uri="{FF2B5EF4-FFF2-40B4-BE49-F238E27FC236}">
                <a16:creationId xmlns:a16="http://schemas.microsoft.com/office/drawing/2014/main" id="{2DAF4469-5900-FEC8-6614-5CA26ED9FAF6}"/>
              </a:ext>
            </a:extLst>
          </p:cNvPr>
          <p:cNvSpPr>
            <a:spLocks noGrp="1"/>
          </p:cNvSpPr>
          <p:nvPr>
            <p:ph type="body" sz="quarter" idx="31" hasCustomPrompt="1"/>
          </p:nvPr>
        </p:nvSpPr>
        <p:spPr>
          <a:xfrm>
            <a:off x="4801839" y="5694444"/>
            <a:ext cx="1837755" cy="193899"/>
          </a:xfrm>
          <a:prstGeom prst="rect">
            <a:avLst/>
          </a:prstGeom>
        </p:spPr>
        <p:txBody>
          <a:bodyPr lIns="0" tIns="0" rIns="0" bIns="0">
            <a:spAutoFit/>
          </a:bodyPr>
          <a:lstStyle>
            <a:lvl1pPr marL="0" indent="0">
              <a:buNone/>
              <a:defRPr lang="en-US" sz="14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24" name="Text Placeholder 10">
            <a:extLst>
              <a:ext uri="{FF2B5EF4-FFF2-40B4-BE49-F238E27FC236}">
                <a16:creationId xmlns:a16="http://schemas.microsoft.com/office/drawing/2014/main" id="{DE312552-4D61-9290-0071-BB21A169FC9F}"/>
              </a:ext>
            </a:extLst>
          </p:cNvPr>
          <p:cNvSpPr>
            <a:spLocks noGrp="1"/>
          </p:cNvSpPr>
          <p:nvPr>
            <p:ph type="body" sz="quarter" idx="32" hasCustomPrompt="1"/>
          </p:nvPr>
        </p:nvSpPr>
        <p:spPr>
          <a:xfrm>
            <a:off x="4812988" y="5906317"/>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25" name="Picture Placeholder 14">
            <a:extLst>
              <a:ext uri="{FF2B5EF4-FFF2-40B4-BE49-F238E27FC236}">
                <a16:creationId xmlns:a16="http://schemas.microsoft.com/office/drawing/2014/main" id="{5E5C4B4F-E951-85E4-86E6-8D70DC1F9A6F}"/>
              </a:ext>
            </a:extLst>
          </p:cNvPr>
          <p:cNvSpPr>
            <a:spLocks noGrp="1"/>
          </p:cNvSpPr>
          <p:nvPr>
            <p:ph type="pic" sz="quarter" idx="33"/>
          </p:nvPr>
        </p:nvSpPr>
        <p:spPr>
          <a:xfrm>
            <a:off x="4801838" y="3779798"/>
            <a:ext cx="1925743" cy="1893981"/>
          </a:xfrm>
          <a:prstGeom prst="rect">
            <a:avLst/>
          </a:prstGeom>
        </p:spPr>
        <p:txBody>
          <a:bodyPr/>
          <a:lstStyle>
            <a:lvl1pPr>
              <a:defRPr>
                <a:latin typeface="Pfizer Tomorrow" panose="02010503040201060303" pitchFamily="50" charset="0"/>
              </a:defRPr>
            </a:lvl1pPr>
          </a:lstStyle>
          <a:p>
            <a:endParaRPr lang="en-US"/>
          </a:p>
        </p:txBody>
      </p:sp>
      <p:sp>
        <p:nvSpPr>
          <p:cNvPr id="26" name="Text Placeholder 10">
            <a:extLst>
              <a:ext uri="{FF2B5EF4-FFF2-40B4-BE49-F238E27FC236}">
                <a16:creationId xmlns:a16="http://schemas.microsoft.com/office/drawing/2014/main" id="{338873B1-E5C7-2D43-6632-4DAB7F2C74DA}"/>
              </a:ext>
            </a:extLst>
          </p:cNvPr>
          <p:cNvSpPr>
            <a:spLocks noGrp="1"/>
          </p:cNvSpPr>
          <p:nvPr>
            <p:ph type="body" sz="quarter" idx="34" hasCustomPrompt="1"/>
          </p:nvPr>
        </p:nvSpPr>
        <p:spPr>
          <a:xfrm>
            <a:off x="6886845" y="3151966"/>
            <a:ext cx="1837755" cy="193899"/>
          </a:xfrm>
          <a:prstGeom prst="rect">
            <a:avLst/>
          </a:prstGeom>
        </p:spPr>
        <p:txBody>
          <a:bodyPr lIns="0" tIns="0" rIns="0" bIns="0">
            <a:spAutoFit/>
          </a:bodyPr>
          <a:lstStyle>
            <a:lvl1pPr marL="0" indent="0">
              <a:buNone/>
              <a:defRPr lang="en-US" sz="14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27" name="Text Placeholder 10">
            <a:extLst>
              <a:ext uri="{FF2B5EF4-FFF2-40B4-BE49-F238E27FC236}">
                <a16:creationId xmlns:a16="http://schemas.microsoft.com/office/drawing/2014/main" id="{8B145F87-6E40-CDBD-4B60-D87DB5C9DC33}"/>
              </a:ext>
            </a:extLst>
          </p:cNvPr>
          <p:cNvSpPr>
            <a:spLocks noGrp="1"/>
          </p:cNvSpPr>
          <p:nvPr>
            <p:ph type="body" sz="quarter" idx="35" hasCustomPrompt="1"/>
          </p:nvPr>
        </p:nvSpPr>
        <p:spPr>
          <a:xfrm>
            <a:off x="6897995" y="3363839"/>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28" name="Picture Placeholder 14">
            <a:extLst>
              <a:ext uri="{FF2B5EF4-FFF2-40B4-BE49-F238E27FC236}">
                <a16:creationId xmlns:a16="http://schemas.microsoft.com/office/drawing/2014/main" id="{84920AD4-F16E-2561-1724-D2FF2FC39B3A}"/>
              </a:ext>
            </a:extLst>
          </p:cNvPr>
          <p:cNvSpPr>
            <a:spLocks noGrp="1"/>
          </p:cNvSpPr>
          <p:nvPr>
            <p:ph type="pic" sz="quarter" idx="36"/>
          </p:nvPr>
        </p:nvSpPr>
        <p:spPr>
          <a:xfrm>
            <a:off x="6886845" y="1237319"/>
            <a:ext cx="1925743" cy="1893981"/>
          </a:xfrm>
          <a:prstGeom prst="rect">
            <a:avLst/>
          </a:prstGeom>
        </p:spPr>
        <p:txBody>
          <a:bodyPr/>
          <a:lstStyle>
            <a:lvl1pPr>
              <a:defRPr>
                <a:latin typeface="Pfizer Tomorrow" panose="02010503040201060303" pitchFamily="50" charset="0"/>
              </a:defRPr>
            </a:lvl1pPr>
          </a:lstStyle>
          <a:p>
            <a:endParaRPr lang="en-US"/>
          </a:p>
        </p:txBody>
      </p:sp>
      <p:sp>
        <p:nvSpPr>
          <p:cNvPr id="29" name="Text Placeholder 10">
            <a:extLst>
              <a:ext uri="{FF2B5EF4-FFF2-40B4-BE49-F238E27FC236}">
                <a16:creationId xmlns:a16="http://schemas.microsoft.com/office/drawing/2014/main" id="{DF110042-5C5F-8EB0-3A9F-AF4AA1BC0C41}"/>
              </a:ext>
            </a:extLst>
          </p:cNvPr>
          <p:cNvSpPr>
            <a:spLocks noGrp="1"/>
          </p:cNvSpPr>
          <p:nvPr>
            <p:ph type="body" sz="quarter" idx="37" hasCustomPrompt="1"/>
          </p:nvPr>
        </p:nvSpPr>
        <p:spPr>
          <a:xfrm>
            <a:off x="6886845" y="5694444"/>
            <a:ext cx="1837755" cy="193899"/>
          </a:xfrm>
          <a:prstGeom prst="rect">
            <a:avLst/>
          </a:prstGeom>
        </p:spPr>
        <p:txBody>
          <a:bodyPr lIns="0" tIns="0" rIns="0" bIns="0">
            <a:spAutoFit/>
          </a:bodyPr>
          <a:lstStyle>
            <a:lvl1pPr marL="0" indent="0">
              <a:buNone/>
              <a:defRPr lang="en-US" sz="14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30" name="Text Placeholder 10">
            <a:extLst>
              <a:ext uri="{FF2B5EF4-FFF2-40B4-BE49-F238E27FC236}">
                <a16:creationId xmlns:a16="http://schemas.microsoft.com/office/drawing/2014/main" id="{09D1E0EB-569E-0F8C-29B0-ABD77A7F3CBC}"/>
              </a:ext>
            </a:extLst>
          </p:cNvPr>
          <p:cNvSpPr>
            <a:spLocks noGrp="1"/>
          </p:cNvSpPr>
          <p:nvPr>
            <p:ph type="body" sz="quarter" idx="38" hasCustomPrompt="1"/>
          </p:nvPr>
        </p:nvSpPr>
        <p:spPr>
          <a:xfrm>
            <a:off x="6897995" y="5906317"/>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31" name="Picture Placeholder 14">
            <a:extLst>
              <a:ext uri="{FF2B5EF4-FFF2-40B4-BE49-F238E27FC236}">
                <a16:creationId xmlns:a16="http://schemas.microsoft.com/office/drawing/2014/main" id="{D34956E9-9D8E-B3D1-FF85-FC29647543A6}"/>
              </a:ext>
            </a:extLst>
          </p:cNvPr>
          <p:cNvSpPr>
            <a:spLocks noGrp="1"/>
          </p:cNvSpPr>
          <p:nvPr>
            <p:ph type="pic" sz="quarter" idx="39"/>
          </p:nvPr>
        </p:nvSpPr>
        <p:spPr>
          <a:xfrm>
            <a:off x="6886845" y="3779798"/>
            <a:ext cx="1925743" cy="1893981"/>
          </a:xfrm>
          <a:prstGeom prst="rect">
            <a:avLst/>
          </a:prstGeom>
        </p:spPr>
        <p:txBody>
          <a:bodyPr/>
          <a:lstStyle>
            <a:lvl1pPr>
              <a:defRPr>
                <a:latin typeface="Pfizer Tomorrow" panose="02010503040201060303" pitchFamily="50" charset="0"/>
              </a:defRPr>
            </a:lvl1pPr>
          </a:lstStyle>
          <a:p>
            <a:endParaRPr lang="en-US"/>
          </a:p>
        </p:txBody>
      </p:sp>
      <p:sp>
        <p:nvSpPr>
          <p:cNvPr id="32" name="Text Placeholder 10">
            <a:extLst>
              <a:ext uri="{FF2B5EF4-FFF2-40B4-BE49-F238E27FC236}">
                <a16:creationId xmlns:a16="http://schemas.microsoft.com/office/drawing/2014/main" id="{7236751F-C9D8-E43D-B128-B8FE884A9F74}"/>
              </a:ext>
            </a:extLst>
          </p:cNvPr>
          <p:cNvSpPr>
            <a:spLocks noGrp="1"/>
          </p:cNvSpPr>
          <p:nvPr>
            <p:ph type="body" sz="quarter" idx="40" hasCustomPrompt="1"/>
          </p:nvPr>
        </p:nvSpPr>
        <p:spPr>
          <a:xfrm>
            <a:off x="8971852" y="5694444"/>
            <a:ext cx="1837755" cy="193899"/>
          </a:xfrm>
          <a:prstGeom prst="rect">
            <a:avLst/>
          </a:prstGeom>
        </p:spPr>
        <p:txBody>
          <a:bodyPr lIns="0" tIns="0" rIns="0" bIns="0">
            <a:spAutoFit/>
          </a:bodyPr>
          <a:lstStyle>
            <a:lvl1pPr marL="0" indent="0">
              <a:buNone/>
              <a:defRPr lang="en-US" sz="14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olleague Name</a:t>
            </a:r>
          </a:p>
        </p:txBody>
      </p:sp>
      <p:sp>
        <p:nvSpPr>
          <p:cNvPr id="33" name="Text Placeholder 10">
            <a:extLst>
              <a:ext uri="{FF2B5EF4-FFF2-40B4-BE49-F238E27FC236}">
                <a16:creationId xmlns:a16="http://schemas.microsoft.com/office/drawing/2014/main" id="{5E26AB32-A6D6-9DD3-64E7-0AD16F8FC627}"/>
              </a:ext>
            </a:extLst>
          </p:cNvPr>
          <p:cNvSpPr>
            <a:spLocks noGrp="1"/>
          </p:cNvSpPr>
          <p:nvPr>
            <p:ph type="body" sz="quarter" idx="41" hasCustomPrompt="1"/>
          </p:nvPr>
        </p:nvSpPr>
        <p:spPr>
          <a:xfrm>
            <a:off x="8983001" y="5906317"/>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usiness Title</a:t>
            </a:r>
          </a:p>
        </p:txBody>
      </p:sp>
      <p:sp>
        <p:nvSpPr>
          <p:cNvPr id="34" name="Picture Placeholder 14">
            <a:extLst>
              <a:ext uri="{FF2B5EF4-FFF2-40B4-BE49-F238E27FC236}">
                <a16:creationId xmlns:a16="http://schemas.microsoft.com/office/drawing/2014/main" id="{65130667-58AB-71DC-5B9B-FB5EEB253B65}"/>
              </a:ext>
            </a:extLst>
          </p:cNvPr>
          <p:cNvSpPr>
            <a:spLocks noGrp="1"/>
          </p:cNvSpPr>
          <p:nvPr>
            <p:ph type="pic" sz="quarter" idx="42"/>
          </p:nvPr>
        </p:nvSpPr>
        <p:spPr>
          <a:xfrm>
            <a:off x="8971851" y="3779798"/>
            <a:ext cx="1925743" cy="1893981"/>
          </a:xfrm>
          <a:prstGeom prst="rect">
            <a:avLst/>
          </a:prstGeom>
        </p:spPr>
        <p:txBody>
          <a:bodyPr/>
          <a:lstStyle>
            <a:lvl1pPr>
              <a:defRPr>
                <a:latin typeface="Pfizer Tomorrow" panose="02010503040201060303" pitchFamily="50" charset="0"/>
              </a:defRPr>
            </a:lvl1pPr>
          </a:lstStyle>
          <a:p>
            <a:endParaRPr lang="en-US"/>
          </a:p>
        </p:txBody>
      </p:sp>
      <p:sp>
        <p:nvSpPr>
          <p:cNvPr id="2" name="Title 6">
            <a:extLst>
              <a:ext uri="{FF2B5EF4-FFF2-40B4-BE49-F238E27FC236}">
                <a16:creationId xmlns:a16="http://schemas.microsoft.com/office/drawing/2014/main" id="{D7DEC351-B329-CAB7-D4C5-A2BD7C2D0673}"/>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3" name="Slide Number Placeholder 9">
            <a:extLst>
              <a:ext uri="{FF2B5EF4-FFF2-40B4-BE49-F238E27FC236}">
                <a16:creationId xmlns:a16="http://schemas.microsoft.com/office/drawing/2014/main" id="{FB7EFF59-5F16-FFBD-A844-4ED215DBF2DD}"/>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24296125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with Text and Image">
    <p:spTree>
      <p:nvGrpSpPr>
        <p:cNvPr id="1" name=""/>
        <p:cNvGrpSpPr/>
        <p:nvPr/>
      </p:nvGrpSpPr>
      <p:grpSpPr>
        <a:xfrm>
          <a:off x="0" y="0"/>
          <a:ext cx="0" cy="0"/>
          <a:chOff x="0" y="0"/>
          <a:chExt cx="0" cy="0"/>
        </a:xfrm>
      </p:grpSpPr>
      <p:sp>
        <p:nvSpPr>
          <p:cNvPr id="17" name="Text Placeholder 10">
            <a:extLst>
              <a:ext uri="{FF2B5EF4-FFF2-40B4-BE49-F238E27FC236}">
                <a16:creationId xmlns:a16="http://schemas.microsoft.com/office/drawing/2014/main" id="{EE4A84E6-4964-86B5-6174-78A555656A1E}"/>
              </a:ext>
            </a:extLst>
          </p:cNvPr>
          <p:cNvSpPr>
            <a:spLocks noGrp="1"/>
          </p:cNvSpPr>
          <p:nvPr>
            <p:ph type="body" sz="quarter" idx="12" hasCustomPrompt="1"/>
          </p:nvPr>
        </p:nvSpPr>
        <p:spPr>
          <a:xfrm>
            <a:off x="609600" y="1320791"/>
            <a:ext cx="4571999" cy="4851409"/>
          </a:xfrm>
          <a:prstGeom prst="rect">
            <a:avLst/>
          </a:prstGeom>
        </p:spPr>
        <p:txBody>
          <a:bodyPr lIns="0" tIns="0" rIns="0" bIns="0"/>
          <a:lstStyle>
            <a:lvl1pPr marL="0" indent="0">
              <a:buNone/>
              <a:defRPr lang="en-US" sz="1400" b="0" i="0" kern="1200" spc="-50" dirty="0" smtClean="0">
                <a:solidFill>
                  <a:srgbClr val="02005E"/>
                </a:solidFill>
                <a:latin typeface="Pfizer Tomorrow" panose="02010503040201060303" pitchFamily="50" charset="0"/>
                <a:ea typeface="+mn-ea"/>
                <a:cs typeface="+mn-cs"/>
              </a:defRPr>
            </a:lvl1pPr>
            <a:lvl2pPr>
              <a:defRPr lang="en-US" sz="1400" b="0" i="0" kern="1200" spc="-50" dirty="0" smtClean="0">
                <a:solidFill>
                  <a:srgbClr val="02005E"/>
                </a:solidFill>
                <a:latin typeface="Pfizer Tomorrow" panose="02010503040201060303" pitchFamily="50" charset="0"/>
                <a:ea typeface="+mn-ea"/>
                <a:cs typeface="+mn-cs"/>
              </a:defRPr>
            </a:lvl2pPr>
            <a:lvl3pPr>
              <a:defRPr lang="en-US" sz="1400" b="0" i="0" kern="1200" spc="-50" dirty="0" smtClean="0">
                <a:solidFill>
                  <a:srgbClr val="02005E"/>
                </a:solidFill>
                <a:latin typeface="Pfizer Tomorrow" panose="02010503040201060303" pitchFamily="50" charset="0"/>
                <a:ea typeface="+mn-ea"/>
                <a:cs typeface="+mn-cs"/>
              </a:defRPr>
            </a:lvl3pPr>
            <a:lvl4pPr>
              <a:defRPr lang="en-US" sz="1400" b="0" i="0" kern="1200" spc="-50" dirty="0" smtClean="0">
                <a:solidFill>
                  <a:srgbClr val="02005E"/>
                </a:solidFill>
                <a:latin typeface="Pfizer Tomorrow" panose="02010503040201060303" pitchFamily="50" charset="0"/>
                <a:ea typeface="+mn-ea"/>
                <a:cs typeface="+mn-cs"/>
              </a:defRPr>
            </a:lvl4pPr>
            <a:lvl5pPr>
              <a:defRPr lang="en-US" sz="1400" b="0" i="0" kern="1200" spc="-50" dirty="0">
                <a:solidFill>
                  <a:srgbClr val="02005E"/>
                </a:solidFill>
                <a:latin typeface="Pfizer Tomorrow" panose="02010503040201060303" pitchFamily="50" charset="0"/>
                <a:ea typeface="+mn-ea"/>
                <a:cs typeface="+mn-cs"/>
              </a:defRPr>
            </a:lvl5pPr>
          </a:lstStyle>
          <a:p>
            <a:pPr lvl="0"/>
            <a:r>
              <a:rPr lang="en-US"/>
              <a:t>Body copy here</a:t>
            </a:r>
          </a:p>
          <a:p>
            <a:pPr lvl="1"/>
            <a:r>
              <a:rPr lang="en-US"/>
              <a:t>Second level</a:t>
            </a:r>
          </a:p>
          <a:p>
            <a:pPr lvl="2"/>
            <a:r>
              <a:rPr lang="en-US"/>
              <a:t>Third level</a:t>
            </a:r>
          </a:p>
          <a:p>
            <a:pPr lvl="3"/>
            <a:r>
              <a:rPr lang="en-US"/>
              <a:t>Fourth level</a:t>
            </a:r>
          </a:p>
          <a:p>
            <a:pPr lvl="4"/>
            <a:r>
              <a:rPr lang="en-US"/>
              <a:t>Fifth level</a:t>
            </a:r>
          </a:p>
        </p:txBody>
      </p:sp>
      <p:sp>
        <p:nvSpPr>
          <p:cNvPr id="18" name="Picture Placeholder 14">
            <a:extLst>
              <a:ext uri="{FF2B5EF4-FFF2-40B4-BE49-F238E27FC236}">
                <a16:creationId xmlns:a16="http://schemas.microsoft.com/office/drawing/2014/main" id="{89B85A33-C477-FFF9-B49D-9699B0BCE8FB}"/>
              </a:ext>
            </a:extLst>
          </p:cNvPr>
          <p:cNvSpPr>
            <a:spLocks noGrp="1"/>
          </p:cNvSpPr>
          <p:nvPr>
            <p:ph type="pic" sz="quarter" idx="13"/>
          </p:nvPr>
        </p:nvSpPr>
        <p:spPr>
          <a:xfrm>
            <a:off x="6096000" y="0"/>
            <a:ext cx="6096000" cy="6858000"/>
          </a:xfrm>
          <a:prstGeom prst="rect">
            <a:avLst/>
          </a:prstGeom>
        </p:spPr>
        <p:txBody>
          <a:bodyPr/>
          <a:lstStyle>
            <a:lvl1pPr>
              <a:defRPr>
                <a:latin typeface="Pfizer Tomorrow" panose="02010503040201060303" pitchFamily="50" charset="0"/>
              </a:defRPr>
            </a:lvl1pPr>
          </a:lstStyle>
          <a:p>
            <a:endParaRPr lang="en-US"/>
          </a:p>
        </p:txBody>
      </p:sp>
      <p:sp>
        <p:nvSpPr>
          <p:cNvPr id="3" name="Title 6">
            <a:extLst>
              <a:ext uri="{FF2B5EF4-FFF2-40B4-BE49-F238E27FC236}">
                <a16:creationId xmlns:a16="http://schemas.microsoft.com/office/drawing/2014/main" id="{59D6C27D-76A4-6038-2465-2C1EDAFB7EB5}"/>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5" name="Slide Number Placeholder 9">
            <a:extLst>
              <a:ext uri="{FF2B5EF4-FFF2-40B4-BE49-F238E27FC236}">
                <a16:creationId xmlns:a16="http://schemas.microsoft.com/office/drawing/2014/main" id="{61B602E0-F00F-E049-252E-F5DBF18A8C6E}"/>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35753154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Headline with Text and Image">
    <p:spTree>
      <p:nvGrpSpPr>
        <p:cNvPr id="1" name=""/>
        <p:cNvGrpSpPr/>
        <p:nvPr/>
      </p:nvGrpSpPr>
      <p:grpSpPr>
        <a:xfrm>
          <a:off x="0" y="0"/>
          <a:ext cx="0" cy="0"/>
          <a:chOff x="0" y="0"/>
          <a:chExt cx="0" cy="0"/>
        </a:xfrm>
      </p:grpSpPr>
      <p:sp>
        <p:nvSpPr>
          <p:cNvPr id="16" name="Title 6">
            <a:extLst>
              <a:ext uri="{FF2B5EF4-FFF2-40B4-BE49-F238E27FC236}">
                <a16:creationId xmlns:a16="http://schemas.microsoft.com/office/drawing/2014/main" id="{6A93E6CE-ACF3-6C2D-B43C-E22F6A08F8C5}"/>
              </a:ext>
            </a:extLst>
          </p:cNvPr>
          <p:cNvSpPr>
            <a:spLocks noGrp="1"/>
          </p:cNvSpPr>
          <p:nvPr>
            <p:ph type="title" hasCustomPrompt="1"/>
          </p:nvPr>
        </p:nvSpPr>
        <p:spPr>
          <a:xfrm>
            <a:off x="616843" y="708190"/>
            <a:ext cx="3427223" cy="1329338"/>
          </a:xfrm>
          <a:prstGeom prst="rect">
            <a:avLst/>
          </a:prstGeom>
        </p:spPr>
        <p:txBody>
          <a:bodyPr wrap="square" lIns="0" tIns="0" rIns="0" bIns="0">
            <a:spAutoFit/>
          </a:bodyPr>
          <a:lstStyle>
            <a:lvl1pPr>
              <a:defRPr lang="en-US" sz="47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17" name="Text Placeholder 10">
            <a:extLst>
              <a:ext uri="{FF2B5EF4-FFF2-40B4-BE49-F238E27FC236}">
                <a16:creationId xmlns:a16="http://schemas.microsoft.com/office/drawing/2014/main" id="{EE4A84E6-4964-86B5-6174-78A555656A1E}"/>
              </a:ext>
            </a:extLst>
          </p:cNvPr>
          <p:cNvSpPr>
            <a:spLocks noGrp="1"/>
          </p:cNvSpPr>
          <p:nvPr>
            <p:ph type="body" sz="quarter" idx="12" hasCustomPrompt="1"/>
          </p:nvPr>
        </p:nvSpPr>
        <p:spPr>
          <a:xfrm>
            <a:off x="616844" y="2190824"/>
            <a:ext cx="4564756" cy="3981376"/>
          </a:xfrm>
          <a:prstGeom prst="rect">
            <a:avLst/>
          </a:prstGeom>
        </p:spPr>
        <p:txBody>
          <a:bodyPr lIns="0" tIns="0" rIns="0" bIns="0">
            <a:noAutofit/>
          </a:bodyPr>
          <a:lstStyle>
            <a:lvl1pPr marL="0" indent="0">
              <a:buNone/>
              <a:defRPr lang="en-US" sz="1800" b="0" i="0" kern="1200" spc="-50" dirty="0" smtClean="0">
                <a:solidFill>
                  <a:srgbClr val="02005E"/>
                </a:solidFill>
                <a:latin typeface="Pfizer Tomorrow" panose="02010503040201060303" pitchFamily="50" charset="0"/>
                <a:ea typeface="+mn-ea"/>
                <a:cs typeface="+mn-cs"/>
              </a:defRPr>
            </a:lvl1pPr>
            <a:lvl2pPr>
              <a:defRPr lang="en-US" sz="1800" b="0" i="0" kern="1200" spc="-50" dirty="0" smtClean="0">
                <a:solidFill>
                  <a:srgbClr val="02005E"/>
                </a:solidFill>
                <a:latin typeface="Pfizer Tomorrow" panose="02010503040201060303" pitchFamily="50" charset="0"/>
                <a:ea typeface="+mn-ea"/>
                <a:cs typeface="+mn-cs"/>
              </a:defRPr>
            </a:lvl2pPr>
            <a:lvl3pPr>
              <a:defRPr lang="en-US" sz="1800" b="0" i="0" kern="1200" spc="-50" dirty="0" smtClean="0">
                <a:solidFill>
                  <a:srgbClr val="02005E"/>
                </a:solidFill>
                <a:latin typeface="Pfizer Tomorrow" panose="02010503040201060303" pitchFamily="50" charset="0"/>
                <a:ea typeface="+mn-ea"/>
                <a:cs typeface="+mn-cs"/>
              </a:defRPr>
            </a:lvl3pPr>
            <a:lvl4pPr>
              <a:defRPr lang="en-US" sz="1800" b="0" i="0" kern="1200" spc="-50" dirty="0" smtClean="0">
                <a:solidFill>
                  <a:srgbClr val="02005E"/>
                </a:solidFill>
                <a:latin typeface="Pfizer Tomorrow" panose="02010503040201060303" pitchFamily="50" charset="0"/>
                <a:ea typeface="+mn-ea"/>
                <a:cs typeface="+mn-cs"/>
              </a:defRPr>
            </a:lvl4pPr>
            <a:lvl5pPr>
              <a:defRPr lang="en-US" sz="1800" b="0" i="0" kern="1200" spc="-50" dirty="0">
                <a:solidFill>
                  <a:srgbClr val="02005E"/>
                </a:solidFill>
                <a:latin typeface="Pfizer Tomorrow" panose="02010503040201060303" pitchFamily="50" charset="0"/>
                <a:ea typeface="+mn-ea"/>
                <a:cs typeface="+mn-cs"/>
              </a:defRPr>
            </a:lvl5pPr>
          </a:lstStyle>
          <a:p>
            <a:pPr lvl="0"/>
            <a:r>
              <a:rPr lang="en-US"/>
              <a:t>Body copy here</a:t>
            </a:r>
          </a:p>
          <a:p>
            <a:pPr lvl="1"/>
            <a:r>
              <a:rPr lang="en-US"/>
              <a:t>Second level</a:t>
            </a:r>
          </a:p>
          <a:p>
            <a:pPr lvl="2"/>
            <a:r>
              <a:rPr lang="en-US"/>
              <a:t>Third level</a:t>
            </a:r>
          </a:p>
          <a:p>
            <a:pPr lvl="3"/>
            <a:r>
              <a:rPr lang="en-US"/>
              <a:t>Fourth level</a:t>
            </a:r>
          </a:p>
          <a:p>
            <a:pPr lvl="4"/>
            <a:r>
              <a:rPr lang="en-US"/>
              <a:t>Fifth level</a:t>
            </a:r>
          </a:p>
        </p:txBody>
      </p:sp>
      <p:sp>
        <p:nvSpPr>
          <p:cNvPr id="3" name="Picture Placeholder 14">
            <a:extLst>
              <a:ext uri="{FF2B5EF4-FFF2-40B4-BE49-F238E27FC236}">
                <a16:creationId xmlns:a16="http://schemas.microsoft.com/office/drawing/2014/main" id="{CEB3BF6E-AB38-F50A-42FD-0EB5EA19F056}"/>
              </a:ext>
            </a:extLst>
          </p:cNvPr>
          <p:cNvSpPr>
            <a:spLocks noGrp="1"/>
          </p:cNvSpPr>
          <p:nvPr>
            <p:ph type="pic" sz="quarter" idx="13"/>
          </p:nvPr>
        </p:nvSpPr>
        <p:spPr>
          <a:xfrm>
            <a:off x="6096000" y="0"/>
            <a:ext cx="6096000" cy="6858000"/>
          </a:xfrm>
          <a:prstGeom prst="rect">
            <a:avLst/>
          </a:prstGeom>
        </p:spPr>
        <p:txBody>
          <a:bodyPr/>
          <a:lstStyle>
            <a:lvl1pPr>
              <a:defRPr>
                <a:latin typeface="Pfizer Tomorrow" panose="02010503040201060303" pitchFamily="50" charset="0"/>
              </a:defRPr>
            </a:lvl1pPr>
          </a:lstStyle>
          <a:p>
            <a:endParaRPr lang="en-US"/>
          </a:p>
        </p:txBody>
      </p:sp>
      <p:sp>
        <p:nvSpPr>
          <p:cNvPr id="2" name="Slide Number Placeholder 9">
            <a:extLst>
              <a:ext uri="{FF2B5EF4-FFF2-40B4-BE49-F238E27FC236}">
                <a16:creationId xmlns:a16="http://schemas.microsoft.com/office/drawing/2014/main" id="{E86A02BF-6A46-5FBB-E4F3-955A0CFA975B}"/>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33552451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line with Text Sections and Image">
    <p:spTree>
      <p:nvGrpSpPr>
        <p:cNvPr id="1" name=""/>
        <p:cNvGrpSpPr/>
        <p:nvPr/>
      </p:nvGrpSpPr>
      <p:grpSpPr>
        <a:xfrm>
          <a:off x="0" y="0"/>
          <a:ext cx="0" cy="0"/>
          <a:chOff x="0" y="0"/>
          <a:chExt cx="0" cy="0"/>
        </a:xfrm>
      </p:grpSpPr>
      <p:sp>
        <p:nvSpPr>
          <p:cNvPr id="17" name="Text Placeholder 10">
            <a:extLst>
              <a:ext uri="{FF2B5EF4-FFF2-40B4-BE49-F238E27FC236}">
                <a16:creationId xmlns:a16="http://schemas.microsoft.com/office/drawing/2014/main" id="{EE4A84E6-4964-86B5-6174-78A555656A1E}"/>
              </a:ext>
            </a:extLst>
          </p:cNvPr>
          <p:cNvSpPr>
            <a:spLocks noGrp="1"/>
          </p:cNvSpPr>
          <p:nvPr>
            <p:ph type="body" sz="quarter" idx="12" hasCustomPrompt="1"/>
          </p:nvPr>
        </p:nvSpPr>
        <p:spPr>
          <a:xfrm>
            <a:off x="617795" y="2063219"/>
            <a:ext cx="2294829" cy="1181126"/>
          </a:xfrm>
          <a:prstGeom prst="rect">
            <a:avLst/>
          </a:prstGeom>
        </p:spPr>
        <p:txBody>
          <a:bodyPr lIns="0" tIns="0" rIns="0" bIns="0"/>
          <a:lstStyle>
            <a:lvl1pPr marL="0" indent="0">
              <a:buNone/>
              <a:defRPr lang="en-US" sz="1400" b="0" i="0" kern="1200" spc="-50" dirty="0" smtClean="0">
                <a:solidFill>
                  <a:srgbClr val="02005E"/>
                </a:solidFill>
                <a:latin typeface="Pfizer Tomorrow" panose="02010503040201060303" pitchFamily="50" charset="0"/>
                <a:ea typeface="+mn-ea"/>
                <a:cs typeface="+mn-cs"/>
              </a:defRPr>
            </a:lvl1pPr>
            <a:lvl2pPr marL="457086" indent="0">
              <a:buNone/>
              <a:defRPr lang="en-US" sz="1400" b="0" i="0" kern="1200" spc="-50" dirty="0" smtClean="0">
                <a:solidFill>
                  <a:srgbClr val="02005E"/>
                </a:solidFill>
                <a:latin typeface="Pfizer Diatype Office" panose="020B0504040202060203" pitchFamily="34" charset="77"/>
                <a:ea typeface="+mn-ea"/>
                <a:cs typeface="+mn-cs"/>
              </a:defRPr>
            </a:lvl2pPr>
            <a:lvl3pPr>
              <a:defRPr lang="en-US" sz="1400" b="0" i="0" kern="1200" spc="-50" dirty="0" smtClean="0">
                <a:solidFill>
                  <a:srgbClr val="02005E"/>
                </a:solidFill>
                <a:latin typeface="Pfizer Diatype Office" panose="020B0504040202060203" pitchFamily="34" charset="77"/>
                <a:ea typeface="+mn-ea"/>
                <a:cs typeface="+mn-cs"/>
              </a:defRPr>
            </a:lvl3pPr>
            <a:lvl4pPr>
              <a:defRPr lang="en-US" sz="1400" b="0" i="0" kern="1200" spc="-50" dirty="0" smtClean="0">
                <a:solidFill>
                  <a:srgbClr val="02005E"/>
                </a:solidFill>
                <a:latin typeface="Pfizer Diatype Office" panose="020B0504040202060203" pitchFamily="34" charset="77"/>
                <a:ea typeface="+mn-ea"/>
                <a:cs typeface="+mn-cs"/>
              </a:defRPr>
            </a:lvl4pPr>
            <a:lvl5pPr>
              <a:defRPr lang="en-US" sz="1400" b="0" i="0" kern="1200" spc="-50" dirty="0">
                <a:solidFill>
                  <a:srgbClr val="02005E"/>
                </a:solidFill>
                <a:latin typeface="Pfizer Diatype Office" panose="020B0504040202060203" pitchFamily="34" charset="77"/>
                <a:ea typeface="+mn-ea"/>
                <a:cs typeface="+mn-cs"/>
              </a:defRPr>
            </a:lvl5pPr>
          </a:lstStyle>
          <a:p>
            <a:pPr lvl="0"/>
            <a:r>
              <a:rPr lang="en-US"/>
              <a:t>Body copy here</a:t>
            </a:r>
          </a:p>
        </p:txBody>
      </p:sp>
      <p:sp>
        <p:nvSpPr>
          <p:cNvPr id="18" name="Picture Placeholder 14">
            <a:extLst>
              <a:ext uri="{FF2B5EF4-FFF2-40B4-BE49-F238E27FC236}">
                <a16:creationId xmlns:a16="http://schemas.microsoft.com/office/drawing/2014/main" id="{89B85A33-C477-FFF9-B49D-9699B0BCE8FB}"/>
              </a:ext>
            </a:extLst>
          </p:cNvPr>
          <p:cNvSpPr>
            <a:spLocks noGrp="1"/>
          </p:cNvSpPr>
          <p:nvPr>
            <p:ph type="pic" sz="quarter" idx="13"/>
          </p:nvPr>
        </p:nvSpPr>
        <p:spPr>
          <a:xfrm>
            <a:off x="6096000" y="0"/>
            <a:ext cx="6096000" cy="6858000"/>
          </a:xfrm>
          <a:prstGeom prst="rect">
            <a:avLst/>
          </a:prstGeom>
        </p:spPr>
        <p:txBody>
          <a:bodyPr/>
          <a:lstStyle>
            <a:lvl1pPr>
              <a:defRPr>
                <a:latin typeface="Pfizer Tomorrow" panose="02010503040201060303" pitchFamily="50" charset="0"/>
              </a:defRPr>
            </a:lvl1pPr>
          </a:lstStyle>
          <a:p>
            <a:endParaRPr lang="en-US"/>
          </a:p>
        </p:txBody>
      </p:sp>
      <p:sp>
        <p:nvSpPr>
          <p:cNvPr id="3" name="Title 6">
            <a:extLst>
              <a:ext uri="{FF2B5EF4-FFF2-40B4-BE49-F238E27FC236}">
                <a16:creationId xmlns:a16="http://schemas.microsoft.com/office/drawing/2014/main" id="{59D6C27D-76A4-6038-2465-2C1EDAFB7EB5}"/>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5" name="Slide Number Placeholder 9">
            <a:extLst>
              <a:ext uri="{FF2B5EF4-FFF2-40B4-BE49-F238E27FC236}">
                <a16:creationId xmlns:a16="http://schemas.microsoft.com/office/drawing/2014/main" id="{61B602E0-F00F-E049-252E-F5DBF18A8C6E}"/>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cxnSp>
        <p:nvCxnSpPr>
          <p:cNvPr id="8" name="Straight Connector 7">
            <a:extLst>
              <a:ext uri="{FF2B5EF4-FFF2-40B4-BE49-F238E27FC236}">
                <a16:creationId xmlns:a16="http://schemas.microsoft.com/office/drawing/2014/main" id="{18DE6305-C412-2BE5-3143-1D8ADE1A2CC2}"/>
              </a:ext>
            </a:extLst>
          </p:cNvPr>
          <p:cNvCxnSpPr>
            <a:cxnSpLocks/>
          </p:cNvCxnSpPr>
          <p:nvPr userDrawn="1"/>
        </p:nvCxnSpPr>
        <p:spPr>
          <a:xfrm>
            <a:off x="622107" y="1938701"/>
            <a:ext cx="2294829" cy="0"/>
          </a:xfrm>
          <a:prstGeom prst="line">
            <a:avLst/>
          </a:prstGeom>
        </p:spPr>
        <p:style>
          <a:lnRef idx="2">
            <a:schemeClr val="accent1"/>
          </a:lnRef>
          <a:fillRef idx="0">
            <a:schemeClr val="accent1"/>
          </a:fillRef>
          <a:effectRef idx="1">
            <a:schemeClr val="accent1"/>
          </a:effectRef>
          <a:fontRef idx="minor">
            <a:schemeClr val="tx1"/>
          </a:fontRef>
        </p:style>
      </p:cxnSp>
      <p:sp>
        <p:nvSpPr>
          <p:cNvPr id="24" name="Text Placeholder 10">
            <a:extLst>
              <a:ext uri="{FF2B5EF4-FFF2-40B4-BE49-F238E27FC236}">
                <a16:creationId xmlns:a16="http://schemas.microsoft.com/office/drawing/2014/main" id="{FE2FF408-5993-B724-89BA-D820D84F2E24}"/>
              </a:ext>
            </a:extLst>
          </p:cNvPr>
          <p:cNvSpPr>
            <a:spLocks noGrp="1"/>
          </p:cNvSpPr>
          <p:nvPr>
            <p:ph type="body" sz="quarter" idx="14" hasCustomPrompt="1"/>
          </p:nvPr>
        </p:nvSpPr>
        <p:spPr>
          <a:xfrm>
            <a:off x="3236672" y="2063219"/>
            <a:ext cx="2294829" cy="1181126"/>
          </a:xfrm>
          <a:prstGeom prst="rect">
            <a:avLst/>
          </a:prstGeom>
        </p:spPr>
        <p:txBody>
          <a:bodyPr lIns="0" tIns="0" rIns="0" bIns="0"/>
          <a:lstStyle>
            <a:lvl1pPr marL="0" indent="0">
              <a:buNone/>
              <a:defRPr lang="en-US" sz="1400" b="0" i="0" kern="1200" spc="-50" dirty="0" smtClean="0">
                <a:solidFill>
                  <a:srgbClr val="02005E"/>
                </a:solidFill>
                <a:latin typeface="Pfizer Tomorrow" panose="02010503040201060303" pitchFamily="50" charset="0"/>
                <a:ea typeface="+mn-ea"/>
                <a:cs typeface="+mn-cs"/>
              </a:defRPr>
            </a:lvl1pPr>
            <a:lvl2pPr marL="457086" indent="0">
              <a:buNone/>
              <a:defRPr lang="en-US" sz="1400" b="0" i="0" kern="1200" spc="-50" dirty="0" smtClean="0">
                <a:solidFill>
                  <a:srgbClr val="02005E"/>
                </a:solidFill>
                <a:latin typeface="Pfizer Diatype Office" panose="020B0504040202060203" pitchFamily="34" charset="77"/>
                <a:ea typeface="+mn-ea"/>
                <a:cs typeface="+mn-cs"/>
              </a:defRPr>
            </a:lvl2pPr>
            <a:lvl3pPr>
              <a:defRPr lang="en-US" sz="1400" b="0" i="0" kern="1200" spc="-50" dirty="0" smtClean="0">
                <a:solidFill>
                  <a:srgbClr val="02005E"/>
                </a:solidFill>
                <a:latin typeface="Pfizer Diatype Office" panose="020B0504040202060203" pitchFamily="34" charset="77"/>
                <a:ea typeface="+mn-ea"/>
                <a:cs typeface="+mn-cs"/>
              </a:defRPr>
            </a:lvl3pPr>
            <a:lvl4pPr>
              <a:defRPr lang="en-US" sz="1400" b="0" i="0" kern="1200" spc="-50" dirty="0" smtClean="0">
                <a:solidFill>
                  <a:srgbClr val="02005E"/>
                </a:solidFill>
                <a:latin typeface="Pfizer Diatype Office" panose="020B0504040202060203" pitchFamily="34" charset="77"/>
                <a:ea typeface="+mn-ea"/>
                <a:cs typeface="+mn-cs"/>
              </a:defRPr>
            </a:lvl4pPr>
            <a:lvl5pPr>
              <a:defRPr lang="en-US" sz="1400" b="0" i="0" kern="1200" spc="-50" dirty="0">
                <a:solidFill>
                  <a:srgbClr val="02005E"/>
                </a:solidFill>
                <a:latin typeface="Pfizer Diatype Office" panose="020B0504040202060203" pitchFamily="34" charset="77"/>
                <a:ea typeface="+mn-ea"/>
                <a:cs typeface="+mn-cs"/>
              </a:defRPr>
            </a:lvl5pPr>
          </a:lstStyle>
          <a:p>
            <a:pPr lvl="0"/>
            <a:r>
              <a:rPr lang="en-US"/>
              <a:t>Body copy here</a:t>
            </a:r>
          </a:p>
        </p:txBody>
      </p:sp>
      <p:cxnSp>
        <p:nvCxnSpPr>
          <p:cNvPr id="26" name="Straight Connector 25">
            <a:extLst>
              <a:ext uri="{FF2B5EF4-FFF2-40B4-BE49-F238E27FC236}">
                <a16:creationId xmlns:a16="http://schemas.microsoft.com/office/drawing/2014/main" id="{474483F0-F6AC-1DBB-8B45-C05C93BDC8A0}"/>
              </a:ext>
            </a:extLst>
          </p:cNvPr>
          <p:cNvCxnSpPr>
            <a:cxnSpLocks/>
          </p:cNvCxnSpPr>
          <p:nvPr userDrawn="1"/>
        </p:nvCxnSpPr>
        <p:spPr>
          <a:xfrm>
            <a:off x="3240984" y="1938701"/>
            <a:ext cx="2294829" cy="0"/>
          </a:xfrm>
          <a:prstGeom prst="line">
            <a:avLst/>
          </a:prstGeom>
        </p:spPr>
        <p:style>
          <a:lnRef idx="2">
            <a:schemeClr val="accent1"/>
          </a:lnRef>
          <a:fillRef idx="0">
            <a:schemeClr val="accent1"/>
          </a:fillRef>
          <a:effectRef idx="1">
            <a:schemeClr val="accent1"/>
          </a:effectRef>
          <a:fontRef idx="minor">
            <a:schemeClr val="tx1"/>
          </a:fontRef>
        </p:style>
      </p:cxnSp>
      <p:sp>
        <p:nvSpPr>
          <p:cNvPr id="33" name="Text Placeholder 10">
            <a:extLst>
              <a:ext uri="{FF2B5EF4-FFF2-40B4-BE49-F238E27FC236}">
                <a16:creationId xmlns:a16="http://schemas.microsoft.com/office/drawing/2014/main" id="{B4014345-3777-DCB5-BA8B-873F3747B9AD}"/>
              </a:ext>
            </a:extLst>
          </p:cNvPr>
          <p:cNvSpPr>
            <a:spLocks noGrp="1"/>
          </p:cNvSpPr>
          <p:nvPr>
            <p:ph type="body" sz="quarter" idx="17" hasCustomPrompt="1"/>
          </p:nvPr>
        </p:nvSpPr>
        <p:spPr>
          <a:xfrm>
            <a:off x="613152" y="1633401"/>
            <a:ext cx="2294829" cy="193048"/>
          </a:xfrm>
          <a:prstGeom prst="rect">
            <a:avLst/>
          </a:prstGeom>
        </p:spPr>
        <p:txBody>
          <a:bodyPr lIns="0" tIns="0" rIns="0" bIns="0">
            <a:spAutoFit/>
          </a:bodyPr>
          <a:lstStyle>
            <a:lvl1pPr marL="0" indent="0">
              <a:buNone/>
              <a:defRPr lang="en-US" sz="1400" b="0" i="0" kern="1200" spc="-50" dirty="0" smtClean="0">
                <a:solidFill>
                  <a:srgbClr val="02005E"/>
                </a:solidFill>
                <a:latin typeface="Pfizer Diatype Office" panose="020B0504040202060203" pitchFamily="34" charset="77"/>
                <a:ea typeface="+mn-ea"/>
                <a:cs typeface="+mn-cs"/>
              </a:defRPr>
            </a:lvl1pPr>
            <a:lvl2pPr marL="457086" indent="0">
              <a:buNone/>
              <a:defRPr lang="en-US" sz="1400" b="0" i="0" kern="1200" spc="-50" dirty="0" smtClean="0">
                <a:solidFill>
                  <a:srgbClr val="02005E"/>
                </a:solidFill>
                <a:latin typeface="Pfizer Diatype Office" panose="020B0504040202060203" pitchFamily="34" charset="77"/>
                <a:ea typeface="+mn-ea"/>
                <a:cs typeface="+mn-cs"/>
              </a:defRPr>
            </a:lvl2pPr>
            <a:lvl3pPr>
              <a:defRPr lang="en-US" sz="1400" b="0" i="0" kern="1200" spc="-50" dirty="0" smtClean="0">
                <a:solidFill>
                  <a:srgbClr val="02005E"/>
                </a:solidFill>
                <a:latin typeface="Pfizer Diatype Office" panose="020B0504040202060203" pitchFamily="34" charset="77"/>
                <a:ea typeface="+mn-ea"/>
                <a:cs typeface="+mn-cs"/>
              </a:defRPr>
            </a:lvl3pPr>
            <a:lvl4pPr>
              <a:defRPr lang="en-US" sz="1400" b="0" i="0" kern="1200" spc="-50" dirty="0" smtClean="0">
                <a:solidFill>
                  <a:srgbClr val="02005E"/>
                </a:solidFill>
                <a:latin typeface="Pfizer Diatype Office" panose="020B0504040202060203" pitchFamily="34" charset="77"/>
                <a:ea typeface="+mn-ea"/>
                <a:cs typeface="+mn-cs"/>
              </a:defRPr>
            </a:lvl4pPr>
            <a:lvl5pPr>
              <a:defRPr lang="en-US" sz="1400" b="0" i="0" kern="1200" spc="-50" dirty="0">
                <a:solidFill>
                  <a:srgbClr val="02005E"/>
                </a:solidFill>
                <a:latin typeface="Pfizer Diatype Office" panose="020B0504040202060203" pitchFamily="34" charset="77"/>
                <a:ea typeface="+mn-ea"/>
                <a:cs typeface="+mn-cs"/>
              </a:defRPr>
            </a:lvl5pPr>
          </a:lstStyle>
          <a:p>
            <a:r>
              <a:rPr lang="en-US" sz="1400" b="1" spc="-25">
                <a:solidFill>
                  <a:schemeClr val="accent1"/>
                </a:solidFill>
                <a:latin typeface="Pfizer Tomorrow" panose="02010503040201060303" pitchFamily="2" charset="77"/>
              </a:rPr>
              <a:t>01 Headline</a:t>
            </a:r>
          </a:p>
        </p:txBody>
      </p:sp>
      <p:sp>
        <p:nvSpPr>
          <p:cNvPr id="34" name="Text Placeholder 10">
            <a:extLst>
              <a:ext uri="{FF2B5EF4-FFF2-40B4-BE49-F238E27FC236}">
                <a16:creationId xmlns:a16="http://schemas.microsoft.com/office/drawing/2014/main" id="{003128E0-51E1-2573-6F96-090E5D901167}"/>
              </a:ext>
            </a:extLst>
          </p:cNvPr>
          <p:cNvSpPr>
            <a:spLocks noGrp="1"/>
          </p:cNvSpPr>
          <p:nvPr>
            <p:ph type="body" sz="quarter" idx="18" hasCustomPrompt="1"/>
          </p:nvPr>
        </p:nvSpPr>
        <p:spPr>
          <a:xfrm>
            <a:off x="3236671" y="1633401"/>
            <a:ext cx="2294829" cy="193048"/>
          </a:xfrm>
          <a:prstGeom prst="rect">
            <a:avLst/>
          </a:prstGeom>
        </p:spPr>
        <p:txBody>
          <a:bodyPr lIns="0" tIns="0" rIns="0" bIns="0">
            <a:spAutoFit/>
          </a:bodyPr>
          <a:lstStyle>
            <a:lvl1pPr marL="0" indent="0">
              <a:buNone/>
              <a:defRPr lang="en-US" sz="1400" b="0" i="0" kern="1200" spc="-50" dirty="0" smtClean="0">
                <a:solidFill>
                  <a:srgbClr val="02005E"/>
                </a:solidFill>
                <a:latin typeface="Pfizer Diatype Office" panose="020B0504040202060203" pitchFamily="34" charset="77"/>
                <a:ea typeface="+mn-ea"/>
                <a:cs typeface="+mn-cs"/>
              </a:defRPr>
            </a:lvl1pPr>
            <a:lvl2pPr marL="457086" indent="0">
              <a:buNone/>
              <a:defRPr lang="en-US" sz="1400" b="0" i="0" kern="1200" spc="-50" dirty="0" smtClean="0">
                <a:solidFill>
                  <a:srgbClr val="02005E"/>
                </a:solidFill>
                <a:latin typeface="Pfizer Diatype Office" panose="020B0504040202060203" pitchFamily="34" charset="77"/>
                <a:ea typeface="+mn-ea"/>
                <a:cs typeface="+mn-cs"/>
              </a:defRPr>
            </a:lvl2pPr>
            <a:lvl3pPr>
              <a:defRPr lang="en-US" sz="1400" b="0" i="0" kern="1200" spc="-50" dirty="0" smtClean="0">
                <a:solidFill>
                  <a:srgbClr val="02005E"/>
                </a:solidFill>
                <a:latin typeface="Pfizer Diatype Office" panose="020B0504040202060203" pitchFamily="34" charset="77"/>
                <a:ea typeface="+mn-ea"/>
                <a:cs typeface="+mn-cs"/>
              </a:defRPr>
            </a:lvl3pPr>
            <a:lvl4pPr>
              <a:defRPr lang="en-US" sz="1400" b="0" i="0" kern="1200" spc="-50" dirty="0" smtClean="0">
                <a:solidFill>
                  <a:srgbClr val="02005E"/>
                </a:solidFill>
                <a:latin typeface="Pfizer Diatype Office" panose="020B0504040202060203" pitchFamily="34" charset="77"/>
                <a:ea typeface="+mn-ea"/>
                <a:cs typeface="+mn-cs"/>
              </a:defRPr>
            </a:lvl4pPr>
            <a:lvl5pPr>
              <a:defRPr lang="en-US" sz="1400" b="0" i="0" kern="1200" spc="-50" dirty="0">
                <a:solidFill>
                  <a:srgbClr val="02005E"/>
                </a:solidFill>
                <a:latin typeface="Pfizer Diatype Office" panose="020B0504040202060203" pitchFamily="34" charset="77"/>
                <a:ea typeface="+mn-ea"/>
                <a:cs typeface="+mn-cs"/>
              </a:defRPr>
            </a:lvl5pPr>
          </a:lstStyle>
          <a:p>
            <a:r>
              <a:rPr lang="en-US" sz="1400" b="1" spc="-25">
                <a:solidFill>
                  <a:schemeClr val="accent1"/>
                </a:solidFill>
                <a:latin typeface="Pfizer Tomorrow" panose="02010503040201060303" pitchFamily="2" charset="77"/>
              </a:rPr>
              <a:t>02 Headline</a:t>
            </a:r>
          </a:p>
        </p:txBody>
      </p:sp>
      <p:sp>
        <p:nvSpPr>
          <p:cNvPr id="37" name="Text Placeholder 10">
            <a:extLst>
              <a:ext uri="{FF2B5EF4-FFF2-40B4-BE49-F238E27FC236}">
                <a16:creationId xmlns:a16="http://schemas.microsoft.com/office/drawing/2014/main" id="{9F8C3614-5312-D442-B438-CF10A2C9FFB8}"/>
              </a:ext>
            </a:extLst>
          </p:cNvPr>
          <p:cNvSpPr>
            <a:spLocks noGrp="1"/>
          </p:cNvSpPr>
          <p:nvPr>
            <p:ph type="body" sz="quarter" idx="19" hasCustomPrompt="1"/>
          </p:nvPr>
        </p:nvSpPr>
        <p:spPr>
          <a:xfrm>
            <a:off x="617794" y="4043474"/>
            <a:ext cx="2294829" cy="1181126"/>
          </a:xfrm>
          <a:prstGeom prst="rect">
            <a:avLst/>
          </a:prstGeom>
        </p:spPr>
        <p:txBody>
          <a:bodyPr lIns="0" tIns="0" rIns="0" bIns="0"/>
          <a:lstStyle>
            <a:lvl1pPr marL="0" indent="0">
              <a:buNone/>
              <a:defRPr lang="en-US" sz="1400" b="0" i="0" kern="1200" spc="-50" dirty="0" smtClean="0">
                <a:solidFill>
                  <a:srgbClr val="02005E"/>
                </a:solidFill>
                <a:latin typeface="Pfizer Tomorrow" panose="02010503040201060303" pitchFamily="50" charset="0"/>
                <a:ea typeface="+mn-ea"/>
                <a:cs typeface="+mn-cs"/>
              </a:defRPr>
            </a:lvl1pPr>
            <a:lvl2pPr marL="457086" indent="0">
              <a:buNone/>
              <a:defRPr lang="en-US" sz="1400" b="0" i="0" kern="1200" spc="-50" dirty="0" smtClean="0">
                <a:solidFill>
                  <a:srgbClr val="02005E"/>
                </a:solidFill>
                <a:latin typeface="Pfizer Diatype Office" panose="020B0504040202060203" pitchFamily="34" charset="77"/>
                <a:ea typeface="+mn-ea"/>
                <a:cs typeface="+mn-cs"/>
              </a:defRPr>
            </a:lvl2pPr>
            <a:lvl3pPr>
              <a:defRPr lang="en-US" sz="1400" b="0" i="0" kern="1200" spc="-50" dirty="0" smtClean="0">
                <a:solidFill>
                  <a:srgbClr val="02005E"/>
                </a:solidFill>
                <a:latin typeface="Pfizer Diatype Office" panose="020B0504040202060203" pitchFamily="34" charset="77"/>
                <a:ea typeface="+mn-ea"/>
                <a:cs typeface="+mn-cs"/>
              </a:defRPr>
            </a:lvl3pPr>
            <a:lvl4pPr>
              <a:defRPr lang="en-US" sz="1400" b="0" i="0" kern="1200" spc="-50" dirty="0" smtClean="0">
                <a:solidFill>
                  <a:srgbClr val="02005E"/>
                </a:solidFill>
                <a:latin typeface="Pfizer Diatype Office" panose="020B0504040202060203" pitchFamily="34" charset="77"/>
                <a:ea typeface="+mn-ea"/>
                <a:cs typeface="+mn-cs"/>
              </a:defRPr>
            </a:lvl4pPr>
            <a:lvl5pPr>
              <a:defRPr lang="en-US" sz="1400" b="0" i="0" kern="1200" spc="-50" dirty="0">
                <a:solidFill>
                  <a:srgbClr val="02005E"/>
                </a:solidFill>
                <a:latin typeface="Pfizer Diatype Office" panose="020B0504040202060203" pitchFamily="34" charset="77"/>
                <a:ea typeface="+mn-ea"/>
                <a:cs typeface="+mn-cs"/>
              </a:defRPr>
            </a:lvl5pPr>
          </a:lstStyle>
          <a:p>
            <a:pPr lvl="0"/>
            <a:r>
              <a:rPr lang="en-US"/>
              <a:t>Body copy here</a:t>
            </a:r>
          </a:p>
        </p:txBody>
      </p:sp>
      <p:cxnSp>
        <p:nvCxnSpPr>
          <p:cNvPr id="38" name="Straight Connector 37">
            <a:extLst>
              <a:ext uri="{FF2B5EF4-FFF2-40B4-BE49-F238E27FC236}">
                <a16:creationId xmlns:a16="http://schemas.microsoft.com/office/drawing/2014/main" id="{48E831FA-5D2C-6468-5178-9B0719C8E3BC}"/>
              </a:ext>
            </a:extLst>
          </p:cNvPr>
          <p:cNvCxnSpPr>
            <a:cxnSpLocks/>
          </p:cNvCxnSpPr>
          <p:nvPr userDrawn="1"/>
        </p:nvCxnSpPr>
        <p:spPr>
          <a:xfrm>
            <a:off x="622106" y="3918956"/>
            <a:ext cx="2294829" cy="0"/>
          </a:xfrm>
          <a:prstGeom prst="line">
            <a:avLst/>
          </a:prstGeom>
        </p:spPr>
        <p:style>
          <a:lnRef idx="2">
            <a:schemeClr val="accent1"/>
          </a:lnRef>
          <a:fillRef idx="0">
            <a:schemeClr val="accent1"/>
          </a:fillRef>
          <a:effectRef idx="1">
            <a:schemeClr val="accent1"/>
          </a:effectRef>
          <a:fontRef idx="minor">
            <a:schemeClr val="tx1"/>
          </a:fontRef>
        </p:style>
      </p:cxnSp>
      <p:sp>
        <p:nvSpPr>
          <p:cNvPr id="39" name="Text Placeholder 10">
            <a:extLst>
              <a:ext uri="{FF2B5EF4-FFF2-40B4-BE49-F238E27FC236}">
                <a16:creationId xmlns:a16="http://schemas.microsoft.com/office/drawing/2014/main" id="{7BC0414B-A360-75B8-3BDB-8E083150E10D}"/>
              </a:ext>
            </a:extLst>
          </p:cNvPr>
          <p:cNvSpPr>
            <a:spLocks noGrp="1"/>
          </p:cNvSpPr>
          <p:nvPr>
            <p:ph type="body" sz="quarter" idx="20" hasCustomPrompt="1"/>
          </p:nvPr>
        </p:nvSpPr>
        <p:spPr>
          <a:xfrm>
            <a:off x="3236671" y="4043474"/>
            <a:ext cx="2294829" cy="1181126"/>
          </a:xfrm>
          <a:prstGeom prst="rect">
            <a:avLst/>
          </a:prstGeom>
        </p:spPr>
        <p:txBody>
          <a:bodyPr lIns="0" tIns="0" rIns="0" bIns="0"/>
          <a:lstStyle>
            <a:lvl1pPr marL="0" indent="0">
              <a:buNone/>
              <a:defRPr lang="en-US" sz="1400" b="0" i="0" kern="1200" spc="-50" dirty="0" smtClean="0">
                <a:solidFill>
                  <a:srgbClr val="02005E"/>
                </a:solidFill>
                <a:latin typeface="Pfizer Tomorrow" panose="02010503040201060303" pitchFamily="50" charset="0"/>
                <a:ea typeface="+mn-ea"/>
                <a:cs typeface="+mn-cs"/>
              </a:defRPr>
            </a:lvl1pPr>
            <a:lvl2pPr marL="457086" indent="0">
              <a:buNone/>
              <a:defRPr lang="en-US" sz="1400" b="0" i="0" kern="1200" spc="-50" dirty="0" smtClean="0">
                <a:solidFill>
                  <a:srgbClr val="02005E"/>
                </a:solidFill>
                <a:latin typeface="Pfizer Diatype Office" panose="020B0504040202060203" pitchFamily="34" charset="77"/>
                <a:ea typeface="+mn-ea"/>
                <a:cs typeface="+mn-cs"/>
              </a:defRPr>
            </a:lvl2pPr>
            <a:lvl3pPr>
              <a:defRPr lang="en-US" sz="1400" b="0" i="0" kern="1200" spc="-50" dirty="0" smtClean="0">
                <a:solidFill>
                  <a:srgbClr val="02005E"/>
                </a:solidFill>
                <a:latin typeface="Pfizer Diatype Office" panose="020B0504040202060203" pitchFamily="34" charset="77"/>
                <a:ea typeface="+mn-ea"/>
                <a:cs typeface="+mn-cs"/>
              </a:defRPr>
            </a:lvl3pPr>
            <a:lvl4pPr>
              <a:defRPr lang="en-US" sz="1400" b="0" i="0" kern="1200" spc="-50" dirty="0" smtClean="0">
                <a:solidFill>
                  <a:srgbClr val="02005E"/>
                </a:solidFill>
                <a:latin typeface="Pfizer Diatype Office" panose="020B0504040202060203" pitchFamily="34" charset="77"/>
                <a:ea typeface="+mn-ea"/>
                <a:cs typeface="+mn-cs"/>
              </a:defRPr>
            </a:lvl4pPr>
            <a:lvl5pPr>
              <a:defRPr lang="en-US" sz="1400" b="0" i="0" kern="1200" spc="-50" dirty="0">
                <a:solidFill>
                  <a:srgbClr val="02005E"/>
                </a:solidFill>
                <a:latin typeface="Pfizer Diatype Office" panose="020B0504040202060203" pitchFamily="34" charset="77"/>
                <a:ea typeface="+mn-ea"/>
                <a:cs typeface="+mn-cs"/>
              </a:defRPr>
            </a:lvl5pPr>
          </a:lstStyle>
          <a:p>
            <a:pPr lvl="0"/>
            <a:r>
              <a:rPr lang="en-US"/>
              <a:t>Body copy here</a:t>
            </a:r>
          </a:p>
        </p:txBody>
      </p:sp>
      <p:cxnSp>
        <p:nvCxnSpPr>
          <p:cNvPr id="40" name="Straight Connector 39">
            <a:extLst>
              <a:ext uri="{FF2B5EF4-FFF2-40B4-BE49-F238E27FC236}">
                <a16:creationId xmlns:a16="http://schemas.microsoft.com/office/drawing/2014/main" id="{3D72FB8B-0BDA-3004-E56F-C81749B4F7C9}"/>
              </a:ext>
            </a:extLst>
          </p:cNvPr>
          <p:cNvCxnSpPr>
            <a:cxnSpLocks/>
          </p:cNvCxnSpPr>
          <p:nvPr userDrawn="1"/>
        </p:nvCxnSpPr>
        <p:spPr>
          <a:xfrm>
            <a:off x="3240983" y="3918956"/>
            <a:ext cx="2294829" cy="0"/>
          </a:xfrm>
          <a:prstGeom prst="line">
            <a:avLst/>
          </a:prstGeom>
        </p:spPr>
        <p:style>
          <a:lnRef idx="2">
            <a:schemeClr val="accent1"/>
          </a:lnRef>
          <a:fillRef idx="0">
            <a:schemeClr val="accent1"/>
          </a:fillRef>
          <a:effectRef idx="1">
            <a:schemeClr val="accent1"/>
          </a:effectRef>
          <a:fontRef idx="minor">
            <a:schemeClr val="tx1"/>
          </a:fontRef>
        </p:style>
      </p:cxnSp>
      <p:sp>
        <p:nvSpPr>
          <p:cNvPr id="41" name="Text Placeholder 10">
            <a:extLst>
              <a:ext uri="{FF2B5EF4-FFF2-40B4-BE49-F238E27FC236}">
                <a16:creationId xmlns:a16="http://schemas.microsoft.com/office/drawing/2014/main" id="{D5FB559B-E0A6-6DD6-643C-174BC7B1486A}"/>
              </a:ext>
            </a:extLst>
          </p:cNvPr>
          <p:cNvSpPr>
            <a:spLocks noGrp="1"/>
          </p:cNvSpPr>
          <p:nvPr>
            <p:ph type="body" sz="quarter" idx="21" hasCustomPrompt="1"/>
          </p:nvPr>
        </p:nvSpPr>
        <p:spPr>
          <a:xfrm>
            <a:off x="613151" y="3613656"/>
            <a:ext cx="2294829" cy="193048"/>
          </a:xfrm>
          <a:prstGeom prst="rect">
            <a:avLst/>
          </a:prstGeom>
        </p:spPr>
        <p:txBody>
          <a:bodyPr lIns="0" tIns="0" rIns="0" bIns="0">
            <a:spAutoFit/>
          </a:bodyPr>
          <a:lstStyle>
            <a:lvl1pPr marL="0" indent="0">
              <a:buNone/>
              <a:defRPr lang="en-US" sz="1400" b="0" i="0" kern="1200" spc="-50" dirty="0" smtClean="0">
                <a:solidFill>
                  <a:srgbClr val="02005E"/>
                </a:solidFill>
                <a:latin typeface="Pfizer Diatype Office" panose="020B0504040202060203" pitchFamily="34" charset="77"/>
                <a:ea typeface="+mn-ea"/>
                <a:cs typeface="+mn-cs"/>
              </a:defRPr>
            </a:lvl1pPr>
            <a:lvl2pPr marL="457086" indent="0">
              <a:buNone/>
              <a:defRPr lang="en-US" sz="1400" b="0" i="0" kern="1200" spc="-50" dirty="0" smtClean="0">
                <a:solidFill>
                  <a:srgbClr val="02005E"/>
                </a:solidFill>
                <a:latin typeface="Pfizer Diatype Office" panose="020B0504040202060203" pitchFamily="34" charset="77"/>
                <a:ea typeface="+mn-ea"/>
                <a:cs typeface="+mn-cs"/>
              </a:defRPr>
            </a:lvl2pPr>
            <a:lvl3pPr>
              <a:defRPr lang="en-US" sz="1400" b="0" i="0" kern="1200" spc="-50" dirty="0" smtClean="0">
                <a:solidFill>
                  <a:srgbClr val="02005E"/>
                </a:solidFill>
                <a:latin typeface="Pfizer Diatype Office" panose="020B0504040202060203" pitchFamily="34" charset="77"/>
                <a:ea typeface="+mn-ea"/>
                <a:cs typeface="+mn-cs"/>
              </a:defRPr>
            </a:lvl3pPr>
            <a:lvl4pPr>
              <a:defRPr lang="en-US" sz="1400" b="0" i="0" kern="1200" spc="-50" dirty="0" smtClean="0">
                <a:solidFill>
                  <a:srgbClr val="02005E"/>
                </a:solidFill>
                <a:latin typeface="Pfizer Diatype Office" panose="020B0504040202060203" pitchFamily="34" charset="77"/>
                <a:ea typeface="+mn-ea"/>
                <a:cs typeface="+mn-cs"/>
              </a:defRPr>
            </a:lvl4pPr>
            <a:lvl5pPr>
              <a:defRPr lang="en-US" sz="1400" b="0" i="0" kern="1200" spc="-50" dirty="0">
                <a:solidFill>
                  <a:srgbClr val="02005E"/>
                </a:solidFill>
                <a:latin typeface="Pfizer Diatype Office" panose="020B0504040202060203" pitchFamily="34" charset="77"/>
                <a:ea typeface="+mn-ea"/>
                <a:cs typeface="+mn-cs"/>
              </a:defRPr>
            </a:lvl5pPr>
          </a:lstStyle>
          <a:p>
            <a:r>
              <a:rPr lang="en-US" sz="1400" b="1" spc="-25">
                <a:solidFill>
                  <a:schemeClr val="accent1"/>
                </a:solidFill>
                <a:latin typeface="Pfizer Tomorrow" panose="02010503040201060303" pitchFamily="2" charset="77"/>
              </a:rPr>
              <a:t>03 Headline</a:t>
            </a:r>
          </a:p>
        </p:txBody>
      </p:sp>
      <p:sp>
        <p:nvSpPr>
          <p:cNvPr id="42" name="Text Placeholder 10">
            <a:extLst>
              <a:ext uri="{FF2B5EF4-FFF2-40B4-BE49-F238E27FC236}">
                <a16:creationId xmlns:a16="http://schemas.microsoft.com/office/drawing/2014/main" id="{60B0C659-D8A6-1916-6FE2-BEFF13F58263}"/>
              </a:ext>
            </a:extLst>
          </p:cNvPr>
          <p:cNvSpPr>
            <a:spLocks noGrp="1"/>
          </p:cNvSpPr>
          <p:nvPr>
            <p:ph type="body" sz="quarter" idx="22" hasCustomPrompt="1"/>
          </p:nvPr>
        </p:nvSpPr>
        <p:spPr>
          <a:xfrm>
            <a:off x="3236670" y="3613656"/>
            <a:ext cx="2294829" cy="193048"/>
          </a:xfrm>
          <a:prstGeom prst="rect">
            <a:avLst/>
          </a:prstGeom>
        </p:spPr>
        <p:txBody>
          <a:bodyPr lIns="0" tIns="0" rIns="0" bIns="0">
            <a:spAutoFit/>
          </a:bodyPr>
          <a:lstStyle>
            <a:lvl1pPr marL="0" indent="0">
              <a:buNone/>
              <a:defRPr lang="en-US" sz="1400" b="0" i="0" kern="1200" spc="-50" dirty="0" smtClean="0">
                <a:solidFill>
                  <a:srgbClr val="02005E"/>
                </a:solidFill>
                <a:latin typeface="Pfizer Diatype Office" panose="020B0504040202060203" pitchFamily="34" charset="77"/>
                <a:ea typeface="+mn-ea"/>
                <a:cs typeface="+mn-cs"/>
              </a:defRPr>
            </a:lvl1pPr>
            <a:lvl2pPr marL="457086" indent="0">
              <a:buNone/>
              <a:defRPr lang="en-US" sz="1400" b="0" i="0" kern="1200" spc="-50" dirty="0" smtClean="0">
                <a:solidFill>
                  <a:srgbClr val="02005E"/>
                </a:solidFill>
                <a:latin typeface="Pfizer Diatype Office" panose="020B0504040202060203" pitchFamily="34" charset="77"/>
                <a:ea typeface="+mn-ea"/>
                <a:cs typeface="+mn-cs"/>
              </a:defRPr>
            </a:lvl2pPr>
            <a:lvl3pPr>
              <a:defRPr lang="en-US" sz="1400" b="0" i="0" kern="1200" spc="-50" dirty="0" smtClean="0">
                <a:solidFill>
                  <a:srgbClr val="02005E"/>
                </a:solidFill>
                <a:latin typeface="Pfizer Diatype Office" panose="020B0504040202060203" pitchFamily="34" charset="77"/>
                <a:ea typeface="+mn-ea"/>
                <a:cs typeface="+mn-cs"/>
              </a:defRPr>
            </a:lvl3pPr>
            <a:lvl4pPr>
              <a:defRPr lang="en-US" sz="1400" b="0" i="0" kern="1200" spc="-50" dirty="0" smtClean="0">
                <a:solidFill>
                  <a:srgbClr val="02005E"/>
                </a:solidFill>
                <a:latin typeface="Pfizer Diatype Office" panose="020B0504040202060203" pitchFamily="34" charset="77"/>
                <a:ea typeface="+mn-ea"/>
                <a:cs typeface="+mn-cs"/>
              </a:defRPr>
            </a:lvl4pPr>
            <a:lvl5pPr>
              <a:defRPr lang="en-US" sz="1400" b="0" i="0" kern="1200" spc="-50" dirty="0">
                <a:solidFill>
                  <a:srgbClr val="02005E"/>
                </a:solidFill>
                <a:latin typeface="Pfizer Diatype Office" panose="020B0504040202060203" pitchFamily="34" charset="77"/>
                <a:ea typeface="+mn-ea"/>
                <a:cs typeface="+mn-cs"/>
              </a:defRPr>
            </a:lvl5pPr>
          </a:lstStyle>
          <a:p>
            <a:r>
              <a:rPr lang="en-US" sz="1400" b="1" spc="-25">
                <a:solidFill>
                  <a:schemeClr val="accent1"/>
                </a:solidFill>
                <a:latin typeface="Pfizer Tomorrow" panose="02010503040201060303" pitchFamily="2" charset="77"/>
              </a:rPr>
              <a:t>04 Headline</a:t>
            </a:r>
          </a:p>
        </p:txBody>
      </p:sp>
    </p:spTree>
    <p:extLst>
      <p:ext uri="{BB962C8B-B14F-4D97-AF65-F5344CB8AC3E}">
        <p14:creationId xmlns:p14="http://schemas.microsoft.com/office/powerpoint/2010/main" val="31990009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line with Text and Chart">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82FA4958-90B2-CE63-F910-55E115CEFBFE}"/>
              </a:ext>
            </a:extLst>
          </p:cNvPr>
          <p:cNvSpPr>
            <a:spLocks noGrp="1"/>
          </p:cNvSpPr>
          <p:nvPr>
            <p:ph type="chart" sz="quarter" idx="13"/>
          </p:nvPr>
        </p:nvSpPr>
        <p:spPr>
          <a:xfrm>
            <a:off x="5181600" y="685800"/>
            <a:ext cx="6400086" cy="5486400"/>
          </a:xfrm>
          <a:prstGeom prst="rect">
            <a:avLst/>
          </a:prstGeom>
        </p:spPr>
        <p:txBody>
          <a:bodyPr/>
          <a:lstStyle>
            <a:lvl1pPr>
              <a:defRPr>
                <a:latin typeface="Pfizer Tomorrow" panose="02010503040201060303" pitchFamily="50" charset="0"/>
              </a:defRPr>
            </a:lvl1pPr>
          </a:lstStyle>
          <a:p>
            <a:endParaRPr lang="en-US"/>
          </a:p>
        </p:txBody>
      </p:sp>
      <p:sp>
        <p:nvSpPr>
          <p:cNvPr id="2" name="Title 6">
            <a:extLst>
              <a:ext uri="{FF2B5EF4-FFF2-40B4-BE49-F238E27FC236}">
                <a16:creationId xmlns:a16="http://schemas.microsoft.com/office/drawing/2014/main" id="{D1A8FEE5-024C-8558-752F-7285D0623209}"/>
              </a:ext>
            </a:extLst>
          </p:cNvPr>
          <p:cNvSpPr>
            <a:spLocks noGrp="1"/>
          </p:cNvSpPr>
          <p:nvPr>
            <p:ph type="title" hasCustomPrompt="1"/>
          </p:nvPr>
        </p:nvSpPr>
        <p:spPr>
          <a:xfrm>
            <a:off x="614489" y="622770"/>
            <a:ext cx="3154776" cy="405454"/>
          </a:xfrm>
          <a:prstGeom prst="rect">
            <a:avLst/>
          </a:prstGeom>
        </p:spPr>
        <p:txBody>
          <a:bodyPr lIns="0" tIns="0" rIns="0" bIns="0"/>
          <a:lstStyle>
            <a:lvl1pPr>
              <a:defRPr lang="en-US" sz="29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4" name="Text Placeholder 10">
            <a:extLst>
              <a:ext uri="{FF2B5EF4-FFF2-40B4-BE49-F238E27FC236}">
                <a16:creationId xmlns:a16="http://schemas.microsoft.com/office/drawing/2014/main" id="{6F861CB8-6763-ED45-4F6F-37790123521C}"/>
              </a:ext>
            </a:extLst>
          </p:cNvPr>
          <p:cNvSpPr>
            <a:spLocks noGrp="1"/>
          </p:cNvSpPr>
          <p:nvPr>
            <p:ph type="body" sz="quarter" idx="12" hasCustomPrompt="1"/>
          </p:nvPr>
        </p:nvSpPr>
        <p:spPr>
          <a:xfrm>
            <a:off x="612850" y="1344759"/>
            <a:ext cx="3670392" cy="4480719"/>
          </a:xfrm>
          <a:prstGeom prst="rect">
            <a:avLst/>
          </a:prstGeom>
        </p:spPr>
        <p:txBody>
          <a:bodyPr lIns="0" tIns="0" rIns="0" bIns="0"/>
          <a:lstStyle>
            <a:lvl1pPr marL="0" indent="0">
              <a:buNone/>
              <a:defRPr lang="en-US" sz="1600" b="0" i="0" kern="1200" spc="-50" dirty="0" smtClean="0">
                <a:solidFill>
                  <a:srgbClr val="02005E"/>
                </a:solidFill>
                <a:latin typeface="Pfizer Tomorrow" panose="02010503040201060303" pitchFamily="50" charset="0"/>
                <a:ea typeface="+mn-ea"/>
                <a:cs typeface="+mn-cs"/>
              </a:defRPr>
            </a:lvl1pPr>
            <a:lvl2pPr>
              <a:defRPr lang="en-US" sz="1600" b="0" i="0" kern="1200" spc="-50" dirty="0" smtClean="0">
                <a:solidFill>
                  <a:srgbClr val="02005E"/>
                </a:solidFill>
                <a:latin typeface="Pfizer Tomorrow" panose="02010503040201060303" pitchFamily="50" charset="0"/>
                <a:ea typeface="+mn-ea"/>
                <a:cs typeface="+mn-cs"/>
              </a:defRPr>
            </a:lvl2pPr>
            <a:lvl3pPr>
              <a:defRPr lang="en-US" sz="1600" b="0" i="0" kern="1200" spc="-50" dirty="0" smtClean="0">
                <a:solidFill>
                  <a:srgbClr val="02005E"/>
                </a:solidFill>
                <a:latin typeface="Pfizer Tomorrow" panose="02010503040201060303" pitchFamily="50" charset="0"/>
                <a:ea typeface="+mn-ea"/>
                <a:cs typeface="+mn-cs"/>
              </a:defRPr>
            </a:lvl3pPr>
            <a:lvl4pPr>
              <a:defRPr lang="en-US" sz="1600" b="0" i="0" kern="1200" spc="-50" dirty="0" smtClean="0">
                <a:solidFill>
                  <a:srgbClr val="02005E"/>
                </a:solidFill>
                <a:latin typeface="Pfizer Tomorrow" panose="02010503040201060303" pitchFamily="50" charset="0"/>
                <a:ea typeface="+mn-ea"/>
                <a:cs typeface="+mn-cs"/>
              </a:defRPr>
            </a:lvl4pPr>
            <a:lvl5pPr>
              <a:defRPr lang="en-US" sz="1600" b="0" i="0" kern="1200" spc="-50" dirty="0">
                <a:solidFill>
                  <a:srgbClr val="02005E"/>
                </a:solidFill>
                <a:latin typeface="Pfizer Tomorrow" panose="02010503040201060303" pitchFamily="50" charset="0"/>
                <a:ea typeface="+mn-ea"/>
                <a:cs typeface="+mn-cs"/>
              </a:defRPr>
            </a:lvl5pPr>
          </a:lstStyle>
          <a:p>
            <a:pPr lvl="0"/>
            <a:r>
              <a:rPr lang="en-US"/>
              <a:t>Body copy here</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9">
            <a:extLst>
              <a:ext uri="{FF2B5EF4-FFF2-40B4-BE49-F238E27FC236}">
                <a16:creationId xmlns:a16="http://schemas.microsoft.com/office/drawing/2014/main" id="{D2EFF9B7-A2A4-8253-F3BE-FD0C197E59B6}"/>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33310254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ple Charts">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82FA4958-90B2-CE63-F910-55E115CEFBFE}"/>
              </a:ext>
            </a:extLst>
          </p:cNvPr>
          <p:cNvSpPr>
            <a:spLocks noGrp="1"/>
          </p:cNvSpPr>
          <p:nvPr>
            <p:ph type="chart" sz="quarter" idx="13"/>
          </p:nvPr>
        </p:nvSpPr>
        <p:spPr>
          <a:xfrm>
            <a:off x="613808" y="2532395"/>
            <a:ext cx="3581484" cy="3184820"/>
          </a:xfrm>
          <a:prstGeom prst="rect">
            <a:avLst/>
          </a:prstGeom>
        </p:spPr>
        <p:txBody>
          <a:bodyPr/>
          <a:lstStyle>
            <a:lvl1pPr>
              <a:defRPr>
                <a:latin typeface="Pfizer Tomorrow" panose="02010503040201060303" pitchFamily="50" charset="0"/>
              </a:defRPr>
            </a:lvl1pPr>
          </a:lstStyle>
          <a:p>
            <a:endParaRPr lang="en-US"/>
          </a:p>
        </p:txBody>
      </p:sp>
      <p:sp>
        <p:nvSpPr>
          <p:cNvPr id="7" name="Text Placeholder 10">
            <a:extLst>
              <a:ext uri="{FF2B5EF4-FFF2-40B4-BE49-F238E27FC236}">
                <a16:creationId xmlns:a16="http://schemas.microsoft.com/office/drawing/2014/main" id="{B8DC1310-20A2-AB9D-049B-21570496E611}"/>
              </a:ext>
            </a:extLst>
          </p:cNvPr>
          <p:cNvSpPr>
            <a:spLocks noGrp="1"/>
          </p:cNvSpPr>
          <p:nvPr>
            <p:ph type="body" sz="quarter" idx="12" hasCustomPrompt="1"/>
          </p:nvPr>
        </p:nvSpPr>
        <p:spPr>
          <a:xfrm>
            <a:off x="613808" y="1344759"/>
            <a:ext cx="8149871" cy="569643"/>
          </a:xfrm>
          <a:prstGeom prst="rect">
            <a:avLst/>
          </a:prstGeom>
        </p:spPr>
        <p:txBody>
          <a:bodyPr lIns="0" tIns="0" rIns="0" bIns="0">
            <a:spAutoFit/>
          </a:bodyPr>
          <a:lstStyle>
            <a:lvl1pPr marL="0" indent="0">
              <a:buNone/>
              <a:defRPr lang="en-US" sz="1800" b="0" i="0" kern="1200" spc="-50" dirty="0" smtClean="0">
                <a:solidFill>
                  <a:srgbClr val="02005E"/>
                </a:solidFill>
                <a:latin typeface="Pfizer Tomorrow" panose="02010503040201060303" pitchFamily="50" charset="0"/>
                <a:ea typeface="+mn-ea"/>
                <a:cs typeface="+mn-cs"/>
              </a:defRPr>
            </a:lvl1pPr>
            <a:lvl2pPr>
              <a:defRPr lang="en-US" sz="1800" b="0" i="0" kern="1200" spc="-50" dirty="0" smtClean="0">
                <a:solidFill>
                  <a:srgbClr val="02005E"/>
                </a:solidFill>
                <a:latin typeface="Pfizer Tomorrow" panose="02010503040201060303" pitchFamily="50" charset="0"/>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Body copy here</a:t>
            </a:r>
          </a:p>
          <a:p>
            <a:pPr lvl="1"/>
            <a:r>
              <a:rPr lang="en-US"/>
              <a:t>Second level</a:t>
            </a:r>
          </a:p>
        </p:txBody>
      </p:sp>
      <p:sp>
        <p:nvSpPr>
          <p:cNvPr id="2" name="Title 6">
            <a:extLst>
              <a:ext uri="{FF2B5EF4-FFF2-40B4-BE49-F238E27FC236}">
                <a16:creationId xmlns:a16="http://schemas.microsoft.com/office/drawing/2014/main" id="{07D4DC56-D3B7-9051-2500-40B3C256296B}"/>
              </a:ext>
            </a:extLst>
          </p:cNvPr>
          <p:cNvSpPr>
            <a:spLocks noGrp="1"/>
          </p:cNvSpPr>
          <p:nvPr>
            <p:ph type="title" hasCustomPrompt="1"/>
          </p:nvPr>
        </p:nvSpPr>
        <p:spPr>
          <a:xfrm>
            <a:off x="614489" y="622770"/>
            <a:ext cx="3154776" cy="405454"/>
          </a:xfrm>
          <a:prstGeom prst="rect">
            <a:avLst/>
          </a:prstGeom>
        </p:spPr>
        <p:txBody>
          <a:bodyPr lIns="0" tIns="0" rIns="0" bIns="0"/>
          <a:lstStyle>
            <a:lvl1pPr>
              <a:defRPr lang="en-US" sz="29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4" name="Chart Placeholder 2">
            <a:extLst>
              <a:ext uri="{FF2B5EF4-FFF2-40B4-BE49-F238E27FC236}">
                <a16:creationId xmlns:a16="http://schemas.microsoft.com/office/drawing/2014/main" id="{385E8C41-8A9B-5DB3-CF6F-B07CE9CDAFBE}"/>
              </a:ext>
            </a:extLst>
          </p:cNvPr>
          <p:cNvSpPr>
            <a:spLocks noGrp="1"/>
          </p:cNvSpPr>
          <p:nvPr>
            <p:ph type="chart" sz="quarter" idx="14"/>
          </p:nvPr>
        </p:nvSpPr>
        <p:spPr>
          <a:xfrm>
            <a:off x="4311521" y="2532395"/>
            <a:ext cx="3581484" cy="3184820"/>
          </a:xfrm>
          <a:prstGeom prst="rect">
            <a:avLst/>
          </a:prstGeom>
        </p:spPr>
        <p:txBody>
          <a:bodyPr/>
          <a:lstStyle>
            <a:lvl1pPr>
              <a:defRPr>
                <a:latin typeface="Pfizer Tomorrow" panose="02010503040201060303" pitchFamily="50" charset="0"/>
              </a:defRPr>
            </a:lvl1pPr>
          </a:lstStyle>
          <a:p>
            <a:endParaRPr lang="en-US"/>
          </a:p>
        </p:txBody>
      </p:sp>
      <p:sp>
        <p:nvSpPr>
          <p:cNvPr id="5" name="Chart Placeholder 2">
            <a:extLst>
              <a:ext uri="{FF2B5EF4-FFF2-40B4-BE49-F238E27FC236}">
                <a16:creationId xmlns:a16="http://schemas.microsoft.com/office/drawing/2014/main" id="{4DCA8AF4-71B5-03AA-53D9-E59163D8D82F}"/>
              </a:ext>
            </a:extLst>
          </p:cNvPr>
          <p:cNvSpPr>
            <a:spLocks noGrp="1"/>
          </p:cNvSpPr>
          <p:nvPr>
            <p:ph type="chart" sz="quarter" idx="15"/>
          </p:nvPr>
        </p:nvSpPr>
        <p:spPr>
          <a:xfrm>
            <a:off x="8009234" y="2532395"/>
            <a:ext cx="3581484" cy="3184820"/>
          </a:xfrm>
          <a:prstGeom prst="rect">
            <a:avLst/>
          </a:prstGeom>
        </p:spPr>
        <p:txBody>
          <a:bodyPr/>
          <a:lstStyle>
            <a:lvl1pPr>
              <a:defRPr>
                <a:latin typeface="Pfizer Tomorrow" panose="02010503040201060303" pitchFamily="50" charset="0"/>
              </a:defRPr>
            </a:lvl1pPr>
          </a:lstStyle>
          <a:p>
            <a:endParaRPr lang="en-US"/>
          </a:p>
        </p:txBody>
      </p:sp>
      <p:sp>
        <p:nvSpPr>
          <p:cNvPr id="6" name="Slide Number Placeholder 9">
            <a:extLst>
              <a:ext uri="{FF2B5EF4-FFF2-40B4-BE49-F238E27FC236}">
                <a16:creationId xmlns:a16="http://schemas.microsoft.com/office/drawing/2014/main" id="{6B68ED7E-54C2-C877-4FAD-272BB802A2AB}"/>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26897232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56D53EA6-91B3-B6ED-269F-9F9A5A4F1543}"/>
              </a:ext>
            </a:extLst>
          </p:cNvPr>
          <p:cNvSpPr/>
          <p:nvPr userDrawn="1"/>
        </p:nvSpPr>
        <p:spPr>
          <a:xfrm>
            <a:off x="614625" y="1600200"/>
            <a:ext cx="2098535" cy="4125650"/>
          </a:xfrm>
          <a:prstGeom prst="roundRect">
            <a:avLst>
              <a:gd name="adj" fmla="val 6069"/>
            </a:avLst>
          </a:prstGeom>
          <a:solidFill>
            <a:srgbClr val="0098FF">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a:latin typeface="Pfizer Tomorrow" panose="02010503040201060303" pitchFamily="50" charset="0"/>
            </a:endParaRPr>
          </a:p>
        </p:txBody>
      </p:sp>
      <p:sp>
        <p:nvSpPr>
          <p:cNvPr id="3" name="Rounded Rectangle 2">
            <a:extLst>
              <a:ext uri="{FF2B5EF4-FFF2-40B4-BE49-F238E27FC236}">
                <a16:creationId xmlns:a16="http://schemas.microsoft.com/office/drawing/2014/main" id="{21B32C02-7C77-7641-02DF-7E6E84F87948}"/>
              </a:ext>
            </a:extLst>
          </p:cNvPr>
          <p:cNvSpPr/>
          <p:nvPr userDrawn="1"/>
        </p:nvSpPr>
        <p:spPr>
          <a:xfrm>
            <a:off x="2829544" y="1600200"/>
            <a:ext cx="2098535" cy="4125650"/>
          </a:xfrm>
          <a:prstGeom prst="roundRect">
            <a:avLst>
              <a:gd name="adj" fmla="val 6069"/>
            </a:avLst>
          </a:prstGeom>
          <a:solidFill>
            <a:srgbClr val="0098FF">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a:latin typeface="Pfizer Tomorrow" panose="02010503040201060303" pitchFamily="50" charset="0"/>
            </a:endParaRPr>
          </a:p>
        </p:txBody>
      </p:sp>
      <p:sp>
        <p:nvSpPr>
          <p:cNvPr id="4" name="Rounded Rectangle 3">
            <a:extLst>
              <a:ext uri="{FF2B5EF4-FFF2-40B4-BE49-F238E27FC236}">
                <a16:creationId xmlns:a16="http://schemas.microsoft.com/office/drawing/2014/main" id="{B8C8A16A-A534-05DF-3089-5C0A4D509288}"/>
              </a:ext>
            </a:extLst>
          </p:cNvPr>
          <p:cNvSpPr/>
          <p:nvPr userDrawn="1"/>
        </p:nvSpPr>
        <p:spPr>
          <a:xfrm>
            <a:off x="5044464" y="1600200"/>
            <a:ext cx="2098535" cy="4125650"/>
          </a:xfrm>
          <a:prstGeom prst="roundRect">
            <a:avLst>
              <a:gd name="adj" fmla="val 6069"/>
            </a:avLst>
          </a:prstGeom>
          <a:solidFill>
            <a:srgbClr val="0098FF">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a:latin typeface="Pfizer Tomorrow" panose="02010503040201060303" pitchFamily="50" charset="0"/>
            </a:endParaRPr>
          </a:p>
        </p:txBody>
      </p:sp>
      <p:sp>
        <p:nvSpPr>
          <p:cNvPr id="6" name="Rounded Rectangle 5">
            <a:extLst>
              <a:ext uri="{FF2B5EF4-FFF2-40B4-BE49-F238E27FC236}">
                <a16:creationId xmlns:a16="http://schemas.microsoft.com/office/drawing/2014/main" id="{A794F59B-16FF-911B-E2AB-49612831AA11}"/>
              </a:ext>
            </a:extLst>
          </p:cNvPr>
          <p:cNvSpPr/>
          <p:nvPr userDrawn="1"/>
        </p:nvSpPr>
        <p:spPr>
          <a:xfrm>
            <a:off x="7259383" y="1600200"/>
            <a:ext cx="2098535" cy="4125650"/>
          </a:xfrm>
          <a:prstGeom prst="roundRect">
            <a:avLst>
              <a:gd name="adj" fmla="val 6069"/>
            </a:avLst>
          </a:prstGeom>
          <a:solidFill>
            <a:srgbClr val="0098FF">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a:latin typeface="Pfizer Tomorrow" panose="02010503040201060303" pitchFamily="50" charset="0"/>
            </a:endParaRPr>
          </a:p>
        </p:txBody>
      </p:sp>
      <p:sp>
        <p:nvSpPr>
          <p:cNvPr id="7" name="Rounded Rectangle 6">
            <a:extLst>
              <a:ext uri="{FF2B5EF4-FFF2-40B4-BE49-F238E27FC236}">
                <a16:creationId xmlns:a16="http://schemas.microsoft.com/office/drawing/2014/main" id="{7736257E-1703-F446-10FD-DAFEF9C1731B}"/>
              </a:ext>
            </a:extLst>
          </p:cNvPr>
          <p:cNvSpPr/>
          <p:nvPr userDrawn="1"/>
        </p:nvSpPr>
        <p:spPr>
          <a:xfrm>
            <a:off x="9503557" y="1600200"/>
            <a:ext cx="2098535" cy="4125650"/>
          </a:xfrm>
          <a:prstGeom prst="roundRect">
            <a:avLst>
              <a:gd name="adj" fmla="val 6069"/>
            </a:avLst>
          </a:prstGeom>
          <a:solidFill>
            <a:srgbClr val="0098FF">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a:latin typeface="Pfizer Tomorrow" panose="02010503040201060303" pitchFamily="50" charset="0"/>
            </a:endParaRPr>
          </a:p>
        </p:txBody>
      </p:sp>
      <p:sp>
        <p:nvSpPr>
          <p:cNvPr id="21" name="Text Placeholder 10">
            <a:extLst>
              <a:ext uri="{FF2B5EF4-FFF2-40B4-BE49-F238E27FC236}">
                <a16:creationId xmlns:a16="http://schemas.microsoft.com/office/drawing/2014/main" id="{6443CB24-4334-C4FC-0E67-D4AB22912FE7}"/>
              </a:ext>
            </a:extLst>
          </p:cNvPr>
          <p:cNvSpPr>
            <a:spLocks noGrp="1"/>
          </p:cNvSpPr>
          <p:nvPr>
            <p:ph type="body" sz="quarter" idx="12" hasCustomPrompt="1"/>
          </p:nvPr>
        </p:nvSpPr>
        <p:spPr>
          <a:xfrm>
            <a:off x="709412" y="1750817"/>
            <a:ext cx="1837755" cy="161841"/>
          </a:xfrm>
          <a:prstGeom prst="rect">
            <a:avLst/>
          </a:prstGeom>
        </p:spPr>
        <p:txBody>
          <a:bodyPr/>
          <a:lstStyle>
            <a:lvl1pPr marL="0" indent="0">
              <a:buNone/>
              <a:defRPr lang="en-US" sz="10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01</a:t>
            </a:r>
          </a:p>
        </p:txBody>
      </p:sp>
      <p:sp>
        <p:nvSpPr>
          <p:cNvPr id="22" name="Text Placeholder 10">
            <a:extLst>
              <a:ext uri="{FF2B5EF4-FFF2-40B4-BE49-F238E27FC236}">
                <a16:creationId xmlns:a16="http://schemas.microsoft.com/office/drawing/2014/main" id="{2E233FC7-23FB-E54C-3249-87FD6EF44BF1}"/>
              </a:ext>
            </a:extLst>
          </p:cNvPr>
          <p:cNvSpPr>
            <a:spLocks noGrp="1"/>
          </p:cNvSpPr>
          <p:nvPr>
            <p:ph type="body" sz="quarter" idx="13" hasCustomPrompt="1"/>
          </p:nvPr>
        </p:nvSpPr>
        <p:spPr>
          <a:xfrm>
            <a:off x="700909" y="1912657"/>
            <a:ext cx="1837755" cy="305112"/>
          </a:xfrm>
          <a:prstGeom prst="rect">
            <a:avLst/>
          </a:prstGeom>
        </p:spPr>
        <p:txBody>
          <a:bodyPr/>
          <a:lstStyle>
            <a:lvl1pPr marL="0" indent="0">
              <a:buNone/>
              <a:defRPr lang="en-US" sz="18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Headline</a:t>
            </a:r>
          </a:p>
        </p:txBody>
      </p:sp>
      <p:sp>
        <p:nvSpPr>
          <p:cNvPr id="24" name="Text Placeholder 10">
            <a:extLst>
              <a:ext uri="{FF2B5EF4-FFF2-40B4-BE49-F238E27FC236}">
                <a16:creationId xmlns:a16="http://schemas.microsoft.com/office/drawing/2014/main" id="{046C3915-7EEC-AD61-84D9-B0F21A7F40C1}"/>
              </a:ext>
            </a:extLst>
          </p:cNvPr>
          <p:cNvSpPr>
            <a:spLocks noGrp="1"/>
          </p:cNvSpPr>
          <p:nvPr>
            <p:ph type="body" sz="quarter" idx="14" hasCustomPrompt="1"/>
          </p:nvPr>
        </p:nvSpPr>
        <p:spPr>
          <a:xfrm>
            <a:off x="700909" y="2436467"/>
            <a:ext cx="1837755" cy="2821335"/>
          </a:xfrm>
          <a:prstGeom prst="rect">
            <a:avLst/>
          </a:prstGeom>
        </p:spPr>
        <p:txBody>
          <a:bodyPr/>
          <a:lstStyle>
            <a:lvl1pPr marL="0" indent="0">
              <a:buNone/>
              <a:defRPr lang="en-US" sz="1600" b="0" i="0" kern="1200" spc="-50" dirty="0" smtClean="0">
                <a:solidFill>
                  <a:srgbClr val="02005E"/>
                </a:solidFill>
                <a:latin typeface="Pfizer Tomorrow" panose="02010503040201060303" pitchFamily="50" charset="0"/>
                <a:ea typeface="+mn-ea"/>
                <a:cs typeface="+mn-cs"/>
              </a:defRPr>
            </a:lvl1pPr>
            <a:lvl2pPr>
              <a:defRPr lang="en-US" sz="1600" b="0" i="0" kern="1200" spc="-50" dirty="0" smtClean="0">
                <a:solidFill>
                  <a:srgbClr val="02005E"/>
                </a:solidFill>
                <a:latin typeface="Pfizer Tomorrow" panose="02010503040201060303" pitchFamily="50"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a:t>Body copy here</a:t>
            </a:r>
          </a:p>
          <a:p>
            <a:pPr lvl="1"/>
            <a:r>
              <a:rPr lang="en-US"/>
              <a:t>Second level</a:t>
            </a:r>
          </a:p>
        </p:txBody>
      </p:sp>
      <p:sp>
        <p:nvSpPr>
          <p:cNvPr id="25" name="Text Placeholder 10">
            <a:extLst>
              <a:ext uri="{FF2B5EF4-FFF2-40B4-BE49-F238E27FC236}">
                <a16:creationId xmlns:a16="http://schemas.microsoft.com/office/drawing/2014/main" id="{D40CC42D-F686-6BA3-A384-D2A6387FA19D}"/>
              </a:ext>
            </a:extLst>
          </p:cNvPr>
          <p:cNvSpPr>
            <a:spLocks noGrp="1"/>
          </p:cNvSpPr>
          <p:nvPr>
            <p:ph type="body" sz="quarter" idx="15" hasCustomPrompt="1"/>
          </p:nvPr>
        </p:nvSpPr>
        <p:spPr>
          <a:xfrm>
            <a:off x="2972816" y="1750817"/>
            <a:ext cx="1837755" cy="161841"/>
          </a:xfrm>
          <a:prstGeom prst="rect">
            <a:avLst/>
          </a:prstGeom>
        </p:spPr>
        <p:txBody>
          <a:bodyPr/>
          <a:lstStyle>
            <a:lvl1pPr marL="0" indent="0">
              <a:buNone/>
              <a:defRPr lang="en-US" sz="10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02</a:t>
            </a:r>
          </a:p>
        </p:txBody>
      </p:sp>
      <p:sp>
        <p:nvSpPr>
          <p:cNvPr id="26" name="Text Placeholder 10">
            <a:extLst>
              <a:ext uri="{FF2B5EF4-FFF2-40B4-BE49-F238E27FC236}">
                <a16:creationId xmlns:a16="http://schemas.microsoft.com/office/drawing/2014/main" id="{1F70248A-4A7B-C4B1-ACCB-81D7DCC6F9B6}"/>
              </a:ext>
            </a:extLst>
          </p:cNvPr>
          <p:cNvSpPr>
            <a:spLocks noGrp="1"/>
          </p:cNvSpPr>
          <p:nvPr>
            <p:ph type="body" sz="quarter" idx="16" hasCustomPrompt="1"/>
          </p:nvPr>
        </p:nvSpPr>
        <p:spPr>
          <a:xfrm>
            <a:off x="2964312" y="1912657"/>
            <a:ext cx="1837755" cy="305112"/>
          </a:xfrm>
          <a:prstGeom prst="rect">
            <a:avLst/>
          </a:prstGeom>
        </p:spPr>
        <p:txBody>
          <a:bodyPr/>
          <a:lstStyle>
            <a:lvl1pPr marL="0" indent="0">
              <a:buNone/>
              <a:defRPr lang="en-US" sz="18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Headline</a:t>
            </a:r>
          </a:p>
        </p:txBody>
      </p:sp>
      <p:sp>
        <p:nvSpPr>
          <p:cNvPr id="27" name="Text Placeholder 10">
            <a:extLst>
              <a:ext uri="{FF2B5EF4-FFF2-40B4-BE49-F238E27FC236}">
                <a16:creationId xmlns:a16="http://schemas.microsoft.com/office/drawing/2014/main" id="{080DEA8E-0513-6F8C-C393-B7D0A7DE58CD}"/>
              </a:ext>
            </a:extLst>
          </p:cNvPr>
          <p:cNvSpPr>
            <a:spLocks noGrp="1"/>
          </p:cNvSpPr>
          <p:nvPr>
            <p:ph type="body" sz="quarter" idx="17" hasCustomPrompt="1"/>
          </p:nvPr>
        </p:nvSpPr>
        <p:spPr>
          <a:xfrm>
            <a:off x="2964312" y="2436467"/>
            <a:ext cx="1837755" cy="2821335"/>
          </a:xfrm>
          <a:prstGeom prst="rect">
            <a:avLst/>
          </a:prstGeom>
        </p:spPr>
        <p:txBody>
          <a:bodyPr/>
          <a:lstStyle>
            <a:lvl1pPr marL="0" indent="0">
              <a:buNone/>
              <a:defRPr lang="en-US" sz="1600" b="0" i="0" kern="1200" spc="-50" dirty="0" smtClean="0">
                <a:solidFill>
                  <a:srgbClr val="02005E"/>
                </a:solidFill>
                <a:latin typeface="Pfizer Tomorrow" panose="02010503040201060303" pitchFamily="50" charset="0"/>
                <a:ea typeface="+mn-ea"/>
                <a:cs typeface="+mn-cs"/>
              </a:defRPr>
            </a:lvl1pPr>
            <a:lvl2pPr>
              <a:defRPr lang="en-US" sz="1600" b="0" i="0" kern="1200" spc="-50" dirty="0" smtClean="0">
                <a:solidFill>
                  <a:srgbClr val="02005E"/>
                </a:solidFill>
                <a:latin typeface="Pfizer Tomorrow" panose="02010503040201060303" pitchFamily="50"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a:t>Body copy here</a:t>
            </a:r>
          </a:p>
          <a:p>
            <a:pPr lvl="1"/>
            <a:r>
              <a:rPr lang="en-US"/>
              <a:t>Second level</a:t>
            </a:r>
          </a:p>
        </p:txBody>
      </p:sp>
      <p:sp>
        <p:nvSpPr>
          <p:cNvPr id="28" name="Text Placeholder 10">
            <a:extLst>
              <a:ext uri="{FF2B5EF4-FFF2-40B4-BE49-F238E27FC236}">
                <a16:creationId xmlns:a16="http://schemas.microsoft.com/office/drawing/2014/main" id="{079177C4-8512-A58C-3DE9-B16551A61867}"/>
              </a:ext>
            </a:extLst>
          </p:cNvPr>
          <p:cNvSpPr>
            <a:spLocks noGrp="1"/>
          </p:cNvSpPr>
          <p:nvPr>
            <p:ph type="body" sz="quarter" idx="18" hasCustomPrompt="1"/>
          </p:nvPr>
        </p:nvSpPr>
        <p:spPr>
          <a:xfrm>
            <a:off x="5191619" y="1750817"/>
            <a:ext cx="1837755" cy="161841"/>
          </a:xfrm>
          <a:prstGeom prst="rect">
            <a:avLst/>
          </a:prstGeom>
        </p:spPr>
        <p:txBody>
          <a:bodyPr/>
          <a:lstStyle>
            <a:lvl1pPr marL="0" indent="0">
              <a:buNone/>
              <a:defRPr lang="en-US" sz="10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03</a:t>
            </a:r>
          </a:p>
        </p:txBody>
      </p:sp>
      <p:sp>
        <p:nvSpPr>
          <p:cNvPr id="29" name="Text Placeholder 10">
            <a:extLst>
              <a:ext uri="{FF2B5EF4-FFF2-40B4-BE49-F238E27FC236}">
                <a16:creationId xmlns:a16="http://schemas.microsoft.com/office/drawing/2014/main" id="{3930330C-ED1C-802D-3794-40CE6FC3473F}"/>
              </a:ext>
            </a:extLst>
          </p:cNvPr>
          <p:cNvSpPr>
            <a:spLocks noGrp="1"/>
          </p:cNvSpPr>
          <p:nvPr>
            <p:ph type="body" sz="quarter" idx="19" hasCustomPrompt="1"/>
          </p:nvPr>
        </p:nvSpPr>
        <p:spPr>
          <a:xfrm>
            <a:off x="5183116" y="1912657"/>
            <a:ext cx="1837755" cy="305112"/>
          </a:xfrm>
          <a:prstGeom prst="rect">
            <a:avLst/>
          </a:prstGeom>
        </p:spPr>
        <p:txBody>
          <a:bodyPr/>
          <a:lstStyle>
            <a:lvl1pPr marL="0" indent="0">
              <a:buNone/>
              <a:defRPr lang="en-US" sz="18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Headline</a:t>
            </a:r>
          </a:p>
        </p:txBody>
      </p:sp>
      <p:sp>
        <p:nvSpPr>
          <p:cNvPr id="30" name="Text Placeholder 10">
            <a:extLst>
              <a:ext uri="{FF2B5EF4-FFF2-40B4-BE49-F238E27FC236}">
                <a16:creationId xmlns:a16="http://schemas.microsoft.com/office/drawing/2014/main" id="{024F8970-84F0-E252-CC21-1F64457C70B5}"/>
              </a:ext>
            </a:extLst>
          </p:cNvPr>
          <p:cNvSpPr>
            <a:spLocks noGrp="1"/>
          </p:cNvSpPr>
          <p:nvPr>
            <p:ph type="body" sz="quarter" idx="20" hasCustomPrompt="1"/>
          </p:nvPr>
        </p:nvSpPr>
        <p:spPr>
          <a:xfrm>
            <a:off x="5183116" y="2436467"/>
            <a:ext cx="1837755" cy="2821335"/>
          </a:xfrm>
          <a:prstGeom prst="rect">
            <a:avLst/>
          </a:prstGeom>
        </p:spPr>
        <p:txBody>
          <a:bodyPr/>
          <a:lstStyle>
            <a:lvl1pPr marL="0" indent="0">
              <a:buNone/>
              <a:defRPr lang="en-US" sz="1600" b="0" i="0" kern="1200" spc="-50" dirty="0" smtClean="0">
                <a:solidFill>
                  <a:srgbClr val="02005E"/>
                </a:solidFill>
                <a:latin typeface="Pfizer Tomorrow" panose="02010503040201060303" pitchFamily="50" charset="0"/>
                <a:ea typeface="+mn-ea"/>
                <a:cs typeface="+mn-cs"/>
              </a:defRPr>
            </a:lvl1pPr>
            <a:lvl2pPr>
              <a:defRPr lang="en-US" sz="1600" b="0" i="0" kern="1200" spc="-50" dirty="0" smtClean="0">
                <a:solidFill>
                  <a:srgbClr val="02005E"/>
                </a:solidFill>
                <a:latin typeface="Pfizer Tomorrow" panose="02010503040201060303" pitchFamily="50"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a:t>Body copy here</a:t>
            </a:r>
          </a:p>
          <a:p>
            <a:pPr lvl="1"/>
            <a:r>
              <a:rPr lang="en-US"/>
              <a:t>Second level</a:t>
            </a:r>
          </a:p>
        </p:txBody>
      </p:sp>
      <p:sp>
        <p:nvSpPr>
          <p:cNvPr id="31" name="Text Placeholder 10">
            <a:extLst>
              <a:ext uri="{FF2B5EF4-FFF2-40B4-BE49-F238E27FC236}">
                <a16:creationId xmlns:a16="http://schemas.microsoft.com/office/drawing/2014/main" id="{AACC2CFC-DBD1-C32A-5CB2-E5180FC39D48}"/>
              </a:ext>
            </a:extLst>
          </p:cNvPr>
          <p:cNvSpPr>
            <a:spLocks noGrp="1"/>
          </p:cNvSpPr>
          <p:nvPr>
            <p:ph type="body" sz="quarter" idx="21" hasCustomPrompt="1"/>
          </p:nvPr>
        </p:nvSpPr>
        <p:spPr>
          <a:xfrm>
            <a:off x="7410423" y="1750817"/>
            <a:ext cx="1837755" cy="161841"/>
          </a:xfrm>
          <a:prstGeom prst="rect">
            <a:avLst/>
          </a:prstGeom>
        </p:spPr>
        <p:txBody>
          <a:bodyPr/>
          <a:lstStyle>
            <a:lvl1pPr marL="0" indent="0">
              <a:buNone/>
              <a:defRPr lang="en-US" sz="10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04</a:t>
            </a:r>
          </a:p>
        </p:txBody>
      </p:sp>
      <p:sp>
        <p:nvSpPr>
          <p:cNvPr id="32" name="Text Placeholder 10">
            <a:extLst>
              <a:ext uri="{FF2B5EF4-FFF2-40B4-BE49-F238E27FC236}">
                <a16:creationId xmlns:a16="http://schemas.microsoft.com/office/drawing/2014/main" id="{2850F291-294B-E107-27A4-98BE3833FD25}"/>
              </a:ext>
            </a:extLst>
          </p:cNvPr>
          <p:cNvSpPr>
            <a:spLocks noGrp="1"/>
          </p:cNvSpPr>
          <p:nvPr>
            <p:ph type="body" sz="quarter" idx="22" hasCustomPrompt="1"/>
          </p:nvPr>
        </p:nvSpPr>
        <p:spPr>
          <a:xfrm>
            <a:off x="7401920" y="1912657"/>
            <a:ext cx="1837755" cy="305112"/>
          </a:xfrm>
          <a:prstGeom prst="rect">
            <a:avLst/>
          </a:prstGeom>
        </p:spPr>
        <p:txBody>
          <a:bodyPr/>
          <a:lstStyle>
            <a:lvl1pPr marL="0" indent="0">
              <a:buNone/>
              <a:defRPr lang="en-US" sz="18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Headline</a:t>
            </a:r>
          </a:p>
        </p:txBody>
      </p:sp>
      <p:sp>
        <p:nvSpPr>
          <p:cNvPr id="33" name="Text Placeholder 10">
            <a:extLst>
              <a:ext uri="{FF2B5EF4-FFF2-40B4-BE49-F238E27FC236}">
                <a16:creationId xmlns:a16="http://schemas.microsoft.com/office/drawing/2014/main" id="{DA3ECA4A-7DD2-790F-B38D-EA2D4F7C5021}"/>
              </a:ext>
            </a:extLst>
          </p:cNvPr>
          <p:cNvSpPr>
            <a:spLocks noGrp="1"/>
          </p:cNvSpPr>
          <p:nvPr>
            <p:ph type="body" sz="quarter" idx="23" hasCustomPrompt="1"/>
          </p:nvPr>
        </p:nvSpPr>
        <p:spPr>
          <a:xfrm>
            <a:off x="7401920" y="2436467"/>
            <a:ext cx="1837755" cy="2821335"/>
          </a:xfrm>
          <a:prstGeom prst="rect">
            <a:avLst/>
          </a:prstGeom>
        </p:spPr>
        <p:txBody>
          <a:bodyPr/>
          <a:lstStyle>
            <a:lvl1pPr marL="0" indent="0">
              <a:buNone/>
              <a:defRPr lang="en-US" sz="1600" b="0" i="0" kern="1200" spc="-50" dirty="0" smtClean="0">
                <a:solidFill>
                  <a:srgbClr val="02005E"/>
                </a:solidFill>
                <a:latin typeface="Pfizer Tomorrow" panose="02010503040201060303" pitchFamily="50" charset="0"/>
                <a:ea typeface="+mn-ea"/>
                <a:cs typeface="+mn-cs"/>
              </a:defRPr>
            </a:lvl1pPr>
            <a:lvl2pPr>
              <a:defRPr lang="en-US" sz="1600" b="0" i="0" kern="1200" spc="-50" dirty="0" smtClean="0">
                <a:solidFill>
                  <a:srgbClr val="02005E"/>
                </a:solidFill>
                <a:latin typeface="Pfizer Tomorrow" panose="02010503040201060303" pitchFamily="50"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a:t>Body copy here</a:t>
            </a:r>
          </a:p>
          <a:p>
            <a:pPr lvl="1"/>
            <a:r>
              <a:rPr lang="en-US"/>
              <a:t>Second level</a:t>
            </a:r>
          </a:p>
        </p:txBody>
      </p:sp>
      <p:sp>
        <p:nvSpPr>
          <p:cNvPr id="34" name="Text Placeholder 10">
            <a:extLst>
              <a:ext uri="{FF2B5EF4-FFF2-40B4-BE49-F238E27FC236}">
                <a16:creationId xmlns:a16="http://schemas.microsoft.com/office/drawing/2014/main" id="{F6529C93-D17D-2B51-5BC5-B297908CB14E}"/>
              </a:ext>
            </a:extLst>
          </p:cNvPr>
          <p:cNvSpPr>
            <a:spLocks noGrp="1"/>
          </p:cNvSpPr>
          <p:nvPr>
            <p:ph type="body" sz="quarter" idx="24" hasCustomPrompt="1"/>
          </p:nvPr>
        </p:nvSpPr>
        <p:spPr>
          <a:xfrm>
            <a:off x="9651527" y="1750817"/>
            <a:ext cx="1837755" cy="161841"/>
          </a:xfrm>
          <a:prstGeom prst="rect">
            <a:avLst/>
          </a:prstGeom>
        </p:spPr>
        <p:txBody>
          <a:bodyPr/>
          <a:lstStyle>
            <a:lvl1pPr marL="0" indent="0">
              <a:buNone/>
              <a:defRPr lang="en-US" sz="10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05</a:t>
            </a:r>
          </a:p>
        </p:txBody>
      </p:sp>
      <p:sp>
        <p:nvSpPr>
          <p:cNvPr id="35" name="Text Placeholder 10">
            <a:extLst>
              <a:ext uri="{FF2B5EF4-FFF2-40B4-BE49-F238E27FC236}">
                <a16:creationId xmlns:a16="http://schemas.microsoft.com/office/drawing/2014/main" id="{330945C6-4CB1-E470-5372-945DFC073A77}"/>
              </a:ext>
            </a:extLst>
          </p:cNvPr>
          <p:cNvSpPr>
            <a:spLocks noGrp="1"/>
          </p:cNvSpPr>
          <p:nvPr>
            <p:ph type="body" sz="quarter" idx="25" hasCustomPrompt="1"/>
          </p:nvPr>
        </p:nvSpPr>
        <p:spPr>
          <a:xfrm>
            <a:off x="9643023" y="1912657"/>
            <a:ext cx="1837755" cy="305112"/>
          </a:xfrm>
          <a:prstGeom prst="rect">
            <a:avLst/>
          </a:prstGeom>
        </p:spPr>
        <p:txBody>
          <a:bodyPr/>
          <a:lstStyle>
            <a:lvl1pPr marL="0" indent="0">
              <a:buNone/>
              <a:defRPr lang="en-US" sz="1800" b="1" kern="1200" spc="-25" dirty="0">
                <a:solidFill>
                  <a:schemeClr val="accent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Headline</a:t>
            </a:r>
          </a:p>
        </p:txBody>
      </p:sp>
      <p:sp>
        <p:nvSpPr>
          <p:cNvPr id="36" name="Text Placeholder 10">
            <a:extLst>
              <a:ext uri="{FF2B5EF4-FFF2-40B4-BE49-F238E27FC236}">
                <a16:creationId xmlns:a16="http://schemas.microsoft.com/office/drawing/2014/main" id="{D89B8D6B-2541-4E16-68F8-E5888BD3507D}"/>
              </a:ext>
            </a:extLst>
          </p:cNvPr>
          <p:cNvSpPr>
            <a:spLocks noGrp="1"/>
          </p:cNvSpPr>
          <p:nvPr>
            <p:ph type="body" sz="quarter" idx="26" hasCustomPrompt="1"/>
          </p:nvPr>
        </p:nvSpPr>
        <p:spPr>
          <a:xfrm>
            <a:off x="9643023" y="2436467"/>
            <a:ext cx="1837755" cy="2821335"/>
          </a:xfrm>
          <a:prstGeom prst="rect">
            <a:avLst/>
          </a:prstGeom>
        </p:spPr>
        <p:txBody>
          <a:bodyPr/>
          <a:lstStyle>
            <a:lvl1pPr marL="0" indent="0">
              <a:buNone/>
              <a:defRPr lang="en-US" sz="1600" b="0" i="0" kern="1200" spc="-50" dirty="0" smtClean="0">
                <a:solidFill>
                  <a:srgbClr val="02005E"/>
                </a:solidFill>
                <a:latin typeface="Pfizer Tomorrow" panose="02010503040201060303" pitchFamily="50" charset="0"/>
                <a:ea typeface="+mn-ea"/>
                <a:cs typeface="+mn-cs"/>
              </a:defRPr>
            </a:lvl1pPr>
            <a:lvl2pPr>
              <a:defRPr lang="en-US" sz="1600" b="0" i="0" kern="1200" spc="-50" dirty="0" smtClean="0">
                <a:solidFill>
                  <a:srgbClr val="02005E"/>
                </a:solidFill>
                <a:latin typeface="Pfizer Tomorrow" panose="02010503040201060303" pitchFamily="50"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a:t>Body copy here</a:t>
            </a:r>
          </a:p>
          <a:p>
            <a:pPr lvl="1"/>
            <a:r>
              <a:rPr lang="en-US"/>
              <a:t>Second level</a:t>
            </a:r>
          </a:p>
        </p:txBody>
      </p:sp>
      <p:sp>
        <p:nvSpPr>
          <p:cNvPr id="5" name="Title 6">
            <a:extLst>
              <a:ext uri="{FF2B5EF4-FFF2-40B4-BE49-F238E27FC236}">
                <a16:creationId xmlns:a16="http://schemas.microsoft.com/office/drawing/2014/main" id="{1EAB1109-2031-90F0-3F53-C713070C129B}"/>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8" name="Slide Number Placeholder 9">
            <a:extLst>
              <a:ext uri="{FF2B5EF4-FFF2-40B4-BE49-F238E27FC236}">
                <a16:creationId xmlns:a16="http://schemas.microsoft.com/office/drawing/2014/main" id="{F7B18316-E859-9183-3896-1FB4AE713C89}"/>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42636273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8C05D17C-DEAE-7724-2AC9-1A63A290B510}"/>
              </a:ext>
            </a:extLst>
          </p:cNvPr>
          <p:cNvGrpSpPr/>
          <p:nvPr userDrawn="1"/>
        </p:nvGrpSpPr>
        <p:grpSpPr>
          <a:xfrm>
            <a:off x="606004" y="1501332"/>
            <a:ext cx="2610938" cy="4283242"/>
            <a:chOff x="1212167" y="7796463"/>
            <a:chExt cx="4206238" cy="8566483"/>
          </a:xfrm>
        </p:grpSpPr>
        <p:sp>
          <p:nvSpPr>
            <p:cNvPr id="19" name="Rounded Rectangle 18">
              <a:extLst>
                <a:ext uri="{FF2B5EF4-FFF2-40B4-BE49-F238E27FC236}">
                  <a16:creationId xmlns:a16="http://schemas.microsoft.com/office/drawing/2014/main" id="{7C4B856E-DE77-1F05-F6C4-30D0EB8B9D7C}"/>
                </a:ext>
              </a:extLst>
            </p:cNvPr>
            <p:cNvSpPr/>
            <p:nvPr/>
          </p:nvSpPr>
          <p:spPr>
            <a:xfrm>
              <a:off x="1220788" y="7796463"/>
              <a:ext cx="4197617" cy="8566483"/>
            </a:xfrm>
            <a:prstGeom prst="roundRect">
              <a:avLst>
                <a:gd name="adj" fmla="val 6397"/>
              </a:avLst>
            </a:prstGeom>
            <a:solidFill>
              <a:srgbClr val="0098FF">
                <a:alpha val="10000"/>
              </a:srgb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a:latin typeface="Pfizer Tomorrow" panose="02010503040201060303" pitchFamily="50" charset="0"/>
              </a:endParaRPr>
            </a:p>
          </p:txBody>
        </p:sp>
        <p:sp>
          <p:nvSpPr>
            <p:cNvPr id="20" name="Round Same Side Corner Rectangle 19">
              <a:extLst>
                <a:ext uri="{FF2B5EF4-FFF2-40B4-BE49-F238E27FC236}">
                  <a16:creationId xmlns:a16="http://schemas.microsoft.com/office/drawing/2014/main" id="{A5EB5ED4-79BD-E23D-AE38-9E1463CC90C2}"/>
                </a:ext>
              </a:extLst>
            </p:cNvPr>
            <p:cNvSpPr/>
            <p:nvPr/>
          </p:nvSpPr>
          <p:spPr>
            <a:xfrm>
              <a:off x="1212167" y="7796463"/>
              <a:ext cx="4197617" cy="923331"/>
            </a:xfrm>
            <a:prstGeom prst="round2SameRect">
              <a:avLst>
                <a:gd name="adj1" fmla="val 29698"/>
                <a:gd name="adj2"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a:latin typeface="Pfizer Tomorrow" panose="02010503040201060303" pitchFamily="50" charset="0"/>
              </a:endParaRPr>
            </a:p>
          </p:txBody>
        </p:sp>
      </p:grpSp>
      <p:sp>
        <p:nvSpPr>
          <p:cNvPr id="29" name="Text Placeholder 10">
            <a:extLst>
              <a:ext uri="{FF2B5EF4-FFF2-40B4-BE49-F238E27FC236}">
                <a16:creationId xmlns:a16="http://schemas.microsoft.com/office/drawing/2014/main" id="{3930330C-ED1C-802D-3794-40CE6FC3473F}"/>
              </a:ext>
            </a:extLst>
          </p:cNvPr>
          <p:cNvSpPr>
            <a:spLocks noGrp="1"/>
          </p:cNvSpPr>
          <p:nvPr>
            <p:ph type="body" sz="quarter" idx="19" hasCustomPrompt="1"/>
          </p:nvPr>
        </p:nvSpPr>
        <p:spPr>
          <a:xfrm>
            <a:off x="722514" y="1618360"/>
            <a:ext cx="2352589" cy="294296"/>
          </a:xfrm>
          <a:prstGeom prst="rect">
            <a:avLst/>
          </a:prstGeom>
        </p:spPr>
        <p:txBody>
          <a:bodyPr/>
          <a:lstStyle>
            <a:lvl1pPr marL="0" indent="0">
              <a:buNone/>
              <a:defRPr lang="en-US" sz="1800" b="1" kern="1200" spc="-25" dirty="0">
                <a:solidFill>
                  <a:schemeClr val="bg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Headline</a:t>
            </a:r>
          </a:p>
        </p:txBody>
      </p:sp>
      <p:sp>
        <p:nvSpPr>
          <p:cNvPr id="30" name="Text Placeholder 10">
            <a:extLst>
              <a:ext uri="{FF2B5EF4-FFF2-40B4-BE49-F238E27FC236}">
                <a16:creationId xmlns:a16="http://schemas.microsoft.com/office/drawing/2014/main" id="{024F8970-84F0-E252-CC21-1F64457C70B5}"/>
              </a:ext>
            </a:extLst>
          </p:cNvPr>
          <p:cNvSpPr>
            <a:spLocks noGrp="1"/>
          </p:cNvSpPr>
          <p:nvPr>
            <p:ph type="body" sz="quarter" idx="20" hasCustomPrompt="1"/>
          </p:nvPr>
        </p:nvSpPr>
        <p:spPr>
          <a:xfrm>
            <a:off x="724272" y="2090391"/>
            <a:ext cx="2316205" cy="615553"/>
          </a:xfrm>
          <a:prstGeom prst="rect">
            <a:avLst/>
          </a:prstGeom>
        </p:spPr>
        <p:txBody>
          <a:bodyPr/>
          <a:lstStyle>
            <a:lvl1pPr marL="0" indent="0">
              <a:buNone/>
              <a:defRPr lang="en-US" sz="1000" b="0" i="0" kern="1200" spc="-50" dirty="0" smtClean="0">
                <a:solidFill>
                  <a:srgbClr val="02005E"/>
                </a:solidFill>
                <a:latin typeface="Pfizer Tomorrow" panose="02010503040201060303" pitchFamily="50" charset="0"/>
                <a:ea typeface="+mn-ea"/>
                <a:cs typeface="+mn-cs"/>
              </a:defRPr>
            </a:lvl1pPr>
            <a:lvl2pPr>
              <a:defRPr lang="en-US" sz="1000" b="0" i="0" kern="1200" spc="-50" dirty="0" smtClean="0">
                <a:solidFill>
                  <a:srgbClr val="02005E"/>
                </a:solidFill>
                <a:latin typeface="Pfizer Tomorrow" panose="02010503040201060303" pitchFamily="50"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a:t>Body copy here</a:t>
            </a:r>
          </a:p>
          <a:p>
            <a:pPr lvl="1"/>
            <a:r>
              <a:rPr lang="en-US"/>
              <a:t>Second level</a:t>
            </a:r>
          </a:p>
        </p:txBody>
      </p:sp>
      <p:sp>
        <p:nvSpPr>
          <p:cNvPr id="41" name="Text Placeholder 10">
            <a:extLst>
              <a:ext uri="{FF2B5EF4-FFF2-40B4-BE49-F238E27FC236}">
                <a16:creationId xmlns:a16="http://schemas.microsoft.com/office/drawing/2014/main" id="{3B12CC34-81B1-8461-6DCE-5F8414C3517F}"/>
              </a:ext>
            </a:extLst>
          </p:cNvPr>
          <p:cNvSpPr>
            <a:spLocks noGrp="1"/>
          </p:cNvSpPr>
          <p:nvPr>
            <p:ph type="body" sz="quarter" idx="27" hasCustomPrompt="1"/>
          </p:nvPr>
        </p:nvSpPr>
        <p:spPr>
          <a:xfrm>
            <a:off x="724272" y="4768276"/>
            <a:ext cx="2316205" cy="861816"/>
          </a:xfrm>
          <a:prstGeom prst="rect">
            <a:avLst/>
          </a:prstGeom>
        </p:spPr>
        <p:txBody>
          <a:bodyPr/>
          <a:lstStyle>
            <a:lvl1pPr marL="0" indent="0">
              <a:buNone/>
              <a:defRPr lang="en-US" sz="1000" b="0" i="0" kern="1200" spc="-50" dirty="0" smtClean="0">
                <a:solidFill>
                  <a:srgbClr val="02005E"/>
                </a:solidFill>
                <a:latin typeface="Pfizer Tomorrow" panose="02010503040201060303" pitchFamily="50" charset="0"/>
                <a:ea typeface="+mn-ea"/>
                <a:cs typeface="+mn-cs"/>
              </a:defRPr>
            </a:lvl1pPr>
            <a:lvl2pPr>
              <a:defRPr lang="en-US" sz="1000" b="0" i="0" kern="1200" spc="-50" dirty="0" smtClean="0">
                <a:solidFill>
                  <a:srgbClr val="02005E"/>
                </a:solidFill>
                <a:latin typeface="Pfizer Tomorrow" panose="02010503040201060303" pitchFamily="50"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a:t>Body copy here</a:t>
            </a:r>
          </a:p>
          <a:p>
            <a:pPr lvl="1"/>
            <a:r>
              <a:rPr lang="en-US"/>
              <a:t>Second level</a:t>
            </a:r>
          </a:p>
        </p:txBody>
      </p:sp>
      <p:sp>
        <p:nvSpPr>
          <p:cNvPr id="43" name="Text Placeholder 10">
            <a:extLst>
              <a:ext uri="{FF2B5EF4-FFF2-40B4-BE49-F238E27FC236}">
                <a16:creationId xmlns:a16="http://schemas.microsoft.com/office/drawing/2014/main" id="{B1D67C4F-DE77-01FF-BEBD-A427C1559772}"/>
              </a:ext>
            </a:extLst>
          </p:cNvPr>
          <p:cNvSpPr>
            <a:spLocks noGrp="1"/>
          </p:cNvSpPr>
          <p:nvPr>
            <p:ph type="body" sz="quarter" idx="28" hasCustomPrompt="1"/>
          </p:nvPr>
        </p:nvSpPr>
        <p:spPr>
          <a:xfrm>
            <a:off x="722514" y="2950772"/>
            <a:ext cx="2352589" cy="184666"/>
          </a:xfrm>
          <a:prstGeom prst="rect">
            <a:avLst/>
          </a:prstGeom>
        </p:spPr>
        <p:txBody>
          <a:bodyPr/>
          <a:lstStyle>
            <a:lvl1pPr marL="0" indent="0">
              <a:buNone/>
              <a:defRPr lang="en-US" sz="1200" b="0" i="0" kern="1200" spc="-25" dirty="0">
                <a:solidFill>
                  <a:srgbClr val="02005E"/>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aption</a:t>
            </a:r>
          </a:p>
        </p:txBody>
      </p:sp>
      <p:sp>
        <p:nvSpPr>
          <p:cNvPr id="45" name="Text Placeholder 10">
            <a:extLst>
              <a:ext uri="{FF2B5EF4-FFF2-40B4-BE49-F238E27FC236}">
                <a16:creationId xmlns:a16="http://schemas.microsoft.com/office/drawing/2014/main" id="{ACE3369D-29C3-51FB-92F3-6405B1B31D7F}"/>
              </a:ext>
            </a:extLst>
          </p:cNvPr>
          <p:cNvSpPr>
            <a:spLocks noGrp="1"/>
          </p:cNvSpPr>
          <p:nvPr>
            <p:ph type="body" sz="quarter" idx="29" hasCustomPrompt="1"/>
          </p:nvPr>
        </p:nvSpPr>
        <p:spPr>
          <a:xfrm>
            <a:off x="722514" y="4557503"/>
            <a:ext cx="2352589" cy="184666"/>
          </a:xfrm>
          <a:prstGeom prst="rect">
            <a:avLst/>
          </a:prstGeom>
        </p:spPr>
        <p:txBody>
          <a:bodyPr/>
          <a:lstStyle>
            <a:lvl1pPr marL="0" indent="0">
              <a:buNone/>
              <a:defRPr lang="en-US" sz="1200" b="0" i="0" kern="1200" spc="-25" dirty="0">
                <a:solidFill>
                  <a:srgbClr val="02005E"/>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aption</a:t>
            </a:r>
          </a:p>
        </p:txBody>
      </p:sp>
      <p:grpSp>
        <p:nvGrpSpPr>
          <p:cNvPr id="46" name="Group 45">
            <a:extLst>
              <a:ext uri="{FF2B5EF4-FFF2-40B4-BE49-F238E27FC236}">
                <a16:creationId xmlns:a16="http://schemas.microsoft.com/office/drawing/2014/main" id="{C3CD5AA2-A503-219C-F707-C2F01E8C37CE}"/>
              </a:ext>
            </a:extLst>
          </p:cNvPr>
          <p:cNvGrpSpPr/>
          <p:nvPr userDrawn="1"/>
        </p:nvGrpSpPr>
        <p:grpSpPr>
          <a:xfrm>
            <a:off x="3395689" y="1501332"/>
            <a:ext cx="2610938" cy="4283242"/>
            <a:chOff x="1212167" y="7796463"/>
            <a:chExt cx="4206238" cy="8566483"/>
          </a:xfrm>
        </p:grpSpPr>
        <p:sp>
          <p:nvSpPr>
            <p:cNvPr id="47" name="Rounded Rectangle 46">
              <a:extLst>
                <a:ext uri="{FF2B5EF4-FFF2-40B4-BE49-F238E27FC236}">
                  <a16:creationId xmlns:a16="http://schemas.microsoft.com/office/drawing/2014/main" id="{3F196C5A-74EE-1F93-5207-DCA4F4BC07B4}"/>
                </a:ext>
              </a:extLst>
            </p:cNvPr>
            <p:cNvSpPr/>
            <p:nvPr/>
          </p:nvSpPr>
          <p:spPr>
            <a:xfrm>
              <a:off x="1220788" y="7796463"/>
              <a:ext cx="4197617" cy="8566483"/>
            </a:xfrm>
            <a:prstGeom prst="roundRect">
              <a:avLst>
                <a:gd name="adj" fmla="val 6397"/>
              </a:avLst>
            </a:prstGeom>
            <a:solidFill>
              <a:srgbClr val="0098FF">
                <a:alpha val="10000"/>
              </a:srgb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a:latin typeface="Pfizer Tomorrow" panose="02010503040201060303" pitchFamily="50" charset="0"/>
              </a:endParaRPr>
            </a:p>
          </p:txBody>
        </p:sp>
        <p:sp>
          <p:nvSpPr>
            <p:cNvPr id="48" name="Round Same Side Corner Rectangle 47">
              <a:extLst>
                <a:ext uri="{FF2B5EF4-FFF2-40B4-BE49-F238E27FC236}">
                  <a16:creationId xmlns:a16="http://schemas.microsoft.com/office/drawing/2014/main" id="{026A9F26-5A96-8514-034C-9440BDDC2BC7}"/>
                </a:ext>
              </a:extLst>
            </p:cNvPr>
            <p:cNvSpPr/>
            <p:nvPr/>
          </p:nvSpPr>
          <p:spPr>
            <a:xfrm>
              <a:off x="1212167" y="7796463"/>
              <a:ext cx="4197617" cy="923331"/>
            </a:xfrm>
            <a:prstGeom prst="round2SameRect">
              <a:avLst>
                <a:gd name="adj1" fmla="val 29698"/>
                <a:gd name="adj2"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a:latin typeface="Pfizer Tomorrow" panose="02010503040201060303" pitchFamily="50" charset="0"/>
              </a:endParaRPr>
            </a:p>
          </p:txBody>
        </p:sp>
      </p:grpSp>
      <p:grpSp>
        <p:nvGrpSpPr>
          <p:cNvPr id="49" name="Group 48">
            <a:extLst>
              <a:ext uri="{FF2B5EF4-FFF2-40B4-BE49-F238E27FC236}">
                <a16:creationId xmlns:a16="http://schemas.microsoft.com/office/drawing/2014/main" id="{8C766ABA-CEC9-C4BC-CDDD-9E1AFA2A0E51}"/>
              </a:ext>
            </a:extLst>
          </p:cNvPr>
          <p:cNvGrpSpPr/>
          <p:nvPr userDrawn="1"/>
        </p:nvGrpSpPr>
        <p:grpSpPr>
          <a:xfrm>
            <a:off x="6185374" y="1501332"/>
            <a:ext cx="2610938" cy="4283242"/>
            <a:chOff x="1212167" y="7796463"/>
            <a:chExt cx="4206238" cy="8566483"/>
          </a:xfrm>
        </p:grpSpPr>
        <p:sp>
          <p:nvSpPr>
            <p:cNvPr id="50" name="Rounded Rectangle 49">
              <a:extLst>
                <a:ext uri="{FF2B5EF4-FFF2-40B4-BE49-F238E27FC236}">
                  <a16:creationId xmlns:a16="http://schemas.microsoft.com/office/drawing/2014/main" id="{1815AB79-9CB3-D383-8F2E-F9DB109DA656}"/>
                </a:ext>
              </a:extLst>
            </p:cNvPr>
            <p:cNvSpPr/>
            <p:nvPr/>
          </p:nvSpPr>
          <p:spPr>
            <a:xfrm>
              <a:off x="1220788" y="7796463"/>
              <a:ext cx="4197617" cy="8566483"/>
            </a:xfrm>
            <a:prstGeom prst="roundRect">
              <a:avLst>
                <a:gd name="adj" fmla="val 6397"/>
              </a:avLst>
            </a:prstGeom>
            <a:solidFill>
              <a:srgbClr val="0098FF">
                <a:alpha val="10000"/>
              </a:srgb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a:latin typeface="Pfizer Tomorrow" panose="02010503040201060303" pitchFamily="50" charset="0"/>
              </a:endParaRPr>
            </a:p>
          </p:txBody>
        </p:sp>
        <p:sp>
          <p:nvSpPr>
            <p:cNvPr id="51" name="Round Same Side Corner Rectangle 50">
              <a:extLst>
                <a:ext uri="{FF2B5EF4-FFF2-40B4-BE49-F238E27FC236}">
                  <a16:creationId xmlns:a16="http://schemas.microsoft.com/office/drawing/2014/main" id="{B9BB9445-6813-A364-DCCD-791AB835B0CF}"/>
                </a:ext>
              </a:extLst>
            </p:cNvPr>
            <p:cNvSpPr/>
            <p:nvPr/>
          </p:nvSpPr>
          <p:spPr>
            <a:xfrm>
              <a:off x="1212167" y="7796463"/>
              <a:ext cx="4197617" cy="923331"/>
            </a:xfrm>
            <a:prstGeom prst="round2SameRect">
              <a:avLst>
                <a:gd name="adj1" fmla="val 29698"/>
                <a:gd name="adj2"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a:latin typeface="Pfizer Tomorrow" panose="02010503040201060303" pitchFamily="50" charset="0"/>
              </a:endParaRPr>
            </a:p>
          </p:txBody>
        </p:sp>
      </p:grpSp>
      <p:grpSp>
        <p:nvGrpSpPr>
          <p:cNvPr id="52" name="Group 51">
            <a:extLst>
              <a:ext uri="{FF2B5EF4-FFF2-40B4-BE49-F238E27FC236}">
                <a16:creationId xmlns:a16="http://schemas.microsoft.com/office/drawing/2014/main" id="{585F3C1A-7708-80EA-5CDC-C808CA7F28F3}"/>
              </a:ext>
            </a:extLst>
          </p:cNvPr>
          <p:cNvGrpSpPr/>
          <p:nvPr userDrawn="1"/>
        </p:nvGrpSpPr>
        <p:grpSpPr>
          <a:xfrm>
            <a:off x="8975058" y="1501332"/>
            <a:ext cx="2610938" cy="4283242"/>
            <a:chOff x="1212167" y="7796463"/>
            <a:chExt cx="4206238" cy="8566483"/>
          </a:xfrm>
        </p:grpSpPr>
        <p:sp>
          <p:nvSpPr>
            <p:cNvPr id="53" name="Rounded Rectangle 52">
              <a:extLst>
                <a:ext uri="{FF2B5EF4-FFF2-40B4-BE49-F238E27FC236}">
                  <a16:creationId xmlns:a16="http://schemas.microsoft.com/office/drawing/2014/main" id="{5FA9E97B-27B7-329A-501B-99EE4B24897D}"/>
                </a:ext>
              </a:extLst>
            </p:cNvPr>
            <p:cNvSpPr/>
            <p:nvPr/>
          </p:nvSpPr>
          <p:spPr>
            <a:xfrm>
              <a:off x="1220788" y="7796463"/>
              <a:ext cx="4197617" cy="8566483"/>
            </a:xfrm>
            <a:prstGeom prst="roundRect">
              <a:avLst>
                <a:gd name="adj" fmla="val 6397"/>
              </a:avLst>
            </a:prstGeom>
            <a:solidFill>
              <a:srgbClr val="0098FF">
                <a:alpha val="9758"/>
              </a:srgb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a:latin typeface="Pfizer Tomorrow" panose="02010503040201060303" pitchFamily="50" charset="0"/>
              </a:endParaRPr>
            </a:p>
          </p:txBody>
        </p:sp>
        <p:sp>
          <p:nvSpPr>
            <p:cNvPr id="54" name="Round Same Side Corner Rectangle 53">
              <a:extLst>
                <a:ext uri="{FF2B5EF4-FFF2-40B4-BE49-F238E27FC236}">
                  <a16:creationId xmlns:a16="http://schemas.microsoft.com/office/drawing/2014/main" id="{B000B8D4-6A7C-FE5C-A320-BF8A9F427F8D}"/>
                </a:ext>
              </a:extLst>
            </p:cNvPr>
            <p:cNvSpPr/>
            <p:nvPr/>
          </p:nvSpPr>
          <p:spPr>
            <a:xfrm>
              <a:off x="1212167" y="7796463"/>
              <a:ext cx="4197617" cy="923331"/>
            </a:xfrm>
            <a:prstGeom prst="round2SameRect">
              <a:avLst>
                <a:gd name="adj1" fmla="val 29698"/>
                <a:gd name="adj2"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a:latin typeface="Pfizer Tomorrow" panose="02010503040201060303" pitchFamily="50" charset="0"/>
              </a:endParaRPr>
            </a:p>
          </p:txBody>
        </p:sp>
      </p:grpSp>
      <p:sp>
        <p:nvSpPr>
          <p:cNvPr id="55" name="Text Placeholder 10">
            <a:extLst>
              <a:ext uri="{FF2B5EF4-FFF2-40B4-BE49-F238E27FC236}">
                <a16:creationId xmlns:a16="http://schemas.microsoft.com/office/drawing/2014/main" id="{81ECAD81-857E-2F62-A2BA-A1EE679090F5}"/>
              </a:ext>
            </a:extLst>
          </p:cNvPr>
          <p:cNvSpPr>
            <a:spLocks noGrp="1"/>
          </p:cNvSpPr>
          <p:nvPr>
            <p:ph type="body" sz="quarter" idx="30" hasCustomPrompt="1"/>
          </p:nvPr>
        </p:nvSpPr>
        <p:spPr>
          <a:xfrm>
            <a:off x="3517602" y="1618360"/>
            <a:ext cx="2352589" cy="294296"/>
          </a:xfrm>
          <a:prstGeom prst="rect">
            <a:avLst/>
          </a:prstGeom>
        </p:spPr>
        <p:txBody>
          <a:bodyPr/>
          <a:lstStyle>
            <a:lvl1pPr marL="0" indent="0">
              <a:buNone/>
              <a:defRPr lang="en-US" sz="1800" b="1" kern="1200" spc="-25" dirty="0">
                <a:solidFill>
                  <a:schemeClr val="bg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Headline</a:t>
            </a:r>
          </a:p>
        </p:txBody>
      </p:sp>
      <p:sp>
        <p:nvSpPr>
          <p:cNvPr id="56" name="Text Placeholder 10">
            <a:extLst>
              <a:ext uri="{FF2B5EF4-FFF2-40B4-BE49-F238E27FC236}">
                <a16:creationId xmlns:a16="http://schemas.microsoft.com/office/drawing/2014/main" id="{B5D203AC-D978-4604-3DEE-C856EAAC8D7D}"/>
              </a:ext>
            </a:extLst>
          </p:cNvPr>
          <p:cNvSpPr>
            <a:spLocks noGrp="1"/>
          </p:cNvSpPr>
          <p:nvPr>
            <p:ph type="body" sz="quarter" idx="31" hasCustomPrompt="1"/>
          </p:nvPr>
        </p:nvSpPr>
        <p:spPr>
          <a:xfrm>
            <a:off x="3519359" y="2090391"/>
            <a:ext cx="2316205" cy="615553"/>
          </a:xfrm>
          <a:prstGeom prst="rect">
            <a:avLst/>
          </a:prstGeom>
        </p:spPr>
        <p:txBody>
          <a:bodyPr/>
          <a:lstStyle>
            <a:lvl1pPr marL="0" indent="0">
              <a:buNone/>
              <a:defRPr lang="en-US" sz="1000" b="0" i="0" kern="1200" spc="-50" dirty="0" smtClean="0">
                <a:solidFill>
                  <a:srgbClr val="02005E"/>
                </a:solidFill>
                <a:latin typeface="Pfizer Tomorrow" panose="02010503040201060303" pitchFamily="50" charset="0"/>
                <a:ea typeface="+mn-ea"/>
                <a:cs typeface="+mn-cs"/>
              </a:defRPr>
            </a:lvl1pPr>
            <a:lvl2pPr>
              <a:defRPr lang="en-US" sz="1000" b="0" i="0" kern="1200" spc="-50" dirty="0" smtClean="0">
                <a:solidFill>
                  <a:srgbClr val="02005E"/>
                </a:solidFill>
                <a:latin typeface="Pfizer Tomorrow" panose="02010503040201060303" pitchFamily="50"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a:t>Body copy here</a:t>
            </a:r>
          </a:p>
          <a:p>
            <a:pPr lvl="1"/>
            <a:r>
              <a:rPr lang="en-US"/>
              <a:t>Second level</a:t>
            </a:r>
          </a:p>
        </p:txBody>
      </p:sp>
      <p:sp>
        <p:nvSpPr>
          <p:cNvPr id="57" name="Text Placeholder 10">
            <a:extLst>
              <a:ext uri="{FF2B5EF4-FFF2-40B4-BE49-F238E27FC236}">
                <a16:creationId xmlns:a16="http://schemas.microsoft.com/office/drawing/2014/main" id="{FE519876-C4B1-98E2-A9E6-901B8CB649D8}"/>
              </a:ext>
            </a:extLst>
          </p:cNvPr>
          <p:cNvSpPr>
            <a:spLocks noGrp="1"/>
          </p:cNvSpPr>
          <p:nvPr>
            <p:ph type="body" sz="quarter" idx="32" hasCustomPrompt="1"/>
          </p:nvPr>
        </p:nvSpPr>
        <p:spPr>
          <a:xfrm>
            <a:off x="3519359" y="4768276"/>
            <a:ext cx="2316205" cy="861816"/>
          </a:xfrm>
          <a:prstGeom prst="rect">
            <a:avLst/>
          </a:prstGeom>
        </p:spPr>
        <p:txBody>
          <a:bodyPr/>
          <a:lstStyle>
            <a:lvl1pPr marL="0" indent="0">
              <a:buNone/>
              <a:defRPr lang="en-US" sz="1000" b="0" i="0" kern="1200" spc="-50" dirty="0" smtClean="0">
                <a:solidFill>
                  <a:srgbClr val="02005E"/>
                </a:solidFill>
                <a:latin typeface="Pfizer Tomorrow" panose="02010503040201060303" pitchFamily="50" charset="0"/>
                <a:ea typeface="+mn-ea"/>
                <a:cs typeface="+mn-cs"/>
              </a:defRPr>
            </a:lvl1pPr>
            <a:lvl2pPr>
              <a:defRPr lang="en-US" sz="1000" b="0" i="0" kern="1200" spc="-50" dirty="0" smtClean="0">
                <a:solidFill>
                  <a:srgbClr val="02005E"/>
                </a:solidFill>
                <a:latin typeface="Pfizer Tomorrow" panose="02010503040201060303" pitchFamily="50"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a:t>Body copy here</a:t>
            </a:r>
          </a:p>
          <a:p>
            <a:pPr lvl="1"/>
            <a:r>
              <a:rPr lang="en-US"/>
              <a:t>Second level</a:t>
            </a:r>
          </a:p>
        </p:txBody>
      </p:sp>
      <p:sp>
        <p:nvSpPr>
          <p:cNvPr id="58" name="Text Placeholder 10">
            <a:extLst>
              <a:ext uri="{FF2B5EF4-FFF2-40B4-BE49-F238E27FC236}">
                <a16:creationId xmlns:a16="http://schemas.microsoft.com/office/drawing/2014/main" id="{86DA72B0-5C27-0F55-8A26-157851DD4007}"/>
              </a:ext>
            </a:extLst>
          </p:cNvPr>
          <p:cNvSpPr>
            <a:spLocks noGrp="1"/>
          </p:cNvSpPr>
          <p:nvPr>
            <p:ph type="body" sz="quarter" idx="33" hasCustomPrompt="1"/>
          </p:nvPr>
        </p:nvSpPr>
        <p:spPr>
          <a:xfrm>
            <a:off x="3517602" y="2950772"/>
            <a:ext cx="2352589" cy="184666"/>
          </a:xfrm>
          <a:prstGeom prst="rect">
            <a:avLst/>
          </a:prstGeom>
        </p:spPr>
        <p:txBody>
          <a:bodyPr/>
          <a:lstStyle>
            <a:lvl1pPr marL="0" indent="0">
              <a:buNone/>
              <a:defRPr lang="en-US" sz="1200" b="0" i="0" kern="1200" spc="-25" dirty="0">
                <a:solidFill>
                  <a:srgbClr val="02005E"/>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aption</a:t>
            </a:r>
          </a:p>
        </p:txBody>
      </p:sp>
      <p:sp>
        <p:nvSpPr>
          <p:cNvPr id="59" name="Text Placeholder 10">
            <a:extLst>
              <a:ext uri="{FF2B5EF4-FFF2-40B4-BE49-F238E27FC236}">
                <a16:creationId xmlns:a16="http://schemas.microsoft.com/office/drawing/2014/main" id="{8C2D71FD-1091-668F-4A76-B8F25955916F}"/>
              </a:ext>
            </a:extLst>
          </p:cNvPr>
          <p:cNvSpPr>
            <a:spLocks noGrp="1"/>
          </p:cNvSpPr>
          <p:nvPr>
            <p:ph type="body" sz="quarter" idx="34" hasCustomPrompt="1"/>
          </p:nvPr>
        </p:nvSpPr>
        <p:spPr>
          <a:xfrm>
            <a:off x="3517602" y="4557503"/>
            <a:ext cx="2352589" cy="184666"/>
          </a:xfrm>
          <a:prstGeom prst="rect">
            <a:avLst/>
          </a:prstGeom>
        </p:spPr>
        <p:txBody>
          <a:bodyPr/>
          <a:lstStyle>
            <a:lvl1pPr marL="0" indent="0">
              <a:buNone/>
              <a:defRPr lang="en-US" sz="1200" b="0" i="0" kern="1200" spc="-25" dirty="0">
                <a:solidFill>
                  <a:srgbClr val="02005E"/>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aption</a:t>
            </a:r>
          </a:p>
        </p:txBody>
      </p:sp>
      <p:sp>
        <p:nvSpPr>
          <p:cNvPr id="60" name="Text Placeholder 10">
            <a:extLst>
              <a:ext uri="{FF2B5EF4-FFF2-40B4-BE49-F238E27FC236}">
                <a16:creationId xmlns:a16="http://schemas.microsoft.com/office/drawing/2014/main" id="{795A53F9-6094-CCB3-8E07-414B962C3363}"/>
              </a:ext>
            </a:extLst>
          </p:cNvPr>
          <p:cNvSpPr>
            <a:spLocks noGrp="1"/>
          </p:cNvSpPr>
          <p:nvPr>
            <p:ph type="body" sz="quarter" idx="35" hasCustomPrompt="1"/>
          </p:nvPr>
        </p:nvSpPr>
        <p:spPr>
          <a:xfrm>
            <a:off x="6312689" y="1618360"/>
            <a:ext cx="2352589" cy="294296"/>
          </a:xfrm>
          <a:prstGeom prst="rect">
            <a:avLst/>
          </a:prstGeom>
        </p:spPr>
        <p:txBody>
          <a:bodyPr/>
          <a:lstStyle>
            <a:lvl1pPr marL="0" indent="0">
              <a:buNone/>
              <a:defRPr lang="en-US" sz="1800" b="1" kern="1200" spc="-25" dirty="0">
                <a:solidFill>
                  <a:schemeClr val="bg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Headline</a:t>
            </a:r>
          </a:p>
        </p:txBody>
      </p:sp>
      <p:sp>
        <p:nvSpPr>
          <p:cNvPr id="61" name="Text Placeholder 10">
            <a:extLst>
              <a:ext uri="{FF2B5EF4-FFF2-40B4-BE49-F238E27FC236}">
                <a16:creationId xmlns:a16="http://schemas.microsoft.com/office/drawing/2014/main" id="{B9E3FBCA-4B87-C5F6-BA05-5B029A433CE0}"/>
              </a:ext>
            </a:extLst>
          </p:cNvPr>
          <p:cNvSpPr>
            <a:spLocks noGrp="1"/>
          </p:cNvSpPr>
          <p:nvPr>
            <p:ph type="body" sz="quarter" idx="36" hasCustomPrompt="1"/>
          </p:nvPr>
        </p:nvSpPr>
        <p:spPr>
          <a:xfrm>
            <a:off x="6314447" y="2090391"/>
            <a:ext cx="2316205" cy="615553"/>
          </a:xfrm>
          <a:prstGeom prst="rect">
            <a:avLst/>
          </a:prstGeom>
        </p:spPr>
        <p:txBody>
          <a:bodyPr/>
          <a:lstStyle>
            <a:lvl1pPr marL="0" indent="0">
              <a:buNone/>
              <a:defRPr lang="en-US" sz="1000" b="0" i="0" kern="1200" spc="-50" dirty="0" smtClean="0">
                <a:solidFill>
                  <a:srgbClr val="02005E"/>
                </a:solidFill>
                <a:latin typeface="Pfizer Tomorrow" panose="02010503040201060303" pitchFamily="50" charset="0"/>
                <a:ea typeface="+mn-ea"/>
                <a:cs typeface="+mn-cs"/>
              </a:defRPr>
            </a:lvl1pPr>
            <a:lvl2pPr>
              <a:defRPr lang="en-US" sz="1000" b="0" i="0" kern="1200" spc="-50" dirty="0" smtClean="0">
                <a:solidFill>
                  <a:srgbClr val="02005E"/>
                </a:solidFill>
                <a:latin typeface="Pfizer Tomorrow" panose="02010503040201060303" pitchFamily="50"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a:t>Body copy here</a:t>
            </a:r>
          </a:p>
          <a:p>
            <a:pPr lvl="1"/>
            <a:r>
              <a:rPr lang="en-US"/>
              <a:t>Second level</a:t>
            </a:r>
          </a:p>
        </p:txBody>
      </p:sp>
      <p:sp>
        <p:nvSpPr>
          <p:cNvPr id="62" name="Text Placeholder 10">
            <a:extLst>
              <a:ext uri="{FF2B5EF4-FFF2-40B4-BE49-F238E27FC236}">
                <a16:creationId xmlns:a16="http://schemas.microsoft.com/office/drawing/2014/main" id="{1716E3A6-30D7-5DFC-FD02-E4B5AEFBD257}"/>
              </a:ext>
            </a:extLst>
          </p:cNvPr>
          <p:cNvSpPr>
            <a:spLocks noGrp="1"/>
          </p:cNvSpPr>
          <p:nvPr>
            <p:ph type="body" sz="quarter" idx="37" hasCustomPrompt="1"/>
          </p:nvPr>
        </p:nvSpPr>
        <p:spPr>
          <a:xfrm>
            <a:off x="6314447" y="4768276"/>
            <a:ext cx="2316205" cy="861816"/>
          </a:xfrm>
          <a:prstGeom prst="rect">
            <a:avLst/>
          </a:prstGeom>
        </p:spPr>
        <p:txBody>
          <a:bodyPr/>
          <a:lstStyle>
            <a:lvl1pPr marL="0" indent="0">
              <a:buNone/>
              <a:defRPr lang="en-US" sz="1000" b="0" i="0" kern="1200" spc="-50" dirty="0" smtClean="0">
                <a:solidFill>
                  <a:srgbClr val="02005E"/>
                </a:solidFill>
                <a:latin typeface="Pfizer Tomorrow" panose="02010503040201060303" pitchFamily="50" charset="0"/>
                <a:ea typeface="+mn-ea"/>
                <a:cs typeface="+mn-cs"/>
              </a:defRPr>
            </a:lvl1pPr>
            <a:lvl2pPr>
              <a:defRPr lang="en-US" sz="1000" b="0" i="0" kern="1200" spc="-50" dirty="0" smtClean="0">
                <a:solidFill>
                  <a:srgbClr val="02005E"/>
                </a:solidFill>
                <a:latin typeface="Pfizer Tomorrow" panose="02010503040201060303" pitchFamily="50"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a:t>Body copy here</a:t>
            </a:r>
          </a:p>
          <a:p>
            <a:pPr lvl="1"/>
            <a:r>
              <a:rPr lang="en-US"/>
              <a:t>Second level</a:t>
            </a:r>
          </a:p>
        </p:txBody>
      </p:sp>
      <p:sp>
        <p:nvSpPr>
          <p:cNvPr id="63" name="Text Placeholder 10">
            <a:extLst>
              <a:ext uri="{FF2B5EF4-FFF2-40B4-BE49-F238E27FC236}">
                <a16:creationId xmlns:a16="http://schemas.microsoft.com/office/drawing/2014/main" id="{C06D32C4-FF1C-B3D5-F903-94779A7EBFDB}"/>
              </a:ext>
            </a:extLst>
          </p:cNvPr>
          <p:cNvSpPr>
            <a:spLocks noGrp="1"/>
          </p:cNvSpPr>
          <p:nvPr>
            <p:ph type="body" sz="quarter" idx="38" hasCustomPrompt="1"/>
          </p:nvPr>
        </p:nvSpPr>
        <p:spPr>
          <a:xfrm>
            <a:off x="6312689" y="2950772"/>
            <a:ext cx="2352589" cy="184666"/>
          </a:xfrm>
          <a:prstGeom prst="rect">
            <a:avLst/>
          </a:prstGeom>
        </p:spPr>
        <p:txBody>
          <a:bodyPr/>
          <a:lstStyle>
            <a:lvl1pPr marL="0" indent="0">
              <a:buNone/>
              <a:defRPr lang="en-US" sz="1200" b="0" i="0" kern="1200" spc="-25" dirty="0">
                <a:solidFill>
                  <a:srgbClr val="02005E"/>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aption</a:t>
            </a:r>
          </a:p>
        </p:txBody>
      </p:sp>
      <p:sp>
        <p:nvSpPr>
          <p:cNvPr id="64" name="Text Placeholder 10">
            <a:extLst>
              <a:ext uri="{FF2B5EF4-FFF2-40B4-BE49-F238E27FC236}">
                <a16:creationId xmlns:a16="http://schemas.microsoft.com/office/drawing/2014/main" id="{24DBB815-2DA9-C8C5-E161-F69B973DA620}"/>
              </a:ext>
            </a:extLst>
          </p:cNvPr>
          <p:cNvSpPr>
            <a:spLocks noGrp="1"/>
          </p:cNvSpPr>
          <p:nvPr>
            <p:ph type="body" sz="quarter" idx="39" hasCustomPrompt="1"/>
          </p:nvPr>
        </p:nvSpPr>
        <p:spPr>
          <a:xfrm>
            <a:off x="6312689" y="4557503"/>
            <a:ext cx="2352589" cy="184666"/>
          </a:xfrm>
          <a:prstGeom prst="rect">
            <a:avLst/>
          </a:prstGeom>
        </p:spPr>
        <p:txBody>
          <a:bodyPr/>
          <a:lstStyle>
            <a:lvl1pPr marL="0" indent="0">
              <a:buNone/>
              <a:defRPr lang="en-US" sz="1200" b="0" i="0" kern="1200" spc="-25" dirty="0">
                <a:solidFill>
                  <a:srgbClr val="02005E"/>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aption</a:t>
            </a:r>
          </a:p>
        </p:txBody>
      </p:sp>
      <p:sp>
        <p:nvSpPr>
          <p:cNvPr id="65" name="Text Placeholder 10">
            <a:extLst>
              <a:ext uri="{FF2B5EF4-FFF2-40B4-BE49-F238E27FC236}">
                <a16:creationId xmlns:a16="http://schemas.microsoft.com/office/drawing/2014/main" id="{6B9F6B13-4A74-A9FD-F3AD-67D5F8182A94}"/>
              </a:ext>
            </a:extLst>
          </p:cNvPr>
          <p:cNvSpPr>
            <a:spLocks noGrp="1"/>
          </p:cNvSpPr>
          <p:nvPr>
            <p:ph type="body" sz="quarter" idx="40" hasCustomPrompt="1"/>
          </p:nvPr>
        </p:nvSpPr>
        <p:spPr>
          <a:xfrm>
            <a:off x="9107777" y="1618360"/>
            <a:ext cx="2352589" cy="294296"/>
          </a:xfrm>
          <a:prstGeom prst="rect">
            <a:avLst/>
          </a:prstGeom>
        </p:spPr>
        <p:txBody>
          <a:bodyPr/>
          <a:lstStyle>
            <a:lvl1pPr marL="0" indent="0">
              <a:buNone/>
              <a:defRPr lang="en-US" sz="1800" b="1" kern="1200" spc="-25" dirty="0">
                <a:solidFill>
                  <a:schemeClr val="bg1"/>
                </a:solidFill>
                <a:latin typeface="Pfizer Tomorrow" panose="02010503040201060303" pitchFamily="2" charset="77"/>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Headline</a:t>
            </a:r>
          </a:p>
        </p:txBody>
      </p:sp>
      <p:sp>
        <p:nvSpPr>
          <p:cNvPr id="66" name="Text Placeholder 10">
            <a:extLst>
              <a:ext uri="{FF2B5EF4-FFF2-40B4-BE49-F238E27FC236}">
                <a16:creationId xmlns:a16="http://schemas.microsoft.com/office/drawing/2014/main" id="{E43DC601-AE83-64B7-D8AA-661D0D557044}"/>
              </a:ext>
            </a:extLst>
          </p:cNvPr>
          <p:cNvSpPr>
            <a:spLocks noGrp="1"/>
          </p:cNvSpPr>
          <p:nvPr>
            <p:ph type="body" sz="quarter" idx="41" hasCustomPrompt="1"/>
          </p:nvPr>
        </p:nvSpPr>
        <p:spPr>
          <a:xfrm>
            <a:off x="9109535" y="2090391"/>
            <a:ext cx="2316205" cy="615553"/>
          </a:xfrm>
          <a:prstGeom prst="rect">
            <a:avLst/>
          </a:prstGeom>
        </p:spPr>
        <p:txBody>
          <a:bodyPr/>
          <a:lstStyle>
            <a:lvl1pPr marL="0" indent="0">
              <a:buNone/>
              <a:defRPr lang="en-US" sz="1000" b="0" i="0" kern="1200" spc="-50" dirty="0" smtClean="0">
                <a:solidFill>
                  <a:srgbClr val="02005E"/>
                </a:solidFill>
                <a:latin typeface="Pfizer Tomorrow" panose="02010503040201060303" pitchFamily="50" charset="0"/>
                <a:ea typeface="+mn-ea"/>
                <a:cs typeface="+mn-cs"/>
              </a:defRPr>
            </a:lvl1pPr>
            <a:lvl2pPr>
              <a:defRPr lang="en-US" sz="1000" b="0" i="0" kern="1200" spc="-50" dirty="0" smtClean="0">
                <a:solidFill>
                  <a:srgbClr val="02005E"/>
                </a:solidFill>
                <a:latin typeface="Pfizer Tomorrow" panose="02010503040201060303" pitchFamily="50"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a:t>Body copy here</a:t>
            </a:r>
          </a:p>
          <a:p>
            <a:pPr lvl="1"/>
            <a:r>
              <a:rPr lang="en-US"/>
              <a:t>Second level</a:t>
            </a:r>
          </a:p>
        </p:txBody>
      </p:sp>
      <p:sp>
        <p:nvSpPr>
          <p:cNvPr id="67" name="Text Placeholder 10">
            <a:extLst>
              <a:ext uri="{FF2B5EF4-FFF2-40B4-BE49-F238E27FC236}">
                <a16:creationId xmlns:a16="http://schemas.microsoft.com/office/drawing/2014/main" id="{84947D06-DCEA-B540-0619-C0411B9B286C}"/>
              </a:ext>
            </a:extLst>
          </p:cNvPr>
          <p:cNvSpPr>
            <a:spLocks noGrp="1"/>
          </p:cNvSpPr>
          <p:nvPr>
            <p:ph type="body" sz="quarter" idx="42" hasCustomPrompt="1"/>
          </p:nvPr>
        </p:nvSpPr>
        <p:spPr>
          <a:xfrm>
            <a:off x="9109535" y="4768276"/>
            <a:ext cx="2316205" cy="861816"/>
          </a:xfrm>
          <a:prstGeom prst="rect">
            <a:avLst/>
          </a:prstGeom>
        </p:spPr>
        <p:txBody>
          <a:bodyPr/>
          <a:lstStyle>
            <a:lvl1pPr marL="0" indent="0">
              <a:buNone/>
              <a:defRPr lang="en-US" sz="1000" b="0" i="0" kern="1200" spc="-50" dirty="0" smtClean="0">
                <a:solidFill>
                  <a:srgbClr val="02005E"/>
                </a:solidFill>
                <a:latin typeface="Pfizer Tomorrow" panose="02010503040201060303" pitchFamily="50" charset="0"/>
                <a:ea typeface="+mn-ea"/>
                <a:cs typeface="+mn-cs"/>
              </a:defRPr>
            </a:lvl1pPr>
            <a:lvl2pPr>
              <a:defRPr lang="en-US" sz="1000" b="0" i="0" kern="1200" spc="-50" dirty="0" smtClean="0">
                <a:solidFill>
                  <a:srgbClr val="02005E"/>
                </a:solidFill>
                <a:latin typeface="Pfizer Tomorrow" panose="02010503040201060303" pitchFamily="50"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a:t>Body copy here</a:t>
            </a:r>
          </a:p>
          <a:p>
            <a:pPr lvl="1"/>
            <a:r>
              <a:rPr lang="en-US"/>
              <a:t>Second level</a:t>
            </a:r>
          </a:p>
        </p:txBody>
      </p:sp>
      <p:sp>
        <p:nvSpPr>
          <p:cNvPr id="68" name="Text Placeholder 10">
            <a:extLst>
              <a:ext uri="{FF2B5EF4-FFF2-40B4-BE49-F238E27FC236}">
                <a16:creationId xmlns:a16="http://schemas.microsoft.com/office/drawing/2014/main" id="{A49C126B-131E-C695-E276-9D9621C2B4E1}"/>
              </a:ext>
            </a:extLst>
          </p:cNvPr>
          <p:cNvSpPr>
            <a:spLocks noGrp="1"/>
          </p:cNvSpPr>
          <p:nvPr>
            <p:ph type="body" sz="quarter" idx="43" hasCustomPrompt="1"/>
          </p:nvPr>
        </p:nvSpPr>
        <p:spPr>
          <a:xfrm>
            <a:off x="9107777" y="2950772"/>
            <a:ext cx="2352589" cy="184666"/>
          </a:xfrm>
          <a:prstGeom prst="rect">
            <a:avLst/>
          </a:prstGeom>
        </p:spPr>
        <p:txBody>
          <a:bodyPr/>
          <a:lstStyle>
            <a:lvl1pPr marL="0" indent="0">
              <a:buNone/>
              <a:defRPr lang="en-US" sz="1200" b="0" i="0" kern="1200" spc="-25" dirty="0">
                <a:solidFill>
                  <a:srgbClr val="02005E"/>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aption</a:t>
            </a:r>
          </a:p>
        </p:txBody>
      </p:sp>
      <p:sp>
        <p:nvSpPr>
          <p:cNvPr id="69" name="Text Placeholder 10">
            <a:extLst>
              <a:ext uri="{FF2B5EF4-FFF2-40B4-BE49-F238E27FC236}">
                <a16:creationId xmlns:a16="http://schemas.microsoft.com/office/drawing/2014/main" id="{7D858769-95FE-4DDD-0D9F-AB83295A09F3}"/>
              </a:ext>
            </a:extLst>
          </p:cNvPr>
          <p:cNvSpPr>
            <a:spLocks noGrp="1"/>
          </p:cNvSpPr>
          <p:nvPr>
            <p:ph type="body" sz="quarter" idx="44" hasCustomPrompt="1"/>
          </p:nvPr>
        </p:nvSpPr>
        <p:spPr>
          <a:xfrm>
            <a:off x="9107777" y="4557503"/>
            <a:ext cx="2352589" cy="184666"/>
          </a:xfrm>
          <a:prstGeom prst="rect">
            <a:avLst/>
          </a:prstGeom>
        </p:spPr>
        <p:txBody>
          <a:bodyPr/>
          <a:lstStyle>
            <a:lvl1pPr marL="0" indent="0">
              <a:buNone/>
              <a:defRPr lang="en-US" sz="1200" b="0" i="0" kern="1200" spc="-25" dirty="0">
                <a:solidFill>
                  <a:srgbClr val="02005E"/>
                </a:solidFill>
                <a:latin typeface="Pfizer Tomorrow" panose="02010503040201060303" pitchFamily="50"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Caption</a:t>
            </a:r>
          </a:p>
        </p:txBody>
      </p:sp>
      <p:sp>
        <p:nvSpPr>
          <p:cNvPr id="2" name="Title 6">
            <a:extLst>
              <a:ext uri="{FF2B5EF4-FFF2-40B4-BE49-F238E27FC236}">
                <a16:creationId xmlns:a16="http://schemas.microsoft.com/office/drawing/2014/main" id="{65379244-B24E-2455-4CFB-58FAF909F269}"/>
              </a:ext>
            </a:extLst>
          </p:cNvPr>
          <p:cNvSpPr>
            <a:spLocks noGrp="1"/>
          </p:cNvSpPr>
          <p:nvPr>
            <p:ph type="title" hasCustomPrompt="1"/>
          </p:nvPr>
        </p:nvSpPr>
        <p:spPr>
          <a:xfrm>
            <a:off x="609955" y="635561"/>
            <a:ext cx="3154776" cy="405454"/>
          </a:xfrm>
          <a:prstGeom prst="rect">
            <a:avLst/>
          </a:prstGeom>
        </p:spPr>
        <p:txBody>
          <a:bodyPr lIns="0" tIns="0" rIns="0" bIns="0"/>
          <a:lstStyle>
            <a:lvl1pPr>
              <a:defRPr lang="en-US" sz="26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3" name="Slide Number Placeholder 9">
            <a:extLst>
              <a:ext uri="{FF2B5EF4-FFF2-40B4-BE49-F238E27FC236}">
                <a16:creationId xmlns:a16="http://schemas.microsoft.com/office/drawing/2014/main" id="{E3A035C2-C232-2E8D-445E-FFDA3C5A23E0}"/>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1430004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Whit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53931F2-C551-2AD4-7B6A-9581E89422C7}"/>
              </a:ext>
            </a:extLst>
          </p:cNvPr>
          <p:cNvPicPr>
            <a:picLocks noChangeAspect="1"/>
          </p:cNvPicPr>
          <p:nvPr userDrawn="1"/>
        </p:nvPicPr>
        <p:blipFill>
          <a:blip r:embed="rId2"/>
          <a:stretch>
            <a:fillRect/>
          </a:stretch>
        </p:blipFill>
        <p:spPr>
          <a:xfrm>
            <a:off x="612280" y="5743501"/>
            <a:ext cx="1442647" cy="589788"/>
          </a:xfrm>
          <a:prstGeom prst="rect">
            <a:avLst/>
          </a:prstGeom>
        </p:spPr>
      </p:pic>
      <p:sp>
        <p:nvSpPr>
          <p:cNvPr id="2" name="Title 6">
            <a:extLst>
              <a:ext uri="{FF2B5EF4-FFF2-40B4-BE49-F238E27FC236}">
                <a16:creationId xmlns:a16="http://schemas.microsoft.com/office/drawing/2014/main" id="{F8EAB0D2-5E3C-D715-5795-DDDA0402A071}"/>
              </a:ext>
            </a:extLst>
          </p:cNvPr>
          <p:cNvSpPr>
            <a:spLocks noGrp="1"/>
          </p:cNvSpPr>
          <p:nvPr>
            <p:ph type="title" hasCustomPrompt="1"/>
          </p:nvPr>
        </p:nvSpPr>
        <p:spPr>
          <a:xfrm>
            <a:off x="535798" y="648878"/>
            <a:ext cx="9186800" cy="2436565"/>
          </a:xfrm>
          <a:prstGeom prst="rect">
            <a:avLst/>
          </a:prstGeom>
        </p:spPr>
        <p:txBody>
          <a:bodyPr/>
          <a:lstStyle>
            <a:lvl1pPr>
              <a:lnSpc>
                <a:spcPct val="80000"/>
              </a:lnSpc>
              <a:defRPr lang="en-US" sz="7200" b="1" kern="1200" spc="-25" dirty="0">
                <a:solidFill>
                  <a:srgbClr val="0000CA"/>
                </a:solidFill>
                <a:latin typeface="Pfizer Tomorrow" panose="02010503040201060303" pitchFamily="2" charset="77"/>
                <a:ea typeface="+mj-ea"/>
                <a:cs typeface="+mj-cs"/>
              </a:defRPr>
            </a:lvl1pPr>
          </a:lstStyle>
          <a:p>
            <a:r>
              <a:rPr lang="en-US"/>
              <a:t>Presentation Title</a:t>
            </a:r>
          </a:p>
        </p:txBody>
      </p:sp>
      <p:sp>
        <p:nvSpPr>
          <p:cNvPr id="4" name="Text Placeholder 10">
            <a:extLst>
              <a:ext uri="{FF2B5EF4-FFF2-40B4-BE49-F238E27FC236}">
                <a16:creationId xmlns:a16="http://schemas.microsoft.com/office/drawing/2014/main" id="{943D5313-585F-7759-4B50-E0558D95C82D}"/>
              </a:ext>
            </a:extLst>
          </p:cNvPr>
          <p:cNvSpPr>
            <a:spLocks noGrp="1"/>
          </p:cNvSpPr>
          <p:nvPr>
            <p:ph type="body" sz="quarter" idx="12" hasCustomPrompt="1"/>
          </p:nvPr>
        </p:nvSpPr>
        <p:spPr>
          <a:xfrm>
            <a:off x="558097" y="3226917"/>
            <a:ext cx="4871840" cy="1349296"/>
          </a:xfrm>
          <a:prstGeom prst="rect">
            <a:avLst/>
          </a:prstGeom>
        </p:spPr>
        <p:txBody>
          <a:bodyPr/>
          <a:lstStyle>
            <a:lvl1pPr marL="0" indent="0">
              <a:buNone/>
              <a:defRPr lang="en-US" sz="2800" b="0" i="0" kern="1200" spc="-50" dirty="0" smtClean="0">
                <a:solidFill>
                  <a:srgbClr val="0000CA"/>
                </a:solidFill>
                <a:latin typeface="Pfizer Tomorrow" panose="02010503040201060303" pitchFamily="50" charset="0"/>
                <a:ea typeface="+mn-ea"/>
                <a:cs typeface="+mn-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Subhead Here</a:t>
            </a:r>
          </a:p>
        </p:txBody>
      </p:sp>
      <p:sp>
        <p:nvSpPr>
          <p:cNvPr id="3" name="Text Placeholder 10">
            <a:extLst>
              <a:ext uri="{FF2B5EF4-FFF2-40B4-BE49-F238E27FC236}">
                <a16:creationId xmlns:a16="http://schemas.microsoft.com/office/drawing/2014/main" id="{2FFCB17E-B3FD-46AC-0E29-6AC8F8936B23}"/>
              </a:ext>
            </a:extLst>
          </p:cNvPr>
          <p:cNvSpPr>
            <a:spLocks noGrp="1"/>
          </p:cNvSpPr>
          <p:nvPr>
            <p:ph type="body" sz="quarter" idx="14" hasCustomPrompt="1"/>
          </p:nvPr>
        </p:nvSpPr>
        <p:spPr>
          <a:xfrm>
            <a:off x="6705157" y="5926783"/>
            <a:ext cx="4871840" cy="422078"/>
          </a:xfrm>
          <a:prstGeom prst="rect">
            <a:avLst/>
          </a:prstGeom>
        </p:spPr>
        <p:txBody>
          <a:bodyPr rIns="0"/>
          <a:lstStyle>
            <a:lvl1pPr marL="0" indent="0" algn="r">
              <a:buNone/>
              <a:defRPr lang="en-US" sz="2000" b="0" i="0" kern="1200" spc="-50" dirty="0" smtClean="0">
                <a:solidFill>
                  <a:schemeClr val="accent1"/>
                </a:solidFill>
                <a:latin typeface="Pfizer Tomorrow" panose="02010503040201060303" pitchFamily="50" charset="0"/>
                <a:ea typeface="+mn-ea"/>
                <a:cs typeface="+mn-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Date Here</a:t>
            </a:r>
          </a:p>
        </p:txBody>
      </p:sp>
    </p:spTree>
    <p:extLst>
      <p:ext uri="{BB962C8B-B14F-4D97-AF65-F5344CB8AC3E}">
        <p14:creationId xmlns:p14="http://schemas.microsoft.com/office/powerpoint/2010/main" val="38855336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Poin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25FC85B-94AC-C0CA-227D-7671ABF2928E}"/>
              </a:ext>
            </a:extLst>
          </p:cNvPr>
          <p:cNvSpPr/>
          <p:nvPr userDrawn="1"/>
        </p:nvSpPr>
        <p:spPr>
          <a:xfrm>
            <a:off x="6095346" y="0"/>
            <a:ext cx="6096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a:latin typeface="Pfizer Tomorrow" panose="02010503040201060303" pitchFamily="50" charset="0"/>
            </a:endParaRPr>
          </a:p>
        </p:txBody>
      </p:sp>
      <p:sp>
        <p:nvSpPr>
          <p:cNvPr id="13" name="Text Placeholder 10">
            <a:extLst>
              <a:ext uri="{FF2B5EF4-FFF2-40B4-BE49-F238E27FC236}">
                <a16:creationId xmlns:a16="http://schemas.microsoft.com/office/drawing/2014/main" id="{BCBF1253-EDE9-CCBE-CC1E-BBACF7AAF961}"/>
              </a:ext>
            </a:extLst>
          </p:cNvPr>
          <p:cNvSpPr>
            <a:spLocks noGrp="1"/>
          </p:cNvSpPr>
          <p:nvPr>
            <p:ph type="body" sz="quarter" idx="13" hasCustomPrompt="1"/>
          </p:nvPr>
        </p:nvSpPr>
        <p:spPr>
          <a:xfrm>
            <a:off x="6508542" y="515342"/>
            <a:ext cx="5103062" cy="677109"/>
          </a:xfrm>
          <a:prstGeom prst="rect">
            <a:avLst/>
          </a:prstGeom>
        </p:spPr>
        <p:txBody>
          <a:bodyPr/>
          <a:lstStyle>
            <a:lvl1pPr marL="0" indent="0" algn="l" defTabSz="457086" rtl="0" eaLnBrk="1" latinLnBrk="0" hangingPunct="1">
              <a:lnSpc>
                <a:spcPct val="100000"/>
              </a:lnSpc>
              <a:spcBef>
                <a:spcPct val="0"/>
              </a:spcBef>
              <a:buNone/>
              <a:defRPr lang="en-US" sz="4399" kern="1200" spc="-25" dirty="0">
                <a:solidFill>
                  <a:schemeClr val="bg1"/>
                </a:solidFill>
                <a:latin typeface="Pfizer Tomorrow" panose="02010503040201060303" pitchFamily="2" charset="77"/>
                <a:ea typeface="+mj-ea"/>
                <a:cs typeface="+mj-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01 Key Point</a:t>
            </a:r>
          </a:p>
        </p:txBody>
      </p:sp>
      <p:sp>
        <p:nvSpPr>
          <p:cNvPr id="15" name="Text Placeholder 10">
            <a:extLst>
              <a:ext uri="{FF2B5EF4-FFF2-40B4-BE49-F238E27FC236}">
                <a16:creationId xmlns:a16="http://schemas.microsoft.com/office/drawing/2014/main" id="{338B02E5-6686-6077-72D8-974AD75A4371}"/>
              </a:ext>
            </a:extLst>
          </p:cNvPr>
          <p:cNvSpPr>
            <a:spLocks noGrp="1"/>
          </p:cNvSpPr>
          <p:nvPr>
            <p:ph type="body" sz="quarter" idx="14" hasCustomPrompt="1"/>
          </p:nvPr>
        </p:nvSpPr>
        <p:spPr>
          <a:xfrm>
            <a:off x="6508542" y="3068971"/>
            <a:ext cx="5103062" cy="677109"/>
          </a:xfrm>
          <a:prstGeom prst="rect">
            <a:avLst/>
          </a:prstGeom>
        </p:spPr>
        <p:txBody>
          <a:bodyPr/>
          <a:lstStyle>
            <a:lvl1pPr marL="0" indent="0" algn="l" defTabSz="457086" rtl="0" eaLnBrk="1" latinLnBrk="0" hangingPunct="1">
              <a:lnSpc>
                <a:spcPct val="100000"/>
              </a:lnSpc>
              <a:spcBef>
                <a:spcPct val="0"/>
              </a:spcBef>
              <a:buNone/>
              <a:defRPr lang="en-US" sz="4399" kern="1200" spc="-25" dirty="0">
                <a:solidFill>
                  <a:schemeClr val="bg1"/>
                </a:solidFill>
                <a:latin typeface="Pfizer Tomorrow" panose="02010503040201060303" pitchFamily="2" charset="77"/>
                <a:ea typeface="+mj-ea"/>
                <a:cs typeface="+mj-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02 Key Point</a:t>
            </a:r>
          </a:p>
        </p:txBody>
      </p:sp>
      <p:sp>
        <p:nvSpPr>
          <p:cNvPr id="18" name="Text Placeholder 10">
            <a:extLst>
              <a:ext uri="{FF2B5EF4-FFF2-40B4-BE49-F238E27FC236}">
                <a16:creationId xmlns:a16="http://schemas.microsoft.com/office/drawing/2014/main" id="{0C34BD04-1866-F729-AA57-40BC049132F5}"/>
              </a:ext>
            </a:extLst>
          </p:cNvPr>
          <p:cNvSpPr>
            <a:spLocks noGrp="1"/>
          </p:cNvSpPr>
          <p:nvPr>
            <p:ph type="body" sz="quarter" idx="15" hasCustomPrompt="1"/>
          </p:nvPr>
        </p:nvSpPr>
        <p:spPr>
          <a:xfrm>
            <a:off x="6567823" y="1328625"/>
            <a:ext cx="5054931" cy="1497174"/>
          </a:xfrm>
          <a:prstGeom prst="rect">
            <a:avLst/>
          </a:prstGeom>
        </p:spPr>
        <p:txBody>
          <a:bodyPr/>
          <a:lstStyle>
            <a:lvl1pPr marL="0" indent="0">
              <a:buNone/>
              <a:defRPr lang="en-US" sz="1800" b="0" i="0" kern="1200" spc="-50" dirty="0" smtClean="0">
                <a:solidFill>
                  <a:schemeClr val="bg1"/>
                </a:solidFill>
                <a:latin typeface="Pfizer Tomorrow" panose="02010503040201060303" pitchFamily="50" charset="0"/>
                <a:ea typeface="+mn-ea"/>
                <a:cs typeface="+mn-cs"/>
              </a:defRPr>
            </a:lvl1pPr>
            <a:lvl2pPr>
              <a:defRPr lang="en-US" sz="1800" b="0" i="0" kern="1200" spc="-50" dirty="0" smtClean="0">
                <a:solidFill>
                  <a:schemeClr val="bg1"/>
                </a:solidFill>
                <a:latin typeface="Pfizer Tomorrow" panose="02010503040201060303" pitchFamily="50" charset="0"/>
                <a:ea typeface="+mn-ea"/>
                <a:cs typeface="+mn-cs"/>
              </a:defRPr>
            </a:lvl2pPr>
            <a:lvl3pPr>
              <a:defRPr lang="en-US" sz="1800" b="0" i="0" kern="1200" spc="-50" dirty="0" smtClean="0">
                <a:solidFill>
                  <a:schemeClr val="bg1"/>
                </a:solidFill>
                <a:latin typeface="Pfizer Tomorrow" panose="02010503040201060303" pitchFamily="50" charset="0"/>
                <a:ea typeface="+mn-ea"/>
                <a:cs typeface="+mn-cs"/>
              </a:defRPr>
            </a:lvl3pPr>
            <a:lvl4pPr>
              <a:defRPr lang="en-US" sz="1800" b="0" i="0" kern="1200" spc="-50" dirty="0" smtClean="0">
                <a:solidFill>
                  <a:schemeClr val="bg1"/>
                </a:solidFill>
                <a:latin typeface="Pfizer Tomorrow" panose="02010503040201060303" pitchFamily="50" charset="0"/>
                <a:ea typeface="+mn-ea"/>
                <a:cs typeface="+mn-cs"/>
              </a:defRPr>
            </a:lvl4pPr>
            <a:lvl5pPr>
              <a:defRPr lang="en-US" sz="1800" b="0" i="0" kern="1200" spc="-50" dirty="0">
                <a:solidFill>
                  <a:schemeClr val="bg1"/>
                </a:solidFill>
                <a:latin typeface="Pfizer Tomorrow" panose="02010503040201060303" pitchFamily="50" charset="0"/>
                <a:ea typeface="+mn-ea"/>
                <a:cs typeface="+mn-cs"/>
              </a:defRPr>
            </a:lvl5pPr>
          </a:lstStyle>
          <a:p>
            <a:pPr lvl="0"/>
            <a:r>
              <a:rPr lang="en-US"/>
              <a:t>Body copy here</a:t>
            </a:r>
          </a:p>
          <a:p>
            <a:pPr lvl="1"/>
            <a:r>
              <a:rPr lang="en-US"/>
              <a:t>Second level</a:t>
            </a:r>
          </a:p>
          <a:p>
            <a:pPr lvl="2"/>
            <a:r>
              <a:rPr lang="en-US"/>
              <a:t>Third level</a:t>
            </a:r>
          </a:p>
          <a:p>
            <a:pPr lvl="3"/>
            <a:r>
              <a:rPr lang="en-US"/>
              <a:t>Fourth level</a:t>
            </a:r>
          </a:p>
          <a:p>
            <a:pPr lvl="4"/>
            <a:r>
              <a:rPr lang="en-US"/>
              <a:t>Fifth level</a:t>
            </a:r>
          </a:p>
        </p:txBody>
      </p:sp>
      <p:sp>
        <p:nvSpPr>
          <p:cNvPr id="19" name="Text Placeholder 10">
            <a:extLst>
              <a:ext uri="{FF2B5EF4-FFF2-40B4-BE49-F238E27FC236}">
                <a16:creationId xmlns:a16="http://schemas.microsoft.com/office/drawing/2014/main" id="{83F46805-66E5-C16F-2EF7-3E3697605884}"/>
              </a:ext>
            </a:extLst>
          </p:cNvPr>
          <p:cNvSpPr>
            <a:spLocks noGrp="1"/>
          </p:cNvSpPr>
          <p:nvPr>
            <p:ph type="body" sz="quarter" idx="16" hasCustomPrompt="1"/>
          </p:nvPr>
        </p:nvSpPr>
        <p:spPr>
          <a:xfrm>
            <a:off x="6567823" y="3882255"/>
            <a:ext cx="5054931" cy="1497174"/>
          </a:xfrm>
          <a:prstGeom prst="rect">
            <a:avLst/>
          </a:prstGeom>
        </p:spPr>
        <p:txBody>
          <a:bodyPr/>
          <a:lstStyle>
            <a:lvl1pPr marL="0" indent="0">
              <a:buNone/>
              <a:defRPr lang="en-US" sz="1800" b="0" i="0" kern="1200" spc="-50" dirty="0" smtClean="0">
                <a:solidFill>
                  <a:schemeClr val="bg1"/>
                </a:solidFill>
                <a:latin typeface="Pfizer Tomorrow" panose="02010503040201060303" pitchFamily="50" charset="0"/>
                <a:ea typeface="+mn-ea"/>
                <a:cs typeface="+mn-cs"/>
              </a:defRPr>
            </a:lvl1pPr>
            <a:lvl2pPr>
              <a:defRPr lang="en-US" sz="1800" b="0" i="0" kern="1200" spc="-50" dirty="0" smtClean="0">
                <a:solidFill>
                  <a:schemeClr val="bg1"/>
                </a:solidFill>
                <a:latin typeface="Pfizer Tomorrow" panose="02010503040201060303" pitchFamily="50" charset="0"/>
                <a:ea typeface="+mn-ea"/>
                <a:cs typeface="+mn-cs"/>
              </a:defRPr>
            </a:lvl2pPr>
            <a:lvl3pPr>
              <a:defRPr lang="en-US" sz="1800" b="0" i="0" kern="1200" spc="-50" dirty="0" smtClean="0">
                <a:solidFill>
                  <a:schemeClr val="bg1"/>
                </a:solidFill>
                <a:latin typeface="Pfizer Tomorrow" panose="02010503040201060303" pitchFamily="50" charset="0"/>
                <a:ea typeface="+mn-ea"/>
                <a:cs typeface="+mn-cs"/>
              </a:defRPr>
            </a:lvl3pPr>
            <a:lvl4pPr>
              <a:defRPr lang="en-US" sz="1800" b="0" i="0" kern="1200" spc="-50" dirty="0" smtClean="0">
                <a:solidFill>
                  <a:schemeClr val="bg1"/>
                </a:solidFill>
                <a:latin typeface="Pfizer Tomorrow" panose="02010503040201060303" pitchFamily="50" charset="0"/>
                <a:ea typeface="+mn-ea"/>
                <a:cs typeface="+mn-cs"/>
              </a:defRPr>
            </a:lvl4pPr>
            <a:lvl5pPr>
              <a:defRPr lang="en-US" sz="1800" b="0" i="0" kern="1200" spc="-50" dirty="0">
                <a:solidFill>
                  <a:schemeClr val="bg1"/>
                </a:solidFill>
                <a:latin typeface="Pfizer Tomorrow" panose="02010503040201060303" pitchFamily="50" charset="0"/>
                <a:ea typeface="+mn-ea"/>
                <a:cs typeface="+mn-cs"/>
              </a:defRPr>
            </a:lvl5pPr>
          </a:lstStyle>
          <a:p>
            <a:pPr lvl="0"/>
            <a:r>
              <a:rPr lang="en-US"/>
              <a:t>Body copy here</a:t>
            </a:r>
          </a:p>
          <a:p>
            <a:pPr lvl="1"/>
            <a:r>
              <a:rPr lang="en-US"/>
              <a:t>Second level</a:t>
            </a:r>
          </a:p>
          <a:p>
            <a:pPr lvl="2"/>
            <a:r>
              <a:rPr lang="en-US"/>
              <a:t>Third level</a:t>
            </a:r>
          </a:p>
          <a:p>
            <a:pPr lvl="3"/>
            <a:r>
              <a:rPr lang="en-US"/>
              <a:t>Fourth level</a:t>
            </a:r>
          </a:p>
          <a:p>
            <a:pPr lvl="4"/>
            <a:r>
              <a:rPr lang="en-US"/>
              <a:t>Fifth level</a:t>
            </a:r>
          </a:p>
        </p:txBody>
      </p:sp>
      <p:sp>
        <p:nvSpPr>
          <p:cNvPr id="3" name="Title 6">
            <a:extLst>
              <a:ext uri="{FF2B5EF4-FFF2-40B4-BE49-F238E27FC236}">
                <a16:creationId xmlns:a16="http://schemas.microsoft.com/office/drawing/2014/main" id="{7B375C94-616B-D045-C3B0-6E084FCCE7B5}"/>
              </a:ext>
            </a:extLst>
          </p:cNvPr>
          <p:cNvSpPr>
            <a:spLocks noGrp="1"/>
          </p:cNvSpPr>
          <p:nvPr>
            <p:ph type="title" hasCustomPrompt="1"/>
          </p:nvPr>
        </p:nvSpPr>
        <p:spPr>
          <a:xfrm>
            <a:off x="616843" y="708190"/>
            <a:ext cx="3427223" cy="1329338"/>
          </a:xfrm>
          <a:prstGeom prst="rect">
            <a:avLst/>
          </a:prstGeom>
        </p:spPr>
        <p:txBody>
          <a:bodyPr wrap="square" lIns="0" tIns="0" rIns="0" bIns="0">
            <a:spAutoFit/>
          </a:bodyPr>
          <a:lstStyle>
            <a:lvl1pPr>
              <a:defRPr lang="en-US" sz="47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4" name="Text Placeholder 10">
            <a:extLst>
              <a:ext uri="{FF2B5EF4-FFF2-40B4-BE49-F238E27FC236}">
                <a16:creationId xmlns:a16="http://schemas.microsoft.com/office/drawing/2014/main" id="{CEC2215D-6F14-D6B6-6B18-FA93C2587DFD}"/>
              </a:ext>
            </a:extLst>
          </p:cNvPr>
          <p:cNvSpPr>
            <a:spLocks noGrp="1"/>
          </p:cNvSpPr>
          <p:nvPr>
            <p:ph type="body" sz="quarter" idx="12" hasCustomPrompt="1"/>
          </p:nvPr>
        </p:nvSpPr>
        <p:spPr>
          <a:xfrm>
            <a:off x="616844" y="2190824"/>
            <a:ext cx="4580798" cy="3981376"/>
          </a:xfrm>
          <a:prstGeom prst="rect">
            <a:avLst/>
          </a:prstGeom>
        </p:spPr>
        <p:txBody>
          <a:bodyPr lIns="0" tIns="0" rIns="0" bIns="0">
            <a:noAutofit/>
          </a:bodyPr>
          <a:lstStyle>
            <a:lvl1pPr marL="0" indent="0">
              <a:buNone/>
              <a:defRPr lang="en-US" sz="1800" b="0" i="0" kern="1200" spc="-50" dirty="0" smtClean="0">
                <a:solidFill>
                  <a:srgbClr val="02005E"/>
                </a:solidFill>
                <a:latin typeface="Pfizer Tomorrow" panose="02010503040201060303" pitchFamily="50" charset="0"/>
                <a:ea typeface="+mn-ea"/>
                <a:cs typeface="+mn-cs"/>
              </a:defRPr>
            </a:lvl1pPr>
            <a:lvl2pPr>
              <a:defRPr lang="en-US" sz="1800" b="0" i="0" kern="1200" spc="-50" dirty="0" smtClean="0">
                <a:solidFill>
                  <a:srgbClr val="02005E"/>
                </a:solidFill>
                <a:latin typeface="Pfizer Tomorrow" panose="02010503040201060303" pitchFamily="50" charset="0"/>
                <a:ea typeface="+mn-ea"/>
                <a:cs typeface="+mn-cs"/>
              </a:defRPr>
            </a:lvl2pPr>
            <a:lvl3pPr>
              <a:defRPr lang="en-US" sz="1800" b="0" i="0" kern="1200" spc="-50" dirty="0" smtClean="0">
                <a:solidFill>
                  <a:srgbClr val="02005E"/>
                </a:solidFill>
                <a:latin typeface="Pfizer Tomorrow" panose="02010503040201060303" pitchFamily="50" charset="0"/>
                <a:ea typeface="+mn-ea"/>
                <a:cs typeface="+mn-cs"/>
              </a:defRPr>
            </a:lvl3pPr>
            <a:lvl4pPr>
              <a:defRPr lang="en-US" sz="1800" b="0" i="0" kern="1200" spc="-50" dirty="0" smtClean="0">
                <a:solidFill>
                  <a:srgbClr val="02005E"/>
                </a:solidFill>
                <a:latin typeface="Pfizer Tomorrow" panose="02010503040201060303" pitchFamily="50" charset="0"/>
                <a:ea typeface="+mn-ea"/>
                <a:cs typeface="+mn-cs"/>
              </a:defRPr>
            </a:lvl4pPr>
            <a:lvl5pPr>
              <a:defRPr lang="en-US" sz="1800" b="0" i="0" kern="1200" spc="-50" dirty="0">
                <a:solidFill>
                  <a:srgbClr val="02005E"/>
                </a:solidFill>
                <a:latin typeface="Pfizer Tomorrow" panose="02010503040201060303" pitchFamily="50" charset="0"/>
                <a:ea typeface="+mn-ea"/>
                <a:cs typeface="+mn-cs"/>
              </a:defRPr>
            </a:lvl5pPr>
          </a:lstStyle>
          <a:p>
            <a:pPr lvl="0"/>
            <a:r>
              <a:rPr lang="en-US"/>
              <a:t>Body copy here</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9">
            <a:extLst>
              <a:ext uri="{FF2B5EF4-FFF2-40B4-BE49-F238E27FC236}">
                <a16:creationId xmlns:a16="http://schemas.microsoft.com/office/drawing/2014/main" id="{259C9EB6-B2E2-7EDC-CCC6-64D1C52D3751}"/>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bg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13238534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White">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B39D2A73-D1C7-ADE3-0771-D4C9BD3E3D50}"/>
              </a:ext>
            </a:extLst>
          </p:cNvPr>
          <p:cNvSpPr>
            <a:spLocks noGrp="1"/>
          </p:cNvSpPr>
          <p:nvPr>
            <p:ph type="title" hasCustomPrompt="1"/>
          </p:nvPr>
        </p:nvSpPr>
        <p:spPr>
          <a:xfrm>
            <a:off x="613152" y="195684"/>
            <a:ext cx="10969218" cy="842156"/>
          </a:xfrm>
          <a:prstGeom prst="rect">
            <a:avLst/>
          </a:prstGeom>
        </p:spPr>
        <p:txBody>
          <a:bodyPr lIns="0" tIns="0" rIns="0" bIns="0"/>
          <a:lstStyle>
            <a:lvl1pPr>
              <a:defRPr lang="en-US" sz="2699" b="1" kern="1200" spc="-25" dirty="0">
                <a:solidFill>
                  <a:schemeClr val="bg1"/>
                </a:solidFill>
                <a:latin typeface="Pfizer Tomorrow" panose="02010503040201060303" pitchFamily="2" charset="77"/>
                <a:ea typeface="+mj-ea"/>
                <a:cs typeface="+mj-cs"/>
              </a:defRPr>
            </a:lvl1pPr>
          </a:lstStyle>
          <a:p>
            <a:r>
              <a:rPr lang="en-US"/>
              <a:t>Headline Here</a:t>
            </a:r>
          </a:p>
        </p:txBody>
      </p:sp>
      <p:sp>
        <p:nvSpPr>
          <p:cNvPr id="6" name="Slide Number Placeholder 9">
            <a:extLst>
              <a:ext uri="{FF2B5EF4-FFF2-40B4-BE49-F238E27FC236}">
                <a16:creationId xmlns:a16="http://schemas.microsoft.com/office/drawing/2014/main" id="{66F44874-2055-9CD6-5C32-3F2ACC881F86}"/>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pic>
        <p:nvPicPr>
          <p:cNvPr id="3" name="Picture 2">
            <a:extLst>
              <a:ext uri="{FF2B5EF4-FFF2-40B4-BE49-F238E27FC236}">
                <a16:creationId xmlns:a16="http://schemas.microsoft.com/office/drawing/2014/main" id="{FFBB34C0-2F8E-40F0-9D05-671E0B504CE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0800000">
            <a:off x="-5187" y="445"/>
            <a:ext cx="12197185" cy="1237148"/>
          </a:xfrm>
          <a:prstGeom prst="rect">
            <a:avLst/>
          </a:prstGeom>
        </p:spPr>
      </p:pic>
    </p:spTree>
    <p:extLst>
      <p:ext uri="{BB962C8B-B14F-4D97-AF65-F5344CB8AC3E}">
        <p14:creationId xmlns:p14="http://schemas.microsoft.com/office/powerpoint/2010/main" val="1295290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ight Cyan">
    <p:bg>
      <p:bgPr>
        <a:solidFill>
          <a:srgbClr val="E6F5FD"/>
        </a:solidFill>
        <a:effectLst/>
      </p:bgPr>
    </p:bg>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2AC534EE-F90E-2692-71D2-298129782E8E}"/>
              </a:ext>
            </a:extLst>
          </p:cNvPr>
          <p:cNvSpPr>
            <a:spLocks noGrp="1"/>
          </p:cNvSpPr>
          <p:nvPr>
            <p:ph type="title" hasCustomPrompt="1"/>
          </p:nvPr>
        </p:nvSpPr>
        <p:spPr>
          <a:xfrm>
            <a:off x="613152" y="263886"/>
            <a:ext cx="10969218" cy="773953"/>
          </a:xfrm>
          <a:prstGeom prst="rect">
            <a:avLst/>
          </a:prstGeom>
        </p:spPr>
        <p:txBody>
          <a:bodyPr lIns="0" tIns="0" rIns="0" bIns="0"/>
          <a:lstStyle>
            <a:lvl1pPr>
              <a:defRPr lang="en-US" sz="2699" b="1" kern="1200" spc="-25" dirty="0">
                <a:solidFill>
                  <a:schemeClr val="accent1"/>
                </a:solidFill>
                <a:latin typeface="Pfizer Tomorrow" panose="02010503040201060303" pitchFamily="2" charset="77"/>
                <a:ea typeface="+mj-ea"/>
                <a:cs typeface="+mj-cs"/>
              </a:defRPr>
            </a:lvl1pPr>
          </a:lstStyle>
          <a:p>
            <a:r>
              <a:rPr lang="en-US" dirty="0"/>
              <a:t>Headline Here</a:t>
            </a:r>
          </a:p>
        </p:txBody>
      </p:sp>
      <p:sp>
        <p:nvSpPr>
          <p:cNvPr id="4" name="Slide Number Placeholder 9">
            <a:extLst>
              <a:ext uri="{FF2B5EF4-FFF2-40B4-BE49-F238E27FC236}">
                <a16:creationId xmlns:a16="http://schemas.microsoft.com/office/drawing/2014/main" id="{39EE79CD-444A-6912-6170-D9C326E122C0}"/>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11277053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ght Blue">
    <p:bg>
      <p:bgPr>
        <a:solidFill>
          <a:schemeClr val="accent3">
            <a:alpha val="9889"/>
          </a:schemeClr>
        </a:solidFill>
        <a:effectLst/>
      </p:bgPr>
    </p:bg>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63F83EC1-F3BF-0067-4346-AC43A673D018}"/>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4" name="Slide Number Placeholder 9">
            <a:extLst>
              <a:ext uri="{FF2B5EF4-FFF2-40B4-BE49-F238E27FC236}">
                <a16:creationId xmlns:a16="http://schemas.microsoft.com/office/drawing/2014/main" id="{6585C3B7-544B-7380-4FD2-C630E68BDE34}"/>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9841585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ight Blue Contain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E91C0DC-D42D-5F9D-E977-4A2F7CFAA339}"/>
              </a:ext>
            </a:extLst>
          </p:cNvPr>
          <p:cNvSpPr/>
          <p:nvPr userDrawn="1"/>
        </p:nvSpPr>
        <p:spPr>
          <a:xfrm>
            <a:off x="610316" y="1620685"/>
            <a:ext cx="10967061" cy="4572000"/>
          </a:xfrm>
          <a:prstGeom prst="rect">
            <a:avLst/>
          </a:prstGeom>
          <a:solidFill>
            <a:schemeClr val="accent3">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a:latin typeface="Pfizer Tomorrow" panose="02010503040201060303" pitchFamily="50" charset="0"/>
            </a:endParaRPr>
          </a:p>
        </p:txBody>
      </p:sp>
      <p:sp>
        <p:nvSpPr>
          <p:cNvPr id="2" name="Title 6">
            <a:extLst>
              <a:ext uri="{FF2B5EF4-FFF2-40B4-BE49-F238E27FC236}">
                <a16:creationId xmlns:a16="http://schemas.microsoft.com/office/drawing/2014/main" id="{C6DD3AA1-1FFA-8899-C8F7-576DCA86A848}"/>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4" name="Slide Number Placeholder 9">
            <a:extLst>
              <a:ext uri="{FF2B5EF4-FFF2-40B4-BE49-F238E27FC236}">
                <a16:creationId xmlns:a16="http://schemas.microsoft.com/office/drawing/2014/main" id="{DB6C3852-B790-7158-BD7B-2CDF7B3348D0}"/>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20658308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 Container">
    <p:bg>
      <p:bgPr>
        <a:solidFill>
          <a:schemeClr val="accent3">
            <a:alpha val="20161"/>
          </a:schemeClr>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B4406B9-3701-B09A-7AFD-D4182E15E69E}"/>
              </a:ext>
            </a:extLst>
          </p:cNvPr>
          <p:cNvSpPr/>
          <p:nvPr userDrawn="1"/>
        </p:nvSpPr>
        <p:spPr>
          <a:xfrm>
            <a:off x="610316" y="1600200"/>
            <a:ext cx="10967061" cy="457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a:latin typeface="Pfizer Tomorrow" panose="02010503040201060303" pitchFamily="50" charset="0"/>
            </a:endParaRPr>
          </a:p>
        </p:txBody>
      </p:sp>
      <p:sp>
        <p:nvSpPr>
          <p:cNvPr id="5" name="Title 6">
            <a:extLst>
              <a:ext uri="{FF2B5EF4-FFF2-40B4-BE49-F238E27FC236}">
                <a16:creationId xmlns:a16="http://schemas.microsoft.com/office/drawing/2014/main" id="{FB9D2704-0C13-13DF-E650-9129D1CDE088}"/>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1" kern="1200" spc="-25" dirty="0">
                <a:solidFill>
                  <a:schemeClr val="accent1"/>
                </a:solidFill>
                <a:latin typeface="Pfizer Tomorrow" panose="02010503040201060303" pitchFamily="2" charset="77"/>
                <a:ea typeface="+mj-ea"/>
                <a:cs typeface="+mj-cs"/>
              </a:defRPr>
            </a:lvl1pPr>
          </a:lstStyle>
          <a:p>
            <a:r>
              <a:rPr lang="en-US"/>
              <a:t>Headline Here</a:t>
            </a:r>
          </a:p>
        </p:txBody>
      </p:sp>
      <p:sp>
        <p:nvSpPr>
          <p:cNvPr id="6" name="Slide Number Placeholder 9">
            <a:extLst>
              <a:ext uri="{FF2B5EF4-FFF2-40B4-BE49-F238E27FC236}">
                <a16:creationId xmlns:a16="http://schemas.microsoft.com/office/drawing/2014/main" id="{D628B922-60D3-5992-7A03-3A1578FF029C}"/>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30820156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plit Screen">
    <p:bg>
      <p:bgPr>
        <a:solidFill>
          <a:srgbClr val="0000CA"/>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DBE142A-FE90-87CE-D452-9E169568D348}"/>
              </a:ext>
            </a:extLst>
          </p:cNvPr>
          <p:cNvSpPr/>
          <p:nvPr userDrawn="1"/>
        </p:nvSpPr>
        <p:spPr>
          <a:xfrm>
            <a:off x="0" y="0"/>
            <a:ext cx="12191347"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a:latin typeface="Pfizer Tomorrow" panose="02010503040201060303" pitchFamily="50" charset="0"/>
            </a:endParaRPr>
          </a:p>
        </p:txBody>
      </p:sp>
      <p:sp>
        <p:nvSpPr>
          <p:cNvPr id="7" name="Title 6">
            <a:extLst>
              <a:ext uri="{FF2B5EF4-FFF2-40B4-BE49-F238E27FC236}">
                <a16:creationId xmlns:a16="http://schemas.microsoft.com/office/drawing/2014/main" id="{5962F5DA-ABFE-0E04-2881-4C1978BC87B4}"/>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1" kern="1200" spc="-25" dirty="0">
                <a:solidFill>
                  <a:schemeClr val="bg1"/>
                </a:solidFill>
                <a:latin typeface="Pfizer Tomorrow" panose="02010503040201060303" pitchFamily="2" charset="77"/>
                <a:ea typeface="+mj-ea"/>
                <a:cs typeface="+mj-cs"/>
              </a:defRPr>
            </a:lvl1pPr>
          </a:lstStyle>
          <a:p>
            <a:r>
              <a:rPr lang="en-US"/>
              <a:t>Headline Here</a:t>
            </a:r>
          </a:p>
        </p:txBody>
      </p:sp>
      <p:sp>
        <p:nvSpPr>
          <p:cNvPr id="11" name="Slide Number Placeholder 9">
            <a:extLst>
              <a:ext uri="{FF2B5EF4-FFF2-40B4-BE49-F238E27FC236}">
                <a16:creationId xmlns:a16="http://schemas.microsoft.com/office/drawing/2014/main" id="{CEBB50BF-1F2B-D121-0CFA-15525AF378A3}"/>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pic>
        <p:nvPicPr>
          <p:cNvPr id="3" name="Picture 2">
            <a:extLst>
              <a:ext uri="{FF2B5EF4-FFF2-40B4-BE49-F238E27FC236}">
                <a16:creationId xmlns:a16="http://schemas.microsoft.com/office/drawing/2014/main" id="{F43DD4E2-5831-5B04-9A85-91DDCFB06AE2}"/>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0800000">
            <a:off x="-5842" y="0"/>
            <a:ext cx="3773769" cy="6858000"/>
          </a:xfrm>
          <a:prstGeom prst="rect">
            <a:avLst/>
          </a:prstGeom>
        </p:spPr>
      </p:pic>
      <p:pic>
        <p:nvPicPr>
          <p:cNvPr id="4" name="Picture 3">
            <a:extLst>
              <a:ext uri="{FF2B5EF4-FFF2-40B4-BE49-F238E27FC236}">
                <a16:creationId xmlns:a16="http://schemas.microsoft.com/office/drawing/2014/main" id="{18E0B832-AC43-D095-729D-41BB2D55C294}"/>
              </a:ext>
            </a:extLst>
          </p:cNvPr>
          <p:cNvPicPr>
            <a:picLocks noChangeAspect="1"/>
          </p:cNvPicPr>
          <p:nvPr userDrawn="1"/>
        </p:nvPicPr>
        <p:blipFill>
          <a:blip r:embed="rId3"/>
          <a:stretch>
            <a:fillRect/>
          </a:stretch>
        </p:blipFill>
        <p:spPr>
          <a:xfrm>
            <a:off x="612281" y="6416125"/>
            <a:ext cx="728130" cy="297141"/>
          </a:xfrm>
          <a:prstGeom prst="rect">
            <a:avLst/>
          </a:prstGeom>
        </p:spPr>
      </p:pic>
    </p:spTree>
    <p:extLst>
      <p:ext uri="{BB962C8B-B14F-4D97-AF65-F5344CB8AC3E}">
        <p14:creationId xmlns:p14="http://schemas.microsoft.com/office/powerpoint/2010/main" val="3838657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16840" y="1035795"/>
            <a:ext cx="6164297" cy="2286000"/>
          </a:xfrm>
        </p:spPr>
        <p:txBody>
          <a:bodyPr anchor="b">
            <a:normAutofit/>
          </a:bodyPr>
          <a:lstStyle>
            <a:lvl1pPr>
              <a:defRPr sz="3600" b="0">
                <a:solidFill>
                  <a:srgbClr val="2683C6"/>
                </a:solidFill>
              </a:defRPr>
            </a:lvl1pPr>
          </a:lstStyle>
          <a:p>
            <a:r>
              <a:rPr lang="en-US"/>
              <a:t>Click to edit Master title style</a:t>
            </a:r>
          </a:p>
        </p:txBody>
      </p:sp>
      <p:sp>
        <p:nvSpPr>
          <p:cNvPr id="4" name="Text Placeholder 3"/>
          <p:cNvSpPr>
            <a:spLocks noGrp="1"/>
          </p:cNvSpPr>
          <p:nvPr>
            <p:ph type="body" sz="half" idx="2"/>
          </p:nvPr>
        </p:nvSpPr>
        <p:spPr>
          <a:xfrm>
            <a:off x="4516840" y="3367516"/>
            <a:ext cx="6164297" cy="1094128"/>
          </a:xfrm>
        </p:spPr>
        <p:txBody>
          <a:bodyPr lIns="91440" rIns="91440">
            <a:normAutofit/>
          </a:bodyPr>
          <a:lstStyle>
            <a:lvl1pPr marL="0" indent="0">
              <a:buNone/>
              <a:defRPr sz="1500">
                <a:solidFill>
                  <a:srgbClr val="2683C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638868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Text Placeholder 2">
            <a:extLst>
              <a:ext uri="{FF2B5EF4-FFF2-40B4-BE49-F238E27FC236}">
                <a16:creationId xmlns:a16="http://schemas.microsoft.com/office/drawing/2014/main" id="{4404F931-4B8C-E197-A56B-B15F07425301}"/>
              </a:ext>
            </a:extLst>
          </p:cNvPr>
          <p:cNvSpPr>
            <a:spLocks noGrp="1"/>
          </p:cNvSpPr>
          <p:nvPr>
            <p:ph type="body" sz="quarter" idx="16" hasCustomPrompt="1"/>
          </p:nvPr>
        </p:nvSpPr>
        <p:spPr bwMode="gray">
          <a:xfrm>
            <a:off x="1691345" y="6268777"/>
            <a:ext cx="9805437"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chemeClr val="tx1"/>
                </a:solidFill>
                <a:latin typeface="+mn-lt"/>
                <a:ea typeface="+mn-ea"/>
                <a:cs typeface="Arial" pitchFamily="34" charset="0"/>
              </a:defRPr>
            </a:lvl1pPr>
          </a:lstStyle>
          <a:p>
            <a:pPr lvl="0"/>
            <a:r>
              <a:rPr lang="en-US"/>
              <a:t>Click to edit source</a:t>
            </a:r>
          </a:p>
        </p:txBody>
      </p:sp>
    </p:spTree>
    <p:custDataLst>
      <p:tags r:id="rId1"/>
    </p:custDataLst>
    <p:extLst>
      <p:ext uri="{BB962C8B-B14F-4D97-AF65-F5344CB8AC3E}">
        <p14:creationId xmlns:p14="http://schemas.microsoft.com/office/powerpoint/2010/main" val="16037068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92637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with Image Light">
    <p:bg>
      <p:bgPr>
        <a:solidFill>
          <a:schemeClr val="bg1"/>
        </a:solidFill>
        <a:effectLst/>
      </p:bgPr>
    </p:bg>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77BB5660-0ACC-420C-FE42-E4567F70BFDC}"/>
              </a:ext>
            </a:extLst>
          </p:cNvPr>
          <p:cNvSpPr>
            <a:spLocks noGrp="1"/>
          </p:cNvSpPr>
          <p:nvPr>
            <p:ph type="pic" sz="quarter" idx="14"/>
          </p:nvPr>
        </p:nvSpPr>
        <p:spPr>
          <a:xfrm>
            <a:off x="0" y="0"/>
            <a:ext cx="12192000" cy="6858000"/>
          </a:xfrm>
          <a:prstGeom prst="rect">
            <a:avLst/>
          </a:prstGeom>
        </p:spPr>
        <p:txBody>
          <a:bodyPr/>
          <a:lstStyle>
            <a:lvl1pPr>
              <a:defRPr>
                <a:latin typeface="Pfizer Tomorrow" panose="02010503040201060303" pitchFamily="50" charset="0"/>
              </a:defRPr>
            </a:lvl1pPr>
          </a:lstStyle>
          <a:p>
            <a:endParaRPr lang="en-US"/>
          </a:p>
        </p:txBody>
      </p:sp>
      <p:sp>
        <p:nvSpPr>
          <p:cNvPr id="3" name="Title 6">
            <a:extLst>
              <a:ext uri="{FF2B5EF4-FFF2-40B4-BE49-F238E27FC236}">
                <a16:creationId xmlns:a16="http://schemas.microsoft.com/office/drawing/2014/main" id="{47779D81-C5B7-9D06-E85C-734849E79E8A}"/>
              </a:ext>
            </a:extLst>
          </p:cNvPr>
          <p:cNvSpPr>
            <a:spLocks noGrp="1"/>
          </p:cNvSpPr>
          <p:nvPr>
            <p:ph type="title" hasCustomPrompt="1"/>
          </p:nvPr>
        </p:nvSpPr>
        <p:spPr>
          <a:xfrm>
            <a:off x="535798" y="648878"/>
            <a:ext cx="9186800" cy="2436565"/>
          </a:xfrm>
          <a:prstGeom prst="rect">
            <a:avLst/>
          </a:prstGeom>
        </p:spPr>
        <p:txBody>
          <a:bodyPr/>
          <a:lstStyle>
            <a:lvl1pPr>
              <a:lnSpc>
                <a:spcPct val="80000"/>
              </a:lnSpc>
              <a:defRPr lang="en-US" sz="7200" b="1" kern="1200" spc="-25" dirty="0">
                <a:solidFill>
                  <a:srgbClr val="0000CA"/>
                </a:solidFill>
                <a:latin typeface="Pfizer Tomorrow" panose="02010503040201060303" pitchFamily="2" charset="77"/>
                <a:ea typeface="+mj-ea"/>
                <a:cs typeface="+mj-cs"/>
              </a:defRPr>
            </a:lvl1pPr>
          </a:lstStyle>
          <a:p>
            <a:r>
              <a:rPr lang="en-US"/>
              <a:t>Presentation Title</a:t>
            </a:r>
          </a:p>
        </p:txBody>
      </p:sp>
      <p:sp>
        <p:nvSpPr>
          <p:cNvPr id="4" name="Text Placeholder 10">
            <a:extLst>
              <a:ext uri="{FF2B5EF4-FFF2-40B4-BE49-F238E27FC236}">
                <a16:creationId xmlns:a16="http://schemas.microsoft.com/office/drawing/2014/main" id="{5CB0D16B-5D71-98DD-1BB3-47FCB31844C7}"/>
              </a:ext>
            </a:extLst>
          </p:cNvPr>
          <p:cNvSpPr>
            <a:spLocks noGrp="1"/>
          </p:cNvSpPr>
          <p:nvPr>
            <p:ph type="body" sz="quarter" idx="12" hasCustomPrompt="1"/>
          </p:nvPr>
        </p:nvSpPr>
        <p:spPr>
          <a:xfrm>
            <a:off x="558097" y="3226917"/>
            <a:ext cx="4871840" cy="1349296"/>
          </a:xfrm>
          <a:prstGeom prst="rect">
            <a:avLst/>
          </a:prstGeom>
        </p:spPr>
        <p:txBody>
          <a:bodyPr/>
          <a:lstStyle>
            <a:lvl1pPr marL="0" indent="0">
              <a:buNone/>
              <a:defRPr lang="en-US" sz="2800" b="0" i="0" kern="1200" spc="-50" dirty="0" smtClean="0">
                <a:solidFill>
                  <a:srgbClr val="0000CA"/>
                </a:solidFill>
                <a:latin typeface="Pfizer Tomorrow" panose="02010503040201060303" pitchFamily="50" charset="0"/>
                <a:ea typeface="+mn-ea"/>
                <a:cs typeface="+mn-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Subhead Here</a:t>
            </a:r>
          </a:p>
        </p:txBody>
      </p:sp>
      <p:pic>
        <p:nvPicPr>
          <p:cNvPr id="6" name="Picture 5">
            <a:extLst>
              <a:ext uri="{FF2B5EF4-FFF2-40B4-BE49-F238E27FC236}">
                <a16:creationId xmlns:a16="http://schemas.microsoft.com/office/drawing/2014/main" id="{13AFE22F-10FA-A661-4366-E3D8BAB6FBF3}"/>
              </a:ext>
            </a:extLst>
          </p:cNvPr>
          <p:cNvPicPr>
            <a:picLocks noChangeAspect="1"/>
          </p:cNvPicPr>
          <p:nvPr userDrawn="1"/>
        </p:nvPicPr>
        <p:blipFill>
          <a:blip r:embed="rId2"/>
          <a:stretch>
            <a:fillRect/>
          </a:stretch>
        </p:blipFill>
        <p:spPr>
          <a:xfrm>
            <a:off x="612280" y="5743501"/>
            <a:ext cx="1442647" cy="589788"/>
          </a:xfrm>
          <a:prstGeom prst="rect">
            <a:avLst/>
          </a:prstGeom>
        </p:spPr>
      </p:pic>
      <p:sp>
        <p:nvSpPr>
          <p:cNvPr id="10" name="Text Placeholder 10">
            <a:extLst>
              <a:ext uri="{FF2B5EF4-FFF2-40B4-BE49-F238E27FC236}">
                <a16:creationId xmlns:a16="http://schemas.microsoft.com/office/drawing/2014/main" id="{5D6DC092-5A6A-0FFD-0D66-DDFD4C086DBD}"/>
              </a:ext>
            </a:extLst>
          </p:cNvPr>
          <p:cNvSpPr>
            <a:spLocks noGrp="1"/>
          </p:cNvSpPr>
          <p:nvPr>
            <p:ph type="body" sz="quarter" idx="15" hasCustomPrompt="1"/>
          </p:nvPr>
        </p:nvSpPr>
        <p:spPr>
          <a:xfrm>
            <a:off x="6705157" y="5926783"/>
            <a:ext cx="4871840" cy="422078"/>
          </a:xfrm>
          <a:prstGeom prst="rect">
            <a:avLst/>
          </a:prstGeom>
        </p:spPr>
        <p:txBody>
          <a:bodyPr rIns="0"/>
          <a:lstStyle>
            <a:lvl1pPr marL="0" indent="0" algn="r">
              <a:buNone/>
              <a:defRPr lang="en-US" sz="2000" b="0" i="0" kern="1200" spc="-50" dirty="0" smtClean="0">
                <a:solidFill>
                  <a:schemeClr val="accent1"/>
                </a:solidFill>
                <a:latin typeface="Pfizer Tomorrow" panose="02010503040201060303" pitchFamily="50" charset="0"/>
                <a:ea typeface="+mn-ea"/>
                <a:cs typeface="+mn-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Date Here</a:t>
            </a:r>
          </a:p>
        </p:txBody>
      </p:sp>
    </p:spTree>
    <p:extLst>
      <p:ext uri="{BB962C8B-B14F-4D97-AF65-F5344CB8AC3E}">
        <p14:creationId xmlns:p14="http://schemas.microsoft.com/office/powerpoint/2010/main" val="1009407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C57ED62D-C7F7-EC4E-AE11-D4067E9581DD}"/>
              </a:ext>
            </a:extLst>
          </p:cNvPr>
          <p:cNvSpPr>
            <a:spLocks noGrp="1"/>
          </p:cNvSpPr>
          <p:nvPr>
            <p:ph type="ftr" sz="quarter" idx="10"/>
          </p:nvPr>
        </p:nvSpPr>
        <p:spPr/>
        <p:txBody>
          <a:bodyPr/>
          <a:lstStyle/>
          <a:p>
            <a:endParaRPr lang="en-US"/>
          </a:p>
        </p:txBody>
      </p:sp>
      <p:sp>
        <p:nvSpPr>
          <p:cNvPr id="7" name="Slide Number Placeholder 6">
            <a:extLst>
              <a:ext uri="{FF2B5EF4-FFF2-40B4-BE49-F238E27FC236}">
                <a16:creationId xmlns:a16="http://schemas.microsoft.com/office/drawing/2014/main" id="{6D3AD719-8ED9-B68E-A55B-F51CFDD439A1}"/>
              </a:ext>
            </a:extLst>
          </p:cNvPr>
          <p:cNvSpPr>
            <a:spLocks noGrp="1"/>
          </p:cNvSpPr>
          <p:nvPr>
            <p:ph type="sldNum" sz="quarter" idx="11"/>
          </p:nvPr>
        </p:nvSpPr>
        <p:spPr/>
        <p:txBody>
          <a:bodyPr/>
          <a:lstStyle/>
          <a:p>
            <a:fld id="{8C13A29A-185B-4182-9583-7B13F1AC164D}" type="slidenum">
              <a:rPr lang="en-US" smtClean="0"/>
              <a:pPr/>
              <a:t>‹#›</a:t>
            </a:fld>
            <a:endParaRPr lang="en-US"/>
          </a:p>
        </p:txBody>
      </p:sp>
      <p:sp>
        <p:nvSpPr>
          <p:cNvPr id="8" name="Text Placeholder 6">
            <a:extLst>
              <a:ext uri="{FF2B5EF4-FFF2-40B4-BE49-F238E27FC236}">
                <a16:creationId xmlns:a16="http://schemas.microsoft.com/office/drawing/2014/main" id="{F64E01BC-7F5B-BD7E-12A8-BB6E89DCFADC}"/>
              </a:ext>
            </a:extLst>
          </p:cNvPr>
          <p:cNvSpPr>
            <a:spLocks noGrp="1"/>
          </p:cNvSpPr>
          <p:nvPr>
            <p:ph type="body" sz="quarter" idx="13" hasCustomPrompt="1"/>
          </p:nvPr>
        </p:nvSpPr>
        <p:spPr>
          <a:xfrm>
            <a:off x="304800" y="6308725"/>
            <a:ext cx="10215880" cy="358775"/>
          </a:xfrm>
        </p:spPr>
        <p:txBody>
          <a:bodyPr anchor="b">
            <a:noAutofit/>
          </a:bodyPr>
          <a:lstStyle>
            <a:lvl1pPr marL="0" indent="0">
              <a:spcBef>
                <a:spcPts val="0"/>
              </a:spcBef>
              <a:buNone/>
              <a:defRPr sz="900">
                <a:solidFill>
                  <a:schemeClr val="tx1"/>
                </a:solidFill>
              </a:defRPr>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footnotes/references</a:t>
            </a:r>
          </a:p>
        </p:txBody>
      </p:sp>
      <p:sp>
        <p:nvSpPr>
          <p:cNvPr id="4" name="Title 3">
            <a:extLst>
              <a:ext uri="{FF2B5EF4-FFF2-40B4-BE49-F238E27FC236}">
                <a16:creationId xmlns:a16="http://schemas.microsoft.com/office/drawing/2014/main" id="{B2D751C3-EB04-C705-2B0F-D3A1BC77720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524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10E0822-7637-6DE1-1907-536559E0A7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1B7576F-27E8-E265-D710-954E7F81C3D7}"/>
              </a:ext>
            </a:extLst>
          </p:cNvPr>
          <p:cNvSpPr>
            <a:spLocks noGrp="1"/>
          </p:cNvSpPr>
          <p:nvPr>
            <p:ph type="ftr" sz="quarter" idx="10"/>
          </p:nvPr>
        </p:nvSpPr>
        <p:spPr/>
        <p:txBody>
          <a:bodyPr/>
          <a:lstStyle/>
          <a:p>
            <a:endParaRPr lang="en-US"/>
          </a:p>
        </p:txBody>
      </p:sp>
      <p:sp>
        <p:nvSpPr>
          <p:cNvPr id="8" name="Slide Number Placeholder 7">
            <a:extLst>
              <a:ext uri="{FF2B5EF4-FFF2-40B4-BE49-F238E27FC236}">
                <a16:creationId xmlns:a16="http://schemas.microsoft.com/office/drawing/2014/main" id="{99C5E4F6-A427-7D4A-DDB4-67ED47960064}"/>
              </a:ext>
            </a:extLst>
          </p:cNvPr>
          <p:cNvSpPr>
            <a:spLocks noGrp="1"/>
          </p:cNvSpPr>
          <p:nvPr>
            <p:ph type="sldNum" sz="quarter" idx="11"/>
          </p:nvPr>
        </p:nvSpPr>
        <p:spPr/>
        <p:txBody>
          <a:bodyPr/>
          <a:lstStyle/>
          <a:p>
            <a:fld id="{8C13A29A-185B-4182-9583-7B13F1AC164D}" type="slidenum">
              <a:rPr lang="en-US" smtClean="0"/>
              <a:pPr/>
              <a:t>‹#›</a:t>
            </a:fld>
            <a:endParaRPr lang="en-US"/>
          </a:p>
        </p:txBody>
      </p:sp>
      <p:sp>
        <p:nvSpPr>
          <p:cNvPr id="9" name="Text Placeholder 6">
            <a:extLst>
              <a:ext uri="{FF2B5EF4-FFF2-40B4-BE49-F238E27FC236}">
                <a16:creationId xmlns:a16="http://schemas.microsoft.com/office/drawing/2014/main" id="{A1E2E48B-9085-D9E4-FFA0-7514AE371E37}"/>
              </a:ext>
            </a:extLst>
          </p:cNvPr>
          <p:cNvSpPr>
            <a:spLocks noGrp="1"/>
          </p:cNvSpPr>
          <p:nvPr>
            <p:ph type="body" sz="quarter" idx="13" hasCustomPrompt="1"/>
          </p:nvPr>
        </p:nvSpPr>
        <p:spPr>
          <a:xfrm>
            <a:off x="304800" y="6308725"/>
            <a:ext cx="10215880" cy="358775"/>
          </a:xfrm>
        </p:spPr>
        <p:txBody>
          <a:bodyPr anchor="b">
            <a:noAutofit/>
          </a:bodyPr>
          <a:lstStyle>
            <a:lvl1pPr marL="0" indent="0">
              <a:spcBef>
                <a:spcPts val="0"/>
              </a:spcBef>
              <a:buNone/>
              <a:defRPr sz="900">
                <a:solidFill>
                  <a:schemeClr val="tx1"/>
                </a:solidFill>
              </a:defRPr>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footnotes/references</a:t>
            </a:r>
          </a:p>
        </p:txBody>
      </p:sp>
      <p:sp>
        <p:nvSpPr>
          <p:cNvPr id="4" name="Title 3">
            <a:extLst>
              <a:ext uri="{FF2B5EF4-FFF2-40B4-BE49-F238E27FC236}">
                <a16:creationId xmlns:a16="http://schemas.microsoft.com/office/drawing/2014/main" id="{F898F34A-ECCB-AFCA-64E0-EB6A6D1AC2B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0140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extBox 1"/>
          <p:cNvSpPr txBox="1"/>
          <p:nvPr userDrawn="1"/>
        </p:nvSpPr>
        <p:spPr>
          <a:xfrm>
            <a:off x="203201" y="6477001"/>
            <a:ext cx="1148071" cy="246221"/>
          </a:xfrm>
          <a:prstGeom prst="rect">
            <a:avLst/>
          </a:prstGeom>
          <a:noFill/>
        </p:spPr>
        <p:txBody>
          <a:bodyPr wrap="none" rtlCol="0">
            <a:spAutoFit/>
          </a:bodyPr>
          <a:lstStyle/>
          <a:p>
            <a:r>
              <a:rPr lang="en-US" sz="1000" dirty="0"/>
              <a:t>Copyrights apply</a:t>
            </a:r>
          </a:p>
        </p:txBody>
      </p:sp>
    </p:spTree>
    <p:extLst>
      <p:ext uri="{BB962C8B-B14F-4D97-AF65-F5344CB8AC3E}">
        <p14:creationId xmlns:p14="http://schemas.microsoft.com/office/powerpoint/2010/main" val="7342795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8C83701-ECBC-6F24-8914-6693FF6F8785}"/>
              </a:ext>
            </a:extLst>
          </p:cNvPr>
          <p:cNvSpPr>
            <a:spLocks/>
          </p:cNvSpPr>
          <p:nvPr userDrawn="1"/>
        </p:nvSpPr>
        <p:spPr>
          <a:xfrm>
            <a:off x="1" y="3818333"/>
            <a:ext cx="12192000" cy="177800"/>
          </a:xfrm>
          <a:prstGeom prst="rect">
            <a:avLst/>
          </a:prstGeom>
          <a:solidFill>
            <a:schemeClr val="accent1">
              <a:lumMod val="75000"/>
              <a:alpha val="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B7E43BE8-5E7B-297B-39AE-22E979C1E4C0}"/>
              </a:ext>
            </a:extLst>
          </p:cNvPr>
          <p:cNvSpPr>
            <a:spLocks/>
          </p:cNvSpPr>
          <p:nvPr userDrawn="1"/>
        </p:nvSpPr>
        <p:spPr>
          <a:xfrm>
            <a:off x="7841828" y="3907234"/>
            <a:ext cx="4350173" cy="2056760"/>
          </a:xfrm>
          <a:custGeom>
            <a:avLst/>
            <a:gdLst>
              <a:gd name="connsiteX0" fmla="*/ 551107 w 4350173"/>
              <a:gd name="connsiteY0" fmla="*/ 0 h 2056760"/>
              <a:gd name="connsiteX1" fmla="*/ 4350173 w 4350173"/>
              <a:gd name="connsiteY1" fmla="*/ 0 h 2056760"/>
              <a:gd name="connsiteX2" fmla="*/ 4350173 w 4350173"/>
              <a:gd name="connsiteY2" fmla="*/ 2056760 h 2056760"/>
              <a:gd name="connsiteX3" fmla="*/ 0 w 4350173"/>
              <a:gd name="connsiteY3" fmla="*/ 2056760 h 2056760"/>
            </a:gdLst>
            <a:ahLst/>
            <a:cxnLst>
              <a:cxn ang="0">
                <a:pos x="connsiteX0" y="connsiteY0"/>
              </a:cxn>
              <a:cxn ang="0">
                <a:pos x="connsiteX1" y="connsiteY1"/>
              </a:cxn>
              <a:cxn ang="0">
                <a:pos x="connsiteX2" y="connsiteY2"/>
              </a:cxn>
              <a:cxn ang="0">
                <a:pos x="connsiteX3" y="connsiteY3"/>
              </a:cxn>
            </a:cxnLst>
            <a:rect l="l" t="t" r="r" b="b"/>
            <a:pathLst>
              <a:path w="4350173" h="2056760">
                <a:moveTo>
                  <a:pt x="551107" y="0"/>
                </a:moveTo>
                <a:lnTo>
                  <a:pt x="4350173" y="0"/>
                </a:lnTo>
                <a:lnTo>
                  <a:pt x="4350173" y="2056760"/>
                </a:lnTo>
                <a:lnTo>
                  <a:pt x="0" y="2056760"/>
                </a:lnTo>
                <a:close/>
              </a:path>
            </a:pathLst>
          </a:custGeom>
          <a:gradFill flip="none" rotWithShape="1">
            <a:gsLst>
              <a:gs pos="0">
                <a:schemeClr val="accent1"/>
              </a:gs>
              <a:gs pos="100000">
                <a:schemeClr val="accent2"/>
              </a:gs>
            </a:gsLst>
            <a:lin ang="4200000" scaled="0"/>
            <a:tileRect/>
          </a:gradFill>
          <a:ln>
            <a:noFill/>
          </a:ln>
          <a:effectLst>
            <a:outerShdw blurRad="279400" dist="279400" dir="8400000" algn="bl"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Shape 8">
            <a:extLst>
              <a:ext uri="{FF2B5EF4-FFF2-40B4-BE49-F238E27FC236}">
                <a16:creationId xmlns:a16="http://schemas.microsoft.com/office/drawing/2014/main" id="{994F1178-80AC-EFB7-7095-7AB1ED60E83D}"/>
              </a:ext>
            </a:extLst>
          </p:cNvPr>
          <p:cNvSpPr>
            <a:spLocks/>
          </p:cNvSpPr>
          <p:nvPr userDrawn="1"/>
        </p:nvSpPr>
        <p:spPr>
          <a:xfrm flipH="1" flipV="1">
            <a:off x="0" y="1053966"/>
            <a:ext cx="9186333" cy="2853381"/>
          </a:xfrm>
          <a:custGeom>
            <a:avLst/>
            <a:gdLst>
              <a:gd name="connsiteX0" fmla="*/ 9186333 w 9186333"/>
              <a:gd name="connsiteY0" fmla="*/ 2853381 h 2853381"/>
              <a:gd name="connsiteX1" fmla="*/ 7687733 w 9186333"/>
              <a:gd name="connsiteY1" fmla="*/ 2853381 h 2853381"/>
              <a:gd name="connsiteX2" fmla="*/ 1498600 w 9186333"/>
              <a:gd name="connsiteY2" fmla="*/ 2853381 h 2853381"/>
              <a:gd name="connsiteX3" fmla="*/ 0 w 9186333"/>
              <a:gd name="connsiteY3" fmla="*/ 2853381 h 2853381"/>
              <a:gd name="connsiteX4" fmla="*/ 764560 w 9186333"/>
              <a:gd name="connsiteY4" fmla="*/ 0 h 2853381"/>
              <a:gd name="connsiteX5" fmla="*/ 2263161 w 9186333"/>
              <a:gd name="connsiteY5" fmla="*/ 0 h 2853381"/>
              <a:gd name="connsiteX6" fmla="*/ 7687733 w 9186333"/>
              <a:gd name="connsiteY6" fmla="*/ 0 h 2853381"/>
              <a:gd name="connsiteX7" fmla="*/ 9186333 w 9186333"/>
              <a:gd name="connsiteY7" fmla="*/ 0 h 2853381"/>
              <a:gd name="connsiteX0" fmla="*/ 9186333 w 9186333"/>
              <a:gd name="connsiteY0" fmla="*/ 2853381 h 2853381"/>
              <a:gd name="connsiteX1" fmla="*/ 7687733 w 9186333"/>
              <a:gd name="connsiteY1" fmla="*/ 2853381 h 2853381"/>
              <a:gd name="connsiteX2" fmla="*/ 0 w 9186333"/>
              <a:gd name="connsiteY2" fmla="*/ 2853381 h 2853381"/>
              <a:gd name="connsiteX3" fmla="*/ 764560 w 9186333"/>
              <a:gd name="connsiteY3" fmla="*/ 0 h 2853381"/>
              <a:gd name="connsiteX4" fmla="*/ 2263161 w 9186333"/>
              <a:gd name="connsiteY4" fmla="*/ 0 h 2853381"/>
              <a:gd name="connsiteX5" fmla="*/ 7687733 w 9186333"/>
              <a:gd name="connsiteY5" fmla="*/ 0 h 2853381"/>
              <a:gd name="connsiteX6" fmla="*/ 9186333 w 9186333"/>
              <a:gd name="connsiteY6" fmla="*/ 0 h 2853381"/>
              <a:gd name="connsiteX7" fmla="*/ 9186333 w 9186333"/>
              <a:gd name="connsiteY7" fmla="*/ 2853381 h 2853381"/>
              <a:gd name="connsiteX0" fmla="*/ 9186333 w 9186333"/>
              <a:gd name="connsiteY0" fmla="*/ 2853381 h 2853381"/>
              <a:gd name="connsiteX1" fmla="*/ 0 w 9186333"/>
              <a:gd name="connsiteY1" fmla="*/ 2853381 h 2853381"/>
              <a:gd name="connsiteX2" fmla="*/ 764560 w 9186333"/>
              <a:gd name="connsiteY2" fmla="*/ 0 h 2853381"/>
              <a:gd name="connsiteX3" fmla="*/ 2263161 w 9186333"/>
              <a:gd name="connsiteY3" fmla="*/ 0 h 2853381"/>
              <a:gd name="connsiteX4" fmla="*/ 7687733 w 9186333"/>
              <a:gd name="connsiteY4" fmla="*/ 0 h 2853381"/>
              <a:gd name="connsiteX5" fmla="*/ 9186333 w 9186333"/>
              <a:gd name="connsiteY5" fmla="*/ 0 h 2853381"/>
              <a:gd name="connsiteX6" fmla="*/ 9186333 w 9186333"/>
              <a:gd name="connsiteY6" fmla="*/ 2853381 h 2853381"/>
              <a:gd name="connsiteX0" fmla="*/ 9186333 w 9186333"/>
              <a:gd name="connsiteY0" fmla="*/ 2853381 h 2853381"/>
              <a:gd name="connsiteX1" fmla="*/ 0 w 9186333"/>
              <a:gd name="connsiteY1" fmla="*/ 2853381 h 2853381"/>
              <a:gd name="connsiteX2" fmla="*/ 764560 w 9186333"/>
              <a:gd name="connsiteY2" fmla="*/ 0 h 2853381"/>
              <a:gd name="connsiteX3" fmla="*/ 2263161 w 9186333"/>
              <a:gd name="connsiteY3" fmla="*/ 0 h 2853381"/>
              <a:gd name="connsiteX4" fmla="*/ 9186333 w 9186333"/>
              <a:gd name="connsiteY4" fmla="*/ 0 h 2853381"/>
              <a:gd name="connsiteX5" fmla="*/ 9186333 w 9186333"/>
              <a:gd name="connsiteY5" fmla="*/ 2853381 h 2853381"/>
              <a:gd name="connsiteX0" fmla="*/ 9186333 w 9186333"/>
              <a:gd name="connsiteY0" fmla="*/ 2853381 h 2853381"/>
              <a:gd name="connsiteX1" fmla="*/ 0 w 9186333"/>
              <a:gd name="connsiteY1" fmla="*/ 2853381 h 2853381"/>
              <a:gd name="connsiteX2" fmla="*/ 764560 w 9186333"/>
              <a:gd name="connsiteY2" fmla="*/ 0 h 2853381"/>
              <a:gd name="connsiteX3" fmla="*/ 9186333 w 9186333"/>
              <a:gd name="connsiteY3" fmla="*/ 0 h 2853381"/>
              <a:gd name="connsiteX4" fmla="*/ 9186333 w 9186333"/>
              <a:gd name="connsiteY4" fmla="*/ 2853381 h 2853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6333" h="2853381">
                <a:moveTo>
                  <a:pt x="9186333" y="2853381"/>
                </a:moveTo>
                <a:lnTo>
                  <a:pt x="0" y="2853381"/>
                </a:lnTo>
                <a:lnTo>
                  <a:pt x="764560" y="0"/>
                </a:lnTo>
                <a:lnTo>
                  <a:pt x="9186333" y="0"/>
                </a:lnTo>
                <a:lnTo>
                  <a:pt x="9186333" y="2853381"/>
                </a:lnTo>
                <a:close/>
              </a:path>
            </a:pathLst>
          </a:custGeom>
          <a:gradFill flip="none" rotWithShape="1">
            <a:gsLst>
              <a:gs pos="0">
                <a:schemeClr val="accent1"/>
              </a:gs>
              <a:gs pos="100000">
                <a:schemeClr val="accent2"/>
              </a:gs>
            </a:gsLst>
            <a:lin ang="13500000" scaled="1"/>
            <a:tileRect/>
          </a:gradFill>
          <a:ln>
            <a:noFill/>
          </a:ln>
          <a:effectLst>
            <a:outerShdw blurRad="279400" dist="279400" dir="19800000" algn="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Oval 9">
            <a:extLst>
              <a:ext uri="{FF2B5EF4-FFF2-40B4-BE49-F238E27FC236}">
                <a16:creationId xmlns:a16="http://schemas.microsoft.com/office/drawing/2014/main" id="{78D6FC03-AAEF-0CD7-63E1-7481640A0159}"/>
              </a:ext>
            </a:extLst>
          </p:cNvPr>
          <p:cNvSpPr>
            <a:spLocks/>
          </p:cNvSpPr>
          <p:nvPr userDrawn="1"/>
        </p:nvSpPr>
        <p:spPr>
          <a:xfrm>
            <a:off x="5996540" y="1587545"/>
            <a:ext cx="4716378" cy="4716378"/>
          </a:xfrm>
          <a:prstGeom prst="ellipse">
            <a:avLst/>
          </a:prstGeom>
          <a:gradFill flip="none" rotWithShape="1">
            <a:gsLst>
              <a:gs pos="0">
                <a:schemeClr val="bg1">
                  <a:alpha val="95000"/>
                </a:schemeClr>
              </a:gs>
              <a:gs pos="36000">
                <a:schemeClr val="bg1">
                  <a:alpha val="39000"/>
                </a:schemeClr>
              </a:gs>
              <a:gs pos="89000">
                <a:schemeClr val="bg1">
                  <a:alpha val="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7FF8AB7-989A-1095-934E-09C0BB98B237}"/>
              </a:ext>
            </a:extLst>
          </p:cNvPr>
          <p:cNvSpPr>
            <a:spLocks noGrp="1"/>
          </p:cNvSpPr>
          <p:nvPr>
            <p:ph type="ctrTitle"/>
          </p:nvPr>
        </p:nvSpPr>
        <p:spPr>
          <a:xfrm>
            <a:off x="381000" y="1400693"/>
            <a:ext cx="7973728" cy="2387600"/>
          </a:xfrm>
        </p:spPr>
        <p:txBody>
          <a:bodyPr anchor="ctr"/>
          <a:lstStyle>
            <a:lvl1pPr algn="l">
              <a:defRPr sz="4000"/>
            </a:lvl1pPr>
          </a:lstStyle>
          <a:p>
            <a:r>
              <a:rPr lang="en-US"/>
              <a:t>Click to edit Master title style</a:t>
            </a:r>
          </a:p>
        </p:txBody>
      </p:sp>
      <p:sp>
        <p:nvSpPr>
          <p:cNvPr id="3" name="Subtitle 2">
            <a:extLst>
              <a:ext uri="{FF2B5EF4-FFF2-40B4-BE49-F238E27FC236}">
                <a16:creationId xmlns:a16="http://schemas.microsoft.com/office/drawing/2014/main" id="{0974EBAA-70BF-5AFD-3A47-6017C6E0BC28}"/>
              </a:ext>
            </a:extLst>
          </p:cNvPr>
          <p:cNvSpPr>
            <a:spLocks noGrp="1"/>
          </p:cNvSpPr>
          <p:nvPr>
            <p:ph type="subTitle" idx="1"/>
          </p:nvPr>
        </p:nvSpPr>
        <p:spPr>
          <a:xfrm>
            <a:off x="381000" y="4226878"/>
            <a:ext cx="7973728" cy="1655762"/>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7F966D-82FA-FA1B-6F78-8DFC8169546C}"/>
              </a:ext>
            </a:extLst>
          </p:cNvPr>
          <p:cNvSpPr>
            <a:spLocks noGrp="1"/>
          </p:cNvSpPr>
          <p:nvPr>
            <p:ph type="dt" sz="half" idx="10"/>
          </p:nvPr>
        </p:nvSpPr>
        <p:spPr/>
        <p:txBody>
          <a:bodyPr/>
          <a:lstStyle/>
          <a:p>
            <a:fld id="{E8CFD631-56A8-448A-A144-CDFF14947FB2}" type="datetime1">
              <a:rPr lang="en-US" smtClean="0"/>
              <a:pPr/>
              <a:t>10/18/2025</a:t>
            </a:fld>
            <a:endParaRPr lang="en-US"/>
          </a:p>
        </p:txBody>
      </p:sp>
      <p:sp>
        <p:nvSpPr>
          <p:cNvPr id="5" name="Footer Placeholder 4">
            <a:extLst>
              <a:ext uri="{FF2B5EF4-FFF2-40B4-BE49-F238E27FC236}">
                <a16:creationId xmlns:a16="http://schemas.microsoft.com/office/drawing/2014/main" id="{B8CB62FC-F018-18EF-E4D8-DB424479DC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0E2452-4521-109C-EDF2-83C5E196D2BB}"/>
              </a:ext>
            </a:extLst>
          </p:cNvPr>
          <p:cNvSpPr>
            <a:spLocks noGrp="1"/>
          </p:cNvSpPr>
          <p:nvPr>
            <p:ph type="sldNum" sz="quarter" idx="12"/>
          </p:nvPr>
        </p:nvSpPr>
        <p:spPr/>
        <p:txBody>
          <a:bodyPr/>
          <a:lstStyle/>
          <a:p>
            <a:fld id="{03074DEF-F175-4420-8EE3-137377F9872B}" type="slidenum">
              <a:rPr lang="en-US" smtClean="0"/>
              <a:pPr/>
              <a:t>‹#›</a:t>
            </a:fld>
            <a:endParaRPr lang="en-US"/>
          </a:p>
        </p:txBody>
      </p:sp>
    </p:spTree>
    <p:extLst>
      <p:ext uri="{BB962C8B-B14F-4D97-AF65-F5344CB8AC3E}">
        <p14:creationId xmlns:p14="http://schemas.microsoft.com/office/powerpoint/2010/main" val="2790759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472">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37F59-A4E4-55BD-BE82-E2EDECCBF9B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9EBCD1-DF17-BF50-B242-57BD2163094A}"/>
              </a:ext>
            </a:extLst>
          </p:cNvPr>
          <p:cNvSpPr>
            <a:spLocks noGrp="1"/>
          </p:cNvSpPr>
          <p:nvPr>
            <p:ph type="dt" sz="half" idx="10"/>
          </p:nvPr>
        </p:nvSpPr>
        <p:spPr/>
        <p:txBody>
          <a:bodyPr/>
          <a:lstStyle/>
          <a:p>
            <a:fld id="{6C2CE011-D0B7-48A7-A891-C7381A045998}" type="datetime1">
              <a:rPr lang="en-US" smtClean="0"/>
              <a:pPr/>
              <a:t>10/18/2025</a:t>
            </a:fld>
            <a:endParaRPr lang="en-US"/>
          </a:p>
        </p:txBody>
      </p:sp>
      <p:sp>
        <p:nvSpPr>
          <p:cNvPr id="4" name="Footer Placeholder 3">
            <a:extLst>
              <a:ext uri="{FF2B5EF4-FFF2-40B4-BE49-F238E27FC236}">
                <a16:creationId xmlns:a16="http://schemas.microsoft.com/office/drawing/2014/main" id="{AE7B4B90-A0EB-120B-2B71-B3A6A59CAB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22F0FC-B71C-5587-F79F-2BA34C7977A1}"/>
              </a:ext>
            </a:extLst>
          </p:cNvPr>
          <p:cNvSpPr>
            <a:spLocks noGrp="1"/>
          </p:cNvSpPr>
          <p:nvPr>
            <p:ph type="sldNum" sz="quarter" idx="12"/>
          </p:nvPr>
        </p:nvSpPr>
        <p:spPr/>
        <p:txBody>
          <a:bodyPr/>
          <a:lstStyle/>
          <a:p>
            <a:fld id="{03074DEF-F175-4420-8EE3-137377F9872B}" type="slidenum">
              <a:rPr lang="en-US" smtClean="0"/>
              <a:pPr/>
              <a:t>‹#›</a:t>
            </a:fld>
            <a:endParaRPr lang="en-US"/>
          </a:p>
        </p:txBody>
      </p:sp>
      <p:sp>
        <p:nvSpPr>
          <p:cNvPr id="7" name="Text Placeholder 6">
            <a:extLst>
              <a:ext uri="{FF2B5EF4-FFF2-40B4-BE49-F238E27FC236}">
                <a16:creationId xmlns:a16="http://schemas.microsoft.com/office/drawing/2014/main" id="{242686C1-9200-3AAE-7306-7A2A536125B4}"/>
              </a:ext>
            </a:extLst>
          </p:cNvPr>
          <p:cNvSpPr>
            <a:spLocks noGrp="1"/>
          </p:cNvSpPr>
          <p:nvPr>
            <p:ph type="body" sz="quarter" idx="13"/>
          </p:nvPr>
        </p:nvSpPr>
        <p:spPr>
          <a:xfrm>
            <a:off x="381000" y="6384925"/>
            <a:ext cx="114300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020092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E5385-65F5-32A8-9648-A6E22326C1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A4EEF1E-860F-CCD3-D589-B421B84AE88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EF29AE-E09F-6F50-F777-37C86AC98584}"/>
              </a:ext>
            </a:extLst>
          </p:cNvPr>
          <p:cNvSpPr>
            <a:spLocks noGrp="1"/>
          </p:cNvSpPr>
          <p:nvPr>
            <p:ph type="dt" sz="half" idx="10"/>
          </p:nvPr>
        </p:nvSpPr>
        <p:spPr/>
        <p:txBody>
          <a:bodyPr/>
          <a:lstStyle/>
          <a:p>
            <a:fld id="{D9522FB2-4F66-4279-9699-BC2409D95B04}" type="datetime1">
              <a:rPr lang="en-US" smtClean="0"/>
              <a:pPr/>
              <a:t>10/18/2025</a:t>
            </a:fld>
            <a:endParaRPr lang="en-US"/>
          </a:p>
        </p:txBody>
      </p:sp>
      <p:sp>
        <p:nvSpPr>
          <p:cNvPr id="5" name="Footer Placeholder 4">
            <a:extLst>
              <a:ext uri="{FF2B5EF4-FFF2-40B4-BE49-F238E27FC236}">
                <a16:creationId xmlns:a16="http://schemas.microsoft.com/office/drawing/2014/main" id="{28DA5D3B-BC9D-2C44-4C65-34577F542D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2A7316-B25D-D73A-107D-5C1E89A1FAC8}"/>
              </a:ext>
            </a:extLst>
          </p:cNvPr>
          <p:cNvSpPr>
            <a:spLocks noGrp="1"/>
          </p:cNvSpPr>
          <p:nvPr>
            <p:ph type="sldNum" sz="quarter" idx="12"/>
          </p:nvPr>
        </p:nvSpPr>
        <p:spPr/>
        <p:txBody>
          <a:bodyPr/>
          <a:lstStyle/>
          <a:p>
            <a:fld id="{03074DEF-F175-4420-8EE3-137377F9872B}" type="slidenum">
              <a:rPr lang="en-US" smtClean="0"/>
              <a:pPr/>
              <a:t>‹#›</a:t>
            </a:fld>
            <a:endParaRPr lang="en-US"/>
          </a:p>
        </p:txBody>
      </p:sp>
      <p:sp>
        <p:nvSpPr>
          <p:cNvPr id="7" name="Text Placeholder 6">
            <a:extLst>
              <a:ext uri="{FF2B5EF4-FFF2-40B4-BE49-F238E27FC236}">
                <a16:creationId xmlns:a16="http://schemas.microsoft.com/office/drawing/2014/main" id="{1E522CB2-9EF0-FE9D-7CA8-B5F62B77AA99}"/>
              </a:ext>
            </a:extLst>
          </p:cNvPr>
          <p:cNvSpPr>
            <a:spLocks noGrp="1"/>
          </p:cNvSpPr>
          <p:nvPr>
            <p:ph type="body" sz="quarter" idx="13"/>
          </p:nvPr>
        </p:nvSpPr>
        <p:spPr>
          <a:xfrm>
            <a:off x="381000" y="6384925"/>
            <a:ext cx="114300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996425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Presentation Title Whit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53931F2-C551-2AD4-7B6A-9581E89422C7}"/>
              </a:ext>
            </a:extLst>
          </p:cNvPr>
          <p:cNvPicPr>
            <a:picLocks noChangeAspect="1"/>
          </p:cNvPicPr>
          <p:nvPr userDrawn="1"/>
        </p:nvPicPr>
        <p:blipFill>
          <a:blip r:embed="rId2"/>
          <a:stretch>
            <a:fillRect/>
          </a:stretch>
        </p:blipFill>
        <p:spPr>
          <a:xfrm>
            <a:off x="612280" y="5743501"/>
            <a:ext cx="1442647" cy="589788"/>
          </a:xfrm>
          <a:prstGeom prst="rect">
            <a:avLst/>
          </a:prstGeom>
        </p:spPr>
      </p:pic>
      <p:sp>
        <p:nvSpPr>
          <p:cNvPr id="2" name="Title 6">
            <a:extLst>
              <a:ext uri="{FF2B5EF4-FFF2-40B4-BE49-F238E27FC236}">
                <a16:creationId xmlns:a16="http://schemas.microsoft.com/office/drawing/2014/main" id="{F8EAB0D2-5E3C-D715-5795-DDDA0402A071}"/>
              </a:ext>
            </a:extLst>
          </p:cNvPr>
          <p:cNvSpPr>
            <a:spLocks noGrp="1"/>
          </p:cNvSpPr>
          <p:nvPr>
            <p:ph type="title" hasCustomPrompt="1"/>
          </p:nvPr>
        </p:nvSpPr>
        <p:spPr>
          <a:xfrm>
            <a:off x="535798" y="648878"/>
            <a:ext cx="9186800" cy="2436565"/>
          </a:xfrm>
          <a:prstGeom prst="rect">
            <a:avLst/>
          </a:prstGeom>
        </p:spPr>
        <p:txBody>
          <a:bodyPr/>
          <a:lstStyle>
            <a:lvl1pPr>
              <a:lnSpc>
                <a:spcPct val="80000"/>
              </a:lnSpc>
              <a:defRPr lang="en-US" sz="7200" b="1" kern="1200" spc="-25" dirty="0">
                <a:solidFill>
                  <a:srgbClr val="0000CA"/>
                </a:solidFill>
                <a:latin typeface="Pfizer Tomorrow" panose="02010503040201060303" pitchFamily="2" charset="77"/>
                <a:ea typeface="+mj-ea"/>
                <a:cs typeface="+mj-cs"/>
              </a:defRPr>
            </a:lvl1pPr>
          </a:lstStyle>
          <a:p>
            <a:r>
              <a:rPr lang="en-US"/>
              <a:t>Presentation Title</a:t>
            </a:r>
          </a:p>
        </p:txBody>
      </p:sp>
      <p:sp>
        <p:nvSpPr>
          <p:cNvPr id="4" name="Text Placeholder 10">
            <a:extLst>
              <a:ext uri="{FF2B5EF4-FFF2-40B4-BE49-F238E27FC236}">
                <a16:creationId xmlns:a16="http://schemas.microsoft.com/office/drawing/2014/main" id="{943D5313-585F-7759-4B50-E0558D95C82D}"/>
              </a:ext>
            </a:extLst>
          </p:cNvPr>
          <p:cNvSpPr>
            <a:spLocks noGrp="1"/>
          </p:cNvSpPr>
          <p:nvPr>
            <p:ph type="body" sz="quarter" idx="12" hasCustomPrompt="1"/>
          </p:nvPr>
        </p:nvSpPr>
        <p:spPr>
          <a:xfrm>
            <a:off x="558097" y="3226917"/>
            <a:ext cx="4871840" cy="1349296"/>
          </a:xfrm>
          <a:prstGeom prst="rect">
            <a:avLst/>
          </a:prstGeom>
        </p:spPr>
        <p:txBody>
          <a:bodyPr/>
          <a:lstStyle>
            <a:lvl1pPr marL="0" indent="0">
              <a:buNone/>
              <a:defRPr lang="en-US" sz="2800" b="0" i="0" kern="1200" spc="-50" dirty="0" smtClean="0">
                <a:solidFill>
                  <a:srgbClr val="0000CA"/>
                </a:solidFill>
                <a:latin typeface="Pfizer Tomorrow" panose="02010503040201060303" pitchFamily="50" charset="0"/>
                <a:ea typeface="+mn-ea"/>
                <a:cs typeface="+mn-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Subhead Here</a:t>
            </a:r>
          </a:p>
        </p:txBody>
      </p:sp>
      <p:sp>
        <p:nvSpPr>
          <p:cNvPr id="3" name="Text Placeholder 10">
            <a:extLst>
              <a:ext uri="{FF2B5EF4-FFF2-40B4-BE49-F238E27FC236}">
                <a16:creationId xmlns:a16="http://schemas.microsoft.com/office/drawing/2014/main" id="{2FFCB17E-B3FD-46AC-0E29-6AC8F8936B23}"/>
              </a:ext>
            </a:extLst>
          </p:cNvPr>
          <p:cNvSpPr>
            <a:spLocks noGrp="1"/>
          </p:cNvSpPr>
          <p:nvPr>
            <p:ph type="body" sz="quarter" idx="14" hasCustomPrompt="1"/>
          </p:nvPr>
        </p:nvSpPr>
        <p:spPr>
          <a:xfrm>
            <a:off x="6705157" y="5926783"/>
            <a:ext cx="4871840" cy="422078"/>
          </a:xfrm>
          <a:prstGeom prst="rect">
            <a:avLst/>
          </a:prstGeom>
        </p:spPr>
        <p:txBody>
          <a:bodyPr rIns="0"/>
          <a:lstStyle>
            <a:lvl1pPr marL="0" indent="0" algn="r">
              <a:buNone/>
              <a:defRPr lang="en-US" sz="2000" b="0" i="0" kern="1200" spc="-50" dirty="0" smtClean="0">
                <a:solidFill>
                  <a:schemeClr val="accent1"/>
                </a:solidFill>
                <a:latin typeface="Pfizer Tomorrow" panose="02010503040201060303" pitchFamily="50" charset="0"/>
                <a:ea typeface="+mn-ea"/>
                <a:cs typeface="+mn-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a:t>Date Here</a:t>
            </a:r>
          </a:p>
        </p:txBody>
      </p:sp>
    </p:spTree>
    <p:extLst>
      <p:ext uri="{BB962C8B-B14F-4D97-AF65-F5344CB8AC3E}">
        <p14:creationId xmlns:p14="http://schemas.microsoft.com/office/powerpoint/2010/main" val="20164358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37F59-A4E4-55BD-BE82-E2EDECCBF9B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9EBCD1-DF17-BF50-B242-57BD2163094A}"/>
              </a:ext>
            </a:extLst>
          </p:cNvPr>
          <p:cNvSpPr>
            <a:spLocks noGrp="1"/>
          </p:cNvSpPr>
          <p:nvPr>
            <p:ph type="dt" sz="half" idx="10"/>
          </p:nvPr>
        </p:nvSpPr>
        <p:spPr>
          <a:xfrm>
            <a:off x="10885488" y="6607175"/>
            <a:ext cx="849312" cy="107950"/>
          </a:xfrm>
          <a:prstGeom prst="rect">
            <a:avLst/>
          </a:prstGeom>
        </p:spPr>
        <p:txBody>
          <a:bodyPr/>
          <a:lstStyle/>
          <a:p>
            <a:fld id="{6C2CE011-D0B7-48A7-A891-C7381A045998}" type="datetime1">
              <a:rPr lang="en-US" smtClean="0"/>
              <a:t>10/18/2025</a:t>
            </a:fld>
            <a:endParaRPr lang="en-US"/>
          </a:p>
        </p:txBody>
      </p:sp>
      <p:sp>
        <p:nvSpPr>
          <p:cNvPr id="4" name="Footer Placeholder 3">
            <a:extLst>
              <a:ext uri="{FF2B5EF4-FFF2-40B4-BE49-F238E27FC236}">
                <a16:creationId xmlns:a16="http://schemas.microsoft.com/office/drawing/2014/main" id="{AE7B4B90-A0EB-120B-2B71-B3A6A59CAB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22F0FC-B71C-5587-F79F-2BA34C7977A1}"/>
              </a:ext>
            </a:extLst>
          </p:cNvPr>
          <p:cNvSpPr>
            <a:spLocks noGrp="1"/>
          </p:cNvSpPr>
          <p:nvPr>
            <p:ph type="sldNum" sz="quarter" idx="12"/>
          </p:nvPr>
        </p:nvSpPr>
        <p:spPr>
          <a:xfrm>
            <a:off x="11811000" y="6607175"/>
            <a:ext cx="332317" cy="107950"/>
          </a:xfrm>
          <a:prstGeom prst="rect">
            <a:avLst/>
          </a:prstGeom>
        </p:spPr>
        <p:txBody>
          <a:bodyPr/>
          <a:lstStyle/>
          <a:p>
            <a:fld id="{03074DEF-F175-4420-8EE3-137377F9872B}" type="slidenum">
              <a:rPr lang="en-US" smtClean="0"/>
              <a:t>‹#›</a:t>
            </a:fld>
            <a:endParaRPr lang="en-US"/>
          </a:p>
        </p:txBody>
      </p:sp>
      <p:sp>
        <p:nvSpPr>
          <p:cNvPr id="7" name="Text Placeholder 6">
            <a:extLst>
              <a:ext uri="{FF2B5EF4-FFF2-40B4-BE49-F238E27FC236}">
                <a16:creationId xmlns:a16="http://schemas.microsoft.com/office/drawing/2014/main" id="{242686C1-9200-3AAE-7306-7A2A536125B4}"/>
              </a:ext>
            </a:extLst>
          </p:cNvPr>
          <p:cNvSpPr>
            <a:spLocks noGrp="1"/>
          </p:cNvSpPr>
          <p:nvPr>
            <p:ph type="body" sz="quarter" idx="13"/>
          </p:nvPr>
        </p:nvSpPr>
        <p:spPr>
          <a:xfrm>
            <a:off x="381000" y="6384927"/>
            <a:ext cx="11430000" cy="358775"/>
          </a:xfrm>
        </p:spPr>
        <p:txBody>
          <a:bodyPr anchor="b">
            <a:noAutofit/>
          </a:bodyPr>
          <a:lstStyle>
            <a:lvl1pPr marL="0" indent="0">
              <a:spcBef>
                <a:spcPts val="0"/>
              </a:spcBef>
              <a:buNone/>
              <a:defRPr sz="675"/>
            </a:lvl1pPr>
            <a:lvl2pPr marL="384572" indent="0">
              <a:buNone/>
              <a:defRPr/>
            </a:lvl2pPr>
            <a:lvl3pPr marL="772716" indent="0">
              <a:buNone/>
              <a:defRPr/>
            </a:lvl3pPr>
            <a:lvl4pPr marL="1070372" indent="0">
              <a:buNone/>
              <a:defRPr/>
            </a:lvl4pPr>
            <a:lvl5pPr marL="1413272" indent="0">
              <a:buNone/>
              <a:defRPr/>
            </a:lvl5pPr>
          </a:lstStyle>
          <a:p>
            <a:pPr lvl="0"/>
            <a:r>
              <a:rPr lang="en-US"/>
              <a:t>Click to edit Master text styles</a:t>
            </a:r>
          </a:p>
        </p:txBody>
      </p:sp>
    </p:spTree>
    <p:extLst>
      <p:ext uri="{BB962C8B-B14F-4D97-AF65-F5344CB8AC3E}">
        <p14:creationId xmlns:p14="http://schemas.microsoft.com/office/powerpoint/2010/main" val="4203454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37F59-A4E4-55BD-BE82-E2EDECCBF9B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9EBCD1-DF17-BF50-B242-57BD2163094A}"/>
              </a:ext>
            </a:extLst>
          </p:cNvPr>
          <p:cNvSpPr>
            <a:spLocks noGrp="1"/>
          </p:cNvSpPr>
          <p:nvPr>
            <p:ph type="dt" sz="half" idx="10"/>
          </p:nvPr>
        </p:nvSpPr>
        <p:spPr>
          <a:xfrm>
            <a:off x="10885488" y="6607175"/>
            <a:ext cx="849312" cy="107950"/>
          </a:xfrm>
          <a:prstGeom prst="rect">
            <a:avLst/>
          </a:prstGeom>
        </p:spPr>
        <p:txBody>
          <a:bodyPr/>
          <a:lstStyle/>
          <a:p>
            <a:fld id="{6C2CE011-D0B7-48A7-A891-C7381A045998}" type="datetime1">
              <a:rPr lang="en-US" smtClean="0"/>
              <a:t>10/18/2025</a:t>
            </a:fld>
            <a:endParaRPr lang="en-US"/>
          </a:p>
        </p:txBody>
      </p:sp>
      <p:sp>
        <p:nvSpPr>
          <p:cNvPr id="4" name="Footer Placeholder 3">
            <a:extLst>
              <a:ext uri="{FF2B5EF4-FFF2-40B4-BE49-F238E27FC236}">
                <a16:creationId xmlns:a16="http://schemas.microsoft.com/office/drawing/2014/main" id="{AE7B4B90-A0EB-120B-2B71-B3A6A59CAB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22F0FC-B71C-5587-F79F-2BA34C7977A1}"/>
              </a:ext>
            </a:extLst>
          </p:cNvPr>
          <p:cNvSpPr>
            <a:spLocks noGrp="1"/>
          </p:cNvSpPr>
          <p:nvPr>
            <p:ph type="sldNum" sz="quarter" idx="12"/>
          </p:nvPr>
        </p:nvSpPr>
        <p:spPr>
          <a:xfrm>
            <a:off x="11811000" y="6607175"/>
            <a:ext cx="332317" cy="107950"/>
          </a:xfrm>
          <a:prstGeom prst="rect">
            <a:avLst/>
          </a:prstGeom>
        </p:spPr>
        <p:txBody>
          <a:bodyPr/>
          <a:lstStyle/>
          <a:p>
            <a:fld id="{03074DEF-F175-4420-8EE3-137377F9872B}" type="slidenum">
              <a:rPr lang="en-US" smtClean="0"/>
              <a:t>‹#›</a:t>
            </a:fld>
            <a:endParaRPr lang="en-US"/>
          </a:p>
        </p:txBody>
      </p:sp>
      <p:sp>
        <p:nvSpPr>
          <p:cNvPr id="7" name="Text Placeholder 6">
            <a:extLst>
              <a:ext uri="{FF2B5EF4-FFF2-40B4-BE49-F238E27FC236}">
                <a16:creationId xmlns:a16="http://schemas.microsoft.com/office/drawing/2014/main" id="{242686C1-9200-3AAE-7306-7A2A536125B4}"/>
              </a:ext>
            </a:extLst>
          </p:cNvPr>
          <p:cNvSpPr>
            <a:spLocks noGrp="1"/>
          </p:cNvSpPr>
          <p:nvPr>
            <p:ph type="body" sz="quarter" idx="13"/>
          </p:nvPr>
        </p:nvSpPr>
        <p:spPr>
          <a:xfrm>
            <a:off x="381000" y="6384927"/>
            <a:ext cx="11430000" cy="358775"/>
          </a:xfrm>
        </p:spPr>
        <p:txBody>
          <a:bodyPr anchor="b">
            <a:noAutofit/>
          </a:bodyPr>
          <a:lstStyle>
            <a:lvl1pPr marL="0" indent="0">
              <a:spcBef>
                <a:spcPts val="0"/>
              </a:spcBef>
              <a:buNone/>
              <a:defRPr sz="675"/>
            </a:lvl1pPr>
            <a:lvl2pPr marL="384572" indent="0">
              <a:buNone/>
              <a:defRPr/>
            </a:lvl2pPr>
            <a:lvl3pPr marL="772716" indent="0">
              <a:buNone/>
              <a:defRPr/>
            </a:lvl3pPr>
            <a:lvl4pPr marL="1070372" indent="0">
              <a:buNone/>
              <a:defRPr/>
            </a:lvl4pPr>
            <a:lvl5pPr marL="1413272" indent="0">
              <a:buNone/>
              <a:defRPr/>
            </a:lvl5pPr>
          </a:lstStyle>
          <a:p>
            <a:pPr lvl="0"/>
            <a:r>
              <a:rPr lang="en-US"/>
              <a:t>Click to edit Master text styles</a:t>
            </a:r>
          </a:p>
        </p:txBody>
      </p:sp>
    </p:spTree>
    <p:extLst>
      <p:ext uri="{BB962C8B-B14F-4D97-AF65-F5344CB8AC3E}">
        <p14:creationId xmlns:p14="http://schemas.microsoft.com/office/powerpoint/2010/main" val="3565315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37F59-A4E4-55BD-BE82-E2EDECCBF9B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9EBCD1-DF17-BF50-B242-57BD2163094A}"/>
              </a:ext>
            </a:extLst>
          </p:cNvPr>
          <p:cNvSpPr>
            <a:spLocks noGrp="1"/>
          </p:cNvSpPr>
          <p:nvPr>
            <p:ph type="dt" sz="half" idx="10"/>
          </p:nvPr>
        </p:nvSpPr>
        <p:spPr>
          <a:xfrm>
            <a:off x="10885488" y="6607175"/>
            <a:ext cx="849312" cy="107950"/>
          </a:xfrm>
          <a:prstGeom prst="rect">
            <a:avLst/>
          </a:prstGeom>
        </p:spPr>
        <p:txBody>
          <a:bodyPr/>
          <a:lstStyle/>
          <a:p>
            <a:fld id="{6C2CE011-D0B7-48A7-A891-C7381A045998}" type="datetime1">
              <a:rPr lang="en-US" smtClean="0"/>
              <a:t>10/18/2025</a:t>
            </a:fld>
            <a:endParaRPr lang="en-US"/>
          </a:p>
        </p:txBody>
      </p:sp>
      <p:sp>
        <p:nvSpPr>
          <p:cNvPr id="4" name="Footer Placeholder 3">
            <a:extLst>
              <a:ext uri="{FF2B5EF4-FFF2-40B4-BE49-F238E27FC236}">
                <a16:creationId xmlns:a16="http://schemas.microsoft.com/office/drawing/2014/main" id="{AE7B4B90-A0EB-120B-2B71-B3A6A59CAB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22F0FC-B71C-5587-F79F-2BA34C7977A1}"/>
              </a:ext>
            </a:extLst>
          </p:cNvPr>
          <p:cNvSpPr>
            <a:spLocks noGrp="1"/>
          </p:cNvSpPr>
          <p:nvPr>
            <p:ph type="sldNum" sz="quarter" idx="12"/>
          </p:nvPr>
        </p:nvSpPr>
        <p:spPr>
          <a:xfrm>
            <a:off x="11811000" y="6607175"/>
            <a:ext cx="332317" cy="107950"/>
          </a:xfrm>
          <a:prstGeom prst="rect">
            <a:avLst/>
          </a:prstGeom>
        </p:spPr>
        <p:txBody>
          <a:bodyPr/>
          <a:lstStyle/>
          <a:p>
            <a:fld id="{03074DEF-F175-4420-8EE3-137377F9872B}" type="slidenum">
              <a:rPr lang="en-US" smtClean="0"/>
              <a:t>‹#›</a:t>
            </a:fld>
            <a:endParaRPr lang="en-US"/>
          </a:p>
        </p:txBody>
      </p:sp>
      <p:sp>
        <p:nvSpPr>
          <p:cNvPr id="7" name="Text Placeholder 6">
            <a:extLst>
              <a:ext uri="{FF2B5EF4-FFF2-40B4-BE49-F238E27FC236}">
                <a16:creationId xmlns:a16="http://schemas.microsoft.com/office/drawing/2014/main" id="{242686C1-9200-3AAE-7306-7A2A536125B4}"/>
              </a:ext>
            </a:extLst>
          </p:cNvPr>
          <p:cNvSpPr>
            <a:spLocks noGrp="1"/>
          </p:cNvSpPr>
          <p:nvPr>
            <p:ph type="body" sz="quarter" idx="13"/>
          </p:nvPr>
        </p:nvSpPr>
        <p:spPr>
          <a:xfrm>
            <a:off x="381000" y="6384927"/>
            <a:ext cx="11430000" cy="358775"/>
          </a:xfrm>
        </p:spPr>
        <p:txBody>
          <a:bodyPr anchor="b">
            <a:noAutofit/>
          </a:bodyPr>
          <a:lstStyle>
            <a:lvl1pPr marL="0" indent="0">
              <a:spcBef>
                <a:spcPts val="0"/>
              </a:spcBef>
              <a:buNone/>
              <a:defRPr sz="675"/>
            </a:lvl1pPr>
            <a:lvl2pPr marL="384572" indent="0">
              <a:buNone/>
              <a:defRPr/>
            </a:lvl2pPr>
            <a:lvl3pPr marL="772716" indent="0">
              <a:buNone/>
              <a:defRPr/>
            </a:lvl3pPr>
            <a:lvl4pPr marL="1070372" indent="0">
              <a:buNone/>
              <a:defRPr/>
            </a:lvl4pPr>
            <a:lvl5pPr marL="1413272" indent="0">
              <a:buNone/>
              <a:defRPr/>
            </a:lvl5pPr>
          </a:lstStyle>
          <a:p>
            <a:pPr lvl="0"/>
            <a:r>
              <a:rPr lang="en-US"/>
              <a:t>Click to edit Master text styles</a:t>
            </a:r>
          </a:p>
        </p:txBody>
      </p:sp>
    </p:spTree>
    <p:extLst>
      <p:ext uri="{BB962C8B-B14F-4D97-AF65-F5344CB8AC3E}">
        <p14:creationId xmlns:p14="http://schemas.microsoft.com/office/powerpoint/2010/main" val="3093179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Başlık ve İçerik">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48970C5D-CFC0-E63A-BD37-6A52B6F8EB28}"/>
              </a:ext>
            </a:extLst>
          </p:cNvPr>
          <p:cNvSpPr>
            <a:spLocks noGrp="1"/>
          </p:cNvSpPr>
          <p:nvPr>
            <p:ph type="title"/>
          </p:nvPr>
        </p:nvSpPr>
        <p:spPr/>
        <p:txBody>
          <a:bodyPr/>
          <a:lstStyle/>
          <a:p>
            <a:r>
              <a:rPr lang="tr-TR"/>
              <a:t>Asıl başlık stilini düzenlemek için tıklayın</a:t>
            </a:r>
            <a:endParaRPr lang="en-US"/>
          </a:p>
        </p:txBody>
      </p:sp>
      <p:sp>
        <p:nvSpPr>
          <p:cNvPr id="3" name="İçerik Yer Tutucusu 2">
            <a:extLst>
              <a:ext uri="{FF2B5EF4-FFF2-40B4-BE49-F238E27FC236}">
                <a16:creationId xmlns:a16="http://schemas.microsoft.com/office/drawing/2014/main" id="{212C8309-E0BD-E4AD-ED1A-4032D1FAFF10}"/>
              </a:ext>
            </a:extLst>
          </p:cNvPr>
          <p:cNvSpPr>
            <a:spLocks noGrp="1"/>
          </p:cNvSpPr>
          <p:nvPr>
            <p:ph idx="1"/>
          </p:nvPr>
        </p:nvSpPr>
        <p:spPr/>
        <p:txBody>
          <a:bodyPr/>
          <a:lstStyle>
            <a:lvl1pPr>
              <a:defRPr>
                <a:latin typeface="Pfizer Tomorrow" panose="02010503040201060303" pitchFamily="50" charset="0"/>
              </a:defRPr>
            </a:lvl1pPr>
            <a:lvl2pPr>
              <a:defRPr>
                <a:latin typeface="Pfizer Tomorrow" panose="02010503040201060303" pitchFamily="50" charset="0"/>
              </a:defRPr>
            </a:lvl2pPr>
            <a:lvl3pPr>
              <a:defRPr>
                <a:latin typeface="Pfizer Tomorrow" panose="02010503040201060303" pitchFamily="50" charset="0"/>
              </a:defRPr>
            </a:lvl3pPr>
            <a:lvl4pPr>
              <a:defRPr>
                <a:latin typeface="Pfizer Tomorrow" panose="02010503040201060303" pitchFamily="50" charset="0"/>
              </a:defRPr>
            </a:lvl4pPr>
            <a:lvl5pPr>
              <a:defRPr>
                <a:latin typeface="Pfizer Tomorrow" panose="02010503040201060303" pitchFamily="50" charset="0"/>
              </a:defRPr>
            </a:lvl5pPr>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endParaRPr lang="en-US"/>
          </a:p>
        </p:txBody>
      </p:sp>
      <p:sp>
        <p:nvSpPr>
          <p:cNvPr id="4" name="Veri Yer Tutucusu 3">
            <a:extLst>
              <a:ext uri="{FF2B5EF4-FFF2-40B4-BE49-F238E27FC236}">
                <a16:creationId xmlns:a16="http://schemas.microsoft.com/office/drawing/2014/main" id="{5DBCC9A1-FC15-3322-F47F-C1769BB8EFC4}"/>
              </a:ext>
            </a:extLst>
          </p:cNvPr>
          <p:cNvSpPr>
            <a:spLocks noGrp="1"/>
          </p:cNvSpPr>
          <p:nvPr>
            <p:ph type="dt" sz="half" idx="10"/>
          </p:nvPr>
        </p:nvSpPr>
        <p:spPr/>
        <p:txBody>
          <a:bodyPr/>
          <a:lstStyle>
            <a:lvl1pPr>
              <a:defRPr>
                <a:latin typeface="Pfizer Tomorrow" panose="02010503040201060303" pitchFamily="50" charset="0"/>
              </a:defRPr>
            </a:lvl1pPr>
          </a:lstStyle>
          <a:p>
            <a:fld id="{A75644E4-9755-0545-B46E-B00E33BF3922}" type="datetimeFigureOut">
              <a:rPr lang="en-US" smtClean="0"/>
              <a:pPr/>
              <a:t>10/18/2025</a:t>
            </a:fld>
            <a:endParaRPr lang="en-US"/>
          </a:p>
        </p:txBody>
      </p:sp>
      <p:sp>
        <p:nvSpPr>
          <p:cNvPr id="5" name="Alt Bilgi Yer Tutucusu 4">
            <a:extLst>
              <a:ext uri="{FF2B5EF4-FFF2-40B4-BE49-F238E27FC236}">
                <a16:creationId xmlns:a16="http://schemas.microsoft.com/office/drawing/2014/main" id="{7AF1E49B-AA43-2A1F-3E34-5DC50BDEEDD0}"/>
              </a:ext>
            </a:extLst>
          </p:cNvPr>
          <p:cNvSpPr>
            <a:spLocks noGrp="1"/>
          </p:cNvSpPr>
          <p:nvPr>
            <p:ph type="ftr" sz="quarter" idx="11"/>
          </p:nvPr>
        </p:nvSpPr>
        <p:spPr/>
        <p:txBody>
          <a:bodyPr/>
          <a:lstStyle>
            <a:lvl1pPr>
              <a:defRPr>
                <a:latin typeface="Pfizer Tomorrow" panose="02010503040201060303" pitchFamily="50" charset="0"/>
              </a:defRPr>
            </a:lvl1pPr>
          </a:lstStyle>
          <a:p>
            <a:endParaRPr lang="en-US"/>
          </a:p>
        </p:txBody>
      </p:sp>
      <p:sp>
        <p:nvSpPr>
          <p:cNvPr id="6" name="Slayt Numarası Yer Tutucusu 5">
            <a:extLst>
              <a:ext uri="{FF2B5EF4-FFF2-40B4-BE49-F238E27FC236}">
                <a16:creationId xmlns:a16="http://schemas.microsoft.com/office/drawing/2014/main" id="{A1C28D70-CD64-FFAA-692B-C67F45BAB9AE}"/>
              </a:ext>
            </a:extLst>
          </p:cNvPr>
          <p:cNvSpPr>
            <a:spLocks noGrp="1"/>
          </p:cNvSpPr>
          <p:nvPr>
            <p:ph type="sldNum" sz="quarter" idx="12"/>
          </p:nvPr>
        </p:nvSpPr>
        <p:spPr/>
        <p:txBody>
          <a:bodyPr/>
          <a:lstStyle/>
          <a:p>
            <a:fld id="{60ECD919-25E8-374A-9ED0-988E2A329739}" type="slidenum">
              <a:rPr lang="en-US" smtClean="0"/>
              <a:t>‹#›</a:t>
            </a:fld>
            <a:endParaRPr lang="en-US"/>
          </a:p>
        </p:txBody>
      </p:sp>
    </p:spTree>
    <p:extLst>
      <p:ext uri="{BB962C8B-B14F-4D97-AF65-F5344CB8AC3E}">
        <p14:creationId xmlns:p14="http://schemas.microsoft.com/office/powerpoint/2010/main" val="16844666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37F59-A4E4-55BD-BE82-E2EDECCBF9B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9EBCD1-DF17-BF50-B242-57BD2163094A}"/>
              </a:ext>
            </a:extLst>
          </p:cNvPr>
          <p:cNvSpPr>
            <a:spLocks noGrp="1"/>
          </p:cNvSpPr>
          <p:nvPr>
            <p:ph type="dt" sz="half" idx="10"/>
          </p:nvPr>
        </p:nvSpPr>
        <p:spPr>
          <a:xfrm>
            <a:off x="10885488" y="6607175"/>
            <a:ext cx="849312" cy="107950"/>
          </a:xfrm>
          <a:prstGeom prst="rect">
            <a:avLst/>
          </a:prstGeom>
        </p:spPr>
        <p:txBody>
          <a:bodyPr/>
          <a:lstStyle/>
          <a:p>
            <a:fld id="{6C2CE011-D0B7-48A7-A891-C7381A045998}" type="datetime1">
              <a:rPr lang="en-US" smtClean="0"/>
              <a:t>10/18/2025</a:t>
            </a:fld>
            <a:endParaRPr lang="en-US"/>
          </a:p>
        </p:txBody>
      </p:sp>
      <p:sp>
        <p:nvSpPr>
          <p:cNvPr id="4" name="Footer Placeholder 3">
            <a:extLst>
              <a:ext uri="{FF2B5EF4-FFF2-40B4-BE49-F238E27FC236}">
                <a16:creationId xmlns:a16="http://schemas.microsoft.com/office/drawing/2014/main" id="{AE7B4B90-A0EB-120B-2B71-B3A6A59CAB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22F0FC-B71C-5587-F79F-2BA34C7977A1}"/>
              </a:ext>
            </a:extLst>
          </p:cNvPr>
          <p:cNvSpPr>
            <a:spLocks noGrp="1"/>
          </p:cNvSpPr>
          <p:nvPr>
            <p:ph type="sldNum" sz="quarter" idx="12"/>
          </p:nvPr>
        </p:nvSpPr>
        <p:spPr>
          <a:xfrm>
            <a:off x="11811000" y="6607175"/>
            <a:ext cx="332317" cy="107950"/>
          </a:xfrm>
          <a:prstGeom prst="rect">
            <a:avLst/>
          </a:prstGeom>
        </p:spPr>
        <p:txBody>
          <a:bodyPr/>
          <a:lstStyle/>
          <a:p>
            <a:fld id="{03074DEF-F175-4420-8EE3-137377F9872B}" type="slidenum">
              <a:rPr lang="en-US" smtClean="0"/>
              <a:t>‹#›</a:t>
            </a:fld>
            <a:endParaRPr lang="en-US"/>
          </a:p>
        </p:txBody>
      </p:sp>
      <p:sp>
        <p:nvSpPr>
          <p:cNvPr id="7" name="Text Placeholder 6">
            <a:extLst>
              <a:ext uri="{FF2B5EF4-FFF2-40B4-BE49-F238E27FC236}">
                <a16:creationId xmlns:a16="http://schemas.microsoft.com/office/drawing/2014/main" id="{242686C1-9200-3AAE-7306-7A2A536125B4}"/>
              </a:ext>
            </a:extLst>
          </p:cNvPr>
          <p:cNvSpPr>
            <a:spLocks noGrp="1"/>
          </p:cNvSpPr>
          <p:nvPr>
            <p:ph type="body" sz="quarter" idx="13"/>
          </p:nvPr>
        </p:nvSpPr>
        <p:spPr>
          <a:xfrm>
            <a:off x="381000" y="6384927"/>
            <a:ext cx="11430000" cy="358775"/>
          </a:xfrm>
        </p:spPr>
        <p:txBody>
          <a:bodyPr anchor="b">
            <a:noAutofit/>
          </a:bodyPr>
          <a:lstStyle>
            <a:lvl1pPr marL="0" indent="0">
              <a:spcBef>
                <a:spcPts val="0"/>
              </a:spcBef>
              <a:buNone/>
              <a:defRPr sz="675"/>
            </a:lvl1pPr>
            <a:lvl2pPr marL="384572" indent="0">
              <a:buNone/>
              <a:defRPr/>
            </a:lvl2pPr>
            <a:lvl3pPr marL="772716" indent="0">
              <a:buNone/>
              <a:defRPr/>
            </a:lvl3pPr>
            <a:lvl4pPr marL="1070372" indent="0">
              <a:buNone/>
              <a:defRPr/>
            </a:lvl4pPr>
            <a:lvl5pPr marL="1413272" indent="0">
              <a:buNone/>
              <a:defRPr/>
            </a:lvl5pPr>
          </a:lstStyle>
          <a:p>
            <a:pPr lvl="0"/>
            <a:r>
              <a:rPr lang="en-US"/>
              <a:t>Click to edit Master text styles</a:t>
            </a:r>
          </a:p>
        </p:txBody>
      </p:sp>
    </p:spTree>
    <p:extLst>
      <p:ext uri="{BB962C8B-B14F-4D97-AF65-F5344CB8AC3E}">
        <p14:creationId xmlns:p14="http://schemas.microsoft.com/office/powerpoint/2010/main" val="175499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_Summar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E50A0C1-4686-E4C1-7772-11779D228525}"/>
              </a:ext>
            </a:extLst>
          </p:cNvPr>
          <p:cNvSpPr/>
          <p:nvPr userDrawn="1"/>
        </p:nvSpPr>
        <p:spPr>
          <a:xfrm>
            <a:off x="1" y="1"/>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Parallelogram 8">
            <a:extLst>
              <a:ext uri="{FF2B5EF4-FFF2-40B4-BE49-F238E27FC236}">
                <a16:creationId xmlns:a16="http://schemas.microsoft.com/office/drawing/2014/main" id="{182A6E76-0567-CA20-696F-233EA1BFF73E}"/>
              </a:ext>
            </a:extLst>
          </p:cNvPr>
          <p:cNvSpPr/>
          <p:nvPr userDrawn="1"/>
        </p:nvSpPr>
        <p:spPr>
          <a:xfrm>
            <a:off x="93744" y="0"/>
            <a:ext cx="7285624" cy="6858000"/>
          </a:xfrm>
          <a:prstGeom prst="parallelogram">
            <a:avLst>
              <a:gd name="adj" fmla="val 27121"/>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C92A2C7F-67D6-210E-BBEA-482EB9C37BDF}"/>
              </a:ext>
            </a:extLst>
          </p:cNvPr>
          <p:cNvSpPr/>
          <p:nvPr userDrawn="1"/>
        </p:nvSpPr>
        <p:spPr>
          <a:xfrm>
            <a:off x="4906376" y="0"/>
            <a:ext cx="7285624" cy="6858000"/>
          </a:xfrm>
          <a:prstGeom prst="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B08B6F3F-FD25-8984-85F0-85754FA9D945}"/>
              </a:ext>
            </a:extLst>
          </p:cNvPr>
          <p:cNvSpPr/>
          <p:nvPr userDrawn="1"/>
        </p:nvSpPr>
        <p:spPr>
          <a:xfrm>
            <a:off x="-1" y="1118861"/>
            <a:ext cx="11445409" cy="85523"/>
          </a:xfrm>
          <a:prstGeom prst="rect">
            <a:avLst/>
          </a:prstGeom>
          <a:solidFill>
            <a:schemeClr val="accent1">
              <a:lumMod val="75000"/>
              <a:alpha val="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Freeform: Shape 9">
            <a:extLst>
              <a:ext uri="{FF2B5EF4-FFF2-40B4-BE49-F238E27FC236}">
                <a16:creationId xmlns:a16="http://schemas.microsoft.com/office/drawing/2014/main" id="{487BB815-1F3A-D51C-0A5A-90065F975D9D}"/>
              </a:ext>
            </a:extLst>
          </p:cNvPr>
          <p:cNvSpPr/>
          <p:nvPr userDrawn="1"/>
        </p:nvSpPr>
        <p:spPr>
          <a:xfrm flipH="1" flipV="1">
            <a:off x="2" y="118533"/>
            <a:ext cx="11730887" cy="1032538"/>
          </a:xfrm>
          <a:custGeom>
            <a:avLst/>
            <a:gdLst>
              <a:gd name="connsiteX0" fmla="*/ 11730887 w 11730887"/>
              <a:gd name="connsiteY0" fmla="*/ 1032538 h 1032538"/>
              <a:gd name="connsiteX1" fmla="*/ 11104355 w 11730887"/>
              <a:gd name="connsiteY1" fmla="*/ 1032538 h 1032538"/>
              <a:gd name="connsiteX2" fmla="*/ 3950744 w 11730887"/>
              <a:gd name="connsiteY2" fmla="*/ 1032538 h 1032538"/>
              <a:gd name="connsiteX3" fmla="*/ 3595232 w 11730887"/>
              <a:gd name="connsiteY3" fmla="*/ 1032538 h 1032538"/>
              <a:gd name="connsiteX4" fmla="*/ 3408453 w 11730887"/>
              <a:gd name="connsiteY4" fmla="*/ 1032538 h 1032538"/>
              <a:gd name="connsiteX5" fmla="*/ 3324212 w 11730887"/>
              <a:gd name="connsiteY5" fmla="*/ 1032538 h 1032538"/>
              <a:gd name="connsiteX6" fmla="*/ 2968700 w 11730887"/>
              <a:gd name="connsiteY6" fmla="*/ 1032538 h 1032538"/>
              <a:gd name="connsiteX7" fmla="*/ 2781921 w 11730887"/>
              <a:gd name="connsiteY7" fmla="*/ 1032538 h 1032538"/>
              <a:gd name="connsiteX8" fmla="*/ 1168823 w 11730887"/>
              <a:gd name="connsiteY8" fmla="*/ 1032538 h 1032538"/>
              <a:gd name="connsiteX9" fmla="*/ 626532 w 11730887"/>
              <a:gd name="connsiteY9" fmla="*/ 1032538 h 1032538"/>
              <a:gd name="connsiteX10" fmla="*/ 542291 w 11730887"/>
              <a:gd name="connsiteY10" fmla="*/ 1032538 h 1032538"/>
              <a:gd name="connsiteX11" fmla="*/ 0 w 11730887"/>
              <a:gd name="connsiteY11" fmla="*/ 1032538 h 1032538"/>
              <a:gd name="connsiteX12" fmla="*/ 276667 w 11730887"/>
              <a:gd name="connsiteY12" fmla="*/ 0 h 1032538"/>
              <a:gd name="connsiteX13" fmla="*/ 818959 w 11730887"/>
              <a:gd name="connsiteY13" fmla="*/ 0 h 1032538"/>
              <a:gd name="connsiteX14" fmla="*/ 903199 w 11730887"/>
              <a:gd name="connsiteY14" fmla="*/ 0 h 1032538"/>
              <a:gd name="connsiteX15" fmla="*/ 1445491 w 11730887"/>
              <a:gd name="connsiteY15" fmla="*/ 0 h 1032538"/>
              <a:gd name="connsiteX16" fmla="*/ 2781921 w 11730887"/>
              <a:gd name="connsiteY16" fmla="*/ 0 h 1032538"/>
              <a:gd name="connsiteX17" fmla="*/ 2968700 w 11730887"/>
              <a:gd name="connsiteY17" fmla="*/ 0 h 1032538"/>
              <a:gd name="connsiteX18" fmla="*/ 3324212 w 11730887"/>
              <a:gd name="connsiteY18" fmla="*/ 0 h 1032538"/>
              <a:gd name="connsiteX19" fmla="*/ 3408453 w 11730887"/>
              <a:gd name="connsiteY19" fmla="*/ 0 h 1032538"/>
              <a:gd name="connsiteX20" fmla="*/ 3595232 w 11730887"/>
              <a:gd name="connsiteY20" fmla="*/ 0 h 1032538"/>
              <a:gd name="connsiteX21" fmla="*/ 3950744 w 11730887"/>
              <a:gd name="connsiteY21" fmla="*/ 0 h 1032538"/>
              <a:gd name="connsiteX22" fmla="*/ 11104355 w 11730887"/>
              <a:gd name="connsiteY22" fmla="*/ 0 h 1032538"/>
              <a:gd name="connsiteX23" fmla="*/ 11730887 w 11730887"/>
              <a:gd name="connsiteY23" fmla="*/ 0 h 1032538"/>
              <a:gd name="connsiteX0" fmla="*/ 11730887 w 11730887"/>
              <a:gd name="connsiteY0" fmla="*/ 1032538 h 1032538"/>
              <a:gd name="connsiteX1" fmla="*/ 11104355 w 11730887"/>
              <a:gd name="connsiteY1" fmla="*/ 1032538 h 1032538"/>
              <a:gd name="connsiteX2" fmla="*/ 3950744 w 11730887"/>
              <a:gd name="connsiteY2" fmla="*/ 1032538 h 1032538"/>
              <a:gd name="connsiteX3" fmla="*/ 3595232 w 11730887"/>
              <a:gd name="connsiteY3" fmla="*/ 1032538 h 1032538"/>
              <a:gd name="connsiteX4" fmla="*/ 3408453 w 11730887"/>
              <a:gd name="connsiteY4" fmla="*/ 1032538 h 1032538"/>
              <a:gd name="connsiteX5" fmla="*/ 3324212 w 11730887"/>
              <a:gd name="connsiteY5" fmla="*/ 1032538 h 1032538"/>
              <a:gd name="connsiteX6" fmla="*/ 2968700 w 11730887"/>
              <a:gd name="connsiteY6" fmla="*/ 1032538 h 1032538"/>
              <a:gd name="connsiteX7" fmla="*/ 2781921 w 11730887"/>
              <a:gd name="connsiteY7" fmla="*/ 1032538 h 1032538"/>
              <a:gd name="connsiteX8" fmla="*/ 626532 w 11730887"/>
              <a:gd name="connsiteY8" fmla="*/ 1032538 h 1032538"/>
              <a:gd name="connsiteX9" fmla="*/ 542291 w 11730887"/>
              <a:gd name="connsiteY9" fmla="*/ 1032538 h 1032538"/>
              <a:gd name="connsiteX10" fmla="*/ 0 w 11730887"/>
              <a:gd name="connsiteY10" fmla="*/ 1032538 h 1032538"/>
              <a:gd name="connsiteX11" fmla="*/ 276667 w 11730887"/>
              <a:gd name="connsiteY11" fmla="*/ 0 h 1032538"/>
              <a:gd name="connsiteX12" fmla="*/ 818959 w 11730887"/>
              <a:gd name="connsiteY12" fmla="*/ 0 h 1032538"/>
              <a:gd name="connsiteX13" fmla="*/ 903199 w 11730887"/>
              <a:gd name="connsiteY13" fmla="*/ 0 h 1032538"/>
              <a:gd name="connsiteX14" fmla="*/ 1445491 w 11730887"/>
              <a:gd name="connsiteY14" fmla="*/ 0 h 1032538"/>
              <a:gd name="connsiteX15" fmla="*/ 2781921 w 11730887"/>
              <a:gd name="connsiteY15" fmla="*/ 0 h 1032538"/>
              <a:gd name="connsiteX16" fmla="*/ 2968700 w 11730887"/>
              <a:gd name="connsiteY16" fmla="*/ 0 h 1032538"/>
              <a:gd name="connsiteX17" fmla="*/ 3324212 w 11730887"/>
              <a:gd name="connsiteY17" fmla="*/ 0 h 1032538"/>
              <a:gd name="connsiteX18" fmla="*/ 3408453 w 11730887"/>
              <a:gd name="connsiteY18" fmla="*/ 0 h 1032538"/>
              <a:gd name="connsiteX19" fmla="*/ 3595232 w 11730887"/>
              <a:gd name="connsiteY19" fmla="*/ 0 h 1032538"/>
              <a:gd name="connsiteX20" fmla="*/ 3950744 w 11730887"/>
              <a:gd name="connsiteY20" fmla="*/ 0 h 1032538"/>
              <a:gd name="connsiteX21" fmla="*/ 11104355 w 11730887"/>
              <a:gd name="connsiteY21" fmla="*/ 0 h 1032538"/>
              <a:gd name="connsiteX22" fmla="*/ 11730887 w 11730887"/>
              <a:gd name="connsiteY22" fmla="*/ 0 h 1032538"/>
              <a:gd name="connsiteX23" fmla="*/ 11730887 w 11730887"/>
              <a:gd name="connsiteY23" fmla="*/ 1032538 h 1032538"/>
              <a:gd name="connsiteX0" fmla="*/ 11730887 w 11730887"/>
              <a:gd name="connsiteY0" fmla="*/ 1032538 h 1032538"/>
              <a:gd name="connsiteX1" fmla="*/ 11104355 w 11730887"/>
              <a:gd name="connsiteY1" fmla="*/ 1032538 h 1032538"/>
              <a:gd name="connsiteX2" fmla="*/ 3950744 w 11730887"/>
              <a:gd name="connsiteY2" fmla="*/ 1032538 h 1032538"/>
              <a:gd name="connsiteX3" fmla="*/ 3595232 w 11730887"/>
              <a:gd name="connsiteY3" fmla="*/ 1032538 h 1032538"/>
              <a:gd name="connsiteX4" fmla="*/ 3408453 w 11730887"/>
              <a:gd name="connsiteY4" fmla="*/ 1032538 h 1032538"/>
              <a:gd name="connsiteX5" fmla="*/ 3324212 w 11730887"/>
              <a:gd name="connsiteY5" fmla="*/ 1032538 h 1032538"/>
              <a:gd name="connsiteX6" fmla="*/ 2968700 w 11730887"/>
              <a:gd name="connsiteY6" fmla="*/ 1032538 h 1032538"/>
              <a:gd name="connsiteX7" fmla="*/ 2781921 w 11730887"/>
              <a:gd name="connsiteY7" fmla="*/ 1032538 h 1032538"/>
              <a:gd name="connsiteX8" fmla="*/ 542291 w 11730887"/>
              <a:gd name="connsiteY8" fmla="*/ 1032538 h 1032538"/>
              <a:gd name="connsiteX9" fmla="*/ 0 w 11730887"/>
              <a:gd name="connsiteY9" fmla="*/ 1032538 h 1032538"/>
              <a:gd name="connsiteX10" fmla="*/ 276667 w 11730887"/>
              <a:gd name="connsiteY10" fmla="*/ 0 h 1032538"/>
              <a:gd name="connsiteX11" fmla="*/ 818959 w 11730887"/>
              <a:gd name="connsiteY11" fmla="*/ 0 h 1032538"/>
              <a:gd name="connsiteX12" fmla="*/ 903199 w 11730887"/>
              <a:gd name="connsiteY12" fmla="*/ 0 h 1032538"/>
              <a:gd name="connsiteX13" fmla="*/ 1445491 w 11730887"/>
              <a:gd name="connsiteY13" fmla="*/ 0 h 1032538"/>
              <a:gd name="connsiteX14" fmla="*/ 2781921 w 11730887"/>
              <a:gd name="connsiteY14" fmla="*/ 0 h 1032538"/>
              <a:gd name="connsiteX15" fmla="*/ 2968700 w 11730887"/>
              <a:gd name="connsiteY15" fmla="*/ 0 h 1032538"/>
              <a:gd name="connsiteX16" fmla="*/ 3324212 w 11730887"/>
              <a:gd name="connsiteY16" fmla="*/ 0 h 1032538"/>
              <a:gd name="connsiteX17" fmla="*/ 3408453 w 11730887"/>
              <a:gd name="connsiteY17" fmla="*/ 0 h 1032538"/>
              <a:gd name="connsiteX18" fmla="*/ 3595232 w 11730887"/>
              <a:gd name="connsiteY18" fmla="*/ 0 h 1032538"/>
              <a:gd name="connsiteX19" fmla="*/ 3950744 w 11730887"/>
              <a:gd name="connsiteY19" fmla="*/ 0 h 1032538"/>
              <a:gd name="connsiteX20" fmla="*/ 11104355 w 11730887"/>
              <a:gd name="connsiteY20" fmla="*/ 0 h 1032538"/>
              <a:gd name="connsiteX21" fmla="*/ 11730887 w 11730887"/>
              <a:gd name="connsiteY21" fmla="*/ 0 h 1032538"/>
              <a:gd name="connsiteX22" fmla="*/ 11730887 w 11730887"/>
              <a:gd name="connsiteY22" fmla="*/ 1032538 h 1032538"/>
              <a:gd name="connsiteX0" fmla="*/ 11730887 w 11730887"/>
              <a:gd name="connsiteY0" fmla="*/ 1032538 h 1032538"/>
              <a:gd name="connsiteX1" fmla="*/ 11104355 w 11730887"/>
              <a:gd name="connsiteY1" fmla="*/ 1032538 h 1032538"/>
              <a:gd name="connsiteX2" fmla="*/ 3950744 w 11730887"/>
              <a:gd name="connsiteY2" fmla="*/ 1032538 h 1032538"/>
              <a:gd name="connsiteX3" fmla="*/ 3595232 w 11730887"/>
              <a:gd name="connsiteY3" fmla="*/ 1032538 h 1032538"/>
              <a:gd name="connsiteX4" fmla="*/ 3408453 w 11730887"/>
              <a:gd name="connsiteY4" fmla="*/ 1032538 h 1032538"/>
              <a:gd name="connsiteX5" fmla="*/ 3324212 w 11730887"/>
              <a:gd name="connsiteY5" fmla="*/ 1032538 h 1032538"/>
              <a:gd name="connsiteX6" fmla="*/ 2968700 w 11730887"/>
              <a:gd name="connsiteY6" fmla="*/ 1032538 h 1032538"/>
              <a:gd name="connsiteX7" fmla="*/ 2781921 w 11730887"/>
              <a:gd name="connsiteY7" fmla="*/ 1032538 h 1032538"/>
              <a:gd name="connsiteX8" fmla="*/ 0 w 11730887"/>
              <a:gd name="connsiteY8" fmla="*/ 1032538 h 1032538"/>
              <a:gd name="connsiteX9" fmla="*/ 276667 w 11730887"/>
              <a:gd name="connsiteY9" fmla="*/ 0 h 1032538"/>
              <a:gd name="connsiteX10" fmla="*/ 818959 w 11730887"/>
              <a:gd name="connsiteY10" fmla="*/ 0 h 1032538"/>
              <a:gd name="connsiteX11" fmla="*/ 903199 w 11730887"/>
              <a:gd name="connsiteY11" fmla="*/ 0 h 1032538"/>
              <a:gd name="connsiteX12" fmla="*/ 1445491 w 11730887"/>
              <a:gd name="connsiteY12" fmla="*/ 0 h 1032538"/>
              <a:gd name="connsiteX13" fmla="*/ 2781921 w 11730887"/>
              <a:gd name="connsiteY13" fmla="*/ 0 h 1032538"/>
              <a:gd name="connsiteX14" fmla="*/ 2968700 w 11730887"/>
              <a:gd name="connsiteY14" fmla="*/ 0 h 1032538"/>
              <a:gd name="connsiteX15" fmla="*/ 3324212 w 11730887"/>
              <a:gd name="connsiteY15" fmla="*/ 0 h 1032538"/>
              <a:gd name="connsiteX16" fmla="*/ 3408453 w 11730887"/>
              <a:gd name="connsiteY16" fmla="*/ 0 h 1032538"/>
              <a:gd name="connsiteX17" fmla="*/ 3595232 w 11730887"/>
              <a:gd name="connsiteY17" fmla="*/ 0 h 1032538"/>
              <a:gd name="connsiteX18" fmla="*/ 3950744 w 11730887"/>
              <a:gd name="connsiteY18" fmla="*/ 0 h 1032538"/>
              <a:gd name="connsiteX19" fmla="*/ 11104355 w 11730887"/>
              <a:gd name="connsiteY19" fmla="*/ 0 h 1032538"/>
              <a:gd name="connsiteX20" fmla="*/ 11730887 w 11730887"/>
              <a:gd name="connsiteY20" fmla="*/ 0 h 1032538"/>
              <a:gd name="connsiteX21" fmla="*/ 11730887 w 11730887"/>
              <a:gd name="connsiteY21" fmla="*/ 1032538 h 1032538"/>
              <a:gd name="connsiteX0" fmla="*/ 11730887 w 11730887"/>
              <a:gd name="connsiteY0" fmla="*/ 1032538 h 1032538"/>
              <a:gd name="connsiteX1" fmla="*/ 11104355 w 11730887"/>
              <a:gd name="connsiteY1" fmla="*/ 1032538 h 1032538"/>
              <a:gd name="connsiteX2" fmla="*/ 3950744 w 11730887"/>
              <a:gd name="connsiteY2" fmla="*/ 1032538 h 1032538"/>
              <a:gd name="connsiteX3" fmla="*/ 3595232 w 11730887"/>
              <a:gd name="connsiteY3" fmla="*/ 1032538 h 1032538"/>
              <a:gd name="connsiteX4" fmla="*/ 3408453 w 11730887"/>
              <a:gd name="connsiteY4" fmla="*/ 1032538 h 1032538"/>
              <a:gd name="connsiteX5" fmla="*/ 3324212 w 11730887"/>
              <a:gd name="connsiteY5" fmla="*/ 1032538 h 1032538"/>
              <a:gd name="connsiteX6" fmla="*/ 2968700 w 11730887"/>
              <a:gd name="connsiteY6" fmla="*/ 1032538 h 1032538"/>
              <a:gd name="connsiteX7" fmla="*/ 2781921 w 11730887"/>
              <a:gd name="connsiteY7" fmla="*/ 1032538 h 1032538"/>
              <a:gd name="connsiteX8" fmla="*/ 0 w 11730887"/>
              <a:gd name="connsiteY8" fmla="*/ 1032538 h 1032538"/>
              <a:gd name="connsiteX9" fmla="*/ 276667 w 11730887"/>
              <a:gd name="connsiteY9" fmla="*/ 0 h 1032538"/>
              <a:gd name="connsiteX10" fmla="*/ 818959 w 11730887"/>
              <a:gd name="connsiteY10" fmla="*/ 0 h 1032538"/>
              <a:gd name="connsiteX11" fmla="*/ 1445491 w 11730887"/>
              <a:gd name="connsiteY11" fmla="*/ 0 h 1032538"/>
              <a:gd name="connsiteX12" fmla="*/ 2781921 w 11730887"/>
              <a:gd name="connsiteY12" fmla="*/ 0 h 1032538"/>
              <a:gd name="connsiteX13" fmla="*/ 2968700 w 11730887"/>
              <a:gd name="connsiteY13" fmla="*/ 0 h 1032538"/>
              <a:gd name="connsiteX14" fmla="*/ 3324212 w 11730887"/>
              <a:gd name="connsiteY14" fmla="*/ 0 h 1032538"/>
              <a:gd name="connsiteX15" fmla="*/ 3408453 w 11730887"/>
              <a:gd name="connsiteY15" fmla="*/ 0 h 1032538"/>
              <a:gd name="connsiteX16" fmla="*/ 3595232 w 11730887"/>
              <a:gd name="connsiteY16" fmla="*/ 0 h 1032538"/>
              <a:gd name="connsiteX17" fmla="*/ 3950744 w 11730887"/>
              <a:gd name="connsiteY17" fmla="*/ 0 h 1032538"/>
              <a:gd name="connsiteX18" fmla="*/ 11104355 w 11730887"/>
              <a:gd name="connsiteY18" fmla="*/ 0 h 1032538"/>
              <a:gd name="connsiteX19" fmla="*/ 11730887 w 11730887"/>
              <a:gd name="connsiteY19" fmla="*/ 0 h 1032538"/>
              <a:gd name="connsiteX20" fmla="*/ 11730887 w 11730887"/>
              <a:gd name="connsiteY20" fmla="*/ 1032538 h 1032538"/>
              <a:gd name="connsiteX0" fmla="*/ 11730887 w 11730887"/>
              <a:gd name="connsiteY0" fmla="*/ 1032538 h 1032538"/>
              <a:gd name="connsiteX1" fmla="*/ 11104355 w 11730887"/>
              <a:gd name="connsiteY1" fmla="*/ 1032538 h 1032538"/>
              <a:gd name="connsiteX2" fmla="*/ 3950744 w 11730887"/>
              <a:gd name="connsiteY2" fmla="*/ 1032538 h 1032538"/>
              <a:gd name="connsiteX3" fmla="*/ 3595232 w 11730887"/>
              <a:gd name="connsiteY3" fmla="*/ 1032538 h 1032538"/>
              <a:gd name="connsiteX4" fmla="*/ 3408453 w 11730887"/>
              <a:gd name="connsiteY4" fmla="*/ 1032538 h 1032538"/>
              <a:gd name="connsiteX5" fmla="*/ 3324212 w 11730887"/>
              <a:gd name="connsiteY5" fmla="*/ 1032538 h 1032538"/>
              <a:gd name="connsiteX6" fmla="*/ 2968700 w 11730887"/>
              <a:gd name="connsiteY6" fmla="*/ 1032538 h 1032538"/>
              <a:gd name="connsiteX7" fmla="*/ 2781921 w 11730887"/>
              <a:gd name="connsiteY7" fmla="*/ 1032538 h 1032538"/>
              <a:gd name="connsiteX8" fmla="*/ 0 w 11730887"/>
              <a:gd name="connsiteY8" fmla="*/ 1032538 h 1032538"/>
              <a:gd name="connsiteX9" fmla="*/ 276667 w 11730887"/>
              <a:gd name="connsiteY9" fmla="*/ 0 h 1032538"/>
              <a:gd name="connsiteX10" fmla="*/ 1445491 w 11730887"/>
              <a:gd name="connsiteY10" fmla="*/ 0 h 1032538"/>
              <a:gd name="connsiteX11" fmla="*/ 2781921 w 11730887"/>
              <a:gd name="connsiteY11" fmla="*/ 0 h 1032538"/>
              <a:gd name="connsiteX12" fmla="*/ 2968700 w 11730887"/>
              <a:gd name="connsiteY12" fmla="*/ 0 h 1032538"/>
              <a:gd name="connsiteX13" fmla="*/ 3324212 w 11730887"/>
              <a:gd name="connsiteY13" fmla="*/ 0 h 1032538"/>
              <a:gd name="connsiteX14" fmla="*/ 3408453 w 11730887"/>
              <a:gd name="connsiteY14" fmla="*/ 0 h 1032538"/>
              <a:gd name="connsiteX15" fmla="*/ 3595232 w 11730887"/>
              <a:gd name="connsiteY15" fmla="*/ 0 h 1032538"/>
              <a:gd name="connsiteX16" fmla="*/ 3950744 w 11730887"/>
              <a:gd name="connsiteY16" fmla="*/ 0 h 1032538"/>
              <a:gd name="connsiteX17" fmla="*/ 11104355 w 11730887"/>
              <a:gd name="connsiteY17" fmla="*/ 0 h 1032538"/>
              <a:gd name="connsiteX18" fmla="*/ 11730887 w 11730887"/>
              <a:gd name="connsiteY18" fmla="*/ 0 h 1032538"/>
              <a:gd name="connsiteX19" fmla="*/ 11730887 w 11730887"/>
              <a:gd name="connsiteY19" fmla="*/ 1032538 h 1032538"/>
              <a:gd name="connsiteX0" fmla="*/ 11730887 w 11730887"/>
              <a:gd name="connsiteY0" fmla="*/ 1032538 h 1032538"/>
              <a:gd name="connsiteX1" fmla="*/ 11104355 w 11730887"/>
              <a:gd name="connsiteY1" fmla="*/ 1032538 h 1032538"/>
              <a:gd name="connsiteX2" fmla="*/ 3950744 w 11730887"/>
              <a:gd name="connsiteY2" fmla="*/ 1032538 h 1032538"/>
              <a:gd name="connsiteX3" fmla="*/ 3595232 w 11730887"/>
              <a:gd name="connsiteY3" fmla="*/ 1032538 h 1032538"/>
              <a:gd name="connsiteX4" fmla="*/ 3408453 w 11730887"/>
              <a:gd name="connsiteY4" fmla="*/ 1032538 h 1032538"/>
              <a:gd name="connsiteX5" fmla="*/ 3324212 w 11730887"/>
              <a:gd name="connsiteY5" fmla="*/ 1032538 h 1032538"/>
              <a:gd name="connsiteX6" fmla="*/ 2968700 w 11730887"/>
              <a:gd name="connsiteY6" fmla="*/ 1032538 h 1032538"/>
              <a:gd name="connsiteX7" fmla="*/ 2781921 w 11730887"/>
              <a:gd name="connsiteY7" fmla="*/ 1032538 h 1032538"/>
              <a:gd name="connsiteX8" fmla="*/ 0 w 11730887"/>
              <a:gd name="connsiteY8" fmla="*/ 1032538 h 1032538"/>
              <a:gd name="connsiteX9" fmla="*/ 276667 w 11730887"/>
              <a:gd name="connsiteY9" fmla="*/ 0 h 1032538"/>
              <a:gd name="connsiteX10" fmla="*/ 2781921 w 11730887"/>
              <a:gd name="connsiteY10" fmla="*/ 0 h 1032538"/>
              <a:gd name="connsiteX11" fmla="*/ 2968700 w 11730887"/>
              <a:gd name="connsiteY11" fmla="*/ 0 h 1032538"/>
              <a:gd name="connsiteX12" fmla="*/ 3324212 w 11730887"/>
              <a:gd name="connsiteY12" fmla="*/ 0 h 1032538"/>
              <a:gd name="connsiteX13" fmla="*/ 3408453 w 11730887"/>
              <a:gd name="connsiteY13" fmla="*/ 0 h 1032538"/>
              <a:gd name="connsiteX14" fmla="*/ 3595232 w 11730887"/>
              <a:gd name="connsiteY14" fmla="*/ 0 h 1032538"/>
              <a:gd name="connsiteX15" fmla="*/ 3950744 w 11730887"/>
              <a:gd name="connsiteY15" fmla="*/ 0 h 1032538"/>
              <a:gd name="connsiteX16" fmla="*/ 11104355 w 11730887"/>
              <a:gd name="connsiteY16" fmla="*/ 0 h 1032538"/>
              <a:gd name="connsiteX17" fmla="*/ 11730887 w 11730887"/>
              <a:gd name="connsiteY17" fmla="*/ 0 h 1032538"/>
              <a:gd name="connsiteX18" fmla="*/ 11730887 w 11730887"/>
              <a:gd name="connsiteY18" fmla="*/ 1032538 h 1032538"/>
              <a:gd name="connsiteX0" fmla="*/ 11730887 w 11730887"/>
              <a:gd name="connsiteY0" fmla="*/ 1032538 h 1032538"/>
              <a:gd name="connsiteX1" fmla="*/ 11104355 w 11730887"/>
              <a:gd name="connsiteY1" fmla="*/ 1032538 h 1032538"/>
              <a:gd name="connsiteX2" fmla="*/ 3950744 w 11730887"/>
              <a:gd name="connsiteY2" fmla="*/ 1032538 h 1032538"/>
              <a:gd name="connsiteX3" fmla="*/ 3595232 w 11730887"/>
              <a:gd name="connsiteY3" fmla="*/ 1032538 h 1032538"/>
              <a:gd name="connsiteX4" fmla="*/ 3408453 w 11730887"/>
              <a:gd name="connsiteY4" fmla="*/ 1032538 h 1032538"/>
              <a:gd name="connsiteX5" fmla="*/ 3324212 w 11730887"/>
              <a:gd name="connsiteY5" fmla="*/ 1032538 h 1032538"/>
              <a:gd name="connsiteX6" fmla="*/ 2968700 w 11730887"/>
              <a:gd name="connsiteY6" fmla="*/ 1032538 h 1032538"/>
              <a:gd name="connsiteX7" fmla="*/ 2781921 w 11730887"/>
              <a:gd name="connsiteY7" fmla="*/ 1032538 h 1032538"/>
              <a:gd name="connsiteX8" fmla="*/ 0 w 11730887"/>
              <a:gd name="connsiteY8" fmla="*/ 1032538 h 1032538"/>
              <a:gd name="connsiteX9" fmla="*/ 276667 w 11730887"/>
              <a:gd name="connsiteY9" fmla="*/ 0 h 1032538"/>
              <a:gd name="connsiteX10" fmla="*/ 2968700 w 11730887"/>
              <a:gd name="connsiteY10" fmla="*/ 0 h 1032538"/>
              <a:gd name="connsiteX11" fmla="*/ 3324212 w 11730887"/>
              <a:gd name="connsiteY11" fmla="*/ 0 h 1032538"/>
              <a:gd name="connsiteX12" fmla="*/ 3408453 w 11730887"/>
              <a:gd name="connsiteY12" fmla="*/ 0 h 1032538"/>
              <a:gd name="connsiteX13" fmla="*/ 3595232 w 11730887"/>
              <a:gd name="connsiteY13" fmla="*/ 0 h 1032538"/>
              <a:gd name="connsiteX14" fmla="*/ 3950744 w 11730887"/>
              <a:gd name="connsiteY14" fmla="*/ 0 h 1032538"/>
              <a:gd name="connsiteX15" fmla="*/ 11104355 w 11730887"/>
              <a:gd name="connsiteY15" fmla="*/ 0 h 1032538"/>
              <a:gd name="connsiteX16" fmla="*/ 11730887 w 11730887"/>
              <a:gd name="connsiteY16" fmla="*/ 0 h 1032538"/>
              <a:gd name="connsiteX17" fmla="*/ 11730887 w 11730887"/>
              <a:gd name="connsiteY17" fmla="*/ 1032538 h 1032538"/>
              <a:gd name="connsiteX0" fmla="*/ 11730887 w 11730887"/>
              <a:gd name="connsiteY0" fmla="*/ 1032538 h 1032538"/>
              <a:gd name="connsiteX1" fmla="*/ 11104355 w 11730887"/>
              <a:gd name="connsiteY1" fmla="*/ 1032538 h 1032538"/>
              <a:gd name="connsiteX2" fmla="*/ 3950744 w 11730887"/>
              <a:gd name="connsiteY2" fmla="*/ 1032538 h 1032538"/>
              <a:gd name="connsiteX3" fmla="*/ 3595232 w 11730887"/>
              <a:gd name="connsiteY3" fmla="*/ 1032538 h 1032538"/>
              <a:gd name="connsiteX4" fmla="*/ 3408453 w 11730887"/>
              <a:gd name="connsiteY4" fmla="*/ 1032538 h 1032538"/>
              <a:gd name="connsiteX5" fmla="*/ 3324212 w 11730887"/>
              <a:gd name="connsiteY5" fmla="*/ 1032538 h 1032538"/>
              <a:gd name="connsiteX6" fmla="*/ 2968700 w 11730887"/>
              <a:gd name="connsiteY6" fmla="*/ 1032538 h 1032538"/>
              <a:gd name="connsiteX7" fmla="*/ 2781921 w 11730887"/>
              <a:gd name="connsiteY7" fmla="*/ 1032538 h 1032538"/>
              <a:gd name="connsiteX8" fmla="*/ 0 w 11730887"/>
              <a:gd name="connsiteY8" fmla="*/ 1032538 h 1032538"/>
              <a:gd name="connsiteX9" fmla="*/ 276667 w 11730887"/>
              <a:gd name="connsiteY9" fmla="*/ 0 h 1032538"/>
              <a:gd name="connsiteX10" fmla="*/ 3324212 w 11730887"/>
              <a:gd name="connsiteY10" fmla="*/ 0 h 1032538"/>
              <a:gd name="connsiteX11" fmla="*/ 3408453 w 11730887"/>
              <a:gd name="connsiteY11" fmla="*/ 0 h 1032538"/>
              <a:gd name="connsiteX12" fmla="*/ 3595232 w 11730887"/>
              <a:gd name="connsiteY12" fmla="*/ 0 h 1032538"/>
              <a:gd name="connsiteX13" fmla="*/ 3950744 w 11730887"/>
              <a:gd name="connsiteY13" fmla="*/ 0 h 1032538"/>
              <a:gd name="connsiteX14" fmla="*/ 11104355 w 11730887"/>
              <a:gd name="connsiteY14" fmla="*/ 0 h 1032538"/>
              <a:gd name="connsiteX15" fmla="*/ 11730887 w 11730887"/>
              <a:gd name="connsiteY15" fmla="*/ 0 h 1032538"/>
              <a:gd name="connsiteX16" fmla="*/ 11730887 w 11730887"/>
              <a:gd name="connsiteY16" fmla="*/ 1032538 h 1032538"/>
              <a:gd name="connsiteX0" fmla="*/ 11730887 w 11730887"/>
              <a:gd name="connsiteY0" fmla="*/ 1032538 h 1032538"/>
              <a:gd name="connsiteX1" fmla="*/ 11104355 w 11730887"/>
              <a:gd name="connsiteY1" fmla="*/ 1032538 h 1032538"/>
              <a:gd name="connsiteX2" fmla="*/ 3950744 w 11730887"/>
              <a:gd name="connsiteY2" fmla="*/ 1032538 h 1032538"/>
              <a:gd name="connsiteX3" fmla="*/ 3595232 w 11730887"/>
              <a:gd name="connsiteY3" fmla="*/ 1032538 h 1032538"/>
              <a:gd name="connsiteX4" fmla="*/ 3408453 w 11730887"/>
              <a:gd name="connsiteY4" fmla="*/ 1032538 h 1032538"/>
              <a:gd name="connsiteX5" fmla="*/ 3324212 w 11730887"/>
              <a:gd name="connsiteY5" fmla="*/ 1032538 h 1032538"/>
              <a:gd name="connsiteX6" fmla="*/ 2968700 w 11730887"/>
              <a:gd name="connsiteY6" fmla="*/ 1032538 h 1032538"/>
              <a:gd name="connsiteX7" fmla="*/ 2781921 w 11730887"/>
              <a:gd name="connsiteY7" fmla="*/ 1032538 h 1032538"/>
              <a:gd name="connsiteX8" fmla="*/ 0 w 11730887"/>
              <a:gd name="connsiteY8" fmla="*/ 1032538 h 1032538"/>
              <a:gd name="connsiteX9" fmla="*/ 276667 w 11730887"/>
              <a:gd name="connsiteY9" fmla="*/ 0 h 1032538"/>
              <a:gd name="connsiteX10" fmla="*/ 3408453 w 11730887"/>
              <a:gd name="connsiteY10" fmla="*/ 0 h 1032538"/>
              <a:gd name="connsiteX11" fmla="*/ 3595232 w 11730887"/>
              <a:gd name="connsiteY11" fmla="*/ 0 h 1032538"/>
              <a:gd name="connsiteX12" fmla="*/ 3950744 w 11730887"/>
              <a:gd name="connsiteY12" fmla="*/ 0 h 1032538"/>
              <a:gd name="connsiteX13" fmla="*/ 11104355 w 11730887"/>
              <a:gd name="connsiteY13" fmla="*/ 0 h 1032538"/>
              <a:gd name="connsiteX14" fmla="*/ 11730887 w 11730887"/>
              <a:gd name="connsiteY14" fmla="*/ 0 h 1032538"/>
              <a:gd name="connsiteX15" fmla="*/ 11730887 w 11730887"/>
              <a:gd name="connsiteY15" fmla="*/ 1032538 h 1032538"/>
              <a:gd name="connsiteX0" fmla="*/ 11730887 w 11730887"/>
              <a:gd name="connsiteY0" fmla="*/ 1032538 h 1032538"/>
              <a:gd name="connsiteX1" fmla="*/ 11104355 w 11730887"/>
              <a:gd name="connsiteY1" fmla="*/ 1032538 h 1032538"/>
              <a:gd name="connsiteX2" fmla="*/ 3950744 w 11730887"/>
              <a:gd name="connsiteY2" fmla="*/ 1032538 h 1032538"/>
              <a:gd name="connsiteX3" fmla="*/ 3595232 w 11730887"/>
              <a:gd name="connsiteY3" fmla="*/ 1032538 h 1032538"/>
              <a:gd name="connsiteX4" fmla="*/ 3408453 w 11730887"/>
              <a:gd name="connsiteY4" fmla="*/ 1032538 h 1032538"/>
              <a:gd name="connsiteX5" fmla="*/ 3324212 w 11730887"/>
              <a:gd name="connsiteY5" fmla="*/ 1032538 h 1032538"/>
              <a:gd name="connsiteX6" fmla="*/ 2968700 w 11730887"/>
              <a:gd name="connsiteY6" fmla="*/ 1032538 h 1032538"/>
              <a:gd name="connsiteX7" fmla="*/ 2781921 w 11730887"/>
              <a:gd name="connsiteY7" fmla="*/ 1032538 h 1032538"/>
              <a:gd name="connsiteX8" fmla="*/ 0 w 11730887"/>
              <a:gd name="connsiteY8" fmla="*/ 1032538 h 1032538"/>
              <a:gd name="connsiteX9" fmla="*/ 276667 w 11730887"/>
              <a:gd name="connsiteY9" fmla="*/ 0 h 1032538"/>
              <a:gd name="connsiteX10" fmla="*/ 3595232 w 11730887"/>
              <a:gd name="connsiteY10" fmla="*/ 0 h 1032538"/>
              <a:gd name="connsiteX11" fmla="*/ 3950744 w 11730887"/>
              <a:gd name="connsiteY11" fmla="*/ 0 h 1032538"/>
              <a:gd name="connsiteX12" fmla="*/ 11104355 w 11730887"/>
              <a:gd name="connsiteY12" fmla="*/ 0 h 1032538"/>
              <a:gd name="connsiteX13" fmla="*/ 11730887 w 11730887"/>
              <a:gd name="connsiteY13" fmla="*/ 0 h 1032538"/>
              <a:gd name="connsiteX14" fmla="*/ 11730887 w 11730887"/>
              <a:gd name="connsiteY14" fmla="*/ 1032538 h 1032538"/>
              <a:gd name="connsiteX0" fmla="*/ 11730887 w 11730887"/>
              <a:gd name="connsiteY0" fmla="*/ 1032538 h 1032538"/>
              <a:gd name="connsiteX1" fmla="*/ 11104355 w 11730887"/>
              <a:gd name="connsiteY1" fmla="*/ 1032538 h 1032538"/>
              <a:gd name="connsiteX2" fmla="*/ 3950744 w 11730887"/>
              <a:gd name="connsiteY2" fmla="*/ 1032538 h 1032538"/>
              <a:gd name="connsiteX3" fmla="*/ 3595232 w 11730887"/>
              <a:gd name="connsiteY3" fmla="*/ 1032538 h 1032538"/>
              <a:gd name="connsiteX4" fmla="*/ 3408453 w 11730887"/>
              <a:gd name="connsiteY4" fmla="*/ 1032538 h 1032538"/>
              <a:gd name="connsiteX5" fmla="*/ 3324212 w 11730887"/>
              <a:gd name="connsiteY5" fmla="*/ 1032538 h 1032538"/>
              <a:gd name="connsiteX6" fmla="*/ 2968700 w 11730887"/>
              <a:gd name="connsiteY6" fmla="*/ 1032538 h 1032538"/>
              <a:gd name="connsiteX7" fmla="*/ 2781921 w 11730887"/>
              <a:gd name="connsiteY7" fmla="*/ 1032538 h 1032538"/>
              <a:gd name="connsiteX8" fmla="*/ 0 w 11730887"/>
              <a:gd name="connsiteY8" fmla="*/ 1032538 h 1032538"/>
              <a:gd name="connsiteX9" fmla="*/ 276667 w 11730887"/>
              <a:gd name="connsiteY9" fmla="*/ 0 h 1032538"/>
              <a:gd name="connsiteX10" fmla="*/ 3950744 w 11730887"/>
              <a:gd name="connsiteY10" fmla="*/ 0 h 1032538"/>
              <a:gd name="connsiteX11" fmla="*/ 11104355 w 11730887"/>
              <a:gd name="connsiteY11" fmla="*/ 0 h 1032538"/>
              <a:gd name="connsiteX12" fmla="*/ 11730887 w 11730887"/>
              <a:gd name="connsiteY12" fmla="*/ 0 h 1032538"/>
              <a:gd name="connsiteX13" fmla="*/ 11730887 w 11730887"/>
              <a:gd name="connsiteY13" fmla="*/ 1032538 h 1032538"/>
              <a:gd name="connsiteX0" fmla="*/ 11730887 w 11730887"/>
              <a:gd name="connsiteY0" fmla="*/ 1032538 h 1032538"/>
              <a:gd name="connsiteX1" fmla="*/ 11104355 w 11730887"/>
              <a:gd name="connsiteY1" fmla="*/ 1032538 h 1032538"/>
              <a:gd name="connsiteX2" fmla="*/ 3950744 w 11730887"/>
              <a:gd name="connsiteY2" fmla="*/ 1032538 h 1032538"/>
              <a:gd name="connsiteX3" fmla="*/ 3595232 w 11730887"/>
              <a:gd name="connsiteY3" fmla="*/ 1032538 h 1032538"/>
              <a:gd name="connsiteX4" fmla="*/ 3408453 w 11730887"/>
              <a:gd name="connsiteY4" fmla="*/ 1032538 h 1032538"/>
              <a:gd name="connsiteX5" fmla="*/ 3324212 w 11730887"/>
              <a:gd name="connsiteY5" fmla="*/ 1032538 h 1032538"/>
              <a:gd name="connsiteX6" fmla="*/ 2968700 w 11730887"/>
              <a:gd name="connsiteY6" fmla="*/ 1032538 h 1032538"/>
              <a:gd name="connsiteX7" fmla="*/ 2781921 w 11730887"/>
              <a:gd name="connsiteY7" fmla="*/ 1032538 h 1032538"/>
              <a:gd name="connsiteX8" fmla="*/ 0 w 11730887"/>
              <a:gd name="connsiteY8" fmla="*/ 1032538 h 1032538"/>
              <a:gd name="connsiteX9" fmla="*/ 276667 w 11730887"/>
              <a:gd name="connsiteY9" fmla="*/ 0 h 1032538"/>
              <a:gd name="connsiteX10" fmla="*/ 11104355 w 11730887"/>
              <a:gd name="connsiteY10" fmla="*/ 0 h 1032538"/>
              <a:gd name="connsiteX11" fmla="*/ 11730887 w 11730887"/>
              <a:gd name="connsiteY11" fmla="*/ 0 h 1032538"/>
              <a:gd name="connsiteX12" fmla="*/ 11730887 w 11730887"/>
              <a:gd name="connsiteY12" fmla="*/ 1032538 h 1032538"/>
              <a:gd name="connsiteX0" fmla="*/ 11730887 w 11730887"/>
              <a:gd name="connsiteY0" fmla="*/ 1032538 h 1032538"/>
              <a:gd name="connsiteX1" fmla="*/ 11104355 w 11730887"/>
              <a:gd name="connsiteY1" fmla="*/ 1032538 h 1032538"/>
              <a:gd name="connsiteX2" fmla="*/ 3950744 w 11730887"/>
              <a:gd name="connsiteY2" fmla="*/ 1032538 h 1032538"/>
              <a:gd name="connsiteX3" fmla="*/ 3595232 w 11730887"/>
              <a:gd name="connsiteY3" fmla="*/ 1032538 h 1032538"/>
              <a:gd name="connsiteX4" fmla="*/ 3408453 w 11730887"/>
              <a:gd name="connsiteY4" fmla="*/ 1032538 h 1032538"/>
              <a:gd name="connsiteX5" fmla="*/ 3324212 w 11730887"/>
              <a:gd name="connsiteY5" fmla="*/ 1032538 h 1032538"/>
              <a:gd name="connsiteX6" fmla="*/ 2968700 w 11730887"/>
              <a:gd name="connsiteY6" fmla="*/ 1032538 h 1032538"/>
              <a:gd name="connsiteX7" fmla="*/ 2781921 w 11730887"/>
              <a:gd name="connsiteY7" fmla="*/ 1032538 h 1032538"/>
              <a:gd name="connsiteX8" fmla="*/ 0 w 11730887"/>
              <a:gd name="connsiteY8" fmla="*/ 1032538 h 1032538"/>
              <a:gd name="connsiteX9" fmla="*/ 276667 w 11730887"/>
              <a:gd name="connsiteY9" fmla="*/ 0 h 1032538"/>
              <a:gd name="connsiteX10" fmla="*/ 11730887 w 11730887"/>
              <a:gd name="connsiteY10" fmla="*/ 0 h 1032538"/>
              <a:gd name="connsiteX11" fmla="*/ 11730887 w 11730887"/>
              <a:gd name="connsiteY11" fmla="*/ 1032538 h 1032538"/>
              <a:gd name="connsiteX0" fmla="*/ 11730887 w 11730887"/>
              <a:gd name="connsiteY0" fmla="*/ 1032538 h 1032538"/>
              <a:gd name="connsiteX1" fmla="*/ 3950744 w 11730887"/>
              <a:gd name="connsiteY1" fmla="*/ 1032538 h 1032538"/>
              <a:gd name="connsiteX2" fmla="*/ 3595232 w 11730887"/>
              <a:gd name="connsiteY2" fmla="*/ 1032538 h 1032538"/>
              <a:gd name="connsiteX3" fmla="*/ 3408453 w 11730887"/>
              <a:gd name="connsiteY3" fmla="*/ 1032538 h 1032538"/>
              <a:gd name="connsiteX4" fmla="*/ 3324212 w 11730887"/>
              <a:gd name="connsiteY4" fmla="*/ 1032538 h 1032538"/>
              <a:gd name="connsiteX5" fmla="*/ 2968700 w 11730887"/>
              <a:gd name="connsiteY5" fmla="*/ 1032538 h 1032538"/>
              <a:gd name="connsiteX6" fmla="*/ 2781921 w 11730887"/>
              <a:gd name="connsiteY6" fmla="*/ 1032538 h 1032538"/>
              <a:gd name="connsiteX7" fmla="*/ 0 w 11730887"/>
              <a:gd name="connsiteY7" fmla="*/ 1032538 h 1032538"/>
              <a:gd name="connsiteX8" fmla="*/ 276667 w 11730887"/>
              <a:gd name="connsiteY8" fmla="*/ 0 h 1032538"/>
              <a:gd name="connsiteX9" fmla="*/ 11730887 w 11730887"/>
              <a:gd name="connsiteY9" fmla="*/ 0 h 1032538"/>
              <a:gd name="connsiteX10" fmla="*/ 11730887 w 11730887"/>
              <a:gd name="connsiteY10" fmla="*/ 1032538 h 1032538"/>
              <a:gd name="connsiteX0" fmla="*/ 11730887 w 11730887"/>
              <a:gd name="connsiteY0" fmla="*/ 1032538 h 1032538"/>
              <a:gd name="connsiteX1" fmla="*/ 3950744 w 11730887"/>
              <a:gd name="connsiteY1" fmla="*/ 1032538 h 1032538"/>
              <a:gd name="connsiteX2" fmla="*/ 3595232 w 11730887"/>
              <a:gd name="connsiteY2" fmla="*/ 1032538 h 1032538"/>
              <a:gd name="connsiteX3" fmla="*/ 3408453 w 11730887"/>
              <a:gd name="connsiteY3" fmla="*/ 1032538 h 1032538"/>
              <a:gd name="connsiteX4" fmla="*/ 3324212 w 11730887"/>
              <a:gd name="connsiteY4" fmla="*/ 1032538 h 1032538"/>
              <a:gd name="connsiteX5" fmla="*/ 2968700 w 11730887"/>
              <a:gd name="connsiteY5" fmla="*/ 1032538 h 1032538"/>
              <a:gd name="connsiteX6" fmla="*/ 0 w 11730887"/>
              <a:gd name="connsiteY6" fmla="*/ 1032538 h 1032538"/>
              <a:gd name="connsiteX7" fmla="*/ 276667 w 11730887"/>
              <a:gd name="connsiteY7" fmla="*/ 0 h 1032538"/>
              <a:gd name="connsiteX8" fmla="*/ 11730887 w 11730887"/>
              <a:gd name="connsiteY8" fmla="*/ 0 h 1032538"/>
              <a:gd name="connsiteX9" fmla="*/ 11730887 w 11730887"/>
              <a:gd name="connsiteY9" fmla="*/ 1032538 h 1032538"/>
              <a:gd name="connsiteX0" fmla="*/ 11730887 w 11730887"/>
              <a:gd name="connsiteY0" fmla="*/ 1032538 h 1032538"/>
              <a:gd name="connsiteX1" fmla="*/ 3950744 w 11730887"/>
              <a:gd name="connsiteY1" fmla="*/ 1032538 h 1032538"/>
              <a:gd name="connsiteX2" fmla="*/ 3595232 w 11730887"/>
              <a:gd name="connsiteY2" fmla="*/ 1032538 h 1032538"/>
              <a:gd name="connsiteX3" fmla="*/ 3408453 w 11730887"/>
              <a:gd name="connsiteY3" fmla="*/ 1032538 h 1032538"/>
              <a:gd name="connsiteX4" fmla="*/ 3324212 w 11730887"/>
              <a:gd name="connsiteY4" fmla="*/ 1032538 h 1032538"/>
              <a:gd name="connsiteX5" fmla="*/ 0 w 11730887"/>
              <a:gd name="connsiteY5" fmla="*/ 1032538 h 1032538"/>
              <a:gd name="connsiteX6" fmla="*/ 276667 w 11730887"/>
              <a:gd name="connsiteY6" fmla="*/ 0 h 1032538"/>
              <a:gd name="connsiteX7" fmla="*/ 11730887 w 11730887"/>
              <a:gd name="connsiteY7" fmla="*/ 0 h 1032538"/>
              <a:gd name="connsiteX8" fmla="*/ 11730887 w 11730887"/>
              <a:gd name="connsiteY8" fmla="*/ 1032538 h 1032538"/>
              <a:gd name="connsiteX0" fmla="*/ 11730887 w 11730887"/>
              <a:gd name="connsiteY0" fmla="*/ 1032538 h 1032538"/>
              <a:gd name="connsiteX1" fmla="*/ 3950744 w 11730887"/>
              <a:gd name="connsiteY1" fmla="*/ 1032538 h 1032538"/>
              <a:gd name="connsiteX2" fmla="*/ 3595232 w 11730887"/>
              <a:gd name="connsiteY2" fmla="*/ 1032538 h 1032538"/>
              <a:gd name="connsiteX3" fmla="*/ 3408453 w 11730887"/>
              <a:gd name="connsiteY3" fmla="*/ 1032538 h 1032538"/>
              <a:gd name="connsiteX4" fmla="*/ 0 w 11730887"/>
              <a:gd name="connsiteY4" fmla="*/ 1032538 h 1032538"/>
              <a:gd name="connsiteX5" fmla="*/ 276667 w 11730887"/>
              <a:gd name="connsiteY5" fmla="*/ 0 h 1032538"/>
              <a:gd name="connsiteX6" fmla="*/ 11730887 w 11730887"/>
              <a:gd name="connsiteY6" fmla="*/ 0 h 1032538"/>
              <a:gd name="connsiteX7" fmla="*/ 11730887 w 11730887"/>
              <a:gd name="connsiteY7" fmla="*/ 1032538 h 1032538"/>
              <a:gd name="connsiteX0" fmla="*/ 11730887 w 11730887"/>
              <a:gd name="connsiteY0" fmla="*/ 1032538 h 1032538"/>
              <a:gd name="connsiteX1" fmla="*/ 3950744 w 11730887"/>
              <a:gd name="connsiteY1" fmla="*/ 1032538 h 1032538"/>
              <a:gd name="connsiteX2" fmla="*/ 3595232 w 11730887"/>
              <a:gd name="connsiteY2" fmla="*/ 1032538 h 1032538"/>
              <a:gd name="connsiteX3" fmla="*/ 0 w 11730887"/>
              <a:gd name="connsiteY3" fmla="*/ 1032538 h 1032538"/>
              <a:gd name="connsiteX4" fmla="*/ 276667 w 11730887"/>
              <a:gd name="connsiteY4" fmla="*/ 0 h 1032538"/>
              <a:gd name="connsiteX5" fmla="*/ 11730887 w 11730887"/>
              <a:gd name="connsiteY5" fmla="*/ 0 h 1032538"/>
              <a:gd name="connsiteX6" fmla="*/ 11730887 w 11730887"/>
              <a:gd name="connsiteY6" fmla="*/ 1032538 h 1032538"/>
              <a:gd name="connsiteX0" fmla="*/ 11730887 w 11730887"/>
              <a:gd name="connsiteY0" fmla="*/ 1032538 h 1032538"/>
              <a:gd name="connsiteX1" fmla="*/ 3950744 w 11730887"/>
              <a:gd name="connsiteY1" fmla="*/ 1032538 h 1032538"/>
              <a:gd name="connsiteX2" fmla="*/ 0 w 11730887"/>
              <a:gd name="connsiteY2" fmla="*/ 1032538 h 1032538"/>
              <a:gd name="connsiteX3" fmla="*/ 276667 w 11730887"/>
              <a:gd name="connsiteY3" fmla="*/ 0 h 1032538"/>
              <a:gd name="connsiteX4" fmla="*/ 11730887 w 11730887"/>
              <a:gd name="connsiteY4" fmla="*/ 0 h 1032538"/>
              <a:gd name="connsiteX5" fmla="*/ 11730887 w 11730887"/>
              <a:gd name="connsiteY5" fmla="*/ 1032538 h 1032538"/>
              <a:gd name="connsiteX0" fmla="*/ 11730887 w 11730887"/>
              <a:gd name="connsiteY0" fmla="*/ 1032538 h 1032538"/>
              <a:gd name="connsiteX1" fmla="*/ 0 w 11730887"/>
              <a:gd name="connsiteY1" fmla="*/ 1032538 h 1032538"/>
              <a:gd name="connsiteX2" fmla="*/ 276667 w 11730887"/>
              <a:gd name="connsiteY2" fmla="*/ 0 h 1032538"/>
              <a:gd name="connsiteX3" fmla="*/ 11730887 w 11730887"/>
              <a:gd name="connsiteY3" fmla="*/ 0 h 1032538"/>
              <a:gd name="connsiteX4" fmla="*/ 11730887 w 11730887"/>
              <a:gd name="connsiteY4" fmla="*/ 1032538 h 1032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0887" h="1032538">
                <a:moveTo>
                  <a:pt x="11730887" y="1032538"/>
                </a:moveTo>
                <a:lnTo>
                  <a:pt x="0" y="1032538"/>
                </a:lnTo>
                <a:lnTo>
                  <a:pt x="276667" y="0"/>
                </a:lnTo>
                <a:lnTo>
                  <a:pt x="11730887" y="0"/>
                </a:lnTo>
                <a:lnTo>
                  <a:pt x="11730887" y="1032538"/>
                </a:lnTo>
                <a:close/>
              </a:path>
            </a:pathLst>
          </a:custGeom>
          <a:gradFill flip="none" rotWithShape="1">
            <a:gsLst>
              <a:gs pos="0">
                <a:schemeClr val="accent1"/>
              </a:gs>
              <a:gs pos="100000">
                <a:schemeClr val="accent2"/>
              </a:gs>
            </a:gsLst>
            <a:lin ang="13500000" scaled="1"/>
            <a:tileRect/>
          </a:gradFill>
          <a:ln>
            <a:noFill/>
          </a:ln>
          <a:effectLst>
            <a:outerShdw blurRad="279400" dist="279400" dir="19800000" algn="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sp>
        <p:nvSpPr>
          <p:cNvPr id="2" name="Title 1">
            <a:extLst>
              <a:ext uri="{FF2B5EF4-FFF2-40B4-BE49-F238E27FC236}">
                <a16:creationId xmlns:a16="http://schemas.microsoft.com/office/drawing/2014/main" id="{B9937F59-A4E4-55BD-BE82-E2EDECCBF9B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9EBCD1-DF17-BF50-B242-57BD2163094A}"/>
              </a:ext>
            </a:extLst>
          </p:cNvPr>
          <p:cNvSpPr>
            <a:spLocks noGrp="1"/>
          </p:cNvSpPr>
          <p:nvPr>
            <p:ph type="dt" sz="half" idx="10"/>
          </p:nvPr>
        </p:nvSpPr>
        <p:spPr/>
        <p:txBody>
          <a:bodyPr/>
          <a:lstStyle/>
          <a:p>
            <a:fld id="{B6BF5721-2811-4FB1-A783-C5586964BA70}" type="datetime1">
              <a:rPr lang="en-US" smtClean="0"/>
              <a:t>10/18/2025</a:t>
            </a:fld>
            <a:endParaRPr lang="en-US"/>
          </a:p>
        </p:txBody>
      </p:sp>
      <p:sp>
        <p:nvSpPr>
          <p:cNvPr id="4" name="Footer Placeholder 3">
            <a:extLst>
              <a:ext uri="{FF2B5EF4-FFF2-40B4-BE49-F238E27FC236}">
                <a16:creationId xmlns:a16="http://schemas.microsoft.com/office/drawing/2014/main" id="{AE7B4B90-A0EB-120B-2B71-B3A6A59CAB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22F0FC-B71C-5587-F79F-2BA34C7977A1}"/>
              </a:ext>
            </a:extLst>
          </p:cNvPr>
          <p:cNvSpPr>
            <a:spLocks noGrp="1"/>
          </p:cNvSpPr>
          <p:nvPr>
            <p:ph type="sldNum" sz="quarter" idx="12"/>
          </p:nvPr>
        </p:nvSpPr>
        <p:spPr/>
        <p:txBody>
          <a:bodyPr/>
          <a:lstStyle/>
          <a:p>
            <a:fld id="{03074DEF-F175-4420-8EE3-137377F9872B}" type="slidenum">
              <a:rPr lang="en-US" smtClean="0"/>
              <a:t>‹#›</a:t>
            </a:fld>
            <a:endParaRPr lang="en-US"/>
          </a:p>
        </p:txBody>
      </p:sp>
      <p:sp>
        <p:nvSpPr>
          <p:cNvPr id="7" name="Text Placeholder 6">
            <a:extLst>
              <a:ext uri="{FF2B5EF4-FFF2-40B4-BE49-F238E27FC236}">
                <a16:creationId xmlns:a16="http://schemas.microsoft.com/office/drawing/2014/main" id="{242686C1-9200-3AAE-7306-7A2A536125B4}"/>
              </a:ext>
            </a:extLst>
          </p:cNvPr>
          <p:cNvSpPr>
            <a:spLocks noGrp="1"/>
          </p:cNvSpPr>
          <p:nvPr>
            <p:ph type="body" sz="quarter" idx="13"/>
          </p:nvPr>
        </p:nvSpPr>
        <p:spPr>
          <a:xfrm>
            <a:off x="381000" y="6384927"/>
            <a:ext cx="11430000" cy="358775"/>
          </a:xfrm>
        </p:spPr>
        <p:txBody>
          <a:bodyPr anchor="b">
            <a:noAutofit/>
          </a:bodyPr>
          <a:lstStyle>
            <a:lvl1pPr marL="0" indent="0">
              <a:spcBef>
                <a:spcPts val="0"/>
              </a:spcBef>
              <a:buNone/>
              <a:defRPr sz="675"/>
            </a:lvl1pPr>
            <a:lvl2pPr marL="384572" indent="0">
              <a:buNone/>
              <a:defRPr/>
            </a:lvl2pPr>
            <a:lvl3pPr marL="772716" indent="0">
              <a:buNone/>
              <a:defRPr/>
            </a:lvl3pPr>
            <a:lvl4pPr marL="1070372" indent="0">
              <a:buNone/>
              <a:defRPr/>
            </a:lvl4pPr>
            <a:lvl5pPr marL="1413272" indent="0">
              <a:buNone/>
              <a:defRPr/>
            </a:lvl5pPr>
          </a:lstStyle>
          <a:p>
            <a:pPr lvl="0"/>
            <a:r>
              <a:rPr lang="en-US"/>
              <a:t>Click to edit Master text styles</a:t>
            </a:r>
          </a:p>
        </p:txBody>
      </p:sp>
      <p:sp>
        <p:nvSpPr>
          <p:cNvPr id="13" name="Oval 12">
            <a:extLst>
              <a:ext uri="{FF2B5EF4-FFF2-40B4-BE49-F238E27FC236}">
                <a16:creationId xmlns:a16="http://schemas.microsoft.com/office/drawing/2014/main" id="{0F6D35E2-9694-6203-8F94-F9538B13FC19}"/>
              </a:ext>
            </a:extLst>
          </p:cNvPr>
          <p:cNvSpPr/>
          <p:nvPr userDrawn="1"/>
        </p:nvSpPr>
        <p:spPr>
          <a:xfrm>
            <a:off x="10790321" y="481941"/>
            <a:ext cx="1338179" cy="1338178"/>
          </a:xfrm>
          <a:prstGeom prst="ellipse">
            <a:avLst/>
          </a:prstGeom>
          <a:gradFill flip="none" rotWithShape="1">
            <a:gsLst>
              <a:gs pos="0">
                <a:schemeClr val="bg1">
                  <a:alpha val="60000"/>
                </a:schemeClr>
              </a:gs>
              <a:gs pos="44000">
                <a:schemeClr val="bg1">
                  <a:alpha val="28000"/>
                </a:schemeClr>
              </a:gs>
              <a:gs pos="94000">
                <a:schemeClr val="bg1">
                  <a:alpha val="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Freeform: Shape 13">
            <a:extLst>
              <a:ext uri="{FF2B5EF4-FFF2-40B4-BE49-F238E27FC236}">
                <a16:creationId xmlns:a16="http://schemas.microsoft.com/office/drawing/2014/main" id="{8EEAD75F-60FC-7825-80C7-063B908CFAFD}"/>
              </a:ext>
            </a:extLst>
          </p:cNvPr>
          <p:cNvSpPr/>
          <p:nvPr userDrawn="1"/>
        </p:nvSpPr>
        <p:spPr>
          <a:xfrm>
            <a:off x="9904680" y="6743700"/>
            <a:ext cx="2287320" cy="114300"/>
          </a:xfrm>
          <a:custGeom>
            <a:avLst/>
            <a:gdLst>
              <a:gd name="connsiteX0" fmla="*/ 30626 w 2287320"/>
              <a:gd name="connsiteY0" fmla="*/ 0 h 114300"/>
              <a:gd name="connsiteX1" fmla="*/ 2287320 w 2287320"/>
              <a:gd name="connsiteY1" fmla="*/ 0 h 114300"/>
              <a:gd name="connsiteX2" fmla="*/ 2287320 w 2287320"/>
              <a:gd name="connsiteY2" fmla="*/ 114300 h 114300"/>
              <a:gd name="connsiteX3" fmla="*/ 0 w 228732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2287320" h="114300">
                <a:moveTo>
                  <a:pt x="30626" y="0"/>
                </a:moveTo>
                <a:lnTo>
                  <a:pt x="2287320" y="0"/>
                </a:lnTo>
                <a:lnTo>
                  <a:pt x="2287320" y="114300"/>
                </a:lnTo>
                <a:lnTo>
                  <a:pt x="0" y="114300"/>
                </a:lnTo>
                <a:close/>
              </a:path>
            </a:pathLst>
          </a:custGeom>
          <a:gradFill flip="none" rotWithShape="1">
            <a:gsLst>
              <a:gs pos="0">
                <a:schemeClr val="accent1"/>
              </a:gs>
              <a:gs pos="100000">
                <a:schemeClr val="accent2"/>
              </a:gs>
            </a:gsLst>
            <a:lin ang="13200000" scaled="0"/>
            <a:tileRect/>
          </a:gradFill>
          <a:ln>
            <a:noFill/>
          </a:ln>
          <a:effectLst>
            <a:outerShdw blurRad="127000" dist="38100" dir="14760000" algn="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1350"/>
          </a:p>
        </p:txBody>
      </p:sp>
    </p:spTree>
    <p:extLst>
      <p:ext uri="{BB962C8B-B14F-4D97-AF65-F5344CB8AC3E}">
        <p14:creationId xmlns:p14="http://schemas.microsoft.com/office/powerpoint/2010/main" val="2831216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6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Text Placeholder 2">
            <a:extLst>
              <a:ext uri="{FF2B5EF4-FFF2-40B4-BE49-F238E27FC236}">
                <a16:creationId xmlns:a16="http://schemas.microsoft.com/office/drawing/2014/main" id="{C03FD701-BB74-4691-AAD5-FCB1B4188702}"/>
              </a:ext>
            </a:extLst>
          </p:cNvPr>
          <p:cNvSpPr>
            <a:spLocks noGrp="1"/>
          </p:cNvSpPr>
          <p:nvPr>
            <p:ph type="body" sz="quarter" idx="16" hasCustomPrompt="1"/>
          </p:nvPr>
        </p:nvSpPr>
        <p:spPr bwMode="gray">
          <a:xfrm>
            <a:off x="4648318" y="6330696"/>
            <a:ext cx="4147340" cy="347472"/>
          </a:xfrm>
        </p:spPr>
        <p:txBody>
          <a:bodyPr lIns="0" tIns="0" rIns="0" bIns="0" anchor="b"/>
          <a:lstStyle>
            <a:lvl1pPr marL="171450" indent="-171450" algn="l" defTabSz="685800" rtl="0" eaLnBrk="1" latinLnBrk="0" hangingPunct="1">
              <a:lnSpc>
                <a:spcPct val="85000"/>
              </a:lnSpc>
              <a:spcBef>
                <a:spcPts val="150"/>
              </a:spcBef>
              <a:buClr>
                <a:schemeClr val="accent2"/>
              </a:buClr>
              <a:buSzPct val="85000"/>
              <a:buFont typeface="Arial" pitchFamily="34" charset="0"/>
              <a:buNone/>
              <a:tabLst>
                <a:tab pos="130969" algn="r"/>
                <a:tab pos="171450" algn="l"/>
              </a:tabLst>
              <a:defRPr lang="en-US" sz="600" kern="1200" dirty="0">
                <a:solidFill>
                  <a:srgbClr val="A1AAB1"/>
                </a:solidFill>
                <a:latin typeface="+mn-lt"/>
                <a:ea typeface="+mn-ea"/>
                <a:cs typeface="Arial" pitchFamily="34" charset="0"/>
              </a:defRPr>
            </a:lvl1pPr>
          </a:lstStyle>
          <a:p>
            <a:pPr lvl="0"/>
            <a:r>
              <a:rPr lang="tr-TR"/>
              <a:t>Dahili kullanım içindir</a:t>
            </a:r>
            <a:endParaRPr lang="en-US"/>
          </a:p>
        </p:txBody>
      </p:sp>
    </p:spTree>
    <p:custDataLst>
      <p:tags r:id="rId1"/>
    </p:custDataLst>
    <p:extLst>
      <p:ext uri="{BB962C8B-B14F-4D97-AF65-F5344CB8AC3E}">
        <p14:creationId xmlns:p14="http://schemas.microsoft.com/office/powerpoint/2010/main" val="16817783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p:bgPr>
        <a:solidFill>
          <a:srgbClr val="0000CA"/>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D884F4-659B-441F-45EE-F923C221E500}"/>
              </a:ext>
            </a:extLst>
          </p:cNvPr>
          <p:cNvPicPr>
            <a:picLocks noChangeAspect="1"/>
          </p:cNvPicPr>
          <p:nvPr userDrawn="1"/>
        </p:nvPicPr>
        <p:blipFill>
          <a:blip r:embed="rId2"/>
          <a:stretch>
            <a:fillRect/>
          </a:stretch>
        </p:blipFill>
        <p:spPr>
          <a:xfrm>
            <a:off x="619206" y="5750031"/>
            <a:ext cx="1443897" cy="589314"/>
          </a:xfrm>
          <a:prstGeom prst="rect">
            <a:avLst/>
          </a:prstGeom>
        </p:spPr>
      </p:pic>
      <p:sp>
        <p:nvSpPr>
          <p:cNvPr id="6" name="Title 6">
            <a:extLst>
              <a:ext uri="{FF2B5EF4-FFF2-40B4-BE49-F238E27FC236}">
                <a16:creationId xmlns:a16="http://schemas.microsoft.com/office/drawing/2014/main" id="{4B97BE01-F0D5-3584-357C-76DC10137DB3}"/>
              </a:ext>
            </a:extLst>
          </p:cNvPr>
          <p:cNvSpPr>
            <a:spLocks noGrp="1"/>
          </p:cNvSpPr>
          <p:nvPr>
            <p:ph type="title" hasCustomPrompt="1"/>
          </p:nvPr>
        </p:nvSpPr>
        <p:spPr>
          <a:xfrm>
            <a:off x="535798" y="648878"/>
            <a:ext cx="9186800" cy="2436565"/>
          </a:xfrm>
          <a:prstGeom prst="rect">
            <a:avLst/>
          </a:prstGeom>
        </p:spPr>
        <p:txBody>
          <a:bodyPr/>
          <a:lstStyle>
            <a:lvl1pPr>
              <a:lnSpc>
                <a:spcPct val="80000"/>
              </a:lnSpc>
              <a:defRPr lang="en-US" sz="7200" b="1" kern="1200" spc="-25" dirty="0">
                <a:solidFill>
                  <a:schemeClr val="bg1"/>
                </a:solidFill>
                <a:latin typeface="Pfizer Tomorrow" panose="02010503040201060303" pitchFamily="2" charset="77"/>
                <a:ea typeface="+mj-ea"/>
                <a:cs typeface="+mj-cs"/>
              </a:defRPr>
            </a:lvl1pPr>
          </a:lstStyle>
          <a:p>
            <a:r>
              <a:rPr lang="en-US"/>
              <a:t>Thank You</a:t>
            </a:r>
          </a:p>
        </p:txBody>
      </p:sp>
    </p:spTree>
    <p:extLst>
      <p:ext uri="{BB962C8B-B14F-4D97-AF65-F5344CB8AC3E}">
        <p14:creationId xmlns:p14="http://schemas.microsoft.com/office/powerpoint/2010/main" val="10761619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hank You with Image Dark">
    <p:bg>
      <p:bgPr>
        <a:solidFill>
          <a:srgbClr val="0000CA"/>
        </a:solidFill>
        <a:effectLst/>
      </p:bgPr>
    </p:bg>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77BB5660-0ACC-420C-FE42-E4567F70BFDC}"/>
              </a:ext>
            </a:extLst>
          </p:cNvPr>
          <p:cNvSpPr>
            <a:spLocks noGrp="1"/>
          </p:cNvSpPr>
          <p:nvPr>
            <p:ph type="pic" sz="quarter" idx="14"/>
          </p:nvPr>
        </p:nvSpPr>
        <p:spPr>
          <a:xfrm>
            <a:off x="0" y="0"/>
            <a:ext cx="12192000" cy="6858000"/>
          </a:xfrm>
          <a:prstGeom prst="rect">
            <a:avLst/>
          </a:prstGeom>
        </p:spPr>
        <p:txBody>
          <a:bodyPr/>
          <a:lstStyle>
            <a:lvl1pPr>
              <a:defRPr>
                <a:latin typeface="Pfizer Tomorrow" panose="02010503040201060303" pitchFamily="50" charset="0"/>
              </a:defRPr>
            </a:lvl1pPr>
          </a:lstStyle>
          <a:p>
            <a:endParaRPr lang="en-US"/>
          </a:p>
        </p:txBody>
      </p:sp>
      <p:sp>
        <p:nvSpPr>
          <p:cNvPr id="3" name="Title 6">
            <a:extLst>
              <a:ext uri="{FF2B5EF4-FFF2-40B4-BE49-F238E27FC236}">
                <a16:creationId xmlns:a16="http://schemas.microsoft.com/office/drawing/2014/main" id="{DB4DEE37-4C57-A98E-FC92-AA751D7B200F}"/>
              </a:ext>
            </a:extLst>
          </p:cNvPr>
          <p:cNvSpPr>
            <a:spLocks noGrp="1"/>
          </p:cNvSpPr>
          <p:nvPr>
            <p:ph type="title" hasCustomPrompt="1"/>
          </p:nvPr>
        </p:nvSpPr>
        <p:spPr>
          <a:xfrm>
            <a:off x="535798" y="648878"/>
            <a:ext cx="9186800" cy="2436565"/>
          </a:xfrm>
          <a:prstGeom prst="rect">
            <a:avLst/>
          </a:prstGeom>
        </p:spPr>
        <p:txBody>
          <a:bodyPr/>
          <a:lstStyle>
            <a:lvl1pPr>
              <a:lnSpc>
                <a:spcPct val="80000"/>
              </a:lnSpc>
              <a:defRPr lang="en-US" sz="7200" b="1" kern="1200" spc="-25" dirty="0">
                <a:solidFill>
                  <a:schemeClr val="bg1"/>
                </a:solidFill>
                <a:latin typeface="Pfizer Tomorrow" panose="02010503040201060303" pitchFamily="2" charset="77"/>
                <a:ea typeface="+mj-ea"/>
                <a:cs typeface="+mj-cs"/>
              </a:defRPr>
            </a:lvl1pPr>
          </a:lstStyle>
          <a:p>
            <a:r>
              <a:rPr lang="en-US"/>
              <a:t>Thank You</a:t>
            </a:r>
          </a:p>
        </p:txBody>
      </p:sp>
      <p:pic>
        <p:nvPicPr>
          <p:cNvPr id="6" name="Picture 5">
            <a:extLst>
              <a:ext uri="{FF2B5EF4-FFF2-40B4-BE49-F238E27FC236}">
                <a16:creationId xmlns:a16="http://schemas.microsoft.com/office/drawing/2014/main" id="{E3DEB21D-58AB-EA20-F824-1739C3370256}"/>
              </a:ext>
            </a:extLst>
          </p:cNvPr>
          <p:cNvPicPr>
            <a:picLocks noChangeAspect="1"/>
          </p:cNvPicPr>
          <p:nvPr userDrawn="1"/>
        </p:nvPicPr>
        <p:blipFill>
          <a:blip r:embed="rId2"/>
          <a:stretch>
            <a:fillRect/>
          </a:stretch>
        </p:blipFill>
        <p:spPr>
          <a:xfrm>
            <a:off x="619206" y="5750031"/>
            <a:ext cx="1443897" cy="589314"/>
          </a:xfrm>
          <a:prstGeom prst="rect">
            <a:avLst/>
          </a:prstGeom>
        </p:spPr>
      </p:pic>
    </p:spTree>
    <p:extLst>
      <p:ext uri="{BB962C8B-B14F-4D97-AF65-F5344CB8AC3E}">
        <p14:creationId xmlns:p14="http://schemas.microsoft.com/office/powerpoint/2010/main" val="15613912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hank You Whit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53931F2-C551-2AD4-7B6A-9581E89422C7}"/>
              </a:ext>
            </a:extLst>
          </p:cNvPr>
          <p:cNvPicPr>
            <a:picLocks noChangeAspect="1"/>
          </p:cNvPicPr>
          <p:nvPr userDrawn="1"/>
        </p:nvPicPr>
        <p:blipFill>
          <a:blip r:embed="rId2"/>
          <a:stretch>
            <a:fillRect/>
          </a:stretch>
        </p:blipFill>
        <p:spPr>
          <a:xfrm>
            <a:off x="612280" y="5743501"/>
            <a:ext cx="1442647" cy="589788"/>
          </a:xfrm>
          <a:prstGeom prst="rect">
            <a:avLst/>
          </a:prstGeom>
        </p:spPr>
      </p:pic>
      <p:sp>
        <p:nvSpPr>
          <p:cNvPr id="2" name="Title 6">
            <a:extLst>
              <a:ext uri="{FF2B5EF4-FFF2-40B4-BE49-F238E27FC236}">
                <a16:creationId xmlns:a16="http://schemas.microsoft.com/office/drawing/2014/main" id="{F8EAB0D2-5E3C-D715-5795-DDDA0402A071}"/>
              </a:ext>
            </a:extLst>
          </p:cNvPr>
          <p:cNvSpPr>
            <a:spLocks noGrp="1"/>
          </p:cNvSpPr>
          <p:nvPr>
            <p:ph type="title" hasCustomPrompt="1"/>
          </p:nvPr>
        </p:nvSpPr>
        <p:spPr>
          <a:xfrm>
            <a:off x="535798" y="648878"/>
            <a:ext cx="9186800" cy="2436565"/>
          </a:xfrm>
          <a:prstGeom prst="rect">
            <a:avLst/>
          </a:prstGeom>
        </p:spPr>
        <p:txBody>
          <a:bodyPr/>
          <a:lstStyle>
            <a:lvl1pPr>
              <a:lnSpc>
                <a:spcPct val="80000"/>
              </a:lnSpc>
              <a:defRPr lang="en-US" sz="7200" b="1" kern="1200" spc="-25" dirty="0">
                <a:solidFill>
                  <a:srgbClr val="0000CA"/>
                </a:solidFill>
                <a:latin typeface="Pfizer Tomorrow" panose="02010503040201060303" pitchFamily="2" charset="77"/>
                <a:ea typeface="+mj-ea"/>
                <a:cs typeface="+mj-cs"/>
              </a:defRPr>
            </a:lvl1pPr>
          </a:lstStyle>
          <a:p>
            <a:r>
              <a:rPr lang="en-US"/>
              <a:t>Thank You</a:t>
            </a:r>
          </a:p>
        </p:txBody>
      </p:sp>
    </p:spTree>
    <p:extLst>
      <p:ext uri="{BB962C8B-B14F-4D97-AF65-F5344CB8AC3E}">
        <p14:creationId xmlns:p14="http://schemas.microsoft.com/office/powerpoint/2010/main" val="36839690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hank You with Image Light">
    <p:bg>
      <p:bgPr>
        <a:solidFill>
          <a:schemeClr val="bg1"/>
        </a:solidFill>
        <a:effectLst/>
      </p:bgPr>
    </p:bg>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77BB5660-0ACC-420C-FE42-E4567F70BFDC}"/>
              </a:ext>
            </a:extLst>
          </p:cNvPr>
          <p:cNvSpPr>
            <a:spLocks noGrp="1"/>
          </p:cNvSpPr>
          <p:nvPr>
            <p:ph type="pic" sz="quarter" idx="14"/>
          </p:nvPr>
        </p:nvSpPr>
        <p:spPr>
          <a:xfrm>
            <a:off x="0" y="0"/>
            <a:ext cx="12192000" cy="6858000"/>
          </a:xfrm>
          <a:prstGeom prst="rect">
            <a:avLst/>
          </a:prstGeom>
        </p:spPr>
        <p:txBody>
          <a:bodyPr/>
          <a:lstStyle>
            <a:lvl1pPr>
              <a:defRPr>
                <a:latin typeface="Pfizer Tomorrow" panose="02010503040201060303" pitchFamily="50" charset="0"/>
              </a:defRPr>
            </a:lvl1pPr>
          </a:lstStyle>
          <a:p>
            <a:endParaRPr lang="en-US"/>
          </a:p>
        </p:txBody>
      </p:sp>
      <p:sp>
        <p:nvSpPr>
          <p:cNvPr id="3" name="Title 6">
            <a:extLst>
              <a:ext uri="{FF2B5EF4-FFF2-40B4-BE49-F238E27FC236}">
                <a16:creationId xmlns:a16="http://schemas.microsoft.com/office/drawing/2014/main" id="{47779D81-C5B7-9D06-E85C-734849E79E8A}"/>
              </a:ext>
            </a:extLst>
          </p:cNvPr>
          <p:cNvSpPr>
            <a:spLocks noGrp="1"/>
          </p:cNvSpPr>
          <p:nvPr>
            <p:ph type="title" hasCustomPrompt="1"/>
          </p:nvPr>
        </p:nvSpPr>
        <p:spPr>
          <a:xfrm>
            <a:off x="535798" y="648878"/>
            <a:ext cx="9186800" cy="2436565"/>
          </a:xfrm>
          <a:prstGeom prst="rect">
            <a:avLst/>
          </a:prstGeom>
        </p:spPr>
        <p:txBody>
          <a:bodyPr/>
          <a:lstStyle>
            <a:lvl1pPr>
              <a:lnSpc>
                <a:spcPct val="80000"/>
              </a:lnSpc>
              <a:defRPr lang="en-US" sz="7200" b="1" kern="1200" spc="-25" dirty="0">
                <a:solidFill>
                  <a:srgbClr val="0000CA"/>
                </a:solidFill>
                <a:latin typeface="Pfizer Tomorrow" panose="02010503040201060303" pitchFamily="2" charset="77"/>
                <a:ea typeface="+mj-ea"/>
                <a:cs typeface="+mj-cs"/>
              </a:defRPr>
            </a:lvl1pPr>
          </a:lstStyle>
          <a:p>
            <a:r>
              <a:rPr lang="en-US"/>
              <a:t>Thank You</a:t>
            </a:r>
          </a:p>
        </p:txBody>
      </p:sp>
      <p:pic>
        <p:nvPicPr>
          <p:cNvPr id="6" name="Picture 5">
            <a:extLst>
              <a:ext uri="{FF2B5EF4-FFF2-40B4-BE49-F238E27FC236}">
                <a16:creationId xmlns:a16="http://schemas.microsoft.com/office/drawing/2014/main" id="{13AFE22F-10FA-A661-4366-E3D8BAB6FBF3}"/>
              </a:ext>
            </a:extLst>
          </p:cNvPr>
          <p:cNvPicPr>
            <a:picLocks noChangeAspect="1"/>
          </p:cNvPicPr>
          <p:nvPr userDrawn="1"/>
        </p:nvPicPr>
        <p:blipFill>
          <a:blip r:embed="rId2"/>
          <a:stretch>
            <a:fillRect/>
          </a:stretch>
        </p:blipFill>
        <p:spPr>
          <a:xfrm>
            <a:off x="612280" y="5743501"/>
            <a:ext cx="1442647" cy="589788"/>
          </a:xfrm>
          <a:prstGeom prst="rect">
            <a:avLst/>
          </a:prstGeom>
        </p:spPr>
      </p:pic>
    </p:spTree>
    <p:extLst>
      <p:ext uri="{BB962C8B-B14F-4D97-AF65-F5344CB8AC3E}">
        <p14:creationId xmlns:p14="http://schemas.microsoft.com/office/powerpoint/2010/main" val="41312533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Gradient">
    <p:bg>
      <p:bgPr>
        <a:solidFill>
          <a:srgbClr val="0000CA"/>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6D47A1-97CE-922C-686A-788787C6038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0800000">
            <a:off x="-5185" y="446"/>
            <a:ext cx="12197185" cy="6860917"/>
          </a:xfrm>
          <a:prstGeom prst="rect">
            <a:avLst/>
          </a:prstGeom>
        </p:spPr>
      </p:pic>
      <p:sp>
        <p:nvSpPr>
          <p:cNvPr id="2" name="Title 6">
            <a:extLst>
              <a:ext uri="{FF2B5EF4-FFF2-40B4-BE49-F238E27FC236}">
                <a16:creationId xmlns:a16="http://schemas.microsoft.com/office/drawing/2014/main" id="{E124F571-6FC4-F49D-EACA-C6A78832D011}"/>
              </a:ext>
            </a:extLst>
          </p:cNvPr>
          <p:cNvSpPr>
            <a:spLocks noGrp="1"/>
          </p:cNvSpPr>
          <p:nvPr>
            <p:ph type="title" hasCustomPrompt="1"/>
          </p:nvPr>
        </p:nvSpPr>
        <p:spPr>
          <a:xfrm>
            <a:off x="530384" y="615426"/>
            <a:ext cx="9186800" cy="3811609"/>
          </a:xfrm>
          <a:prstGeom prst="rect">
            <a:avLst/>
          </a:prstGeom>
        </p:spPr>
        <p:txBody>
          <a:bodyPr/>
          <a:lstStyle>
            <a:lvl1pPr>
              <a:lnSpc>
                <a:spcPct val="80000"/>
              </a:lnSpc>
              <a:defRPr lang="en-US" sz="7200" b="1" kern="1200" spc="-25" dirty="0">
                <a:solidFill>
                  <a:schemeClr val="bg1"/>
                </a:solidFill>
                <a:latin typeface="Pfizer Tomorrow" panose="02010503040201060303" pitchFamily="2" charset="77"/>
                <a:ea typeface="+mj-ea"/>
                <a:cs typeface="+mj-cs"/>
              </a:defRPr>
            </a:lvl1pPr>
          </a:lstStyle>
          <a:p>
            <a:r>
              <a:rPr lang="en-US"/>
              <a:t>Section Title</a:t>
            </a:r>
          </a:p>
        </p:txBody>
      </p:sp>
      <p:pic>
        <p:nvPicPr>
          <p:cNvPr id="6" name="Picture 5">
            <a:extLst>
              <a:ext uri="{FF2B5EF4-FFF2-40B4-BE49-F238E27FC236}">
                <a16:creationId xmlns:a16="http://schemas.microsoft.com/office/drawing/2014/main" id="{8D60CBD0-72DA-6445-A53B-670F01AC15D4}"/>
              </a:ext>
            </a:extLst>
          </p:cNvPr>
          <p:cNvPicPr>
            <a:picLocks noChangeAspect="1"/>
          </p:cNvPicPr>
          <p:nvPr userDrawn="1"/>
        </p:nvPicPr>
        <p:blipFill>
          <a:blip r:embed="rId3"/>
          <a:stretch>
            <a:fillRect/>
          </a:stretch>
        </p:blipFill>
        <p:spPr>
          <a:xfrm>
            <a:off x="612281" y="6416421"/>
            <a:ext cx="728130" cy="297141"/>
          </a:xfrm>
          <a:prstGeom prst="rect">
            <a:avLst/>
          </a:prstGeom>
        </p:spPr>
      </p:pic>
      <p:sp>
        <p:nvSpPr>
          <p:cNvPr id="10" name="Slide Number Placeholder 9">
            <a:extLst>
              <a:ext uri="{FF2B5EF4-FFF2-40B4-BE49-F238E27FC236}">
                <a16:creationId xmlns:a16="http://schemas.microsoft.com/office/drawing/2014/main" id="{8161C701-D2F2-B87B-74CA-6D6C5009A3A7}"/>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bg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29913657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Blue">
    <p:bg>
      <p:bgPr>
        <a:solidFill>
          <a:srgbClr val="0000CA"/>
        </a:solidFill>
        <a:effectLst/>
      </p:bgPr>
    </p:bg>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E124F571-6FC4-F49D-EACA-C6A78832D011}"/>
              </a:ext>
            </a:extLst>
          </p:cNvPr>
          <p:cNvSpPr>
            <a:spLocks noGrp="1"/>
          </p:cNvSpPr>
          <p:nvPr>
            <p:ph type="title" hasCustomPrompt="1"/>
          </p:nvPr>
        </p:nvSpPr>
        <p:spPr>
          <a:xfrm>
            <a:off x="530384" y="615426"/>
            <a:ext cx="9186800" cy="3811609"/>
          </a:xfrm>
          <a:prstGeom prst="rect">
            <a:avLst/>
          </a:prstGeom>
        </p:spPr>
        <p:txBody>
          <a:bodyPr/>
          <a:lstStyle>
            <a:lvl1pPr>
              <a:lnSpc>
                <a:spcPct val="80000"/>
              </a:lnSpc>
              <a:defRPr lang="en-US" sz="7200" b="1" kern="1200" spc="-25" dirty="0">
                <a:solidFill>
                  <a:schemeClr val="bg1"/>
                </a:solidFill>
                <a:latin typeface="Pfizer Tomorrow" panose="02010503040201060303" pitchFamily="2" charset="77"/>
                <a:ea typeface="+mj-ea"/>
                <a:cs typeface="+mj-cs"/>
              </a:defRPr>
            </a:lvl1pPr>
          </a:lstStyle>
          <a:p>
            <a:r>
              <a:rPr lang="en-US"/>
              <a:t>Section Title</a:t>
            </a:r>
          </a:p>
        </p:txBody>
      </p:sp>
      <p:pic>
        <p:nvPicPr>
          <p:cNvPr id="6" name="Picture 5">
            <a:extLst>
              <a:ext uri="{FF2B5EF4-FFF2-40B4-BE49-F238E27FC236}">
                <a16:creationId xmlns:a16="http://schemas.microsoft.com/office/drawing/2014/main" id="{8D60CBD0-72DA-6445-A53B-670F01AC15D4}"/>
              </a:ext>
            </a:extLst>
          </p:cNvPr>
          <p:cNvPicPr>
            <a:picLocks noChangeAspect="1"/>
          </p:cNvPicPr>
          <p:nvPr userDrawn="1"/>
        </p:nvPicPr>
        <p:blipFill>
          <a:blip r:embed="rId2"/>
          <a:stretch>
            <a:fillRect/>
          </a:stretch>
        </p:blipFill>
        <p:spPr>
          <a:xfrm>
            <a:off x="612281" y="6416421"/>
            <a:ext cx="728130" cy="297141"/>
          </a:xfrm>
          <a:prstGeom prst="rect">
            <a:avLst/>
          </a:prstGeom>
        </p:spPr>
      </p:pic>
      <p:sp>
        <p:nvSpPr>
          <p:cNvPr id="10" name="Slide Number Placeholder 9">
            <a:extLst>
              <a:ext uri="{FF2B5EF4-FFF2-40B4-BE49-F238E27FC236}">
                <a16:creationId xmlns:a16="http://schemas.microsoft.com/office/drawing/2014/main" id="{8161C701-D2F2-B87B-74CA-6D6C5009A3A7}"/>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bg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7588739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Light Blue">
    <p:bg>
      <p:bgPr>
        <a:solidFill>
          <a:srgbClr val="BDE7FF"/>
        </a:solidFill>
        <a:effectLst/>
      </p:bgPr>
    </p:bg>
    <p:spTree>
      <p:nvGrpSpPr>
        <p:cNvPr id="1" name=""/>
        <p:cNvGrpSpPr/>
        <p:nvPr/>
      </p:nvGrpSpPr>
      <p:grpSpPr>
        <a:xfrm>
          <a:off x="0" y="0"/>
          <a:ext cx="0" cy="0"/>
          <a:chOff x="0" y="0"/>
          <a:chExt cx="0" cy="0"/>
        </a:xfrm>
      </p:grpSpPr>
      <p:sp>
        <p:nvSpPr>
          <p:cNvPr id="9" name="Title 6">
            <a:extLst>
              <a:ext uri="{FF2B5EF4-FFF2-40B4-BE49-F238E27FC236}">
                <a16:creationId xmlns:a16="http://schemas.microsoft.com/office/drawing/2014/main" id="{489E405B-0B26-17CF-37C3-F54FFF4BE8A4}"/>
              </a:ext>
            </a:extLst>
          </p:cNvPr>
          <p:cNvSpPr>
            <a:spLocks noGrp="1"/>
          </p:cNvSpPr>
          <p:nvPr>
            <p:ph type="title" hasCustomPrompt="1"/>
          </p:nvPr>
        </p:nvSpPr>
        <p:spPr>
          <a:xfrm>
            <a:off x="530384" y="615426"/>
            <a:ext cx="9186800" cy="3811609"/>
          </a:xfrm>
          <a:prstGeom prst="rect">
            <a:avLst/>
          </a:prstGeom>
        </p:spPr>
        <p:txBody>
          <a:bodyPr/>
          <a:lstStyle>
            <a:lvl1pPr>
              <a:lnSpc>
                <a:spcPct val="80000"/>
              </a:lnSpc>
              <a:defRPr lang="en-US" sz="7200" b="1" kern="1200" spc="-25" dirty="0">
                <a:solidFill>
                  <a:schemeClr val="accent1"/>
                </a:solidFill>
                <a:latin typeface="Pfizer Tomorrow" panose="02010503040201060303" pitchFamily="2" charset="77"/>
                <a:ea typeface="+mj-ea"/>
                <a:cs typeface="+mj-cs"/>
              </a:defRPr>
            </a:lvl1pPr>
          </a:lstStyle>
          <a:p>
            <a:r>
              <a:rPr lang="en-US"/>
              <a:t>Section Title</a:t>
            </a:r>
          </a:p>
        </p:txBody>
      </p:sp>
      <p:sp>
        <p:nvSpPr>
          <p:cNvPr id="3" name="Slide Number Placeholder 9">
            <a:extLst>
              <a:ext uri="{FF2B5EF4-FFF2-40B4-BE49-F238E27FC236}">
                <a16:creationId xmlns:a16="http://schemas.microsoft.com/office/drawing/2014/main" id="{92CDA417-57EF-0352-3CB6-EAB8C0550C4D}"/>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3671507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ig Type Moment Blue">
    <p:bg>
      <p:bgPr>
        <a:solidFill>
          <a:srgbClr val="0000CA"/>
        </a:solidFill>
        <a:effectLst/>
      </p:bgPr>
    </p:bg>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5293E5D7-BC76-0C3B-20A9-B1302B77FA74}"/>
              </a:ext>
            </a:extLst>
          </p:cNvPr>
          <p:cNvSpPr>
            <a:spLocks noGrp="1"/>
          </p:cNvSpPr>
          <p:nvPr>
            <p:ph type="title" hasCustomPrompt="1"/>
          </p:nvPr>
        </p:nvSpPr>
        <p:spPr>
          <a:xfrm>
            <a:off x="491200" y="615426"/>
            <a:ext cx="9186800" cy="3811609"/>
          </a:xfrm>
          <a:prstGeom prst="rect">
            <a:avLst/>
          </a:prstGeom>
        </p:spPr>
        <p:txBody>
          <a:bodyPr/>
          <a:lstStyle>
            <a:lvl1pPr>
              <a:lnSpc>
                <a:spcPct val="80000"/>
              </a:lnSpc>
              <a:defRPr lang="en-US" sz="9648" b="1" kern="1200" spc="-25" dirty="0">
                <a:solidFill>
                  <a:schemeClr val="bg1"/>
                </a:solidFill>
                <a:latin typeface="Pfizer Tomorrow" panose="02010503040201060303" pitchFamily="2" charset="77"/>
                <a:ea typeface="+mj-ea"/>
                <a:cs typeface="+mj-cs"/>
              </a:defRPr>
            </a:lvl1pPr>
          </a:lstStyle>
          <a:p>
            <a:r>
              <a:rPr lang="en-US"/>
              <a:t>“Quote Here”</a:t>
            </a:r>
          </a:p>
        </p:txBody>
      </p:sp>
      <p:pic>
        <p:nvPicPr>
          <p:cNvPr id="5" name="Picture 4">
            <a:extLst>
              <a:ext uri="{FF2B5EF4-FFF2-40B4-BE49-F238E27FC236}">
                <a16:creationId xmlns:a16="http://schemas.microsoft.com/office/drawing/2014/main" id="{144CD7AC-15CA-BAAE-222B-57C9B9AC8A5F}"/>
              </a:ext>
            </a:extLst>
          </p:cNvPr>
          <p:cNvPicPr>
            <a:picLocks noChangeAspect="1"/>
          </p:cNvPicPr>
          <p:nvPr userDrawn="1"/>
        </p:nvPicPr>
        <p:blipFill>
          <a:blip r:embed="rId2"/>
          <a:stretch>
            <a:fillRect/>
          </a:stretch>
        </p:blipFill>
        <p:spPr>
          <a:xfrm>
            <a:off x="612281" y="6416125"/>
            <a:ext cx="728130" cy="297141"/>
          </a:xfrm>
          <a:prstGeom prst="rect">
            <a:avLst/>
          </a:prstGeom>
        </p:spPr>
      </p:pic>
      <p:sp>
        <p:nvSpPr>
          <p:cNvPr id="11" name="Slide Number Placeholder 9">
            <a:extLst>
              <a:ext uri="{FF2B5EF4-FFF2-40B4-BE49-F238E27FC236}">
                <a16:creationId xmlns:a16="http://schemas.microsoft.com/office/drawing/2014/main" id="{8A74B7EC-2FFD-BEEE-5564-3E993663E76B}"/>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bg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129078576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image" Target="../media/image1.emf"/><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1.emf"/><Relationship Id="rId5" Type="http://schemas.openxmlformats.org/officeDocument/2006/relationships/theme" Target="../theme/theme3.xml"/><Relationship Id="rId4"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4.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2.xml"/><Relationship Id="rId7" Type="http://schemas.openxmlformats.org/officeDocument/2006/relationships/theme" Target="../theme/theme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1.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7.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1.emf"/><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heme" Target="../theme/theme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image" Target="../media/image1.emf"/><Relationship Id="rId5" Type="http://schemas.openxmlformats.org/officeDocument/2006/relationships/theme" Target="../theme/theme9.xml"/><Relationship Id="rId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Slide Number Placeholder 9">
            <a:extLst>
              <a:ext uri="{FF2B5EF4-FFF2-40B4-BE49-F238E27FC236}">
                <a16:creationId xmlns:a16="http://schemas.microsoft.com/office/drawing/2014/main" id="{111582FF-352D-3C9E-EBF3-7F589EFBB611}"/>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pic>
        <p:nvPicPr>
          <p:cNvPr id="2" name="Picture 1">
            <a:extLst>
              <a:ext uri="{FF2B5EF4-FFF2-40B4-BE49-F238E27FC236}">
                <a16:creationId xmlns:a16="http://schemas.microsoft.com/office/drawing/2014/main" id="{61DAFE7A-4E4D-248C-7CF5-B18678B344D7}"/>
              </a:ext>
            </a:extLst>
          </p:cNvPr>
          <p:cNvPicPr>
            <a:picLocks noChangeAspect="1"/>
          </p:cNvPicPr>
          <p:nvPr userDrawn="1"/>
        </p:nvPicPr>
        <p:blipFill>
          <a:blip r:embed="rId7"/>
          <a:stretch>
            <a:fillRect/>
          </a:stretch>
        </p:blipFill>
        <p:spPr>
          <a:xfrm>
            <a:off x="612281" y="6416506"/>
            <a:ext cx="723405" cy="295745"/>
          </a:xfrm>
          <a:prstGeom prst="rect">
            <a:avLst/>
          </a:prstGeom>
        </p:spPr>
      </p:pic>
    </p:spTree>
    <p:extLst>
      <p:ext uri="{BB962C8B-B14F-4D97-AF65-F5344CB8AC3E}">
        <p14:creationId xmlns:p14="http://schemas.microsoft.com/office/powerpoint/2010/main" val="339428803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801" r:id="rId3"/>
    <p:sldLayoutId id="2147483708" r:id="rId4"/>
    <p:sldLayoutId id="2147483857" r:id="rId5"/>
  </p:sldLayoutIdLst>
  <p:hf hdr="0"/>
  <p:txStyles>
    <p:titleStyle>
      <a:lvl1pPr algn="l" defTabSz="914171"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384" userDrawn="1">
          <p15:clr>
            <a:srgbClr val="F26B43"/>
          </p15:clr>
        </p15:guide>
        <p15:guide id="3" pos="7296" userDrawn="1">
          <p15:clr>
            <a:srgbClr val="F26B43"/>
          </p15:clr>
        </p15:guide>
        <p15:guide id="4" orient="horz" pos="432" userDrawn="1">
          <p15:clr>
            <a:srgbClr val="F26B43"/>
          </p15:clr>
        </p15:guide>
        <p15:guide id="5" orient="horz" pos="417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098796-A988-4471-0BB8-8015408CA53B}"/>
              </a:ext>
            </a:extLst>
          </p:cNvPr>
          <p:cNvPicPr>
            <a:picLocks noChangeAspect="1"/>
          </p:cNvPicPr>
          <p:nvPr userDrawn="1"/>
        </p:nvPicPr>
        <p:blipFill>
          <a:blip r:embed="rId5"/>
          <a:stretch>
            <a:fillRect/>
          </a:stretch>
        </p:blipFill>
        <p:spPr>
          <a:xfrm>
            <a:off x="612281" y="6416506"/>
            <a:ext cx="723405" cy="295745"/>
          </a:xfrm>
          <a:prstGeom prst="rect">
            <a:avLst/>
          </a:prstGeom>
        </p:spPr>
      </p:pic>
      <p:sp>
        <p:nvSpPr>
          <p:cNvPr id="5" name="Slide Number Placeholder 9">
            <a:extLst>
              <a:ext uri="{FF2B5EF4-FFF2-40B4-BE49-F238E27FC236}">
                <a16:creationId xmlns:a16="http://schemas.microsoft.com/office/drawing/2014/main" id="{675BA305-C567-1249-1AE8-6D402627C621}"/>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49712645"/>
      </p:ext>
    </p:extLst>
  </p:cSld>
  <p:clrMap bg1="lt1" tx1="dk1" bg2="lt2" tx2="dk2" accent1="accent1" accent2="accent2" accent3="accent3" accent4="accent4" accent5="accent5" accent6="accent6" hlink="hlink" folHlink="folHlink"/>
  <p:sldLayoutIdLst>
    <p:sldLayoutId id="2147483832" r:id="rId1"/>
    <p:sldLayoutId id="2147483735" r:id="rId2"/>
    <p:sldLayoutId id="2147483736" r:id="rId3"/>
  </p:sldLayoutIdLst>
  <p:hf hdr="0"/>
  <p:txStyles>
    <p:titleStyle>
      <a:lvl1pPr algn="l" defTabSz="914171" rtl="0" eaLnBrk="1" latinLnBrk="0" hangingPunct="1">
        <a:lnSpc>
          <a:spcPct val="90000"/>
        </a:lnSpc>
        <a:spcBef>
          <a:spcPct val="0"/>
        </a:spcBef>
        <a:buNone/>
        <a:defRPr lang="en-US" sz="2999" b="1" kern="1200" spc="-25" dirty="0">
          <a:solidFill>
            <a:schemeClr val="accent1"/>
          </a:solidFill>
          <a:latin typeface="Pfizer Tomorrow" panose="02010503040201060303" pitchFamily="2" charset="77"/>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lang="en-US" sz="1600" kern="1200" spc="-50" dirty="0" smtClean="0">
          <a:solidFill>
            <a:srgbClr val="02005E"/>
          </a:solidFill>
          <a:latin typeface="Pfizer Diatype" panose="020B0504040202060203" pitchFamily="34" charset="77"/>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lang="en-US" sz="1600" kern="1200" spc="-50" dirty="0" smtClean="0">
          <a:solidFill>
            <a:srgbClr val="02005E"/>
          </a:solidFill>
          <a:latin typeface="Pfizer Diatype" panose="020B0504040202060203" pitchFamily="34" charset="77"/>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lang="en-US" sz="1600" kern="1200" spc="-50" dirty="0" smtClean="0">
          <a:solidFill>
            <a:srgbClr val="02005E"/>
          </a:solidFill>
          <a:latin typeface="Pfizer Diatype" panose="020B0504040202060203" pitchFamily="34" charset="77"/>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lang="en-US" sz="1600" kern="1200" spc="-50" dirty="0" smtClean="0">
          <a:solidFill>
            <a:srgbClr val="02005E"/>
          </a:solidFill>
          <a:latin typeface="Pfizer Diatype" panose="020B0504040202060203" pitchFamily="34" charset="77"/>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lang="en-US" sz="1600" kern="1200" spc="-50" dirty="0" smtClean="0">
          <a:solidFill>
            <a:srgbClr val="02005E"/>
          </a:solidFill>
          <a:latin typeface="Pfizer Diatype" panose="020B0504040202060203" pitchFamily="34" charset="77"/>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384" userDrawn="1">
          <p15:clr>
            <a:srgbClr val="F26B43"/>
          </p15:clr>
        </p15:guide>
        <p15:guide id="3" pos="7296" userDrawn="1">
          <p15:clr>
            <a:srgbClr val="F26B43"/>
          </p15:clr>
        </p15:guide>
        <p15:guide id="4" orient="horz" pos="432" userDrawn="1">
          <p15:clr>
            <a:srgbClr val="F26B43"/>
          </p15:clr>
        </p15:guide>
        <p15:guide id="5" orient="horz" pos="417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9B84BF-B779-B310-0AAB-3D6C2DCB6AD1}"/>
              </a:ext>
            </a:extLst>
          </p:cNvPr>
          <p:cNvPicPr>
            <a:picLocks noChangeAspect="1"/>
          </p:cNvPicPr>
          <p:nvPr userDrawn="1"/>
        </p:nvPicPr>
        <p:blipFill>
          <a:blip r:embed="rId6"/>
          <a:stretch>
            <a:fillRect/>
          </a:stretch>
        </p:blipFill>
        <p:spPr>
          <a:xfrm>
            <a:off x="612281" y="6416506"/>
            <a:ext cx="723405" cy="295745"/>
          </a:xfrm>
          <a:prstGeom prst="rect">
            <a:avLst/>
          </a:prstGeom>
        </p:spPr>
      </p:pic>
      <p:sp>
        <p:nvSpPr>
          <p:cNvPr id="5" name="Slide Number Placeholder 9">
            <a:extLst>
              <a:ext uri="{FF2B5EF4-FFF2-40B4-BE49-F238E27FC236}">
                <a16:creationId xmlns:a16="http://schemas.microsoft.com/office/drawing/2014/main" id="{292F4DF8-E9AE-B2C6-295A-4256F4DD42DF}"/>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4181194210"/>
      </p:ext>
    </p:extLst>
  </p:cSld>
  <p:clrMap bg1="lt1" tx1="dk1" bg2="lt2" tx2="dk2" accent1="accent1" accent2="accent2" accent3="accent3" accent4="accent4" accent5="accent5" accent6="accent6" hlink="hlink" folHlink="folHlink"/>
  <p:sldLayoutIdLst>
    <p:sldLayoutId id="2147483765" r:id="rId1"/>
    <p:sldLayoutId id="2147483751" r:id="rId2"/>
    <p:sldLayoutId id="2147483852" r:id="rId3"/>
    <p:sldLayoutId id="2147483752" r:id="rId4"/>
  </p:sldLayoutIdLst>
  <p:hf hdr="0"/>
  <p:txStyles>
    <p:titleStyle>
      <a:lvl1pPr algn="l" defTabSz="914171"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384" userDrawn="1">
          <p15:clr>
            <a:srgbClr val="F26B43"/>
          </p15:clr>
        </p15:guide>
        <p15:guide id="3" pos="7296" userDrawn="1">
          <p15:clr>
            <a:srgbClr val="F26B43"/>
          </p15:clr>
        </p15:guide>
        <p15:guide id="4" orient="horz" pos="432" userDrawn="1">
          <p15:clr>
            <a:srgbClr val="F26B43"/>
          </p15:clr>
        </p15:guide>
        <p15:guide id="5" orient="horz" pos="4176"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A2A5721-F222-47E0-4115-FFBDAF93414E}"/>
              </a:ext>
            </a:extLst>
          </p:cNvPr>
          <p:cNvPicPr>
            <a:picLocks noChangeAspect="1"/>
          </p:cNvPicPr>
          <p:nvPr userDrawn="1"/>
        </p:nvPicPr>
        <p:blipFill>
          <a:blip r:embed="rId7"/>
          <a:stretch>
            <a:fillRect/>
          </a:stretch>
        </p:blipFill>
        <p:spPr>
          <a:xfrm>
            <a:off x="612281" y="6416506"/>
            <a:ext cx="723405" cy="295745"/>
          </a:xfrm>
          <a:prstGeom prst="rect">
            <a:avLst/>
          </a:prstGeom>
        </p:spPr>
      </p:pic>
      <p:sp>
        <p:nvSpPr>
          <p:cNvPr id="5" name="Slide Number Placeholder 9">
            <a:extLst>
              <a:ext uri="{FF2B5EF4-FFF2-40B4-BE49-F238E27FC236}">
                <a16:creationId xmlns:a16="http://schemas.microsoft.com/office/drawing/2014/main" id="{0A4A460E-BE3F-AA73-B221-BF1C9E84D6C0}"/>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1459128442"/>
      </p:ext>
    </p:extLst>
  </p:cSld>
  <p:clrMap bg1="lt1" tx1="dk1" bg2="lt2" tx2="dk2" accent1="accent1" accent2="accent2" accent3="accent3" accent4="accent4" accent5="accent5" accent6="accent6" hlink="hlink" folHlink="folHlink"/>
  <p:sldLayoutIdLst>
    <p:sldLayoutId id="2147483827" r:id="rId1"/>
    <p:sldLayoutId id="2147483740" r:id="rId2"/>
    <p:sldLayoutId id="2147483741" r:id="rId3"/>
    <p:sldLayoutId id="2147483742" r:id="rId4"/>
    <p:sldLayoutId id="2147483743" r:id="rId5"/>
  </p:sldLayoutIdLst>
  <p:hf hdr="0"/>
  <p:txStyles>
    <p:titleStyle>
      <a:lvl1pPr algn="l" defTabSz="914171"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384" userDrawn="1">
          <p15:clr>
            <a:srgbClr val="F26B43"/>
          </p15:clr>
        </p15:guide>
        <p15:guide id="3" pos="7296" userDrawn="1">
          <p15:clr>
            <a:srgbClr val="F26B43"/>
          </p15:clr>
        </p15:guide>
        <p15:guide id="4" orient="horz" pos="432" userDrawn="1">
          <p15:clr>
            <a:srgbClr val="F26B43"/>
          </p15:clr>
        </p15:guide>
        <p15:guide id="5" orient="horz" pos="4176"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A2A5721-F222-47E0-4115-FFBDAF93414E}"/>
              </a:ext>
            </a:extLst>
          </p:cNvPr>
          <p:cNvPicPr>
            <a:picLocks noChangeAspect="1"/>
          </p:cNvPicPr>
          <p:nvPr userDrawn="1"/>
        </p:nvPicPr>
        <p:blipFill>
          <a:blip r:embed="rId4"/>
          <a:stretch>
            <a:fillRect/>
          </a:stretch>
        </p:blipFill>
        <p:spPr>
          <a:xfrm>
            <a:off x="612281" y="6416506"/>
            <a:ext cx="723405" cy="295745"/>
          </a:xfrm>
          <a:prstGeom prst="rect">
            <a:avLst/>
          </a:prstGeom>
        </p:spPr>
      </p:pic>
      <p:sp>
        <p:nvSpPr>
          <p:cNvPr id="5" name="Slide Number Placeholder 9">
            <a:extLst>
              <a:ext uri="{FF2B5EF4-FFF2-40B4-BE49-F238E27FC236}">
                <a16:creationId xmlns:a16="http://schemas.microsoft.com/office/drawing/2014/main" id="{0A4A460E-BE3F-AA73-B221-BF1C9E84D6C0}"/>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1115201950"/>
      </p:ext>
    </p:extLst>
  </p:cSld>
  <p:clrMap bg1="lt1" tx1="dk1" bg2="lt2" tx2="dk2" accent1="accent1" accent2="accent2" accent3="accent3" accent4="accent4" accent5="accent5" accent6="accent6" hlink="hlink" folHlink="folHlink"/>
  <p:sldLayoutIdLst>
    <p:sldLayoutId id="2147483855" r:id="rId1"/>
    <p:sldLayoutId id="2147483856" r:id="rId2"/>
  </p:sldLayoutIdLst>
  <p:hf hdr="0"/>
  <p:txStyles>
    <p:titleStyle>
      <a:lvl1pPr algn="l" defTabSz="914171"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384">
          <p15:clr>
            <a:srgbClr val="F26B43"/>
          </p15:clr>
        </p15:guide>
        <p15:guide id="3" pos="7296">
          <p15:clr>
            <a:srgbClr val="F26B43"/>
          </p15:clr>
        </p15:guide>
        <p15:guide id="4" orient="horz" pos="432">
          <p15:clr>
            <a:srgbClr val="F26B43"/>
          </p15:clr>
        </p15:guide>
        <p15:guide id="5" orient="horz" pos="417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8FB75FA-0C04-12A3-D852-1ECEEF3568CE}"/>
              </a:ext>
            </a:extLst>
          </p:cNvPr>
          <p:cNvPicPr>
            <a:picLocks noChangeAspect="1"/>
          </p:cNvPicPr>
          <p:nvPr userDrawn="1"/>
        </p:nvPicPr>
        <p:blipFill>
          <a:blip r:embed="rId8"/>
          <a:stretch>
            <a:fillRect/>
          </a:stretch>
        </p:blipFill>
        <p:spPr>
          <a:xfrm>
            <a:off x="612281" y="6416506"/>
            <a:ext cx="723405" cy="295745"/>
          </a:xfrm>
          <a:prstGeom prst="rect">
            <a:avLst/>
          </a:prstGeom>
        </p:spPr>
      </p:pic>
      <p:sp>
        <p:nvSpPr>
          <p:cNvPr id="5" name="Slide Number Placeholder 9">
            <a:extLst>
              <a:ext uri="{FF2B5EF4-FFF2-40B4-BE49-F238E27FC236}">
                <a16:creationId xmlns:a16="http://schemas.microsoft.com/office/drawing/2014/main" id="{44484731-ACBB-CFB1-5F51-261741EA66C0}"/>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1999187029"/>
      </p:ext>
    </p:extLst>
  </p:cSld>
  <p:clrMap bg1="lt1" tx1="dk1" bg2="lt2" tx2="dk2" accent1="accent1" accent2="accent2" accent3="accent3" accent4="accent4" accent5="accent5" accent6="accent6" hlink="hlink" folHlink="folHlink"/>
  <p:sldLayoutIdLst>
    <p:sldLayoutId id="2147483738" r:id="rId1"/>
    <p:sldLayoutId id="2147483748" r:id="rId2"/>
    <p:sldLayoutId id="2147483737" r:id="rId3"/>
    <p:sldLayoutId id="2147483746" r:id="rId4"/>
    <p:sldLayoutId id="2147483744" r:id="rId5"/>
    <p:sldLayoutId id="2147483853" r:id="rId6"/>
  </p:sldLayoutIdLst>
  <p:hf hdr="0"/>
  <p:txStyles>
    <p:titleStyle>
      <a:lvl1pPr algn="l" defTabSz="914171"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384" userDrawn="1">
          <p15:clr>
            <a:srgbClr val="F26B43"/>
          </p15:clr>
        </p15:guide>
        <p15:guide id="3" pos="7296" userDrawn="1">
          <p15:clr>
            <a:srgbClr val="F26B43"/>
          </p15:clr>
        </p15:guide>
        <p15:guide id="4" orient="horz" pos="432" userDrawn="1">
          <p15:clr>
            <a:srgbClr val="F26B43"/>
          </p15:clr>
        </p15:guide>
        <p15:guide id="5" orient="horz" pos="4176" userDrawn="1">
          <p15:clr>
            <a:srgbClr val="F26B43"/>
          </p15:clr>
        </p15:guide>
        <p15:guide id="7" orient="horz" pos="264"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FA48C2-5C11-E780-96B2-F3C711F05681}"/>
              </a:ext>
            </a:extLst>
          </p:cNvPr>
          <p:cNvPicPr>
            <a:picLocks noChangeAspect="1"/>
          </p:cNvPicPr>
          <p:nvPr userDrawn="1"/>
        </p:nvPicPr>
        <p:blipFill>
          <a:blip r:embed="rId7"/>
          <a:stretch>
            <a:fillRect/>
          </a:stretch>
        </p:blipFill>
        <p:spPr>
          <a:xfrm>
            <a:off x="612281" y="6416506"/>
            <a:ext cx="723405" cy="295745"/>
          </a:xfrm>
          <a:prstGeom prst="rect">
            <a:avLst/>
          </a:prstGeom>
        </p:spPr>
      </p:pic>
      <p:sp>
        <p:nvSpPr>
          <p:cNvPr id="5" name="Slide Number Placeholder 9">
            <a:extLst>
              <a:ext uri="{FF2B5EF4-FFF2-40B4-BE49-F238E27FC236}">
                <a16:creationId xmlns:a16="http://schemas.microsoft.com/office/drawing/2014/main" id="{89356CAE-21AB-CA68-3F99-0FC11B5AFA26}"/>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350578853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Lst>
  <p:hf hdr="0"/>
  <p:txStyles>
    <p:titleStyle>
      <a:lvl1pPr algn="l" defTabSz="914171"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384" userDrawn="1">
          <p15:clr>
            <a:srgbClr val="F26B43"/>
          </p15:clr>
        </p15:guide>
        <p15:guide id="3" pos="7296" userDrawn="1">
          <p15:clr>
            <a:srgbClr val="F26B43"/>
          </p15:clr>
        </p15:guide>
        <p15:guide id="4" orient="horz" pos="432" userDrawn="1">
          <p15:clr>
            <a:srgbClr val="F26B43"/>
          </p15:clr>
        </p15:guide>
        <p15:guide id="5" orient="horz" pos="4176"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itle Placeholder 5">
            <a:extLst>
              <a:ext uri="{FF2B5EF4-FFF2-40B4-BE49-F238E27FC236}">
                <a16:creationId xmlns:a16="http://schemas.microsoft.com/office/drawing/2014/main" id="{39B0011B-F0AA-D86B-9BB0-AC7677E63AAF}"/>
              </a:ext>
            </a:extLst>
          </p:cNvPr>
          <p:cNvSpPr>
            <a:spLocks noGrp="1"/>
          </p:cNvSpPr>
          <p:nvPr>
            <p:ph type="title"/>
          </p:nvPr>
        </p:nvSpPr>
        <p:spPr>
          <a:xfrm>
            <a:off x="525482" y="167233"/>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8" name="Text Placeholder 7">
            <a:extLst>
              <a:ext uri="{FF2B5EF4-FFF2-40B4-BE49-F238E27FC236}">
                <a16:creationId xmlns:a16="http://schemas.microsoft.com/office/drawing/2014/main" id="{88BC3E7C-66CE-3A33-1042-2C02798E4945}"/>
              </a:ext>
            </a:extLst>
          </p:cNvPr>
          <p:cNvSpPr>
            <a:spLocks noGrp="1"/>
          </p:cNvSpPr>
          <p:nvPr>
            <p:ph type="body" idx="1"/>
          </p:nvPr>
        </p:nvSpPr>
        <p:spPr>
          <a:xfrm>
            <a:off x="525482" y="1344759"/>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6EB5273E-2A11-86B8-0528-1CB3EB476BC5}"/>
              </a:ext>
            </a:extLst>
          </p:cNvPr>
          <p:cNvPicPr>
            <a:picLocks noChangeAspect="1"/>
          </p:cNvPicPr>
          <p:nvPr userDrawn="1"/>
        </p:nvPicPr>
        <p:blipFill>
          <a:blip r:embed="rId24"/>
          <a:stretch>
            <a:fillRect/>
          </a:stretch>
        </p:blipFill>
        <p:spPr>
          <a:xfrm>
            <a:off x="612281" y="6416506"/>
            <a:ext cx="723405" cy="295745"/>
          </a:xfrm>
          <a:prstGeom prst="rect">
            <a:avLst/>
          </a:prstGeom>
        </p:spPr>
      </p:pic>
      <p:sp>
        <p:nvSpPr>
          <p:cNvPr id="4" name="Slide Number Placeholder 9">
            <a:extLst>
              <a:ext uri="{FF2B5EF4-FFF2-40B4-BE49-F238E27FC236}">
                <a16:creationId xmlns:a16="http://schemas.microsoft.com/office/drawing/2014/main" id="{6405B387-99F0-5E23-C248-9E625C0F8EE0}"/>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spTree>
    <p:extLst>
      <p:ext uri="{BB962C8B-B14F-4D97-AF65-F5344CB8AC3E}">
        <p14:creationId xmlns:p14="http://schemas.microsoft.com/office/powerpoint/2010/main" val="4186901532"/>
      </p:ext>
    </p:extLst>
  </p:cSld>
  <p:clrMap bg1="lt1" tx1="dk1" bg2="lt2" tx2="dk2" accent1="accent1" accent2="accent2" accent3="accent3" accent4="accent4" accent5="accent5" accent6="accent6" hlink="hlink" folHlink="folHlink"/>
  <p:sldLayoutIdLst>
    <p:sldLayoutId id="2147483791" r:id="rId1"/>
    <p:sldLayoutId id="2147483666" r:id="rId2"/>
    <p:sldLayoutId id="2147483664" r:id="rId3"/>
    <p:sldLayoutId id="2147483669" r:id="rId4"/>
    <p:sldLayoutId id="2147483670" r:id="rId5"/>
    <p:sldLayoutId id="2147483676"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Lst>
  <p:hf hdr="0"/>
  <p:txStyles>
    <p:titleStyle>
      <a:lvl1pPr marL="0" algn="l" defTabSz="914171" rtl="0" eaLnBrk="1" latinLnBrk="0" hangingPunct="1">
        <a:lnSpc>
          <a:spcPct val="90000"/>
        </a:lnSpc>
        <a:spcBef>
          <a:spcPct val="0"/>
        </a:spcBef>
        <a:buNone/>
        <a:defRPr lang="en-US" sz="2999" b="1" kern="1200" spc="-25" dirty="0">
          <a:solidFill>
            <a:schemeClr val="accent1"/>
          </a:solidFill>
          <a:latin typeface="Pfizer Tomorrow" panose="02010503040201060303" pitchFamily="2" charset="77"/>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sz="1600" b="0" i="0" kern="1200">
          <a:solidFill>
            <a:schemeClr val="tx1"/>
          </a:solidFill>
          <a:latin typeface="Pfizer Tomorrow" panose="02010503040201060303" pitchFamily="50" charset="0"/>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sz="1600" b="0" i="0" kern="1200">
          <a:solidFill>
            <a:schemeClr val="tx1"/>
          </a:solidFill>
          <a:latin typeface="Pfizer Tomorrow" panose="02010503040201060303" pitchFamily="50" charset="0"/>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sz="1600" b="0" i="0" kern="1200">
          <a:solidFill>
            <a:schemeClr val="tx1"/>
          </a:solidFill>
          <a:latin typeface="Pfizer Tomorrow" panose="02010503040201060303" pitchFamily="50" charset="0"/>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sz="1600" b="0" i="0" kern="1200">
          <a:solidFill>
            <a:schemeClr val="tx1"/>
          </a:solidFill>
          <a:latin typeface="Pfizer Tomorrow" panose="02010503040201060303" pitchFamily="50" charset="0"/>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sz="1600" b="0" i="0" kern="1200">
          <a:solidFill>
            <a:schemeClr val="tx1"/>
          </a:solidFill>
          <a:latin typeface="Pfizer Tomorrow" panose="02010503040201060303" pitchFamily="50" charset="0"/>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384" userDrawn="1">
          <p15:clr>
            <a:srgbClr val="F26B43"/>
          </p15:clr>
        </p15:guide>
        <p15:guide id="3" pos="7296" userDrawn="1">
          <p15:clr>
            <a:srgbClr val="F26B43"/>
          </p15:clr>
        </p15:guide>
        <p15:guide id="4" orient="horz" pos="432" userDrawn="1">
          <p15:clr>
            <a:srgbClr val="F26B43"/>
          </p15:clr>
        </p15:guide>
        <p15:guide id="5" orient="horz" pos="4176"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Slide Number Placeholder 9">
            <a:extLst>
              <a:ext uri="{FF2B5EF4-FFF2-40B4-BE49-F238E27FC236}">
                <a16:creationId xmlns:a16="http://schemas.microsoft.com/office/drawing/2014/main" id="{111582FF-352D-3C9E-EBF3-7F589EFBB611}"/>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1" i="0">
                <a:solidFill>
                  <a:schemeClr val="accent1"/>
                </a:solidFill>
                <a:latin typeface="Pfizer Tomorrow" panose="02010503040201060303" pitchFamily="50" charset="0"/>
              </a:defRPr>
            </a:lvl1pPr>
          </a:lstStyle>
          <a:p>
            <a:fld id="{2B39012A-6F33-204B-8224-A57BEFB0AAD0}" type="slidenum">
              <a:rPr lang="en-US" smtClean="0"/>
              <a:pPr/>
              <a:t>‹#›</a:t>
            </a:fld>
            <a:endParaRPr lang="en-US"/>
          </a:p>
        </p:txBody>
      </p:sp>
      <p:pic>
        <p:nvPicPr>
          <p:cNvPr id="2" name="Picture 1">
            <a:extLst>
              <a:ext uri="{FF2B5EF4-FFF2-40B4-BE49-F238E27FC236}">
                <a16:creationId xmlns:a16="http://schemas.microsoft.com/office/drawing/2014/main" id="{61DAFE7A-4E4D-248C-7CF5-B18678B344D7}"/>
              </a:ext>
            </a:extLst>
          </p:cNvPr>
          <p:cNvPicPr>
            <a:picLocks noChangeAspect="1"/>
          </p:cNvPicPr>
          <p:nvPr userDrawn="1"/>
        </p:nvPicPr>
        <p:blipFill>
          <a:blip r:embed="rId6"/>
          <a:stretch>
            <a:fillRect/>
          </a:stretch>
        </p:blipFill>
        <p:spPr>
          <a:xfrm>
            <a:off x="612281" y="6416506"/>
            <a:ext cx="723405" cy="295745"/>
          </a:xfrm>
          <a:prstGeom prst="rect">
            <a:avLst/>
          </a:prstGeom>
        </p:spPr>
      </p:pic>
    </p:spTree>
    <p:extLst>
      <p:ext uri="{BB962C8B-B14F-4D97-AF65-F5344CB8AC3E}">
        <p14:creationId xmlns:p14="http://schemas.microsoft.com/office/powerpoint/2010/main" val="3131387938"/>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hf hdr="0"/>
  <p:txStyles>
    <p:titleStyle>
      <a:lvl1pPr algn="l" defTabSz="914171"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384">
          <p15:clr>
            <a:srgbClr val="F26B43"/>
          </p15:clr>
        </p15:guide>
        <p15:guide id="3" pos="7296">
          <p15:clr>
            <a:srgbClr val="F26B43"/>
          </p15:clr>
        </p15:guide>
        <p15:guide id="4" orient="horz" pos="432">
          <p15:clr>
            <a:srgbClr val="F26B43"/>
          </p15:clr>
        </p15:guide>
        <p15:guide id="5" orient="horz" pos="417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 Id="rId5" Type="http://schemas.openxmlformats.org/officeDocument/2006/relationships/image" Target="../media/image7.jpe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8.png"/><Relationship Id="rId7" Type="http://schemas.openxmlformats.org/officeDocument/2006/relationships/hyperlink" Target="https://www.health.belgium.be/sites/default/files/uploads/fields/fpshealth_theme_file/20230918_shc-9725_rsv_vaccination_adults_vweb_1.pdf" TargetMode="External"/><Relationship Id="rId2" Type="http://schemas.openxmlformats.org/officeDocument/2006/relationships/notesSlide" Target="../notesSlides/notesSlide6.xml"/><Relationship Id="rId1" Type="http://schemas.openxmlformats.org/officeDocument/2006/relationships/slideLayout" Target="../slideLayouts/slideLayout3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9.svg"/><Relationship Id="rId9" Type="http://schemas.openxmlformats.org/officeDocument/2006/relationships/image" Target="../media/image6.pn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31.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6.png"/><Relationship Id="rId4" Type="http://schemas.openxmlformats.org/officeDocument/2006/relationships/image" Target="../media/image21.svg"/><Relationship Id="rId9" Type="http://schemas.openxmlformats.org/officeDocument/2006/relationships/image" Target="../media/image5.png"/></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31.xml"/><Relationship Id="rId5" Type="http://schemas.openxmlformats.org/officeDocument/2006/relationships/image" Target="../media/image6.png"/><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31.xml"/><Relationship Id="rId5" Type="http://schemas.openxmlformats.org/officeDocument/2006/relationships/image" Target="../media/image6.png"/><Relationship Id="rId4" Type="http://schemas.openxmlformats.org/officeDocument/2006/relationships/image" Target="../media/image28.svg"/></Relationships>
</file>

<file path=ppt/slides/_rels/slide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1.xml"/><Relationship Id="rId1" Type="http://schemas.openxmlformats.org/officeDocument/2006/relationships/tags" Target="../tags/tag3.xml"/><Relationship Id="rId5" Type="http://schemas.openxmlformats.org/officeDocument/2006/relationships/image" Target="../media/image6.png"/><Relationship Id="rId4" Type="http://schemas.openxmlformats.org/officeDocument/2006/relationships/image" Target="../media/image29.emf"/></Relationships>
</file>

<file path=ppt/slides/_rels/slide19.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31.xml"/><Relationship Id="rId6" Type="http://schemas.openxmlformats.org/officeDocument/2006/relationships/image" Target="../media/image33.svg"/><Relationship Id="rId11" Type="http://schemas.openxmlformats.org/officeDocument/2006/relationships/image" Target="../media/image6.png"/><Relationship Id="rId5" Type="http://schemas.openxmlformats.org/officeDocument/2006/relationships/image" Target="../media/image32.png"/><Relationship Id="rId10" Type="http://schemas.openxmlformats.org/officeDocument/2006/relationships/image" Target="../media/image37.svg"/><Relationship Id="rId4" Type="http://schemas.openxmlformats.org/officeDocument/2006/relationships/image" Target="../media/image31.svg"/><Relationship Id="rId9"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31.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svg"/><Relationship Id="rId9"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31.xml"/><Relationship Id="rId4" Type="http://schemas.openxmlformats.org/officeDocument/2006/relationships/image" Target="../media/image6.png"/></Relationships>
</file>

<file path=ppt/slides/_rels/slide2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31.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 Id="rId9" Type="http://schemas.openxmlformats.org/officeDocument/2006/relationships/image" Target="../media/image6.png"/></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31.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slides/_rels/slide2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9.xml"/><Relationship Id="rId1" Type="http://schemas.openxmlformats.org/officeDocument/2006/relationships/slideLayout" Target="../slideLayouts/slideLayout31.xml"/><Relationship Id="rId4" Type="http://schemas.openxmlformats.org/officeDocument/2006/relationships/image" Target="../media/image6.png"/></Relationships>
</file>

<file path=ppt/slides/_rels/slide2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0.xml"/><Relationship Id="rId1" Type="http://schemas.openxmlformats.org/officeDocument/2006/relationships/slideLayout" Target="../slideLayouts/slideLayout31.xml"/><Relationship Id="rId4" Type="http://schemas.openxmlformats.org/officeDocument/2006/relationships/image" Target="../media/image6.png"/></Relationships>
</file>

<file path=ppt/slides/_rels/slide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1.xml"/><Relationship Id="rId1" Type="http://schemas.openxmlformats.org/officeDocument/2006/relationships/slideLayout" Target="../slideLayouts/slideLayout31.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6.png"/><Relationship Id="rId4" Type="http://schemas.openxmlformats.org/officeDocument/2006/relationships/diagramLayout" Target="../diagrams/layout1.xml"/><Relationship Id="rId9" Type="http://schemas.openxmlformats.org/officeDocument/2006/relationships/image" Target="../media/image54.sv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1.xml"/></Relationships>
</file>

<file path=ppt/slides/_rels/slide3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2.xml"/><Relationship Id="rId1" Type="http://schemas.openxmlformats.org/officeDocument/2006/relationships/slideLayout" Target="../slideLayouts/slideLayout31.xml"/><Relationship Id="rId4" Type="http://schemas.openxmlformats.org/officeDocument/2006/relationships/image" Target="../media/image6.png"/></Relationships>
</file>

<file path=ppt/slides/_rels/slide31.xml.rels><?xml version="1.0" encoding="UTF-8" standalone="yes"?>
<Relationships xmlns="http://schemas.openxmlformats.org/package/2006/relationships"><Relationship Id="rId3" Type="http://schemas.openxmlformats.org/officeDocument/2006/relationships/hyperlink" Target="https://www.cdc.gov/acip/downloads/slides-2023-10-25-26/03-Patton-Adult-RSV-508.pdf" TargetMode="External"/><Relationship Id="rId7" Type="http://schemas.openxmlformats.org/officeDocument/2006/relationships/image" Target="../media/image6.png"/><Relationship Id="rId2" Type="http://schemas.openxmlformats.org/officeDocument/2006/relationships/notesSlide" Target="../notesSlides/notesSlide23.xml"/><Relationship Id="rId1" Type="http://schemas.openxmlformats.org/officeDocument/2006/relationships/slideLayout" Target="../slideLayouts/slideLayout31.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32.xml.rels><?xml version="1.0" encoding="UTF-8" standalone="yes"?>
<Relationships xmlns="http://schemas.openxmlformats.org/package/2006/relationships"><Relationship Id="rId3" Type="http://schemas.openxmlformats.org/officeDocument/2006/relationships/hyperlink" Target="https://www.cdc.gov/acip/downloads/slides-2024-02-28-29/03-RSV-Adults-Woodruff-508.pdf" TargetMode="External"/><Relationship Id="rId2" Type="http://schemas.openxmlformats.org/officeDocument/2006/relationships/notesSlide" Target="../notesSlides/notesSlide24.xml"/><Relationship Id="rId1" Type="http://schemas.openxmlformats.org/officeDocument/2006/relationships/slideLayout" Target="../slideLayouts/slideLayout31.xml"/><Relationship Id="rId4" Type="http://schemas.openxmlformats.org/officeDocument/2006/relationships/image" Target="../media/image6.png"/></Relationships>
</file>

<file path=ppt/slides/_rels/slide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5.xml"/><Relationship Id="rId1" Type="http://schemas.openxmlformats.org/officeDocument/2006/relationships/slideLayout" Target="../slideLayouts/slideLayout31.xml"/><Relationship Id="rId6" Type="http://schemas.openxmlformats.org/officeDocument/2006/relationships/image" Target="../media/image6.png"/><Relationship Id="rId5" Type="http://schemas.openxmlformats.org/officeDocument/2006/relationships/hyperlink" Target="https://www.cdc.gov/acip/downloads/slides-2023-10-25-26/03-Patton-Adult-RSV-508.pdf" TargetMode="External"/><Relationship Id="rId4" Type="http://schemas.openxmlformats.org/officeDocument/2006/relationships/chart" Target="../charts/chart11.xml"/></Relationships>
</file>

<file path=ppt/slides/_rels/slide3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6.xml"/><Relationship Id="rId1" Type="http://schemas.openxmlformats.org/officeDocument/2006/relationships/slideLayout" Target="../slideLayouts/slideLayout31.xml"/><Relationship Id="rId4" Type="http://schemas.openxmlformats.org/officeDocument/2006/relationships/image" Target="../media/image6.png"/></Relationships>
</file>

<file path=ppt/slides/_rels/slide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hyperlink" Target="https://www.who.int/news-room/fact-sheets/detail/the-top-10-causes-of-death" TargetMode="External"/><Relationship Id="rId1" Type="http://schemas.openxmlformats.org/officeDocument/2006/relationships/slideLayout" Target="../slideLayouts/slideLayout31.xml"/><Relationship Id="rId4" Type="http://schemas.openxmlformats.org/officeDocument/2006/relationships/image" Target="../media/image5.png"/></Relationships>
</file>

<file path=ppt/slides/_rels/slide38.xml.rels><?xml version="1.0" encoding="UTF-8" standalone="yes"?>
<Relationships xmlns="http://schemas.openxmlformats.org/package/2006/relationships"><Relationship Id="rId3" Type="http://schemas.openxmlformats.org/officeDocument/2006/relationships/hyperlink" Target="https://data.tuik.gov.tr/Bulten/Index?p=Olum-ve-Olum-Nedeni-Istatistikleri-2024" TargetMode="External"/><Relationship Id="rId2" Type="http://schemas.openxmlformats.org/officeDocument/2006/relationships/image" Target="../media/image56.png"/><Relationship Id="rId1" Type="http://schemas.openxmlformats.org/officeDocument/2006/relationships/slideLayout" Target="../slideLayouts/slideLayout31.xml"/><Relationship Id="rId6" Type="http://schemas.openxmlformats.org/officeDocument/2006/relationships/image" Target="../media/image5.png"/><Relationship Id="rId5" Type="http://schemas.openxmlformats.org/officeDocument/2006/relationships/image" Target="../media/image57.png"/><Relationship Id="rId4" Type="http://schemas.openxmlformats.org/officeDocument/2006/relationships/hyperlink" Target="https://data.tuik.gov.tr/Bulten/Index?p=Olum-ve-Olum-Nedeni-Istatistikleri-2023" TargetMode="External"/></Relationships>
</file>

<file path=ppt/slides/_rels/slide39.xml.rels><?xml version="1.0" encoding="UTF-8" standalone="yes"?>
<Relationships xmlns="http://schemas.openxmlformats.org/package/2006/relationships"><Relationship Id="rId3" Type="http://schemas.microsoft.com/office/2018/10/relationships/comments" Target="../comments/modernComment_120_8501089C.xml"/><Relationship Id="rId2" Type="http://schemas.openxmlformats.org/officeDocument/2006/relationships/notesSlide" Target="../notesSlides/notesSlide27.xml"/><Relationship Id="rId1" Type="http://schemas.openxmlformats.org/officeDocument/2006/relationships/slideLayout" Target="../slideLayouts/slideLayout31.xml"/><Relationship Id="rId5" Type="http://schemas.openxmlformats.org/officeDocument/2006/relationships/image" Target="../media/image5.png"/><Relationship Id="rId4" Type="http://schemas.openxmlformats.org/officeDocument/2006/relationships/image" Target="../media/image58.png"/></Relationships>
</file>

<file path=ppt/slides/_rels/slide4.xml.rels><?xml version="1.0" encoding="UTF-8" standalone="yes"?>
<Relationships xmlns="http://schemas.openxmlformats.org/package/2006/relationships"><Relationship Id="rId8" Type="http://schemas.openxmlformats.org/officeDocument/2006/relationships/hyperlink" Target="https://www.who.int/europe/event/preventing-a-triple-threat-this-autumn-and-winter--applying-lessons-and-understanding-individual-risk-to-protect-ourselves-and-others-from-respiratory-illness" TargetMode="External"/><Relationship Id="rId3" Type="http://schemas.openxmlformats.org/officeDocument/2006/relationships/image" Target="../media/image6.png"/><Relationship Id="rId7" Type="http://schemas.openxmlformats.org/officeDocument/2006/relationships/image" Target="../media/image11.svg"/><Relationship Id="rId2" Type="http://schemas.openxmlformats.org/officeDocument/2006/relationships/image" Target="../media/image5.png"/><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 Id="rId9" Type="http://schemas.openxmlformats.org/officeDocument/2006/relationships/hyperlink" Target="https://ourworldindata.org/data-insights/covid-19-was-the-third-largest-cause-of-death-in-2021" TargetMode="External"/></Relationships>
</file>

<file path=ppt/slides/_rels/slide4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8.xml"/><Relationship Id="rId1" Type="http://schemas.openxmlformats.org/officeDocument/2006/relationships/slideLayout" Target="../slideLayouts/slideLayout31.xml"/><Relationship Id="rId5" Type="http://schemas.openxmlformats.org/officeDocument/2006/relationships/image" Target="../media/image5.png"/><Relationship Id="rId4" Type="http://schemas.openxmlformats.org/officeDocument/2006/relationships/chart" Target="../charts/chart14.xml"/></Relationships>
</file>

<file path=ppt/slides/_rels/slide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9.jpeg"/><Relationship Id="rId1" Type="http://schemas.openxmlformats.org/officeDocument/2006/relationships/slideLayout" Target="../slideLayouts/slideLayout31.xml"/></Relationships>
</file>

<file path=ppt/slides/_rels/slide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0.png"/><Relationship Id="rId1" Type="http://schemas.openxmlformats.org/officeDocument/2006/relationships/slideLayout" Target="../slideLayouts/slideLayout31.xml"/></Relationships>
</file>

<file path=ppt/slides/_rels/slide43.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29.xml"/><Relationship Id="rId1" Type="http://schemas.openxmlformats.org/officeDocument/2006/relationships/slideLayout" Target="../slideLayouts/slideLayout31.xml"/><Relationship Id="rId6" Type="http://schemas.openxmlformats.org/officeDocument/2006/relationships/image" Target="../media/image64.svg"/><Relationship Id="rId11" Type="http://schemas.openxmlformats.org/officeDocument/2006/relationships/image" Target="../media/image5.png"/><Relationship Id="rId5" Type="http://schemas.openxmlformats.org/officeDocument/2006/relationships/image" Target="../media/image63.png"/><Relationship Id="rId10" Type="http://schemas.openxmlformats.org/officeDocument/2006/relationships/image" Target="../media/image68.svg"/><Relationship Id="rId4" Type="http://schemas.openxmlformats.org/officeDocument/2006/relationships/image" Target="../media/image62.svg"/><Relationship Id="rId9" Type="http://schemas.openxmlformats.org/officeDocument/2006/relationships/image" Target="../media/image67.png"/></Relationships>
</file>

<file path=ppt/slides/_rels/slide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0.xml"/><Relationship Id="rId1" Type="http://schemas.openxmlformats.org/officeDocument/2006/relationships/slideLayout" Target="../slideLayouts/slideLayout31.xml"/></Relationships>
</file>

<file path=ppt/slides/_rels/slide4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1.xml"/><Relationship Id="rId1" Type="http://schemas.openxmlformats.org/officeDocument/2006/relationships/slideLayout" Target="../slideLayouts/slideLayout31.xml"/><Relationship Id="rId5" Type="http://schemas.openxmlformats.org/officeDocument/2006/relationships/image" Target="../media/image5.png"/><Relationship Id="rId4" Type="http://schemas.openxmlformats.org/officeDocument/2006/relationships/image" Target="../media/image66.svg"/></Relationships>
</file>

<file path=ppt/slides/_rels/slide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9.png"/><Relationship Id="rId1" Type="http://schemas.openxmlformats.org/officeDocument/2006/relationships/slideLayout" Target="../slideLayouts/slideLayout42.xml"/></Relationships>
</file>

<file path=ppt/slides/_rels/slide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0.png"/><Relationship Id="rId1" Type="http://schemas.openxmlformats.org/officeDocument/2006/relationships/slideLayout" Target="../slideLayouts/slideLayout42.xml"/></Relationships>
</file>

<file path=ppt/slides/_rels/slide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2.xml"/><Relationship Id="rId1" Type="http://schemas.openxmlformats.org/officeDocument/2006/relationships/slideLayout" Target="../slideLayouts/slideLayout31.xml"/></Relationships>
</file>

<file path=ppt/slides/_rels/slide4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3.xml"/><Relationship Id="rId1" Type="http://schemas.openxmlformats.org/officeDocument/2006/relationships/slideLayout" Target="../slideLayouts/slideLayout31.xml"/><Relationship Id="rId5" Type="http://schemas.openxmlformats.org/officeDocument/2006/relationships/image" Target="../media/image5.png"/><Relationship Id="rId4" Type="http://schemas.openxmlformats.org/officeDocument/2006/relationships/image" Target="../media/image72.svg"/></Relationships>
</file>

<file path=ppt/slides/_rels/slide5.xml.rels><?xml version="1.0" encoding="UTF-8" standalone="yes"?>
<Relationships xmlns="http://schemas.openxmlformats.org/package/2006/relationships"><Relationship Id="rId3" Type="http://schemas.openxmlformats.org/officeDocument/2006/relationships/hyperlink" Target="https://ourworldindata.org/age-structure" TargetMode="External"/><Relationship Id="rId2" Type="http://schemas.openxmlformats.org/officeDocument/2006/relationships/notesSlide" Target="../notesSlides/notesSlide1.xml"/><Relationship Id="rId1" Type="http://schemas.openxmlformats.org/officeDocument/2006/relationships/slideLayout" Target="../slideLayouts/slideLayout3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s://archive.cdc.gov/www_cdc_gov/coronavirus/2019-ncov/covid-data/investigations-discovery/hospitalization-death-by-age.html"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4.xml"/><Relationship Id="rId1" Type="http://schemas.openxmlformats.org/officeDocument/2006/relationships/slideLayout" Target="../slideLayouts/slideLayout31.xml"/></Relationships>
</file>

<file path=ppt/slides/_rels/slide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1.xml"/></Relationships>
</file>

<file path=ppt/slides/_rels/slide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3.png"/><Relationship Id="rId1" Type="http://schemas.openxmlformats.org/officeDocument/2006/relationships/slideLayout" Target="../slideLayouts/slideLayout46.xml"/><Relationship Id="rId4" Type="http://schemas.openxmlformats.org/officeDocument/2006/relationships/image" Target="../media/image6.png"/></Relationships>
</file>

<file path=ppt/slides/_rels/slide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4.png"/><Relationship Id="rId1" Type="http://schemas.openxmlformats.org/officeDocument/2006/relationships/slideLayout" Target="../slideLayouts/slideLayout31.xml"/><Relationship Id="rId4" Type="http://schemas.openxmlformats.org/officeDocument/2006/relationships/image" Target="../media/image6.png"/></Relationships>
</file>

<file path=ppt/slides/_rels/slide54.xml.rels><?xml version="1.0" encoding="UTF-8" standalone="yes"?>
<Relationships xmlns="http://schemas.openxmlformats.org/package/2006/relationships"><Relationship Id="rId8" Type="http://schemas.openxmlformats.org/officeDocument/2006/relationships/image" Target="../media/image5.png"/><Relationship Id="rId3" Type="http://schemas.microsoft.com/office/2018/10/relationships/comments" Target="../comments/modernComment_11E_971CDC28.xml"/><Relationship Id="rId7" Type="http://schemas.openxmlformats.org/officeDocument/2006/relationships/image" Target="../media/image9.svg"/><Relationship Id="rId2" Type="http://schemas.openxmlformats.org/officeDocument/2006/relationships/notesSlide" Target="../notesSlides/notesSlide35.xml"/><Relationship Id="rId1" Type="http://schemas.openxmlformats.org/officeDocument/2006/relationships/slideLayout" Target="../slideLayouts/slideLayout31.xml"/><Relationship Id="rId6" Type="http://schemas.openxmlformats.org/officeDocument/2006/relationships/image" Target="../media/image8.png"/><Relationship Id="rId5" Type="http://schemas.openxmlformats.org/officeDocument/2006/relationships/hyperlink" Target="https://ourworldindata.org/data-insights/covid-19-was-the-third-largest-cause-of-death-in-2021" TargetMode="External"/><Relationship Id="rId4" Type="http://schemas.openxmlformats.org/officeDocument/2006/relationships/hyperlink" Target="https://www.who.int/europe/event/preventing-a-triple-threat-this-autumn-and-winter--applying-lessons-and-understanding-individual-risk-to-protect-ourselves-and-others-from-respiratory-illness" TargetMode="External"/><Relationship Id="rId9" Type="http://schemas.openxmlformats.org/officeDocument/2006/relationships/image" Target="../media/image6.png"/></Relationships>
</file>

<file path=ppt/slides/_rels/slide55.xml.rels><?xml version="1.0" encoding="UTF-8" standalone="yes"?>
<Relationships xmlns="http://schemas.openxmlformats.org/package/2006/relationships"><Relationship Id="rId8" Type="http://schemas.openxmlformats.org/officeDocument/2006/relationships/image" Target="../media/image5.png"/><Relationship Id="rId3" Type="http://schemas.microsoft.com/office/2018/10/relationships/comments" Target="../comments/modernComment_121_99B91BA8.xml"/><Relationship Id="rId7" Type="http://schemas.openxmlformats.org/officeDocument/2006/relationships/image" Target="../media/image17.svg"/><Relationship Id="rId2" Type="http://schemas.openxmlformats.org/officeDocument/2006/relationships/notesSlide" Target="../notesSlides/notesSlide36.xml"/><Relationship Id="rId1" Type="http://schemas.openxmlformats.org/officeDocument/2006/relationships/slideLayout" Target="../slideLayouts/slideLayout31.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image" Target="../media/image14.emf"/><Relationship Id="rId9" Type="http://schemas.openxmlformats.org/officeDocument/2006/relationships/image" Target="../media/image6.png"/></Relationships>
</file>

<file path=ppt/slides/_rels/slide56.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svg"/><Relationship Id="rId18" Type="http://schemas.openxmlformats.org/officeDocument/2006/relationships/image" Target="../media/image89.png"/><Relationship Id="rId3" Type="http://schemas.microsoft.com/office/2018/10/relationships/comments" Target="../comments/modernComment_125_658FD709.xml"/><Relationship Id="rId21" Type="http://schemas.openxmlformats.org/officeDocument/2006/relationships/image" Target="../media/image92.svg"/><Relationship Id="rId7" Type="http://schemas.openxmlformats.org/officeDocument/2006/relationships/image" Target="../media/image78.svg"/><Relationship Id="rId12" Type="http://schemas.openxmlformats.org/officeDocument/2006/relationships/image" Target="../media/image83.png"/><Relationship Id="rId17" Type="http://schemas.openxmlformats.org/officeDocument/2006/relationships/image" Target="../media/image88.svg"/><Relationship Id="rId2" Type="http://schemas.openxmlformats.org/officeDocument/2006/relationships/notesSlide" Target="../notesSlides/notesSlide37.xml"/><Relationship Id="rId16" Type="http://schemas.openxmlformats.org/officeDocument/2006/relationships/image" Target="../media/image87.png"/><Relationship Id="rId20" Type="http://schemas.openxmlformats.org/officeDocument/2006/relationships/image" Target="../media/image91.png"/><Relationship Id="rId1" Type="http://schemas.openxmlformats.org/officeDocument/2006/relationships/slideLayout" Target="../slideLayouts/slideLayout31.xml"/><Relationship Id="rId6" Type="http://schemas.openxmlformats.org/officeDocument/2006/relationships/image" Target="../media/image77.png"/><Relationship Id="rId11" Type="http://schemas.openxmlformats.org/officeDocument/2006/relationships/image" Target="../media/image82.svg"/><Relationship Id="rId5" Type="http://schemas.openxmlformats.org/officeDocument/2006/relationships/image" Target="../media/image76.svg"/><Relationship Id="rId15" Type="http://schemas.openxmlformats.org/officeDocument/2006/relationships/image" Target="../media/image86.svg"/><Relationship Id="rId23" Type="http://schemas.openxmlformats.org/officeDocument/2006/relationships/image" Target="../media/image6.png"/><Relationship Id="rId10" Type="http://schemas.openxmlformats.org/officeDocument/2006/relationships/image" Target="../media/image81.png"/><Relationship Id="rId19" Type="http://schemas.openxmlformats.org/officeDocument/2006/relationships/image" Target="../media/image90.svg"/><Relationship Id="rId4" Type="http://schemas.openxmlformats.org/officeDocument/2006/relationships/image" Target="../media/image75.png"/><Relationship Id="rId9" Type="http://schemas.openxmlformats.org/officeDocument/2006/relationships/image" Target="../media/image80.svg"/><Relationship Id="rId14" Type="http://schemas.openxmlformats.org/officeDocument/2006/relationships/image" Target="../media/image85.png"/><Relationship Id="rId22" Type="http://schemas.openxmlformats.org/officeDocument/2006/relationships/image" Target="../media/image5.png"/></Relationships>
</file>

<file path=ppt/slides/_rels/slide5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8.png"/><Relationship Id="rId7" Type="http://schemas.openxmlformats.org/officeDocument/2006/relationships/hyperlink" Target="https://www.health.belgium.be/sites/default/files/uploads/fields/fpshealth_theme_file/20230918_shc-9725_rsv_vaccination_adults_vweb_1.pdf" TargetMode="External"/><Relationship Id="rId2" Type="http://schemas.openxmlformats.org/officeDocument/2006/relationships/notesSlide" Target="../notesSlides/notesSlide38.xml"/><Relationship Id="rId1" Type="http://schemas.openxmlformats.org/officeDocument/2006/relationships/slideLayout" Target="../slideLayouts/slideLayout3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9.svg"/><Relationship Id="rId9" Type="http://schemas.openxmlformats.org/officeDocument/2006/relationships/image" Target="../media/image6.png"/></Relationships>
</file>

<file path=ppt/slides/_rels/slide58.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39.xml"/><Relationship Id="rId1" Type="http://schemas.openxmlformats.org/officeDocument/2006/relationships/slideLayout" Target="../slideLayouts/slideLayout31.xml"/><Relationship Id="rId6" Type="http://schemas.openxmlformats.org/officeDocument/2006/relationships/image" Target="../media/image96.svg"/><Relationship Id="rId11" Type="http://schemas.openxmlformats.org/officeDocument/2006/relationships/image" Target="../media/image6.png"/><Relationship Id="rId5" Type="http://schemas.openxmlformats.org/officeDocument/2006/relationships/image" Target="../media/image95.png"/><Relationship Id="rId10" Type="http://schemas.openxmlformats.org/officeDocument/2006/relationships/image" Target="../media/image5.png"/><Relationship Id="rId4" Type="http://schemas.openxmlformats.org/officeDocument/2006/relationships/image" Target="../media/image94.svg"/><Relationship Id="rId9" Type="http://schemas.openxmlformats.org/officeDocument/2006/relationships/hyperlink" Target="https://www.vaccineseurope.eu/wp-content/uploads/2023/11/VaccinesEurope-PipelineReview2023.pdf" TargetMode="External"/></Relationships>
</file>

<file path=ppt/slides/_rels/slide59.xml.rels><?xml version="1.0" encoding="UTF-8" standalone="yes"?>
<Relationships xmlns="http://schemas.openxmlformats.org/package/2006/relationships"><Relationship Id="rId3" Type="http://schemas.openxmlformats.org/officeDocument/2006/relationships/hyperlink" Target="https://www.vaccineseurope.eu/wp-content/uploads/2023/11/VaccinesEurope-PipelineReview2023.pdf" TargetMode="External"/><Relationship Id="rId2" Type="http://schemas.openxmlformats.org/officeDocument/2006/relationships/notesSlide" Target="../notesSlides/notesSlide40.xml"/><Relationship Id="rId1" Type="http://schemas.openxmlformats.org/officeDocument/2006/relationships/slideLayout" Target="../slideLayouts/slideLayout31.xml"/><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2.png"/><Relationship Id="rId7"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31.xml"/><Relationship Id="rId6" Type="http://schemas.openxmlformats.org/officeDocument/2006/relationships/hyperlink" Target="https://archive.cdc.gov/www_cdc_gov/coronavirus/2019-ncov/covid-data/investigations-discovery/hospitalization-death-by-age.html" TargetMode="External"/><Relationship Id="rId5" Type="http://schemas.openxmlformats.org/officeDocument/2006/relationships/hyperlink" Target="https://ourworldindata.org/age-structure" TargetMode="External"/><Relationship Id="rId4" Type="http://schemas.openxmlformats.org/officeDocument/2006/relationships/image" Target="../media/image13.svg"/></Relationships>
</file>

<file path=ppt/slides/_rels/slide60.xml.rels><?xml version="1.0" encoding="UTF-8" standalone="yes"?>
<Relationships xmlns="http://schemas.openxmlformats.org/package/2006/relationships"><Relationship Id="rId3" Type="http://schemas.openxmlformats.org/officeDocument/2006/relationships/image" Target="../media/image5.png"/><Relationship Id="rId2" Type="http://schemas.microsoft.com/office/2018/10/relationships/comments" Target="../comments/modernComment_129_0.xml"/><Relationship Id="rId1" Type="http://schemas.openxmlformats.org/officeDocument/2006/relationships/slideLayout" Target="../slideLayouts/slideLayout31.xml"/><Relationship Id="rId4" Type="http://schemas.openxmlformats.org/officeDocument/2006/relationships/image" Target="../media/image6.png"/></Relationships>
</file>

<file path=ppt/slides/_rels/slide61.xml.rels><?xml version="1.0" encoding="UTF-8" standalone="yes"?>
<Relationships xmlns="http://schemas.openxmlformats.org/package/2006/relationships"><Relationship Id="rId3" Type="http://schemas.openxmlformats.org/officeDocument/2006/relationships/image" Target="../media/image5.png"/><Relationship Id="rId2" Type="http://schemas.microsoft.com/office/2018/10/relationships/comments" Target="../comments/modernComment_12A_0.xml"/><Relationship Id="rId1" Type="http://schemas.openxmlformats.org/officeDocument/2006/relationships/slideLayout" Target="../slideLayouts/slideLayout31.xml"/><Relationship Id="rId4" Type="http://schemas.openxmlformats.org/officeDocument/2006/relationships/image" Target="../media/image6.png"/></Relationships>
</file>

<file path=ppt/slides/_rels/slide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1.xml"/></Relationships>
</file>

<file path=ppt/slides/_rels/slide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1.xml"/></Relationships>
</file>

<file path=ppt/slides/_rels/slide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6.xml"/></Relationships>
</file>

<file path=ppt/slides/_rels/slide6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notesSlide" Target="../notesSlides/notesSlide41.xml"/><Relationship Id="rId1" Type="http://schemas.openxmlformats.org/officeDocument/2006/relationships/slideLayout" Target="../slideLayouts/slideLayout31.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1.xml"/></Relationships>
</file>

<file path=ppt/slides/_rels/slide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2.xml"/><Relationship Id="rId1" Type="http://schemas.openxmlformats.org/officeDocument/2006/relationships/slideLayout" Target="../slideLayouts/slideLayout31.xml"/></Relationships>
</file>

<file path=ppt/slides/_rels/slide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3.xml"/><Relationship Id="rId1" Type="http://schemas.openxmlformats.org/officeDocument/2006/relationships/slideLayout" Target="../slideLayouts/slideLayout31.xml"/></Relationships>
</file>

<file path=ppt/slides/_rels/slide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4.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chart" Target="../charts/chart1.xml"/><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1.xml"/><Relationship Id="rId6" Type="http://schemas.openxmlformats.org/officeDocument/2006/relationships/hyperlink" Target="https://www.ema.europa.eu/en/documents/product-information/comirnaty-epar-product-information_en.pdf" TargetMode="External"/><Relationship Id="rId5" Type="http://schemas.openxmlformats.org/officeDocument/2006/relationships/hyperlink" Target="https://www.cdc.gov/pinkbook/hcp/table-of-contents/chapter-17-pneumococcal-disease.html" TargetMode="External"/><Relationship Id="rId4" Type="http://schemas.openxmlformats.org/officeDocument/2006/relationships/chart" Target="../charts/chart2.xml"/></Relationships>
</file>

<file path=ppt/slides/_rels/slide70.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45.xml"/><Relationship Id="rId1" Type="http://schemas.openxmlformats.org/officeDocument/2006/relationships/slideLayout" Target="../slideLayouts/slideLayout31.xml"/><Relationship Id="rId4" Type="http://schemas.openxmlformats.org/officeDocument/2006/relationships/image" Target="../media/image5.png"/></Relationships>
</file>

<file path=ppt/slides/_rels/slide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6.xml"/><Relationship Id="rId1" Type="http://schemas.openxmlformats.org/officeDocument/2006/relationships/slideLayout" Target="../slideLayouts/slideLayout31.xml"/></Relationships>
</file>

<file path=ppt/slides/_rels/slide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1.xml"/></Relationships>
</file>

<file path=ppt/slides/_rels/slide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7.xml"/><Relationship Id="rId1" Type="http://schemas.openxmlformats.org/officeDocument/2006/relationships/slideLayout" Target="../slideLayouts/slideLayout31.xml"/></Relationships>
</file>

<file path=ppt/slides/_rels/slide7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chart" Target="../charts/chart17.xml"/><Relationship Id="rId7" Type="http://schemas.openxmlformats.org/officeDocument/2006/relationships/chart" Target="../charts/chart21.xml"/><Relationship Id="rId2" Type="http://schemas.openxmlformats.org/officeDocument/2006/relationships/chart" Target="../charts/chart16.xml"/><Relationship Id="rId1" Type="http://schemas.openxmlformats.org/officeDocument/2006/relationships/slideLayout" Target="../slideLayouts/slideLayout31.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chart" Target="../charts/chart18.xml"/></Relationships>
</file>

<file path=ppt/slides/_rels/slide75.xml.rels><?xml version="1.0" encoding="UTF-8" standalone="yes"?>
<Relationships xmlns="http://schemas.openxmlformats.org/package/2006/relationships"><Relationship Id="rId3" Type="http://schemas.microsoft.com/office/2018/10/relationships/comments" Target="../comments/modernComment_13C_A2A1421D.xml"/><Relationship Id="rId2" Type="http://schemas.openxmlformats.org/officeDocument/2006/relationships/notesSlide" Target="../notesSlides/notesSlide48.xml"/><Relationship Id="rId1" Type="http://schemas.openxmlformats.org/officeDocument/2006/relationships/slideLayout" Target="../slideLayouts/slideLayout31.xml"/><Relationship Id="rId5" Type="http://schemas.openxmlformats.org/officeDocument/2006/relationships/image" Target="../media/image5.png"/><Relationship Id="rId4" Type="http://schemas.openxmlformats.org/officeDocument/2006/relationships/hyperlink" Target="http://dx.doi.org/10.15585/mmwr.mm7401a1" TargetMode="External"/></Relationships>
</file>

<file path=ppt/slides/_rels/slide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6.xml"/></Relationships>
</file>

<file path=ppt/slides/_rels/slide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78.xml.rels><?xml version="1.0" encoding="UTF-8" standalone="yes"?>
<Relationships xmlns="http://schemas.openxmlformats.org/package/2006/relationships"><Relationship Id="rId3" Type="http://schemas.openxmlformats.org/officeDocument/2006/relationships/hyperlink" Target="https://www.ncbi.nlm.nih.gov/books/NBK459215/" TargetMode="External"/><Relationship Id="rId2" Type="http://schemas.openxmlformats.org/officeDocument/2006/relationships/image" Target="../media/image104.png"/><Relationship Id="rId1" Type="http://schemas.openxmlformats.org/officeDocument/2006/relationships/slideLayout" Target="../slideLayouts/slideLayout31.xml"/><Relationship Id="rId4" Type="http://schemas.openxmlformats.org/officeDocument/2006/relationships/image" Target="../media/image6.png"/></Relationships>
</file>

<file path=ppt/slides/_rels/slide79.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31.xml"/><Relationship Id="rId5" Type="http://schemas.openxmlformats.org/officeDocument/2006/relationships/image" Target="../media/image6.png"/><Relationship Id="rId4" Type="http://schemas.openxmlformats.org/officeDocument/2006/relationships/hyperlink" Target="https://resvinet.org/conferences/rsvvw23-abstract-booklet/"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4.emf"/><Relationship Id="rId7"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3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emf"/></Relationships>
</file>

<file path=ppt/slides/_rels/slide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5.emf"/><Relationship Id="rId1" Type="http://schemas.openxmlformats.org/officeDocument/2006/relationships/slideLayout" Target="../slideLayouts/slideLayout31.xml"/></Relationships>
</file>

<file path=ppt/slides/_rels/slide81.xml.rels><?xml version="1.0" encoding="UTF-8" standalone="yes"?>
<Relationships xmlns="http://schemas.openxmlformats.org/package/2006/relationships"><Relationship Id="rId8" Type="http://schemas.openxmlformats.org/officeDocument/2006/relationships/hyperlink" Target="https://clinicaltrials.gov/ct2/show/NCT04424316" TargetMode="External"/><Relationship Id="rId13" Type="http://schemas.openxmlformats.org/officeDocument/2006/relationships/hyperlink" Target="https://www.nejm.org/doi/full/10.1056/NEJMoa2116154" TargetMode="External"/><Relationship Id="rId3" Type="http://schemas.openxmlformats.org/officeDocument/2006/relationships/hyperlink" Target="https://academic.oup.com/jid/article/225/12/2056/6472733" TargetMode="External"/><Relationship Id="rId7" Type="http://schemas.openxmlformats.org/officeDocument/2006/relationships/hyperlink" Target="https://academic.oup.com/jid/article/225/12/2077/6391485" TargetMode="External"/><Relationship Id="rId12" Type="http://schemas.openxmlformats.org/officeDocument/2006/relationships/hyperlink" Target="https://clinicaltrials.gov/ct2/show/NCT03572062" TargetMode="External"/><Relationship Id="rId17" Type="http://schemas.openxmlformats.org/officeDocument/2006/relationships/image" Target="../media/image6.png"/><Relationship Id="rId2" Type="http://schemas.openxmlformats.org/officeDocument/2006/relationships/notesSlide" Target="../notesSlides/notesSlide49.xml"/><Relationship Id="rId16" Type="http://schemas.openxmlformats.org/officeDocument/2006/relationships/hyperlink" Target="https://www.clinicaltrials.gov/ct2/show/NCT05035212" TargetMode="External"/><Relationship Id="rId1" Type="http://schemas.openxmlformats.org/officeDocument/2006/relationships/slideLayout" Target="../slideLayouts/slideLayout52.xml"/><Relationship Id="rId6" Type="http://schemas.openxmlformats.org/officeDocument/2006/relationships/hyperlink" Target="https://www.cdc.gov/vaccines/acip/meetings/downloads/slides-2023-02/slides-02-23/RSV-Pediatric-06-Munjal-508.pdf" TargetMode="External"/><Relationship Id="rId11" Type="http://schemas.openxmlformats.org/officeDocument/2006/relationships/hyperlink" Target="https://academic.oup.com/jid/article/226/12/2054/6583554" TargetMode="External"/><Relationship Id="rId5" Type="http://schemas.openxmlformats.org/officeDocument/2006/relationships/hyperlink" Target="https://clinicaltrials.gov/ct2/show/NCT04032093" TargetMode="External"/><Relationship Id="rId15" Type="http://schemas.openxmlformats.org/officeDocument/2006/relationships/hyperlink" Target="https://clinicaltrials.gov/ct2/show/NCT05301322" TargetMode="External"/><Relationship Id="rId10" Type="http://schemas.openxmlformats.org/officeDocument/2006/relationships/hyperlink" Target="https://www.nejm.org/doi/10.1056/NEJMoa2216480?url_ver=Z39.88-2003&amp;rfr_id=ori:rid:crossref.org&amp;rfr_dat=cr_pub%20%200pubmed" TargetMode="External"/><Relationship Id="rId4" Type="http://schemas.openxmlformats.org/officeDocument/2006/relationships/hyperlink" Target="https://www.nejm.org/doi/10.1056/NEJMoa2106062" TargetMode="External"/><Relationship Id="rId9" Type="http://schemas.openxmlformats.org/officeDocument/2006/relationships/hyperlink" Target="https://www.pfizer.com/news/press-release/press-release-detail/us-fda-accepts-biologics-license-application-pfizers" TargetMode="External"/><Relationship Id="rId14" Type="http://schemas.openxmlformats.org/officeDocument/2006/relationships/hyperlink" Target="https://clinicaltrials.gov/ct2/show/NCT04785612"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50.xml"/><Relationship Id="rId1" Type="http://schemas.openxmlformats.org/officeDocument/2006/relationships/slideLayout" Target="../slideLayouts/slideLayout31.xml"/><Relationship Id="rId4" Type="http://schemas.openxmlformats.org/officeDocument/2006/relationships/image" Target="../media/image6.png"/></Relationships>
</file>

<file path=ppt/slides/_rels/slide83.xml.rels><?xml version="1.0" encoding="UTF-8" standalone="yes"?>
<Relationships xmlns="http://schemas.openxmlformats.org/package/2006/relationships"><Relationship Id="rId8" Type="http://schemas.openxmlformats.org/officeDocument/2006/relationships/image" Target="../media/image106.jpeg"/><Relationship Id="rId3" Type="http://schemas.openxmlformats.org/officeDocument/2006/relationships/notesSlide" Target="../notesSlides/notesSlide51.xml"/><Relationship Id="rId7" Type="http://schemas.openxmlformats.org/officeDocument/2006/relationships/image" Target="../media/image29.emf"/><Relationship Id="rId2" Type="http://schemas.openxmlformats.org/officeDocument/2006/relationships/slideLayout" Target="../slideLayouts/slideLayout31.xml"/><Relationship Id="rId1" Type="http://schemas.openxmlformats.org/officeDocument/2006/relationships/tags" Target="../tags/tag4.xml"/><Relationship Id="rId6" Type="http://schemas.openxmlformats.org/officeDocument/2006/relationships/oleObject" Target="../embeddings/oleObject1.bin"/><Relationship Id="rId5" Type="http://schemas.openxmlformats.org/officeDocument/2006/relationships/hyperlink" Target="https://www.pfizer.com/news/announcements/pfizers-abrysvotm-receives-recommendation-use-older-adults-advisory-committee" TargetMode="External"/><Relationship Id="rId4" Type="http://schemas.openxmlformats.org/officeDocument/2006/relationships/hyperlink" Target="https://www.cdc.gov/acip/downloads/slides-2023-06-21-23/02-RSV-Adults-Gurtman-508.pdf" TargetMode="External"/><Relationship Id="rId9" Type="http://schemas.openxmlformats.org/officeDocument/2006/relationships/image" Target="../media/image6.png"/></Relationships>
</file>

<file path=ppt/slides/_rels/slide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6.jpeg"/><Relationship Id="rId1" Type="http://schemas.openxmlformats.org/officeDocument/2006/relationships/slideLayout" Target="../slideLayouts/slideLayout31.xml"/></Relationships>
</file>

<file path=ppt/slides/_rels/slide85.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52.xml"/><Relationship Id="rId1" Type="http://schemas.openxmlformats.org/officeDocument/2006/relationships/slideLayout" Target="../slideLayouts/slideLayout31.xml"/><Relationship Id="rId5" Type="http://schemas.openxmlformats.org/officeDocument/2006/relationships/image" Target="../media/image6.png"/><Relationship Id="rId4" Type="http://schemas.openxmlformats.org/officeDocument/2006/relationships/image" Target="../media/image106.jpeg"/></Relationships>
</file>

<file path=ppt/slides/_rels/slide86.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53.xml"/><Relationship Id="rId1" Type="http://schemas.openxmlformats.org/officeDocument/2006/relationships/slideLayout" Target="../slideLayouts/slideLayout31.xml"/><Relationship Id="rId5" Type="http://schemas.openxmlformats.org/officeDocument/2006/relationships/image" Target="../media/image6.png"/><Relationship Id="rId4" Type="http://schemas.openxmlformats.org/officeDocument/2006/relationships/image" Target="../media/image106.jpeg"/></Relationships>
</file>

<file path=ppt/slides/_rels/slide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7.png"/><Relationship Id="rId1" Type="http://schemas.openxmlformats.org/officeDocument/2006/relationships/slideLayout" Target="../slideLayouts/slideLayout31.xml"/><Relationship Id="rId4" Type="http://schemas.openxmlformats.org/officeDocument/2006/relationships/image" Target="../media/image106.jpeg"/></Relationships>
</file>

<file path=ppt/slides/_rels/slide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8.png"/><Relationship Id="rId1" Type="http://schemas.openxmlformats.org/officeDocument/2006/relationships/slideLayout" Target="../slideLayouts/slideLayout31.xml"/><Relationship Id="rId5" Type="http://schemas.openxmlformats.org/officeDocument/2006/relationships/image" Target="../media/image110.svg"/><Relationship Id="rId4" Type="http://schemas.openxmlformats.org/officeDocument/2006/relationships/image" Target="../media/image109.png"/></Relationships>
</file>

<file path=ppt/slides/_rels/slide89.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image" Target="../media/image6.png"/><Relationship Id="rId1" Type="http://schemas.openxmlformats.org/officeDocument/2006/relationships/slideLayout" Target="../slideLayouts/slideLayout31.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chart" Target="../charts/chart27.xml"/></Relationships>
</file>

<file path=ppt/slides/_rels/slide9.xml.rels><?xml version="1.0" encoding="UTF-8" standalone="yes"?>
<Relationships xmlns="http://schemas.openxmlformats.org/package/2006/relationships"><Relationship Id="rId3" Type="http://schemas.openxmlformats.org/officeDocument/2006/relationships/hyperlink" Target="https://ourworldindata.org/grapher/pneumonia-mortality-by-age" TargetMode="External"/><Relationship Id="rId2" Type="http://schemas.openxmlformats.org/officeDocument/2006/relationships/notesSlide" Target="../notesSlides/notesSlide5.xml"/><Relationship Id="rId1" Type="http://schemas.openxmlformats.org/officeDocument/2006/relationships/slideLayout" Target="../slideLayouts/slideLayout3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s://ourworldindata.org/influenza-deaths.%20Accessed%2028%20March%202025" TargetMode="External"/></Relationships>
</file>

<file path=ppt/slides/_rels/slide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1.png"/><Relationship Id="rId1" Type="http://schemas.openxmlformats.org/officeDocument/2006/relationships/slideLayout" Target="../slideLayouts/slideLayout31.xml"/><Relationship Id="rId5" Type="http://schemas.openxmlformats.org/officeDocument/2006/relationships/chart" Target="../charts/chart31.xml"/><Relationship Id="rId4" Type="http://schemas.openxmlformats.org/officeDocument/2006/relationships/chart" Target="../charts/chart30.xml"/></Relationships>
</file>

<file path=ppt/slides/_rels/slide9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4.xml"/><Relationship Id="rId1" Type="http://schemas.openxmlformats.org/officeDocument/2006/relationships/slideLayout" Target="../slideLayouts/slideLayout31.xml"/><Relationship Id="rId5" Type="http://schemas.openxmlformats.org/officeDocument/2006/relationships/image" Target="../media/image113.png"/><Relationship Id="rId4" Type="http://schemas.openxmlformats.org/officeDocument/2006/relationships/image" Target="../media/image6.png"/></Relationships>
</file>

<file path=ppt/slides/_rels/slide9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1.xml"/></Relationships>
</file>

<file path=ppt/slides/_rels/slide9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1.xml"/></Relationships>
</file>

<file path=ppt/slides/_rels/slide9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chart" Target="../charts/chart32.xml"/><Relationship Id="rId1" Type="http://schemas.openxmlformats.org/officeDocument/2006/relationships/slideLayout" Target="../slideLayouts/slideLayout31.xml"/></Relationships>
</file>

<file path=ppt/slides/_rels/slide9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5.xml"/><Relationship Id="rId1" Type="http://schemas.openxmlformats.org/officeDocument/2006/relationships/slideLayout" Target="../slideLayouts/slideLayout36.xml"/><Relationship Id="rId4" Type="http://schemas.openxmlformats.org/officeDocument/2006/relationships/image" Target="../media/image6.png"/></Relationships>
</file>

<file path=ppt/slides/_rels/slide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1.xml"/></Relationships>
</file>

<file path=ppt/slides/_rels/slide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1.xml"/></Relationships>
</file>

<file path=ppt/slides/_rels/slide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1.xml"/></Relationships>
</file>

<file path=ppt/slides/_rels/slide9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FBB17-2CCB-7463-928E-5942956D86BD}"/>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9EAC96C1-A83C-6320-E2C4-930F855122A0}"/>
              </a:ext>
            </a:extLst>
          </p:cNvPr>
          <p:cNvSpPr>
            <a:spLocks noGrp="1"/>
          </p:cNvSpPr>
          <p:nvPr>
            <p:ph type="title"/>
          </p:nvPr>
        </p:nvSpPr>
        <p:spPr>
          <a:xfrm>
            <a:off x="420387" y="1882061"/>
            <a:ext cx="11041199" cy="1602877"/>
          </a:xfrm>
        </p:spPr>
        <p:txBody>
          <a:bodyPr/>
          <a:lstStyle/>
          <a:p>
            <a:pPr>
              <a:lnSpc>
                <a:spcPct val="150000"/>
              </a:lnSpc>
              <a:spcBef>
                <a:spcPts val="1200"/>
              </a:spcBef>
              <a:spcAft>
                <a:spcPts val="1200"/>
              </a:spcAft>
            </a:pPr>
            <a:r>
              <a:rPr lang="tr-TR" sz="3200" dirty="0">
                <a:solidFill>
                  <a:srgbClr val="02005E"/>
                </a:solidFill>
              </a:rPr>
              <a:t>Yaygın Solunum Yolu Patojenlerine</a:t>
            </a:r>
            <a:br>
              <a:rPr lang="en-US" sz="3200" dirty="0">
                <a:solidFill>
                  <a:srgbClr val="02005E"/>
                </a:solidFill>
              </a:rPr>
            </a:br>
            <a:r>
              <a:rPr lang="tr-TR" sz="3200" dirty="0">
                <a:solidFill>
                  <a:srgbClr val="02005E"/>
                </a:solidFill>
              </a:rPr>
              <a:t>Karşı </a:t>
            </a:r>
            <a:r>
              <a:rPr lang="tr-TR" sz="3200" dirty="0">
                <a:solidFill>
                  <a:schemeClr val="bg1"/>
                </a:solidFill>
              </a:rPr>
              <a:t>Pfizer </a:t>
            </a:r>
            <a:r>
              <a:rPr lang="en-US" sz="3200" dirty="0">
                <a:solidFill>
                  <a:schemeClr val="bg1"/>
                </a:solidFill>
              </a:rPr>
              <a:t>        </a:t>
            </a:r>
            <a:r>
              <a:rPr lang="tr-TR" sz="3200" dirty="0">
                <a:solidFill>
                  <a:srgbClr val="02005E"/>
                </a:solidFill>
              </a:rPr>
              <a:t>Aşıları </a:t>
            </a:r>
            <a:endParaRPr lang="tr-TR" sz="3000" dirty="0">
              <a:solidFill>
                <a:srgbClr val="02005E"/>
              </a:solidFill>
            </a:endParaRPr>
          </a:p>
        </p:txBody>
      </p:sp>
      <p:sp>
        <p:nvSpPr>
          <p:cNvPr id="11" name="Text Placeholder 10">
            <a:extLst>
              <a:ext uri="{FF2B5EF4-FFF2-40B4-BE49-F238E27FC236}">
                <a16:creationId xmlns:a16="http://schemas.microsoft.com/office/drawing/2014/main" id="{E5667D1D-F8B4-94A4-70F6-442C6973FF35}"/>
              </a:ext>
            </a:extLst>
          </p:cNvPr>
          <p:cNvSpPr>
            <a:spLocks noGrp="1"/>
          </p:cNvSpPr>
          <p:nvPr>
            <p:ph type="body" sz="quarter" idx="14"/>
          </p:nvPr>
        </p:nvSpPr>
        <p:spPr/>
        <p:txBody>
          <a:bodyPr/>
          <a:lstStyle/>
          <a:p>
            <a:r>
              <a:rPr lang="en-US" b="1" dirty="0">
                <a:solidFill>
                  <a:schemeClr val="tx2"/>
                </a:solidFill>
              </a:rPr>
              <a:t>18 </a:t>
            </a:r>
            <a:r>
              <a:rPr lang="en-US" b="1" dirty="0" err="1">
                <a:solidFill>
                  <a:schemeClr val="tx2"/>
                </a:solidFill>
              </a:rPr>
              <a:t>Ekim</a:t>
            </a:r>
            <a:r>
              <a:rPr lang="en-US" b="1" dirty="0">
                <a:solidFill>
                  <a:schemeClr val="tx2"/>
                </a:solidFill>
              </a:rPr>
              <a:t> 2025</a:t>
            </a:r>
            <a:endParaRPr lang="tr-TR" b="1" dirty="0">
              <a:solidFill>
                <a:schemeClr val="tx2"/>
              </a:solidFill>
            </a:endParaRPr>
          </a:p>
        </p:txBody>
      </p:sp>
      <p:pic>
        <p:nvPicPr>
          <p:cNvPr id="21" name="Picture 20">
            <a:extLst>
              <a:ext uri="{FF2B5EF4-FFF2-40B4-BE49-F238E27FC236}">
                <a16:creationId xmlns:a16="http://schemas.microsoft.com/office/drawing/2014/main" id="{C40DF106-F4EE-B56D-EB8B-059657C13999}"/>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1491260" y="2669957"/>
            <a:ext cx="1848108" cy="781159"/>
          </a:xfrm>
          <a:prstGeom prst="rect">
            <a:avLst/>
          </a:prstGeom>
        </p:spPr>
      </p:pic>
      <p:pic>
        <p:nvPicPr>
          <p:cNvPr id="22" name="Picture 21" descr="A yellow and blue logo&#10;&#10;Description automatically generated">
            <a:extLst>
              <a:ext uri="{FF2B5EF4-FFF2-40B4-BE49-F238E27FC236}">
                <a16:creationId xmlns:a16="http://schemas.microsoft.com/office/drawing/2014/main" id="{2CBC6810-29F7-7530-0041-DAEC6462BB49}"/>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9951792" y="2114484"/>
            <a:ext cx="1839877" cy="972905"/>
          </a:xfrm>
          <a:prstGeom prst="rect">
            <a:avLst/>
          </a:prstGeom>
        </p:spPr>
      </p:pic>
      <p:pic>
        <p:nvPicPr>
          <p:cNvPr id="26" name="Picture 25" descr="A black and blue logo&#10;&#10;AI-generated content may be incorrect.">
            <a:extLst>
              <a:ext uri="{FF2B5EF4-FFF2-40B4-BE49-F238E27FC236}">
                <a16:creationId xmlns:a16="http://schemas.microsoft.com/office/drawing/2014/main" id="{7C49EA45-FC3C-F670-21B8-8B8B328BEE49}"/>
              </a:ext>
            </a:extLst>
          </p:cNvPr>
          <p:cNvPicPr>
            <a:picLocks noChangeAspect="1"/>
          </p:cNvPicPr>
          <p:nvPr/>
        </p:nvPicPr>
        <p:blipFill>
          <a:blip r:embed="rId4"/>
          <a:stretch>
            <a:fillRect/>
          </a:stretch>
        </p:blipFill>
        <p:spPr>
          <a:xfrm>
            <a:off x="7673781" y="2509172"/>
            <a:ext cx="2102905" cy="437435"/>
          </a:xfrm>
          <a:prstGeom prst="rect">
            <a:avLst/>
          </a:prstGeom>
        </p:spPr>
      </p:pic>
      <p:cxnSp>
        <p:nvCxnSpPr>
          <p:cNvPr id="10" name="Straight Connector 9">
            <a:extLst>
              <a:ext uri="{FF2B5EF4-FFF2-40B4-BE49-F238E27FC236}">
                <a16:creationId xmlns:a16="http://schemas.microsoft.com/office/drawing/2014/main" id="{736AE67A-1518-0FE2-24C2-F53162D00B51}"/>
              </a:ext>
            </a:extLst>
          </p:cNvPr>
          <p:cNvCxnSpPr/>
          <p:nvPr/>
        </p:nvCxnSpPr>
        <p:spPr>
          <a:xfrm>
            <a:off x="7288568" y="2014112"/>
            <a:ext cx="0" cy="1338773"/>
          </a:xfrm>
          <a:prstGeom prst="line">
            <a:avLst/>
          </a:prstGeom>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1C088878-6927-D6F7-7F77-E12D3F1ABD98}"/>
              </a:ext>
            </a:extLst>
          </p:cNvPr>
          <p:cNvSpPr/>
          <p:nvPr/>
        </p:nvSpPr>
        <p:spPr>
          <a:xfrm>
            <a:off x="-1" y="3826727"/>
            <a:ext cx="8852748" cy="16685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latin typeface="Pfizer Tomorrow" panose="02010503040201060303" pitchFamily="50" charset="0"/>
            </a:endParaRPr>
          </a:p>
        </p:txBody>
      </p:sp>
      <p:sp>
        <p:nvSpPr>
          <p:cNvPr id="15" name="Flowchart: Delay 14">
            <a:extLst>
              <a:ext uri="{FF2B5EF4-FFF2-40B4-BE49-F238E27FC236}">
                <a16:creationId xmlns:a16="http://schemas.microsoft.com/office/drawing/2014/main" id="{FE9E58F0-ECB4-2644-EC17-762FBCA8E9AF}"/>
              </a:ext>
            </a:extLst>
          </p:cNvPr>
          <p:cNvSpPr/>
          <p:nvPr/>
        </p:nvSpPr>
        <p:spPr>
          <a:xfrm>
            <a:off x="7928405" y="3826727"/>
            <a:ext cx="2356876" cy="1668550"/>
          </a:xfrm>
          <a:prstGeom prst="flowChartDelay">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latin typeface="Pfizer Tomorrow" panose="02010503040201060303" pitchFamily="50" charset="0"/>
            </a:endParaRPr>
          </a:p>
        </p:txBody>
      </p:sp>
      <p:sp>
        <p:nvSpPr>
          <p:cNvPr id="12" name="Alt Başlık 2">
            <a:extLst>
              <a:ext uri="{FF2B5EF4-FFF2-40B4-BE49-F238E27FC236}">
                <a16:creationId xmlns:a16="http://schemas.microsoft.com/office/drawing/2014/main" id="{38E55DF3-76C0-EDDA-EEF2-26CA5EFEDC62}"/>
              </a:ext>
            </a:extLst>
          </p:cNvPr>
          <p:cNvSpPr txBox="1">
            <a:spLocks/>
          </p:cNvSpPr>
          <p:nvPr/>
        </p:nvSpPr>
        <p:spPr>
          <a:xfrm>
            <a:off x="476880" y="3913285"/>
            <a:ext cx="3111968" cy="1495433"/>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2000" b="1" dirty="0">
                <a:solidFill>
                  <a:schemeClr val="tx2"/>
                </a:solidFill>
                <a:latin typeface="+mj-lt"/>
                <a:cs typeface="Calibri" panose="020F0502020204030204" pitchFamily="34" charset="0"/>
              </a:rPr>
              <a:t>Prof. Dr. Serhat Ünal</a:t>
            </a:r>
            <a:br>
              <a:rPr lang="en-US" sz="2000" b="1" dirty="0">
                <a:solidFill>
                  <a:schemeClr val="tx2"/>
                </a:solidFill>
                <a:latin typeface="+mj-lt"/>
                <a:cs typeface="Calibri" panose="020F0502020204030204" pitchFamily="34" charset="0"/>
              </a:rPr>
            </a:br>
            <a:r>
              <a:rPr lang="en-US" sz="1800" i="1" dirty="0">
                <a:solidFill>
                  <a:schemeClr val="tx2"/>
                </a:solidFill>
                <a:latin typeface="+mj-lt"/>
                <a:cs typeface="Calibri" panose="020F0502020204030204" pitchFamily="34" charset="0"/>
              </a:rPr>
              <a:t>FACP, FEFIM​</a:t>
            </a:r>
            <a:endParaRPr lang="en-US" sz="2000" i="1" dirty="0">
              <a:solidFill>
                <a:schemeClr val="tx2"/>
              </a:solidFill>
              <a:latin typeface="+mj-lt"/>
              <a:cs typeface="Calibri" panose="020F0502020204030204" pitchFamily="34" charset="0"/>
            </a:endParaRPr>
          </a:p>
        </p:txBody>
      </p:sp>
      <p:pic>
        <p:nvPicPr>
          <p:cNvPr id="1026" name="Picture 2">
            <a:extLst>
              <a:ext uri="{FF2B5EF4-FFF2-40B4-BE49-F238E27FC236}">
                <a16:creationId xmlns:a16="http://schemas.microsoft.com/office/drawing/2014/main" id="{AABF4FC8-EF61-041B-2D8C-69AC3524592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28782"/>
          <a:stretch>
            <a:fillRect/>
          </a:stretch>
        </p:blipFill>
        <p:spPr bwMode="auto">
          <a:xfrm>
            <a:off x="0" y="0"/>
            <a:ext cx="12192000" cy="1802163"/>
          </a:xfrm>
          <a:prstGeom prst="rect">
            <a:avLst/>
          </a:prstGeom>
          <a:noFill/>
          <a:extLst>
            <a:ext uri="{909E8E84-426E-40DD-AFC4-6F175D3DCCD1}">
              <a14:hiddenFill xmlns:a14="http://schemas.microsoft.com/office/drawing/2010/main">
                <a:solidFill>
                  <a:srgbClr val="FFFFFF"/>
                </a:solidFill>
              </a14:hiddenFill>
            </a:ext>
          </a:extLst>
        </p:spPr>
      </p:pic>
      <p:sp>
        <p:nvSpPr>
          <p:cNvPr id="3" name="Alt Başlık 2">
            <a:extLst>
              <a:ext uri="{FF2B5EF4-FFF2-40B4-BE49-F238E27FC236}">
                <a16:creationId xmlns:a16="http://schemas.microsoft.com/office/drawing/2014/main" id="{4F832D94-F03F-92C5-68CA-24DFE3413D83}"/>
              </a:ext>
            </a:extLst>
          </p:cNvPr>
          <p:cNvSpPr txBox="1">
            <a:spLocks/>
          </p:cNvSpPr>
          <p:nvPr/>
        </p:nvSpPr>
        <p:spPr>
          <a:xfrm>
            <a:off x="3516858" y="3913285"/>
            <a:ext cx="4066473" cy="1495433"/>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2000" b="1" dirty="0">
                <a:solidFill>
                  <a:schemeClr val="tx2"/>
                </a:solidFill>
                <a:latin typeface="+mj-lt"/>
                <a:cs typeface="Calibri" panose="020F0502020204030204" pitchFamily="34" charset="0"/>
              </a:rPr>
              <a:t>Prof. Dr. Zeynel Abidin Öztürk</a:t>
            </a:r>
            <a:br>
              <a:rPr lang="en-US" sz="2000" b="1" dirty="0">
                <a:solidFill>
                  <a:schemeClr val="tx2"/>
                </a:solidFill>
                <a:latin typeface="+mj-lt"/>
                <a:cs typeface="Calibri" panose="020F0502020204030204" pitchFamily="34" charset="0"/>
              </a:rPr>
            </a:br>
            <a:r>
              <a:rPr lang="en-US" sz="1800" i="1" dirty="0">
                <a:solidFill>
                  <a:schemeClr val="tx2"/>
                </a:solidFill>
                <a:latin typeface="+mj-lt"/>
                <a:cs typeface="Calibri" panose="020F0502020204030204" pitchFamily="34" charset="0"/>
              </a:rPr>
              <a:t>Gaziantep </a:t>
            </a:r>
            <a:r>
              <a:rPr lang="en-US" sz="1800" i="1" dirty="0" err="1">
                <a:solidFill>
                  <a:schemeClr val="tx2"/>
                </a:solidFill>
                <a:latin typeface="+mj-lt"/>
                <a:cs typeface="Calibri" panose="020F0502020204030204" pitchFamily="34" charset="0"/>
              </a:rPr>
              <a:t>Üniversitesi</a:t>
            </a:r>
            <a:r>
              <a:rPr lang="en-US" sz="1800" i="1" dirty="0">
                <a:solidFill>
                  <a:schemeClr val="tx2"/>
                </a:solidFill>
                <a:latin typeface="+mj-lt"/>
                <a:cs typeface="Calibri" panose="020F0502020204030204" pitchFamily="34" charset="0"/>
              </a:rPr>
              <a:t>, </a:t>
            </a:r>
            <a:r>
              <a:rPr lang="en-US" sz="1800" i="1" dirty="0" err="1">
                <a:solidFill>
                  <a:schemeClr val="tx2"/>
                </a:solidFill>
                <a:latin typeface="+mj-lt"/>
                <a:cs typeface="Calibri" panose="020F0502020204030204" pitchFamily="34" charset="0"/>
              </a:rPr>
              <a:t>Geriatri</a:t>
            </a:r>
            <a:r>
              <a:rPr lang="en-US" sz="1800" i="1" dirty="0">
                <a:solidFill>
                  <a:schemeClr val="tx2"/>
                </a:solidFill>
                <a:latin typeface="+mj-lt"/>
                <a:cs typeface="Calibri" panose="020F0502020204030204" pitchFamily="34" charset="0"/>
              </a:rPr>
              <a:t> BD</a:t>
            </a:r>
            <a:endParaRPr lang="en-US" sz="2000" i="1" dirty="0">
              <a:solidFill>
                <a:schemeClr val="tx2"/>
              </a:solidFill>
              <a:latin typeface="+mj-lt"/>
              <a:cs typeface="Calibri" panose="020F0502020204030204" pitchFamily="34" charset="0"/>
            </a:endParaRPr>
          </a:p>
        </p:txBody>
      </p:sp>
    </p:spTree>
    <p:extLst>
      <p:ext uri="{BB962C8B-B14F-4D97-AF65-F5344CB8AC3E}">
        <p14:creationId xmlns:p14="http://schemas.microsoft.com/office/powerpoint/2010/main" val="40580474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501C48-7D16-9E4D-D37B-938C0E298E4E}"/>
            </a:ext>
          </a:extLst>
        </p:cNvPr>
        <p:cNvGrpSpPr/>
        <p:nvPr/>
      </p:nvGrpSpPr>
      <p:grpSpPr>
        <a:xfrm>
          <a:off x="0" y="0"/>
          <a:ext cx="0" cy="0"/>
          <a:chOff x="0" y="0"/>
          <a:chExt cx="0" cy="0"/>
        </a:xfrm>
      </p:grpSpPr>
      <p:grpSp>
        <p:nvGrpSpPr>
          <p:cNvPr id="197" name="Group 196">
            <a:extLst>
              <a:ext uri="{FF2B5EF4-FFF2-40B4-BE49-F238E27FC236}">
                <a16:creationId xmlns:a16="http://schemas.microsoft.com/office/drawing/2014/main" id="{DB6E1897-5338-2EE3-BD5E-C25B1659EC51}"/>
              </a:ext>
            </a:extLst>
          </p:cNvPr>
          <p:cNvGrpSpPr/>
          <p:nvPr/>
        </p:nvGrpSpPr>
        <p:grpSpPr>
          <a:xfrm>
            <a:off x="4462270" y="1914533"/>
            <a:ext cx="3169900" cy="3012218"/>
            <a:chOff x="4510910" y="1359361"/>
            <a:chExt cx="3169900" cy="3012218"/>
          </a:xfrm>
        </p:grpSpPr>
        <p:sp>
          <p:nvSpPr>
            <p:cNvPr id="192" name="Oval 191">
              <a:extLst>
                <a:ext uri="{FF2B5EF4-FFF2-40B4-BE49-F238E27FC236}">
                  <a16:creationId xmlns:a16="http://schemas.microsoft.com/office/drawing/2014/main" id="{947D28BA-21CC-5395-EE6F-3E06D91B6419}"/>
                </a:ext>
              </a:extLst>
            </p:cNvPr>
            <p:cNvSpPr/>
            <p:nvPr/>
          </p:nvSpPr>
          <p:spPr>
            <a:xfrm>
              <a:off x="4668592" y="1359361"/>
              <a:ext cx="3012218" cy="3012218"/>
            </a:xfrm>
            <a:prstGeom prst="ellipse">
              <a:avLst/>
            </a:prstGeom>
            <a:solidFill>
              <a:schemeClr val="accent3">
                <a:alpha val="2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6" name="Group 195">
              <a:extLst>
                <a:ext uri="{FF2B5EF4-FFF2-40B4-BE49-F238E27FC236}">
                  <a16:creationId xmlns:a16="http://schemas.microsoft.com/office/drawing/2014/main" id="{5C488E24-A38F-7D6C-1381-A0C063F6799A}"/>
                </a:ext>
              </a:extLst>
            </p:cNvPr>
            <p:cNvGrpSpPr/>
            <p:nvPr/>
          </p:nvGrpSpPr>
          <p:grpSpPr>
            <a:xfrm>
              <a:off x="4510910" y="1443040"/>
              <a:ext cx="3082390" cy="2844860"/>
              <a:chOff x="4510910" y="1443040"/>
              <a:chExt cx="3082390" cy="2844860"/>
            </a:xfrm>
          </p:grpSpPr>
          <p:sp>
            <p:nvSpPr>
              <p:cNvPr id="191" name="Oval 190">
                <a:extLst>
                  <a:ext uri="{FF2B5EF4-FFF2-40B4-BE49-F238E27FC236}">
                    <a16:creationId xmlns:a16="http://schemas.microsoft.com/office/drawing/2014/main" id="{3D88C7FF-8DE5-CC33-7F09-F080EB6440B2}"/>
                  </a:ext>
                </a:extLst>
              </p:cNvPr>
              <p:cNvSpPr/>
              <p:nvPr/>
            </p:nvSpPr>
            <p:spPr>
              <a:xfrm>
                <a:off x="4748440" y="1443040"/>
                <a:ext cx="2844860" cy="2844860"/>
              </a:xfrm>
              <a:prstGeom prst="ellipse">
                <a:avLst/>
              </a:prstGeom>
              <a:solidFill>
                <a:schemeClr val="accent3">
                  <a:alpha val="2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5" name="Group 194">
                <a:extLst>
                  <a:ext uri="{FF2B5EF4-FFF2-40B4-BE49-F238E27FC236}">
                    <a16:creationId xmlns:a16="http://schemas.microsoft.com/office/drawing/2014/main" id="{9D14D59F-3B56-0472-FA28-23C3EEEA6636}"/>
                  </a:ext>
                </a:extLst>
              </p:cNvPr>
              <p:cNvGrpSpPr/>
              <p:nvPr/>
            </p:nvGrpSpPr>
            <p:grpSpPr>
              <a:xfrm>
                <a:off x="4510910" y="1600759"/>
                <a:ext cx="2859995" cy="2453978"/>
                <a:chOff x="4510910" y="1600759"/>
                <a:chExt cx="2859995" cy="2453978"/>
              </a:xfrm>
            </p:grpSpPr>
            <p:grpSp>
              <p:nvGrpSpPr>
                <p:cNvPr id="168" name="Group 167">
                  <a:extLst>
                    <a:ext uri="{FF2B5EF4-FFF2-40B4-BE49-F238E27FC236}">
                      <a16:creationId xmlns:a16="http://schemas.microsoft.com/office/drawing/2014/main" id="{40284150-AC8C-5E82-F701-F8642F11406B}"/>
                    </a:ext>
                  </a:extLst>
                </p:cNvPr>
                <p:cNvGrpSpPr/>
                <p:nvPr/>
              </p:nvGrpSpPr>
              <p:grpSpPr>
                <a:xfrm>
                  <a:off x="4916927" y="1600759"/>
                  <a:ext cx="2453978" cy="2453978"/>
                  <a:chOff x="3910002" y="2519522"/>
                  <a:chExt cx="3018219" cy="3018219"/>
                </a:xfrm>
              </p:grpSpPr>
              <p:sp>
                <p:nvSpPr>
                  <p:cNvPr id="114" name="Oval 113">
                    <a:extLst>
                      <a:ext uri="{FF2B5EF4-FFF2-40B4-BE49-F238E27FC236}">
                        <a16:creationId xmlns:a16="http://schemas.microsoft.com/office/drawing/2014/main" id="{E7AC4BF5-CD9C-22F0-23E5-4B92DE8103D8}"/>
                      </a:ext>
                    </a:extLst>
                  </p:cNvPr>
                  <p:cNvSpPr/>
                  <p:nvPr/>
                </p:nvSpPr>
                <p:spPr>
                  <a:xfrm>
                    <a:off x="3910002" y="2519522"/>
                    <a:ext cx="3018219" cy="3018219"/>
                  </a:xfrm>
                  <a:prstGeom prst="ellipse">
                    <a:avLst/>
                  </a:prstGeom>
                  <a:solidFill>
                    <a:schemeClr val="bg1"/>
                  </a:solidFill>
                  <a:ln w="666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Freeform: Shape 127">
                    <a:extLst>
                      <a:ext uri="{FF2B5EF4-FFF2-40B4-BE49-F238E27FC236}">
                        <a16:creationId xmlns:a16="http://schemas.microsoft.com/office/drawing/2014/main" id="{1B831D47-3D3A-B649-D865-657BB3824664}"/>
                      </a:ext>
                    </a:extLst>
                  </p:cNvPr>
                  <p:cNvSpPr/>
                  <p:nvPr/>
                </p:nvSpPr>
                <p:spPr>
                  <a:xfrm>
                    <a:off x="3949484" y="2558192"/>
                    <a:ext cx="2936875" cy="2937083"/>
                  </a:xfrm>
                  <a:custGeom>
                    <a:avLst/>
                    <a:gdLst>
                      <a:gd name="connsiteX0" fmla="*/ 1299991 w 2598842"/>
                      <a:gd name="connsiteY0" fmla="*/ 0 h 2599982"/>
                      <a:gd name="connsiteX1" fmla="*/ 1561984 w 2598842"/>
                      <a:gd name="connsiteY1" fmla="*/ 26411 h 2599982"/>
                      <a:gd name="connsiteX2" fmla="*/ 1574331 w 2598842"/>
                      <a:gd name="connsiteY2" fmla="*/ 29586 h 2599982"/>
                      <a:gd name="connsiteX3" fmla="*/ 1574331 w 2598842"/>
                      <a:gd name="connsiteY3" fmla="*/ 59656 h 2599982"/>
                      <a:gd name="connsiteX4" fmla="*/ 1696859 w 2598842"/>
                      <a:gd name="connsiteY4" fmla="*/ 242570 h 2599982"/>
                      <a:gd name="connsiteX5" fmla="*/ 2210496 w 2598842"/>
                      <a:gd name="connsiteY5" fmla="*/ 453832 h 2599982"/>
                      <a:gd name="connsiteX6" fmla="*/ 2344189 w 2598842"/>
                      <a:gd name="connsiteY6" fmla="*/ 530072 h 2599982"/>
                      <a:gd name="connsiteX7" fmla="*/ 2348723 w 2598842"/>
                      <a:gd name="connsiteY7" fmla="*/ 534050 h 2599982"/>
                      <a:gd name="connsiteX8" fmla="*/ 2377964 w 2598842"/>
                      <a:gd name="connsiteY8" fmla="*/ 573154 h 2599982"/>
                      <a:gd name="connsiteX9" fmla="*/ 2541537 w 2598842"/>
                      <a:gd name="connsiteY9" fmla="*/ 913414 h 2599982"/>
                      <a:gd name="connsiteX10" fmla="*/ 2565041 w 2598842"/>
                      <a:gd name="connsiteY10" fmla="*/ 1004822 h 2599982"/>
                      <a:gd name="connsiteX11" fmla="*/ 2598842 w 2598842"/>
                      <a:gd name="connsiteY11" fmla="*/ 1322567 h 2599982"/>
                      <a:gd name="connsiteX12" fmla="*/ 2593270 w 2598842"/>
                      <a:gd name="connsiteY12" fmla="*/ 1432907 h 2599982"/>
                      <a:gd name="connsiteX13" fmla="*/ 2303127 w 2598842"/>
                      <a:gd name="connsiteY13" fmla="*/ 2126906 h 2599982"/>
                      <a:gd name="connsiteX14" fmla="*/ 2252008 w 2598842"/>
                      <a:gd name="connsiteY14" fmla="*/ 2183151 h 2599982"/>
                      <a:gd name="connsiteX15" fmla="*/ 2152674 w 2598842"/>
                      <a:gd name="connsiteY15" fmla="*/ 1697000 h 2599982"/>
                      <a:gd name="connsiteX16" fmla="*/ 2178581 w 2598842"/>
                      <a:gd name="connsiteY16" fmla="*/ 1598315 h 2599982"/>
                      <a:gd name="connsiteX17" fmla="*/ 2231460 w 2598842"/>
                      <a:gd name="connsiteY17" fmla="*/ 1201447 h 2599982"/>
                      <a:gd name="connsiteX18" fmla="*/ 2231460 w 2598842"/>
                      <a:gd name="connsiteY18" fmla="*/ 929923 h 2599982"/>
                      <a:gd name="connsiteX19" fmla="*/ 2193913 w 2598842"/>
                      <a:gd name="connsiteY19" fmla="*/ 892376 h 2599982"/>
                      <a:gd name="connsiteX20" fmla="*/ 2156367 w 2598842"/>
                      <a:gd name="connsiteY20" fmla="*/ 929923 h 2599982"/>
                      <a:gd name="connsiteX21" fmla="*/ 2156367 w 2598842"/>
                      <a:gd name="connsiteY21" fmla="*/ 1201447 h 2599982"/>
                      <a:gd name="connsiteX22" fmla="*/ 2106241 w 2598842"/>
                      <a:gd name="connsiteY22" fmla="*/ 1578102 h 2599982"/>
                      <a:gd name="connsiteX23" fmla="*/ 2001987 w 2598842"/>
                      <a:gd name="connsiteY23" fmla="*/ 2338484 h 2599982"/>
                      <a:gd name="connsiteX24" fmla="*/ 2001987 w 2598842"/>
                      <a:gd name="connsiteY24" fmla="*/ 2393056 h 2599982"/>
                      <a:gd name="connsiteX25" fmla="*/ 1919644 w 2598842"/>
                      <a:gd name="connsiteY25" fmla="*/ 2443080 h 2599982"/>
                      <a:gd name="connsiteX26" fmla="*/ 1299991 w 2598842"/>
                      <a:gd name="connsiteY26" fmla="*/ 2599982 h 2599982"/>
                      <a:gd name="connsiteX27" fmla="*/ 680338 w 2598842"/>
                      <a:gd name="connsiteY27" fmla="*/ 2443080 h 2599982"/>
                      <a:gd name="connsiteX28" fmla="*/ 585980 w 2598842"/>
                      <a:gd name="connsiteY28" fmla="*/ 2385756 h 2599982"/>
                      <a:gd name="connsiteX29" fmla="*/ 585980 w 2598842"/>
                      <a:gd name="connsiteY29" fmla="*/ 2338484 h 2599982"/>
                      <a:gd name="connsiteX30" fmla="*/ 481725 w 2598842"/>
                      <a:gd name="connsiteY30" fmla="*/ 1578102 h 2599982"/>
                      <a:gd name="connsiteX31" fmla="*/ 431601 w 2598842"/>
                      <a:gd name="connsiteY31" fmla="*/ 1201447 h 2599982"/>
                      <a:gd name="connsiteX32" fmla="*/ 431601 w 2598842"/>
                      <a:gd name="connsiteY32" fmla="*/ 929923 h 2599982"/>
                      <a:gd name="connsiteX33" fmla="*/ 394054 w 2598842"/>
                      <a:gd name="connsiteY33" fmla="*/ 892376 h 2599982"/>
                      <a:gd name="connsiteX34" fmla="*/ 356507 w 2598842"/>
                      <a:gd name="connsiteY34" fmla="*/ 929923 h 2599982"/>
                      <a:gd name="connsiteX35" fmla="*/ 356507 w 2598842"/>
                      <a:gd name="connsiteY35" fmla="*/ 1201447 h 2599982"/>
                      <a:gd name="connsiteX36" fmla="*/ 409385 w 2598842"/>
                      <a:gd name="connsiteY36" fmla="*/ 1598315 h 2599982"/>
                      <a:gd name="connsiteX37" fmla="*/ 435293 w 2598842"/>
                      <a:gd name="connsiteY37" fmla="*/ 1697000 h 2599982"/>
                      <a:gd name="connsiteX38" fmla="*/ 338165 w 2598842"/>
                      <a:gd name="connsiteY38" fmla="*/ 2172358 h 2599982"/>
                      <a:gd name="connsiteX39" fmla="*/ 296855 w 2598842"/>
                      <a:gd name="connsiteY39" fmla="*/ 2126906 h 2599982"/>
                      <a:gd name="connsiteX40" fmla="*/ 0 w 2598842"/>
                      <a:gd name="connsiteY40" fmla="*/ 1299991 h 2599982"/>
                      <a:gd name="connsiteX41" fmla="*/ 222018 w 2598842"/>
                      <a:gd name="connsiteY41" fmla="*/ 573154 h 2599982"/>
                      <a:gd name="connsiteX42" fmla="*/ 264446 w 2598842"/>
                      <a:gd name="connsiteY42" fmla="*/ 516416 h 2599982"/>
                      <a:gd name="connsiteX43" fmla="*/ 307107 w 2598842"/>
                      <a:gd name="connsiteY43" fmla="*/ 488156 h 2599982"/>
                      <a:gd name="connsiteX44" fmla="*/ 377471 w 2598842"/>
                      <a:gd name="connsiteY44" fmla="*/ 453832 h 2599982"/>
                      <a:gd name="connsiteX45" fmla="*/ 891109 w 2598842"/>
                      <a:gd name="connsiteY45" fmla="*/ 242570 h 2599982"/>
                      <a:gd name="connsiteX46" fmla="*/ 1013635 w 2598842"/>
                      <a:gd name="connsiteY46" fmla="*/ 59656 h 2599982"/>
                      <a:gd name="connsiteX47" fmla="*/ 1013635 w 2598842"/>
                      <a:gd name="connsiteY47" fmla="*/ 32675 h 2599982"/>
                      <a:gd name="connsiteX48" fmla="*/ 1037998 w 2598842"/>
                      <a:gd name="connsiteY48" fmla="*/ 26411 h 2599982"/>
                      <a:gd name="connsiteX49" fmla="*/ 1299991 w 2598842"/>
                      <a:gd name="connsiteY49" fmla="*/ 0 h 2599982"/>
                      <a:gd name="connsiteX0" fmla="*/ 1299991 w 2599562"/>
                      <a:gd name="connsiteY0" fmla="*/ 0 h 2599982"/>
                      <a:gd name="connsiteX1" fmla="*/ 1561984 w 2599562"/>
                      <a:gd name="connsiteY1" fmla="*/ 26411 h 2599982"/>
                      <a:gd name="connsiteX2" fmla="*/ 1574331 w 2599562"/>
                      <a:gd name="connsiteY2" fmla="*/ 29586 h 2599982"/>
                      <a:gd name="connsiteX3" fmla="*/ 1574331 w 2599562"/>
                      <a:gd name="connsiteY3" fmla="*/ 59656 h 2599982"/>
                      <a:gd name="connsiteX4" fmla="*/ 1696859 w 2599562"/>
                      <a:gd name="connsiteY4" fmla="*/ 242570 h 2599982"/>
                      <a:gd name="connsiteX5" fmla="*/ 2210496 w 2599562"/>
                      <a:gd name="connsiteY5" fmla="*/ 453832 h 2599982"/>
                      <a:gd name="connsiteX6" fmla="*/ 2344189 w 2599562"/>
                      <a:gd name="connsiteY6" fmla="*/ 530072 h 2599982"/>
                      <a:gd name="connsiteX7" fmla="*/ 2348723 w 2599562"/>
                      <a:gd name="connsiteY7" fmla="*/ 534050 h 2599982"/>
                      <a:gd name="connsiteX8" fmla="*/ 2377964 w 2599562"/>
                      <a:gd name="connsiteY8" fmla="*/ 573154 h 2599982"/>
                      <a:gd name="connsiteX9" fmla="*/ 2541537 w 2599562"/>
                      <a:gd name="connsiteY9" fmla="*/ 913414 h 2599982"/>
                      <a:gd name="connsiteX10" fmla="*/ 2565041 w 2599562"/>
                      <a:gd name="connsiteY10" fmla="*/ 1004822 h 2599982"/>
                      <a:gd name="connsiteX11" fmla="*/ 2598842 w 2599562"/>
                      <a:gd name="connsiteY11" fmla="*/ 1322567 h 2599982"/>
                      <a:gd name="connsiteX12" fmla="*/ 2593270 w 2599562"/>
                      <a:gd name="connsiteY12" fmla="*/ 1432907 h 2599982"/>
                      <a:gd name="connsiteX13" fmla="*/ 2303127 w 2599562"/>
                      <a:gd name="connsiteY13" fmla="*/ 2126906 h 2599982"/>
                      <a:gd name="connsiteX14" fmla="*/ 2252008 w 2599562"/>
                      <a:gd name="connsiteY14" fmla="*/ 2183151 h 2599982"/>
                      <a:gd name="connsiteX15" fmla="*/ 2152674 w 2599562"/>
                      <a:gd name="connsiteY15" fmla="*/ 1697000 h 2599982"/>
                      <a:gd name="connsiteX16" fmla="*/ 2178581 w 2599562"/>
                      <a:gd name="connsiteY16" fmla="*/ 1598315 h 2599982"/>
                      <a:gd name="connsiteX17" fmla="*/ 2231460 w 2599562"/>
                      <a:gd name="connsiteY17" fmla="*/ 1201447 h 2599982"/>
                      <a:gd name="connsiteX18" fmla="*/ 2231460 w 2599562"/>
                      <a:gd name="connsiteY18" fmla="*/ 929923 h 2599982"/>
                      <a:gd name="connsiteX19" fmla="*/ 2193913 w 2599562"/>
                      <a:gd name="connsiteY19" fmla="*/ 892376 h 2599982"/>
                      <a:gd name="connsiteX20" fmla="*/ 2156367 w 2599562"/>
                      <a:gd name="connsiteY20" fmla="*/ 929923 h 2599982"/>
                      <a:gd name="connsiteX21" fmla="*/ 2156367 w 2599562"/>
                      <a:gd name="connsiteY21" fmla="*/ 1201447 h 2599982"/>
                      <a:gd name="connsiteX22" fmla="*/ 2106241 w 2599562"/>
                      <a:gd name="connsiteY22" fmla="*/ 1578102 h 2599982"/>
                      <a:gd name="connsiteX23" fmla="*/ 2001987 w 2599562"/>
                      <a:gd name="connsiteY23" fmla="*/ 2338484 h 2599982"/>
                      <a:gd name="connsiteX24" fmla="*/ 2001987 w 2599562"/>
                      <a:gd name="connsiteY24" fmla="*/ 2393056 h 2599982"/>
                      <a:gd name="connsiteX25" fmla="*/ 1919644 w 2599562"/>
                      <a:gd name="connsiteY25" fmla="*/ 2443080 h 2599982"/>
                      <a:gd name="connsiteX26" fmla="*/ 1299991 w 2599562"/>
                      <a:gd name="connsiteY26" fmla="*/ 2599982 h 2599982"/>
                      <a:gd name="connsiteX27" fmla="*/ 680338 w 2599562"/>
                      <a:gd name="connsiteY27" fmla="*/ 2443080 h 2599982"/>
                      <a:gd name="connsiteX28" fmla="*/ 585980 w 2599562"/>
                      <a:gd name="connsiteY28" fmla="*/ 2385756 h 2599982"/>
                      <a:gd name="connsiteX29" fmla="*/ 585980 w 2599562"/>
                      <a:gd name="connsiteY29" fmla="*/ 2338484 h 2599982"/>
                      <a:gd name="connsiteX30" fmla="*/ 481725 w 2599562"/>
                      <a:gd name="connsiteY30" fmla="*/ 1578102 h 2599982"/>
                      <a:gd name="connsiteX31" fmla="*/ 431601 w 2599562"/>
                      <a:gd name="connsiteY31" fmla="*/ 1201447 h 2599982"/>
                      <a:gd name="connsiteX32" fmla="*/ 431601 w 2599562"/>
                      <a:gd name="connsiteY32" fmla="*/ 929923 h 2599982"/>
                      <a:gd name="connsiteX33" fmla="*/ 394054 w 2599562"/>
                      <a:gd name="connsiteY33" fmla="*/ 892376 h 2599982"/>
                      <a:gd name="connsiteX34" fmla="*/ 356507 w 2599562"/>
                      <a:gd name="connsiteY34" fmla="*/ 929923 h 2599982"/>
                      <a:gd name="connsiteX35" fmla="*/ 356507 w 2599562"/>
                      <a:gd name="connsiteY35" fmla="*/ 1201447 h 2599982"/>
                      <a:gd name="connsiteX36" fmla="*/ 409385 w 2599562"/>
                      <a:gd name="connsiteY36" fmla="*/ 1598315 h 2599982"/>
                      <a:gd name="connsiteX37" fmla="*/ 435293 w 2599562"/>
                      <a:gd name="connsiteY37" fmla="*/ 1697000 h 2599982"/>
                      <a:gd name="connsiteX38" fmla="*/ 338165 w 2599562"/>
                      <a:gd name="connsiteY38" fmla="*/ 2172358 h 2599982"/>
                      <a:gd name="connsiteX39" fmla="*/ 296855 w 2599562"/>
                      <a:gd name="connsiteY39" fmla="*/ 2126906 h 2599982"/>
                      <a:gd name="connsiteX40" fmla="*/ 0 w 2599562"/>
                      <a:gd name="connsiteY40" fmla="*/ 1299991 h 2599982"/>
                      <a:gd name="connsiteX41" fmla="*/ 222018 w 2599562"/>
                      <a:gd name="connsiteY41" fmla="*/ 573154 h 2599982"/>
                      <a:gd name="connsiteX42" fmla="*/ 264446 w 2599562"/>
                      <a:gd name="connsiteY42" fmla="*/ 516416 h 2599982"/>
                      <a:gd name="connsiteX43" fmla="*/ 307107 w 2599562"/>
                      <a:gd name="connsiteY43" fmla="*/ 488156 h 2599982"/>
                      <a:gd name="connsiteX44" fmla="*/ 377471 w 2599562"/>
                      <a:gd name="connsiteY44" fmla="*/ 453832 h 2599982"/>
                      <a:gd name="connsiteX45" fmla="*/ 891109 w 2599562"/>
                      <a:gd name="connsiteY45" fmla="*/ 242570 h 2599982"/>
                      <a:gd name="connsiteX46" fmla="*/ 1013635 w 2599562"/>
                      <a:gd name="connsiteY46" fmla="*/ 59656 h 2599982"/>
                      <a:gd name="connsiteX47" fmla="*/ 1013635 w 2599562"/>
                      <a:gd name="connsiteY47" fmla="*/ 32675 h 2599982"/>
                      <a:gd name="connsiteX48" fmla="*/ 1037998 w 2599562"/>
                      <a:gd name="connsiteY48" fmla="*/ 26411 h 2599982"/>
                      <a:gd name="connsiteX49" fmla="*/ 1299991 w 2599562"/>
                      <a:gd name="connsiteY49" fmla="*/ 0 h 2599982"/>
                      <a:gd name="connsiteX0" fmla="*/ 1299991 w 2599798"/>
                      <a:gd name="connsiteY0" fmla="*/ 0 h 2599982"/>
                      <a:gd name="connsiteX1" fmla="*/ 1561984 w 2599798"/>
                      <a:gd name="connsiteY1" fmla="*/ 26411 h 2599982"/>
                      <a:gd name="connsiteX2" fmla="*/ 1574331 w 2599798"/>
                      <a:gd name="connsiteY2" fmla="*/ 29586 h 2599982"/>
                      <a:gd name="connsiteX3" fmla="*/ 1574331 w 2599798"/>
                      <a:gd name="connsiteY3" fmla="*/ 59656 h 2599982"/>
                      <a:gd name="connsiteX4" fmla="*/ 1696859 w 2599798"/>
                      <a:gd name="connsiteY4" fmla="*/ 242570 h 2599982"/>
                      <a:gd name="connsiteX5" fmla="*/ 2210496 w 2599798"/>
                      <a:gd name="connsiteY5" fmla="*/ 453832 h 2599982"/>
                      <a:gd name="connsiteX6" fmla="*/ 2344189 w 2599798"/>
                      <a:gd name="connsiteY6" fmla="*/ 530072 h 2599982"/>
                      <a:gd name="connsiteX7" fmla="*/ 2348723 w 2599798"/>
                      <a:gd name="connsiteY7" fmla="*/ 534050 h 2599982"/>
                      <a:gd name="connsiteX8" fmla="*/ 2377964 w 2599798"/>
                      <a:gd name="connsiteY8" fmla="*/ 573154 h 2599982"/>
                      <a:gd name="connsiteX9" fmla="*/ 2541537 w 2599798"/>
                      <a:gd name="connsiteY9" fmla="*/ 913414 h 2599982"/>
                      <a:gd name="connsiteX10" fmla="*/ 2565041 w 2599798"/>
                      <a:gd name="connsiteY10" fmla="*/ 1004822 h 2599982"/>
                      <a:gd name="connsiteX11" fmla="*/ 2598842 w 2599798"/>
                      <a:gd name="connsiteY11" fmla="*/ 1322567 h 2599982"/>
                      <a:gd name="connsiteX12" fmla="*/ 2593270 w 2599798"/>
                      <a:gd name="connsiteY12" fmla="*/ 1432907 h 2599982"/>
                      <a:gd name="connsiteX13" fmla="*/ 2303127 w 2599798"/>
                      <a:gd name="connsiteY13" fmla="*/ 2126906 h 2599982"/>
                      <a:gd name="connsiteX14" fmla="*/ 2252008 w 2599798"/>
                      <a:gd name="connsiteY14" fmla="*/ 2183151 h 2599982"/>
                      <a:gd name="connsiteX15" fmla="*/ 2152674 w 2599798"/>
                      <a:gd name="connsiteY15" fmla="*/ 1697000 h 2599982"/>
                      <a:gd name="connsiteX16" fmla="*/ 2178581 w 2599798"/>
                      <a:gd name="connsiteY16" fmla="*/ 1598315 h 2599982"/>
                      <a:gd name="connsiteX17" fmla="*/ 2231460 w 2599798"/>
                      <a:gd name="connsiteY17" fmla="*/ 1201447 h 2599982"/>
                      <a:gd name="connsiteX18" fmla="*/ 2231460 w 2599798"/>
                      <a:gd name="connsiteY18" fmla="*/ 929923 h 2599982"/>
                      <a:gd name="connsiteX19" fmla="*/ 2193913 w 2599798"/>
                      <a:gd name="connsiteY19" fmla="*/ 892376 h 2599982"/>
                      <a:gd name="connsiteX20" fmla="*/ 2156367 w 2599798"/>
                      <a:gd name="connsiteY20" fmla="*/ 929923 h 2599982"/>
                      <a:gd name="connsiteX21" fmla="*/ 2156367 w 2599798"/>
                      <a:gd name="connsiteY21" fmla="*/ 1201447 h 2599982"/>
                      <a:gd name="connsiteX22" fmla="*/ 2106241 w 2599798"/>
                      <a:gd name="connsiteY22" fmla="*/ 1578102 h 2599982"/>
                      <a:gd name="connsiteX23" fmla="*/ 2001987 w 2599798"/>
                      <a:gd name="connsiteY23" fmla="*/ 2338484 h 2599982"/>
                      <a:gd name="connsiteX24" fmla="*/ 2001987 w 2599798"/>
                      <a:gd name="connsiteY24" fmla="*/ 2393056 h 2599982"/>
                      <a:gd name="connsiteX25" fmla="*/ 1919644 w 2599798"/>
                      <a:gd name="connsiteY25" fmla="*/ 2443080 h 2599982"/>
                      <a:gd name="connsiteX26" fmla="*/ 1299991 w 2599798"/>
                      <a:gd name="connsiteY26" fmla="*/ 2599982 h 2599982"/>
                      <a:gd name="connsiteX27" fmla="*/ 680338 w 2599798"/>
                      <a:gd name="connsiteY27" fmla="*/ 2443080 h 2599982"/>
                      <a:gd name="connsiteX28" fmla="*/ 585980 w 2599798"/>
                      <a:gd name="connsiteY28" fmla="*/ 2385756 h 2599982"/>
                      <a:gd name="connsiteX29" fmla="*/ 585980 w 2599798"/>
                      <a:gd name="connsiteY29" fmla="*/ 2338484 h 2599982"/>
                      <a:gd name="connsiteX30" fmla="*/ 481725 w 2599798"/>
                      <a:gd name="connsiteY30" fmla="*/ 1578102 h 2599982"/>
                      <a:gd name="connsiteX31" fmla="*/ 431601 w 2599798"/>
                      <a:gd name="connsiteY31" fmla="*/ 1201447 h 2599982"/>
                      <a:gd name="connsiteX32" fmla="*/ 431601 w 2599798"/>
                      <a:gd name="connsiteY32" fmla="*/ 929923 h 2599982"/>
                      <a:gd name="connsiteX33" fmla="*/ 394054 w 2599798"/>
                      <a:gd name="connsiteY33" fmla="*/ 892376 h 2599982"/>
                      <a:gd name="connsiteX34" fmla="*/ 356507 w 2599798"/>
                      <a:gd name="connsiteY34" fmla="*/ 929923 h 2599982"/>
                      <a:gd name="connsiteX35" fmla="*/ 356507 w 2599798"/>
                      <a:gd name="connsiteY35" fmla="*/ 1201447 h 2599982"/>
                      <a:gd name="connsiteX36" fmla="*/ 409385 w 2599798"/>
                      <a:gd name="connsiteY36" fmla="*/ 1598315 h 2599982"/>
                      <a:gd name="connsiteX37" fmla="*/ 435293 w 2599798"/>
                      <a:gd name="connsiteY37" fmla="*/ 1697000 h 2599982"/>
                      <a:gd name="connsiteX38" fmla="*/ 338165 w 2599798"/>
                      <a:gd name="connsiteY38" fmla="*/ 2172358 h 2599982"/>
                      <a:gd name="connsiteX39" fmla="*/ 296855 w 2599798"/>
                      <a:gd name="connsiteY39" fmla="*/ 2126906 h 2599982"/>
                      <a:gd name="connsiteX40" fmla="*/ 0 w 2599798"/>
                      <a:gd name="connsiteY40" fmla="*/ 1299991 h 2599982"/>
                      <a:gd name="connsiteX41" fmla="*/ 222018 w 2599798"/>
                      <a:gd name="connsiteY41" fmla="*/ 573154 h 2599982"/>
                      <a:gd name="connsiteX42" fmla="*/ 264446 w 2599798"/>
                      <a:gd name="connsiteY42" fmla="*/ 516416 h 2599982"/>
                      <a:gd name="connsiteX43" fmla="*/ 307107 w 2599798"/>
                      <a:gd name="connsiteY43" fmla="*/ 488156 h 2599982"/>
                      <a:gd name="connsiteX44" fmla="*/ 377471 w 2599798"/>
                      <a:gd name="connsiteY44" fmla="*/ 453832 h 2599982"/>
                      <a:gd name="connsiteX45" fmla="*/ 891109 w 2599798"/>
                      <a:gd name="connsiteY45" fmla="*/ 242570 h 2599982"/>
                      <a:gd name="connsiteX46" fmla="*/ 1013635 w 2599798"/>
                      <a:gd name="connsiteY46" fmla="*/ 59656 h 2599982"/>
                      <a:gd name="connsiteX47" fmla="*/ 1013635 w 2599798"/>
                      <a:gd name="connsiteY47" fmla="*/ 32675 h 2599982"/>
                      <a:gd name="connsiteX48" fmla="*/ 1037998 w 2599798"/>
                      <a:gd name="connsiteY48" fmla="*/ 26411 h 2599982"/>
                      <a:gd name="connsiteX49" fmla="*/ 1299991 w 2599798"/>
                      <a:gd name="connsiteY49" fmla="*/ 0 h 259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599798" h="2599982">
                        <a:moveTo>
                          <a:pt x="1299991" y="0"/>
                        </a:moveTo>
                        <a:cubicBezTo>
                          <a:pt x="1389737" y="0"/>
                          <a:pt x="1477358" y="9094"/>
                          <a:pt x="1561984" y="26411"/>
                        </a:cubicBezTo>
                        <a:lnTo>
                          <a:pt x="1574331" y="29586"/>
                        </a:lnTo>
                        <a:lnTo>
                          <a:pt x="1574331" y="59656"/>
                        </a:lnTo>
                        <a:cubicBezTo>
                          <a:pt x="1574331" y="141382"/>
                          <a:pt x="1621265" y="211469"/>
                          <a:pt x="1696859" y="242570"/>
                        </a:cubicBezTo>
                        <a:lnTo>
                          <a:pt x="2210496" y="453832"/>
                        </a:lnTo>
                        <a:cubicBezTo>
                          <a:pt x="2259667" y="474045"/>
                          <a:pt x="2304398" y="499682"/>
                          <a:pt x="2344189" y="530072"/>
                        </a:cubicBezTo>
                        <a:lnTo>
                          <a:pt x="2348723" y="534050"/>
                        </a:lnTo>
                        <a:lnTo>
                          <a:pt x="2377964" y="573154"/>
                        </a:lnTo>
                        <a:cubicBezTo>
                          <a:pt x="2448049" y="676894"/>
                          <a:pt x="2503554" y="791294"/>
                          <a:pt x="2541537" y="913414"/>
                        </a:cubicBezTo>
                        <a:lnTo>
                          <a:pt x="2565041" y="1004822"/>
                        </a:lnTo>
                        <a:cubicBezTo>
                          <a:pt x="2584723" y="1079883"/>
                          <a:pt x="2604404" y="1211042"/>
                          <a:pt x="2598842" y="1322567"/>
                        </a:cubicBezTo>
                        <a:lnTo>
                          <a:pt x="2593270" y="1432907"/>
                        </a:lnTo>
                        <a:cubicBezTo>
                          <a:pt x="2566642" y="1695119"/>
                          <a:pt x="2462086" y="1934293"/>
                          <a:pt x="2303127" y="2126906"/>
                        </a:cubicBezTo>
                        <a:lnTo>
                          <a:pt x="2252008" y="2183151"/>
                        </a:lnTo>
                        <a:lnTo>
                          <a:pt x="2152674" y="1697000"/>
                        </a:lnTo>
                        <a:cubicBezTo>
                          <a:pt x="2160622" y="1664584"/>
                          <a:pt x="2169257" y="1631731"/>
                          <a:pt x="2178581" y="1598315"/>
                        </a:cubicBezTo>
                        <a:cubicBezTo>
                          <a:pt x="2213625" y="1472847"/>
                          <a:pt x="2231460" y="1339369"/>
                          <a:pt x="2231460" y="1201447"/>
                        </a:cubicBezTo>
                        <a:lnTo>
                          <a:pt x="2231460" y="929923"/>
                        </a:lnTo>
                        <a:cubicBezTo>
                          <a:pt x="2231460" y="909210"/>
                          <a:pt x="2214689" y="892376"/>
                          <a:pt x="2193913" y="892376"/>
                        </a:cubicBezTo>
                        <a:cubicBezTo>
                          <a:pt x="2173137" y="892376"/>
                          <a:pt x="2156367" y="909210"/>
                          <a:pt x="2156367" y="929923"/>
                        </a:cubicBezTo>
                        <a:lnTo>
                          <a:pt x="2156367" y="1201447"/>
                        </a:lnTo>
                        <a:cubicBezTo>
                          <a:pt x="2156367" y="1332485"/>
                          <a:pt x="2139470" y="1459267"/>
                          <a:pt x="2106241" y="1578102"/>
                        </a:cubicBezTo>
                        <a:cubicBezTo>
                          <a:pt x="2033151" y="1839615"/>
                          <a:pt x="2001987" y="2066959"/>
                          <a:pt x="2001987" y="2338484"/>
                        </a:cubicBezTo>
                        <a:lnTo>
                          <a:pt x="2001987" y="2393056"/>
                        </a:lnTo>
                        <a:lnTo>
                          <a:pt x="1919644" y="2443080"/>
                        </a:lnTo>
                        <a:cubicBezTo>
                          <a:pt x="1735444" y="2543144"/>
                          <a:pt x="1524355" y="2599982"/>
                          <a:pt x="1299991" y="2599982"/>
                        </a:cubicBezTo>
                        <a:cubicBezTo>
                          <a:pt x="1075627" y="2599982"/>
                          <a:pt x="864538" y="2543144"/>
                          <a:pt x="680338" y="2443080"/>
                        </a:cubicBezTo>
                        <a:lnTo>
                          <a:pt x="585980" y="2385756"/>
                        </a:lnTo>
                        <a:lnTo>
                          <a:pt x="585980" y="2338484"/>
                        </a:lnTo>
                        <a:cubicBezTo>
                          <a:pt x="585980" y="2066959"/>
                          <a:pt x="554816" y="1839615"/>
                          <a:pt x="481725" y="1578102"/>
                        </a:cubicBezTo>
                        <a:cubicBezTo>
                          <a:pt x="448497" y="1459267"/>
                          <a:pt x="431601" y="1332548"/>
                          <a:pt x="431601" y="1201447"/>
                        </a:cubicBezTo>
                        <a:lnTo>
                          <a:pt x="431601" y="929923"/>
                        </a:lnTo>
                        <a:cubicBezTo>
                          <a:pt x="431601" y="909210"/>
                          <a:pt x="414767" y="892376"/>
                          <a:pt x="394054" y="892376"/>
                        </a:cubicBezTo>
                        <a:cubicBezTo>
                          <a:pt x="373341" y="892376"/>
                          <a:pt x="356507" y="909210"/>
                          <a:pt x="356507" y="929923"/>
                        </a:cubicBezTo>
                        <a:lnTo>
                          <a:pt x="356507" y="1201447"/>
                        </a:lnTo>
                        <a:cubicBezTo>
                          <a:pt x="356507" y="1339306"/>
                          <a:pt x="374342" y="1472847"/>
                          <a:pt x="409385" y="1598315"/>
                        </a:cubicBezTo>
                        <a:cubicBezTo>
                          <a:pt x="418710" y="1631731"/>
                          <a:pt x="427345" y="1664522"/>
                          <a:pt x="435293" y="1697000"/>
                        </a:cubicBezTo>
                        <a:lnTo>
                          <a:pt x="338165" y="2172358"/>
                        </a:lnTo>
                        <a:lnTo>
                          <a:pt x="296855" y="2126906"/>
                        </a:lnTo>
                        <a:cubicBezTo>
                          <a:pt x="111404" y="1902191"/>
                          <a:pt x="0" y="1614101"/>
                          <a:pt x="0" y="1299991"/>
                        </a:cubicBezTo>
                        <a:cubicBezTo>
                          <a:pt x="0" y="1030754"/>
                          <a:pt x="81848" y="780634"/>
                          <a:pt x="222018" y="573154"/>
                        </a:cubicBezTo>
                        <a:lnTo>
                          <a:pt x="264446" y="516416"/>
                        </a:lnTo>
                        <a:lnTo>
                          <a:pt x="307107" y="488156"/>
                        </a:lnTo>
                        <a:cubicBezTo>
                          <a:pt x="329410" y="475416"/>
                          <a:pt x="352886" y="463946"/>
                          <a:pt x="377471" y="453832"/>
                        </a:cubicBezTo>
                        <a:lnTo>
                          <a:pt x="891109" y="242570"/>
                        </a:lnTo>
                        <a:cubicBezTo>
                          <a:pt x="966702" y="211531"/>
                          <a:pt x="1013635" y="141382"/>
                          <a:pt x="1013635" y="59656"/>
                        </a:cubicBezTo>
                        <a:lnTo>
                          <a:pt x="1013635" y="32675"/>
                        </a:lnTo>
                        <a:lnTo>
                          <a:pt x="1037998" y="26411"/>
                        </a:lnTo>
                        <a:cubicBezTo>
                          <a:pt x="1122624" y="9094"/>
                          <a:pt x="1210246" y="0"/>
                          <a:pt x="1299991" y="0"/>
                        </a:cubicBezTo>
                        <a:close/>
                      </a:path>
                    </a:pathLst>
                  </a:custGeom>
                  <a:solidFill>
                    <a:srgbClr val="ADADA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86" name="Group 85">
                    <a:extLst>
                      <a:ext uri="{FF2B5EF4-FFF2-40B4-BE49-F238E27FC236}">
                        <a16:creationId xmlns:a16="http://schemas.microsoft.com/office/drawing/2014/main" id="{BA532D8D-F24D-9241-CD05-B60CAD053FDA}"/>
                      </a:ext>
                    </a:extLst>
                  </p:cNvPr>
                  <p:cNvGrpSpPr/>
                  <p:nvPr/>
                </p:nvGrpSpPr>
                <p:grpSpPr>
                  <a:xfrm>
                    <a:off x="4636939" y="2922530"/>
                    <a:ext cx="1554976" cy="1197362"/>
                    <a:chOff x="1392623" y="2648681"/>
                    <a:chExt cx="1513819" cy="1165670"/>
                  </a:xfrm>
                </p:grpSpPr>
                <p:sp>
                  <p:nvSpPr>
                    <p:cNvPr id="83" name="Freeform: Shape 82">
                      <a:extLst>
                        <a:ext uri="{FF2B5EF4-FFF2-40B4-BE49-F238E27FC236}">
                          <a16:creationId xmlns:a16="http://schemas.microsoft.com/office/drawing/2014/main" id="{2EF10DA4-DCDD-CD6B-AD2E-991602F3AFE4}"/>
                        </a:ext>
                      </a:extLst>
                    </p:cNvPr>
                    <p:cNvSpPr/>
                    <p:nvPr/>
                  </p:nvSpPr>
                  <p:spPr>
                    <a:xfrm>
                      <a:off x="2459675" y="2907892"/>
                      <a:ext cx="446767" cy="906459"/>
                    </a:xfrm>
                    <a:custGeom>
                      <a:avLst/>
                      <a:gdLst>
                        <a:gd name="connsiteX0" fmla="*/ 82017 w 466994"/>
                        <a:gd name="connsiteY0" fmla="*/ 4616 h 947498"/>
                        <a:gd name="connsiteX1" fmla="*/ 39517 w 466994"/>
                        <a:gd name="connsiteY1" fmla="*/ 11090 h 947498"/>
                        <a:gd name="connsiteX2" fmla="*/ 0 w 466994"/>
                        <a:gd name="connsiteY2" fmla="*/ 125530 h 947498"/>
                        <a:gd name="connsiteX3" fmla="*/ 0 w 466994"/>
                        <a:gd name="connsiteY3" fmla="*/ 188070 h 947498"/>
                        <a:gd name="connsiteX4" fmla="*/ 135888 w 466994"/>
                        <a:gd name="connsiteY4" fmla="*/ 310954 h 947498"/>
                        <a:gd name="connsiteX5" fmla="*/ 249709 w 466994"/>
                        <a:gd name="connsiteY5" fmla="*/ 337918 h 947498"/>
                        <a:gd name="connsiteX6" fmla="*/ 291083 w 466994"/>
                        <a:gd name="connsiteY6" fmla="*/ 361673 h 947498"/>
                        <a:gd name="connsiteX7" fmla="*/ 267385 w 466994"/>
                        <a:gd name="connsiteY7" fmla="*/ 403103 h 947498"/>
                        <a:gd name="connsiteX8" fmla="*/ 235918 w 466994"/>
                        <a:gd name="connsiteY8" fmla="*/ 406875 h 947498"/>
                        <a:gd name="connsiteX9" fmla="*/ 196851 w 466994"/>
                        <a:gd name="connsiteY9" fmla="*/ 403047 h 947498"/>
                        <a:gd name="connsiteX10" fmla="*/ 251116 w 466994"/>
                        <a:gd name="connsiteY10" fmla="*/ 550981 h 947498"/>
                        <a:gd name="connsiteX11" fmla="*/ 371355 w 466994"/>
                        <a:gd name="connsiteY11" fmla="*/ 632773 h 947498"/>
                        <a:gd name="connsiteX12" fmla="*/ 364938 w 466994"/>
                        <a:gd name="connsiteY12" fmla="*/ 680058 h 947498"/>
                        <a:gd name="connsiteX13" fmla="*/ 344504 w 466994"/>
                        <a:gd name="connsiteY13" fmla="*/ 686869 h 947498"/>
                        <a:gd name="connsiteX14" fmla="*/ 317597 w 466994"/>
                        <a:gd name="connsiteY14" fmla="*/ 673471 h 947498"/>
                        <a:gd name="connsiteX15" fmla="*/ 262656 w 466994"/>
                        <a:gd name="connsiteY15" fmla="*/ 628269 h 947498"/>
                        <a:gd name="connsiteX16" fmla="*/ 264514 w 466994"/>
                        <a:gd name="connsiteY16" fmla="*/ 676230 h 947498"/>
                        <a:gd name="connsiteX17" fmla="*/ 264514 w 466994"/>
                        <a:gd name="connsiteY17" fmla="*/ 746313 h 947498"/>
                        <a:gd name="connsiteX18" fmla="*/ 230739 w 466994"/>
                        <a:gd name="connsiteY18" fmla="*/ 780087 h 947498"/>
                        <a:gd name="connsiteX19" fmla="*/ 196964 w 466994"/>
                        <a:gd name="connsiteY19" fmla="*/ 746313 h 947498"/>
                        <a:gd name="connsiteX20" fmla="*/ 196964 w 466994"/>
                        <a:gd name="connsiteY20" fmla="*/ 676230 h 947498"/>
                        <a:gd name="connsiteX21" fmla="*/ 183398 w 466994"/>
                        <a:gd name="connsiteY21" fmla="*/ 557736 h 947498"/>
                        <a:gd name="connsiteX22" fmla="*/ 140841 w 466994"/>
                        <a:gd name="connsiteY22" fmla="*/ 597028 h 947498"/>
                        <a:gd name="connsiteX23" fmla="*/ 123616 w 466994"/>
                        <a:gd name="connsiteY23" fmla="*/ 601869 h 947498"/>
                        <a:gd name="connsiteX24" fmla="*/ 94626 w 466994"/>
                        <a:gd name="connsiteY24" fmla="*/ 585488 h 947498"/>
                        <a:gd name="connsiteX25" fmla="*/ 106109 w 466994"/>
                        <a:gd name="connsiteY25" fmla="*/ 539160 h 947498"/>
                        <a:gd name="connsiteX26" fmla="*/ 153000 w 466994"/>
                        <a:gd name="connsiteY26" fmla="*/ 467501 h 947498"/>
                        <a:gd name="connsiteX27" fmla="*/ 87927 w 466994"/>
                        <a:gd name="connsiteY27" fmla="*/ 359140 h 947498"/>
                        <a:gd name="connsiteX28" fmla="*/ 84719 w 466994"/>
                        <a:gd name="connsiteY28" fmla="*/ 355030 h 947498"/>
                        <a:gd name="connsiteX29" fmla="*/ 113 w 466994"/>
                        <a:gd name="connsiteY29" fmla="*/ 271381 h 947498"/>
                        <a:gd name="connsiteX30" fmla="*/ 113 w 466994"/>
                        <a:gd name="connsiteY30" fmla="*/ 780144 h 947498"/>
                        <a:gd name="connsiteX31" fmla="*/ 82861 w 466994"/>
                        <a:gd name="connsiteY31" fmla="*/ 877247 h 947498"/>
                        <a:gd name="connsiteX32" fmla="*/ 249540 w 466994"/>
                        <a:gd name="connsiteY32" fmla="*/ 929204 h 947498"/>
                        <a:gd name="connsiteX33" fmla="*/ 312305 w 466994"/>
                        <a:gd name="connsiteY33" fmla="*/ 947498 h 947498"/>
                        <a:gd name="connsiteX34" fmla="*/ 466994 w 466994"/>
                        <a:gd name="connsiteY34" fmla="*/ 734097 h 947498"/>
                        <a:gd name="connsiteX35" fmla="*/ 82186 w 466994"/>
                        <a:gd name="connsiteY35" fmla="*/ 4672 h 94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66994" h="947498">
                          <a:moveTo>
                            <a:pt x="82017" y="4616"/>
                          </a:moveTo>
                          <a:cubicBezTo>
                            <a:pt x="67550" y="-3377"/>
                            <a:pt x="51000" y="-844"/>
                            <a:pt x="39517" y="11090"/>
                          </a:cubicBezTo>
                          <a:cubicBezTo>
                            <a:pt x="15818" y="35689"/>
                            <a:pt x="0" y="81735"/>
                            <a:pt x="0" y="125530"/>
                          </a:cubicBezTo>
                          <a:lnTo>
                            <a:pt x="0" y="188070"/>
                          </a:lnTo>
                          <a:cubicBezTo>
                            <a:pt x="52407" y="222408"/>
                            <a:pt x="97947" y="263951"/>
                            <a:pt x="135888" y="310954"/>
                          </a:cubicBezTo>
                          <a:cubicBezTo>
                            <a:pt x="167636" y="329699"/>
                            <a:pt x="226911" y="344110"/>
                            <a:pt x="249709" y="337918"/>
                          </a:cubicBezTo>
                          <a:cubicBezTo>
                            <a:pt x="267891" y="333020"/>
                            <a:pt x="286242" y="343660"/>
                            <a:pt x="291083" y="361673"/>
                          </a:cubicBezTo>
                          <a:cubicBezTo>
                            <a:pt x="296150" y="379686"/>
                            <a:pt x="285567" y="398206"/>
                            <a:pt x="267385" y="403103"/>
                          </a:cubicBezTo>
                          <a:cubicBezTo>
                            <a:pt x="257984" y="405693"/>
                            <a:pt x="247176" y="406875"/>
                            <a:pt x="235918" y="406875"/>
                          </a:cubicBezTo>
                          <a:cubicBezTo>
                            <a:pt x="223477" y="406875"/>
                            <a:pt x="210192" y="405468"/>
                            <a:pt x="196851" y="403047"/>
                          </a:cubicBezTo>
                          <a:cubicBezTo>
                            <a:pt x="221451" y="449375"/>
                            <a:pt x="239633" y="499080"/>
                            <a:pt x="251116" y="550981"/>
                          </a:cubicBezTo>
                          <a:cubicBezTo>
                            <a:pt x="298232" y="564998"/>
                            <a:pt x="343097" y="595114"/>
                            <a:pt x="371355" y="632773"/>
                          </a:cubicBezTo>
                          <a:cubicBezTo>
                            <a:pt x="382613" y="647634"/>
                            <a:pt x="379855" y="668799"/>
                            <a:pt x="364938" y="680058"/>
                          </a:cubicBezTo>
                          <a:cubicBezTo>
                            <a:pt x="358746" y="684673"/>
                            <a:pt x="351597" y="686869"/>
                            <a:pt x="344504" y="686869"/>
                          </a:cubicBezTo>
                          <a:cubicBezTo>
                            <a:pt x="334371" y="686869"/>
                            <a:pt x="324295" y="682253"/>
                            <a:pt x="317597" y="673471"/>
                          </a:cubicBezTo>
                          <a:cubicBezTo>
                            <a:pt x="304030" y="655458"/>
                            <a:pt x="284272" y="639640"/>
                            <a:pt x="262656" y="628269"/>
                          </a:cubicBezTo>
                          <a:cubicBezTo>
                            <a:pt x="263782" y="644144"/>
                            <a:pt x="264514" y="660130"/>
                            <a:pt x="264514" y="676230"/>
                          </a:cubicBezTo>
                          <a:lnTo>
                            <a:pt x="264514" y="746313"/>
                          </a:lnTo>
                          <a:cubicBezTo>
                            <a:pt x="264514" y="764945"/>
                            <a:pt x="249596" y="780087"/>
                            <a:pt x="230739" y="780087"/>
                          </a:cubicBezTo>
                          <a:cubicBezTo>
                            <a:pt x="211881" y="780087"/>
                            <a:pt x="196964" y="764945"/>
                            <a:pt x="196964" y="746313"/>
                          </a:cubicBezTo>
                          <a:lnTo>
                            <a:pt x="196964" y="676230"/>
                          </a:lnTo>
                          <a:cubicBezTo>
                            <a:pt x="196964" y="635700"/>
                            <a:pt x="192348" y="596014"/>
                            <a:pt x="183398" y="557736"/>
                          </a:cubicBezTo>
                          <a:cubicBezTo>
                            <a:pt x="171464" y="573385"/>
                            <a:pt x="157166" y="587233"/>
                            <a:pt x="140841" y="597028"/>
                          </a:cubicBezTo>
                          <a:cubicBezTo>
                            <a:pt x="135325" y="600292"/>
                            <a:pt x="129358" y="601869"/>
                            <a:pt x="123616" y="601869"/>
                          </a:cubicBezTo>
                          <a:cubicBezTo>
                            <a:pt x="112133" y="601869"/>
                            <a:pt x="100874" y="596014"/>
                            <a:pt x="94626" y="585488"/>
                          </a:cubicBezTo>
                          <a:cubicBezTo>
                            <a:pt x="84944" y="569501"/>
                            <a:pt x="90010" y="548729"/>
                            <a:pt x="106109" y="539160"/>
                          </a:cubicBezTo>
                          <a:cubicBezTo>
                            <a:pt x="128401" y="525650"/>
                            <a:pt x="147259" y="493001"/>
                            <a:pt x="153000" y="467501"/>
                          </a:cubicBezTo>
                          <a:cubicBezTo>
                            <a:pt x="136000" y="428885"/>
                            <a:pt x="114159" y="392521"/>
                            <a:pt x="87927" y="359140"/>
                          </a:cubicBezTo>
                          <a:cubicBezTo>
                            <a:pt x="86802" y="357845"/>
                            <a:pt x="85619" y="356494"/>
                            <a:pt x="84719" y="355030"/>
                          </a:cubicBezTo>
                          <a:cubicBezTo>
                            <a:pt x="60119" y="324352"/>
                            <a:pt x="31861" y="296262"/>
                            <a:pt x="113" y="271381"/>
                          </a:cubicBezTo>
                          <a:lnTo>
                            <a:pt x="113" y="780144"/>
                          </a:lnTo>
                          <a:cubicBezTo>
                            <a:pt x="113" y="833058"/>
                            <a:pt x="35070" y="873925"/>
                            <a:pt x="82861" y="877247"/>
                          </a:cubicBezTo>
                          <a:cubicBezTo>
                            <a:pt x="143994" y="881525"/>
                            <a:pt x="196908" y="898018"/>
                            <a:pt x="249540" y="929204"/>
                          </a:cubicBezTo>
                          <a:cubicBezTo>
                            <a:pt x="270256" y="941363"/>
                            <a:pt x="291140" y="947498"/>
                            <a:pt x="312305" y="947498"/>
                          </a:cubicBezTo>
                          <a:cubicBezTo>
                            <a:pt x="426577" y="947498"/>
                            <a:pt x="466994" y="832551"/>
                            <a:pt x="466994" y="734097"/>
                          </a:cubicBezTo>
                          <a:cubicBezTo>
                            <a:pt x="466994" y="489905"/>
                            <a:pt x="308815" y="130259"/>
                            <a:pt x="82186" y="4672"/>
                          </a:cubicBezTo>
                          <a:close/>
                        </a:path>
                      </a:pathLst>
                    </a:custGeom>
                    <a:solidFill>
                      <a:schemeClr val="bg1"/>
                    </a:solidFill>
                    <a:ln w="1905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696AB209-A255-E19A-4CD1-9339584ADB82}"/>
                        </a:ext>
                      </a:extLst>
                    </p:cNvPr>
                    <p:cNvSpPr/>
                    <p:nvPr/>
                  </p:nvSpPr>
                  <p:spPr>
                    <a:xfrm>
                      <a:off x="1392623" y="2907839"/>
                      <a:ext cx="446444" cy="906404"/>
                    </a:xfrm>
                    <a:custGeom>
                      <a:avLst/>
                      <a:gdLst>
                        <a:gd name="connsiteX0" fmla="*/ 466544 w 466656"/>
                        <a:gd name="connsiteY0" fmla="*/ 780087 h 947441"/>
                        <a:gd name="connsiteX1" fmla="*/ 466544 w 466656"/>
                        <a:gd name="connsiteY1" fmla="*/ 271325 h 947441"/>
                        <a:gd name="connsiteX2" fmla="*/ 382163 w 466656"/>
                        <a:gd name="connsiteY2" fmla="*/ 354974 h 947441"/>
                        <a:gd name="connsiteX3" fmla="*/ 378954 w 466656"/>
                        <a:gd name="connsiteY3" fmla="*/ 359140 h 947441"/>
                        <a:gd name="connsiteX4" fmla="*/ 313656 w 466656"/>
                        <a:gd name="connsiteY4" fmla="*/ 467445 h 947441"/>
                        <a:gd name="connsiteX5" fmla="*/ 360772 w 466656"/>
                        <a:gd name="connsiteY5" fmla="*/ 539104 h 947441"/>
                        <a:gd name="connsiteX6" fmla="*/ 372256 w 466656"/>
                        <a:gd name="connsiteY6" fmla="*/ 585431 h 947441"/>
                        <a:gd name="connsiteX7" fmla="*/ 343266 w 466656"/>
                        <a:gd name="connsiteY7" fmla="*/ 601812 h 947441"/>
                        <a:gd name="connsiteX8" fmla="*/ 326040 w 466656"/>
                        <a:gd name="connsiteY8" fmla="*/ 596971 h 947441"/>
                        <a:gd name="connsiteX9" fmla="*/ 283484 w 466656"/>
                        <a:gd name="connsiteY9" fmla="*/ 557680 h 947441"/>
                        <a:gd name="connsiteX10" fmla="*/ 269693 w 466656"/>
                        <a:gd name="connsiteY10" fmla="*/ 676173 h 947441"/>
                        <a:gd name="connsiteX11" fmla="*/ 269693 w 466656"/>
                        <a:gd name="connsiteY11" fmla="*/ 746256 h 947441"/>
                        <a:gd name="connsiteX12" fmla="*/ 235918 w 466656"/>
                        <a:gd name="connsiteY12" fmla="*/ 780031 h 947441"/>
                        <a:gd name="connsiteX13" fmla="*/ 202143 w 466656"/>
                        <a:gd name="connsiteY13" fmla="*/ 746256 h 947441"/>
                        <a:gd name="connsiteX14" fmla="*/ 202143 w 466656"/>
                        <a:gd name="connsiteY14" fmla="*/ 676173 h 947441"/>
                        <a:gd name="connsiteX15" fmla="*/ 204226 w 466656"/>
                        <a:gd name="connsiteY15" fmla="*/ 628213 h 947441"/>
                        <a:gd name="connsiteX16" fmla="*/ 149285 w 466656"/>
                        <a:gd name="connsiteY16" fmla="*/ 673415 h 947441"/>
                        <a:gd name="connsiteX17" fmla="*/ 122153 w 466656"/>
                        <a:gd name="connsiteY17" fmla="*/ 686812 h 947441"/>
                        <a:gd name="connsiteX18" fmla="*/ 101944 w 466656"/>
                        <a:gd name="connsiteY18" fmla="*/ 680001 h 947441"/>
                        <a:gd name="connsiteX19" fmla="*/ 95302 w 466656"/>
                        <a:gd name="connsiteY19" fmla="*/ 632716 h 947441"/>
                        <a:gd name="connsiteX20" fmla="*/ 215765 w 466656"/>
                        <a:gd name="connsiteY20" fmla="*/ 550925 h 947441"/>
                        <a:gd name="connsiteX21" fmla="*/ 270030 w 466656"/>
                        <a:gd name="connsiteY21" fmla="*/ 402991 h 947441"/>
                        <a:gd name="connsiteX22" fmla="*/ 230964 w 466656"/>
                        <a:gd name="connsiteY22" fmla="*/ 406819 h 947441"/>
                        <a:gd name="connsiteX23" fmla="*/ 199497 w 466656"/>
                        <a:gd name="connsiteY23" fmla="*/ 403047 h 947441"/>
                        <a:gd name="connsiteX24" fmla="*/ 175573 w 466656"/>
                        <a:gd name="connsiteY24" fmla="*/ 361616 h 947441"/>
                        <a:gd name="connsiteX25" fmla="*/ 216947 w 466656"/>
                        <a:gd name="connsiteY25" fmla="*/ 337861 h 947441"/>
                        <a:gd name="connsiteX26" fmla="*/ 330994 w 466656"/>
                        <a:gd name="connsiteY26" fmla="*/ 310898 h 947441"/>
                        <a:gd name="connsiteX27" fmla="*/ 466600 w 466656"/>
                        <a:gd name="connsiteY27" fmla="*/ 188014 h 947441"/>
                        <a:gd name="connsiteX28" fmla="*/ 466600 w 466656"/>
                        <a:gd name="connsiteY28" fmla="*/ 125474 h 947441"/>
                        <a:gd name="connsiteX29" fmla="*/ 427309 w 466656"/>
                        <a:gd name="connsiteY29" fmla="*/ 11033 h 947441"/>
                        <a:gd name="connsiteX30" fmla="*/ 402034 w 466656"/>
                        <a:gd name="connsiteY30" fmla="*/ 0 h 947441"/>
                        <a:gd name="connsiteX31" fmla="*/ 384809 w 466656"/>
                        <a:gd name="connsiteY31" fmla="*/ 4616 h 947441"/>
                        <a:gd name="connsiteX32" fmla="*/ 0 w 466656"/>
                        <a:gd name="connsiteY32" fmla="*/ 734041 h 947441"/>
                        <a:gd name="connsiteX33" fmla="*/ 154689 w 466656"/>
                        <a:gd name="connsiteY33" fmla="*/ 947442 h 947441"/>
                        <a:gd name="connsiteX34" fmla="*/ 217229 w 466656"/>
                        <a:gd name="connsiteY34" fmla="*/ 929147 h 947441"/>
                        <a:gd name="connsiteX35" fmla="*/ 383908 w 466656"/>
                        <a:gd name="connsiteY35" fmla="*/ 877190 h 947441"/>
                        <a:gd name="connsiteX36" fmla="*/ 466656 w 466656"/>
                        <a:gd name="connsiteY36" fmla="*/ 780087 h 94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66656" h="947441">
                          <a:moveTo>
                            <a:pt x="466544" y="780087"/>
                          </a:moveTo>
                          <a:lnTo>
                            <a:pt x="466544" y="271325"/>
                          </a:lnTo>
                          <a:cubicBezTo>
                            <a:pt x="435021" y="296206"/>
                            <a:pt x="406762" y="324239"/>
                            <a:pt x="382163" y="354974"/>
                          </a:cubicBezTo>
                          <a:cubicBezTo>
                            <a:pt x="381262" y="356438"/>
                            <a:pt x="380080" y="357845"/>
                            <a:pt x="378954" y="359140"/>
                          </a:cubicBezTo>
                          <a:cubicBezTo>
                            <a:pt x="352722" y="392521"/>
                            <a:pt x="330881" y="428885"/>
                            <a:pt x="313656" y="467445"/>
                          </a:cubicBezTo>
                          <a:cubicBezTo>
                            <a:pt x="319623" y="492945"/>
                            <a:pt x="338256" y="525650"/>
                            <a:pt x="360772" y="539104"/>
                          </a:cubicBezTo>
                          <a:cubicBezTo>
                            <a:pt x="376646" y="548729"/>
                            <a:pt x="381938" y="569445"/>
                            <a:pt x="372256" y="585431"/>
                          </a:cubicBezTo>
                          <a:cubicBezTo>
                            <a:pt x="366064" y="595958"/>
                            <a:pt x="354805" y="601812"/>
                            <a:pt x="343266" y="601812"/>
                          </a:cubicBezTo>
                          <a:cubicBezTo>
                            <a:pt x="337299" y="601812"/>
                            <a:pt x="331332" y="600236"/>
                            <a:pt x="326040" y="596971"/>
                          </a:cubicBezTo>
                          <a:cubicBezTo>
                            <a:pt x="309491" y="587176"/>
                            <a:pt x="295249" y="573329"/>
                            <a:pt x="283484" y="557680"/>
                          </a:cubicBezTo>
                          <a:cubicBezTo>
                            <a:pt x="274534" y="595958"/>
                            <a:pt x="269693" y="635643"/>
                            <a:pt x="269693" y="676173"/>
                          </a:cubicBezTo>
                          <a:lnTo>
                            <a:pt x="269693" y="746256"/>
                          </a:lnTo>
                          <a:cubicBezTo>
                            <a:pt x="269693" y="764889"/>
                            <a:pt x="254494" y="780031"/>
                            <a:pt x="235918" y="780031"/>
                          </a:cubicBezTo>
                          <a:cubicBezTo>
                            <a:pt x="217341" y="780031"/>
                            <a:pt x="202143" y="764889"/>
                            <a:pt x="202143" y="746256"/>
                          </a:cubicBezTo>
                          <a:lnTo>
                            <a:pt x="202143" y="676173"/>
                          </a:lnTo>
                          <a:cubicBezTo>
                            <a:pt x="202143" y="660018"/>
                            <a:pt x="202818" y="644031"/>
                            <a:pt x="204226" y="628213"/>
                          </a:cubicBezTo>
                          <a:cubicBezTo>
                            <a:pt x="182384" y="639640"/>
                            <a:pt x="162851" y="655458"/>
                            <a:pt x="149285" y="673415"/>
                          </a:cubicBezTo>
                          <a:cubicBezTo>
                            <a:pt x="142643" y="682197"/>
                            <a:pt x="132510" y="686812"/>
                            <a:pt x="122153" y="686812"/>
                          </a:cubicBezTo>
                          <a:cubicBezTo>
                            <a:pt x="115004" y="686812"/>
                            <a:pt x="107911" y="684561"/>
                            <a:pt x="101944" y="680001"/>
                          </a:cubicBezTo>
                          <a:cubicBezTo>
                            <a:pt x="87027" y="668743"/>
                            <a:pt x="83987" y="647577"/>
                            <a:pt x="95302" y="632716"/>
                          </a:cubicBezTo>
                          <a:cubicBezTo>
                            <a:pt x="123785" y="595057"/>
                            <a:pt x="168649" y="564998"/>
                            <a:pt x="215765" y="550925"/>
                          </a:cubicBezTo>
                          <a:cubicBezTo>
                            <a:pt x="227024" y="499024"/>
                            <a:pt x="245431" y="449319"/>
                            <a:pt x="270030" y="402991"/>
                          </a:cubicBezTo>
                          <a:cubicBezTo>
                            <a:pt x="256689" y="405411"/>
                            <a:pt x="243348" y="406819"/>
                            <a:pt x="230964" y="406819"/>
                          </a:cubicBezTo>
                          <a:cubicBezTo>
                            <a:pt x="219481" y="406819"/>
                            <a:pt x="208898" y="405693"/>
                            <a:pt x="199497" y="403047"/>
                          </a:cubicBezTo>
                          <a:cubicBezTo>
                            <a:pt x="181315" y="398150"/>
                            <a:pt x="170788" y="379630"/>
                            <a:pt x="175573" y="361616"/>
                          </a:cubicBezTo>
                          <a:cubicBezTo>
                            <a:pt x="180414" y="343603"/>
                            <a:pt x="199047" y="332964"/>
                            <a:pt x="216947" y="337861"/>
                          </a:cubicBezTo>
                          <a:cubicBezTo>
                            <a:pt x="239914" y="344054"/>
                            <a:pt x="299246" y="329699"/>
                            <a:pt x="330994" y="310898"/>
                          </a:cubicBezTo>
                          <a:cubicBezTo>
                            <a:pt x="368934" y="263951"/>
                            <a:pt x="414418" y="222351"/>
                            <a:pt x="466600" y="188014"/>
                          </a:cubicBezTo>
                          <a:lnTo>
                            <a:pt x="466600" y="125474"/>
                          </a:lnTo>
                          <a:cubicBezTo>
                            <a:pt x="466600" y="81623"/>
                            <a:pt x="450951" y="35632"/>
                            <a:pt x="427309" y="11033"/>
                          </a:cubicBezTo>
                          <a:cubicBezTo>
                            <a:pt x="420160" y="3771"/>
                            <a:pt x="411209" y="0"/>
                            <a:pt x="402034" y="0"/>
                          </a:cubicBezTo>
                          <a:cubicBezTo>
                            <a:pt x="396292" y="0"/>
                            <a:pt x="390325" y="1520"/>
                            <a:pt x="384809" y="4616"/>
                          </a:cubicBezTo>
                          <a:cubicBezTo>
                            <a:pt x="157898" y="130202"/>
                            <a:pt x="0" y="489792"/>
                            <a:pt x="0" y="734041"/>
                          </a:cubicBezTo>
                          <a:cubicBezTo>
                            <a:pt x="0" y="832495"/>
                            <a:pt x="40474" y="947442"/>
                            <a:pt x="154689" y="947442"/>
                          </a:cubicBezTo>
                          <a:cubicBezTo>
                            <a:pt x="175855" y="947442"/>
                            <a:pt x="196739" y="941306"/>
                            <a:pt x="217229" y="929147"/>
                          </a:cubicBezTo>
                          <a:cubicBezTo>
                            <a:pt x="269861" y="897962"/>
                            <a:pt x="323001" y="881468"/>
                            <a:pt x="383908" y="877190"/>
                          </a:cubicBezTo>
                          <a:cubicBezTo>
                            <a:pt x="431981" y="873869"/>
                            <a:pt x="466656" y="833001"/>
                            <a:pt x="466656" y="780087"/>
                          </a:cubicBezTo>
                          <a:close/>
                        </a:path>
                      </a:pathLst>
                    </a:custGeom>
                    <a:solidFill>
                      <a:schemeClr val="bg1"/>
                    </a:solidFill>
                    <a:ln w="1905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69A2002-E35C-BF2A-2453-D5A8B2CDE602}"/>
                        </a:ext>
                      </a:extLst>
                    </p:cNvPr>
                    <p:cNvSpPr/>
                    <p:nvPr/>
                  </p:nvSpPr>
                  <p:spPr>
                    <a:xfrm>
                      <a:off x="1893676" y="2648681"/>
                      <a:ext cx="511123" cy="415333"/>
                    </a:xfrm>
                    <a:custGeom>
                      <a:avLst/>
                      <a:gdLst>
                        <a:gd name="connsiteX0" fmla="*/ 216554 w 534263"/>
                        <a:gd name="connsiteY0" fmla="*/ 0 h 434137"/>
                        <a:gd name="connsiteX1" fmla="*/ 317935 w 534263"/>
                        <a:gd name="connsiteY1" fmla="*/ 0 h 434137"/>
                        <a:gd name="connsiteX2" fmla="*/ 317935 w 534263"/>
                        <a:gd name="connsiteY2" fmla="*/ 178630 h 434137"/>
                        <a:gd name="connsiteX3" fmla="*/ 334710 w 534263"/>
                        <a:gd name="connsiteY3" fmla="*/ 207902 h 434137"/>
                        <a:gd name="connsiteX4" fmla="*/ 534263 w 534263"/>
                        <a:gd name="connsiteY4" fmla="*/ 323130 h 434137"/>
                        <a:gd name="connsiteX5" fmla="*/ 523905 w 534263"/>
                        <a:gd name="connsiteY5" fmla="*/ 396422 h 434137"/>
                        <a:gd name="connsiteX6" fmla="*/ 523905 w 534263"/>
                        <a:gd name="connsiteY6" fmla="*/ 434137 h 434137"/>
                        <a:gd name="connsiteX7" fmla="*/ 284160 w 534263"/>
                        <a:gd name="connsiteY7" fmla="*/ 295604 h 434137"/>
                        <a:gd name="connsiteX8" fmla="*/ 250385 w 534263"/>
                        <a:gd name="connsiteY8" fmla="*/ 295604 h 434137"/>
                        <a:gd name="connsiteX9" fmla="*/ 10358 w 534263"/>
                        <a:gd name="connsiteY9" fmla="*/ 434137 h 434137"/>
                        <a:gd name="connsiteX10" fmla="*/ 10358 w 534263"/>
                        <a:gd name="connsiteY10" fmla="*/ 396422 h 434137"/>
                        <a:gd name="connsiteX11" fmla="*/ 0 w 534263"/>
                        <a:gd name="connsiteY11" fmla="*/ 323130 h 434137"/>
                        <a:gd name="connsiteX12" fmla="*/ 199554 w 534263"/>
                        <a:gd name="connsiteY12" fmla="*/ 207902 h 434137"/>
                        <a:gd name="connsiteX13" fmla="*/ 216554 w 534263"/>
                        <a:gd name="connsiteY13" fmla="*/ 178686 h 434137"/>
                        <a:gd name="connsiteX14" fmla="*/ 216554 w 534263"/>
                        <a:gd name="connsiteY14" fmla="*/ 0 h 43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263" h="434137">
                          <a:moveTo>
                            <a:pt x="216554" y="0"/>
                          </a:moveTo>
                          <a:lnTo>
                            <a:pt x="317935" y="0"/>
                          </a:lnTo>
                          <a:lnTo>
                            <a:pt x="317935" y="178630"/>
                          </a:lnTo>
                          <a:cubicBezTo>
                            <a:pt x="317935" y="190733"/>
                            <a:pt x="324352" y="201878"/>
                            <a:pt x="334710" y="207902"/>
                          </a:cubicBezTo>
                          <a:lnTo>
                            <a:pt x="534263" y="323130"/>
                          </a:lnTo>
                          <a:cubicBezTo>
                            <a:pt x="527564" y="346491"/>
                            <a:pt x="523905" y="371428"/>
                            <a:pt x="523905" y="396422"/>
                          </a:cubicBezTo>
                          <a:lnTo>
                            <a:pt x="523905" y="434137"/>
                          </a:lnTo>
                          <a:lnTo>
                            <a:pt x="284160" y="295604"/>
                          </a:lnTo>
                          <a:cubicBezTo>
                            <a:pt x="273577" y="289581"/>
                            <a:pt x="260743" y="289581"/>
                            <a:pt x="250385" y="295604"/>
                          </a:cubicBezTo>
                          <a:lnTo>
                            <a:pt x="10358" y="434137"/>
                          </a:lnTo>
                          <a:lnTo>
                            <a:pt x="10358" y="396422"/>
                          </a:lnTo>
                          <a:cubicBezTo>
                            <a:pt x="10358" y="371428"/>
                            <a:pt x="6643" y="346491"/>
                            <a:pt x="0" y="323130"/>
                          </a:cubicBezTo>
                          <a:lnTo>
                            <a:pt x="199554" y="207902"/>
                          </a:lnTo>
                          <a:cubicBezTo>
                            <a:pt x="210137" y="201878"/>
                            <a:pt x="216554" y="190733"/>
                            <a:pt x="216554" y="178686"/>
                          </a:cubicBezTo>
                          <a:lnTo>
                            <a:pt x="216554" y="0"/>
                          </a:lnTo>
                          <a:close/>
                        </a:path>
                      </a:pathLst>
                    </a:custGeom>
                    <a:solidFill>
                      <a:schemeClr val="bg1"/>
                    </a:solid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105" name="Group 104">
                    <a:extLst>
                      <a:ext uri="{FF2B5EF4-FFF2-40B4-BE49-F238E27FC236}">
                        <a16:creationId xmlns:a16="http://schemas.microsoft.com/office/drawing/2014/main" id="{3FBD1EB2-387D-2EE5-A269-1BD3074C1070}"/>
                      </a:ext>
                    </a:extLst>
                  </p:cNvPr>
                  <p:cNvGrpSpPr/>
                  <p:nvPr/>
                </p:nvGrpSpPr>
                <p:grpSpPr>
                  <a:xfrm>
                    <a:off x="4958017" y="4586641"/>
                    <a:ext cx="889593" cy="817671"/>
                    <a:chOff x="-268020" y="4378795"/>
                    <a:chExt cx="1526721" cy="1403288"/>
                  </a:xfrm>
                  <a:solidFill>
                    <a:schemeClr val="accent3"/>
                  </a:solidFill>
                </p:grpSpPr>
                <p:sp>
                  <p:nvSpPr>
                    <p:cNvPr id="104" name="Freeform: Shape 103">
                      <a:extLst>
                        <a:ext uri="{FF2B5EF4-FFF2-40B4-BE49-F238E27FC236}">
                          <a16:creationId xmlns:a16="http://schemas.microsoft.com/office/drawing/2014/main" id="{8C37B053-BF81-3FC0-AF58-E232B259D4E8}"/>
                        </a:ext>
                      </a:extLst>
                    </p:cNvPr>
                    <p:cNvSpPr/>
                    <p:nvPr/>
                  </p:nvSpPr>
                  <p:spPr>
                    <a:xfrm flipH="1">
                      <a:off x="-268020" y="4661839"/>
                      <a:ext cx="519796" cy="773666"/>
                    </a:xfrm>
                    <a:custGeom>
                      <a:avLst/>
                      <a:gdLst>
                        <a:gd name="connsiteX0" fmla="*/ 519796 w 519796"/>
                        <a:gd name="connsiteY0" fmla="*/ 312894 h 773666"/>
                        <a:gd name="connsiteX1" fmla="*/ 232565 w 519796"/>
                        <a:gd name="connsiteY1" fmla="*/ 497 h 773666"/>
                        <a:gd name="connsiteX2" fmla="*/ 68766 w 519796"/>
                        <a:gd name="connsiteY2" fmla="*/ 59363 h 773666"/>
                        <a:gd name="connsiteX3" fmla="*/ 0 w 519796"/>
                        <a:gd name="connsiteY3" fmla="*/ 205062 h 773666"/>
                        <a:gd name="connsiteX4" fmla="*/ 10933 w 519796"/>
                        <a:gd name="connsiteY4" fmla="*/ 281928 h 773666"/>
                        <a:gd name="connsiteX5" fmla="*/ 54200 w 519796"/>
                        <a:gd name="connsiteY5" fmla="*/ 376794 h 773666"/>
                        <a:gd name="connsiteX6" fmla="*/ 55033 w 519796"/>
                        <a:gd name="connsiteY6" fmla="*/ 378094 h 773666"/>
                        <a:gd name="connsiteX7" fmla="*/ 74599 w 519796"/>
                        <a:gd name="connsiteY7" fmla="*/ 416994 h 773666"/>
                        <a:gd name="connsiteX8" fmla="*/ 233498 w 519796"/>
                        <a:gd name="connsiteY8" fmla="*/ 322528 h 773666"/>
                        <a:gd name="connsiteX9" fmla="*/ 253498 w 519796"/>
                        <a:gd name="connsiteY9" fmla="*/ 342528 h 773666"/>
                        <a:gd name="connsiteX10" fmla="*/ 233498 w 519796"/>
                        <a:gd name="connsiteY10" fmla="*/ 362527 h 773666"/>
                        <a:gd name="connsiteX11" fmla="*/ 94499 w 519796"/>
                        <a:gd name="connsiteY11" fmla="*/ 478193 h 773666"/>
                        <a:gd name="connsiteX12" fmla="*/ 100733 w 519796"/>
                        <a:gd name="connsiteY12" fmla="*/ 599359 h 773666"/>
                        <a:gd name="connsiteX13" fmla="*/ 100733 w 519796"/>
                        <a:gd name="connsiteY13" fmla="*/ 648692 h 773666"/>
                        <a:gd name="connsiteX14" fmla="*/ 142666 w 519796"/>
                        <a:gd name="connsiteY14" fmla="*/ 742025 h 773666"/>
                        <a:gd name="connsiteX15" fmla="*/ 240298 w 519796"/>
                        <a:gd name="connsiteY15" fmla="*/ 772691 h 773666"/>
                        <a:gd name="connsiteX16" fmla="*/ 519796 w 519796"/>
                        <a:gd name="connsiteY16" fmla="*/ 458060 h 773666"/>
                        <a:gd name="connsiteX17" fmla="*/ 519796 w 519796"/>
                        <a:gd name="connsiteY17" fmla="*/ 312828 h 77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9796" h="773666">
                          <a:moveTo>
                            <a:pt x="519796" y="312894"/>
                          </a:moveTo>
                          <a:cubicBezTo>
                            <a:pt x="519796" y="136962"/>
                            <a:pt x="404364" y="11430"/>
                            <a:pt x="232565" y="497"/>
                          </a:cubicBezTo>
                          <a:cubicBezTo>
                            <a:pt x="169732" y="-3470"/>
                            <a:pt x="114666" y="16330"/>
                            <a:pt x="68766" y="59363"/>
                          </a:cubicBezTo>
                          <a:cubicBezTo>
                            <a:pt x="26366" y="99163"/>
                            <a:pt x="3233" y="148162"/>
                            <a:pt x="0" y="205062"/>
                          </a:cubicBezTo>
                          <a:cubicBezTo>
                            <a:pt x="333" y="230262"/>
                            <a:pt x="4033" y="256128"/>
                            <a:pt x="10933" y="281928"/>
                          </a:cubicBezTo>
                          <a:cubicBezTo>
                            <a:pt x="20333" y="316994"/>
                            <a:pt x="35300" y="349794"/>
                            <a:pt x="54200" y="376794"/>
                          </a:cubicBezTo>
                          <a:cubicBezTo>
                            <a:pt x="54500" y="377227"/>
                            <a:pt x="54766" y="377661"/>
                            <a:pt x="55033" y="378094"/>
                          </a:cubicBezTo>
                          <a:cubicBezTo>
                            <a:pt x="62333" y="390427"/>
                            <a:pt x="68833" y="403460"/>
                            <a:pt x="74599" y="416994"/>
                          </a:cubicBezTo>
                          <a:cubicBezTo>
                            <a:pt x="105933" y="360527"/>
                            <a:pt x="166465" y="322528"/>
                            <a:pt x="233498" y="322528"/>
                          </a:cubicBezTo>
                          <a:cubicBezTo>
                            <a:pt x="244532" y="322528"/>
                            <a:pt x="253498" y="331494"/>
                            <a:pt x="253498" y="342528"/>
                          </a:cubicBezTo>
                          <a:cubicBezTo>
                            <a:pt x="253498" y="353561"/>
                            <a:pt x="244532" y="362527"/>
                            <a:pt x="233498" y="362527"/>
                          </a:cubicBezTo>
                          <a:cubicBezTo>
                            <a:pt x="165932" y="362527"/>
                            <a:pt x="106799" y="411994"/>
                            <a:pt x="94499" y="478193"/>
                          </a:cubicBezTo>
                          <a:cubicBezTo>
                            <a:pt x="104099" y="519660"/>
                            <a:pt x="106266" y="561259"/>
                            <a:pt x="100733" y="599359"/>
                          </a:cubicBezTo>
                          <a:lnTo>
                            <a:pt x="100733" y="648692"/>
                          </a:lnTo>
                          <a:cubicBezTo>
                            <a:pt x="100733" y="685925"/>
                            <a:pt x="114833" y="717325"/>
                            <a:pt x="142666" y="742025"/>
                          </a:cubicBezTo>
                          <a:cubicBezTo>
                            <a:pt x="170499" y="766758"/>
                            <a:pt x="203332" y="777058"/>
                            <a:pt x="240298" y="772691"/>
                          </a:cubicBezTo>
                          <a:cubicBezTo>
                            <a:pt x="399630" y="753858"/>
                            <a:pt x="519796" y="618592"/>
                            <a:pt x="519796" y="458060"/>
                          </a:cubicBezTo>
                          <a:lnTo>
                            <a:pt x="519796" y="312828"/>
                          </a:lnTo>
                          <a:close/>
                        </a:path>
                      </a:pathLst>
                    </a:custGeom>
                    <a:solidFill>
                      <a:schemeClr val="bg1"/>
                    </a:solidFill>
                    <a:ln w="19050" cap="flat">
                      <a:noFill/>
                      <a:prstDash val="solid"/>
                      <a:miter/>
                    </a:ln>
                  </p:spPr>
                  <p:txBody>
                    <a:bodyPr rtlCol="0" anchor="ctr"/>
                    <a:lstStyle/>
                    <a:p>
                      <a:endParaRPr lang="en-US"/>
                    </a:p>
                  </p:txBody>
                </p:sp>
                <p:grpSp>
                  <p:nvGrpSpPr>
                    <p:cNvPr id="103" name="Group 102">
                      <a:extLst>
                        <a:ext uri="{FF2B5EF4-FFF2-40B4-BE49-F238E27FC236}">
                          <a16:creationId xmlns:a16="http://schemas.microsoft.com/office/drawing/2014/main" id="{3EB98411-2922-56D5-C389-67FF78566886}"/>
                        </a:ext>
                      </a:extLst>
                    </p:cNvPr>
                    <p:cNvGrpSpPr/>
                    <p:nvPr/>
                  </p:nvGrpSpPr>
                  <p:grpSpPr>
                    <a:xfrm>
                      <a:off x="189843" y="4378795"/>
                      <a:ext cx="1068858" cy="1403288"/>
                      <a:chOff x="189843" y="4378795"/>
                      <a:chExt cx="1068858" cy="1403288"/>
                    </a:xfrm>
                    <a:grpFill/>
                  </p:grpSpPr>
                  <p:sp>
                    <p:nvSpPr>
                      <p:cNvPr id="95" name="Freeform: Shape 94">
                        <a:extLst>
                          <a:ext uri="{FF2B5EF4-FFF2-40B4-BE49-F238E27FC236}">
                            <a16:creationId xmlns:a16="http://schemas.microsoft.com/office/drawing/2014/main" id="{3AD03F13-3582-1864-5409-90F29F0CD9B2}"/>
                          </a:ext>
                        </a:extLst>
                      </p:cNvPr>
                      <p:cNvSpPr/>
                      <p:nvPr/>
                    </p:nvSpPr>
                    <p:spPr>
                      <a:xfrm>
                        <a:off x="738905" y="4646696"/>
                        <a:ext cx="519796" cy="773666"/>
                      </a:xfrm>
                      <a:custGeom>
                        <a:avLst/>
                        <a:gdLst>
                          <a:gd name="connsiteX0" fmla="*/ 519796 w 519796"/>
                          <a:gd name="connsiteY0" fmla="*/ 312894 h 773666"/>
                          <a:gd name="connsiteX1" fmla="*/ 232565 w 519796"/>
                          <a:gd name="connsiteY1" fmla="*/ 497 h 773666"/>
                          <a:gd name="connsiteX2" fmla="*/ 68766 w 519796"/>
                          <a:gd name="connsiteY2" fmla="*/ 59363 h 773666"/>
                          <a:gd name="connsiteX3" fmla="*/ 0 w 519796"/>
                          <a:gd name="connsiteY3" fmla="*/ 205062 h 773666"/>
                          <a:gd name="connsiteX4" fmla="*/ 10933 w 519796"/>
                          <a:gd name="connsiteY4" fmla="*/ 281928 h 773666"/>
                          <a:gd name="connsiteX5" fmla="*/ 54200 w 519796"/>
                          <a:gd name="connsiteY5" fmla="*/ 376794 h 773666"/>
                          <a:gd name="connsiteX6" fmla="*/ 55033 w 519796"/>
                          <a:gd name="connsiteY6" fmla="*/ 378094 h 773666"/>
                          <a:gd name="connsiteX7" fmla="*/ 74599 w 519796"/>
                          <a:gd name="connsiteY7" fmla="*/ 416994 h 773666"/>
                          <a:gd name="connsiteX8" fmla="*/ 233498 w 519796"/>
                          <a:gd name="connsiteY8" fmla="*/ 322528 h 773666"/>
                          <a:gd name="connsiteX9" fmla="*/ 253498 w 519796"/>
                          <a:gd name="connsiteY9" fmla="*/ 342528 h 773666"/>
                          <a:gd name="connsiteX10" fmla="*/ 233498 w 519796"/>
                          <a:gd name="connsiteY10" fmla="*/ 362527 h 773666"/>
                          <a:gd name="connsiteX11" fmla="*/ 94499 w 519796"/>
                          <a:gd name="connsiteY11" fmla="*/ 478193 h 773666"/>
                          <a:gd name="connsiteX12" fmla="*/ 100733 w 519796"/>
                          <a:gd name="connsiteY12" fmla="*/ 599359 h 773666"/>
                          <a:gd name="connsiteX13" fmla="*/ 100733 w 519796"/>
                          <a:gd name="connsiteY13" fmla="*/ 648692 h 773666"/>
                          <a:gd name="connsiteX14" fmla="*/ 142666 w 519796"/>
                          <a:gd name="connsiteY14" fmla="*/ 742025 h 773666"/>
                          <a:gd name="connsiteX15" fmla="*/ 240298 w 519796"/>
                          <a:gd name="connsiteY15" fmla="*/ 772691 h 773666"/>
                          <a:gd name="connsiteX16" fmla="*/ 519796 w 519796"/>
                          <a:gd name="connsiteY16" fmla="*/ 458060 h 773666"/>
                          <a:gd name="connsiteX17" fmla="*/ 519796 w 519796"/>
                          <a:gd name="connsiteY17" fmla="*/ 312828 h 77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9796" h="773666">
                            <a:moveTo>
                              <a:pt x="519796" y="312894"/>
                            </a:moveTo>
                            <a:cubicBezTo>
                              <a:pt x="519796" y="136962"/>
                              <a:pt x="404364" y="11430"/>
                              <a:pt x="232565" y="497"/>
                            </a:cubicBezTo>
                            <a:cubicBezTo>
                              <a:pt x="169732" y="-3470"/>
                              <a:pt x="114666" y="16330"/>
                              <a:pt x="68766" y="59363"/>
                            </a:cubicBezTo>
                            <a:cubicBezTo>
                              <a:pt x="26366" y="99163"/>
                              <a:pt x="3233" y="148162"/>
                              <a:pt x="0" y="205062"/>
                            </a:cubicBezTo>
                            <a:cubicBezTo>
                              <a:pt x="333" y="230262"/>
                              <a:pt x="4033" y="256128"/>
                              <a:pt x="10933" y="281928"/>
                            </a:cubicBezTo>
                            <a:cubicBezTo>
                              <a:pt x="20333" y="316994"/>
                              <a:pt x="35300" y="349794"/>
                              <a:pt x="54200" y="376794"/>
                            </a:cubicBezTo>
                            <a:cubicBezTo>
                              <a:pt x="54500" y="377227"/>
                              <a:pt x="54766" y="377661"/>
                              <a:pt x="55033" y="378094"/>
                            </a:cubicBezTo>
                            <a:cubicBezTo>
                              <a:pt x="62333" y="390427"/>
                              <a:pt x="68833" y="403460"/>
                              <a:pt x="74599" y="416994"/>
                            </a:cubicBezTo>
                            <a:cubicBezTo>
                              <a:pt x="105933" y="360527"/>
                              <a:pt x="166465" y="322528"/>
                              <a:pt x="233498" y="322528"/>
                            </a:cubicBezTo>
                            <a:cubicBezTo>
                              <a:pt x="244532" y="322528"/>
                              <a:pt x="253498" y="331494"/>
                              <a:pt x="253498" y="342528"/>
                            </a:cubicBezTo>
                            <a:cubicBezTo>
                              <a:pt x="253498" y="353561"/>
                              <a:pt x="244532" y="362527"/>
                              <a:pt x="233498" y="362527"/>
                            </a:cubicBezTo>
                            <a:cubicBezTo>
                              <a:pt x="165932" y="362527"/>
                              <a:pt x="106799" y="411994"/>
                              <a:pt x="94499" y="478193"/>
                            </a:cubicBezTo>
                            <a:cubicBezTo>
                              <a:pt x="104099" y="519660"/>
                              <a:pt x="106266" y="561259"/>
                              <a:pt x="100733" y="599359"/>
                            </a:cubicBezTo>
                            <a:lnTo>
                              <a:pt x="100733" y="648692"/>
                            </a:lnTo>
                            <a:cubicBezTo>
                              <a:pt x="100733" y="685925"/>
                              <a:pt x="114833" y="717325"/>
                              <a:pt x="142666" y="742025"/>
                            </a:cubicBezTo>
                            <a:cubicBezTo>
                              <a:pt x="170499" y="766758"/>
                              <a:pt x="203332" y="777058"/>
                              <a:pt x="240298" y="772691"/>
                            </a:cubicBezTo>
                            <a:cubicBezTo>
                              <a:pt x="399630" y="753858"/>
                              <a:pt x="519796" y="618592"/>
                              <a:pt x="519796" y="458060"/>
                            </a:cubicBezTo>
                            <a:lnTo>
                              <a:pt x="519796" y="312828"/>
                            </a:lnTo>
                            <a:close/>
                          </a:path>
                        </a:pathLst>
                      </a:custGeom>
                      <a:solidFill>
                        <a:schemeClr val="bg1"/>
                      </a:solidFill>
                      <a:ln w="1905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8C7AB794-6555-4FAB-C3D7-BA01746E90D2}"/>
                          </a:ext>
                        </a:extLst>
                      </p:cNvPr>
                      <p:cNvSpPr/>
                      <p:nvPr/>
                    </p:nvSpPr>
                    <p:spPr>
                      <a:xfrm>
                        <a:off x="572740" y="4378795"/>
                        <a:ext cx="180731" cy="657228"/>
                      </a:xfrm>
                      <a:custGeom>
                        <a:avLst/>
                        <a:gdLst>
                          <a:gd name="connsiteX0" fmla="*/ 139466 w 180731"/>
                          <a:gd name="connsiteY0" fmla="*/ 563562 h 657228"/>
                          <a:gd name="connsiteX1" fmla="*/ 59533 w 180731"/>
                          <a:gd name="connsiteY1" fmla="*/ 391097 h 657228"/>
                          <a:gd name="connsiteX2" fmla="*/ 59533 w 180731"/>
                          <a:gd name="connsiteY2" fmla="*/ 0 h 657228"/>
                          <a:gd name="connsiteX3" fmla="*/ 0 w 180731"/>
                          <a:gd name="connsiteY3" fmla="*/ 0 h 657228"/>
                          <a:gd name="connsiteX4" fmla="*/ 0 w 180731"/>
                          <a:gd name="connsiteY4" fmla="*/ 391097 h 657228"/>
                          <a:gd name="connsiteX5" fmla="*/ 180732 w 180731"/>
                          <a:gd name="connsiteY5" fmla="*/ 657228 h 657228"/>
                          <a:gd name="connsiteX6" fmla="*/ 139466 w 180731"/>
                          <a:gd name="connsiteY6" fmla="*/ 563562 h 65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731" h="657228">
                            <a:moveTo>
                              <a:pt x="139466" y="563562"/>
                            </a:moveTo>
                            <a:cubicBezTo>
                              <a:pt x="88599" y="520096"/>
                              <a:pt x="59533" y="457663"/>
                              <a:pt x="59533" y="391097"/>
                            </a:cubicBezTo>
                            <a:lnTo>
                              <a:pt x="59533" y="0"/>
                            </a:lnTo>
                            <a:lnTo>
                              <a:pt x="0" y="0"/>
                            </a:lnTo>
                            <a:lnTo>
                              <a:pt x="0" y="391097"/>
                            </a:lnTo>
                            <a:cubicBezTo>
                              <a:pt x="0" y="508963"/>
                              <a:pt x="73733" y="614362"/>
                              <a:pt x="180732" y="657228"/>
                            </a:cubicBezTo>
                            <a:cubicBezTo>
                              <a:pt x="163032" y="629529"/>
                              <a:pt x="148899" y="597462"/>
                              <a:pt x="139466" y="563562"/>
                            </a:cubicBezTo>
                            <a:close/>
                          </a:path>
                        </a:pathLst>
                      </a:custGeom>
                      <a:solidFill>
                        <a:schemeClr val="bg1"/>
                      </a:solidFill>
                      <a:ln w="3328"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BB9A23F6-8057-EAA3-180F-21BC89E3E7A4}"/>
                          </a:ext>
                        </a:extLst>
                      </p:cNvPr>
                      <p:cNvSpPr/>
                      <p:nvPr/>
                    </p:nvSpPr>
                    <p:spPr>
                      <a:xfrm>
                        <a:off x="572740" y="5113289"/>
                        <a:ext cx="228198" cy="668794"/>
                      </a:xfrm>
                      <a:custGeom>
                        <a:avLst/>
                        <a:gdLst>
                          <a:gd name="connsiteX0" fmla="*/ 216265 w 228198"/>
                          <a:gd name="connsiteY0" fmla="*/ 0 h 668794"/>
                          <a:gd name="connsiteX1" fmla="*/ 0 w 228198"/>
                          <a:gd name="connsiteY1" fmla="*/ 277698 h 668794"/>
                          <a:gd name="connsiteX2" fmla="*/ 0 w 228198"/>
                          <a:gd name="connsiteY2" fmla="*/ 668795 h 668794"/>
                          <a:gd name="connsiteX3" fmla="*/ 59533 w 228198"/>
                          <a:gd name="connsiteY3" fmla="*/ 668795 h 668794"/>
                          <a:gd name="connsiteX4" fmla="*/ 59533 w 228198"/>
                          <a:gd name="connsiteY4" fmla="*/ 277698 h 668794"/>
                          <a:gd name="connsiteX5" fmla="*/ 228198 w 228198"/>
                          <a:gd name="connsiteY5" fmla="*/ 58366 h 668794"/>
                          <a:gd name="connsiteX6" fmla="*/ 218998 w 228198"/>
                          <a:gd name="connsiteY6" fmla="*/ 9500 h 668794"/>
                          <a:gd name="connsiteX7" fmla="*/ 216298 w 228198"/>
                          <a:gd name="connsiteY7" fmla="*/ 0 h 6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198" h="668794">
                            <a:moveTo>
                              <a:pt x="216265" y="0"/>
                            </a:moveTo>
                            <a:cubicBezTo>
                              <a:pt x="89966" y="31966"/>
                              <a:pt x="0" y="146032"/>
                              <a:pt x="0" y="277698"/>
                            </a:cubicBezTo>
                            <a:lnTo>
                              <a:pt x="0" y="668795"/>
                            </a:lnTo>
                            <a:lnTo>
                              <a:pt x="59533" y="668795"/>
                            </a:lnTo>
                            <a:lnTo>
                              <a:pt x="59533" y="277698"/>
                            </a:lnTo>
                            <a:cubicBezTo>
                              <a:pt x="59533" y="174099"/>
                              <a:pt x="129466" y="84599"/>
                              <a:pt x="228198" y="58366"/>
                            </a:cubicBezTo>
                            <a:cubicBezTo>
                              <a:pt x="226432" y="42233"/>
                              <a:pt x="223365" y="25833"/>
                              <a:pt x="218998" y="9500"/>
                            </a:cubicBezTo>
                            <a:cubicBezTo>
                              <a:pt x="218132" y="6300"/>
                              <a:pt x="217232" y="3133"/>
                              <a:pt x="216298" y="0"/>
                            </a:cubicBezTo>
                            <a:close/>
                          </a:path>
                        </a:pathLst>
                      </a:custGeom>
                      <a:solidFill>
                        <a:schemeClr val="bg1"/>
                      </a:solidFill>
                      <a:ln w="3328"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292BE8AF-0501-D462-C3A1-111903BF442C}"/>
                          </a:ext>
                        </a:extLst>
                      </p:cNvPr>
                      <p:cNvSpPr/>
                      <p:nvPr/>
                    </p:nvSpPr>
                    <p:spPr>
                      <a:xfrm>
                        <a:off x="189843" y="5113289"/>
                        <a:ext cx="228198" cy="668794"/>
                      </a:xfrm>
                      <a:custGeom>
                        <a:avLst/>
                        <a:gdLst>
                          <a:gd name="connsiteX0" fmla="*/ 228165 w 228198"/>
                          <a:gd name="connsiteY0" fmla="*/ 277698 h 668794"/>
                          <a:gd name="connsiteX1" fmla="*/ 11900 w 228198"/>
                          <a:gd name="connsiteY1" fmla="*/ 0 h 668794"/>
                          <a:gd name="connsiteX2" fmla="*/ 9200 w 228198"/>
                          <a:gd name="connsiteY2" fmla="*/ 9500 h 668794"/>
                          <a:gd name="connsiteX3" fmla="*/ 0 w 228198"/>
                          <a:gd name="connsiteY3" fmla="*/ 58366 h 668794"/>
                          <a:gd name="connsiteX4" fmla="*/ 168665 w 228198"/>
                          <a:gd name="connsiteY4" fmla="*/ 277698 h 668794"/>
                          <a:gd name="connsiteX5" fmla="*/ 168665 w 228198"/>
                          <a:gd name="connsiteY5" fmla="*/ 668795 h 668794"/>
                          <a:gd name="connsiteX6" fmla="*/ 228198 w 228198"/>
                          <a:gd name="connsiteY6" fmla="*/ 668795 h 668794"/>
                          <a:gd name="connsiteX7" fmla="*/ 228198 w 228198"/>
                          <a:gd name="connsiteY7" fmla="*/ 277698 h 6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198" h="668794">
                            <a:moveTo>
                              <a:pt x="228165" y="277698"/>
                            </a:moveTo>
                            <a:cubicBezTo>
                              <a:pt x="228165" y="146032"/>
                              <a:pt x="138199" y="31966"/>
                              <a:pt x="11900" y="0"/>
                            </a:cubicBezTo>
                            <a:cubicBezTo>
                              <a:pt x="10967" y="3167"/>
                              <a:pt x="10033" y="6300"/>
                              <a:pt x="9200" y="9500"/>
                            </a:cubicBezTo>
                            <a:cubicBezTo>
                              <a:pt x="4833" y="25833"/>
                              <a:pt x="1767" y="42233"/>
                              <a:pt x="0" y="58366"/>
                            </a:cubicBezTo>
                            <a:cubicBezTo>
                              <a:pt x="98733" y="84599"/>
                              <a:pt x="168665" y="174099"/>
                              <a:pt x="168665" y="277698"/>
                            </a:cubicBezTo>
                            <a:lnTo>
                              <a:pt x="168665" y="668795"/>
                            </a:lnTo>
                            <a:lnTo>
                              <a:pt x="228198" y="668795"/>
                            </a:lnTo>
                            <a:lnTo>
                              <a:pt x="228198" y="277698"/>
                            </a:lnTo>
                            <a:close/>
                          </a:path>
                        </a:pathLst>
                      </a:custGeom>
                      <a:solidFill>
                        <a:schemeClr val="bg1"/>
                      </a:solidFill>
                      <a:ln w="3328"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59362985-7E4E-02CA-8B81-726914B36DA8}"/>
                          </a:ext>
                        </a:extLst>
                      </p:cNvPr>
                      <p:cNvSpPr/>
                      <p:nvPr/>
                    </p:nvSpPr>
                    <p:spPr>
                      <a:xfrm>
                        <a:off x="243999" y="4583559"/>
                        <a:ext cx="180731" cy="452496"/>
                      </a:xfrm>
                      <a:custGeom>
                        <a:avLst/>
                        <a:gdLst>
                          <a:gd name="connsiteX0" fmla="*/ 0 w 180731"/>
                          <a:gd name="connsiteY0" fmla="*/ 452497 h 452496"/>
                          <a:gd name="connsiteX1" fmla="*/ 180732 w 180731"/>
                          <a:gd name="connsiteY1" fmla="*/ 186365 h 452496"/>
                          <a:gd name="connsiteX2" fmla="*/ 180732 w 180731"/>
                          <a:gd name="connsiteY2" fmla="*/ 0 h 452496"/>
                          <a:gd name="connsiteX3" fmla="*/ 165665 w 180731"/>
                          <a:gd name="connsiteY3" fmla="*/ 23966 h 452496"/>
                          <a:gd name="connsiteX4" fmla="*/ 121199 w 180731"/>
                          <a:gd name="connsiteY4" fmla="*/ 81933 h 452496"/>
                          <a:gd name="connsiteX5" fmla="*/ 121199 w 180731"/>
                          <a:gd name="connsiteY5" fmla="*/ 186365 h 452496"/>
                          <a:gd name="connsiteX6" fmla="*/ 41266 w 180731"/>
                          <a:gd name="connsiteY6" fmla="*/ 358831 h 452496"/>
                          <a:gd name="connsiteX7" fmla="*/ 0 w 180731"/>
                          <a:gd name="connsiteY7" fmla="*/ 452497 h 452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731" h="452496">
                            <a:moveTo>
                              <a:pt x="0" y="452497"/>
                            </a:moveTo>
                            <a:cubicBezTo>
                              <a:pt x="106999" y="409630"/>
                              <a:pt x="180732" y="304231"/>
                              <a:pt x="180732" y="186365"/>
                            </a:cubicBezTo>
                            <a:lnTo>
                              <a:pt x="180732" y="0"/>
                            </a:lnTo>
                            <a:cubicBezTo>
                              <a:pt x="175999" y="8000"/>
                              <a:pt x="171032" y="15967"/>
                              <a:pt x="165665" y="23966"/>
                            </a:cubicBezTo>
                            <a:cubicBezTo>
                              <a:pt x="152565" y="43466"/>
                              <a:pt x="137732" y="62800"/>
                              <a:pt x="121199" y="81933"/>
                            </a:cubicBezTo>
                            <a:lnTo>
                              <a:pt x="121199" y="186365"/>
                            </a:lnTo>
                            <a:cubicBezTo>
                              <a:pt x="121199" y="252931"/>
                              <a:pt x="92099" y="315364"/>
                              <a:pt x="41266" y="358831"/>
                            </a:cubicBezTo>
                            <a:cubicBezTo>
                              <a:pt x="31833" y="392764"/>
                              <a:pt x="17700" y="424830"/>
                              <a:pt x="0" y="452497"/>
                            </a:cubicBezTo>
                            <a:close/>
                          </a:path>
                        </a:pathLst>
                      </a:custGeom>
                      <a:solidFill>
                        <a:schemeClr val="bg1"/>
                      </a:solidFill>
                      <a:ln w="3328" cap="flat">
                        <a:noFill/>
                        <a:prstDash val="solid"/>
                        <a:miter/>
                      </a:ln>
                    </p:spPr>
                    <p:txBody>
                      <a:bodyPr rtlCol="0" anchor="ctr"/>
                      <a:lstStyle/>
                      <a:p>
                        <a:endParaRPr lang="en-US"/>
                      </a:p>
                    </p:txBody>
                  </p:sp>
                </p:grpSp>
              </p:grpSp>
              <p:grpSp>
                <p:nvGrpSpPr>
                  <p:cNvPr id="113" name="Group 112">
                    <a:extLst>
                      <a:ext uri="{FF2B5EF4-FFF2-40B4-BE49-F238E27FC236}">
                        <a16:creationId xmlns:a16="http://schemas.microsoft.com/office/drawing/2014/main" id="{97C70FFB-E141-0B55-27D7-5136340D524D}"/>
                      </a:ext>
                    </a:extLst>
                  </p:cNvPr>
                  <p:cNvGrpSpPr/>
                  <p:nvPr/>
                </p:nvGrpSpPr>
                <p:grpSpPr>
                  <a:xfrm>
                    <a:off x="4666994" y="4245059"/>
                    <a:ext cx="927040" cy="969281"/>
                    <a:chOff x="-362028" y="4483802"/>
                    <a:chExt cx="1200390" cy="1255085"/>
                  </a:xfrm>
                </p:grpSpPr>
                <p:sp>
                  <p:nvSpPr>
                    <p:cNvPr id="109" name="Freeform: Shape 108">
                      <a:extLst>
                        <a:ext uri="{FF2B5EF4-FFF2-40B4-BE49-F238E27FC236}">
                          <a16:creationId xmlns:a16="http://schemas.microsoft.com/office/drawing/2014/main" id="{773C34DE-D4A2-5F9E-6771-BCEC4C1587CC}"/>
                        </a:ext>
                      </a:extLst>
                    </p:cNvPr>
                    <p:cNvSpPr/>
                    <p:nvPr/>
                  </p:nvSpPr>
                  <p:spPr>
                    <a:xfrm>
                      <a:off x="-362028" y="4483802"/>
                      <a:ext cx="822136" cy="769767"/>
                    </a:xfrm>
                    <a:custGeom>
                      <a:avLst/>
                      <a:gdLst>
                        <a:gd name="connsiteX0" fmla="*/ 334626 w 822136"/>
                        <a:gd name="connsiteY0" fmla="*/ 0 h 769767"/>
                        <a:gd name="connsiteX1" fmla="*/ 0 w 822136"/>
                        <a:gd name="connsiteY1" fmla="*/ 334653 h 769767"/>
                        <a:gd name="connsiteX2" fmla="*/ 0 w 822136"/>
                        <a:gd name="connsiteY2" fmla="*/ 416700 h 769767"/>
                        <a:gd name="connsiteX3" fmla="*/ 185194 w 822136"/>
                        <a:gd name="connsiteY3" fmla="*/ 769768 h 769767"/>
                        <a:gd name="connsiteX4" fmla="*/ 333173 w 822136"/>
                        <a:gd name="connsiteY4" fmla="*/ 640587 h 769767"/>
                        <a:gd name="connsiteX5" fmla="*/ 496554 w 822136"/>
                        <a:gd name="connsiteY5" fmla="*/ 486003 h 769767"/>
                        <a:gd name="connsiteX6" fmla="*/ 597509 w 822136"/>
                        <a:gd name="connsiteY6" fmla="*/ 425798 h 769767"/>
                        <a:gd name="connsiteX7" fmla="*/ 698683 w 822136"/>
                        <a:gd name="connsiteY7" fmla="*/ 486442 h 769767"/>
                        <a:gd name="connsiteX8" fmla="*/ 715153 w 822136"/>
                        <a:gd name="connsiteY8" fmla="*/ 517161 h 769767"/>
                        <a:gd name="connsiteX9" fmla="*/ 822136 w 822136"/>
                        <a:gd name="connsiteY9" fmla="*/ 669361 h 769767"/>
                        <a:gd name="connsiteX10" fmla="*/ 822136 w 822136"/>
                        <a:gd name="connsiteY10" fmla="*/ 603373 h 769767"/>
                        <a:gd name="connsiteX11" fmla="*/ 708329 w 822136"/>
                        <a:gd name="connsiteY11" fmla="*/ 396805 h 769767"/>
                        <a:gd name="connsiteX12" fmla="*/ 606497 w 822136"/>
                        <a:gd name="connsiteY12" fmla="*/ 412096 h 769767"/>
                        <a:gd name="connsiteX13" fmla="*/ 426620 w 822136"/>
                        <a:gd name="connsiteY13" fmla="*/ 351890 h 769767"/>
                        <a:gd name="connsiteX14" fmla="*/ 370168 w 822136"/>
                        <a:gd name="connsiteY14" fmla="*/ 320842 h 769767"/>
                        <a:gd name="connsiteX15" fmla="*/ 142444 w 822136"/>
                        <a:gd name="connsiteY15" fmla="*/ 516613 h 769767"/>
                        <a:gd name="connsiteX16" fmla="*/ 129647 w 822136"/>
                        <a:gd name="connsiteY16" fmla="*/ 522724 h 769767"/>
                        <a:gd name="connsiteX17" fmla="*/ 119315 w 822136"/>
                        <a:gd name="connsiteY17" fmla="*/ 519052 h 769767"/>
                        <a:gd name="connsiteX18" fmla="*/ 116876 w 822136"/>
                        <a:gd name="connsiteY18" fmla="*/ 495951 h 769767"/>
                        <a:gd name="connsiteX19" fmla="*/ 330707 w 822136"/>
                        <a:gd name="connsiteY19" fmla="*/ 304646 h 769767"/>
                        <a:gd name="connsiteX20" fmla="*/ 307989 w 822136"/>
                        <a:gd name="connsiteY20" fmla="*/ 297987 h 769767"/>
                        <a:gd name="connsiteX21" fmla="*/ 306592 w 822136"/>
                        <a:gd name="connsiteY21" fmla="*/ 298069 h 769767"/>
                        <a:gd name="connsiteX22" fmla="*/ 298179 w 822136"/>
                        <a:gd name="connsiteY22" fmla="*/ 295685 h 769767"/>
                        <a:gd name="connsiteX23" fmla="*/ 118000 w 822136"/>
                        <a:gd name="connsiteY23" fmla="*/ 303687 h 769767"/>
                        <a:gd name="connsiteX24" fmla="*/ 98187 w 822136"/>
                        <a:gd name="connsiteY24" fmla="*/ 291547 h 769767"/>
                        <a:gd name="connsiteX25" fmla="*/ 110327 w 822136"/>
                        <a:gd name="connsiteY25" fmla="*/ 271734 h 769767"/>
                        <a:gd name="connsiteX26" fmla="*/ 288067 w 822136"/>
                        <a:gd name="connsiteY26" fmla="*/ 260389 h 769767"/>
                        <a:gd name="connsiteX27" fmla="*/ 299357 w 822136"/>
                        <a:gd name="connsiteY27" fmla="*/ 198210 h 769767"/>
                        <a:gd name="connsiteX28" fmla="*/ 305167 w 822136"/>
                        <a:gd name="connsiteY28" fmla="*/ 175575 h 769767"/>
                        <a:gd name="connsiteX29" fmla="*/ 324843 w 822136"/>
                        <a:gd name="connsiteY29" fmla="*/ 163189 h 769767"/>
                        <a:gd name="connsiteX30" fmla="*/ 337229 w 822136"/>
                        <a:gd name="connsiteY30" fmla="*/ 182837 h 769767"/>
                        <a:gd name="connsiteX31" fmla="*/ 331091 w 822136"/>
                        <a:gd name="connsiteY31" fmla="*/ 206815 h 769767"/>
                        <a:gd name="connsiteX32" fmla="*/ 321171 w 822136"/>
                        <a:gd name="connsiteY32" fmla="*/ 267405 h 769767"/>
                        <a:gd name="connsiteX33" fmla="*/ 443254 w 822136"/>
                        <a:gd name="connsiteY33" fmla="*/ 323527 h 769767"/>
                        <a:gd name="connsiteX34" fmla="*/ 662072 w 822136"/>
                        <a:gd name="connsiteY34" fmla="*/ 373868 h 769767"/>
                        <a:gd name="connsiteX35" fmla="*/ 606908 w 822136"/>
                        <a:gd name="connsiteY35" fmla="*/ 360604 h 769767"/>
                        <a:gd name="connsiteX36" fmla="*/ 605702 w 822136"/>
                        <a:gd name="connsiteY36" fmla="*/ 360467 h 769767"/>
                        <a:gd name="connsiteX37" fmla="*/ 604689 w 822136"/>
                        <a:gd name="connsiteY37" fmla="*/ 360303 h 769767"/>
                        <a:gd name="connsiteX38" fmla="*/ 603510 w 822136"/>
                        <a:gd name="connsiteY38" fmla="*/ 360084 h 769767"/>
                        <a:gd name="connsiteX39" fmla="*/ 451228 w 822136"/>
                        <a:gd name="connsiteY39" fmla="*/ 177247 h 769767"/>
                        <a:gd name="connsiteX40" fmla="*/ 451228 w 822136"/>
                        <a:gd name="connsiteY40" fmla="*/ 157187 h 769767"/>
                        <a:gd name="connsiteX41" fmla="*/ 505789 w 822136"/>
                        <a:gd name="connsiteY41" fmla="*/ 102627 h 769767"/>
                        <a:gd name="connsiteX42" fmla="*/ 507104 w 822136"/>
                        <a:gd name="connsiteY42" fmla="*/ 102627 h 769767"/>
                        <a:gd name="connsiteX43" fmla="*/ 561665 w 822136"/>
                        <a:gd name="connsiteY43" fmla="*/ 157187 h 769767"/>
                        <a:gd name="connsiteX44" fmla="*/ 561665 w 822136"/>
                        <a:gd name="connsiteY44" fmla="*/ 177247 h 769767"/>
                        <a:gd name="connsiteX45" fmla="*/ 622145 w 822136"/>
                        <a:gd name="connsiteY45" fmla="*/ 251209 h 769767"/>
                        <a:gd name="connsiteX46" fmla="*/ 659194 w 822136"/>
                        <a:gd name="connsiteY46" fmla="*/ 257950 h 769767"/>
                        <a:gd name="connsiteX47" fmla="*/ 629407 w 822136"/>
                        <a:gd name="connsiteY47" fmla="*/ 141183 h 769767"/>
                        <a:gd name="connsiteX48" fmla="*/ 623844 w 822136"/>
                        <a:gd name="connsiteY48" fmla="*/ 71989 h 769767"/>
                        <a:gd name="connsiteX49" fmla="*/ 613101 w 822136"/>
                        <a:gd name="connsiteY49" fmla="*/ 69824 h 769767"/>
                        <a:gd name="connsiteX50" fmla="*/ 486469 w 822136"/>
                        <a:gd name="connsiteY50" fmla="*/ 30802 h 769767"/>
                        <a:gd name="connsiteX51" fmla="*/ 334626 w 822136"/>
                        <a:gd name="connsiteY51" fmla="*/ 0 h 769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22136" h="769767">
                          <a:moveTo>
                            <a:pt x="334626" y="0"/>
                          </a:moveTo>
                          <a:cubicBezTo>
                            <a:pt x="150117" y="0"/>
                            <a:pt x="0" y="150117"/>
                            <a:pt x="0" y="334653"/>
                          </a:cubicBezTo>
                          <a:lnTo>
                            <a:pt x="0" y="416700"/>
                          </a:lnTo>
                          <a:cubicBezTo>
                            <a:pt x="0" y="558212"/>
                            <a:pt x="68948" y="689037"/>
                            <a:pt x="185194" y="769768"/>
                          </a:cubicBezTo>
                          <a:cubicBezTo>
                            <a:pt x="225669" y="716824"/>
                            <a:pt x="279873" y="678349"/>
                            <a:pt x="333173" y="640587"/>
                          </a:cubicBezTo>
                          <a:cubicBezTo>
                            <a:pt x="397188" y="595234"/>
                            <a:pt x="457668" y="552402"/>
                            <a:pt x="496554" y="486003"/>
                          </a:cubicBezTo>
                          <a:cubicBezTo>
                            <a:pt x="518970" y="447748"/>
                            <a:pt x="555773" y="425798"/>
                            <a:pt x="597509" y="425798"/>
                          </a:cubicBezTo>
                          <a:cubicBezTo>
                            <a:pt x="639245" y="425798"/>
                            <a:pt x="677610" y="447912"/>
                            <a:pt x="698683" y="486442"/>
                          </a:cubicBezTo>
                          <a:cubicBezTo>
                            <a:pt x="704246" y="496581"/>
                            <a:pt x="709781" y="507049"/>
                            <a:pt x="715153" y="517161"/>
                          </a:cubicBezTo>
                          <a:cubicBezTo>
                            <a:pt x="744584" y="572571"/>
                            <a:pt x="774920" y="629626"/>
                            <a:pt x="822136" y="669361"/>
                          </a:cubicBezTo>
                          <a:lnTo>
                            <a:pt x="822136" y="603373"/>
                          </a:lnTo>
                          <a:cubicBezTo>
                            <a:pt x="822136" y="517216"/>
                            <a:pt x="777140" y="440431"/>
                            <a:pt x="708329" y="396805"/>
                          </a:cubicBezTo>
                          <a:cubicBezTo>
                            <a:pt x="669717" y="407574"/>
                            <a:pt x="636203" y="412096"/>
                            <a:pt x="606497" y="412096"/>
                          </a:cubicBezTo>
                          <a:cubicBezTo>
                            <a:pt x="529164" y="412096"/>
                            <a:pt x="477289" y="381623"/>
                            <a:pt x="426620" y="351890"/>
                          </a:cubicBezTo>
                          <a:cubicBezTo>
                            <a:pt x="408396" y="341203"/>
                            <a:pt x="390008" y="330406"/>
                            <a:pt x="370168" y="320842"/>
                          </a:cubicBezTo>
                          <a:cubicBezTo>
                            <a:pt x="288122" y="362194"/>
                            <a:pt x="219832" y="420892"/>
                            <a:pt x="142444" y="516613"/>
                          </a:cubicBezTo>
                          <a:cubicBezTo>
                            <a:pt x="139183" y="520641"/>
                            <a:pt x="134442" y="522724"/>
                            <a:pt x="129647" y="522724"/>
                          </a:cubicBezTo>
                          <a:cubicBezTo>
                            <a:pt x="126002" y="522724"/>
                            <a:pt x="122357" y="521518"/>
                            <a:pt x="119315" y="519052"/>
                          </a:cubicBezTo>
                          <a:cubicBezTo>
                            <a:pt x="112245" y="513352"/>
                            <a:pt x="111149" y="502994"/>
                            <a:pt x="116876" y="495951"/>
                          </a:cubicBezTo>
                          <a:cubicBezTo>
                            <a:pt x="189606" y="405985"/>
                            <a:pt x="254991" y="347259"/>
                            <a:pt x="330707" y="304646"/>
                          </a:cubicBezTo>
                          <a:cubicBezTo>
                            <a:pt x="323418" y="302180"/>
                            <a:pt x="315827" y="299960"/>
                            <a:pt x="307989" y="297987"/>
                          </a:cubicBezTo>
                          <a:cubicBezTo>
                            <a:pt x="307524" y="298014"/>
                            <a:pt x="307058" y="298069"/>
                            <a:pt x="306592" y="298069"/>
                          </a:cubicBezTo>
                          <a:cubicBezTo>
                            <a:pt x="303550" y="298069"/>
                            <a:pt x="300673" y="297192"/>
                            <a:pt x="298179" y="295685"/>
                          </a:cubicBezTo>
                          <a:cubicBezTo>
                            <a:pt x="251483" y="285683"/>
                            <a:pt x="194429" y="285299"/>
                            <a:pt x="118000" y="303687"/>
                          </a:cubicBezTo>
                          <a:cubicBezTo>
                            <a:pt x="109176" y="305824"/>
                            <a:pt x="100297" y="300399"/>
                            <a:pt x="98187" y="291547"/>
                          </a:cubicBezTo>
                          <a:cubicBezTo>
                            <a:pt x="96050" y="282723"/>
                            <a:pt x="101476" y="273844"/>
                            <a:pt x="110327" y="271734"/>
                          </a:cubicBezTo>
                          <a:cubicBezTo>
                            <a:pt x="183358" y="254141"/>
                            <a:pt x="240631" y="252798"/>
                            <a:pt x="288067" y="260389"/>
                          </a:cubicBezTo>
                          <a:cubicBezTo>
                            <a:pt x="288286" y="239151"/>
                            <a:pt x="293877" y="218434"/>
                            <a:pt x="299357" y="198210"/>
                          </a:cubicBezTo>
                          <a:cubicBezTo>
                            <a:pt x="301495" y="190346"/>
                            <a:pt x="303495" y="182919"/>
                            <a:pt x="305167" y="175575"/>
                          </a:cubicBezTo>
                          <a:cubicBezTo>
                            <a:pt x="307167" y="166724"/>
                            <a:pt x="315991" y="161161"/>
                            <a:pt x="324843" y="163189"/>
                          </a:cubicBezTo>
                          <a:cubicBezTo>
                            <a:pt x="333694" y="165189"/>
                            <a:pt x="339257" y="173986"/>
                            <a:pt x="337229" y="182837"/>
                          </a:cubicBezTo>
                          <a:cubicBezTo>
                            <a:pt x="335420" y="190866"/>
                            <a:pt x="333228" y="198978"/>
                            <a:pt x="331091" y="206815"/>
                          </a:cubicBezTo>
                          <a:cubicBezTo>
                            <a:pt x="325309" y="228108"/>
                            <a:pt x="319855" y="248386"/>
                            <a:pt x="321171" y="267405"/>
                          </a:cubicBezTo>
                          <a:cubicBezTo>
                            <a:pt x="369785" y="280449"/>
                            <a:pt x="407656" y="302646"/>
                            <a:pt x="443254" y="323527"/>
                          </a:cubicBezTo>
                          <a:cubicBezTo>
                            <a:pt x="505981" y="360358"/>
                            <a:pt x="561144" y="392639"/>
                            <a:pt x="662072" y="373868"/>
                          </a:cubicBezTo>
                          <a:cubicBezTo>
                            <a:pt x="644588" y="367428"/>
                            <a:pt x="626118" y="362934"/>
                            <a:pt x="606908" y="360604"/>
                          </a:cubicBezTo>
                          <a:lnTo>
                            <a:pt x="605702" y="360467"/>
                          </a:lnTo>
                          <a:cubicBezTo>
                            <a:pt x="605374" y="360412"/>
                            <a:pt x="605017" y="360358"/>
                            <a:pt x="604689" y="360303"/>
                          </a:cubicBezTo>
                          <a:lnTo>
                            <a:pt x="603510" y="360084"/>
                          </a:lnTo>
                          <a:cubicBezTo>
                            <a:pt x="515270" y="343806"/>
                            <a:pt x="451228" y="266911"/>
                            <a:pt x="451228" y="177247"/>
                          </a:cubicBezTo>
                          <a:lnTo>
                            <a:pt x="451228" y="157187"/>
                          </a:lnTo>
                          <a:cubicBezTo>
                            <a:pt x="451228" y="127098"/>
                            <a:pt x="475700" y="102627"/>
                            <a:pt x="505789" y="102627"/>
                          </a:cubicBezTo>
                          <a:lnTo>
                            <a:pt x="507104" y="102627"/>
                          </a:lnTo>
                          <a:cubicBezTo>
                            <a:pt x="537193" y="102627"/>
                            <a:pt x="561665" y="127098"/>
                            <a:pt x="561665" y="157187"/>
                          </a:cubicBezTo>
                          <a:lnTo>
                            <a:pt x="561665" y="177247"/>
                          </a:lnTo>
                          <a:cubicBezTo>
                            <a:pt x="561665" y="213036"/>
                            <a:pt x="587068" y="244057"/>
                            <a:pt x="622145" y="251209"/>
                          </a:cubicBezTo>
                          <a:cubicBezTo>
                            <a:pt x="634641" y="252771"/>
                            <a:pt x="647000" y="255046"/>
                            <a:pt x="659194" y="257950"/>
                          </a:cubicBezTo>
                          <a:cubicBezTo>
                            <a:pt x="660839" y="214625"/>
                            <a:pt x="650507" y="173739"/>
                            <a:pt x="629407" y="141183"/>
                          </a:cubicBezTo>
                          <a:cubicBezTo>
                            <a:pt x="615650" y="119918"/>
                            <a:pt x="613896" y="94186"/>
                            <a:pt x="623844" y="71989"/>
                          </a:cubicBezTo>
                          <a:cubicBezTo>
                            <a:pt x="620254" y="71277"/>
                            <a:pt x="616691" y="70592"/>
                            <a:pt x="613101" y="69824"/>
                          </a:cubicBezTo>
                          <a:cubicBezTo>
                            <a:pt x="567831" y="60370"/>
                            <a:pt x="525218" y="47244"/>
                            <a:pt x="486469" y="30802"/>
                          </a:cubicBezTo>
                          <a:cubicBezTo>
                            <a:pt x="436238" y="9509"/>
                            <a:pt x="389406" y="0"/>
                            <a:pt x="334626" y="0"/>
                          </a:cubicBezTo>
                          <a:close/>
                        </a:path>
                      </a:pathLst>
                    </a:custGeom>
                    <a:solidFill>
                      <a:schemeClr val="bg1"/>
                    </a:solidFill>
                    <a:ln w="1905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46E42E48-F7AC-561A-5877-CA2CB7941780}"/>
                        </a:ext>
                      </a:extLst>
                    </p:cNvPr>
                    <p:cNvSpPr/>
                    <p:nvPr/>
                  </p:nvSpPr>
                  <p:spPr>
                    <a:xfrm>
                      <a:off x="288339" y="4561628"/>
                      <a:ext cx="550023" cy="196648"/>
                    </a:xfrm>
                    <a:custGeom>
                      <a:avLst/>
                      <a:gdLst>
                        <a:gd name="connsiteX0" fmla="*/ 6635 w 550023"/>
                        <a:gd name="connsiteY0" fmla="*/ 45463 h 196648"/>
                        <a:gd name="connsiteX1" fmla="*/ 41218 w 550023"/>
                        <a:gd name="connsiteY1" fmla="*/ 189441 h 196648"/>
                        <a:gd name="connsiteX2" fmla="*/ 60592 w 550023"/>
                        <a:gd name="connsiteY2" fmla="*/ 196648 h 196648"/>
                        <a:gd name="connsiteX3" fmla="*/ 97779 w 550023"/>
                        <a:gd name="connsiteY3" fmla="*/ 159489 h 196648"/>
                        <a:gd name="connsiteX4" fmla="*/ 112193 w 550023"/>
                        <a:gd name="connsiteY4" fmla="*/ 139238 h 196648"/>
                        <a:gd name="connsiteX5" fmla="*/ 112468 w 550023"/>
                        <a:gd name="connsiteY5" fmla="*/ 138662 h 196648"/>
                        <a:gd name="connsiteX6" fmla="*/ 143653 w 550023"/>
                        <a:gd name="connsiteY6" fmla="*/ 110930 h 196648"/>
                        <a:gd name="connsiteX7" fmla="*/ 185361 w 550023"/>
                        <a:gd name="connsiteY7" fmla="*/ 113314 h 196648"/>
                        <a:gd name="connsiteX8" fmla="*/ 186512 w 550023"/>
                        <a:gd name="connsiteY8" fmla="*/ 113862 h 196648"/>
                        <a:gd name="connsiteX9" fmla="*/ 214272 w 550023"/>
                        <a:gd name="connsiteY9" fmla="*/ 145075 h 196648"/>
                        <a:gd name="connsiteX10" fmla="*/ 217259 w 550023"/>
                        <a:gd name="connsiteY10" fmla="*/ 165134 h 196648"/>
                        <a:gd name="connsiteX11" fmla="*/ 545582 w 550023"/>
                        <a:gd name="connsiteY11" fmla="*/ 60726 h 196648"/>
                        <a:gd name="connsiteX12" fmla="*/ 547254 w 550023"/>
                        <a:gd name="connsiteY12" fmla="*/ 56753 h 196648"/>
                        <a:gd name="connsiteX13" fmla="*/ 543417 w 550023"/>
                        <a:gd name="connsiteY13" fmla="*/ 22252 h 196648"/>
                        <a:gd name="connsiteX14" fmla="*/ 512725 w 550023"/>
                        <a:gd name="connsiteY14" fmla="*/ 6001 h 196648"/>
                        <a:gd name="connsiteX15" fmla="*/ 66731 w 550023"/>
                        <a:gd name="connsiteY15" fmla="*/ 6001 h 196648"/>
                        <a:gd name="connsiteX16" fmla="*/ 65772 w 550023"/>
                        <a:gd name="connsiteY16" fmla="*/ 5974 h 196648"/>
                        <a:gd name="connsiteX17" fmla="*/ 7950 w 550023"/>
                        <a:gd name="connsiteY17" fmla="*/ 0 h 196648"/>
                        <a:gd name="connsiteX18" fmla="*/ 6635 w 550023"/>
                        <a:gd name="connsiteY18" fmla="*/ 45463 h 1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0023" h="196648">
                          <a:moveTo>
                            <a:pt x="6635" y="45463"/>
                          </a:moveTo>
                          <a:cubicBezTo>
                            <a:pt x="32750" y="85746"/>
                            <a:pt x="44835" y="136443"/>
                            <a:pt x="41218" y="189441"/>
                          </a:cubicBezTo>
                          <a:cubicBezTo>
                            <a:pt x="47740" y="191661"/>
                            <a:pt x="54207" y="194045"/>
                            <a:pt x="60592" y="196648"/>
                          </a:cubicBezTo>
                          <a:lnTo>
                            <a:pt x="97779" y="159489"/>
                          </a:lnTo>
                          <a:cubicBezTo>
                            <a:pt x="103698" y="153543"/>
                            <a:pt x="108549" y="146746"/>
                            <a:pt x="112193" y="139238"/>
                          </a:cubicBezTo>
                          <a:lnTo>
                            <a:pt x="112468" y="138662"/>
                          </a:lnTo>
                          <a:cubicBezTo>
                            <a:pt x="118798" y="125563"/>
                            <a:pt x="129869" y="115726"/>
                            <a:pt x="143653" y="110930"/>
                          </a:cubicBezTo>
                          <a:cubicBezTo>
                            <a:pt x="157464" y="106134"/>
                            <a:pt x="172262" y="106984"/>
                            <a:pt x="185361" y="113314"/>
                          </a:cubicBezTo>
                          <a:lnTo>
                            <a:pt x="186512" y="113862"/>
                          </a:lnTo>
                          <a:cubicBezTo>
                            <a:pt x="199611" y="120220"/>
                            <a:pt x="209476" y="131291"/>
                            <a:pt x="214272" y="145075"/>
                          </a:cubicBezTo>
                          <a:cubicBezTo>
                            <a:pt x="216547" y="151624"/>
                            <a:pt x="217506" y="158420"/>
                            <a:pt x="217259" y="165134"/>
                          </a:cubicBezTo>
                          <a:cubicBezTo>
                            <a:pt x="329778" y="105997"/>
                            <a:pt x="439996" y="70921"/>
                            <a:pt x="545582" y="60726"/>
                          </a:cubicBezTo>
                          <a:cubicBezTo>
                            <a:pt x="546130" y="59411"/>
                            <a:pt x="546733" y="58068"/>
                            <a:pt x="547254" y="56753"/>
                          </a:cubicBezTo>
                          <a:cubicBezTo>
                            <a:pt x="551967" y="44805"/>
                            <a:pt x="550652" y="32884"/>
                            <a:pt x="543417" y="22252"/>
                          </a:cubicBezTo>
                          <a:cubicBezTo>
                            <a:pt x="536210" y="11619"/>
                            <a:pt x="525577" y="6001"/>
                            <a:pt x="512725" y="6001"/>
                          </a:cubicBezTo>
                          <a:lnTo>
                            <a:pt x="66731" y="6001"/>
                          </a:lnTo>
                          <a:cubicBezTo>
                            <a:pt x="66402" y="6001"/>
                            <a:pt x="66101" y="6001"/>
                            <a:pt x="65772" y="5974"/>
                          </a:cubicBezTo>
                          <a:cubicBezTo>
                            <a:pt x="46808" y="4878"/>
                            <a:pt x="27489" y="2850"/>
                            <a:pt x="7950" y="0"/>
                          </a:cubicBezTo>
                          <a:cubicBezTo>
                            <a:pt x="-2134" y="13729"/>
                            <a:pt x="-2682" y="31103"/>
                            <a:pt x="6635" y="45463"/>
                          </a:cubicBezTo>
                          <a:close/>
                        </a:path>
                      </a:pathLst>
                    </a:custGeom>
                    <a:solidFill>
                      <a:schemeClr val="bg1"/>
                    </a:solidFill>
                    <a:ln w="1905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DD49CE97-89D9-1B70-5059-9D5E7F1D94DD}"/>
                        </a:ext>
                      </a:extLst>
                    </p:cNvPr>
                    <p:cNvSpPr/>
                    <p:nvPr/>
                  </p:nvSpPr>
                  <p:spPr>
                    <a:xfrm>
                      <a:off x="445913" y="4657540"/>
                      <a:ext cx="369373" cy="177027"/>
                    </a:xfrm>
                    <a:custGeom>
                      <a:avLst/>
                      <a:gdLst>
                        <a:gd name="connsiteX0" fmla="*/ 369374 w 369373"/>
                        <a:gd name="connsiteY0" fmla="*/ 0 h 177027"/>
                        <a:gd name="connsiteX1" fmla="*/ 37735 w 369373"/>
                        <a:gd name="connsiteY1" fmla="*/ 118740 h 177027"/>
                        <a:gd name="connsiteX2" fmla="*/ 18278 w 369373"/>
                        <a:gd name="connsiteY2" fmla="*/ 141649 h 177027"/>
                        <a:gd name="connsiteX3" fmla="*/ 0 w 369373"/>
                        <a:gd name="connsiteY3" fmla="*/ 159955 h 177027"/>
                        <a:gd name="connsiteX4" fmla="*/ 18552 w 369373"/>
                        <a:gd name="connsiteY4" fmla="*/ 177027 h 177027"/>
                        <a:gd name="connsiteX5" fmla="*/ 97886 w 369373"/>
                        <a:gd name="connsiteY5" fmla="*/ 116904 h 177027"/>
                        <a:gd name="connsiteX6" fmla="*/ 215995 w 369373"/>
                        <a:gd name="connsiteY6" fmla="*/ 75250 h 177027"/>
                        <a:gd name="connsiteX7" fmla="*/ 216653 w 369373"/>
                        <a:gd name="connsiteY7" fmla="*/ 75250 h 177027"/>
                        <a:gd name="connsiteX8" fmla="*/ 218297 w 369373"/>
                        <a:gd name="connsiteY8" fmla="*/ 75196 h 177027"/>
                        <a:gd name="connsiteX9" fmla="*/ 265706 w 369373"/>
                        <a:gd name="connsiteY9" fmla="*/ 102846 h 177027"/>
                        <a:gd name="connsiteX10" fmla="*/ 369346 w 369373"/>
                        <a:gd name="connsiteY10" fmla="*/ 0 h 17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9373" h="177027">
                          <a:moveTo>
                            <a:pt x="369374" y="0"/>
                          </a:moveTo>
                          <a:cubicBezTo>
                            <a:pt x="263075" y="13784"/>
                            <a:pt x="151679" y="53656"/>
                            <a:pt x="37735" y="118740"/>
                          </a:cubicBezTo>
                          <a:cubicBezTo>
                            <a:pt x="31925" y="126851"/>
                            <a:pt x="25431" y="134524"/>
                            <a:pt x="18278" y="141649"/>
                          </a:cubicBezTo>
                          <a:lnTo>
                            <a:pt x="0" y="159955"/>
                          </a:lnTo>
                          <a:cubicBezTo>
                            <a:pt x="6385" y="165408"/>
                            <a:pt x="12578" y="171136"/>
                            <a:pt x="18552" y="177027"/>
                          </a:cubicBezTo>
                          <a:lnTo>
                            <a:pt x="97886" y="116904"/>
                          </a:lnTo>
                          <a:cubicBezTo>
                            <a:pt x="132113" y="90925"/>
                            <a:pt x="172972" y="76538"/>
                            <a:pt x="215995" y="75250"/>
                          </a:cubicBezTo>
                          <a:lnTo>
                            <a:pt x="216653" y="75250"/>
                          </a:lnTo>
                          <a:cubicBezTo>
                            <a:pt x="217201" y="75250"/>
                            <a:pt x="217749" y="75196"/>
                            <a:pt x="218297" y="75196"/>
                          </a:cubicBezTo>
                          <a:cubicBezTo>
                            <a:pt x="238494" y="75196"/>
                            <a:pt x="256279" y="86294"/>
                            <a:pt x="265706" y="102846"/>
                          </a:cubicBezTo>
                          <a:cubicBezTo>
                            <a:pt x="311716" y="70098"/>
                            <a:pt x="346409" y="35680"/>
                            <a:pt x="369346" y="0"/>
                          </a:cubicBezTo>
                          <a:close/>
                        </a:path>
                      </a:pathLst>
                    </a:custGeom>
                    <a:solidFill>
                      <a:schemeClr val="bg1"/>
                    </a:solidFill>
                    <a:ln w="1905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AB199FB3-EA0F-BDD2-6DDF-2C0A732EF140}"/>
                        </a:ext>
                      </a:extLst>
                    </p:cNvPr>
                    <p:cNvSpPr/>
                    <p:nvPr/>
                  </p:nvSpPr>
                  <p:spPr>
                    <a:xfrm>
                      <a:off x="122084" y="4619312"/>
                      <a:ext cx="563839" cy="1119575"/>
                    </a:xfrm>
                    <a:custGeom>
                      <a:avLst/>
                      <a:gdLst>
                        <a:gd name="connsiteX0" fmla="*/ 540811 w 563839"/>
                        <a:gd name="connsiteY0" fmla="*/ 146335 h 1119575"/>
                        <a:gd name="connsiteX1" fmla="*/ 441582 w 563839"/>
                        <a:gd name="connsiteY1" fmla="*/ 181330 h 1119575"/>
                        <a:gd name="connsiteX2" fmla="*/ 350684 w 563839"/>
                        <a:gd name="connsiteY2" fmla="*/ 250250 h 1119575"/>
                        <a:gd name="connsiteX3" fmla="*/ 328707 w 563839"/>
                        <a:gd name="connsiteY3" fmla="*/ 248359 h 1119575"/>
                        <a:gd name="connsiteX4" fmla="*/ 289273 w 563839"/>
                        <a:gd name="connsiteY4" fmla="*/ 212460 h 1119575"/>
                        <a:gd name="connsiteX5" fmla="*/ 282915 w 563839"/>
                        <a:gd name="connsiteY5" fmla="*/ 200512 h 1119575"/>
                        <a:gd name="connsiteX6" fmla="*/ 287683 w 563839"/>
                        <a:gd name="connsiteY6" fmla="*/ 187824 h 1119575"/>
                        <a:gd name="connsiteX7" fmla="*/ 318869 w 563839"/>
                        <a:gd name="connsiteY7" fmla="*/ 156639 h 1119575"/>
                        <a:gd name="connsiteX8" fmla="*/ 348245 w 563839"/>
                        <a:gd name="connsiteY8" fmla="*/ 115342 h 1119575"/>
                        <a:gd name="connsiteX9" fmla="*/ 348519 w 563839"/>
                        <a:gd name="connsiteY9" fmla="*/ 114766 h 1119575"/>
                        <a:gd name="connsiteX10" fmla="*/ 349451 w 563839"/>
                        <a:gd name="connsiteY10" fmla="*/ 98187 h 1119575"/>
                        <a:gd name="connsiteX11" fmla="*/ 338435 w 563839"/>
                        <a:gd name="connsiteY11" fmla="*/ 85801 h 1119575"/>
                        <a:gd name="connsiteX12" fmla="*/ 337284 w 563839"/>
                        <a:gd name="connsiteY12" fmla="*/ 85225 h 1119575"/>
                        <a:gd name="connsiteX13" fmla="*/ 320732 w 563839"/>
                        <a:gd name="connsiteY13" fmla="*/ 84294 h 1119575"/>
                        <a:gd name="connsiteX14" fmla="*/ 308318 w 563839"/>
                        <a:gd name="connsiteY14" fmla="*/ 95310 h 1119575"/>
                        <a:gd name="connsiteX15" fmla="*/ 308044 w 563839"/>
                        <a:gd name="connsiteY15" fmla="*/ 95885 h 1119575"/>
                        <a:gd name="connsiteX16" fmla="*/ 287272 w 563839"/>
                        <a:gd name="connsiteY16" fmla="*/ 125043 h 1119575"/>
                        <a:gd name="connsiteX17" fmla="*/ 242248 w 563839"/>
                        <a:gd name="connsiteY17" fmla="*/ 170067 h 1119575"/>
                        <a:gd name="connsiteX18" fmla="*/ 223942 w 563839"/>
                        <a:gd name="connsiteY18" fmla="*/ 173465 h 1119575"/>
                        <a:gd name="connsiteX19" fmla="*/ 133373 w 563839"/>
                        <a:gd name="connsiteY19" fmla="*/ 148254 h 1119575"/>
                        <a:gd name="connsiteX20" fmla="*/ 132223 w 563839"/>
                        <a:gd name="connsiteY20" fmla="*/ 148062 h 1119575"/>
                        <a:gd name="connsiteX21" fmla="*/ 44668 w 563839"/>
                        <a:gd name="connsiteY21" fmla="*/ 41736 h 1119575"/>
                        <a:gd name="connsiteX22" fmla="*/ 44668 w 563839"/>
                        <a:gd name="connsiteY22" fmla="*/ 21676 h 1119575"/>
                        <a:gd name="connsiteX23" fmla="*/ 22992 w 563839"/>
                        <a:gd name="connsiteY23" fmla="*/ 0 h 1119575"/>
                        <a:gd name="connsiteX24" fmla="*/ 21676 w 563839"/>
                        <a:gd name="connsiteY24" fmla="*/ 0 h 1119575"/>
                        <a:gd name="connsiteX25" fmla="*/ 0 w 563839"/>
                        <a:gd name="connsiteY25" fmla="*/ 21676 h 1119575"/>
                        <a:gd name="connsiteX26" fmla="*/ 0 w 563839"/>
                        <a:gd name="connsiteY26" fmla="*/ 41736 h 1119575"/>
                        <a:gd name="connsiteX27" fmla="*/ 125372 w 563839"/>
                        <a:gd name="connsiteY27" fmla="*/ 192236 h 1119575"/>
                        <a:gd name="connsiteX28" fmla="*/ 126742 w 563839"/>
                        <a:gd name="connsiteY28" fmla="*/ 192428 h 1119575"/>
                        <a:gd name="connsiteX29" fmla="*/ 300782 w 563839"/>
                        <a:gd name="connsiteY29" fmla="*/ 284011 h 1119575"/>
                        <a:gd name="connsiteX30" fmla="*/ 370908 w 563839"/>
                        <a:gd name="connsiteY30" fmla="*/ 467862 h 1119575"/>
                        <a:gd name="connsiteX31" fmla="*/ 370908 w 563839"/>
                        <a:gd name="connsiteY31" fmla="*/ 1119575 h 1119575"/>
                        <a:gd name="connsiteX32" fmla="*/ 415603 w 563839"/>
                        <a:gd name="connsiteY32" fmla="*/ 1119575 h 1119575"/>
                        <a:gd name="connsiteX33" fmla="*/ 415603 w 563839"/>
                        <a:gd name="connsiteY33" fmla="*/ 467862 h 1119575"/>
                        <a:gd name="connsiteX34" fmla="*/ 372635 w 563839"/>
                        <a:gd name="connsiteY34" fmla="*/ 307688 h 1119575"/>
                        <a:gd name="connsiteX35" fmla="*/ 376937 w 563839"/>
                        <a:gd name="connsiteY35" fmla="*/ 286368 h 1119575"/>
                        <a:gd name="connsiteX36" fmla="*/ 468575 w 563839"/>
                        <a:gd name="connsiteY36" fmla="*/ 216927 h 1119575"/>
                        <a:gd name="connsiteX37" fmla="*/ 542153 w 563839"/>
                        <a:gd name="connsiteY37" fmla="*/ 191003 h 1119575"/>
                        <a:gd name="connsiteX38" fmla="*/ 542811 w 563839"/>
                        <a:gd name="connsiteY38" fmla="*/ 191003 h 1119575"/>
                        <a:gd name="connsiteX39" fmla="*/ 563830 w 563839"/>
                        <a:gd name="connsiteY39" fmla="*/ 168642 h 1119575"/>
                        <a:gd name="connsiteX40" fmla="*/ 563830 w 563839"/>
                        <a:gd name="connsiteY40" fmla="*/ 167354 h 1119575"/>
                        <a:gd name="connsiteX41" fmla="*/ 541468 w 563839"/>
                        <a:gd name="connsiteY41" fmla="*/ 146335 h 1119575"/>
                        <a:gd name="connsiteX42" fmla="*/ 540811 w 563839"/>
                        <a:gd name="connsiteY42" fmla="*/ 146335 h 111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63839" h="1119575">
                          <a:moveTo>
                            <a:pt x="540811" y="146335"/>
                          </a:moveTo>
                          <a:cubicBezTo>
                            <a:pt x="504665" y="147432"/>
                            <a:pt x="470329" y="159517"/>
                            <a:pt x="441582" y="181330"/>
                          </a:cubicBezTo>
                          <a:lnTo>
                            <a:pt x="350684" y="250250"/>
                          </a:lnTo>
                          <a:cubicBezTo>
                            <a:pt x="343943" y="255347"/>
                            <a:pt x="334461" y="254525"/>
                            <a:pt x="328707" y="248359"/>
                          </a:cubicBezTo>
                          <a:cubicBezTo>
                            <a:pt x="316594" y="235370"/>
                            <a:pt x="303331" y="223285"/>
                            <a:pt x="289273" y="212460"/>
                          </a:cubicBezTo>
                          <a:cubicBezTo>
                            <a:pt x="285518" y="209583"/>
                            <a:pt x="283217" y="205226"/>
                            <a:pt x="282915" y="200512"/>
                          </a:cubicBezTo>
                          <a:cubicBezTo>
                            <a:pt x="282586" y="195771"/>
                            <a:pt x="284340" y="191168"/>
                            <a:pt x="287683" y="187824"/>
                          </a:cubicBezTo>
                          <a:lnTo>
                            <a:pt x="318869" y="156639"/>
                          </a:lnTo>
                          <a:cubicBezTo>
                            <a:pt x="330954" y="144554"/>
                            <a:pt x="340819" y="130660"/>
                            <a:pt x="348245" y="115342"/>
                          </a:cubicBezTo>
                          <a:lnTo>
                            <a:pt x="348519" y="114766"/>
                          </a:lnTo>
                          <a:cubicBezTo>
                            <a:pt x="351041" y="109560"/>
                            <a:pt x="351369" y="103695"/>
                            <a:pt x="349451" y="98187"/>
                          </a:cubicBezTo>
                          <a:cubicBezTo>
                            <a:pt x="347533" y="92706"/>
                            <a:pt x="343642" y="88294"/>
                            <a:pt x="338435" y="85801"/>
                          </a:cubicBezTo>
                          <a:lnTo>
                            <a:pt x="337284" y="85225"/>
                          </a:lnTo>
                          <a:cubicBezTo>
                            <a:pt x="332105" y="82704"/>
                            <a:pt x="326213" y="82375"/>
                            <a:pt x="320732" y="84294"/>
                          </a:cubicBezTo>
                          <a:cubicBezTo>
                            <a:pt x="315224" y="86212"/>
                            <a:pt x="310839" y="90103"/>
                            <a:pt x="308318" y="95310"/>
                          </a:cubicBezTo>
                          <a:lnTo>
                            <a:pt x="308044" y="95885"/>
                          </a:lnTo>
                          <a:cubicBezTo>
                            <a:pt x="302810" y="106682"/>
                            <a:pt x="295822" y="116520"/>
                            <a:pt x="287272" y="125043"/>
                          </a:cubicBezTo>
                          <a:lnTo>
                            <a:pt x="242248" y="170067"/>
                          </a:lnTo>
                          <a:cubicBezTo>
                            <a:pt x="237452" y="174890"/>
                            <a:pt x="230163" y="176233"/>
                            <a:pt x="223942" y="173465"/>
                          </a:cubicBezTo>
                          <a:cubicBezTo>
                            <a:pt x="195169" y="160640"/>
                            <a:pt x="164696" y="152145"/>
                            <a:pt x="133373" y="148254"/>
                          </a:cubicBezTo>
                          <a:cubicBezTo>
                            <a:pt x="132990" y="148199"/>
                            <a:pt x="132606" y="148144"/>
                            <a:pt x="132223" y="148062"/>
                          </a:cubicBezTo>
                          <a:cubicBezTo>
                            <a:pt x="81498" y="138087"/>
                            <a:pt x="44668" y="93392"/>
                            <a:pt x="44668" y="41736"/>
                          </a:cubicBezTo>
                          <a:lnTo>
                            <a:pt x="44668" y="21676"/>
                          </a:lnTo>
                          <a:cubicBezTo>
                            <a:pt x="44668" y="9728"/>
                            <a:pt x="34940" y="0"/>
                            <a:pt x="22992" y="0"/>
                          </a:cubicBezTo>
                          <a:lnTo>
                            <a:pt x="21676" y="0"/>
                          </a:lnTo>
                          <a:cubicBezTo>
                            <a:pt x="9728" y="0"/>
                            <a:pt x="0" y="9728"/>
                            <a:pt x="0" y="21676"/>
                          </a:cubicBezTo>
                          <a:lnTo>
                            <a:pt x="0" y="41736"/>
                          </a:lnTo>
                          <a:cubicBezTo>
                            <a:pt x="0" y="115561"/>
                            <a:pt x="52725" y="178836"/>
                            <a:pt x="125372" y="192236"/>
                          </a:cubicBezTo>
                          <a:lnTo>
                            <a:pt x="126742" y="192428"/>
                          </a:lnTo>
                          <a:cubicBezTo>
                            <a:pt x="193771" y="200540"/>
                            <a:pt x="255566" y="233068"/>
                            <a:pt x="300782" y="284011"/>
                          </a:cubicBezTo>
                          <a:cubicBezTo>
                            <a:pt x="345998" y="335009"/>
                            <a:pt x="370908" y="400312"/>
                            <a:pt x="370908" y="467862"/>
                          </a:cubicBezTo>
                          <a:lnTo>
                            <a:pt x="370908" y="1119575"/>
                          </a:lnTo>
                          <a:lnTo>
                            <a:pt x="415603" y="1119575"/>
                          </a:lnTo>
                          <a:lnTo>
                            <a:pt x="415603" y="467862"/>
                          </a:lnTo>
                          <a:cubicBezTo>
                            <a:pt x="415603" y="411794"/>
                            <a:pt x="400723" y="356412"/>
                            <a:pt x="372635" y="307688"/>
                          </a:cubicBezTo>
                          <a:cubicBezTo>
                            <a:pt x="368497" y="300536"/>
                            <a:pt x="370333" y="291383"/>
                            <a:pt x="376937" y="286368"/>
                          </a:cubicBezTo>
                          <a:lnTo>
                            <a:pt x="468575" y="216927"/>
                          </a:lnTo>
                          <a:cubicBezTo>
                            <a:pt x="489867" y="200759"/>
                            <a:pt x="515325" y="191798"/>
                            <a:pt x="542153" y="191003"/>
                          </a:cubicBezTo>
                          <a:lnTo>
                            <a:pt x="542811" y="191003"/>
                          </a:lnTo>
                          <a:cubicBezTo>
                            <a:pt x="554759" y="190620"/>
                            <a:pt x="564186" y="180590"/>
                            <a:pt x="563830" y="168642"/>
                          </a:cubicBezTo>
                          <a:lnTo>
                            <a:pt x="563830" y="167354"/>
                          </a:lnTo>
                          <a:cubicBezTo>
                            <a:pt x="563446" y="155406"/>
                            <a:pt x="553444" y="146034"/>
                            <a:pt x="541468" y="146335"/>
                          </a:cubicBezTo>
                          <a:lnTo>
                            <a:pt x="540811" y="146335"/>
                          </a:lnTo>
                          <a:close/>
                        </a:path>
                      </a:pathLst>
                    </a:custGeom>
                    <a:solidFill>
                      <a:schemeClr val="bg1"/>
                    </a:solidFill>
                    <a:ln w="2740" cap="flat">
                      <a:noFill/>
                      <a:prstDash val="solid"/>
                      <a:miter/>
                    </a:ln>
                  </p:spPr>
                  <p:txBody>
                    <a:bodyPr rtlCol="0" anchor="ctr"/>
                    <a:lstStyle/>
                    <a:p>
                      <a:endParaRPr lang="en-US"/>
                    </a:p>
                  </p:txBody>
                </p:sp>
              </p:grpSp>
              <p:grpSp>
                <p:nvGrpSpPr>
                  <p:cNvPr id="163" name="Group 162">
                    <a:extLst>
                      <a:ext uri="{FF2B5EF4-FFF2-40B4-BE49-F238E27FC236}">
                        <a16:creationId xmlns:a16="http://schemas.microsoft.com/office/drawing/2014/main" id="{5E12766A-AD2A-0BDB-5A97-57F3D906748B}"/>
                      </a:ext>
                    </a:extLst>
                  </p:cNvPr>
                  <p:cNvGrpSpPr/>
                  <p:nvPr/>
                </p:nvGrpSpPr>
                <p:grpSpPr>
                  <a:xfrm>
                    <a:off x="5177246" y="3355952"/>
                    <a:ext cx="496550" cy="752645"/>
                    <a:chOff x="2647424" y="1141064"/>
                    <a:chExt cx="1344300" cy="2037621"/>
                  </a:xfrm>
                  <a:solidFill>
                    <a:schemeClr val="tx2"/>
                  </a:solidFill>
                </p:grpSpPr>
                <p:sp>
                  <p:nvSpPr>
                    <p:cNvPr id="164" name="Freeform: Shape 163">
                      <a:extLst>
                        <a:ext uri="{FF2B5EF4-FFF2-40B4-BE49-F238E27FC236}">
                          <a16:creationId xmlns:a16="http://schemas.microsoft.com/office/drawing/2014/main" id="{51140B2C-56C7-C2F6-46F7-5D00C3EEF60A}"/>
                        </a:ext>
                      </a:extLst>
                    </p:cNvPr>
                    <p:cNvSpPr/>
                    <p:nvPr/>
                  </p:nvSpPr>
                  <p:spPr>
                    <a:xfrm>
                      <a:off x="2647424" y="1287749"/>
                      <a:ext cx="1344300" cy="1890936"/>
                    </a:xfrm>
                    <a:custGeom>
                      <a:avLst/>
                      <a:gdLst>
                        <a:gd name="connsiteX0" fmla="*/ 1253503 w 1344300"/>
                        <a:gd name="connsiteY0" fmla="*/ 6 h 1890936"/>
                        <a:gd name="connsiteX1" fmla="*/ 1318220 w 1344300"/>
                        <a:gd name="connsiteY1" fmla="*/ 26192 h 1890936"/>
                        <a:gd name="connsiteX2" fmla="*/ 1318320 w 1344300"/>
                        <a:gd name="connsiteY2" fmla="*/ 152028 h 1890936"/>
                        <a:gd name="connsiteX3" fmla="*/ 1204029 w 1344300"/>
                        <a:gd name="connsiteY3" fmla="*/ 266519 h 1890936"/>
                        <a:gd name="connsiteX4" fmla="*/ 1202429 w 1344300"/>
                        <a:gd name="connsiteY4" fmla="*/ 658118 h 1890936"/>
                        <a:gd name="connsiteX5" fmla="*/ 1329414 w 1344300"/>
                        <a:gd name="connsiteY5" fmla="*/ 967809 h 1890936"/>
                        <a:gd name="connsiteX6" fmla="*/ 1329414 w 1344300"/>
                        <a:gd name="connsiteY6" fmla="*/ 1100509 h 1890936"/>
                        <a:gd name="connsiteX7" fmla="*/ 1331643 w 1344300"/>
                        <a:gd name="connsiteY7" fmla="*/ 1112938 h 1890936"/>
                        <a:gd name="connsiteX8" fmla="*/ 1292807 w 1344300"/>
                        <a:gd name="connsiteY8" fmla="*/ 1388947 h 1890936"/>
                        <a:gd name="connsiteX9" fmla="*/ 1119148 w 1344300"/>
                        <a:gd name="connsiteY9" fmla="*/ 1705918 h 1890936"/>
                        <a:gd name="connsiteX10" fmla="*/ 1112968 w 1344300"/>
                        <a:gd name="connsiteY10" fmla="*/ 1709634 h 1890936"/>
                        <a:gd name="connsiteX11" fmla="*/ 1113875 w 1344300"/>
                        <a:gd name="connsiteY11" fmla="*/ 1710928 h 1890936"/>
                        <a:gd name="connsiteX12" fmla="*/ 727123 w 1344300"/>
                        <a:gd name="connsiteY12" fmla="*/ 1890936 h 1890936"/>
                        <a:gd name="connsiteX13" fmla="*/ 311387 w 1344300"/>
                        <a:gd name="connsiteY13" fmla="*/ 1571600 h 1890936"/>
                        <a:gd name="connsiteX14" fmla="*/ 4294 w 1344300"/>
                        <a:gd name="connsiteY14" fmla="*/ 916836 h 1890936"/>
                        <a:gd name="connsiteX15" fmla="*/ 415134 w 1344300"/>
                        <a:gd name="connsiteY15" fmla="*/ 393954 h 1890936"/>
                        <a:gd name="connsiteX16" fmla="*/ 536221 w 1344300"/>
                        <a:gd name="connsiteY16" fmla="*/ 393954 h 1890936"/>
                        <a:gd name="connsiteX17" fmla="*/ 853259 w 1344300"/>
                        <a:gd name="connsiteY17" fmla="*/ 912088 h 1890936"/>
                        <a:gd name="connsiteX18" fmla="*/ 791990 w 1344300"/>
                        <a:gd name="connsiteY18" fmla="*/ 1179651 h 1890936"/>
                        <a:gd name="connsiteX19" fmla="*/ 805683 w 1344300"/>
                        <a:gd name="connsiteY19" fmla="*/ 1219780 h 1890936"/>
                        <a:gd name="connsiteX20" fmla="*/ 818876 w 1344300"/>
                        <a:gd name="connsiteY20" fmla="*/ 1222879 h 1890936"/>
                        <a:gd name="connsiteX21" fmla="*/ 845812 w 1344300"/>
                        <a:gd name="connsiteY21" fmla="*/ 1206137 h 1890936"/>
                        <a:gd name="connsiteX22" fmla="*/ 913228 w 1344300"/>
                        <a:gd name="connsiteY22" fmla="*/ 912088 h 1890936"/>
                        <a:gd name="connsiteX23" fmla="*/ 813979 w 1344300"/>
                        <a:gd name="connsiteY23" fmla="*/ 560918 h 1890936"/>
                        <a:gd name="connsiteX24" fmla="*/ 645615 w 1344300"/>
                        <a:gd name="connsiteY24" fmla="*/ 385708 h 1890936"/>
                        <a:gd name="connsiteX25" fmla="*/ 735319 w 1344300"/>
                        <a:gd name="connsiteY25" fmla="*/ 316993 h 1890936"/>
                        <a:gd name="connsiteX26" fmla="*/ 855208 w 1344300"/>
                        <a:gd name="connsiteY26" fmla="*/ 314345 h 1890936"/>
                        <a:gd name="connsiteX27" fmla="*/ 895787 w 1344300"/>
                        <a:gd name="connsiteY27" fmla="*/ 308198 h 1890936"/>
                        <a:gd name="connsiteX28" fmla="*/ 895787 w 1344300"/>
                        <a:gd name="connsiteY28" fmla="*/ 429336 h 1890936"/>
                        <a:gd name="connsiteX29" fmla="*/ 925771 w 1344300"/>
                        <a:gd name="connsiteY29" fmla="*/ 459320 h 1890936"/>
                        <a:gd name="connsiteX30" fmla="*/ 955756 w 1344300"/>
                        <a:gd name="connsiteY30" fmla="*/ 429336 h 1890936"/>
                        <a:gd name="connsiteX31" fmla="*/ 955756 w 1344300"/>
                        <a:gd name="connsiteY31" fmla="*/ 273066 h 1890936"/>
                        <a:gd name="connsiteX32" fmla="*/ 961003 w 1344300"/>
                        <a:gd name="connsiteY32" fmla="*/ 267818 h 1890936"/>
                        <a:gd name="connsiteX33" fmla="*/ 1192784 w 1344300"/>
                        <a:gd name="connsiteY33" fmla="*/ 25893 h 1890936"/>
                        <a:gd name="connsiteX34" fmla="*/ 1253503 w 1344300"/>
                        <a:gd name="connsiteY34" fmla="*/ 6 h 1890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344300" h="1890936">
                          <a:moveTo>
                            <a:pt x="1253503" y="6"/>
                          </a:moveTo>
                          <a:cubicBezTo>
                            <a:pt x="1277741" y="-294"/>
                            <a:pt x="1301229" y="9301"/>
                            <a:pt x="1318220" y="26192"/>
                          </a:cubicBezTo>
                          <a:cubicBezTo>
                            <a:pt x="1352952" y="60875"/>
                            <a:pt x="1353002" y="117296"/>
                            <a:pt x="1318320" y="152028"/>
                          </a:cubicBezTo>
                          <a:lnTo>
                            <a:pt x="1204029" y="266519"/>
                          </a:lnTo>
                          <a:cubicBezTo>
                            <a:pt x="1096684" y="374064"/>
                            <a:pt x="1095984" y="549724"/>
                            <a:pt x="1202429" y="658118"/>
                          </a:cubicBezTo>
                          <a:cubicBezTo>
                            <a:pt x="1284337" y="741526"/>
                            <a:pt x="1329414" y="851519"/>
                            <a:pt x="1329414" y="967809"/>
                          </a:cubicBezTo>
                          <a:lnTo>
                            <a:pt x="1329414" y="1100509"/>
                          </a:lnTo>
                          <a:lnTo>
                            <a:pt x="1331643" y="1112938"/>
                          </a:lnTo>
                          <a:cubicBezTo>
                            <a:pt x="1336103" y="1190134"/>
                            <a:pt x="1321209" y="1305127"/>
                            <a:pt x="1292807" y="1388947"/>
                          </a:cubicBezTo>
                          <a:cubicBezTo>
                            <a:pt x="1259672" y="1486737"/>
                            <a:pt x="1181985" y="1652414"/>
                            <a:pt x="1119148" y="1705918"/>
                          </a:cubicBezTo>
                          <a:lnTo>
                            <a:pt x="1112968" y="1709634"/>
                          </a:lnTo>
                          <a:lnTo>
                            <a:pt x="1113875" y="1710928"/>
                          </a:lnTo>
                          <a:cubicBezTo>
                            <a:pt x="1005281" y="1827219"/>
                            <a:pt x="868801" y="1890936"/>
                            <a:pt x="727123" y="1890936"/>
                          </a:cubicBezTo>
                          <a:cubicBezTo>
                            <a:pt x="630873" y="1890936"/>
                            <a:pt x="463809" y="1762602"/>
                            <a:pt x="311387" y="1571600"/>
                          </a:cubicBezTo>
                          <a:cubicBezTo>
                            <a:pt x="141174" y="1358309"/>
                            <a:pt x="26383" y="1113535"/>
                            <a:pt x="4294" y="916836"/>
                          </a:cubicBezTo>
                          <a:cubicBezTo>
                            <a:pt x="-26840" y="639928"/>
                            <a:pt x="111439" y="464068"/>
                            <a:pt x="415134" y="393954"/>
                          </a:cubicBezTo>
                          <a:lnTo>
                            <a:pt x="536221" y="393954"/>
                          </a:lnTo>
                          <a:cubicBezTo>
                            <a:pt x="725924" y="476162"/>
                            <a:pt x="853259" y="684055"/>
                            <a:pt x="853259" y="912088"/>
                          </a:cubicBezTo>
                          <a:cubicBezTo>
                            <a:pt x="853259" y="1005690"/>
                            <a:pt x="832070" y="1098193"/>
                            <a:pt x="791990" y="1179651"/>
                          </a:cubicBezTo>
                          <a:cubicBezTo>
                            <a:pt x="784694" y="1194493"/>
                            <a:pt x="790841" y="1212484"/>
                            <a:pt x="805683" y="1219780"/>
                          </a:cubicBezTo>
                          <a:cubicBezTo>
                            <a:pt x="809931" y="1221879"/>
                            <a:pt x="814429" y="1222879"/>
                            <a:pt x="818876" y="1222879"/>
                          </a:cubicBezTo>
                          <a:cubicBezTo>
                            <a:pt x="829971" y="1222879"/>
                            <a:pt x="840615" y="1216732"/>
                            <a:pt x="845812" y="1206137"/>
                          </a:cubicBezTo>
                          <a:cubicBezTo>
                            <a:pt x="889940" y="1116483"/>
                            <a:pt x="913228" y="1014785"/>
                            <a:pt x="913228" y="912088"/>
                          </a:cubicBezTo>
                          <a:cubicBezTo>
                            <a:pt x="913228" y="785703"/>
                            <a:pt x="878895" y="664265"/>
                            <a:pt x="813979" y="560918"/>
                          </a:cubicBezTo>
                          <a:cubicBezTo>
                            <a:pt x="769052" y="489455"/>
                            <a:pt x="711781" y="430085"/>
                            <a:pt x="645615" y="385708"/>
                          </a:cubicBezTo>
                          <a:cubicBezTo>
                            <a:pt x="682796" y="373664"/>
                            <a:pt x="714330" y="349077"/>
                            <a:pt x="735319" y="316993"/>
                          </a:cubicBezTo>
                          <a:lnTo>
                            <a:pt x="855208" y="314345"/>
                          </a:lnTo>
                          <a:cubicBezTo>
                            <a:pt x="869450" y="314045"/>
                            <a:pt x="882943" y="311946"/>
                            <a:pt x="895787" y="308198"/>
                          </a:cubicBezTo>
                          <a:lnTo>
                            <a:pt x="895787" y="429336"/>
                          </a:lnTo>
                          <a:cubicBezTo>
                            <a:pt x="895787" y="445877"/>
                            <a:pt x="909230" y="459320"/>
                            <a:pt x="925771" y="459320"/>
                          </a:cubicBezTo>
                          <a:cubicBezTo>
                            <a:pt x="942313" y="459320"/>
                            <a:pt x="955756" y="445877"/>
                            <a:pt x="955756" y="429336"/>
                          </a:cubicBezTo>
                          <a:lnTo>
                            <a:pt x="955756" y="273066"/>
                          </a:lnTo>
                          <a:cubicBezTo>
                            <a:pt x="957505" y="271367"/>
                            <a:pt x="959254" y="269618"/>
                            <a:pt x="961003" y="267818"/>
                          </a:cubicBezTo>
                          <a:lnTo>
                            <a:pt x="1192784" y="25893"/>
                          </a:lnTo>
                          <a:cubicBezTo>
                            <a:pt x="1208526" y="9451"/>
                            <a:pt x="1230115" y="256"/>
                            <a:pt x="1253503" y="6"/>
                          </a:cubicBez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65" name="Graphic 164">
                      <a:extLst>
                        <a:ext uri="{FF2B5EF4-FFF2-40B4-BE49-F238E27FC236}">
                          <a16:creationId xmlns:a16="http://schemas.microsoft.com/office/drawing/2014/main" id="{BBDC29FF-B62B-DF19-749B-39B6AD2B61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58438" y="1141064"/>
                      <a:ext cx="561136" cy="565355"/>
                    </a:xfrm>
                    <a:prstGeom prst="rect">
                      <a:avLst/>
                    </a:prstGeom>
                  </p:spPr>
                </p:pic>
              </p:grpSp>
            </p:grpSp>
            <p:sp>
              <p:nvSpPr>
                <p:cNvPr id="186" name="Freeform: Shape 185">
                  <a:extLst>
                    <a:ext uri="{FF2B5EF4-FFF2-40B4-BE49-F238E27FC236}">
                      <a16:creationId xmlns:a16="http://schemas.microsoft.com/office/drawing/2014/main" id="{12FE6283-94CC-2D40-476A-AC497BD78E06}"/>
                    </a:ext>
                  </a:extLst>
                </p:cNvPr>
                <p:cNvSpPr/>
                <p:nvPr/>
              </p:nvSpPr>
              <p:spPr>
                <a:xfrm flipV="1">
                  <a:off x="4510910" y="3332178"/>
                  <a:ext cx="1145093" cy="230702"/>
                </a:xfrm>
                <a:custGeom>
                  <a:avLst/>
                  <a:gdLst>
                    <a:gd name="connsiteX0" fmla="*/ 0 w 1402916"/>
                    <a:gd name="connsiteY0" fmla="*/ 0 h 563671"/>
                    <a:gd name="connsiteX1" fmla="*/ 1402916 w 1402916"/>
                    <a:gd name="connsiteY1" fmla="*/ 0 h 563671"/>
                    <a:gd name="connsiteX2" fmla="*/ 1402916 w 1402916"/>
                    <a:gd name="connsiteY2" fmla="*/ 563671 h 563671"/>
                  </a:gdLst>
                  <a:ahLst/>
                  <a:cxnLst>
                    <a:cxn ang="0">
                      <a:pos x="connsiteX0" y="connsiteY0"/>
                    </a:cxn>
                    <a:cxn ang="0">
                      <a:pos x="connsiteX1" y="connsiteY1"/>
                    </a:cxn>
                    <a:cxn ang="0">
                      <a:pos x="connsiteX2" y="connsiteY2"/>
                    </a:cxn>
                  </a:cxnLst>
                  <a:rect l="l" t="t" r="r" b="b"/>
                  <a:pathLst>
                    <a:path w="1402916" h="563671">
                      <a:moveTo>
                        <a:pt x="0" y="0"/>
                      </a:moveTo>
                      <a:lnTo>
                        <a:pt x="1402916" y="0"/>
                      </a:lnTo>
                      <a:lnTo>
                        <a:pt x="1402916" y="563671"/>
                      </a:lnTo>
                    </a:path>
                  </a:pathLst>
                </a:custGeom>
                <a:noFill/>
                <a:ln w="34925" cap="rnd">
                  <a:solidFill>
                    <a:schemeClr val="accent2">
                      <a:lumMod val="75000"/>
                    </a:schemeClr>
                  </a:solidFill>
                  <a:prstDash val="sysDash"/>
                  <a:round/>
                  <a:tailEnd type="ova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Freeform: Shape 186">
                  <a:extLst>
                    <a:ext uri="{FF2B5EF4-FFF2-40B4-BE49-F238E27FC236}">
                      <a16:creationId xmlns:a16="http://schemas.microsoft.com/office/drawing/2014/main" id="{F66810ED-45E0-7FE6-0FDF-FF817184BACA}"/>
                    </a:ext>
                  </a:extLst>
                </p:cNvPr>
                <p:cNvSpPr/>
                <p:nvPr/>
              </p:nvSpPr>
              <p:spPr>
                <a:xfrm flipV="1">
                  <a:off x="5448784" y="3607091"/>
                  <a:ext cx="353917" cy="167794"/>
                </a:xfrm>
                <a:custGeom>
                  <a:avLst/>
                  <a:gdLst>
                    <a:gd name="connsiteX0" fmla="*/ 0 w 425884"/>
                    <a:gd name="connsiteY0" fmla="*/ 0 h 626302"/>
                    <a:gd name="connsiteX1" fmla="*/ 425884 w 425884"/>
                    <a:gd name="connsiteY1" fmla="*/ 0 h 626302"/>
                    <a:gd name="connsiteX2" fmla="*/ 425884 w 425884"/>
                    <a:gd name="connsiteY2" fmla="*/ 626302 h 626302"/>
                    <a:gd name="connsiteX0" fmla="*/ 0 w 425884"/>
                    <a:gd name="connsiteY0" fmla="*/ 0 h 626302"/>
                    <a:gd name="connsiteX1" fmla="*/ 73275 w 425884"/>
                    <a:gd name="connsiteY1" fmla="*/ 13277 h 626302"/>
                    <a:gd name="connsiteX2" fmla="*/ 425884 w 425884"/>
                    <a:gd name="connsiteY2" fmla="*/ 0 h 626302"/>
                    <a:gd name="connsiteX3" fmla="*/ 425884 w 425884"/>
                    <a:gd name="connsiteY3" fmla="*/ 626302 h 626302"/>
                    <a:gd name="connsiteX0" fmla="*/ 0 w 353917"/>
                    <a:gd name="connsiteY0" fmla="*/ 675731 h 675731"/>
                    <a:gd name="connsiteX1" fmla="*/ 1308 w 353917"/>
                    <a:gd name="connsiteY1" fmla="*/ 13277 h 675731"/>
                    <a:gd name="connsiteX2" fmla="*/ 353917 w 353917"/>
                    <a:gd name="connsiteY2" fmla="*/ 0 h 675731"/>
                    <a:gd name="connsiteX3" fmla="*/ 353917 w 353917"/>
                    <a:gd name="connsiteY3" fmla="*/ 626302 h 675731"/>
                    <a:gd name="connsiteX0" fmla="*/ 0 w 353917"/>
                    <a:gd name="connsiteY0" fmla="*/ 729789 h 729789"/>
                    <a:gd name="connsiteX1" fmla="*/ 1308 w 353917"/>
                    <a:gd name="connsiteY1" fmla="*/ 13277 h 729789"/>
                    <a:gd name="connsiteX2" fmla="*/ 353917 w 353917"/>
                    <a:gd name="connsiteY2" fmla="*/ 0 h 729789"/>
                    <a:gd name="connsiteX3" fmla="*/ 353917 w 353917"/>
                    <a:gd name="connsiteY3" fmla="*/ 626302 h 729789"/>
                  </a:gdLst>
                  <a:ahLst/>
                  <a:cxnLst>
                    <a:cxn ang="0">
                      <a:pos x="connsiteX0" y="connsiteY0"/>
                    </a:cxn>
                    <a:cxn ang="0">
                      <a:pos x="connsiteX1" y="connsiteY1"/>
                    </a:cxn>
                    <a:cxn ang="0">
                      <a:pos x="connsiteX2" y="connsiteY2"/>
                    </a:cxn>
                    <a:cxn ang="0">
                      <a:pos x="connsiteX3" y="connsiteY3"/>
                    </a:cxn>
                  </a:cxnLst>
                  <a:rect l="l" t="t" r="r" b="b"/>
                  <a:pathLst>
                    <a:path w="353917" h="729789">
                      <a:moveTo>
                        <a:pt x="0" y="729789"/>
                      </a:moveTo>
                      <a:lnTo>
                        <a:pt x="1308" y="13277"/>
                      </a:lnTo>
                      <a:lnTo>
                        <a:pt x="353917" y="0"/>
                      </a:lnTo>
                      <a:lnTo>
                        <a:pt x="353917" y="626302"/>
                      </a:lnTo>
                    </a:path>
                  </a:pathLst>
                </a:custGeom>
                <a:noFill/>
                <a:ln w="34925" cap="rnd">
                  <a:solidFill>
                    <a:schemeClr val="accent2">
                      <a:lumMod val="75000"/>
                    </a:schemeClr>
                  </a:solidFill>
                  <a:prstDash val="sysDash"/>
                  <a:round/>
                  <a:tailEnd type="ova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4" name="Title 3">
            <a:extLst>
              <a:ext uri="{FF2B5EF4-FFF2-40B4-BE49-F238E27FC236}">
                <a16:creationId xmlns:a16="http://schemas.microsoft.com/office/drawing/2014/main" id="{0CB76661-5EEB-DEBA-638C-A487F06E8D53}"/>
              </a:ext>
            </a:extLst>
          </p:cNvPr>
          <p:cNvSpPr>
            <a:spLocks noGrp="1"/>
          </p:cNvSpPr>
          <p:nvPr>
            <p:ph type="title"/>
          </p:nvPr>
        </p:nvSpPr>
        <p:spPr>
          <a:xfrm>
            <a:off x="613152" y="195684"/>
            <a:ext cx="10969218" cy="842156"/>
          </a:xfrm>
        </p:spPr>
        <p:txBody>
          <a:bodyPr vert="horz" wrap="square" lIns="0" tIns="0" rIns="0" bIns="0" rtlCol="0" anchor="t">
            <a:spAutoFit/>
          </a:bodyPr>
          <a:lstStyle/>
          <a:p>
            <a:r>
              <a:rPr lang="en-GB" dirty="0" err="1"/>
              <a:t>Altta</a:t>
            </a:r>
            <a:r>
              <a:rPr lang="en-GB" dirty="0"/>
              <a:t> </a:t>
            </a:r>
            <a:r>
              <a:rPr lang="en-GB" dirty="0" err="1"/>
              <a:t>yatan</a:t>
            </a:r>
            <a:r>
              <a:rPr lang="en-GB" dirty="0"/>
              <a:t> </a:t>
            </a:r>
            <a:r>
              <a:rPr lang="en-GB" dirty="0" err="1"/>
              <a:t>kronik</a:t>
            </a:r>
            <a:r>
              <a:rPr lang="en-GB" dirty="0"/>
              <a:t> </a:t>
            </a:r>
            <a:r>
              <a:rPr lang="tr-TR" dirty="0"/>
              <a:t>hastalıklar</a:t>
            </a:r>
            <a:r>
              <a:rPr lang="en-GB" dirty="0"/>
              <a:t>, </a:t>
            </a:r>
            <a:r>
              <a:rPr lang="en-GB" dirty="0" err="1"/>
              <a:t>solunum</a:t>
            </a:r>
            <a:r>
              <a:rPr lang="en-GB" dirty="0"/>
              <a:t> </a:t>
            </a:r>
            <a:r>
              <a:rPr lang="en-GB" dirty="0" err="1"/>
              <a:t>yolu</a:t>
            </a:r>
            <a:r>
              <a:rPr lang="en-GB" dirty="0"/>
              <a:t> </a:t>
            </a:r>
            <a:r>
              <a:rPr lang="en-GB" dirty="0" err="1"/>
              <a:t>enfeksiyonları</a:t>
            </a:r>
            <a:r>
              <a:rPr lang="en-GB" dirty="0"/>
              <a:t> </a:t>
            </a:r>
            <a:r>
              <a:rPr lang="en-GB" dirty="0" err="1"/>
              <a:t>ile</a:t>
            </a:r>
            <a:r>
              <a:rPr lang="en-GB" dirty="0"/>
              <a:t> </a:t>
            </a:r>
            <a:r>
              <a:rPr lang="en-GB" dirty="0" err="1"/>
              <a:t>kötüleşebilir</a:t>
            </a:r>
            <a:r>
              <a:rPr lang="en-GB" dirty="0"/>
              <a:t>.</a:t>
            </a:r>
          </a:p>
        </p:txBody>
      </p:sp>
      <p:sp>
        <p:nvSpPr>
          <p:cNvPr id="2" name="Slide Number Placeholder 1">
            <a:extLst>
              <a:ext uri="{FF2B5EF4-FFF2-40B4-BE49-F238E27FC236}">
                <a16:creationId xmlns:a16="http://schemas.microsoft.com/office/drawing/2014/main" id="{F810FDFD-219F-7038-DC29-453E97CB7130}"/>
              </a:ext>
            </a:extLst>
          </p:cNvPr>
          <p:cNvSpPr>
            <a:spLocks noGrp="1"/>
          </p:cNvSpPr>
          <p:nvPr>
            <p:ph type="sldNum" sz="quarter" idx="4"/>
          </p:nvPr>
        </p:nvSpPr>
        <p:spPr>
          <a:xfrm>
            <a:off x="10438834" y="6508427"/>
            <a:ext cx="1143536" cy="153889"/>
          </a:xfrm>
        </p:spPr>
        <p:txBody>
          <a:bodyPr/>
          <a:lstStyle/>
          <a:p>
            <a:pPr lvl="0"/>
            <a:fld id="{2B39012A-6F33-204B-8224-A57BEFB0AAD0}" type="slidenum">
              <a:rPr lang="en-US" noProof="0" smtClean="0"/>
              <a:pPr lvl="0"/>
              <a:t>10</a:t>
            </a:fld>
            <a:endParaRPr lang="en-US" noProof="0"/>
          </a:p>
        </p:txBody>
      </p:sp>
      <p:grpSp>
        <p:nvGrpSpPr>
          <p:cNvPr id="178" name="Group 177">
            <a:extLst>
              <a:ext uri="{FF2B5EF4-FFF2-40B4-BE49-F238E27FC236}">
                <a16:creationId xmlns:a16="http://schemas.microsoft.com/office/drawing/2014/main" id="{D93E9074-B430-27C4-10F3-48F9CEACE904}"/>
              </a:ext>
            </a:extLst>
          </p:cNvPr>
          <p:cNvGrpSpPr/>
          <p:nvPr/>
        </p:nvGrpSpPr>
        <p:grpSpPr>
          <a:xfrm>
            <a:off x="7687388" y="1998212"/>
            <a:ext cx="3519200" cy="1362471"/>
            <a:chOff x="1245551" y="1199958"/>
            <a:chExt cx="3519200" cy="1362471"/>
          </a:xfrm>
        </p:grpSpPr>
        <p:sp>
          <p:nvSpPr>
            <p:cNvPr id="6" name="TextBox 5">
              <a:extLst>
                <a:ext uri="{FF2B5EF4-FFF2-40B4-BE49-F238E27FC236}">
                  <a16:creationId xmlns:a16="http://schemas.microsoft.com/office/drawing/2014/main" id="{D51C0EC8-7ED7-DCB8-AC03-957E815B0409}"/>
                </a:ext>
              </a:extLst>
            </p:cNvPr>
            <p:cNvSpPr txBox="1"/>
            <p:nvPr/>
          </p:nvSpPr>
          <p:spPr>
            <a:xfrm>
              <a:off x="1245551" y="1199958"/>
              <a:ext cx="3519200" cy="1362471"/>
            </a:xfrm>
            <a:prstGeom prst="roundRect">
              <a:avLst>
                <a:gd name="adj" fmla="val 13015"/>
              </a:avLst>
            </a:prstGeom>
            <a:solidFill>
              <a:srgbClr val="00897C"/>
            </a:solidFill>
          </p:spPr>
          <p:txBody>
            <a:bodyPr wrap="none" lIns="18288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mj-lt"/>
                  <a:ea typeface="+mn-ea"/>
                  <a:cs typeface="+mn-cs"/>
                </a:rPr>
                <a:t>Pnömokok hastalığı</a:t>
              </a:r>
              <a:endParaRPr kumimoji="0" lang="en-US" sz="1800" b="1" i="0" u="none" strike="noStrike" kern="1200" cap="none" spc="0" normalizeH="0" baseline="30000" noProof="0">
                <a:ln>
                  <a:noFill/>
                </a:ln>
                <a:solidFill>
                  <a:srgbClr val="FFFFFF"/>
                </a:solidFill>
                <a:effectLst/>
                <a:uLnTx/>
                <a:uFillTx/>
                <a:latin typeface="+mj-lt"/>
                <a:ea typeface="+mn-ea"/>
                <a:cs typeface="+mn-cs"/>
              </a:endParaRPr>
            </a:p>
          </p:txBody>
        </p:sp>
        <p:sp>
          <p:nvSpPr>
            <p:cNvPr id="7" name="TextBox 6">
              <a:extLst>
                <a:ext uri="{FF2B5EF4-FFF2-40B4-BE49-F238E27FC236}">
                  <a16:creationId xmlns:a16="http://schemas.microsoft.com/office/drawing/2014/main" id="{358FB4BE-64F1-39B1-17D3-CE067346C780}"/>
                </a:ext>
              </a:extLst>
            </p:cNvPr>
            <p:cNvSpPr txBox="1"/>
            <p:nvPr/>
          </p:nvSpPr>
          <p:spPr bwMode="gray">
            <a:xfrm>
              <a:off x="1483511" y="1600922"/>
              <a:ext cx="2914516" cy="707144"/>
            </a:xfrm>
            <a:prstGeom prst="rect">
              <a:avLst/>
            </a:prstGeom>
            <a:noFill/>
            <a:ln w="19050">
              <a:noFill/>
            </a:ln>
          </p:spPr>
          <p:txBody>
            <a:bodyPr spcFirstLastPara="1" wrap="square" lIns="0" tIns="0" rIns="0" bIns="0" rtlCol="0" anchor="t" anchorCtr="0">
              <a:noAutofit/>
            </a:bodyPr>
            <a:lstStyle/>
            <a:p>
              <a:pPr>
                <a:spcAft>
                  <a:spcPts val="200"/>
                </a:spcAft>
                <a:defRPr/>
              </a:pPr>
              <a:r>
                <a:rPr lang="en-GB" sz="1400" b="1" err="1">
                  <a:solidFill>
                    <a:schemeClr val="bg1"/>
                  </a:solidFill>
                </a:rPr>
                <a:t>Toplum</a:t>
              </a:r>
              <a:r>
                <a:rPr lang="en-GB" sz="1400" b="1">
                  <a:solidFill>
                    <a:schemeClr val="bg1"/>
                  </a:solidFill>
                </a:rPr>
                <a:t> </a:t>
              </a:r>
              <a:r>
                <a:rPr lang="en-GB" sz="1400" b="1" err="1">
                  <a:solidFill>
                    <a:schemeClr val="bg1"/>
                  </a:solidFill>
                </a:rPr>
                <a:t>kökenli</a:t>
              </a:r>
              <a:r>
                <a:rPr lang="en-GB" sz="1400" b="1">
                  <a:solidFill>
                    <a:schemeClr val="bg1"/>
                  </a:solidFill>
                </a:rPr>
                <a:t> </a:t>
              </a:r>
              <a:r>
                <a:rPr lang="en-GB" sz="1400" b="1" err="1">
                  <a:solidFill>
                    <a:schemeClr val="bg1"/>
                  </a:solidFill>
                </a:rPr>
                <a:t>pnömoni</a:t>
              </a:r>
              <a:r>
                <a:rPr lang="en-GB" sz="1400" b="1">
                  <a:solidFill>
                    <a:schemeClr val="bg1"/>
                  </a:solidFill>
                </a:rPr>
                <a:t> </a:t>
              </a:r>
              <a:r>
                <a:rPr lang="en-GB" sz="1400" b="1" err="1">
                  <a:solidFill>
                    <a:schemeClr val="bg1"/>
                  </a:solidFill>
                </a:rPr>
                <a:t>tanısı</a:t>
              </a:r>
              <a:r>
                <a:rPr lang="en-GB" sz="1400" b="1">
                  <a:solidFill>
                    <a:schemeClr val="bg1"/>
                  </a:solidFill>
                </a:rPr>
                <a:t> yeni </a:t>
              </a:r>
              <a:r>
                <a:rPr lang="en-GB" sz="1400" b="1" err="1">
                  <a:solidFill>
                    <a:schemeClr val="bg1"/>
                  </a:solidFill>
                </a:rPr>
                <a:t>konmuş</a:t>
              </a:r>
              <a:r>
                <a:rPr lang="en-GB" sz="1400" b="1">
                  <a:solidFill>
                    <a:schemeClr val="bg1"/>
                  </a:solidFill>
                </a:rPr>
                <a:t> </a:t>
              </a:r>
              <a:r>
                <a:rPr lang="en-GB" sz="1400" b="1" err="1">
                  <a:solidFill>
                    <a:schemeClr val="bg1"/>
                  </a:solidFill>
                </a:rPr>
                <a:t>hastalarda</a:t>
              </a:r>
              <a:r>
                <a:rPr lang="en-GB" sz="1400" b="1">
                  <a:solidFill>
                    <a:schemeClr val="bg1"/>
                  </a:solidFill>
                </a:rPr>
                <a:t> </a:t>
              </a:r>
              <a:r>
                <a:rPr lang="en-GB" sz="1400" b="1" err="1">
                  <a:solidFill>
                    <a:schemeClr val="bg1"/>
                  </a:solidFill>
                </a:rPr>
                <a:t>mevcut</a:t>
              </a:r>
              <a:r>
                <a:rPr lang="en-GB" sz="1400" b="1">
                  <a:solidFill>
                    <a:schemeClr val="bg1"/>
                  </a:solidFill>
                </a:rPr>
                <a:t> KOAH, </a:t>
              </a:r>
              <a:r>
                <a:rPr lang="en-GB" sz="1400" b="1" err="1">
                  <a:solidFill>
                    <a:schemeClr val="bg1"/>
                  </a:solidFill>
                </a:rPr>
                <a:t>astım</a:t>
              </a:r>
              <a:r>
                <a:rPr lang="en-GB" sz="1400" b="1">
                  <a:solidFill>
                    <a:schemeClr val="bg1"/>
                  </a:solidFill>
                </a:rPr>
                <a:t> </a:t>
              </a:r>
              <a:r>
                <a:rPr lang="en-GB" sz="1400" b="1" err="1">
                  <a:solidFill>
                    <a:schemeClr val="bg1"/>
                  </a:solidFill>
                </a:rPr>
                <a:t>ve</a:t>
              </a:r>
              <a:r>
                <a:rPr lang="en-GB" sz="1400" b="1">
                  <a:solidFill>
                    <a:schemeClr val="bg1"/>
                  </a:solidFill>
                </a:rPr>
                <a:t> </a:t>
              </a:r>
              <a:r>
                <a:rPr lang="en-GB" sz="1400" b="1" err="1">
                  <a:solidFill>
                    <a:schemeClr val="bg1"/>
                  </a:solidFill>
                </a:rPr>
                <a:t>hipertansiyonun</a:t>
              </a:r>
              <a:r>
                <a:rPr lang="en-GB" sz="1400" b="1">
                  <a:solidFill>
                    <a:schemeClr val="bg1"/>
                  </a:solidFill>
                </a:rPr>
                <a:t> </a:t>
              </a:r>
              <a:r>
                <a:rPr lang="en-GB" sz="1400" b="1" err="1">
                  <a:solidFill>
                    <a:schemeClr val="bg1"/>
                  </a:solidFill>
                </a:rPr>
                <a:t>kötüleştiği</a:t>
              </a:r>
              <a:r>
                <a:rPr lang="en-GB" sz="1400" b="1">
                  <a:solidFill>
                    <a:schemeClr val="bg1"/>
                  </a:solidFill>
                </a:rPr>
                <a:t> </a:t>
              </a:r>
              <a:r>
                <a:rPr lang="en-GB" sz="1400" b="1" err="1">
                  <a:solidFill>
                    <a:schemeClr val="bg1"/>
                  </a:solidFill>
                </a:rPr>
                <a:t>bildirilmiştir</a:t>
              </a:r>
              <a:r>
                <a:rPr lang="en-GB" sz="1400" b="1">
                  <a:solidFill>
                    <a:schemeClr val="bg1"/>
                  </a:solidFill>
                </a:rPr>
                <a:t>. </a:t>
              </a:r>
              <a:r>
                <a:rPr lang="en-GB" sz="1400">
                  <a:solidFill>
                    <a:schemeClr val="bg1"/>
                  </a:solidFill>
                </a:rPr>
                <a:t>*</a:t>
              </a:r>
              <a:r>
                <a:rPr lang="en-GB" sz="1400" baseline="30000">
                  <a:solidFill>
                    <a:schemeClr val="bg1"/>
                  </a:solidFill>
                </a:rPr>
                <a:t>2</a:t>
              </a:r>
              <a:endParaRPr lang="en-GB" sz="1400" b="1">
                <a:solidFill>
                  <a:schemeClr val="bg1"/>
                </a:solidFill>
              </a:endParaRPr>
            </a:p>
          </p:txBody>
        </p:sp>
      </p:grpSp>
      <p:grpSp>
        <p:nvGrpSpPr>
          <p:cNvPr id="177" name="Group 176">
            <a:extLst>
              <a:ext uri="{FF2B5EF4-FFF2-40B4-BE49-F238E27FC236}">
                <a16:creationId xmlns:a16="http://schemas.microsoft.com/office/drawing/2014/main" id="{C0EE819A-6B82-EB4D-F45D-B51CFB11C1AB}"/>
              </a:ext>
            </a:extLst>
          </p:cNvPr>
          <p:cNvGrpSpPr/>
          <p:nvPr/>
        </p:nvGrpSpPr>
        <p:grpSpPr>
          <a:xfrm>
            <a:off x="7699019" y="3548756"/>
            <a:ext cx="3519660" cy="1362456"/>
            <a:chOff x="5567194" y="1124803"/>
            <a:chExt cx="3519660" cy="1362456"/>
          </a:xfrm>
        </p:grpSpPr>
        <p:sp>
          <p:nvSpPr>
            <p:cNvPr id="15" name="TextBox 14">
              <a:extLst>
                <a:ext uri="{FF2B5EF4-FFF2-40B4-BE49-F238E27FC236}">
                  <a16:creationId xmlns:a16="http://schemas.microsoft.com/office/drawing/2014/main" id="{A3B79FA7-EF5B-24DD-C658-308E521A188C}"/>
                </a:ext>
              </a:extLst>
            </p:cNvPr>
            <p:cNvSpPr txBox="1"/>
            <p:nvPr/>
          </p:nvSpPr>
          <p:spPr>
            <a:xfrm>
              <a:off x="5567194" y="1124803"/>
              <a:ext cx="3519660" cy="1362456"/>
            </a:xfrm>
            <a:prstGeom prst="roundRect">
              <a:avLst>
                <a:gd name="adj" fmla="val 10689"/>
              </a:avLst>
            </a:prstGeom>
            <a:solidFill>
              <a:srgbClr val="0000C9"/>
            </a:solidFill>
          </p:spPr>
          <p:txBody>
            <a:bodyPr wrap="none" lIns="18288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solidFill>
                    <a:srgbClr val="FFFFFF"/>
                  </a:solidFill>
                  <a:latin typeface="Pfizer Tomorrow"/>
                </a:rPr>
                <a:t>İnfluenza</a:t>
              </a:r>
              <a:endParaRPr kumimoji="0" lang="en-US" sz="1800" b="1" i="0" u="none" strike="noStrike" kern="1200" cap="none" spc="0" normalizeH="0" baseline="30000" noProof="0">
                <a:ln>
                  <a:noFill/>
                </a:ln>
                <a:solidFill>
                  <a:srgbClr val="FFFFFF"/>
                </a:solidFill>
                <a:effectLst/>
                <a:uLnTx/>
                <a:uFillTx/>
                <a:latin typeface="Pfizer Tomorrow"/>
                <a:ea typeface="+mn-ea"/>
                <a:cs typeface="+mn-cs"/>
              </a:endParaRPr>
            </a:p>
          </p:txBody>
        </p:sp>
        <p:sp>
          <p:nvSpPr>
            <p:cNvPr id="41" name="TextBox 40">
              <a:extLst>
                <a:ext uri="{FF2B5EF4-FFF2-40B4-BE49-F238E27FC236}">
                  <a16:creationId xmlns:a16="http://schemas.microsoft.com/office/drawing/2014/main" id="{EDA6BA60-96C4-BC39-AE63-D8683F3548D0}"/>
                </a:ext>
              </a:extLst>
            </p:cNvPr>
            <p:cNvSpPr txBox="1"/>
            <p:nvPr/>
          </p:nvSpPr>
          <p:spPr bwMode="gray">
            <a:xfrm>
              <a:off x="5799968" y="1395831"/>
              <a:ext cx="3042531" cy="845673"/>
            </a:xfrm>
            <a:prstGeom prst="rect">
              <a:avLst/>
            </a:prstGeom>
            <a:noFill/>
            <a:ln w="19050">
              <a:noFill/>
            </a:ln>
          </p:spPr>
          <p:txBody>
            <a:bodyPr spcFirstLastPara="1" wrap="square" lIns="0" tIns="0" rIns="0" bIns="0" rtlCol="0" anchor="t" anchorCtr="0">
              <a:noAutofit/>
            </a:bodyPr>
            <a:lstStyle/>
            <a:p>
              <a:pPr>
                <a:lnSpc>
                  <a:spcPct val="90000"/>
                </a:lnSpc>
                <a:spcBef>
                  <a:spcPts val="600"/>
                </a:spcBef>
                <a:defRPr/>
              </a:pPr>
              <a:r>
                <a:rPr lang="en-GB" sz="1400">
                  <a:solidFill>
                    <a:schemeClr val="bg1"/>
                  </a:solidFill>
                </a:rPr>
                <a:t>İnfluenza </a:t>
              </a:r>
              <a:r>
                <a:rPr lang="en-GB" sz="1400" err="1">
                  <a:solidFill>
                    <a:schemeClr val="bg1"/>
                  </a:solidFill>
                </a:rPr>
                <a:t>virüsleri</a:t>
              </a:r>
              <a:r>
                <a:rPr lang="en-GB" sz="1400">
                  <a:solidFill>
                    <a:schemeClr val="bg1"/>
                  </a:solidFill>
                </a:rPr>
                <a:t>, KOAH </a:t>
              </a:r>
              <a:r>
                <a:rPr lang="en-GB" sz="1400" err="1">
                  <a:solidFill>
                    <a:schemeClr val="bg1"/>
                  </a:solidFill>
                </a:rPr>
                <a:t>alevlenmeleri</a:t>
              </a:r>
              <a:r>
                <a:rPr lang="en-GB" sz="1400">
                  <a:solidFill>
                    <a:schemeClr val="bg1"/>
                  </a:solidFill>
                </a:rPr>
                <a:t>, </a:t>
              </a:r>
              <a:r>
                <a:rPr lang="en-GB" sz="1400" err="1">
                  <a:solidFill>
                    <a:schemeClr val="bg1"/>
                  </a:solidFill>
                </a:rPr>
                <a:t>ventilasyon</a:t>
              </a:r>
              <a:r>
                <a:rPr lang="en-GB" sz="1400">
                  <a:solidFill>
                    <a:schemeClr val="bg1"/>
                  </a:solidFill>
                </a:rPr>
                <a:t> </a:t>
              </a:r>
              <a:r>
                <a:rPr lang="en-GB" sz="1400" err="1">
                  <a:solidFill>
                    <a:schemeClr val="bg1"/>
                  </a:solidFill>
                </a:rPr>
                <a:t>gerektirmeyen</a:t>
              </a:r>
              <a:r>
                <a:rPr lang="en-GB" sz="1400">
                  <a:solidFill>
                    <a:schemeClr val="bg1"/>
                  </a:solidFill>
                </a:rPr>
                <a:t> </a:t>
              </a:r>
              <a:r>
                <a:rPr lang="en-GB" sz="1400" err="1">
                  <a:solidFill>
                    <a:schemeClr val="bg1"/>
                  </a:solidFill>
                </a:rPr>
                <a:t>hastane</a:t>
              </a:r>
              <a:r>
                <a:rPr lang="en-GB" sz="1400">
                  <a:solidFill>
                    <a:schemeClr val="bg1"/>
                  </a:solidFill>
                </a:rPr>
                <a:t> </a:t>
              </a:r>
              <a:r>
                <a:rPr lang="en-GB" sz="1400" err="1">
                  <a:solidFill>
                    <a:schemeClr val="bg1"/>
                  </a:solidFill>
                </a:rPr>
                <a:t>kaynaklı</a:t>
              </a:r>
              <a:r>
                <a:rPr lang="en-GB" sz="1400">
                  <a:solidFill>
                    <a:schemeClr val="bg1"/>
                  </a:solidFill>
                </a:rPr>
                <a:t> </a:t>
              </a:r>
              <a:r>
                <a:rPr lang="en-GB" sz="1400" err="1">
                  <a:solidFill>
                    <a:schemeClr val="bg1"/>
                  </a:solidFill>
                </a:rPr>
                <a:t>pnömoni</a:t>
              </a:r>
              <a:r>
                <a:rPr lang="en-GB" sz="1400">
                  <a:solidFill>
                    <a:schemeClr val="bg1"/>
                  </a:solidFill>
                </a:rPr>
                <a:t> </a:t>
              </a:r>
              <a:r>
                <a:rPr lang="en-GB" sz="1400" err="1">
                  <a:solidFill>
                    <a:schemeClr val="bg1"/>
                  </a:solidFill>
                </a:rPr>
                <a:t>ve</a:t>
              </a:r>
              <a:r>
                <a:rPr lang="en-GB" sz="1400">
                  <a:solidFill>
                    <a:schemeClr val="bg1"/>
                  </a:solidFill>
                </a:rPr>
                <a:t> </a:t>
              </a:r>
              <a:r>
                <a:rPr lang="en-GB" sz="1400" err="1">
                  <a:solidFill>
                    <a:schemeClr val="bg1"/>
                  </a:solidFill>
                </a:rPr>
                <a:t>akut</a:t>
              </a:r>
              <a:r>
                <a:rPr lang="en-GB" sz="1400">
                  <a:solidFill>
                    <a:schemeClr val="bg1"/>
                  </a:solidFill>
                </a:rPr>
                <a:t> </a:t>
              </a:r>
              <a:r>
                <a:rPr lang="en-GB" sz="1400" err="1">
                  <a:solidFill>
                    <a:schemeClr val="bg1"/>
                  </a:solidFill>
                </a:rPr>
                <a:t>solunum</a:t>
              </a:r>
              <a:r>
                <a:rPr lang="en-GB" sz="1400">
                  <a:solidFill>
                    <a:schemeClr val="bg1"/>
                  </a:solidFill>
                </a:rPr>
                <a:t> </a:t>
              </a:r>
              <a:r>
                <a:rPr lang="en-GB" sz="1400" err="1">
                  <a:solidFill>
                    <a:schemeClr val="bg1"/>
                  </a:solidFill>
                </a:rPr>
                <a:t>sıkıntısı</a:t>
              </a:r>
              <a:r>
                <a:rPr lang="en-GB" sz="1400">
                  <a:solidFill>
                    <a:schemeClr val="bg1"/>
                  </a:solidFill>
                </a:rPr>
                <a:t> </a:t>
              </a:r>
              <a:r>
                <a:rPr lang="en-GB" sz="1400" err="1">
                  <a:solidFill>
                    <a:schemeClr val="bg1"/>
                  </a:solidFill>
                </a:rPr>
                <a:t>sendromunda</a:t>
              </a:r>
              <a:r>
                <a:rPr lang="en-GB" sz="1400">
                  <a:solidFill>
                    <a:schemeClr val="bg1"/>
                  </a:solidFill>
                </a:rPr>
                <a:t> </a:t>
              </a:r>
              <a:r>
                <a:rPr lang="en-GB" sz="1400" err="1">
                  <a:solidFill>
                    <a:schemeClr val="bg1"/>
                  </a:solidFill>
                </a:rPr>
                <a:t>rol</a:t>
              </a:r>
              <a:r>
                <a:rPr lang="en-GB" sz="1400">
                  <a:solidFill>
                    <a:schemeClr val="bg1"/>
                  </a:solidFill>
                </a:rPr>
                <a:t> </a:t>
              </a:r>
              <a:r>
                <a:rPr lang="en-GB" sz="1400" err="1">
                  <a:solidFill>
                    <a:schemeClr val="bg1"/>
                  </a:solidFill>
                </a:rPr>
                <a:t>oynar</a:t>
              </a:r>
              <a:r>
                <a:rPr lang="en-GB" sz="1400">
                  <a:solidFill>
                    <a:schemeClr val="bg1"/>
                  </a:solidFill>
                </a:rPr>
                <a:t>.</a:t>
              </a:r>
              <a:r>
                <a:rPr lang="en-GB" sz="1400" baseline="30000">
                  <a:solidFill>
                    <a:schemeClr val="bg1"/>
                  </a:solidFill>
                </a:rPr>
                <a:t> 5</a:t>
              </a:r>
              <a:r>
                <a:rPr lang="en-GB" sz="1400">
                  <a:solidFill>
                    <a:schemeClr val="bg1"/>
                  </a:solidFill>
                </a:rPr>
                <a:t> </a:t>
              </a:r>
            </a:p>
          </p:txBody>
        </p:sp>
      </p:grpSp>
      <p:sp>
        <p:nvSpPr>
          <p:cNvPr id="169" name="Oval 168">
            <a:extLst>
              <a:ext uri="{FF2B5EF4-FFF2-40B4-BE49-F238E27FC236}">
                <a16:creationId xmlns:a16="http://schemas.microsoft.com/office/drawing/2014/main" id="{8F200CF0-6882-05D6-EF46-91E6B49ACE0C}"/>
              </a:ext>
            </a:extLst>
          </p:cNvPr>
          <p:cNvSpPr/>
          <p:nvPr/>
        </p:nvSpPr>
        <p:spPr>
          <a:xfrm>
            <a:off x="10976484" y="1948546"/>
            <a:ext cx="630449" cy="630449"/>
          </a:xfrm>
          <a:prstGeom prst="ellipse">
            <a:avLst/>
          </a:prstGeom>
          <a:solidFill>
            <a:schemeClr val="bg1"/>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6" name="Group 175">
            <a:extLst>
              <a:ext uri="{FF2B5EF4-FFF2-40B4-BE49-F238E27FC236}">
                <a16:creationId xmlns:a16="http://schemas.microsoft.com/office/drawing/2014/main" id="{A9A5B624-431C-0BF8-BB21-6E88CF80D44B}"/>
              </a:ext>
            </a:extLst>
          </p:cNvPr>
          <p:cNvGrpSpPr/>
          <p:nvPr/>
        </p:nvGrpSpPr>
        <p:grpSpPr>
          <a:xfrm>
            <a:off x="10978232" y="3505867"/>
            <a:ext cx="630449" cy="630449"/>
            <a:chOff x="5805936" y="1009374"/>
            <a:chExt cx="759021" cy="759021"/>
          </a:xfrm>
        </p:grpSpPr>
        <p:sp>
          <p:nvSpPr>
            <p:cNvPr id="173" name="Oval 172">
              <a:extLst>
                <a:ext uri="{FF2B5EF4-FFF2-40B4-BE49-F238E27FC236}">
                  <a16:creationId xmlns:a16="http://schemas.microsoft.com/office/drawing/2014/main" id="{EE029902-099A-F950-1516-1516B749FEF7}"/>
                </a:ext>
              </a:extLst>
            </p:cNvPr>
            <p:cNvSpPr/>
            <p:nvPr/>
          </p:nvSpPr>
          <p:spPr>
            <a:xfrm>
              <a:off x="5805936" y="1009374"/>
              <a:ext cx="759021" cy="759021"/>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0" name="Graphic 99">
              <a:extLst>
                <a:ext uri="{FF2B5EF4-FFF2-40B4-BE49-F238E27FC236}">
                  <a16:creationId xmlns:a16="http://schemas.microsoft.com/office/drawing/2014/main" id="{E9BFA5CE-FDE0-6935-9301-24C57A61F09C}"/>
                </a:ext>
              </a:extLst>
            </p:cNvPr>
            <p:cNvGrpSpPr/>
            <p:nvPr/>
          </p:nvGrpSpPr>
          <p:grpSpPr>
            <a:xfrm>
              <a:off x="5945651" y="1136601"/>
              <a:ext cx="492527" cy="511452"/>
              <a:chOff x="14651672" y="365569"/>
              <a:chExt cx="4240529" cy="4241482"/>
            </a:xfrm>
            <a:solidFill>
              <a:srgbClr val="0000C9"/>
            </a:solidFill>
          </p:grpSpPr>
          <p:sp>
            <p:nvSpPr>
              <p:cNvPr id="131" name="Freeform: Shape 130">
                <a:extLst>
                  <a:ext uri="{FF2B5EF4-FFF2-40B4-BE49-F238E27FC236}">
                    <a16:creationId xmlns:a16="http://schemas.microsoft.com/office/drawing/2014/main" id="{053A6730-9AF9-9CD2-A7DF-9960B18C2236}"/>
                  </a:ext>
                </a:extLst>
              </p:cNvPr>
              <p:cNvSpPr/>
              <p:nvPr/>
            </p:nvSpPr>
            <p:spPr>
              <a:xfrm>
                <a:off x="17117694" y="1968627"/>
                <a:ext cx="259080" cy="259079"/>
              </a:xfrm>
              <a:custGeom>
                <a:avLst/>
                <a:gdLst>
                  <a:gd name="connsiteX0" fmla="*/ 259080 w 259080"/>
                  <a:gd name="connsiteY0" fmla="*/ 129540 h 259079"/>
                  <a:gd name="connsiteX1" fmla="*/ 129540 w 259080"/>
                  <a:gd name="connsiteY1" fmla="*/ 259080 h 259079"/>
                  <a:gd name="connsiteX2" fmla="*/ 0 w 259080"/>
                  <a:gd name="connsiteY2" fmla="*/ 129540 h 259079"/>
                  <a:gd name="connsiteX3" fmla="*/ 129540 w 259080"/>
                  <a:gd name="connsiteY3" fmla="*/ 0 h 259079"/>
                  <a:gd name="connsiteX4" fmla="*/ 259080 w 259080"/>
                  <a:gd name="connsiteY4" fmla="*/ 129540 h 259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80" h="259079">
                    <a:moveTo>
                      <a:pt x="259080" y="129540"/>
                    </a:moveTo>
                    <a:cubicBezTo>
                      <a:pt x="259080" y="201083"/>
                      <a:pt x="201083" y="259080"/>
                      <a:pt x="129540" y="259080"/>
                    </a:cubicBezTo>
                    <a:cubicBezTo>
                      <a:pt x="57997" y="259080"/>
                      <a:pt x="0" y="201083"/>
                      <a:pt x="0" y="129540"/>
                    </a:cubicBezTo>
                    <a:cubicBezTo>
                      <a:pt x="0" y="57997"/>
                      <a:pt x="57997" y="0"/>
                      <a:pt x="129540" y="0"/>
                    </a:cubicBezTo>
                    <a:cubicBezTo>
                      <a:pt x="201083" y="0"/>
                      <a:pt x="259080" y="57997"/>
                      <a:pt x="259080" y="129540"/>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32" name="Freeform: Shape 131">
                <a:extLst>
                  <a:ext uri="{FF2B5EF4-FFF2-40B4-BE49-F238E27FC236}">
                    <a16:creationId xmlns:a16="http://schemas.microsoft.com/office/drawing/2014/main" id="{44E78A7C-D87B-2C0E-3F2F-AFFC77BF573C}"/>
                  </a:ext>
                </a:extLst>
              </p:cNvPr>
              <p:cNvSpPr/>
              <p:nvPr/>
            </p:nvSpPr>
            <p:spPr>
              <a:xfrm>
                <a:off x="16167099" y="2919222"/>
                <a:ext cx="259079" cy="259080"/>
              </a:xfrm>
              <a:custGeom>
                <a:avLst/>
                <a:gdLst>
                  <a:gd name="connsiteX0" fmla="*/ 259080 w 259079"/>
                  <a:gd name="connsiteY0" fmla="*/ 129540 h 259080"/>
                  <a:gd name="connsiteX1" fmla="*/ 129540 w 259079"/>
                  <a:gd name="connsiteY1" fmla="*/ 259080 h 259080"/>
                  <a:gd name="connsiteX2" fmla="*/ 0 w 259079"/>
                  <a:gd name="connsiteY2" fmla="*/ 129540 h 259080"/>
                  <a:gd name="connsiteX3" fmla="*/ 129540 w 259079"/>
                  <a:gd name="connsiteY3" fmla="*/ 0 h 259080"/>
                  <a:gd name="connsiteX4" fmla="*/ 259080 w 259079"/>
                  <a:gd name="connsiteY4" fmla="*/ 129540 h 259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79" h="259080">
                    <a:moveTo>
                      <a:pt x="259080" y="129540"/>
                    </a:moveTo>
                    <a:cubicBezTo>
                      <a:pt x="259080" y="201083"/>
                      <a:pt x="201083" y="259080"/>
                      <a:pt x="129540" y="259080"/>
                    </a:cubicBezTo>
                    <a:cubicBezTo>
                      <a:pt x="57997" y="259080"/>
                      <a:pt x="0" y="201083"/>
                      <a:pt x="0" y="129540"/>
                    </a:cubicBezTo>
                    <a:cubicBezTo>
                      <a:pt x="0" y="57997"/>
                      <a:pt x="57997" y="0"/>
                      <a:pt x="129540" y="0"/>
                    </a:cubicBezTo>
                    <a:cubicBezTo>
                      <a:pt x="201083" y="0"/>
                      <a:pt x="259080" y="57997"/>
                      <a:pt x="259080" y="129540"/>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33" name="Freeform: Shape 132">
                <a:extLst>
                  <a:ext uri="{FF2B5EF4-FFF2-40B4-BE49-F238E27FC236}">
                    <a16:creationId xmlns:a16="http://schemas.microsoft.com/office/drawing/2014/main" id="{0FE97033-D928-CB95-28B9-9140C73C2EA3}"/>
                  </a:ext>
                </a:extLst>
              </p:cNvPr>
              <p:cNvSpPr/>
              <p:nvPr/>
            </p:nvSpPr>
            <p:spPr>
              <a:xfrm>
                <a:off x="16857662" y="2486787"/>
                <a:ext cx="173355" cy="173355"/>
              </a:xfrm>
              <a:custGeom>
                <a:avLst/>
                <a:gdLst>
                  <a:gd name="connsiteX0" fmla="*/ 173355 w 173355"/>
                  <a:gd name="connsiteY0" fmla="*/ 86678 h 173355"/>
                  <a:gd name="connsiteX1" fmla="*/ 86678 w 173355"/>
                  <a:gd name="connsiteY1" fmla="*/ 173355 h 173355"/>
                  <a:gd name="connsiteX2" fmla="*/ 0 w 173355"/>
                  <a:gd name="connsiteY2" fmla="*/ 86678 h 173355"/>
                  <a:gd name="connsiteX3" fmla="*/ 86678 w 173355"/>
                  <a:gd name="connsiteY3" fmla="*/ 0 h 173355"/>
                  <a:gd name="connsiteX4" fmla="*/ 173355 w 173355"/>
                  <a:gd name="connsiteY4" fmla="*/ 86678 h 173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355" h="173355">
                    <a:moveTo>
                      <a:pt x="173355" y="86678"/>
                    </a:moveTo>
                    <a:cubicBezTo>
                      <a:pt x="173355" y="134548"/>
                      <a:pt x="134548" y="173355"/>
                      <a:pt x="86678" y="173355"/>
                    </a:cubicBezTo>
                    <a:cubicBezTo>
                      <a:pt x="38807" y="173355"/>
                      <a:pt x="0" y="134548"/>
                      <a:pt x="0" y="86678"/>
                    </a:cubicBezTo>
                    <a:cubicBezTo>
                      <a:pt x="0" y="38807"/>
                      <a:pt x="38807" y="0"/>
                      <a:pt x="86678" y="0"/>
                    </a:cubicBezTo>
                    <a:cubicBezTo>
                      <a:pt x="134548" y="0"/>
                      <a:pt x="173355" y="38807"/>
                      <a:pt x="173355" y="86678"/>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34" name="Freeform: Shape 133">
                <a:extLst>
                  <a:ext uri="{FF2B5EF4-FFF2-40B4-BE49-F238E27FC236}">
                    <a16:creationId xmlns:a16="http://schemas.microsoft.com/office/drawing/2014/main" id="{E17DFF02-ECEB-44D7-87A8-3E0983546E0B}"/>
                  </a:ext>
                </a:extLst>
              </p:cNvPr>
              <p:cNvSpPr/>
              <p:nvPr/>
            </p:nvSpPr>
            <p:spPr>
              <a:xfrm>
                <a:off x="15429864" y="1144714"/>
                <a:ext cx="2684144" cy="2684144"/>
              </a:xfrm>
              <a:custGeom>
                <a:avLst/>
                <a:gdLst>
                  <a:gd name="connsiteX0" fmla="*/ 1342073 w 2684144"/>
                  <a:gd name="connsiteY0" fmla="*/ 2684145 h 2684144"/>
                  <a:gd name="connsiteX1" fmla="*/ 0 w 2684144"/>
                  <a:gd name="connsiteY1" fmla="*/ 1342073 h 2684144"/>
                  <a:gd name="connsiteX2" fmla="*/ 1342073 w 2684144"/>
                  <a:gd name="connsiteY2" fmla="*/ 0 h 2684144"/>
                  <a:gd name="connsiteX3" fmla="*/ 2684145 w 2684144"/>
                  <a:gd name="connsiteY3" fmla="*/ 1342073 h 2684144"/>
                  <a:gd name="connsiteX4" fmla="*/ 1342073 w 2684144"/>
                  <a:gd name="connsiteY4" fmla="*/ 2684145 h 2684144"/>
                  <a:gd name="connsiteX5" fmla="*/ 1342073 w 2684144"/>
                  <a:gd name="connsiteY5" fmla="*/ 92393 h 2684144"/>
                  <a:gd name="connsiteX6" fmla="*/ 91440 w 2684144"/>
                  <a:gd name="connsiteY6" fmla="*/ 1343025 h 2684144"/>
                  <a:gd name="connsiteX7" fmla="*/ 1342073 w 2684144"/>
                  <a:gd name="connsiteY7" fmla="*/ 2592705 h 2684144"/>
                  <a:gd name="connsiteX8" fmla="*/ 2592705 w 2684144"/>
                  <a:gd name="connsiteY8" fmla="*/ 1342073 h 2684144"/>
                  <a:gd name="connsiteX9" fmla="*/ 1342073 w 2684144"/>
                  <a:gd name="connsiteY9" fmla="*/ 92393 h 26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4144" h="2684144">
                    <a:moveTo>
                      <a:pt x="1342073" y="2684145"/>
                    </a:moveTo>
                    <a:cubicBezTo>
                      <a:pt x="601980" y="2684145"/>
                      <a:pt x="0" y="2082165"/>
                      <a:pt x="0" y="1342073"/>
                    </a:cubicBezTo>
                    <a:cubicBezTo>
                      <a:pt x="0" y="601980"/>
                      <a:pt x="601980" y="0"/>
                      <a:pt x="1342073" y="0"/>
                    </a:cubicBezTo>
                    <a:cubicBezTo>
                      <a:pt x="2082165" y="0"/>
                      <a:pt x="2684145" y="601980"/>
                      <a:pt x="2684145" y="1342073"/>
                    </a:cubicBezTo>
                    <a:cubicBezTo>
                      <a:pt x="2684145" y="2082165"/>
                      <a:pt x="2082165" y="2684145"/>
                      <a:pt x="1342073" y="2684145"/>
                    </a:cubicBezTo>
                    <a:close/>
                    <a:moveTo>
                      <a:pt x="1342073" y="92393"/>
                    </a:moveTo>
                    <a:cubicBezTo>
                      <a:pt x="652463" y="92393"/>
                      <a:pt x="91440" y="653415"/>
                      <a:pt x="91440" y="1343025"/>
                    </a:cubicBezTo>
                    <a:cubicBezTo>
                      <a:pt x="91440" y="2032635"/>
                      <a:pt x="652463" y="2592705"/>
                      <a:pt x="1342073" y="2592705"/>
                    </a:cubicBezTo>
                    <a:cubicBezTo>
                      <a:pt x="2031683" y="2592705"/>
                      <a:pt x="2592705" y="2031683"/>
                      <a:pt x="2592705" y="1342073"/>
                    </a:cubicBezTo>
                    <a:cubicBezTo>
                      <a:pt x="2592705" y="652463"/>
                      <a:pt x="2031683" y="92393"/>
                      <a:pt x="1342073" y="9239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35" name="Freeform: Shape 134">
                <a:extLst>
                  <a:ext uri="{FF2B5EF4-FFF2-40B4-BE49-F238E27FC236}">
                    <a16:creationId xmlns:a16="http://schemas.microsoft.com/office/drawing/2014/main" id="{97806799-1F08-0914-0B4D-7E49EC937B61}"/>
                  </a:ext>
                </a:extLst>
              </p:cNvPr>
              <p:cNvSpPr/>
              <p:nvPr/>
            </p:nvSpPr>
            <p:spPr>
              <a:xfrm>
                <a:off x="16466184" y="365569"/>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3345 h 611505"/>
                  <a:gd name="connsiteX6" fmla="*/ 92393 w 611505"/>
                  <a:gd name="connsiteY6" fmla="*/ 306705 h 611505"/>
                  <a:gd name="connsiteX7" fmla="*/ 305753 w 611505"/>
                  <a:gd name="connsiteY7" fmla="*/ 520065 h 611505"/>
                  <a:gd name="connsiteX8" fmla="*/ 519113 w 611505"/>
                  <a:gd name="connsiteY8" fmla="*/ 306705 h 611505"/>
                  <a:gd name="connsiteX9" fmla="*/ 305753 w 611505"/>
                  <a:gd name="connsiteY9" fmla="*/ 93345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3345"/>
                    </a:moveTo>
                    <a:cubicBezTo>
                      <a:pt x="188595" y="93345"/>
                      <a:pt x="92393" y="188595"/>
                      <a:pt x="92393" y="306705"/>
                    </a:cubicBezTo>
                    <a:cubicBezTo>
                      <a:pt x="92393" y="424815"/>
                      <a:pt x="187643" y="520065"/>
                      <a:pt x="305753" y="520065"/>
                    </a:cubicBezTo>
                    <a:cubicBezTo>
                      <a:pt x="422910" y="520065"/>
                      <a:pt x="519113" y="424815"/>
                      <a:pt x="519113" y="306705"/>
                    </a:cubicBezTo>
                    <a:cubicBezTo>
                      <a:pt x="519113" y="188595"/>
                      <a:pt x="422910" y="93345"/>
                      <a:pt x="305753" y="93345"/>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36" name="Freeform: Shape 135">
                <a:extLst>
                  <a:ext uri="{FF2B5EF4-FFF2-40B4-BE49-F238E27FC236}">
                    <a16:creationId xmlns:a16="http://schemas.microsoft.com/office/drawing/2014/main" id="{F767820C-50D7-8F7A-2D05-D8ACB0D841E2}"/>
                  </a:ext>
                </a:extLst>
              </p:cNvPr>
              <p:cNvSpPr/>
              <p:nvPr/>
            </p:nvSpPr>
            <p:spPr>
              <a:xfrm>
                <a:off x="16466184" y="3995546"/>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2393 h 611505"/>
                  <a:gd name="connsiteX6" fmla="*/ 92393 w 611505"/>
                  <a:gd name="connsiteY6" fmla="*/ 305753 h 611505"/>
                  <a:gd name="connsiteX7" fmla="*/ 305753 w 611505"/>
                  <a:gd name="connsiteY7" fmla="*/ 519113 h 611505"/>
                  <a:gd name="connsiteX8" fmla="*/ 519113 w 611505"/>
                  <a:gd name="connsiteY8" fmla="*/ 305753 h 611505"/>
                  <a:gd name="connsiteX9" fmla="*/ 305753 w 611505"/>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3" y="187643"/>
                      <a:pt x="92393" y="305753"/>
                    </a:cubicBezTo>
                    <a:cubicBezTo>
                      <a:pt x="92393" y="423863"/>
                      <a:pt x="187643" y="519113"/>
                      <a:pt x="305753" y="519113"/>
                    </a:cubicBezTo>
                    <a:cubicBezTo>
                      <a:pt x="423863" y="519113"/>
                      <a:pt x="519113" y="423863"/>
                      <a:pt x="519113" y="305753"/>
                    </a:cubicBezTo>
                    <a:cubicBezTo>
                      <a:pt x="519113" y="188595"/>
                      <a:pt x="422910" y="92393"/>
                      <a:pt x="305753" y="9239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37" name="Freeform: Shape 136">
                <a:extLst>
                  <a:ext uri="{FF2B5EF4-FFF2-40B4-BE49-F238E27FC236}">
                    <a16:creationId xmlns:a16="http://schemas.microsoft.com/office/drawing/2014/main" id="{29744018-35BE-72E3-9CB8-A46AA9BACCE5}"/>
                  </a:ext>
                </a:extLst>
              </p:cNvPr>
              <p:cNvSpPr/>
              <p:nvPr/>
            </p:nvSpPr>
            <p:spPr>
              <a:xfrm>
                <a:off x="16726216" y="885634"/>
                <a:ext cx="91439" cy="351472"/>
              </a:xfrm>
              <a:custGeom>
                <a:avLst/>
                <a:gdLst>
                  <a:gd name="connsiteX0" fmla="*/ 45720 w 91439"/>
                  <a:gd name="connsiteY0" fmla="*/ 351473 h 351472"/>
                  <a:gd name="connsiteX1" fmla="*/ 0 w 91439"/>
                  <a:gd name="connsiteY1" fmla="*/ 305753 h 351472"/>
                  <a:gd name="connsiteX2" fmla="*/ 0 w 91439"/>
                  <a:gd name="connsiteY2" fmla="*/ 45720 h 351472"/>
                  <a:gd name="connsiteX3" fmla="*/ 45720 w 91439"/>
                  <a:gd name="connsiteY3" fmla="*/ 0 h 351472"/>
                  <a:gd name="connsiteX4" fmla="*/ 91440 w 91439"/>
                  <a:gd name="connsiteY4" fmla="*/ 45720 h 351472"/>
                  <a:gd name="connsiteX5" fmla="*/ 91440 w 91439"/>
                  <a:gd name="connsiteY5" fmla="*/ 304800 h 351472"/>
                  <a:gd name="connsiteX6" fmla="*/ 45720 w 91439"/>
                  <a:gd name="connsiteY6" fmla="*/ 351473 h 351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 h="351472">
                    <a:moveTo>
                      <a:pt x="45720" y="351473"/>
                    </a:moveTo>
                    <a:cubicBezTo>
                      <a:pt x="20003" y="351473"/>
                      <a:pt x="0" y="330517"/>
                      <a:pt x="0" y="305753"/>
                    </a:cubicBezTo>
                    <a:lnTo>
                      <a:pt x="0" y="45720"/>
                    </a:lnTo>
                    <a:cubicBezTo>
                      <a:pt x="0" y="20002"/>
                      <a:pt x="20955" y="0"/>
                      <a:pt x="45720" y="0"/>
                    </a:cubicBezTo>
                    <a:cubicBezTo>
                      <a:pt x="70485" y="0"/>
                      <a:pt x="91440" y="20955"/>
                      <a:pt x="91440" y="45720"/>
                    </a:cubicBezTo>
                    <a:lnTo>
                      <a:pt x="91440" y="304800"/>
                    </a:lnTo>
                    <a:cubicBezTo>
                      <a:pt x="91440" y="330517"/>
                      <a:pt x="71438" y="351473"/>
                      <a:pt x="45720" y="35147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38" name="Freeform: Shape 137">
                <a:extLst>
                  <a:ext uri="{FF2B5EF4-FFF2-40B4-BE49-F238E27FC236}">
                    <a16:creationId xmlns:a16="http://schemas.microsoft.com/office/drawing/2014/main" id="{872D38AF-D3E9-D95A-1583-78E8A6B59A77}"/>
                  </a:ext>
                </a:extLst>
              </p:cNvPr>
              <p:cNvSpPr/>
              <p:nvPr/>
            </p:nvSpPr>
            <p:spPr>
              <a:xfrm>
                <a:off x="16726216" y="3737419"/>
                <a:ext cx="91439" cy="350520"/>
              </a:xfrm>
              <a:custGeom>
                <a:avLst/>
                <a:gdLst>
                  <a:gd name="connsiteX0" fmla="*/ 45720 w 91439"/>
                  <a:gd name="connsiteY0" fmla="*/ 350520 h 350520"/>
                  <a:gd name="connsiteX1" fmla="*/ 0 w 91439"/>
                  <a:gd name="connsiteY1" fmla="*/ 304800 h 350520"/>
                  <a:gd name="connsiteX2" fmla="*/ 0 w 91439"/>
                  <a:gd name="connsiteY2" fmla="*/ 45720 h 350520"/>
                  <a:gd name="connsiteX3" fmla="*/ 45720 w 91439"/>
                  <a:gd name="connsiteY3" fmla="*/ 0 h 350520"/>
                  <a:gd name="connsiteX4" fmla="*/ 91440 w 91439"/>
                  <a:gd name="connsiteY4" fmla="*/ 45720 h 350520"/>
                  <a:gd name="connsiteX5" fmla="*/ 91440 w 91439"/>
                  <a:gd name="connsiteY5" fmla="*/ 304800 h 350520"/>
                  <a:gd name="connsiteX6" fmla="*/ 45720 w 91439"/>
                  <a:gd name="connsiteY6" fmla="*/ 350520 h 35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 h="350520">
                    <a:moveTo>
                      <a:pt x="45720" y="350520"/>
                    </a:moveTo>
                    <a:cubicBezTo>
                      <a:pt x="20003" y="350520"/>
                      <a:pt x="0" y="329565"/>
                      <a:pt x="0" y="304800"/>
                    </a:cubicBezTo>
                    <a:lnTo>
                      <a:pt x="0" y="45720"/>
                    </a:lnTo>
                    <a:cubicBezTo>
                      <a:pt x="0" y="20003"/>
                      <a:pt x="20955" y="0"/>
                      <a:pt x="45720" y="0"/>
                    </a:cubicBezTo>
                    <a:cubicBezTo>
                      <a:pt x="70485" y="0"/>
                      <a:pt x="91440" y="20955"/>
                      <a:pt x="91440" y="45720"/>
                    </a:cubicBezTo>
                    <a:lnTo>
                      <a:pt x="91440" y="304800"/>
                    </a:lnTo>
                    <a:cubicBezTo>
                      <a:pt x="91440" y="330518"/>
                      <a:pt x="71438" y="350520"/>
                      <a:pt x="45720" y="350520"/>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39" name="Freeform: Shape 138">
                <a:extLst>
                  <a:ext uri="{FF2B5EF4-FFF2-40B4-BE49-F238E27FC236}">
                    <a16:creationId xmlns:a16="http://schemas.microsoft.com/office/drawing/2014/main" id="{A0BCB678-27DC-EF61-19E0-150D708EF448}"/>
                  </a:ext>
                </a:extLst>
              </p:cNvPr>
              <p:cNvSpPr/>
              <p:nvPr/>
            </p:nvSpPr>
            <p:spPr>
              <a:xfrm>
                <a:off x="18280696" y="2181034"/>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2393 h 611505"/>
                  <a:gd name="connsiteX6" fmla="*/ 92393 w 611505"/>
                  <a:gd name="connsiteY6" fmla="*/ 305753 h 611505"/>
                  <a:gd name="connsiteX7" fmla="*/ 305753 w 611505"/>
                  <a:gd name="connsiteY7" fmla="*/ 519113 h 611505"/>
                  <a:gd name="connsiteX8" fmla="*/ 519113 w 611505"/>
                  <a:gd name="connsiteY8" fmla="*/ 305753 h 611505"/>
                  <a:gd name="connsiteX9" fmla="*/ 305753 w 611505"/>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3" y="187643"/>
                      <a:pt x="92393" y="305753"/>
                    </a:cubicBezTo>
                    <a:cubicBezTo>
                      <a:pt x="92393" y="423863"/>
                      <a:pt x="187643" y="519113"/>
                      <a:pt x="305753" y="519113"/>
                    </a:cubicBezTo>
                    <a:cubicBezTo>
                      <a:pt x="423863" y="519113"/>
                      <a:pt x="519113" y="423863"/>
                      <a:pt x="519113" y="305753"/>
                    </a:cubicBezTo>
                    <a:cubicBezTo>
                      <a:pt x="519113" y="188595"/>
                      <a:pt x="423863" y="92393"/>
                      <a:pt x="305753" y="9239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40" name="Freeform: Shape 139">
                <a:extLst>
                  <a:ext uri="{FF2B5EF4-FFF2-40B4-BE49-F238E27FC236}">
                    <a16:creationId xmlns:a16="http://schemas.microsoft.com/office/drawing/2014/main" id="{92987AC2-10A5-00A3-2680-64DA0D7A0880}"/>
                  </a:ext>
                </a:extLst>
              </p:cNvPr>
              <p:cNvSpPr/>
              <p:nvPr/>
            </p:nvSpPr>
            <p:spPr>
              <a:xfrm>
                <a:off x="14651672" y="2181034"/>
                <a:ext cx="611504" cy="611505"/>
              </a:xfrm>
              <a:custGeom>
                <a:avLst/>
                <a:gdLst>
                  <a:gd name="connsiteX0" fmla="*/ 305753 w 611504"/>
                  <a:gd name="connsiteY0" fmla="*/ 611505 h 611505"/>
                  <a:gd name="connsiteX1" fmla="*/ 0 w 611504"/>
                  <a:gd name="connsiteY1" fmla="*/ 305753 h 611505"/>
                  <a:gd name="connsiteX2" fmla="*/ 305753 w 611504"/>
                  <a:gd name="connsiteY2" fmla="*/ 0 h 611505"/>
                  <a:gd name="connsiteX3" fmla="*/ 611505 w 611504"/>
                  <a:gd name="connsiteY3" fmla="*/ 305753 h 611505"/>
                  <a:gd name="connsiteX4" fmla="*/ 305753 w 611504"/>
                  <a:gd name="connsiteY4" fmla="*/ 611505 h 611505"/>
                  <a:gd name="connsiteX5" fmla="*/ 305753 w 611504"/>
                  <a:gd name="connsiteY5" fmla="*/ 92393 h 611505"/>
                  <a:gd name="connsiteX6" fmla="*/ 92392 w 611504"/>
                  <a:gd name="connsiteY6" fmla="*/ 305753 h 611505"/>
                  <a:gd name="connsiteX7" fmla="*/ 305753 w 611504"/>
                  <a:gd name="connsiteY7" fmla="*/ 519113 h 611505"/>
                  <a:gd name="connsiteX8" fmla="*/ 519113 w 611504"/>
                  <a:gd name="connsiteY8" fmla="*/ 305753 h 611505"/>
                  <a:gd name="connsiteX9" fmla="*/ 305753 w 611504"/>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4"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2" y="187643"/>
                      <a:pt x="92392" y="305753"/>
                    </a:cubicBezTo>
                    <a:cubicBezTo>
                      <a:pt x="92392" y="423863"/>
                      <a:pt x="187642" y="519113"/>
                      <a:pt x="305753" y="519113"/>
                    </a:cubicBezTo>
                    <a:cubicBezTo>
                      <a:pt x="423863" y="519113"/>
                      <a:pt x="519113" y="423863"/>
                      <a:pt x="519113" y="305753"/>
                    </a:cubicBezTo>
                    <a:cubicBezTo>
                      <a:pt x="519113" y="187643"/>
                      <a:pt x="422910" y="92393"/>
                      <a:pt x="305753" y="9239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41" name="Freeform: Shape 140">
                <a:extLst>
                  <a:ext uri="{FF2B5EF4-FFF2-40B4-BE49-F238E27FC236}">
                    <a16:creationId xmlns:a16="http://schemas.microsoft.com/office/drawing/2014/main" id="{7FB52A91-4EDC-FD2B-DF0D-164E11AFA2D4}"/>
                  </a:ext>
                </a:extLst>
              </p:cNvPr>
              <p:cNvSpPr/>
              <p:nvPr/>
            </p:nvSpPr>
            <p:spPr>
              <a:xfrm>
                <a:off x="18022569" y="2441066"/>
                <a:ext cx="350520" cy="91439"/>
              </a:xfrm>
              <a:custGeom>
                <a:avLst/>
                <a:gdLst>
                  <a:gd name="connsiteX0" fmla="*/ 304800 w 350520"/>
                  <a:gd name="connsiteY0" fmla="*/ 91440 h 91439"/>
                  <a:gd name="connsiteX1" fmla="*/ 45720 w 350520"/>
                  <a:gd name="connsiteY1" fmla="*/ 91440 h 91439"/>
                  <a:gd name="connsiteX2" fmla="*/ 0 w 350520"/>
                  <a:gd name="connsiteY2" fmla="*/ 45720 h 91439"/>
                  <a:gd name="connsiteX3" fmla="*/ 45720 w 350520"/>
                  <a:gd name="connsiteY3" fmla="*/ 0 h 91439"/>
                  <a:gd name="connsiteX4" fmla="*/ 304800 w 350520"/>
                  <a:gd name="connsiteY4" fmla="*/ 0 h 91439"/>
                  <a:gd name="connsiteX5" fmla="*/ 350520 w 350520"/>
                  <a:gd name="connsiteY5" fmla="*/ 45720 h 91439"/>
                  <a:gd name="connsiteX6" fmla="*/ 304800 w 350520"/>
                  <a:gd name="connsiteY6" fmla="*/ 91440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20" h="91439">
                    <a:moveTo>
                      <a:pt x="304800" y="91440"/>
                    </a:moveTo>
                    <a:lnTo>
                      <a:pt x="45720" y="91440"/>
                    </a:lnTo>
                    <a:cubicBezTo>
                      <a:pt x="20003" y="91440"/>
                      <a:pt x="0" y="70485"/>
                      <a:pt x="0" y="45720"/>
                    </a:cubicBezTo>
                    <a:cubicBezTo>
                      <a:pt x="0" y="20955"/>
                      <a:pt x="20955" y="0"/>
                      <a:pt x="45720" y="0"/>
                    </a:cubicBezTo>
                    <a:lnTo>
                      <a:pt x="304800" y="0"/>
                    </a:lnTo>
                    <a:cubicBezTo>
                      <a:pt x="330518" y="0"/>
                      <a:pt x="350520" y="20955"/>
                      <a:pt x="350520" y="45720"/>
                    </a:cubicBezTo>
                    <a:cubicBezTo>
                      <a:pt x="350520" y="71438"/>
                      <a:pt x="330518" y="91440"/>
                      <a:pt x="304800" y="91440"/>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42" name="Freeform: Shape 141">
                <a:extLst>
                  <a:ext uri="{FF2B5EF4-FFF2-40B4-BE49-F238E27FC236}">
                    <a16:creationId xmlns:a16="http://schemas.microsoft.com/office/drawing/2014/main" id="{3B69DAE0-B36F-36D0-D96D-4C72ABD7BF5C}"/>
                  </a:ext>
                </a:extLst>
              </p:cNvPr>
              <p:cNvSpPr/>
              <p:nvPr/>
            </p:nvSpPr>
            <p:spPr>
              <a:xfrm>
                <a:off x="15170784" y="2441066"/>
                <a:ext cx="350551" cy="91439"/>
              </a:xfrm>
              <a:custGeom>
                <a:avLst/>
                <a:gdLst>
                  <a:gd name="connsiteX0" fmla="*/ 304800 w 350551"/>
                  <a:gd name="connsiteY0" fmla="*/ 91440 h 91439"/>
                  <a:gd name="connsiteX1" fmla="*/ 45720 w 350551"/>
                  <a:gd name="connsiteY1" fmla="*/ 91440 h 91439"/>
                  <a:gd name="connsiteX2" fmla="*/ 0 w 350551"/>
                  <a:gd name="connsiteY2" fmla="*/ 45720 h 91439"/>
                  <a:gd name="connsiteX3" fmla="*/ 45720 w 350551"/>
                  <a:gd name="connsiteY3" fmla="*/ 0 h 91439"/>
                  <a:gd name="connsiteX4" fmla="*/ 304800 w 350551"/>
                  <a:gd name="connsiteY4" fmla="*/ 0 h 91439"/>
                  <a:gd name="connsiteX5" fmla="*/ 350520 w 350551"/>
                  <a:gd name="connsiteY5" fmla="*/ 45720 h 91439"/>
                  <a:gd name="connsiteX6" fmla="*/ 304800 w 350551"/>
                  <a:gd name="connsiteY6" fmla="*/ 91440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51" h="91439">
                    <a:moveTo>
                      <a:pt x="304800" y="91440"/>
                    </a:moveTo>
                    <a:lnTo>
                      <a:pt x="45720" y="91440"/>
                    </a:lnTo>
                    <a:cubicBezTo>
                      <a:pt x="20002" y="91440"/>
                      <a:pt x="0" y="70485"/>
                      <a:pt x="0" y="45720"/>
                    </a:cubicBezTo>
                    <a:cubicBezTo>
                      <a:pt x="0" y="20955"/>
                      <a:pt x="20955" y="0"/>
                      <a:pt x="45720" y="0"/>
                    </a:cubicBezTo>
                    <a:lnTo>
                      <a:pt x="304800" y="0"/>
                    </a:lnTo>
                    <a:cubicBezTo>
                      <a:pt x="330517" y="0"/>
                      <a:pt x="350520" y="20955"/>
                      <a:pt x="350520" y="45720"/>
                    </a:cubicBezTo>
                    <a:cubicBezTo>
                      <a:pt x="351473" y="71438"/>
                      <a:pt x="330517" y="91440"/>
                      <a:pt x="304800" y="91440"/>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43" name="Freeform: Shape 142">
                <a:extLst>
                  <a:ext uri="{FF2B5EF4-FFF2-40B4-BE49-F238E27FC236}">
                    <a16:creationId xmlns:a16="http://schemas.microsoft.com/office/drawing/2014/main" id="{B98A2EAA-3CF8-F773-F82F-70F4BA478C23}"/>
                  </a:ext>
                </a:extLst>
              </p:cNvPr>
              <p:cNvSpPr/>
              <p:nvPr/>
            </p:nvSpPr>
            <p:spPr>
              <a:xfrm>
                <a:off x="17750392" y="898255"/>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520779 w 610076"/>
                  <a:gd name="connsiteY4" fmla="*/ 520779 h 610076"/>
                  <a:gd name="connsiteX5" fmla="*/ 520779 w 610076"/>
                  <a:gd name="connsiteY5" fmla="*/ 520779 h 610076"/>
                  <a:gd name="connsiteX6" fmla="*/ 89297 w 610076"/>
                  <a:gd name="connsiteY6" fmla="*/ 520779 h 610076"/>
                  <a:gd name="connsiteX7" fmla="*/ 154067 w 610076"/>
                  <a:gd name="connsiteY7" fmla="*/ 155019 h 610076"/>
                  <a:gd name="connsiteX8" fmla="*/ 154067 w 610076"/>
                  <a:gd name="connsiteY8" fmla="*/ 456009 h 610076"/>
                  <a:gd name="connsiteX9" fmla="*/ 455057 w 610076"/>
                  <a:gd name="connsiteY9" fmla="*/ 456009 h 610076"/>
                  <a:gd name="connsiteX10" fmla="*/ 455057 w 610076"/>
                  <a:gd name="connsiteY10" fmla="*/ 456009 h 610076"/>
                  <a:gd name="connsiteX11" fmla="*/ 455057 w 610076"/>
                  <a:gd name="connsiteY11" fmla="*/ 155019 h 610076"/>
                  <a:gd name="connsiteX12" fmla="*/ 154067 w 610076"/>
                  <a:gd name="connsiteY12" fmla="*/ 155019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lnTo>
                      <a:pt x="520779" y="520779"/>
                    </a:lnTo>
                    <a:lnTo>
                      <a:pt x="520779" y="520779"/>
                    </a:lnTo>
                    <a:cubicBezTo>
                      <a:pt x="401717" y="639842"/>
                      <a:pt x="208359" y="639842"/>
                      <a:pt x="89297" y="520779"/>
                    </a:cubicBezTo>
                    <a:close/>
                    <a:moveTo>
                      <a:pt x="154067" y="155019"/>
                    </a:moveTo>
                    <a:cubicBezTo>
                      <a:pt x="71199" y="237887"/>
                      <a:pt x="71199" y="373142"/>
                      <a:pt x="154067" y="456009"/>
                    </a:cubicBezTo>
                    <a:cubicBezTo>
                      <a:pt x="236934" y="538877"/>
                      <a:pt x="372189" y="538877"/>
                      <a:pt x="455057" y="456009"/>
                    </a:cubicBezTo>
                    <a:lnTo>
                      <a:pt x="455057" y="456009"/>
                    </a:lnTo>
                    <a:cubicBezTo>
                      <a:pt x="537924" y="373142"/>
                      <a:pt x="537924" y="237887"/>
                      <a:pt x="455057" y="155019"/>
                    </a:cubicBezTo>
                    <a:cubicBezTo>
                      <a:pt x="372189" y="71199"/>
                      <a:pt x="236934" y="71199"/>
                      <a:pt x="154067" y="155019"/>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44" name="Freeform: Shape 143">
                <a:extLst>
                  <a:ext uri="{FF2B5EF4-FFF2-40B4-BE49-F238E27FC236}">
                    <a16:creationId xmlns:a16="http://schemas.microsoft.com/office/drawing/2014/main" id="{F0647B9C-D21A-C7C1-94BD-D3724D3CE346}"/>
                  </a:ext>
                </a:extLst>
              </p:cNvPr>
              <p:cNvSpPr/>
              <p:nvPr/>
            </p:nvSpPr>
            <p:spPr>
              <a:xfrm>
                <a:off x="15183405" y="3465242"/>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520779 w 610076"/>
                  <a:gd name="connsiteY4" fmla="*/ 520779 h 610076"/>
                  <a:gd name="connsiteX5" fmla="*/ 89297 w 610076"/>
                  <a:gd name="connsiteY5" fmla="*/ 520779 h 610076"/>
                  <a:gd name="connsiteX6" fmla="*/ 155019 w 610076"/>
                  <a:gd name="connsiteY6" fmla="*/ 154067 h 610076"/>
                  <a:gd name="connsiteX7" fmla="*/ 155019 w 610076"/>
                  <a:gd name="connsiteY7" fmla="*/ 455057 h 610076"/>
                  <a:gd name="connsiteX8" fmla="*/ 456009 w 610076"/>
                  <a:gd name="connsiteY8" fmla="*/ 455057 h 610076"/>
                  <a:gd name="connsiteX9" fmla="*/ 456009 w 610076"/>
                  <a:gd name="connsiteY9" fmla="*/ 154067 h 610076"/>
                  <a:gd name="connsiteX10" fmla="*/ 155019 w 610076"/>
                  <a:gd name="connsiteY10" fmla="*/ 154067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lnTo>
                      <a:pt x="520779" y="520779"/>
                    </a:lnTo>
                    <a:cubicBezTo>
                      <a:pt x="402669" y="639842"/>
                      <a:pt x="208359" y="639842"/>
                      <a:pt x="89297" y="520779"/>
                    </a:cubicBezTo>
                    <a:close/>
                    <a:moveTo>
                      <a:pt x="155019" y="154067"/>
                    </a:moveTo>
                    <a:cubicBezTo>
                      <a:pt x="72152" y="236934"/>
                      <a:pt x="72152" y="372189"/>
                      <a:pt x="155019" y="455057"/>
                    </a:cubicBezTo>
                    <a:cubicBezTo>
                      <a:pt x="237887" y="537924"/>
                      <a:pt x="373142" y="537924"/>
                      <a:pt x="456009" y="455057"/>
                    </a:cubicBezTo>
                    <a:cubicBezTo>
                      <a:pt x="538877" y="372189"/>
                      <a:pt x="538877" y="236934"/>
                      <a:pt x="456009" y="154067"/>
                    </a:cubicBezTo>
                    <a:cubicBezTo>
                      <a:pt x="373142" y="71199"/>
                      <a:pt x="237887" y="71199"/>
                      <a:pt x="155019" y="154067"/>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45" name="Freeform: Shape 144">
                <a:extLst>
                  <a:ext uri="{FF2B5EF4-FFF2-40B4-BE49-F238E27FC236}">
                    <a16:creationId xmlns:a16="http://schemas.microsoft.com/office/drawing/2014/main" id="{A8070FE0-160C-1C4A-CEF4-F08472167E69}"/>
                  </a:ext>
                </a:extLst>
              </p:cNvPr>
              <p:cNvSpPr/>
              <p:nvPr/>
            </p:nvSpPr>
            <p:spPr>
              <a:xfrm>
                <a:off x="17642283" y="1341643"/>
                <a:ext cx="274796" cy="274796"/>
              </a:xfrm>
              <a:custGeom>
                <a:avLst/>
                <a:gdLst>
                  <a:gd name="connsiteX0" fmla="*/ 13573 w 274796"/>
                  <a:gd name="connsiteY0" fmla="*/ 261223 h 274796"/>
                  <a:gd name="connsiteX1" fmla="*/ 13573 w 274796"/>
                  <a:gd name="connsiteY1" fmla="*/ 196453 h 274796"/>
                  <a:gd name="connsiteX2" fmla="*/ 196453 w 274796"/>
                  <a:gd name="connsiteY2" fmla="*/ 13573 h 274796"/>
                  <a:gd name="connsiteX3" fmla="*/ 261223 w 274796"/>
                  <a:gd name="connsiteY3" fmla="*/ 13573 h 274796"/>
                  <a:gd name="connsiteX4" fmla="*/ 261223 w 274796"/>
                  <a:gd name="connsiteY4" fmla="*/ 78343 h 274796"/>
                  <a:gd name="connsiteX5" fmla="*/ 78343 w 274796"/>
                  <a:gd name="connsiteY5" fmla="*/ 261223 h 274796"/>
                  <a:gd name="connsiteX6" fmla="*/ 1357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3573" y="261223"/>
                    </a:moveTo>
                    <a:cubicBezTo>
                      <a:pt x="-4524" y="243126"/>
                      <a:pt x="-4524" y="213598"/>
                      <a:pt x="13573" y="196453"/>
                    </a:cubicBezTo>
                    <a:lnTo>
                      <a:pt x="196453" y="13573"/>
                    </a:lnTo>
                    <a:cubicBezTo>
                      <a:pt x="214551" y="-4524"/>
                      <a:pt x="244078" y="-4524"/>
                      <a:pt x="261223" y="13573"/>
                    </a:cubicBezTo>
                    <a:cubicBezTo>
                      <a:pt x="279321" y="31671"/>
                      <a:pt x="279321" y="61198"/>
                      <a:pt x="261223" y="78343"/>
                    </a:cubicBezTo>
                    <a:lnTo>
                      <a:pt x="78343" y="261223"/>
                    </a:lnTo>
                    <a:cubicBezTo>
                      <a:pt x="61198" y="279321"/>
                      <a:pt x="31671" y="279321"/>
                      <a:pt x="13573" y="26122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46" name="Freeform: Shape 145">
                <a:extLst>
                  <a:ext uri="{FF2B5EF4-FFF2-40B4-BE49-F238E27FC236}">
                    <a16:creationId xmlns:a16="http://schemas.microsoft.com/office/drawing/2014/main" id="{0C4A5DCA-3D5A-B33B-A4A8-02D32D78AAA2}"/>
                  </a:ext>
                </a:extLst>
              </p:cNvPr>
              <p:cNvSpPr/>
              <p:nvPr/>
            </p:nvSpPr>
            <p:spPr>
              <a:xfrm>
                <a:off x="15625841" y="3358086"/>
                <a:ext cx="274796" cy="274796"/>
              </a:xfrm>
              <a:custGeom>
                <a:avLst/>
                <a:gdLst>
                  <a:gd name="connsiteX0" fmla="*/ 13573 w 274796"/>
                  <a:gd name="connsiteY0" fmla="*/ 261223 h 274796"/>
                  <a:gd name="connsiteX1" fmla="*/ 13573 w 274796"/>
                  <a:gd name="connsiteY1" fmla="*/ 196453 h 274796"/>
                  <a:gd name="connsiteX2" fmla="*/ 196453 w 274796"/>
                  <a:gd name="connsiteY2" fmla="*/ 13573 h 274796"/>
                  <a:gd name="connsiteX3" fmla="*/ 261223 w 274796"/>
                  <a:gd name="connsiteY3" fmla="*/ 13573 h 274796"/>
                  <a:gd name="connsiteX4" fmla="*/ 261223 w 274796"/>
                  <a:gd name="connsiteY4" fmla="*/ 78343 h 274796"/>
                  <a:gd name="connsiteX5" fmla="*/ 78343 w 274796"/>
                  <a:gd name="connsiteY5" fmla="*/ 261223 h 274796"/>
                  <a:gd name="connsiteX6" fmla="*/ 1357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3573" y="261223"/>
                    </a:moveTo>
                    <a:cubicBezTo>
                      <a:pt x="-4524" y="243126"/>
                      <a:pt x="-4524" y="213598"/>
                      <a:pt x="13573" y="196453"/>
                    </a:cubicBezTo>
                    <a:lnTo>
                      <a:pt x="196453" y="13573"/>
                    </a:lnTo>
                    <a:cubicBezTo>
                      <a:pt x="214551" y="-4524"/>
                      <a:pt x="244078" y="-4524"/>
                      <a:pt x="261223" y="13573"/>
                    </a:cubicBezTo>
                    <a:cubicBezTo>
                      <a:pt x="279321" y="31671"/>
                      <a:pt x="279321" y="61198"/>
                      <a:pt x="261223" y="78343"/>
                    </a:cubicBezTo>
                    <a:lnTo>
                      <a:pt x="78343" y="261223"/>
                    </a:lnTo>
                    <a:cubicBezTo>
                      <a:pt x="61198" y="279321"/>
                      <a:pt x="31671" y="279321"/>
                      <a:pt x="13573" y="26122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47" name="Freeform: Shape 146">
                <a:extLst>
                  <a:ext uri="{FF2B5EF4-FFF2-40B4-BE49-F238E27FC236}">
                    <a16:creationId xmlns:a16="http://schemas.microsoft.com/office/drawing/2014/main" id="{F36ACF82-11E2-2FFB-EF9A-C373A0962144}"/>
                  </a:ext>
                </a:extLst>
              </p:cNvPr>
              <p:cNvSpPr/>
              <p:nvPr/>
            </p:nvSpPr>
            <p:spPr>
              <a:xfrm>
                <a:off x="17750392" y="3465242"/>
                <a:ext cx="610076" cy="589372"/>
              </a:xfrm>
              <a:custGeom>
                <a:avLst/>
                <a:gdLst>
                  <a:gd name="connsiteX0" fmla="*/ 89297 w 610076"/>
                  <a:gd name="connsiteY0" fmla="*/ 520779 h 589372"/>
                  <a:gd name="connsiteX1" fmla="*/ 89297 w 610076"/>
                  <a:gd name="connsiteY1" fmla="*/ 89297 h 589372"/>
                  <a:gd name="connsiteX2" fmla="*/ 520779 w 610076"/>
                  <a:gd name="connsiteY2" fmla="*/ 89297 h 589372"/>
                  <a:gd name="connsiteX3" fmla="*/ 520779 w 610076"/>
                  <a:gd name="connsiteY3" fmla="*/ 520779 h 589372"/>
                  <a:gd name="connsiteX4" fmla="*/ 89297 w 610076"/>
                  <a:gd name="connsiteY4" fmla="*/ 520779 h 589372"/>
                  <a:gd name="connsiteX5" fmla="*/ 154067 w 610076"/>
                  <a:gd name="connsiteY5" fmla="*/ 154067 h 589372"/>
                  <a:gd name="connsiteX6" fmla="*/ 154067 w 610076"/>
                  <a:gd name="connsiteY6" fmla="*/ 455057 h 589372"/>
                  <a:gd name="connsiteX7" fmla="*/ 455057 w 610076"/>
                  <a:gd name="connsiteY7" fmla="*/ 455057 h 589372"/>
                  <a:gd name="connsiteX8" fmla="*/ 455057 w 610076"/>
                  <a:gd name="connsiteY8" fmla="*/ 154067 h 589372"/>
                  <a:gd name="connsiteX9" fmla="*/ 154067 w 610076"/>
                  <a:gd name="connsiteY9" fmla="*/ 154067 h 58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076" h="589372">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cubicBezTo>
                      <a:pt x="460772" y="579834"/>
                      <a:pt x="208359" y="639842"/>
                      <a:pt x="89297" y="520779"/>
                    </a:cubicBezTo>
                    <a:close/>
                    <a:moveTo>
                      <a:pt x="154067" y="154067"/>
                    </a:moveTo>
                    <a:cubicBezTo>
                      <a:pt x="71199" y="236934"/>
                      <a:pt x="71199" y="372189"/>
                      <a:pt x="154067" y="455057"/>
                    </a:cubicBezTo>
                    <a:cubicBezTo>
                      <a:pt x="236934" y="537924"/>
                      <a:pt x="372189" y="537924"/>
                      <a:pt x="455057" y="455057"/>
                    </a:cubicBezTo>
                    <a:cubicBezTo>
                      <a:pt x="537924" y="372189"/>
                      <a:pt x="537924" y="236934"/>
                      <a:pt x="455057" y="154067"/>
                    </a:cubicBezTo>
                    <a:cubicBezTo>
                      <a:pt x="414099" y="112157"/>
                      <a:pt x="236934" y="71199"/>
                      <a:pt x="154067" y="154067"/>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48" name="Freeform: Shape 147">
                <a:extLst>
                  <a:ext uri="{FF2B5EF4-FFF2-40B4-BE49-F238E27FC236}">
                    <a16:creationId xmlns:a16="http://schemas.microsoft.com/office/drawing/2014/main" id="{4A0F5D3A-9F14-2706-418A-326E06C5BBBA}"/>
                  </a:ext>
                </a:extLst>
              </p:cNvPr>
              <p:cNvSpPr/>
              <p:nvPr/>
            </p:nvSpPr>
            <p:spPr>
              <a:xfrm>
                <a:off x="15183405" y="898255"/>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89297 w 610076"/>
                  <a:gd name="connsiteY4" fmla="*/ 520779 h 610076"/>
                  <a:gd name="connsiteX5" fmla="*/ 155019 w 610076"/>
                  <a:gd name="connsiteY5" fmla="*/ 155019 h 610076"/>
                  <a:gd name="connsiteX6" fmla="*/ 155019 w 610076"/>
                  <a:gd name="connsiteY6" fmla="*/ 456009 h 610076"/>
                  <a:gd name="connsiteX7" fmla="*/ 456009 w 610076"/>
                  <a:gd name="connsiteY7" fmla="*/ 456009 h 610076"/>
                  <a:gd name="connsiteX8" fmla="*/ 456009 w 610076"/>
                  <a:gd name="connsiteY8" fmla="*/ 155019 h 610076"/>
                  <a:gd name="connsiteX9" fmla="*/ 155019 w 610076"/>
                  <a:gd name="connsiteY9" fmla="*/ 155019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cubicBezTo>
                      <a:pt x="402669" y="639842"/>
                      <a:pt x="208359" y="639842"/>
                      <a:pt x="89297" y="520779"/>
                    </a:cubicBezTo>
                    <a:close/>
                    <a:moveTo>
                      <a:pt x="155019" y="155019"/>
                    </a:moveTo>
                    <a:cubicBezTo>
                      <a:pt x="72152" y="237887"/>
                      <a:pt x="72152" y="373142"/>
                      <a:pt x="155019" y="456009"/>
                    </a:cubicBezTo>
                    <a:cubicBezTo>
                      <a:pt x="237887" y="538877"/>
                      <a:pt x="373142" y="538877"/>
                      <a:pt x="456009" y="456009"/>
                    </a:cubicBezTo>
                    <a:cubicBezTo>
                      <a:pt x="538877" y="373142"/>
                      <a:pt x="538877" y="237887"/>
                      <a:pt x="456009" y="155019"/>
                    </a:cubicBezTo>
                    <a:cubicBezTo>
                      <a:pt x="373142" y="71199"/>
                      <a:pt x="237887" y="71199"/>
                      <a:pt x="155019" y="155019"/>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49" name="Freeform: Shape 148">
                <a:extLst>
                  <a:ext uri="{FF2B5EF4-FFF2-40B4-BE49-F238E27FC236}">
                    <a16:creationId xmlns:a16="http://schemas.microsoft.com/office/drawing/2014/main" id="{D1B20D3B-19AC-2278-0015-906AE07E69C6}"/>
                  </a:ext>
                </a:extLst>
              </p:cNvPr>
              <p:cNvSpPr/>
              <p:nvPr/>
            </p:nvSpPr>
            <p:spPr>
              <a:xfrm>
                <a:off x="17643236" y="3358086"/>
                <a:ext cx="274796" cy="274796"/>
              </a:xfrm>
              <a:custGeom>
                <a:avLst/>
                <a:gdLst>
                  <a:gd name="connsiteX0" fmla="*/ 196453 w 274796"/>
                  <a:gd name="connsiteY0" fmla="*/ 261223 h 274796"/>
                  <a:gd name="connsiteX1" fmla="*/ 13573 w 274796"/>
                  <a:gd name="connsiteY1" fmla="*/ 78343 h 274796"/>
                  <a:gd name="connsiteX2" fmla="*/ 13573 w 274796"/>
                  <a:gd name="connsiteY2" fmla="*/ 13573 h 274796"/>
                  <a:gd name="connsiteX3" fmla="*/ 78343 w 274796"/>
                  <a:gd name="connsiteY3" fmla="*/ 13573 h 274796"/>
                  <a:gd name="connsiteX4" fmla="*/ 261223 w 274796"/>
                  <a:gd name="connsiteY4" fmla="*/ 196453 h 274796"/>
                  <a:gd name="connsiteX5" fmla="*/ 261223 w 274796"/>
                  <a:gd name="connsiteY5" fmla="*/ 261223 h 274796"/>
                  <a:gd name="connsiteX6" fmla="*/ 19645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96453" y="261223"/>
                    </a:moveTo>
                    <a:lnTo>
                      <a:pt x="13573" y="78343"/>
                    </a:lnTo>
                    <a:cubicBezTo>
                      <a:pt x="-4524" y="60246"/>
                      <a:pt x="-4524" y="30718"/>
                      <a:pt x="13573" y="13573"/>
                    </a:cubicBezTo>
                    <a:cubicBezTo>
                      <a:pt x="31671" y="-4524"/>
                      <a:pt x="61198" y="-4524"/>
                      <a:pt x="78343" y="13573"/>
                    </a:cubicBezTo>
                    <a:lnTo>
                      <a:pt x="261223" y="196453"/>
                    </a:lnTo>
                    <a:cubicBezTo>
                      <a:pt x="279321" y="214551"/>
                      <a:pt x="279321" y="244078"/>
                      <a:pt x="261223" y="261223"/>
                    </a:cubicBezTo>
                    <a:cubicBezTo>
                      <a:pt x="243126" y="279321"/>
                      <a:pt x="213598" y="279321"/>
                      <a:pt x="196453" y="26122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50" name="Freeform: Shape 149">
                <a:extLst>
                  <a:ext uri="{FF2B5EF4-FFF2-40B4-BE49-F238E27FC236}">
                    <a16:creationId xmlns:a16="http://schemas.microsoft.com/office/drawing/2014/main" id="{0D5C100F-3EF3-CF8A-9016-31C48FCB5DE6}"/>
                  </a:ext>
                </a:extLst>
              </p:cNvPr>
              <p:cNvSpPr/>
              <p:nvPr/>
            </p:nvSpPr>
            <p:spPr>
              <a:xfrm>
                <a:off x="15625841" y="1341643"/>
                <a:ext cx="274796" cy="274796"/>
              </a:xfrm>
              <a:custGeom>
                <a:avLst/>
                <a:gdLst>
                  <a:gd name="connsiteX0" fmla="*/ 196453 w 274796"/>
                  <a:gd name="connsiteY0" fmla="*/ 261223 h 274796"/>
                  <a:gd name="connsiteX1" fmla="*/ 13573 w 274796"/>
                  <a:gd name="connsiteY1" fmla="*/ 78343 h 274796"/>
                  <a:gd name="connsiteX2" fmla="*/ 13573 w 274796"/>
                  <a:gd name="connsiteY2" fmla="*/ 13573 h 274796"/>
                  <a:gd name="connsiteX3" fmla="*/ 78343 w 274796"/>
                  <a:gd name="connsiteY3" fmla="*/ 13573 h 274796"/>
                  <a:gd name="connsiteX4" fmla="*/ 261223 w 274796"/>
                  <a:gd name="connsiteY4" fmla="*/ 196453 h 274796"/>
                  <a:gd name="connsiteX5" fmla="*/ 261223 w 274796"/>
                  <a:gd name="connsiteY5" fmla="*/ 261223 h 274796"/>
                  <a:gd name="connsiteX6" fmla="*/ 19645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96453" y="261223"/>
                    </a:moveTo>
                    <a:lnTo>
                      <a:pt x="13573" y="78343"/>
                    </a:lnTo>
                    <a:cubicBezTo>
                      <a:pt x="-4524" y="60246"/>
                      <a:pt x="-4524" y="30718"/>
                      <a:pt x="13573" y="13573"/>
                    </a:cubicBezTo>
                    <a:cubicBezTo>
                      <a:pt x="31671" y="-4524"/>
                      <a:pt x="61198" y="-4524"/>
                      <a:pt x="78343" y="13573"/>
                    </a:cubicBezTo>
                    <a:lnTo>
                      <a:pt x="261223" y="196453"/>
                    </a:lnTo>
                    <a:cubicBezTo>
                      <a:pt x="279321" y="214551"/>
                      <a:pt x="279321" y="244078"/>
                      <a:pt x="261223" y="261223"/>
                    </a:cubicBezTo>
                    <a:cubicBezTo>
                      <a:pt x="244078" y="279321"/>
                      <a:pt x="214551" y="279321"/>
                      <a:pt x="196453" y="26122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51" name="Freeform: Shape 150">
                <a:extLst>
                  <a:ext uri="{FF2B5EF4-FFF2-40B4-BE49-F238E27FC236}">
                    <a16:creationId xmlns:a16="http://schemas.microsoft.com/office/drawing/2014/main" id="{78E646C9-AE7C-0B6E-7BA2-1C33E48C0737}"/>
                  </a:ext>
                </a:extLst>
              </p:cNvPr>
              <p:cNvSpPr/>
              <p:nvPr/>
            </p:nvSpPr>
            <p:spPr>
              <a:xfrm>
                <a:off x="16120427" y="1835277"/>
                <a:ext cx="611504" cy="611504"/>
              </a:xfrm>
              <a:custGeom>
                <a:avLst/>
                <a:gdLst>
                  <a:gd name="connsiteX0" fmla="*/ 305752 w 611504"/>
                  <a:gd name="connsiteY0" fmla="*/ 611505 h 611504"/>
                  <a:gd name="connsiteX1" fmla="*/ 0 w 611504"/>
                  <a:gd name="connsiteY1" fmla="*/ 305752 h 611504"/>
                  <a:gd name="connsiteX2" fmla="*/ 305752 w 611504"/>
                  <a:gd name="connsiteY2" fmla="*/ 0 h 611504"/>
                  <a:gd name="connsiteX3" fmla="*/ 611505 w 611504"/>
                  <a:gd name="connsiteY3" fmla="*/ 305752 h 611504"/>
                  <a:gd name="connsiteX4" fmla="*/ 305752 w 611504"/>
                  <a:gd name="connsiteY4" fmla="*/ 611505 h 611504"/>
                  <a:gd name="connsiteX5" fmla="*/ 305752 w 611504"/>
                  <a:gd name="connsiteY5" fmla="*/ 92392 h 611504"/>
                  <a:gd name="connsiteX6" fmla="*/ 92392 w 611504"/>
                  <a:gd name="connsiteY6" fmla="*/ 305752 h 611504"/>
                  <a:gd name="connsiteX7" fmla="*/ 305752 w 611504"/>
                  <a:gd name="connsiteY7" fmla="*/ 519113 h 611504"/>
                  <a:gd name="connsiteX8" fmla="*/ 519113 w 611504"/>
                  <a:gd name="connsiteY8" fmla="*/ 305752 h 611504"/>
                  <a:gd name="connsiteX9" fmla="*/ 305752 w 611504"/>
                  <a:gd name="connsiteY9" fmla="*/ 92392 h 611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4" h="611504">
                    <a:moveTo>
                      <a:pt x="305752" y="611505"/>
                    </a:moveTo>
                    <a:cubicBezTo>
                      <a:pt x="137160" y="611505"/>
                      <a:pt x="0" y="474345"/>
                      <a:pt x="0" y="305752"/>
                    </a:cubicBezTo>
                    <a:cubicBezTo>
                      <a:pt x="0" y="137160"/>
                      <a:pt x="137160" y="0"/>
                      <a:pt x="305752" y="0"/>
                    </a:cubicBezTo>
                    <a:cubicBezTo>
                      <a:pt x="474345" y="0"/>
                      <a:pt x="611505" y="137160"/>
                      <a:pt x="611505" y="305752"/>
                    </a:cubicBezTo>
                    <a:cubicBezTo>
                      <a:pt x="611505" y="474345"/>
                      <a:pt x="474345" y="611505"/>
                      <a:pt x="305752" y="611505"/>
                    </a:cubicBezTo>
                    <a:close/>
                    <a:moveTo>
                      <a:pt x="305752" y="92392"/>
                    </a:moveTo>
                    <a:cubicBezTo>
                      <a:pt x="188595" y="92392"/>
                      <a:pt x="92392" y="187642"/>
                      <a:pt x="92392" y="305752"/>
                    </a:cubicBezTo>
                    <a:cubicBezTo>
                      <a:pt x="92392" y="423863"/>
                      <a:pt x="187642" y="519113"/>
                      <a:pt x="305752" y="519113"/>
                    </a:cubicBezTo>
                    <a:cubicBezTo>
                      <a:pt x="423863" y="519113"/>
                      <a:pt x="519113" y="423863"/>
                      <a:pt x="519113" y="305752"/>
                    </a:cubicBezTo>
                    <a:cubicBezTo>
                      <a:pt x="519113" y="187642"/>
                      <a:pt x="423863" y="92392"/>
                      <a:pt x="305752" y="92392"/>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52" name="Freeform: Shape 151">
                <a:extLst>
                  <a:ext uri="{FF2B5EF4-FFF2-40B4-BE49-F238E27FC236}">
                    <a16:creationId xmlns:a16="http://schemas.microsoft.com/office/drawing/2014/main" id="{F678F171-09B0-8E93-5E3C-E57B22C9ADF6}"/>
                  </a:ext>
                </a:extLst>
              </p:cNvPr>
              <p:cNvSpPr/>
              <p:nvPr/>
            </p:nvSpPr>
            <p:spPr>
              <a:xfrm>
                <a:off x="16985296" y="2872549"/>
                <a:ext cx="438150" cy="438150"/>
              </a:xfrm>
              <a:custGeom>
                <a:avLst/>
                <a:gdLst>
                  <a:gd name="connsiteX0" fmla="*/ 219075 w 438150"/>
                  <a:gd name="connsiteY0" fmla="*/ 438150 h 438150"/>
                  <a:gd name="connsiteX1" fmla="*/ 0 w 438150"/>
                  <a:gd name="connsiteY1" fmla="*/ 219075 h 438150"/>
                  <a:gd name="connsiteX2" fmla="*/ 219075 w 438150"/>
                  <a:gd name="connsiteY2" fmla="*/ 0 h 438150"/>
                  <a:gd name="connsiteX3" fmla="*/ 438150 w 438150"/>
                  <a:gd name="connsiteY3" fmla="*/ 219075 h 438150"/>
                  <a:gd name="connsiteX4" fmla="*/ 219075 w 438150"/>
                  <a:gd name="connsiteY4" fmla="*/ 438150 h 438150"/>
                  <a:gd name="connsiteX5" fmla="*/ 219075 w 438150"/>
                  <a:gd name="connsiteY5" fmla="*/ 92393 h 438150"/>
                  <a:gd name="connsiteX6" fmla="*/ 92393 w 438150"/>
                  <a:gd name="connsiteY6" fmla="*/ 219075 h 438150"/>
                  <a:gd name="connsiteX7" fmla="*/ 219075 w 438150"/>
                  <a:gd name="connsiteY7" fmla="*/ 345757 h 438150"/>
                  <a:gd name="connsiteX8" fmla="*/ 345758 w 438150"/>
                  <a:gd name="connsiteY8" fmla="*/ 219075 h 438150"/>
                  <a:gd name="connsiteX9" fmla="*/ 219075 w 438150"/>
                  <a:gd name="connsiteY9" fmla="*/ 92393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150" h="438150">
                    <a:moveTo>
                      <a:pt x="219075" y="438150"/>
                    </a:moveTo>
                    <a:cubicBezTo>
                      <a:pt x="98108" y="438150"/>
                      <a:pt x="0" y="340043"/>
                      <a:pt x="0" y="219075"/>
                    </a:cubicBezTo>
                    <a:cubicBezTo>
                      <a:pt x="0" y="98107"/>
                      <a:pt x="98108" y="0"/>
                      <a:pt x="219075" y="0"/>
                    </a:cubicBezTo>
                    <a:cubicBezTo>
                      <a:pt x="340043" y="0"/>
                      <a:pt x="438150" y="98107"/>
                      <a:pt x="438150" y="219075"/>
                    </a:cubicBezTo>
                    <a:cubicBezTo>
                      <a:pt x="437197" y="340043"/>
                      <a:pt x="339090" y="438150"/>
                      <a:pt x="219075" y="438150"/>
                    </a:cubicBezTo>
                    <a:close/>
                    <a:moveTo>
                      <a:pt x="219075" y="92393"/>
                    </a:moveTo>
                    <a:cubicBezTo>
                      <a:pt x="149543" y="92393"/>
                      <a:pt x="92393" y="149543"/>
                      <a:pt x="92393" y="219075"/>
                    </a:cubicBezTo>
                    <a:cubicBezTo>
                      <a:pt x="92393" y="288607"/>
                      <a:pt x="149543" y="345757"/>
                      <a:pt x="219075" y="345757"/>
                    </a:cubicBezTo>
                    <a:cubicBezTo>
                      <a:pt x="288608" y="345757"/>
                      <a:pt x="345758" y="288607"/>
                      <a:pt x="345758" y="219075"/>
                    </a:cubicBezTo>
                    <a:cubicBezTo>
                      <a:pt x="345758" y="149543"/>
                      <a:pt x="288608" y="92393"/>
                      <a:pt x="219075" y="9239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grpSp>
      </p:grpSp>
      <p:grpSp>
        <p:nvGrpSpPr>
          <p:cNvPr id="180" name="Group 179">
            <a:extLst>
              <a:ext uri="{FF2B5EF4-FFF2-40B4-BE49-F238E27FC236}">
                <a16:creationId xmlns:a16="http://schemas.microsoft.com/office/drawing/2014/main" id="{827F0DCA-D98C-48C6-EE6F-4A528B566D9C}"/>
              </a:ext>
            </a:extLst>
          </p:cNvPr>
          <p:cNvGrpSpPr/>
          <p:nvPr/>
        </p:nvGrpSpPr>
        <p:grpSpPr>
          <a:xfrm>
            <a:off x="994448" y="3548756"/>
            <a:ext cx="3520440" cy="1362456"/>
            <a:chOff x="619726" y="3856596"/>
            <a:chExt cx="3520440" cy="1362456"/>
          </a:xfrm>
        </p:grpSpPr>
        <p:sp>
          <p:nvSpPr>
            <p:cNvPr id="10" name="TextBox 9">
              <a:extLst>
                <a:ext uri="{FF2B5EF4-FFF2-40B4-BE49-F238E27FC236}">
                  <a16:creationId xmlns:a16="http://schemas.microsoft.com/office/drawing/2014/main" id="{F5403D4C-61D1-42F7-520B-081BC5A59790}"/>
                </a:ext>
              </a:extLst>
            </p:cNvPr>
            <p:cNvSpPr txBox="1"/>
            <p:nvPr/>
          </p:nvSpPr>
          <p:spPr>
            <a:xfrm>
              <a:off x="619726" y="3856596"/>
              <a:ext cx="3520440" cy="1362456"/>
            </a:xfrm>
            <a:prstGeom prst="roundRect">
              <a:avLst>
                <a:gd name="adj" fmla="val 11454"/>
              </a:avLst>
            </a:prstGeom>
            <a:solidFill>
              <a:srgbClr val="0070BF"/>
            </a:solidFill>
          </p:spPr>
          <p:txBody>
            <a:bodyPr wrap="none" lIns="27432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solidFill>
                    <a:srgbClr val="FFFFFF"/>
                  </a:solidFill>
                  <a:latin typeface="+mj-lt"/>
                </a:rPr>
                <a:t>COVID-19</a:t>
              </a:r>
            </a:p>
          </p:txBody>
        </p:sp>
        <p:sp>
          <p:nvSpPr>
            <p:cNvPr id="11" name="TextBox 10">
              <a:extLst>
                <a:ext uri="{FF2B5EF4-FFF2-40B4-BE49-F238E27FC236}">
                  <a16:creationId xmlns:a16="http://schemas.microsoft.com/office/drawing/2014/main" id="{ACCC0F3E-3389-C9B6-E5A6-DF6944F6C45E}"/>
                </a:ext>
              </a:extLst>
            </p:cNvPr>
            <p:cNvSpPr txBox="1"/>
            <p:nvPr/>
          </p:nvSpPr>
          <p:spPr bwMode="gray">
            <a:xfrm>
              <a:off x="936512" y="4182140"/>
              <a:ext cx="2944210" cy="913874"/>
            </a:xfrm>
            <a:prstGeom prst="rect">
              <a:avLst/>
            </a:prstGeom>
            <a:noFill/>
            <a:ln w="19050">
              <a:noFill/>
            </a:ln>
          </p:spPr>
          <p:txBody>
            <a:bodyPr spcFirstLastPara="1" wrap="square" lIns="0" tIns="0" rIns="0" bIns="0" rtlCol="0" anchor="t" anchorCtr="0">
              <a:noAutofit/>
            </a:bodyPr>
            <a:lstStyle/>
            <a:p>
              <a:pPr>
                <a:lnSpc>
                  <a:spcPct val="90000"/>
                </a:lnSpc>
                <a:spcBef>
                  <a:spcPts val="600"/>
                </a:spcBef>
                <a:defRPr/>
              </a:pPr>
              <a:r>
                <a:rPr lang="en-GB" sz="1400" err="1">
                  <a:solidFill>
                    <a:schemeClr val="bg1"/>
                  </a:solidFill>
                </a:rPr>
                <a:t>Ağır</a:t>
              </a:r>
              <a:r>
                <a:rPr lang="en-GB" sz="1400">
                  <a:solidFill>
                    <a:schemeClr val="bg1"/>
                  </a:solidFill>
                </a:rPr>
                <a:t> </a:t>
              </a:r>
              <a:r>
                <a:rPr lang="en-GB" sz="1400" err="1">
                  <a:solidFill>
                    <a:schemeClr val="bg1"/>
                  </a:solidFill>
                </a:rPr>
                <a:t>ve</a:t>
              </a:r>
              <a:r>
                <a:rPr lang="en-GB" sz="1400">
                  <a:solidFill>
                    <a:schemeClr val="bg1"/>
                  </a:solidFill>
                </a:rPr>
                <a:t> </a:t>
              </a:r>
              <a:r>
                <a:rPr lang="en-GB" sz="1400" err="1">
                  <a:solidFill>
                    <a:schemeClr val="bg1"/>
                  </a:solidFill>
                </a:rPr>
                <a:t>kritik</a:t>
              </a:r>
              <a:r>
                <a:rPr lang="en-GB" sz="1400">
                  <a:solidFill>
                    <a:schemeClr val="bg1"/>
                  </a:solidFill>
                </a:rPr>
                <a:t> COVID-19 </a:t>
              </a:r>
              <a:r>
                <a:rPr lang="en-GB" sz="1400" err="1">
                  <a:solidFill>
                    <a:schemeClr val="bg1"/>
                  </a:solidFill>
                </a:rPr>
                <a:t>vakaları</a:t>
              </a:r>
              <a:r>
                <a:rPr lang="en-GB" sz="1400">
                  <a:solidFill>
                    <a:schemeClr val="bg1"/>
                  </a:solidFill>
                </a:rPr>
                <a:t>, </a:t>
              </a:r>
              <a:r>
                <a:rPr lang="en-GB" sz="1400" err="1">
                  <a:solidFill>
                    <a:schemeClr val="bg1"/>
                  </a:solidFill>
                </a:rPr>
                <a:t>kronik</a:t>
              </a:r>
              <a:r>
                <a:rPr lang="en-GB" sz="1400">
                  <a:solidFill>
                    <a:schemeClr val="bg1"/>
                  </a:solidFill>
                </a:rPr>
                <a:t> böbrek</a:t>
              </a:r>
              <a:r>
                <a:rPr lang="en-GB" sz="1400" baseline="30000">
                  <a:solidFill>
                    <a:schemeClr val="bg1"/>
                  </a:solidFill>
                </a:rPr>
                <a:t>3</a:t>
              </a:r>
              <a:r>
                <a:rPr lang="en-GB" sz="1400">
                  <a:solidFill>
                    <a:schemeClr val="bg1"/>
                  </a:solidFill>
                </a:rPr>
                <a:t> </a:t>
              </a:r>
              <a:r>
                <a:rPr lang="en-GB" sz="1400" err="1">
                  <a:solidFill>
                    <a:schemeClr val="bg1"/>
                  </a:solidFill>
                </a:rPr>
                <a:t>ve</a:t>
              </a:r>
              <a:r>
                <a:rPr lang="en-GB" sz="1400">
                  <a:solidFill>
                    <a:schemeClr val="bg1"/>
                  </a:solidFill>
                </a:rPr>
                <a:t> karaciğer</a:t>
              </a:r>
              <a:r>
                <a:rPr lang="en-GB" sz="1400" baseline="30000">
                  <a:solidFill>
                    <a:schemeClr val="bg1"/>
                  </a:solidFill>
                </a:rPr>
                <a:t>4</a:t>
              </a:r>
              <a:r>
                <a:rPr lang="en-GB" sz="1400">
                  <a:solidFill>
                    <a:schemeClr val="bg1"/>
                  </a:solidFill>
                </a:rPr>
                <a:t> </a:t>
              </a:r>
              <a:r>
                <a:rPr lang="en-GB" sz="1400" err="1">
                  <a:solidFill>
                    <a:schemeClr val="bg1"/>
                  </a:solidFill>
                </a:rPr>
                <a:t>hastalıklarının</a:t>
              </a:r>
              <a:r>
                <a:rPr lang="en-GB" sz="1400">
                  <a:solidFill>
                    <a:schemeClr val="bg1"/>
                  </a:solidFill>
                </a:rPr>
                <a:t> </a:t>
              </a:r>
              <a:r>
                <a:rPr lang="en-GB" sz="1400" err="1">
                  <a:solidFill>
                    <a:schemeClr val="bg1"/>
                  </a:solidFill>
                </a:rPr>
                <a:t>kötüleşmesi</a:t>
              </a:r>
              <a:r>
                <a:rPr lang="en-GB" sz="1400">
                  <a:solidFill>
                    <a:schemeClr val="bg1"/>
                  </a:solidFill>
                </a:rPr>
                <a:t> </a:t>
              </a:r>
              <a:r>
                <a:rPr lang="en-GB" sz="1400" err="1">
                  <a:solidFill>
                    <a:schemeClr val="bg1"/>
                  </a:solidFill>
                </a:rPr>
                <a:t>veya</a:t>
              </a:r>
              <a:r>
                <a:rPr lang="en-GB" sz="1400">
                  <a:solidFill>
                    <a:schemeClr val="bg1"/>
                  </a:solidFill>
                </a:rPr>
                <a:t> </a:t>
              </a:r>
              <a:r>
                <a:rPr lang="en-GB" sz="1400" err="1">
                  <a:solidFill>
                    <a:schemeClr val="bg1"/>
                  </a:solidFill>
                </a:rPr>
                <a:t>ilerlemesi</a:t>
              </a:r>
              <a:r>
                <a:rPr lang="en-GB" sz="1400">
                  <a:solidFill>
                    <a:schemeClr val="bg1"/>
                  </a:solidFill>
                </a:rPr>
                <a:t> </a:t>
              </a:r>
              <a:r>
                <a:rPr lang="en-GB" sz="1400" err="1">
                  <a:solidFill>
                    <a:schemeClr val="bg1"/>
                  </a:solidFill>
                </a:rPr>
                <a:t>ile</a:t>
              </a:r>
              <a:r>
                <a:rPr lang="en-GB" sz="1400">
                  <a:solidFill>
                    <a:schemeClr val="bg1"/>
                  </a:solidFill>
                </a:rPr>
                <a:t> </a:t>
              </a:r>
              <a:r>
                <a:rPr lang="en-GB" sz="1400" err="1">
                  <a:solidFill>
                    <a:schemeClr val="bg1"/>
                  </a:solidFill>
                </a:rPr>
                <a:t>ilişkilidir</a:t>
              </a:r>
              <a:r>
                <a:rPr lang="en-GB" sz="1400">
                  <a:solidFill>
                    <a:schemeClr val="bg1"/>
                  </a:solidFill>
                </a:rPr>
                <a:t>.</a:t>
              </a:r>
            </a:p>
          </p:txBody>
        </p:sp>
      </p:grpSp>
      <p:grpSp>
        <p:nvGrpSpPr>
          <p:cNvPr id="181" name="Group 180">
            <a:extLst>
              <a:ext uri="{FF2B5EF4-FFF2-40B4-BE49-F238E27FC236}">
                <a16:creationId xmlns:a16="http://schemas.microsoft.com/office/drawing/2014/main" id="{1F8D7D00-4D43-BBB0-8574-A2C0304E0C28}"/>
              </a:ext>
            </a:extLst>
          </p:cNvPr>
          <p:cNvGrpSpPr/>
          <p:nvPr/>
        </p:nvGrpSpPr>
        <p:grpSpPr>
          <a:xfrm>
            <a:off x="595195" y="3497187"/>
            <a:ext cx="630449" cy="630449"/>
            <a:chOff x="-484407" y="3925652"/>
            <a:chExt cx="759021" cy="759021"/>
          </a:xfrm>
        </p:grpSpPr>
        <p:sp>
          <p:nvSpPr>
            <p:cNvPr id="172" name="Oval 171">
              <a:extLst>
                <a:ext uri="{FF2B5EF4-FFF2-40B4-BE49-F238E27FC236}">
                  <a16:creationId xmlns:a16="http://schemas.microsoft.com/office/drawing/2014/main" id="{82C98776-4301-552C-A606-25514F7CC2B6}"/>
                </a:ext>
              </a:extLst>
            </p:cNvPr>
            <p:cNvSpPr/>
            <p:nvPr/>
          </p:nvSpPr>
          <p:spPr>
            <a:xfrm>
              <a:off x="-484407" y="3925652"/>
              <a:ext cx="759021" cy="759021"/>
            </a:xfrm>
            <a:prstGeom prst="ellipse">
              <a:avLst/>
            </a:prstGeom>
            <a:solidFill>
              <a:schemeClr val="bg1"/>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Freeform: Shape 111">
              <a:extLst>
                <a:ext uri="{FF2B5EF4-FFF2-40B4-BE49-F238E27FC236}">
                  <a16:creationId xmlns:a16="http://schemas.microsoft.com/office/drawing/2014/main" id="{CE971D6A-EAD7-C4B1-D262-F325C4BD8241}"/>
                </a:ext>
              </a:extLst>
            </p:cNvPr>
            <p:cNvSpPr/>
            <p:nvPr/>
          </p:nvSpPr>
          <p:spPr>
            <a:xfrm>
              <a:off x="-351378" y="4053828"/>
              <a:ext cx="487571" cy="507040"/>
            </a:xfrm>
            <a:custGeom>
              <a:avLst/>
              <a:gdLst>
                <a:gd name="connsiteX0" fmla="*/ 223488 w 458148"/>
                <a:gd name="connsiteY0" fmla="*/ 574 h 456788"/>
                <a:gd name="connsiteX1" fmla="*/ 254724 w 458148"/>
                <a:gd name="connsiteY1" fmla="*/ 20907 h 456788"/>
                <a:gd name="connsiteX2" fmla="*/ 248755 w 458148"/>
                <a:gd name="connsiteY2" fmla="*/ 43957 h 456788"/>
                <a:gd name="connsiteX3" fmla="*/ 240246 w 458148"/>
                <a:gd name="connsiteY3" fmla="*/ 69040 h 456788"/>
                <a:gd name="connsiteX4" fmla="*/ 252120 w 458148"/>
                <a:gd name="connsiteY4" fmla="*/ 97488 h 456788"/>
                <a:gd name="connsiteX5" fmla="*/ 274409 w 458148"/>
                <a:gd name="connsiteY5" fmla="*/ 103520 h 456788"/>
                <a:gd name="connsiteX6" fmla="*/ 298983 w 458148"/>
                <a:gd name="connsiteY6" fmla="*/ 84788 h 456788"/>
                <a:gd name="connsiteX7" fmla="*/ 304127 w 458148"/>
                <a:gd name="connsiteY7" fmla="*/ 58816 h 456788"/>
                <a:gd name="connsiteX8" fmla="*/ 307048 w 458148"/>
                <a:gd name="connsiteY8" fmla="*/ 40465 h 456788"/>
                <a:gd name="connsiteX9" fmla="*/ 309651 w 458148"/>
                <a:gd name="connsiteY9" fmla="*/ 36737 h 456788"/>
                <a:gd name="connsiteX10" fmla="*/ 346862 w 458148"/>
                <a:gd name="connsiteY10" fmla="*/ 33416 h 456788"/>
                <a:gd name="connsiteX11" fmla="*/ 355181 w 458148"/>
                <a:gd name="connsiteY11" fmla="*/ 61420 h 456788"/>
                <a:gd name="connsiteX12" fmla="*/ 338798 w 458148"/>
                <a:gd name="connsiteY12" fmla="*/ 78438 h 456788"/>
                <a:gd name="connsiteX13" fmla="*/ 318478 w 458148"/>
                <a:gd name="connsiteY13" fmla="*/ 96027 h 456788"/>
                <a:gd name="connsiteX14" fmla="*/ 314477 w 458148"/>
                <a:gd name="connsiteY14" fmla="*/ 126507 h 456788"/>
                <a:gd name="connsiteX15" fmla="*/ 330987 w 458148"/>
                <a:gd name="connsiteY15" fmla="*/ 143081 h 456788"/>
                <a:gd name="connsiteX16" fmla="*/ 361467 w 458148"/>
                <a:gd name="connsiteY16" fmla="*/ 139080 h 456788"/>
                <a:gd name="connsiteX17" fmla="*/ 378866 w 458148"/>
                <a:gd name="connsiteY17" fmla="*/ 119205 h 456788"/>
                <a:gd name="connsiteX18" fmla="*/ 386118 w 458148"/>
                <a:gd name="connsiteY18" fmla="*/ 107984 h 456788"/>
                <a:gd name="connsiteX19" fmla="*/ 423443 w 458148"/>
                <a:gd name="connsiteY19" fmla="*/ 109635 h 456788"/>
                <a:gd name="connsiteX20" fmla="*/ 421792 w 458148"/>
                <a:gd name="connsiteY20" fmla="*/ 146954 h 456788"/>
                <a:gd name="connsiteX21" fmla="*/ 399123 w 458148"/>
                <a:gd name="connsiteY21" fmla="*/ 153304 h 456788"/>
                <a:gd name="connsiteX22" fmla="*/ 372707 w 458148"/>
                <a:gd name="connsiteY22" fmla="*/ 158384 h 456788"/>
                <a:gd name="connsiteX23" fmla="*/ 354116 w 458148"/>
                <a:gd name="connsiteY23" fmla="*/ 182666 h 456788"/>
                <a:gd name="connsiteX24" fmla="*/ 354038 w 458148"/>
                <a:gd name="connsiteY24" fmla="*/ 182387 h 456788"/>
                <a:gd name="connsiteX25" fmla="*/ 354038 w 458148"/>
                <a:gd name="connsiteY25" fmla="*/ 182768 h 456788"/>
                <a:gd name="connsiteX26" fmla="*/ 354116 w 458148"/>
                <a:gd name="connsiteY26" fmla="*/ 182666 h 456788"/>
                <a:gd name="connsiteX27" fmla="*/ 360388 w 458148"/>
                <a:gd name="connsiteY27" fmla="*/ 205184 h 456788"/>
                <a:gd name="connsiteX28" fmla="*/ 388709 w 458148"/>
                <a:gd name="connsiteY28" fmla="*/ 216995 h 456788"/>
                <a:gd name="connsiteX29" fmla="*/ 413791 w 458148"/>
                <a:gd name="connsiteY29" fmla="*/ 208486 h 456788"/>
                <a:gd name="connsiteX30" fmla="*/ 436905 w 458148"/>
                <a:gd name="connsiteY30" fmla="*/ 202453 h 456788"/>
                <a:gd name="connsiteX31" fmla="*/ 457162 w 458148"/>
                <a:gd name="connsiteY31" fmla="*/ 223599 h 456788"/>
                <a:gd name="connsiteX32" fmla="*/ 449872 w 458148"/>
                <a:gd name="connsiteY32" fmla="*/ 249875 h 456788"/>
                <a:gd name="connsiteX33" fmla="*/ 412712 w 458148"/>
                <a:gd name="connsiteY33" fmla="*/ 248745 h 456788"/>
                <a:gd name="connsiteX34" fmla="*/ 387312 w 458148"/>
                <a:gd name="connsiteY34" fmla="*/ 239982 h 456788"/>
                <a:gd name="connsiteX35" fmla="*/ 358991 w 458148"/>
                <a:gd name="connsiteY35" fmla="*/ 251729 h 456788"/>
                <a:gd name="connsiteX36" fmla="*/ 352958 w 458148"/>
                <a:gd name="connsiteY36" fmla="*/ 274335 h 456788"/>
                <a:gd name="connsiteX37" fmla="*/ 371627 w 458148"/>
                <a:gd name="connsiteY37" fmla="*/ 298719 h 456788"/>
                <a:gd name="connsiteX38" fmla="*/ 397599 w 458148"/>
                <a:gd name="connsiteY38" fmla="*/ 303863 h 456788"/>
                <a:gd name="connsiteX39" fmla="*/ 411855 w 458148"/>
                <a:gd name="connsiteY39" fmla="*/ 304593 h 456788"/>
                <a:gd name="connsiteX40" fmla="*/ 428460 w 458148"/>
                <a:gd name="connsiteY40" fmla="*/ 338057 h 456788"/>
                <a:gd name="connsiteX41" fmla="*/ 394995 w 458148"/>
                <a:gd name="connsiteY41" fmla="*/ 354663 h 456788"/>
                <a:gd name="connsiteX42" fmla="*/ 377977 w 458148"/>
                <a:gd name="connsiteY42" fmla="*/ 338280 h 456788"/>
                <a:gd name="connsiteX43" fmla="*/ 360324 w 458148"/>
                <a:gd name="connsiteY43" fmla="*/ 317960 h 456788"/>
                <a:gd name="connsiteX44" fmla="*/ 330035 w 458148"/>
                <a:gd name="connsiteY44" fmla="*/ 313959 h 456788"/>
                <a:gd name="connsiteX45" fmla="*/ 313398 w 458148"/>
                <a:gd name="connsiteY45" fmla="*/ 330596 h 456788"/>
                <a:gd name="connsiteX46" fmla="*/ 317398 w 458148"/>
                <a:gd name="connsiteY46" fmla="*/ 360822 h 456788"/>
                <a:gd name="connsiteX47" fmla="*/ 337337 w 458148"/>
                <a:gd name="connsiteY47" fmla="*/ 378221 h 456788"/>
                <a:gd name="connsiteX48" fmla="*/ 348132 w 458148"/>
                <a:gd name="connsiteY48" fmla="*/ 385200 h 456788"/>
                <a:gd name="connsiteX49" fmla="*/ 346831 w 458148"/>
                <a:gd name="connsiteY49" fmla="*/ 422443 h 456788"/>
                <a:gd name="connsiteX50" fmla="*/ 309588 w 458148"/>
                <a:gd name="connsiteY50" fmla="*/ 421147 h 456788"/>
                <a:gd name="connsiteX51" fmla="*/ 303238 w 458148"/>
                <a:gd name="connsiteY51" fmla="*/ 398478 h 456788"/>
                <a:gd name="connsiteX52" fmla="*/ 298094 w 458148"/>
                <a:gd name="connsiteY52" fmla="*/ 372062 h 456788"/>
                <a:gd name="connsiteX53" fmla="*/ 273837 w 458148"/>
                <a:gd name="connsiteY53" fmla="*/ 353393 h 456788"/>
                <a:gd name="connsiteX54" fmla="*/ 251231 w 458148"/>
                <a:gd name="connsiteY54" fmla="*/ 359743 h 456788"/>
                <a:gd name="connsiteX55" fmla="*/ 239547 w 458148"/>
                <a:gd name="connsiteY55" fmla="*/ 388000 h 456788"/>
                <a:gd name="connsiteX56" fmla="*/ 248056 w 458148"/>
                <a:gd name="connsiteY56" fmla="*/ 413019 h 456788"/>
                <a:gd name="connsiteX57" fmla="*/ 254235 w 458148"/>
                <a:gd name="connsiteY57" fmla="*/ 434971 h 456788"/>
                <a:gd name="connsiteX58" fmla="*/ 223736 w 458148"/>
                <a:gd name="connsiteY58" fmla="*/ 456390 h 456788"/>
                <a:gd name="connsiteX59" fmla="*/ 202527 w 458148"/>
                <a:gd name="connsiteY59" fmla="*/ 436324 h 456788"/>
                <a:gd name="connsiteX60" fmla="*/ 208242 w 458148"/>
                <a:gd name="connsiteY60" fmla="*/ 413400 h 456788"/>
                <a:gd name="connsiteX61" fmla="*/ 217005 w 458148"/>
                <a:gd name="connsiteY61" fmla="*/ 388000 h 456788"/>
                <a:gd name="connsiteX62" fmla="*/ 205321 w 458148"/>
                <a:gd name="connsiteY62" fmla="*/ 359679 h 456788"/>
                <a:gd name="connsiteX63" fmla="*/ 182905 w 458148"/>
                <a:gd name="connsiteY63" fmla="*/ 353647 h 456788"/>
                <a:gd name="connsiteX64" fmla="*/ 158585 w 458148"/>
                <a:gd name="connsiteY64" fmla="*/ 372316 h 456788"/>
                <a:gd name="connsiteX65" fmla="*/ 153441 w 458148"/>
                <a:gd name="connsiteY65" fmla="*/ 398732 h 456788"/>
                <a:gd name="connsiteX66" fmla="*/ 150393 w 458148"/>
                <a:gd name="connsiteY66" fmla="*/ 416575 h 456788"/>
                <a:gd name="connsiteX67" fmla="*/ 136017 w 458148"/>
                <a:gd name="connsiteY67" fmla="*/ 428386 h 456788"/>
                <a:gd name="connsiteX68" fmla="*/ 102597 w 458148"/>
                <a:gd name="connsiteY68" fmla="*/ 411895 h 456788"/>
                <a:gd name="connsiteX69" fmla="*/ 119088 w 458148"/>
                <a:gd name="connsiteY69" fmla="*/ 378475 h 456788"/>
                <a:gd name="connsiteX70" fmla="*/ 139027 w 458148"/>
                <a:gd name="connsiteY70" fmla="*/ 361076 h 456788"/>
                <a:gd name="connsiteX71" fmla="*/ 143027 w 458148"/>
                <a:gd name="connsiteY71" fmla="*/ 330850 h 456788"/>
                <a:gd name="connsiteX72" fmla="*/ 126390 w 458148"/>
                <a:gd name="connsiteY72" fmla="*/ 314213 h 456788"/>
                <a:gd name="connsiteX73" fmla="*/ 96101 w 458148"/>
                <a:gd name="connsiteY73" fmla="*/ 318214 h 456788"/>
                <a:gd name="connsiteX74" fmla="*/ 78448 w 458148"/>
                <a:gd name="connsiteY74" fmla="*/ 338534 h 456788"/>
                <a:gd name="connsiteX75" fmla="*/ 66954 w 458148"/>
                <a:gd name="connsiteY75" fmla="*/ 352504 h 456788"/>
                <a:gd name="connsiteX76" fmla="*/ 48584 w 458148"/>
                <a:gd name="connsiteY76" fmla="*/ 355552 h 456788"/>
                <a:gd name="connsiteX77" fmla="*/ 27889 w 458148"/>
                <a:gd name="connsiteY77" fmla="*/ 324551 h 456788"/>
                <a:gd name="connsiteX78" fmla="*/ 58890 w 458148"/>
                <a:gd name="connsiteY78" fmla="*/ 303863 h 456788"/>
                <a:gd name="connsiteX79" fmla="*/ 84861 w 458148"/>
                <a:gd name="connsiteY79" fmla="*/ 298719 h 456788"/>
                <a:gd name="connsiteX80" fmla="*/ 103467 w 458148"/>
                <a:gd name="connsiteY80" fmla="*/ 274335 h 456788"/>
                <a:gd name="connsiteX81" fmla="*/ 97117 w 458148"/>
                <a:gd name="connsiteY81" fmla="*/ 251729 h 456788"/>
                <a:gd name="connsiteX82" fmla="*/ 68796 w 458148"/>
                <a:gd name="connsiteY82" fmla="*/ 239982 h 456788"/>
                <a:gd name="connsiteX83" fmla="*/ 43396 w 458148"/>
                <a:gd name="connsiteY83" fmla="*/ 248745 h 456788"/>
                <a:gd name="connsiteX84" fmla="*/ 26441 w 458148"/>
                <a:gd name="connsiteY84" fmla="*/ 255095 h 456788"/>
                <a:gd name="connsiteX85" fmla="*/ 641 w 458148"/>
                <a:gd name="connsiteY85" fmla="*/ 234438 h 456788"/>
                <a:gd name="connsiteX86" fmla="*/ 20663 w 458148"/>
                <a:gd name="connsiteY86" fmla="*/ 202898 h 456788"/>
                <a:gd name="connsiteX87" fmla="*/ 43777 w 458148"/>
                <a:gd name="connsiteY87" fmla="*/ 208930 h 456788"/>
                <a:gd name="connsiteX88" fmla="*/ 69177 w 458148"/>
                <a:gd name="connsiteY88" fmla="*/ 217439 h 456788"/>
                <a:gd name="connsiteX89" fmla="*/ 97561 w 458148"/>
                <a:gd name="connsiteY89" fmla="*/ 205628 h 456788"/>
                <a:gd name="connsiteX90" fmla="*/ 103833 w 458148"/>
                <a:gd name="connsiteY90" fmla="*/ 183111 h 456788"/>
                <a:gd name="connsiteX91" fmla="*/ 103911 w 458148"/>
                <a:gd name="connsiteY91" fmla="*/ 183213 h 456788"/>
                <a:gd name="connsiteX92" fmla="*/ 103911 w 458148"/>
                <a:gd name="connsiteY92" fmla="*/ 182832 h 456788"/>
                <a:gd name="connsiteX93" fmla="*/ 103833 w 458148"/>
                <a:gd name="connsiteY93" fmla="*/ 183111 h 456788"/>
                <a:gd name="connsiteX94" fmla="*/ 85242 w 458148"/>
                <a:gd name="connsiteY94" fmla="*/ 158829 h 456788"/>
                <a:gd name="connsiteX95" fmla="*/ 58890 w 458148"/>
                <a:gd name="connsiteY95" fmla="*/ 153749 h 456788"/>
                <a:gd name="connsiteX96" fmla="*/ 41046 w 458148"/>
                <a:gd name="connsiteY96" fmla="*/ 150764 h 456788"/>
                <a:gd name="connsiteX97" fmla="*/ 29096 w 458148"/>
                <a:gd name="connsiteY97" fmla="*/ 120145 h 456788"/>
                <a:gd name="connsiteX98" fmla="*/ 62128 w 458148"/>
                <a:gd name="connsiteY98" fmla="*/ 102695 h 456788"/>
                <a:gd name="connsiteX99" fmla="*/ 79146 w 458148"/>
                <a:gd name="connsiteY99" fmla="*/ 119459 h 456788"/>
                <a:gd name="connsiteX100" fmla="*/ 96609 w 458148"/>
                <a:gd name="connsiteY100" fmla="*/ 139334 h 456788"/>
                <a:gd name="connsiteX101" fmla="*/ 127025 w 458148"/>
                <a:gd name="connsiteY101" fmla="*/ 143335 h 456788"/>
                <a:gd name="connsiteX102" fmla="*/ 143599 w 458148"/>
                <a:gd name="connsiteY102" fmla="*/ 126761 h 456788"/>
                <a:gd name="connsiteX103" fmla="*/ 139598 w 458148"/>
                <a:gd name="connsiteY103" fmla="*/ 96281 h 456788"/>
                <a:gd name="connsiteX104" fmla="*/ 119278 w 458148"/>
                <a:gd name="connsiteY104" fmla="*/ 78692 h 456788"/>
                <a:gd name="connsiteX105" fmla="*/ 108737 w 458148"/>
                <a:gd name="connsiteY105" fmla="*/ 71681 h 456788"/>
                <a:gd name="connsiteX106" fmla="*/ 110369 w 458148"/>
                <a:gd name="connsiteY106" fmla="*/ 34451 h 456788"/>
                <a:gd name="connsiteX107" fmla="*/ 147599 w 458148"/>
                <a:gd name="connsiteY107" fmla="*/ 36083 h 456788"/>
                <a:gd name="connsiteX108" fmla="*/ 153949 w 458148"/>
                <a:gd name="connsiteY108" fmla="*/ 59070 h 456788"/>
                <a:gd name="connsiteX109" fmla="*/ 159156 w 458148"/>
                <a:gd name="connsiteY109" fmla="*/ 85042 h 456788"/>
                <a:gd name="connsiteX110" fmla="*/ 183667 w 458148"/>
                <a:gd name="connsiteY110" fmla="*/ 103774 h 456788"/>
                <a:gd name="connsiteX111" fmla="*/ 206718 w 458148"/>
                <a:gd name="connsiteY111" fmla="*/ 97424 h 456788"/>
                <a:gd name="connsiteX112" fmla="*/ 205956 w 458148"/>
                <a:gd name="connsiteY112" fmla="*/ 97424 h 456788"/>
                <a:gd name="connsiteX113" fmla="*/ 217703 w 458148"/>
                <a:gd name="connsiteY113" fmla="*/ 69040 h 456788"/>
                <a:gd name="connsiteX114" fmla="*/ 208940 w 458148"/>
                <a:gd name="connsiteY114" fmla="*/ 43640 h 456788"/>
                <a:gd name="connsiteX115" fmla="*/ 202590 w 458148"/>
                <a:gd name="connsiteY115" fmla="*/ 26622 h 456788"/>
                <a:gd name="connsiteX116" fmla="*/ 223488 w 458148"/>
                <a:gd name="connsiteY116" fmla="*/ 574 h 456788"/>
                <a:gd name="connsiteX117" fmla="*/ 229387 w 458148"/>
                <a:gd name="connsiteY117" fmla="*/ 124030 h 456788"/>
                <a:gd name="connsiteX118" fmla="*/ 206146 w 458148"/>
                <a:gd name="connsiteY118" fmla="*/ 147144 h 456788"/>
                <a:gd name="connsiteX119" fmla="*/ 206146 w 458148"/>
                <a:gd name="connsiteY119" fmla="*/ 147208 h 456788"/>
                <a:gd name="connsiteX120" fmla="*/ 229197 w 458148"/>
                <a:gd name="connsiteY120" fmla="*/ 170385 h 456788"/>
                <a:gd name="connsiteX121" fmla="*/ 229260 w 458148"/>
                <a:gd name="connsiteY121" fmla="*/ 170385 h 456788"/>
                <a:gd name="connsiteX122" fmla="*/ 252501 w 458148"/>
                <a:gd name="connsiteY122" fmla="*/ 147271 h 456788"/>
                <a:gd name="connsiteX123" fmla="*/ 229387 w 458148"/>
                <a:gd name="connsiteY123" fmla="*/ 124030 h 456788"/>
                <a:gd name="connsiteX124" fmla="*/ 305262 w 458148"/>
                <a:gd name="connsiteY124" fmla="*/ 165197 h 456788"/>
                <a:gd name="connsiteX125" fmla="*/ 287667 w 458148"/>
                <a:gd name="connsiteY125" fmla="*/ 167464 h 456788"/>
                <a:gd name="connsiteX126" fmla="*/ 287553 w 458148"/>
                <a:gd name="connsiteY126" fmla="*/ 167528 h 456788"/>
                <a:gd name="connsiteX127" fmla="*/ 279266 w 458148"/>
                <a:gd name="connsiteY127" fmla="*/ 199151 h 456788"/>
                <a:gd name="connsiteX128" fmla="*/ 310889 w 458148"/>
                <a:gd name="connsiteY128" fmla="*/ 207431 h 456788"/>
                <a:gd name="connsiteX129" fmla="*/ 319303 w 458148"/>
                <a:gd name="connsiteY129" fmla="*/ 176037 h 456788"/>
                <a:gd name="connsiteX130" fmla="*/ 305262 w 458148"/>
                <a:gd name="connsiteY130" fmla="*/ 165197 h 456788"/>
                <a:gd name="connsiteX131" fmla="*/ 153422 w 458148"/>
                <a:gd name="connsiteY131" fmla="*/ 165277 h 456788"/>
                <a:gd name="connsiteX132" fmla="*/ 139420 w 458148"/>
                <a:gd name="connsiteY132" fmla="*/ 176094 h 456788"/>
                <a:gd name="connsiteX133" fmla="*/ 147986 w 458148"/>
                <a:gd name="connsiteY133" fmla="*/ 207641 h 456788"/>
                <a:gd name="connsiteX134" fmla="*/ 179412 w 458148"/>
                <a:gd name="connsiteY134" fmla="*/ 199278 h 456788"/>
                <a:gd name="connsiteX135" fmla="*/ 171062 w 458148"/>
                <a:gd name="connsiteY135" fmla="*/ 167585 h 456788"/>
                <a:gd name="connsiteX136" fmla="*/ 170967 w 458148"/>
                <a:gd name="connsiteY136" fmla="*/ 167528 h 456788"/>
                <a:gd name="connsiteX137" fmla="*/ 153422 w 458148"/>
                <a:gd name="connsiteY137" fmla="*/ 165277 h 456788"/>
                <a:gd name="connsiteX138" fmla="*/ 229260 w 458148"/>
                <a:gd name="connsiteY138" fmla="*/ 198199 h 456788"/>
                <a:gd name="connsiteX139" fmla="*/ 200050 w 458148"/>
                <a:gd name="connsiteY139" fmla="*/ 227409 h 456788"/>
                <a:gd name="connsiteX140" fmla="*/ 229260 w 458148"/>
                <a:gd name="connsiteY140" fmla="*/ 256619 h 456788"/>
                <a:gd name="connsiteX141" fmla="*/ 258470 w 458148"/>
                <a:gd name="connsiteY141" fmla="*/ 227409 h 456788"/>
                <a:gd name="connsiteX142" fmla="*/ 229260 w 458148"/>
                <a:gd name="connsiteY142" fmla="*/ 198199 h 456788"/>
                <a:gd name="connsiteX143" fmla="*/ 293115 w 458148"/>
                <a:gd name="connsiteY143" fmla="*/ 246027 h 456788"/>
                <a:gd name="connsiteX144" fmla="*/ 279139 w 458148"/>
                <a:gd name="connsiteY144" fmla="*/ 256873 h 456788"/>
                <a:gd name="connsiteX145" fmla="*/ 287782 w 458148"/>
                <a:gd name="connsiteY145" fmla="*/ 288400 h 456788"/>
                <a:gd name="connsiteX146" fmla="*/ 319176 w 458148"/>
                <a:gd name="connsiteY146" fmla="*/ 279987 h 456788"/>
                <a:gd name="connsiteX147" fmla="*/ 311004 w 458148"/>
                <a:gd name="connsiteY147" fmla="*/ 248427 h 456788"/>
                <a:gd name="connsiteX148" fmla="*/ 310667 w 458148"/>
                <a:gd name="connsiteY148" fmla="*/ 248237 h 456788"/>
                <a:gd name="connsiteX149" fmla="*/ 293115 w 458148"/>
                <a:gd name="connsiteY149" fmla="*/ 246027 h 456788"/>
                <a:gd name="connsiteX150" fmla="*/ 165604 w 458148"/>
                <a:gd name="connsiteY150" fmla="*/ 245867 h 456788"/>
                <a:gd name="connsiteX151" fmla="*/ 148057 w 458148"/>
                <a:gd name="connsiteY151" fmla="*/ 248116 h 456788"/>
                <a:gd name="connsiteX152" fmla="*/ 147854 w 458148"/>
                <a:gd name="connsiteY152" fmla="*/ 248236 h 456788"/>
                <a:gd name="connsiteX153" fmla="*/ 139611 w 458148"/>
                <a:gd name="connsiteY153" fmla="*/ 279866 h 456788"/>
                <a:gd name="connsiteX154" fmla="*/ 171241 w 458148"/>
                <a:gd name="connsiteY154" fmla="*/ 288108 h 456788"/>
                <a:gd name="connsiteX155" fmla="*/ 179604 w 458148"/>
                <a:gd name="connsiteY155" fmla="*/ 256682 h 456788"/>
                <a:gd name="connsiteX156" fmla="*/ 165604 w 458148"/>
                <a:gd name="connsiteY156" fmla="*/ 245867 h 456788"/>
                <a:gd name="connsiteX157" fmla="*/ 229260 w 458148"/>
                <a:gd name="connsiteY157" fmla="*/ 285447 h 456788"/>
                <a:gd name="connsiteX158" fmla="*/ 206019 w 458148"/>
                <a:gd name="connsiteY158" fmla="*/ 308561 h 456788"/>
                <a:gd name="connsiteX159" fmla="*/ 229133 w 458148"/>
                <a:gd name="connsiteY159" fmla="*/ 331802 h 456788"/>
                <a:gd name="connsiteX160" fmla="*/ 252374 w 458148"/>
                <a:gd name="connsiteY160" fmla="*/ 308688 h 456788"/>
                <a:gd name="connsiteX161" fmla="*/ 252374 w 458148"/>
                <a:gd name="connsiteY161" fmla="*/ 308561 h 456788"/>
                <a:gd name="connsiteX162" fmla="*/ 229260 w 458148"/>
                <a:gd name="connsiteY162" fmla="*/ 285447 h 456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458148" h="456788">
                  <a:moveTo>
                    <a:pt x="223488" y="574"/>
                  </a:moveTo>
                  <a:cubicBezTo>
                    <a:pt x="237731" y="-2436"/>
                    <a:pt x="251714" y="6670"/>
                    <a:pt x="254724" y="20907"/>
                  </a:cubicBezTo>
                  <a:cubicBezTo>
                    <a:pt x="256578" y="29105"/>
                    <a:pt x="254355" y="37690"/>
                    <a:pt x="248755" y="43957"/>
                  </a:cubicBezTo>
                  <a:cubicBezTo>
                    <a:pt x="243072" y="51069"/>
                    <a:pt x="240062" y="59940"/>
                    <a:pt x="240246" y="69040"/>
                  </a:cubicBezTo>
                  <a:cubicBezTo>
                    <a:pt x="239852" y="79803"/>
                    <a:pt x="244195" y="90198"/>
                    <a:pt x="252120" y="97488"/>
                  </a:cubicBezTo>
                  <a:cubicBezTo>
                    <a:pt x="259715" y="98840"/>
                    <a:pt x="267170" y="100860"/>
                    <a:pt x="274409" y="103520"/>
                  </a:cubicBezTo>
                  <a:cubicBezTo>
                    <a:pt x="284937" y="101152"/>
                    <a:pt x="293910" y="94313"/>
                    <a:pt x="298983" y="84788"/>
                  </a:cubicBezTo>
                  <a:cubicBezTo>
                    <a:pt x="303689" y="77003"/>
                    <a:pt x="305511" y="67808"/>
                    <a:pt x="304127" y="58816"/>
                  </a:cubicBezTo>
                  <a:cubicBezTo>
                    <a:pt x="302819" y="52549"/>
                    <a:pt x="303854" y="46015"/>
                    <a:pt x="307048" y="40465"/>
                  </a:cubicBezTo>
                  <a:cubicBezTo>
                    <a:pt x="307810" y="39150"/>
                    <a:pt x="308680" y="37906"/>
                    <a:pt x="309651" y="36737"/>
                  </a:cubicBezTo>
                  <a:cubicBezTo>
                    <a:pt x="319011" y="25549"/>
                    <a:pt x="335667" y="24056"/>
                    <a:pt x="346862" y="33416"/>
                  </a:cubicBezTo>
                  <a:cubicBezTo>
                    <a:pt x="354939" y="40274"/>
                    <a:pt x="358203" y="51260"/>
                    <a:pt x="355181" y="61420"/>
                  </a:cubicBezTo>
                  <a:cubicBezTo>
                    <a:pt x="352730" y="69370"/>
                    <a:pt x="346646" y="75688"/>
                    <a:pt x="338798" y="78438"/>
                  </a:cubicBezTo>
                  <a:cubicBezTo>
                    <a:pt x="330130" y="81664"/>
                    <a:pt x="322910" y="87912"/>
                    <a:pt x="318478" y="96027"/>
                  </a:cubicBezTo>
                  <a:cubicBezTo>
                    <a:pt x="312807" y="105133"/>
                    <a:pt x="311347" y="116246"/>
                    <a:pt x="314477" y="126507"/>
                  </a:cubicBezTo>
                  <a:cubicBezTo>
                    <a:pt x="320465" y="131530"/>
                    <a:pt x="325990" y="137074"/>
                    <a:pt x="330987" y="143081"/>
                  </a:cubicBezTo>
                  <a:cubicBezTo>
                    <a:pt x="341243" y="146243"/>
                    <a:pt x="352374" y="144783"/>
                    <a:pt x="361467" y="139080"/>
                  </a:cubicBezTo>
                  <a:cubicBezTo>
                    <a:pt x="369411" y="134692"/>
                    <a:pt x="375571" y="127663"/>
                    <a:pt x="378866" y="119205"/>
                  </a:cubicBezTo>
                  <a:cubicBezTo>
                    <a:pt x="380282" y="114906"/>
                    <a:pt x="382778" y="111039"/>
                    <a:pt x="386118" y="107984"/>
                  </a:cubicBezTo>
                  <a:cubicBezTo>
                    <a:pt x="396881" y="98135"/>
                    <a:pt x="413594" y="98872"/>
                    <a:pt x="423443" y="109635"/>
                  </a:cubicBezTo>
                  <a:cubicBezTo>
                    <a:pt x="433292" y="120392"/>
                    <a:pt x="432556" y="137105"/>
                    <a:pt x="421792" y="146954"/>
                  </a:cubicBezTo>
                  <a:cubicBezTo>
                    <a:pt x="415684" y="152568"/>
                    <a:pt x="407257" y="154930"/>
                    <a:pt x="399123" y="153304"/>
                  </a:cubicBezTo>
                  <a:cubicBezTo>
                    <a:pt x="389992" y="151793"/>
                    <a:pt x="380625" y="153596"/>
                    <a:pt x="372707" y="158384"/>
                  </a:cubicBezTo>
                  <a:lnTo>
                    <a:pt x="354116" y="182666"/>
                  </a:lnTo>
                  <a:lnTo>
                    <a:pt x="354038" y="182387"/>
                  </a:lnTo>
                  <a:lnTo>
                    <a:pt x="354038" y="182768"/>
                  </a:lnTo>
                  <a:lnTo>
                    <a:pt x="354116" y="182666"/>
                  </a:lnTo>
                  <a:lnTo>
                    <a:pt x="360388" y="205184"/>
                  </a:lnTo>
                  <a:cubicBezTo>
                    <a:pt x="367659" y="213051"/>
                    <a:pt x="378003" y="217363"/>
                    <a:pt x="388709" y="216995"/>
                  </a:cubicBezTo>
                  <a:cubicBezTo>
                    <a:pt x="397808" y="217192"/>
                    <a:pt x="406686" y="214175"/>
                    <a:pt x="413791" y="208486"/>
                  </a:cubicBezTo>
                  <a:cubicBezTo>
                    <a:pt x="420059" y="202840"/>
                    <a:pt x="428676" y="200593"/>
                    <a:pt x="436905" y="202453"/>
                  </a:cubicBezTo>
                  <a:cubicBezTo>
                    <a:pt x="447268" y="204835"/>
                    <a:pt x="455231" y="213140"/>
                    <a:pt x="457162" y="223599"/>
                  </a:cubicBezTo>
                  <a:cubicBezTo>
                    <a:pt x="459822" y="233035"/>
                    <a:pt x="457009" y="243163"/>
                    <a:pt x="449872" y="249875"/>
                  </a:cubicBezTo>
                  <a:cubicBezTo>
                    <a:pt x="439299" y="259825"/>
                    <a:pt x="422662" y="259317"/>
                    <a:pt x="412712" y="248745"/>
                  </a:cubicBezTo>
                  <a:cubicBezTo>
                    <a:pt x="405568" y="242877"/>
                    <a:pt x="396557" y="239766"/>
                    <a:pt x="387312" y="239982"/>
                  </a:cubicBezTo>
                  <a:cubicBezTo>
                    <a:pt x="376618" y="239620"/>
                    <a:pt x="366287" y="243906"/>
                    <a:pt x="358991" y="251729"/>
                  </a:cubicBezTo>
                  <a:cubicBezTo>
                    <a:pt x="357676" y="259432"/>
                    <a:pt x="355657" y="267001"/>
                    <a:pt x="352958" y="274335"/>
                  </a:cubicBezTo>
                  <a:cubicBezTo>
                    <a:pt x="355308" y="284806"/>
                    <a:pt x="362134" y="293715"/>
                    <a:pt x="371627" y="298719"/>
                  </a:cubicBezTo>
                  <a:cubicBezTo>
                    <a:pt x="379406" y="303444"/>
                    <a:pt x="388607" y="305266"/>
                    <a:pt x="397599" y="303863"/>
                  </a:cubicBezTo>
                  <a:cubicBezTo>
                    <a:pt x="402330" y="302796"/>
                    <a:pt x="407264" y="303043"/>
                    <a:pt x="411855" y="304593"/>
                  </a:cubicBezTo>
                  <a:cubicBezTo>
                    <a:pt x="425685" y="309248"/>
                    <a:pt x="433114" y="324233"/>
                    <a:pt x="428460" y="338057"/>
                  </a:cubicBezTo>
                  <a:cubicBezTo>
                    <a:pt x="423805" y="351881"/>
                    <a:pt x="408819" y="359317"/>
                    <a:pt x="394995" y="354663"/>
                  </a:cubicBezTo>
                  <a:cubicBezTo>
                    <a:pt x="387032" y="352231"/>
                    <a:pt x="380714" y="346141"/>
                    <a:pt x="377977" y="338280"/>
                  </a:cubicBezTo>
                  <a:cubicBezTo>
                    <a:pt x="374707" y="329618"/>
                    <a:pt x="368446" y="322411"/>
                    <a:pt x="360324" y="317960"/>
                  </a:cubicBezTo>
                  <a:cubicBezTo>
                    <a:pt x="351282" y="312315"/>
                    <a:pt x="340233" y="310854"/>
                    <a:pt x="330035" y="313959"/>
                  </a:cubicBezTo>
                  <a:cubicBezTo>
                    <a:pt x="324974" y="319973"/>
                    <a:pt x="319411" y="325535"/>
                    <a:pt x="313398" y="330596"/>
                  </a:cubicBezTo>
                  <a:cubicBezTo>
                    <a:pt x="310331" y="340782"/>
                    <a:pt x="311785" y="351792"/>
                    <a:pt x="317398" y="360822"/>
                  </a:cubicBezTo>
                  <a:cubicBezTo>
                    <a:pt x="321805" y="368779"/>
                    <a:pt x="328860" y="374932"/>
                    <a:pt x="337337" y="378221"/>
                  </a:cubicBezTo>
                  <a:cubicBezTo>
                    <a:pt x="341452" y="379618"/>
                    <a:pt x="345161" y="382019"/>
                    <a:pt x="348132" y="385200"/>
                  </a:cubicBezTo>
                  <a:cubicBezTo>
                    <a:pt x="358057" y="395842"/>
                    <a:pt x="357473" y="412518"/>
                    <a:pt x="346831" y="422443"/>
                  </a:cubicBezTo>
                  <a:cubicBezTo>
                    <a:pt x="336188" y="432368"/>
                    <a:pt x="319513" y="431790"/>
                    <a:pt x="309588" y="421147"/>
                  </a:cubicBezTo>
                  <a:cubicBezTo>
                    <a:pt x="303974" y="415039"/>
                    <a:pt x="301612" y="406612"/>
                    <a:pt x="303238" y="398478"/>
                  </a:cubicBezTo>
                  <a:cubicBezTo>
                    <a:pt x="304755" y="389340"/>
                    <a:pt x="302927" y="379961"/>
                    <a:pt x="298094" y="372062"/>
                  </a:cubicBezTo>
                  <a:cubicBezTo>
                    <a:pt x="293084" y="362626"/>
                    <a:pt x="284239" y="355818"/>
                    <a:pt x="273837" y="353393"/>
                  </a:cubicBezTo>
                  <a:cubicBezTo>
                    <a:pt x="266503" y="356161"/>
                    <a:pt x="258940" y="358289"/>
                    <a:pt x="251231" y="359743"/>
                  </a:cubicBezTo>
                  <a:cubicBezTo>
                    <a:pt x="243440" y="367033"/>
                    <a:pt x="239179" y="377339"/>
                    <a:pt x="239547" y="388000"/>
                  </a:cubicBezTo>
                  <a:cubicBezTo>
                    <a:pt x="239363" y="397081"/>
                    <a:pt x="242373" y="405933"/>
                    <a:pt x="248056" y="413019"/>
                  </a:cubicBezTo>
                  <a:cubicBezTo>
                    <a:pt x="253339" y="419020"/>
                    <a:pt x="255613" y="427097"/>
                    <a:pt x="254235" y="434971"/>
                  </a:cubicBezTo>
                  <a:cubicBezTo>
                    <a:pt x="251727" y="449310"/>
                    <a:pt x="238074" y="458898"/>
                    <a:pt x="223736" y="456390"/>
                  </a:cubicBezTo>
                  <a:cubicBezTo>
                    <a:pt x="213309" y="454510"/>
                    <a:pt x="204984" y="446630"/>
                    <a:pt x="202527" y="436324"/>
                  </a:cubicBezTo>
                  <a:cubicBezTo>
                    <a:pt x="200666" y="428208"/>
                    <a:pt x="202787" y="419693"/>
                    <a:pt x="208242" y="413400"/>
                  </a:cubicBezTo>
                  <a:cubicBezTo>
                    <a:pt x="214090" y="406244"/>
                    <a:pt x="217195" y="397239"/>
                    <a:pt x="217005" y="388000"/>
                  </a:cubicBezTo>
                  <a:cubicBezTo>
                    <a:pt x="217360" y="377320"/>
                    <a:pt x="213100" y="367001"/>
                    <a:pt x="205321" y="359679"/>
                  </a:cubicBezTo>
                  <a:cubicBezTo>
                    <a:pt x="197675" y="358365"/>
                    <a:pt x="190176" y="356345"/>
                    <a:pt x="182905" y="353647"/>
                  </a:cubicBezTo>
                  <a:cubicBezTo>
                    <a:pt x="172472" y="356047"/>
                    <a:pt x="163601" y="362861"/>
                    <a:pt x="158585" y="372316"/>
                  </a:cubicBezTo>
                  <a:cubicBezTo>
                    <a:pt x="153778" y="380228"/>
                    <a:pt x="151955" y="389594"/>
                    <a:pt x="153441" y="398732"/>
                  </a:cubicBezTo>
                  <a:cubicBezTo>
                    <a:pt x="154622" y="404853"/>
                    <a:pt x="153536" y="411190"/>
                    <a:pt x="150393" y="416575"/>
                  </a:cubicBezTo>
                  <a:cubicBezTo>
                    <a:pt x="147199" y="422132"/>
                    <a:pt x="142087" y="426329"/>
                    <a:pt x="136017" y="428386"/>
                  </a:cubicBezTo>
                  <a:cubicBezTo>
                    <a:pt x="122237" y="433060"/>
                    <a:pt x="107270" y="425681"/>
                    <a:pt x="102597" y="411895"/>
                  </a:cubicBezTo>
                  <a:cubicBezTo>
                    <a:pt x="97923" y="398116"/>
                    <a:pt x="105302" y="383149"/>
                    <a:pt x="119088" y="378475"/>
                  </a:cubicBezTo>
                  <a:cubicBezTo>
                    <a:pt x="127565" y="375186"/>
                    <a:pt x="134620" y="369033"/>
                    <a:pt x="139027" y="361076"/>
                  </a:cubicBezTo>
                  <a:cubicBezTo>
                    <a:pt x="144672" y="352053"/>
                    <a:pt x="146132" y="341029"/>
                    <a:pt x="143027" y="330850"/>
                  </a:cubicBezTo>
                  <a:cubicBezTo>
                    <a:pt x="137033" y="325777"/>
                    <a:pt x="131464" y="320208"/>
                    <a:pt x="126390" y="314213"/>
                  </a:cubicBezTo>
                  <a:cubicBezTo>
                    <a:pt x="116192" y="311115"/>
                    <a:pt x="105150" y="312575"/>
                    <a:pt x="96101" y="318214"/>
                  </a:cubicBezTo>
                  <a:cubicBezTo>
                    <a:pt x="87992" y="322684"/>
                    <a:pt x="81737" y="329885"/>
                    <a:pt x="78448" y="338534"/>
                  </a:cubicBezTo>
                  <a:cubicBezTo>
                    <a:pt x="76429" y="344427"/>
                    <a:pt x="72345" y="349386"/>
                    <a:pt x="66954" y="352504"/>
                  </a:cubicBezTo>
                  <a:cubicBezTo>
                    <a:pt x="61404" y="355723"/>
                    <a:pt x="54870" y="356803"/>
                    <a:pt x="48584" y="355552"/>
                  </a:cubicBezTo>
                  <a:cubicBezTo>
                    <a:pt x="34309" y="352701"/>
                    <a:pt x="25044" y="338826"/>
                    <a:pt x="27889" y="324551"/>
                  </a:cubicBezTo>
                  <a:cubicBezTo>
                    <a:pt x="30740" y="310276"/>
                    <a:pt x="44615" y="301018"/>
                    <a:pt x="58890" y="303863"/>
                  </a:cubicBezTo>
                  <a:cubicBezTo>
                    <a:pt x="67881" y="305247"/>
                    <a:pt x="77076" y="303425"/>
                    <a:pt x="84861" y="298719"/>
                  </a:cubicBezTo>
                  <a:cubicBezTo>
                    <a:pt x="94323" y="293696"/>
                    <a:pt x="101124" y="284787"/>
                    <a:pt x="103467" y="274335"/>
                  </a:cubicBezTo>
                  <a:cubicBezTo>
                    <a:pt x="100717" y="266995"/>
                    <a:pt x="98590" y="259432"/>
                    <a:pt x="97117" y="251729"/>
                  </a:cubicBezTo>
                  <a:cubicBezTo>
                    <a:pt x="89827" y="243893"/>
                    <a:pt x="79496" y="239601"/>
                    <a:pt x="68796" y="239982"/>
                  </a:cubicBezTo>
                  <a:cubicBezTo>
                    <a:pt x="59557" y="239772"/>
                    <a:pt x="50546" y="242884"/>
                    <a:pt x="43396" y="248745"/>
                  </a:cubicBezTo>
                  <a:cubicBezTo>
                    <a:pt x="38684" y="252815"/>
                    <a:pt x="32671" y="255069"/>
                    <a:pt x="26441" y="255095"/>
                  </a:cubicBezTo>
                  <a:cubicBezTo>
                    <a:pt x="14065" y="255107"/>
                    <a:pt x="3340" y="246516"/>
                    <a:pt x="641" y="234438"/>
                  </a:cubicBezTo>
                  <a:cubicBezTo>
                    <a:pt x="-2540" y="220195"/>
                    <a:pt x="6426" y="206079"/>
                    <a:pt x="20663" y="202898"/>
                  </a:cubicBezTo>
                  <a:cubicBezTo>
                    <a:pt x="28892" y="201037"/>
                    <a:pt x="37509" y="203285"/>
                    <a:pt x="43777" y="208930"/>
                  </a:cubicBezTo>
                  <a:cubicBezTo>
                    <a:pt x="50965" y="214690"/>
                    <a:pt x="59969" y="217706"/>
                    <a:pt x="69177" y="217439"/>
                  </a:cubicBezTo>
                  <a:cubicBezTo>
                    <a:pt x="79902" y="217795"/>
                    <a:pt x="90252" y="213489"/>
                    <a:pt x="97561" y="205628"/>
                  </a:cubicBezTo>
                  <a:lnTo>
                    <a:pt x="103833" y="183111"/>
                  </a:lnTo>
                  <a:lnTo>
                    <a:pt x="103911" y="183213"/>
                  </a:lnTo>
                  <a:lnTo>
                    <a:pt x="103911" y="182832"/>
                  </a:lnTo>
                  <a:lnTo>
                    <a:pt x="103833" y="183111"/>
                  </a:lnTo>
                  <a:lnTo>
                    <a:pt x="85242" y="158829"/>
                  </a:lnTo>
                  <a:cubicBezTo>
                    <a:pt x="77343" y="154047"/>
                    <a:pt x="67996" y="152250"/>
                    <a:pt x="58890" y="153749"/>
                  </a:cubicBezTo>
                  <a:cubicBezTo>
                    <a:pt x="52775" y="154904"/>
                    <a:pt x="46450" y="153850"/>
                    <a:pt x="41046" y="150764"/>
                  </a:cubicBezTo>
                  <a:cubicBezTo>
                    <a:pt x="30423" y="144579"/>
                    <a:pt x="25470" y="131886"/>
                    <a:pt x="29096" y="120145"/>
                  </a:cubicBezTo>
                  <a:cubicBezTo>
                    <a:pt x="33401" y="106206"/>
                    <a:pt x="48190" y="98390"/>
                    <a:pt x="62128" y="102695"/>
                  </a:cubicBezTo>
                  <a:cubicBezTo>
                    <a:pt x="70174" y="105203"/>
                    <a:pt x="76511" y="111451"/>
                    <a:pt x="79146" y="119459"/>
                  </a:cubicBezTo>
                  <a:cubicBezTo>
                    <a:pt x="82442" y="127936"/>
                    <a:pt x="88627" y="134972"/>
                    <a:pt x="96609" y="139334"/>
                  </a:cubicBezTo>
                  <a:cubicBezTo>
                    <a:pt x="105683" y="145036"/>
                    <a:pt x="116789" y="146497"/>
                    <a:pt x="127025" y="143335"/>
                  </a:cubicBezTo>
                  <a:cubicBezTo>
                    <a:pt x="132029" y="137315"/>
                    <a:pt x="137579" y="131765"/>
                    <a:pt x="143599" y="126761"/>
                  </a:cubicBezTo>
                  <a:cubicBezTo>
                    <a:pt x="146698" y="116500"/>
                    <a:pt x="145237" y="105400"/>
                    <a:pt x="139598" y="96281"/>
                  </a:cubicBezTo>
                  <a:cubicBezTo>
                    <a:pt x="135134" y="88185"/>
                    <a:pt x="127927" y="81949"/>
                    <a:pt x="119278" y="78692"/>
                  </a:cubicBezTo>
                  <a:cubicBezTo>
                    <a:pt x="115246" y="77250"/>
                    <a:pt x="111627" y="74844"/>
                    <a:pt x="108737" y="71681"/>
                  </a:cubicBezTo>
                  <a:cubicBezTo>
                    <a:pt x="98907" y="60950"/>
                    <a:pt x="99638" y="44281"/>
                    <a:pt x="110369" y="34451"/>
                  </a:cubicBezTo>
                  <a:cubicBezTo>
                    <a:pt x="121101" y="24622"/>
                    <a:pt x="137769" y="25352"/>
                    <a:pt x="147599" y="36083"/>
                  </a:cubicBezTo>
                  <a:cubicBezTo>
                    <a:pt x="153327" y="42255"/>
                    <a:pt x="155696" y="50834"/>
                    <a:pt x="153949" y="59070"/>
                  </a:cubicBezTo>
                  <a:cubicBezTo>
                    <a:pt x="152616" y="68068"/>
                    <a:pt x="154457" y="77250"/>
                    <a:pt x="159156" y="85042"/>
                  </a:cubicBezTo>
                  <a:cubicBezTo>
                    <a:pt x="164217" y="94548"/>
                    <a:pt x="173164" y="101387"/>
                    <a:pt x="183667" y="103774"/>
                  </a:cubicBezTo>
                  <a:cubicBezTo>
                    <a:pt x="191135" y="100942"/>
                    <a:pt x="198850" y="98821"/>
                    <a:pt x="206718" y="97424"/>
                  </a:cubicBezTo>
                  <a:lnTo>
                    <a:pt x="205956" y="97424"/>
                  </a:lnTo>
                  <a:cubicBezTo>
                    <a:pt x="213792" y="90103"/>
                    <a:pt x="218072" y="79752"/>
                    <a:pt x="217703" y="69040"/>
                  </a:cubicBezTo>
                  <a:cubicBezTo>
                    <a:pt x="217894" y="59800"/>
                    <a:pt x="214789" y="50796"/>
                    <a:pt x="208940" y="43640"/>
                  </a:cubicBezTo>
                  <a:cubicBezTo>
                    <a:pt x="204851" y="38915"/>
                    <a:pt x="202597" y="32870"/>
                    <a:pt x="202590" y="26622"/>
                  </a:cubicBezTo>
                  <a:cubicBezTo>
                    <a:pt x="202463" y="14068"/>
                    <a:pt x="211207" y="3171"/>
                    <a:pt x="223488" y="574"/>
                  </a:cubicBezTo>
                  <a:close/>
                  <a:moveTo>
                    <a:pt x="229387" y="124030"/>
                  </a:moveTo>
                  <a:cubicBezTo>
                    <a:pt x="216585" y="123998"/>
                    <a:pt x="206184" y="134342"/>
                    <a:pt x="206146" y="147144"/>
                  </a:cubicBezTo>
                  <a:cubicBezTo>
                    <a:pt x="206146" y="147163"/>
                    <a:pt x="206146" y="147189"/>
                    <a:pt x="206146" y="147208"/>
                  </a:cubicBezTo>
                  <a:cubicBezTo>
                    <a:pt x="206108" y="159971"/>
                    <a:pt x="216433" y="170347"/>
                    <a:pt x="229197" y="170385"/>
                  </a:cubicBezTo>
                  <a:cubicBezTo>
                    <a:pt x="229216" y="170385"/>
                    <a:pt x="229241" y="170385"/>
                    <a:pt x="229260" y="170385"/>
                  </a:cubicBezTo>
                  <a:cubicBezTo>
                    <a:pt x="242062" y="170423"/>
                    <a:pt x="252463" y="160073"/>
                    <a:pt x="252501" y="147271"/>
                  </a:cubicBezTo>
                  <a:cubicBezTo>
                    <a:pt x="252539" y="134469"/>
                    <a:pt x="242189" y="124068"/>
                    <a:pt x="229387" y="124030"/>
                  </a:cubicBezTo>
                  <a:close/>
                  <a:moveTo>
                    <a:pt x="305262" y="165197"/>
                  </a:moveTo>
                  <a:cubicBezTo>
                    <a:pt x="299537" y="163646"/>
                    <a:pt x="293221" y="164280"/>
                    <a:pt x="287667" y="167464"/>
                  </a:cubicBezTo>
                  <a:cubicBezTo>
                    <a:pt x="287629" y="167483"/>
                    <a:pt x="287591" y="167509"/>
                    <a:pt x="287553" y="167528"/>
                  </a:cubicBezTo>
                  <a:cubicBezTo>
                    <a:pt x="276536" y="173973"/>
                    <a:pt x="272821" y="188127"/>
                    <a:pt x="279266" y="199151"/>
                  </a:cubicBezTo>
                  <a:cubicBezTo>
                    <a:pt x="285712" y="210168"/>
                    <a:pt x="299872" y="213876"/>
                    <a:pt x="310889" y="207431"/>
                  </a:cubicBezTo>
                  <a:cubicBezTo>
                    <a:pt x="321824" y="201043"/>
                    <a:pt x="325571" y="187041"/>
                    <a:pt x="319303" y="176037"/>
                  </a:cubicBezTo>
                  <a:cubicBezTo>
                    <a:pt x="316119" y="170484"/>
                    <a:pt x="310986" y="166748"/>
                    <a:pt x="305262" y="165197"/>
                  </a:cubicBezTo>
                  <a:close/>
                  <a:moveTo>
                    <a:pt x="153422" y="165277"/>
                  </a:moveTo>
                  <a:cubicBezTo>
                    <a:pt x="147713" y="166826"/>
                    <a:pt x="142595" y="170554"/>
                    <a:pt x="139420" y="176094"/>
                  </a:cubicBezTo>
                  <a:cubicBezTo>
                    <a:pt x="133076" y="187169"/>
                    <a:pt x="136905" y="201291"/>
                    <a:pt x="147986" y="207641"/>
                  </a:cubicBezTo>
                  <a:cubicBezTo>
                    <a:pt x="158978" y="213940"/>
                    <a:pt x="172999" y="210213"/>
                    <a:pt x="179412" y="199278"/>
                  </a:cubicBezTo>
                  <a:cubicBezTo>
                    <a:pt x="185858" y="188216"/>
                    <a:pt x="182117" y="174030"/>
                    <a:pt x="171062" y="167585"/>
                  </a:cubicBezTo>
                  <a:cubicBezTo>
                    <a:pt x="171030" y="167566"/>
                    <a:pt x="170999" y="167547"/>
                    <a:pt x="170967" y="167528"/>
                  </a:cubicBezTo>
                  <a:cubicBezTo>
                    <a:pt x="165429" y="164356"/>
                    <a:pt x="159130" y="163727"/>
                    <a:pt x="153422" y="165277"/>
                  </a:cubicBezTo>
                  <a:close/>
                  <a:moveTo>
                    <a:pt x="229260" y="198199"/>
                  </a:moveTo>
                  <a:cubicBezTo>
                    <a:pt x="213125" y="198199"/>
                    <a:pt x="200050" y="211274"/>
                    <a:pt x="200050" y="227409"/>
                  </a:cubicBezTo>
                  <a:cubicBezTo>
                    <a:pt x="200050" y="243544"/>
                    <a:pt x="213125" y="256619"/>
                    <a:pt x="229260" y="256619"/>
                  </a:cubicBezTo>
                  <a:cubicBezTo>
                    <a:pt x="245395" y="256619"/>
                    <a:pt x="258470" y="243544"/>
                    <a:pt x="258470" y="227409"/>
                  </a:cubicBezTo>
                  <a:cubicBezTo>
                    <a:pt x="258470" y="211280"/>
                    <a:pt x="245395" y="198199"/>
                    <a:pt x="229260" y="198199"/>
                  </a:cubicBezTo>
                  <a:close/>
                  <a:moveTo>
                    <a:pt x="293115" y="246027"/>
                  </a:moveTo>
                  <a:cubicBezTo>
                    <a:pt x="287410" y="247590"/>
                    <a:pt x="282302" y="251329"/>
                    <a:pt x="279139" y="256873"/>
                  </a:cubicBezTo>
                  <a:cubicBezTo>
                    <a:pt x="272821" y="267966"/>
                    <a:pt x="276688" y="282082"/>
                    <a:pt x="287782" y="288400"/>
                  </a:cubicBezTo>
                  <a:cubicBezTo>
                    <a:pt x="298780" y="294674"/>
                    <a:pt x="312782" y="290921"/>
                    <a:pt x="319176" y="279987"/>
                  </a:cubicBezTo>
                  <a:cubicBezTo>
                    <a:pt x="325634" y="269014"/>
                    <a:pt x="321970" y="254885"/>
                    <a:pt x="311004" y="248427"/>
                  </a:cubicBezTo>
                  <a:cubicBezTo>
                    <a:pt x="310889" y="248364"/>
                    <a:pt x="310781" y="248300"/>
                    <a:pt x="310667" y="248237"/>
                  </a:cubicBezTo>
                  <a:cubicBezTo>
                    <a:pt x="305121" y="245078"/>
                    <a:pt x="298820" y="244465"/>
                    <a:pt x="293115" y="246027"/>
                  </a:cubicBezTo>
                  <a:close/>
                  <a:moveTo>
                    <a:pt x="165604" y="245867"/>
                  </a:moveTo>
                  <a:cubicBezTo>
                    <a:pt x="159895" y="244317"/>
                    <a:pt x="153594" y="244944"/>
                    <a:pt x="148057" y="248116"/>
                  </a:cubicBezTo>
                  <a:cubicBezTo>
                    <a:pt x="147987" y="248160"/>
                    <a:pt x="147923" y="248198"/>
                    <a:pt x="147854" y="248236"/>
                  </a:cubicBezTo>
                  <a:cubicBezTo>
                    <a:pt x="136843" y="254694"/>
                    <a:pt x="133153" y="268855"/>
                    <a:pt x="139611" y="279866"/>
                  </a:cubicBezTo>
                  <a:cubicBezTo>
                    <a:pt x="146069" y="290877"/>
                    <a:pt x="160230" y="294572"/>
                    <a:pt x="171241" y="288108"/>
                  </a:cubicBezTo>
                  <a:cubicBezTo>
                    <a:pt x="182175" y="281701"/>
                    <a:pt x="185903" y="267680"/>
                    <a:pt x="179604" y="256682"/>
                  </a:cubicBezTo>
                  <a:cubicBezTo>
                    <a:pt x="176432" y="251145"/>
                    <a:pt x="171314" y="247417"/>
                    <a:pt x="165604" y="245867"/>
                  </a:cubicBezTo>
                  <a:close/>
                  <a:moveTo>
                    <a:pt x="229260" y="285447"/>
                  </a:moveTo>
                  <a:cubicBezTo>
                    <a:pt x="216459" y="285409"/>
                    <a:pt x="206057" y="295760"/>
                    <a:pt x="206019" y="308561"/>
                  </a:cubicBezTo>
                  <a:cubicBezTo>
                    <a:pt x="205987" y="321363"/>
                    <a:pt x="216332" y="331764"/>
                    <a:pt x="229133" y="331802"/>
                  </a:cubicBezTo>
                  <a:cubicBezTo>
                    <a:pt x="241935" y="331840"/>
                    <a:pt x="252336" y="321490"/>
                    <a:pt x="252374" y="308688"/>
                  </a:cubicBezTo>
                  <a:cubicBezTo>
                    <a:pt x="252374" y="308644"/>
                    <a:pt x="252374" y="308606"/>
                    <a:pt x="252374" y="308561"/>
                  </a:cubicBezTo>
                  <a:cubicBezTo>
                    <a:pt x="252374" y="295798"/>
                    <a:pt x="242024" y="285447"/>
                    <a:pt x="229260" y="285447"/>
                  </a:cubicBezTo>
                  <a:close/>
                </a:path>
              </a:pathLst>
            </a:custGeom>
            <a:solidFill>
              <a:srgbClr val="0070BF"/>
            </a:solidFill>
            <a:ln w="6350" cap="flat">
              <a:noFill/>
              <a:prstDash val="solid"/>
              <a:miter/>
            </a:ln>
          </p:spPr>
          <p:txBody>
            <a:bodyPr wrap="square" rtlCol="0" anchor="ctr">
              <a:noAutofit/>
            </a:bodyPr>
            <a:lstStyle/>
            <a:p>
              <a:pPr marL="0" marR="0" lvl="0" indent="0" algn="ctr" defTabSz="914104" rtl="0" eaLnBrk="1" fontAlgn="auto" latinLnBrk="0" hangingPunct="1">
                <a:lnSpc>
                  <a:spcPct val="100000"/>
                </a:lnSpc>
                <a:spcBef>
                  <a:spcPts val="0"/>
                </a:spcBef>
                <a:spcAft>
                  <a:spcPts val="0"/>
                </a:spcAft>
                <a:buClr>
                  <a:srgbClr val="000000"/>
                </a:buClr>
                <a:buSzTx/>
                <a:buFontTx/>
                <a:buNone/>
                <a:tabLst/>
                <a:defRPr/>
              </a:pPr>
              <a:endParaRPr kumimoji="0" lang="en-GB" sz="1799" b="0" i="0" u="none" strike="noStrike" kern="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grpSp>
      <p:grpSp>
        <p:nvGrpSpPr>
          <p:cNvPr id="179" name="Group 178">
            <a:extLst>
              <a:ext uri="{FF2B5EF4-FFF2-40B4-BE49-F238E27FC236}">
                <a16:creationId xmlns:a16="http://schemas.microsoft.com/office/drawing/2014/main" id="{486AFC20-DAE3-4285-A69E-B001BACEF135}"/>
              </a:ext>
            </a:extLst>
          </p:cNvPr>
          <p:cNvGrpSpPr/>
          <p:nvPr/>
        </p:nvGrpSpPr>
        <p:grpSpPr>
          <a:xfrm>
            <a:off x="1044971" y="1998212"/>
            <a:ext cx="3520440" cy="1362456"/>
            <a:chOff x="883376" y="2541882"/>
            <a:chExt cx="3520440" cy="1362456"/>
          </a:xfrm>
        </p:grpSpPr>
        <p:sp>
          <p:nvSpPr>
            <p:cNvPr id="3" name="TextBox 2">
              <a:extLst>
                <a:ext uri="{FF2B5EF4-FFF2-40B4-BE49-F238E27FC236}">
                  <a16:creationId xmlns:a16="http://schemas.microsoft.com/office/drawing/2014/main" id="{76E8D951-11F8-CE5D-2B98-DEEA520C3AD2}"/>
                </a:ext>
              </a:extLst>
            </p:cNvPr>
            <p:cNvSpPr txBox="1"/>
            <p:nvPr/>
          </p:nvSpPr>
          <p:spPr>
            <a:xfrm>
              <a:off x="883376" y="2541882"/>
              <a:ext cx="3520440" cy="1362456"/>
            </a:xfrm>
            <a:prstGeom prst="roundRect">
              <a:avLst>
                <a:gd name="adj" fmla="val 11314"/>
              </a:avLst>
            </a:prstGeom>
            <a:solidFill>
              <a:srgbClr val="0DBDBA"/>
            </a:solidFill>
          </p:spPr>
          <p:txBody>
            <a:bodyPr wrap="none" lIns="27432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mj-lt"/>
                  <a:ea typeface="+mn-ea"/>
                  <a:cs typeface="+mn-cs"/>
                </a:rPr>
                <a:t>RSV</a:t>
              </a:r>
              <a:endParaRPr kumimoji="0" lang="en-US" sz="1800" b="1" i="0" u="none" strike="noStrike" kern="1200" cap="none" spc="0" normalizeH="0" baseline="30000" noProof="0">
                <a:ln>
                  <a:noFill/>
                </a:ln>
                <a:solidFill>
                  <a:srgbClr val="FFFFFF"/>
                </a:solidFill>
                <a:effectLst/>
                <a:uLnTx/>
                <a:uFillTx/>
                <a:latin typeface="+mj-lt"/>
                <a:ea typeface="+mn-ea"/>
                <a:cs typeface="+mn-cs"/>
              </a:endParaRPr>
            </a:p>
          </p:txBody>
        </p:sp>
        <p:sp>
          <p:nvSpPr>
            <p:cNvPr id="5" name="TextBox 4">
              <a:extLst>
                <a:ext uri="{FF2B5EF4-FFF2-40B4-BE49-F238E27FC236}">
                  <a16:creationId xmlns:a16="http://schemas.microsoft.com/office/drawing/2014/main" id="{4E712F46-F029-3518-3EB0-B83E64A1E91D}"/>
                </a:ext>
              </a:extLst>
            </p:cNvPr>
            <p:cNvSpPr txBox="1"/>
            <p:nvPr/>
          </p:nvSpPr>
          <p:spPr bwMode="gray">
            <a:xfrm>
              <a:off x="1195401" y="2922439"/>
              <a:ext cx="2895751" cy="476910"/>
            </a:xfrm>
            <a:prstGeom prst="rect">
              <a:avLst/>
            </a:prstGeom>
            <a:noFill/>
            <a:ln w="19050">
              <a:noFill/>
            </a:ln>
          </p:spPr>
          <p:txBody>
            <a:bodyPr spcFirstLastPara="1" wrap="square" lIns="0" tIns="0" rIns="0" bIns="0" rtlCol="0" anchor="t" anchorCtr="0">
              <a:noAutofit/>
            </a:bodyPr>
            <a:lstStyle/>
            <a:p>
              <a:pPr lvl="0">
                <a:spcAft>
                  <a:spcPts val="200"/>
                </a:spcAft>
                <a:defRPr/>
              </a:pPr>
              <a:r>
                <a:rPr lang="en-US" sz="1400" err="1">
                  <a:solidFill>
                    <a:schemeClr val="bg1"/>
                  </a:solidFill>
                </a:rPr>
                <a:t>Mevcut</a:t>
              </a:r>
              <a:r>
                <a:rPr lang="en-US" sz="1400">
                  <a:solidFill>
                    <a:schemeClr val="bg1"/>
                  </a:solidFill>
                </a:rPr>
                <a:t> </a:t>
              </a:r>
              <a:r>
                <a:rPr lang="en-US" sz="1400" err="1">
                  <a:solidFill>
                    <a:schemeClr val="bg1"/>
                  </a:solidFill>
                </a:rPr>
                <a:t>astım</a:t>
              </a:r>
              <a:r>
                <a:rPr lang="en-US" sz="1400">
                  <a:solidFill>
                    <a:schemeClr val="bg1"/>
                  </a:solidFill>
                </a:rPr>
                <a:t>, </a:t>
              </a:r>
              <a:r>
                <a:rPr lang="en-US" sz="1400" b="1">
                  <a:solidFill>
                    <a:schemeClr val="bg1"/>
                  </a:solidFill>
                </a:rPr>
                <a:t>KOAH</a:t>
              </a:r>
              <a:r>
                <a:rPr lang="en-US" sz="1400">
                  <a:solidFill>
                    <a:schemeClr val="bg1"/>
                  </a:solidFill>
                </a:rPr>
                <a:t> </a:t>
              </a:r>
              <a:r>
                <a:rPr lang="en-US" sz="1400" b="1" err="1">
                  <a:solidFill>
                    <a:schemeClr val="bg1"/>
                  </a:solidFill>
                </a:rPr>
                <a:t>ve</a:t>
              </a:r>
              <a:r>
                <a:rPr lang="en-US" sz="1400" b="1">
                  <a:solidFill>
                    <a:schemeClr val="bg1"/>
                  </a:solidFill>
                </a:rPr>
                <a:t> </a:t>
              </a:r>
              <a:r>
                <a:rPr lang="en-US" sz="1400" b="1" err="1">
                  <a:solidFill>
                    <a:schemeClr val="bg1"/>
                  </a:solidFill>
                </a:rPr>
                <a:t>kronik</a:t>
              </a:r>
              <a:r>
                <a:rPr lang="en-US" sz="1400" b="1">
                  <a:solidFill>
                    <a:schemeClr val="bg1"/>
                  </a:solidFill>
                </a:rPr>
                <a:t> </a:t>
              </a:r>
              <a:r>
                <a:rPr lang="en-US" sz="1400" b="1" err="1">
                  <a:solidFill>
                    <a:schemeClr val="bg1"/>
                  </a:solidFill>
                </a:rPr>
                <a:t>kalp</a:t>
              </a:r>
              <a:r>
                <a:rPr lang="en-US" sz="1400" b="1">
                  <a:solidFill>
                    <a:schemeClr val="bg1"/>
                  </a:solidFill>
                </a:rPr>
                <a:t> </a:t>
              </a:r>
              <a:r>
                <a:rPr lang="en-US" sz="1400" b="1" err="1">
                  <a:solidFill>
                    <a:schemeClr val="bg1"/>
                  </a:solidFill>
                </a:rPr>
                <a:t>yetmezliğinin</a:t>
              </a:r>
              <a:r>
                <a:rPr lang="en-US" sz="1400">
                  <a:solidFill>
                    <a:schemeClr val="bg1"/>
                  </a:solidFill>
                </a:rPr>
                <a:t> </a:t>
              </a:r>
              <a:r>
                <a:rPr lang="en-US" sz="1400" err="1">
                  <a:solidFill>
                    <a:schemeClr val="bg1"/>
                  </a:solidFill>
                </a:rPr>
                <a:t>kötüleşmesi</a:t>
              </a:r>
              <a:r>
                <a:rPr lang="en-US" sz="1400">
                  <a:solidFill>
                    <a:schemeClr val="bg1"/>
                  </a:solidFill>
                </a:rPr>
                <a:t> </a:t>
              </a:r>
              <a:r>
                <a:rPr lang="en-US" sz="1400" err="1">
                  <a:solidFill>
                    <a:schemeClr val="bg1"/>
                  </a:solidFill>
                </a:rPr>
                <a:t>ile</a:t>
              </a:r>
              <a:r>
                <a:rPr lang="en-US" sz="1400">
                  <a:solidFill>
                    <a:schemeClr val="bg1"/>
                  </a:solidFill>
                </a:rPr>
                <a:t> ilişkilendirilmiştir.</a:t>
              </a:r>
              <a:r>
                <a:rPr lang="en-US" sz="1400" baseline="30000">
                  <a:solidFill>
                    <a:schemeClr val="bg1"/>
                  </a:solidFill>
                </a:rPr>
                <a:t>1</a:t>
              </a:r>
              <a:endParaRPr lang="en-US" sz="1400">
                <a:solidFill>
                  <a:schemeClr val="bg1"/>
                </a:solidFill>
              </a:endParaRPr>
            </a:p>
          </p:txBody>
        </p:sp>
      </p:grpSp>
      <p:sp>
        <p:nvSpPr>
          <p:cNvPr id="171" name="Oval 170">
            <a:extLst>
              <a:ext uri="{FF2B5EF4-FFF2-40B4-BE49-F238E27FC236}">
                <a16:creationId xmlns:a16="http://schemas.microsoft.com/office/drawing/2014/main" id="{4727A67D-319C-B28D-4878-2281FFFE9D19}"/>
              </a:ext>
            </a:extLst>
          </p:cNvPr>
          <p:cNvSpPr/>
          <p:nvPr/>
        </p:nvSpPr>
        <p:spPr>
          <a:xfrm>
            <a:off x="607552" y="1937271"/>
            <a:ext cx="630449" cy="630449"/>
          </a:xfrm>
          <a:prstGeom prst="ellipse">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3" name="Group 192">
            <a:extLst>
              <a:ext uri="{FF2B5EF4-FFF2-40B4-BE49-F238E27FC236}">
                <a16:creationId xmlns:a16="http://schemas.microsoft.com/office/drawing/2014/main" id="{15DA429F-1653-F1DB-BC30-F6218938756C}"/>
              </a:ext>
            </a:extLst>
          </p:cNvPr>
          <p:cNvGrpSpPr/>
          <p:nvPr/>
        </p:nvGrpSpPr>
        <p:grpSpPr>
          <a:xfrm>
            <a:off x="4565411" y="2283764"/>
            <a:ext cx="1456011" cy="796878"/>
            <a:chOff x="4565411" y="1728592"/>
            <a:chExt cx="1456011" cy="796878"/>
          </a:xfrm>
        </p:grpSpPr>
        <p:sp>
          <p:nvSpPr>
            <p:cNvPr id="184" name="Freeform: Shape 183">
              <a:extLst>
                <a:ext uri="{FF2B5EF4-FFF2-40B4-BE49-F238E27FC236}">
                  <a16:creationId xmlns:a16="http://schemas.microsoft.com/office/drawing/2014/main" id="{EE5AABAB-CBDA-B149-8B8C-82452330194B}"/>
                </a:ext>
              </a:extLst>
            </p:cNvPr>
            <p:cNvSpPr/>
            <p:nvPr/>
          </p:nvSpPr>
          <p:spPr>
            <a:xfrm>
              <a:off x="4565411" y="1728592"/>
              <a:ext cx="1158984" cy="563671"/>
            </a:xfrm>
            <a:custGeom>
              <a:avLst/>
              <a:gdLst>
                <a:gd name="connsiteX0" fmla="*/ 0 w 1402916"/>
                <a:gd name="connsiteY0" fmla="*/ 0 h 563671"/>
                <a:gd name="connsiteX1" fmla="*/ 1402916 w 1402916"/>
                <a:gd name="connsiteY1" fmla="*/ 0 h 563671"/>
                <a:gd name="connsiteX2" fmla="*/ 1402916 w 1402916"/>
                <a:gd name="connsiteY2" fmla="*/ 563671 h 563671"/>
              </a:gdLst>
              <a:ahLst/>
              <a:cxnLst>
                <a:cxn ang="0">
                  <a:pos x="connsiteX0" y="connsiteY0"/>
                </a:cxn>
                <a:cxn ang="0">
                  <a:pos x="connsiteX1" y="connsiteY1"/>
                </a:cxn>
                <a:cxn ang="0">
                  <a:pos x="connsiteX2" y="connsiteY2"/>
                </a:cxn>
              </a:cxnLst>
              <a:rect l="l" t="t" r="r" b="b"/>
              <a:pathLst>
                <a:path w="1402916" h="563671">
                  <a:moveTo>
                    <a:pt x="0" y="0"/>
                  </a:moveTo>
                  <a:lnTo>
                    <a:pt x="1402916" y="0"/>
                  </a:lnTo>
                  <a:lnTo>
                    <a:pt x="1402916" y="563671"/>
                  </a:lnTo>
                </a:path>
              </a:pathLst>
            </a:custGeom>
            <a:noFill/>
            <a:ln w="34925" cap="rnd">
              <a:solidFill>
                <a:schemeClr val="accent5"/>
              </a:solidFill>
              <a:prstDash val="sysDash"/>
              <a:round/>
              <a:tailEnd type="ova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Freeform: Shape 184">
              <a:extLst>
                <a:ext uri="{FF2B5EF4-FFF2-40B4-BE49-F238E27FC236}">
                  <a16:creationId xmlns:a16="http://schemas.microsoft.com/office/drawing/2014/main" id="{47937C78-EB9E-8888-2EA0-E5A2AD70D4D7}"/>
                </a:ext>
              </a:extLst>
            </p:cNvPr>
            <p:cNvSpPr/>
            <p:nvPr/>
          </p:nvSpPr>
          <p:spPr>
            <a:xfrm>
              <a:off x="5724396" y="2004164"/>
              <a:ext cx="297026" cy="521306"/>
            </a:xfrm>
            <a:custGeom>
              <a:avLst/>
              <a:gdLst>
                <a:gd name="connsiteX0" fmla="*/ 0 w 425884"/>
                <a:gd name="connsiteY0" fmla="*/ 0 h 626302"/>
                <a:gd name="connsiteX1" fmla="*/ 425884 w 425884"/>
                <a:gd name="connsiteY1" fmla="*/ 0 h 626302"/>
                <a:gd name="connsiteX2" fmla="*/ 425884 w 425884"/>
                <a:gd name="connsiteY2" fmla="*/ 626302 h 626302"/>
              </a:gdLst>
              <a:ahLst/>
              <a:cxnLst>
                <a:cxn ang="0">
                  <a:pos x="connsiteX0" y="connsiteY0"/>
                </a:cxn>
                <a:cxn ang="0">
                  <a:pos x="connsiteX1" y="connsiteY1"/>
                </a:cxn>
                <a:cxn ang="0">
                  <a:pos x="connsiteX2" y="connsiteY2"/>
                </a:cxn>
              </a:cxnLst>
              <a:rect l="l" t="t" r="r" b="b"/>
              <a:pathLst>
                <a:path w="425884" h="626302">
                  <a:moveTo>
                    <a:pt x="0" y="0"/>
                  </a:moveTo>
                  <a:lnTo>
                    <a:pt x="425884" y="0"/>
                  </a:lnTo>
                  <a:lnTo>
                    <a:pt x="425884" y="626302"/>
                  </a:lnTo>
                </a:path>
              </a:pathLst>
            </a:custGeom>
            <a:noFill/>
            <a:ln w="34925" cap="rnd">
              <a:solidFill>
                <a:schemeClr val="accent5"/>
              </a:solidFill>
              <a:prstDash val="sysDash"/>
              <a:round/>
              <a:tailEnd type="ova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4" name="Group 193">
            <a:extLst>
              <a:ext uri="{FF2B5EF4-FFF2-40B4-BE49-F238E27FC236}">
                <a16:creationId xmlns:a16="http://schemas.microsoft.com/office/drawing/2014/main" id="{E18734EC-CBCF-2D8B-34D5-8646A2CFDA17}"/>
              </a:ext>
            </a:extLst>
          </p:cNvPr>
          <p:cNvGrpSpPr/>
          <p:nvPr/>
        </p:nvGrpSpPr>
        <p:grpSpPr>
          <a:xfrm>
            <a:off x="6224038" y="2283764"/>
            <a:ext cx="1609147" cy="796878"/>
            <a:chOff x="6224038" y="1728592"/>
            <a:chExt cx="1609147" cy="796878"/>
          </a:xfrm>
        </p:grpSpPr>
        <p:sp>
          <p:nvSpPr>
            <p:cNvPr id="188" name="Freeform: Shape 187">
              <a:extLst>
                <a:ext uri="{FF2B5EF4-FFF2-40B4-BE49-F238E27FC236}">
                  <a16:creationId xmlns:a16="http://schemas.microsoft.com/office/drawing/2014/main" id="{C50E7F4D-17D2-469E-873B-6A21D89C592D}"/>
                </a:ext>
              </a:extLst>
            </p:cNvPr>
            <p:cNvSpPr/>
            <p:nvPr/>
          </p:nvSpPr>
          <p:spPr>
            <a:xfrm flipH="1">
              <a:off x="6599835" y="1728592"/>
              <a:ext cx="1233350" cy="677395"/>
            </a:xfrm>
            <a:custGeom>
              <a:avLst/>
              <a:gdLst>
                <a:gd name="connsiteX0" fmla="*/ 0 w 1402916"/>
                <a:gd name="connsiteY0" fmla="*/ 0 h 563671"/>
                <a:gd name="connsiteX1" fmla="*/ 1402916 w 1402916"/>
                <a:gd name="connsiteY1" fmla="*/ 0 h 563671"/>
                <a:gd name="connsiteX2" fmla="*/ 1402916 w 1402916"/>
                <a:gd name="connsiteY2" fmla="*/ 563671 h 563671"/>
              </a:gdLst>
              <a:ahLst/>
              <a:cxnLst>
                <a:cxn ang="0">
                  <a:pos x="connsiteX0" y="connsiteY0"/>
                </a:cxn>
                <a:cxn ang="0">
                  <a:pos x="connsiteX1" y="connsiteY1"/>
                </a:cxn>
                <a:cxn ang="0">
                  <a:pos x="connsiteX2" y="connsiteY2"/>
                </a:cxn>
              </a:cxnLst>
              <a:rect l="l" t="t" r="r" b="b"/>
              <a:pathLst>
                <a:path w="1402916" h="563671">
                  <a:moveTo>
                    <a:pt x="0" y="0"/>
                  </a:moveTo>
                  <a:lnTo>
                    <a:pt x="1402916" y="0"/>
                  </a:lnTo>
                  <a:lnTo>
                    <a:pt x="1402916" y="563671"/>
                  </a:lnTo>
                </a:path>
              </a:pathLst>
            </a:custGeom>
            <a:noFill/>
            <a:ln w="34925" cap="rnd">
              <a:solidFill>
                <a:schemeClr val="accent5">
                  <a:lumMod val="75000"/>
                </a:schemeClr>
              </a:solidFill>
              <a:prstDash val="sysDash"/>
              <a:round/>
              <a:tailEnd type="ova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Freeform: Shape 188">
              <a:extLst>
                <a:ext uri="{FF2B5EF4-FFF2-40B4-BE49-F238E27FC236}">
                  <a16:creationId xmlns:a16="http://schemas.microsoft.com/office/drawing/2014/main" id="{FD7A2CCA-A588-3996-2400-B6979D01651A}"/>
                </a:ext>
              </a:extLst>
            </p:cNvPr>
            <p:cNvSpPr/>
            <p:nvPr/>
          </p:nvSpPr>
          <p:spPr>
            <a:xfrm flipH="1">
              <a:off x="6224038" y="2004164"/>
              <a:ext cx="349215" cy="521306"/>
            </a:xfrm>
            <a:custGeom>
              <a:avLst/>
              <a:gdLst>
                <a:gd name="connsiteX0" fmla="*/ 0 w 425884"/>
                <a:gd name="connsiteY0" fmla="*/ 0 h 626302"/>
                <a:gd name="connsiteX1" fmla="*/ 425884 w 425884"/>
                <a:gd name="connsiteY1" fmla="*/ 0 h 626302"/>
                <a:gd name="connsiteX2" fmla="*/ 425884 w 425884"/>
                <a:gd name="connsiteY2" fmla="*/ 626302 h 626302"/>
                <a:gd name="connsiteX0" fmla="*/ 0 w 425884"/>
                <a:gd name="connsiteY0" fmla="*/ 6162 h 632464"/>
                <a:gd name="connsiteX1" fmla="*/ 68762 w 425884"/>
                <a:gd name="connsiteY1" fmla="*/ 0 h 632464"/>
                <a:gd name="connsiteX2" fmla="*/ 425884 w 425884"/>
                <a:gd name="connsiteY2" fmla="*/ 6162 h 632464"/>
                <a:gd name="connsiteX3" fmla="*/ 425884 w 425884"/>
                <a:gd name="connsiteY3" fmla="*/ 632464 h 632464"/>
                <a:gd name="connsiteX0" fmla="*/ 1139 w 357122"/>
                <a:gd name="connsiteY0" fmla="*/ 2859427 h 2859427"/>
                <a:gd name="connsiteX1" fmla="*/ 0 w 357122"/>
                <a:gd name="connsiteY1" fmla="*/ 0 h 2859427"/>
                <a:gd name="connsiteX2" fmla="*/ 357122 w 357122"/>
                <a:gd name="connsiteY2" fmla="*/ 6162 h 2859427"/>
                <a:gd name="connsiteX3" fmla="*/ 357122 w 357122"/>
                <a:gd name="connsiteY3" fmla="*/ 632464 h 2859427"/>
                <a:gd name="connsiteX0" fmla="*/ 26 w 360226"/>
                <a:gd name="connsiteY0" fmla="*/ 1041329 h 1041329"/>
                <a:gd name="connsiteX1" fmla="*/ 3104 w 360226"/>
                <a:gd name="connsiteY1" fmla="*/ 0 h 1041329"/>
                <a:gd name="connsiteX2" fmla="*/ 360226 w 360226"/>
                <a:gd name="connsiteY2" fmla="*/ 6162 h 1041329"/>
                <a:gd name="connsiteX3" fmla="*/ 360226 w 360226"/>
                <a:gd name="connsiteY3" fmla="*/ 632464 h 1041329"/>
                <a:gd name="connsiteX0" fmla="*/ 26 w 368661"/>
                <a:gd name="connsiteY0" fmla="*/ 1041329 h 2440170"/>
                <a:gd name="connsiteX1" fmla="*/ 3104 w 368661"/>
                <a:gd name="connsiteY1" fmla="*/ 0 h 2440170"/>
                <a:gd name="connsiteX2" fmla="*/ 360226 w 368661"/>
                <a:gd name="connsiteY2" fmla="*/ 6162 h 2440170"/>
                <a:gd name="connsiteX3" fmla="*/ 368661 w 368661"/>
                <a:gd name="connsiteY3" fmla="*/ 2440170 h 2440170"/>
                <a:gd name="connsiteX0" fmla="*/ 26 w 368661"/>
                <a:gd name="connsiteY0" fmla="*/ 661183 h 2440170"/>
                <a:gd name="connsiteX1" fmla="*/ 3104 w 368661"/>
                <a:gd name="connsiteY1" fmla="*/ 0 h 2440170"/>
                <a:gd name="connsiteX2" fmla="*/ 360226 w 368661"/>
                <a:gd name="connsiteY2" fmla="*/ 6162 h 2440170"/>
                <a:gd name="connsiteX3" fmla="*/ 368661 w 368661"/>
                <a:gd name="connsiteY3" fmla="*/ 2440170 h 2440170"/>
                <a:gd name="connsiteX0" fmla="*/ 59 w 366453"/>
                <a:gd name="connsiteY0" fmla="*/ 661183 h 2440170"/>
                <a:gd name="connsiteX1" fmla="*/ 896 w 366453"/>
                <a:gd name="connsiteY1" fmla="*/ 0 h 2440170"/>
                <a:gd name="connsiteX2" fmla="*/ 358018 w 366453"/>
                <a:gd name="connsiteY2" fmla="*/ 6162 h 2440170"/>
                <a:gd name="connsiteX3" fmla="*/ 366453 w 366453"/>
                <a:gd name="connsiteY3" fmla="*/ 2440170 h 2440170"/>
                <a:gd name="connsiteX0" fmla="*/ 59 w 366453"/>
                <a:gd name="connsiteY0" fmla="*/ 412864 h 2440170"/>
                <a:gd name="connsiteX1" fmla="*/ 896 w 366453"/>
                <a:gd name="connsiteY1" fmla="*/ 0 h 2440170"/>
                <a:gd name="connsiteX2" fmla="*/ 358018 w 366453"/>
                <a:gd name="connsiteY2" fmla="*/ 6162 h 2440170"/>
                <a:gd name="connsiteX3" fmla="*/ 366453 w 366453"/>
                <a:gd name="connsiteY3" fmla="*/ 2440170 h 2440170"/>
                <a:gd name="connsiteX0" fmla="*/ 0 w 365557"/>
                <a:gd name="connsiteY0" fmla="*/ 0 h 2440170"/>
                <a:gd name="connsiteX1" fmla="*/ 357122 w 365557"/>
                <a:gd name="connsiteY1" fmla="*/ 6162 h 2440170"/>
                <a:gd name="connsiteX2" fmla="*/ 365557 w 365557"/>
                <a:gd name="connsiteY2" fmla="*/ 2440170 h 2440170"/>
              </a:gdLst>
              <a:ahLst/>
              <a:cxnLst>
                <a:cxn ang="0">
                  <a:pos x="connsiteX0" y="connsiteY0"/>
                </a:cxn>
                <a:cxn ang="0">
                  <a:pos x="connsiteX1" y="connsiteY1"/>
                </a:cxn>
                <a:cxn ang="0">
                  <a:pos x="connsiteX2" y="connsiteY2"/>
                </a:cxn>
              </a:cxnLst>
              <a:rect l="l" t="t" r="r" b="b"/>
              <a:pathLst>
                <a:path w="365557" h="2440170">
                  <a:moveTo>
                    <a:pt x="0" y="0"/>
                  </a:moveTo>
                  <a:lnTo>
                    <a:pt x="357122" y="6162"/>
                  </a:lnTo>
                  <a:cubicBezTo>
                    <a:pt x="359934" y="817498"/>
                    <a:pt x="362745" y="1628834"/>
                    <a:pt x="365557" y="2440170"/>
                  </a:cubicBezTo>
                </a:path>
              </a:pathLst>
            </a:custGeom>
            <a:noFill/>
            <a:ln w="34925" cap="rnd">
              <a:solidFill>
                <a:schemeClr val="accent5">
                  <a:lumMod val="75000"/>
                </a:schemeClr>
              </a:solidFill>
              <a:prstDash val="sysDash"/>
              <a:round/>
              <a:tailEnd type="ova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0" name="Freeform: Shape 189">
            <a:extLst>
              <a:ext uri="{FF2B5EF4-FFF2-40B4-BE49-F238E27FC236}">
                <a16:creationId xmlns:a16="http://schemas.microsoft.com/office/drawing/2014/main" id="{972ABBD2-6473-68AD-5BB4-74484CE9DEE9}"/>
              </a:ext>
            </a:extLst>
          </p:cNvPr>
          <p:cNvSpPr/>
          <p:nvPr/>
        </p:nvSpPr>
        <p:spPr>
          <a:xfrm flipH="1" flipV="1">
            <a:off x="6588657" y="3350490"/>
            <a:ext cx="1093064" cy="834089"/>
          </a:xfrm>
          <a:custGeom>
            <a:avLst/>
            <a:gdLst>
              <a:gd name="connsiteX0" fmla="*/ 0 w 1402916"/>
              <a:gd name="connsiteY0" fmla="*/ 0 h 563671"/>
              <a:gd name="connsiteX1" fmla="*/ 1402916 w 1402916"/>
              <a:gd name="connsiteY1" fmla="*/ 0 h 563671"/>
              <a:gd name="connsiteX2" fmla="*/ 1402916 w 1402916"/>
              <a:gd name="connsiteY2" fmla="*/ 563671 h 563671"/>
            </a:gdLst>
            <a:ahLst/>
            <a:cxnLst>
              <a:cxn ang="0">
                <a:pos x="connsiteX0" y="connsiteY0"/>
              </a:cxn>
              <a:cxn ang="0">
                <a:pos x="connsiteX1" y="connsiteY1"/>
              </a:cxn>
              <a:cxn ang="0">
                <a:pos x="connsiteX2" y="connsiteY2"/>
              </a:cxn>
            </a:cxnLst>
            <a:rect l="l" t="t" r="r" b="b"/>
            <a:pathLst>
              <a:path w="1402916" h="563671">
                <a:moveTo>
                  <a:pt x="0" y="0"/>
                </a:moveTo>
                <a:lnTo>
                  <a:pt x="1402916" y="0"/>
                </a:lnTo>
                <a:lnTo>
                  <a:pt x="1402916" y="563671"/>
                </a:lnTo>
              </a:path>
            </a:pathLst>
          </a:custGeom>
          <a:noFill/>
          <a:ln w="34925" cap="rnd">
            <a:solidFill>
              <a:schemeClr val="accent1"/>
            </a:solidFill>
            <a:prstDash val="sysDash"/>
            <a:round/>
            <a:tailEnd type="ova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Covid-19 outline">
            <a:extLst>
              <a:ext uri="{FF2B5EF4-FFF2-40B4-BE49-F238E27FC236}">
                <a16:creationId xmlns:a16="http://schemas.microsoft.com/office/drawing/2014/main" id="{F3C42343-E85B-F8F3-F5A6-1C7C161B64B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644626" y="1963886"/>
            <a:ext cx="541633" cy="541633"/>
          </a:xfrm>
          <a:prstGeom prst="rect">
            <a:avLst/>
          </a:prstGeom>
        </p:spPr>
      </p:pic>
      <p:grpSp>
        <p:nvGrpSpPr>
          <p:cNvPr id="52" name="Group 51">
            <a:extLst>
              <a:ext uri="{FF2B5EF4-FFF2-40B4-BE49-F238E27FC236}">
                <a16:creationId xmlns:a16="http://schemas.microsoft.com/office/drawing/2014/main" id="{A5E3DBCD-DF08-DCD3-E72A-268C3526298D}"/>
              </a:ext>
            </a:extLst>
          </p:cNvPr>
          <p:cNvGrpSpPr/>
          <p:nvPr/>
        </p:nvGrpSpPr>
        <p:grpSpPr>
          <a:xfrm>
            <a:off x="11071365" y="2065340"/>
            <a:ext cx="391089" cy="397273"/>
            <a:chOff x="6081371" y="4948272"/>
            <a:chExt cx="350330" cy="385235"/>
          </a:xfrm>
        </p:grpSpPr>
        <p:sp>
          <p:nvSpPr>
            <p:cNvPr id="53" name="Oval 52">
              <a:extLst>
                <a:ext uri="{FF2B5EF4-FFF2-40B4-BE49-F238E27FC236}">
                  <a16:creationId xmlns:a16="http://schemas.microsoft.com/office/drawing/2014/main" id="{96047236-6401-8088-5781-527273255D43}"/>
                </a:ext>
              </a:extLst>
            </p:cNvPr>
            <p:cNvSpPr/>
            <p:nvPr/>
          </p:nvSpPr>
          <p:spPr>
            <a:xfrm>
              <a:off x="6332790" y="5166415"/>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54" name="Oval 53">
              <a:extLst>
                <a:ext uri="{FF2B5EF4-FFF2-40B4-BE49-F238E27FC236}">
                  <a16:creationId xmlns:a16="http://schemas.microsoft.com/office/drawing/2014/main" id="{A4502494-75C2-456C-3995-58DD849A2993}"/>
                </a:ext>
              </a:extLst>
            </p:cNvPr>
            <p:cNvSpPr/>
            <p:nvPr/>
          </p:nvSpPr>
          <p:spPr>
            <a:xfrm>
              <a:off x="6368003" y="5135316"/>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55" name="Oval 54">
              <a:extLst>
                <a:ext uri="{FF2B5EF4-FFF2-40B4-BE49-F238E27FC236}">
                  <a16:creationId xmlns:a16="http://schemas.microsoft.com/office/drawing/2014/main" id="{3CA492D6-2BFC-EF13-F0D5-8C798999FA57}"/>
                </a:ext>
              </a:extLst>
            </p:cNvPr>
            <p:cNvSpPr/>
            <p:nvPr/>
          </p:nvSpPr>
          <p:spPr>
            <a:xfrm>
              <a:off x="6214415" y="4996015"/>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56" name="Oval 55">
              <a:extLst>
                <a:ext uri="{FF2B5EF4-FFF2-40B4-BE49-F238E27FC236}">
                  <a16:creationId xmlns:a16="http://schemas.microsoft.com/office/drawing/2014/main" id="{4AB18A4B-5206-FAF2-FCE1-A44368AF66D3}"/>
                </a:ext>
              </a:extLst>
            </p:cNvPr>
            <p:cNvSpPr/>
            <p:nvPr/>
          </p:nvSpPr>
          <p:spPr>
            <a:xfrm>
              <a:off x="6248968" y="4973190"/>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57" name="Oval 56">
              <a:extLst>
                <a:ext uri="{FF2B5EF4-FFF2-40B4-BE49-F238E27FC236}">
                  <a16:creationId xmlns:a16="http://schemas.microsoft.com/office/drawing/2014/main" id="{FE330AA0-2259-93BC-05F0-5AB5347F22BB}"/>
                </a:ext>
              </a:extLst>
            </p:cNvPr>
            <p:cNvSpPr/>
            <p:nvPr/>
          </p:nvSpPr>
          <p:spPr>
            <a:xfrm>
              <a:off x="6130384" y="5254610"/>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58" name="Oval 57">
              <a:extLst>
                <a:ext uri="{FF2B5EF4-FFF2-40B4-BE49-F238E27FC236}">
                  <a16:creationId xmlns:a16="http://schemas.microsoft.com/office/drawing/2014/main" id="{86FF6EDA-1A0A-EDC0-414F-BB065C7F6A5A}"/>
                </a:ext>
              </a:extLst>
            </p:cNvPr>
            <p:cNvSpPr/>
            <p:nvPr/>
          </p:nvSpPr>
          <p:spPr>
            <a:xfrm>
              <a:off x="6098535" y="5211731"/>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59" name="Oval 58">
              <a:extLst>
                <a:ext uri="{FF2B5EF4-FFF2-40B4-BE49-F238E27FC236}">
                  <a16:creationId xmlns:a16="http://schemas.microsoft.com/office/drawing/2014/main" id="{A7D19E36-20B6-1CE2-28AC-F5866EBA236E}"/>
                </a:ext>
              </a:extLst>
            </p:cNvPr>
            <p:cNvSpPr/>
            <p:nvPr/>
          </p:nvSpPr>
          <p:spPr>
            <a:xfrm>
              <a:off x="6247874" y="5234029"/>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60" name="Oval 59">
              <a:extLst>
                <a:ext uri="{FF2B5EF4-FFF2-40B4-BE49-F238E27FC236}">
                  <a16:creationId xmlns:a16="http://schemas.microsoft.com/office/drawing/2014/main" id="{A4580A00-B758-DA81-A452-A0F456A2C1A7}"/>
                </a:ext>
              </a:extLst>
            </p:cNvPr>
            <p:cNvSpPr/>
            <p:nvPr/>
          </p:nvSpPr>
          <p:spPr>
            <a:xfrm>
              <a:off x="6217346" y="5192304"/>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61" name="Oval 60">
              <a:extLst>
                <a:ext uri="{FF2B5EF4-FFF2-40B4-BE49-F238E27FC236}">
                  <a16:creationId xmlns:a16="http://schemas.microsoft.com/office/drawing/2014/main" id="{EC6559EA-9D91-47C6-028C-2C93DF7E5535}"/>
                </a:ext>
              </a:extLst>
            </p:cNvPr>
            <p:cNvSpPr/>
            <p:nvPr/>
          </p:nvSpPr>
          <p:spPr>
            <a:xfrm>
              <a:off x="6194082" y="5147243"/>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62" name="Oval 61">
              <a:extLst>
                <a:ext uri="{FF2B5EF4-FFF2-40B4-BE49-F238E27FC236}">
                  <a16:creationId xmlns:a16="http://schemas.microsoft.com/office/drawing/2014/main" id="{E8EEB4E1-035E-309B-406A-51AD19F4C39D}"/>
                </a:ext>
              </a:extLst>
            </p:cNvPr>
            <p:cNvSpPr/>
            <p:nvPr/>
          </p:nvSpPr>
          <p:spPr>
            <a:xfrm>
              <a:off x="6166185" y="5110413"/>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63" name="Oval 62">
              <a:extLst>
                <a:ext uri="{FF2B5EF4-FFF2-40B4-BE49-F238E27FC236}">
                  <a16:creationId xmlns:a16="http://schemas.microsoft.com/office/drawing/2014/main" id="{9C19E332-D1F8-C233-A927-05792645FCE0}"/>
                </a:ext>
              </a:extLst>
            </p:cNvPr>
            <p:cNvSpPr/>
            <p:nvPr/>
          </p:nvSpPr>
          <p:spPr>
            <a:xfrm>
              <a:off x="6125392" y="5082572"/>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64" name="Oval 63">
              <a:extLst>
                <a:ext uri="{FF2B5EF4-FFF2-40B4-BE49-F238E27FC236}">
                  <a16:creationId xmlns:a16="http://schemas.microsoft.com/office/drawing/2014/main" id="{EA455303-6F72-8ED8-E82A-E1F8DBC9581C}"/>
                </a:ext>
              </a:extLst>
            </p:cNvPr>
            <p:cNvSpPr/>
            <p:nvPr/>
          </p:nvSpPr>
          <p:spPr>
            <a:xfrm>
              <a:off x="6081371" y="5052710"/>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65" name="Oval 64">
              <a:extLst>
                <a:ext uri="{FF2B5EF4-FFF2-40B4-BE49-F238E27FC236}">
                  <a16:creationId xmlns:a16="http://schemas.microsoft.com/office/drawing/2014/main" id="{8086F31C-8BD2-F4BD-5422-CE16C3D7B2E5}"/>
                </a:ext>
              </a:extLst>
            </p:cNvPr>
            <p:cNvSpPr/>
            <p:nvPr/>
          </p:nvSpPr>
          <p:spPr>
            <a:xfrm>
              <a:off x="6285809" y="5271309"/>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66" name="Oval 65">
              <a:extLst>
                <a:ext uri="{FF2B5EF4-FFF2-40B4-BE49-F238E27FC236}">
                  <a16:creationId xmlns:a16="http://schemas.microsoft.com/office/drawing/2014/main" id="{B7554E60-61D3-5C7B-E265-4BEFEFF07EA2}"/>
                </a:ext>
              </a:extLst>
            </p:cNvPr>
            <p:cNvSpPr/>
            <p:nvPr/>
          </p:nvSpPr>
          <p:spPr>
            <a:xfrm>
              <a:off x="6292902" y="5076993"/>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67" name="Oval 66">
              <a:extLst>
                <a:ext uri="{FF2B5EF4-FFF2-40B4-BE49-F238E27FC236}">
                  <a16:creationId xmlns:a16="http://schemas.microsoft.com/office/drawing/2014/main" id="{175CEBB2-580A-EC29-B0EA-6E0CE4044EE1}"/>
                </a:ext>
              </a:extLst>
            </p:cNvPr>
            <p:cNvSpPr/>
            <p:nvPr/>
          </p:nvSpPr>
          <p:spPr>
            <a:xfrm>
              <a:off x="6313211" y="5037491"/>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68" name="Oval 67">
              <a:extLst>
                <a:ext uri="{FF2B5EF4-FFF2-40B4-BE49-F238E27FC236}">
                  <a16:creationId xmlns:a16="http://schemas.microsoft.com/office/drawing/2014/main" id="{EFE2DB83-FCB0-0816-CDB8-C638C93C5E18}"/>
                </a:ext>
              </a:extLst>
            </p:cNvPr>
            <p:cNvSpPr/>
            <p:nvPr/>
          </p:nvSpPr>
          <p:spPr>
            <a:xfrm>
              <a:off x="6332790" y="4990512"/>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69" name="Oval 68">
              <a:extLst>
                <a:ext uri="{FF2B5EF4-FFF2-40B4-BE49-F238E27FC236}">
                  <a16:creationId xmlns:a16="http://schemas.microsoft.com/office/drawing/2014/main" id="{46004355-6AC0-B36B-5079-C3539F3CCF15}"/>
                </a:ext>
              </a:extLst>
            </p:cNvPr>
            <p:cNvSpPr/>
            <p:nvPr/>
          </p:nvSpPr>
          <p:spPr>
            <a:xfrm>
              <a:off x="6351375" y="4948272"/>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grpSp>
      <p:sp>
        <p:nvSpPr>
          <p:cNvPr id="8" name="TextBox 7">
            <a:extLst>
              <a:ext uri="{FF2B5EF4-FFF2-40B4-BE49-F238E27FC236}">
                <a16:creationId xmlns:a16="http://schemas.microsoft.com/office/drawing/2014/main" id="{36B60120-6C88-9C5A-ABA3-AD0406B76FB4}"/>
              </a:ext>
            </a:extLst>
          </p:cNvPr>
          <p:cNvSpPr txBox="1"/>
          <p:nvPr/>
        </p:nvSpPr>
        <p:spPr>
          <a:xfrm>
            <a:off x="705690" y="5592808"/>
            <a:ext cx="10861668" cy="692497"/>
          </a:xfrm>
          <a:prstGeom prst="rect">
            <a:avLst/>
          </a:prstGeom>
          <a:noFill/>
        </p:spPr>
        <p:txBody>
          <a:bodyPr wrap="square" lIns="0" tIns="0" rIns="0" bIns="0" rtlCol="0" anchor="b">
            <a:spAutoFit/>
          </a:bodyPr>
          <a:lstStyle/>
          <a:p>
            <a:pPr defTabSz="914400">
              <a:defRPr/>
            </a:pPr>
            <a:r>
              <a:rPr lang="en-GB" sz="900">
                <a:solidFill>
                  <a:schemeClr val="tx1">
                    <a:lumMod val="50000"/>
                    <a:lumOff val="50000"/>
                  </a:schemeClr>
                </a:solidFill>
              </a:rPr>
              <a:t>KOAH, kronik obstrüktif akciğer hastalığı; ASYE, ALT solunum yolu enfeksiyonu; RSV, solunum sinsityal virüsü; </a:t>
            </a:r>
            <a:r>
              <a:rPr lang="en-US" sz="900">
                <a:solidFill>
                  <a:schemeClr val="tx1">
                    <a:lumMod val="50000"/>
                    <a:lumOff val="50000"/>
                  </a:schemeClr>
                </a:solidFill>
              </a:rPr>
              <a:t>SARS-CoV-2, şiddetli akut </a:t>
            </a:r>
            <a:r>
              <a:rPr lang="en-US" sz="900" err="1">
                <a:solidFill>
                  <a:schemeClr val="tx1">
                    <a:lumMod val="50000"/>
                    <a:lumOff val="50000"/>
                  </a:schemeClr>
                </a:solidFill>
              </a:rPr>
              <a:t>solunum</a:t>
            </a:r>
            <a:r>
              <a:rPr lang="en-US" sz="900">
                <a:solidFill>
                  <a:schemeClr val="tx1">
                    <a:lumMod val="50000"/>
                    <a:lumOff val="50000"/>
                  </a:schemeClr>
                </a:solidFill>
              </a:rPr>
              <a:t> </a:t>
            </a:r>
            <a:r>
              <a:rPr lang="en-US" sz="900" err="1">
                <a:solidFill>
                  <a:schemeClr val="tx1">
                    <a:lumMod val="50000"/>
                    <a:lumOff val="50000"/>
                  </a:schemeClr>
                </a:solidFill>
              </a:rPr>
              <a:t>sendromu</a:t>
            </a:r>
            <a:r>
              <a:rPr lang="en-US">
                <a:solidFill>
                  <a:schemeClr val="tx1">
                    <a:lumMod val="50000"/>
                    <a:lumOff val="50000"/>
                  </a:schemeClr>
                </a:solidFill>
              </a:rPr>
              <a:t> </a:t>
            </a:r>
            <a:r>
              <a:rPr lang="en-US" sz="900" err="1">
                <a:solidFill>
                  <a:schemeClr val="tx1">
                    <a:lumMod val="50000"/>
                    <a:lumOff val="50000"/>
                  </a:schemeClr>
                </a:solidFill>
              </a:rPr>
              <a:t>koronavirüs</a:t>
            </a:r>
            <a:r>
              <a:rPr lang="en-US" sz="900">
                <a:solidFill>
                  <a:schemeClr val="tx1">
                    <a:lumMod val="50000"/>
                    <a:lumOff val="50000"/>
                  </a:schemeClr>
                </a:solidFill>
              </a:rPr>
              <a:t> 2. *</a:t>
            </a:r>
            <a:r>
              <a:rPr lang="en-US" sz="900" err="1">
                <a:solidFill>
                  <a:schemeClr val="tx1">
                    <a:lumMod val="50000"/>
                    <a:lumOff val="50000"/>
                  </a:schemeClr>
                </a:solidFill>
              </a:rPr>
              <a:t>Toplum</a:t>
            </a:r>
            <a:r>
              <a:rPr lang="en-US" sz="900">
                <a:solidFill>
                  <a:schemeClr val="tx1">
                    <a:lumMod val="50000"/>
                    <a:lumOff val="50000"/>
                  </a:schemeClr>
                </a:solidFill>
              </a:rPr>
              <a:t> </a:t>
            </a:r>
            <a:r>
              <a:rPr lang="en-US" sz="900" err="1">
                <a:solidFill>
                  <a:schemeClr val="tx1">
                    <a:lumMod val="50000"/>
                    <a:lumOff val="50000"/>
                  </a:schemeClr>
                </a:solidFill>
              </a:rPr>
              <a:t>kaynaklı</a:t>
            </a:r>
            <a:r>
              <a:rPr lang="en-US" sz="900">
                <a:solidFill>
                  <a:schemeClr val="tx1">
                    <a:lumMod val="50000"/>
                    <a:lumOff val="50000"/>
                  </a:schemeClr>
                </a:solidFill>
              </a:rPr>
              <a:t> </a:t>
            </a:r>
            <a:r>
              <a:rPr lang="en-US" sz="900" err="1">
                <a:solidFill>
                  <a:schemeClr val="tx1">
                    <a:lumMod val="50000"/>
                    <a:lumOff val="50000"/>
                  </a:schemeClr>
                </a:solidFill>
              </a:rPr>
              <a:t>pnömoni</a:t>
            </a:r>
            <a:r>
              <a:rPr lang="en-US">
                <a:solidFill>
                  <a:schemeClr val="tx1">
                    <a:lumMod val="50000"/>
                    <a:lumOff val="50000"/>
                  </a:schemeClr>
                </a:solidFill>
              </a:rPr>
              <a:t>, </a:t>
            </a:r>
            <a:r>
              <a:rPr lang="en-US" sz="900" i="1">
                <a:solidFill>
                  <a:schemeClr val="tx1">
                    <a:lumMod val="50000"/>
                    <a:lumOff val="50000"/>
                  </a:schemeClr>
                </a:solidFill>
              </a:rPr>
              <a:t>S. pneumoniae</a:t>
            </a:r>
            <a:r>
              <a:rPr lang="en-US" sz="900">
                <a:solidFill>
                  <a:schemeClr val="tx1">
                    <a:lumMod val="50000"/>
                    <a:lumOff val="50000"/>
                  </a:schemeClr>
                </a:solidFill>
              </a:rPr>
              <a:t> dışında diğer mikroorganizmalardan kaynaklanabilir.</a:t>
            </a:r>
            <a:endParaRPr lang="en-GB" sz="900">
              <a:solidFill>
                <a:schemeClr val="tx1">
                  <a:lumMod val="50000"/>
                  <a:lumOff val="50000"/>
                </a:schemeClr>
              </a:solidFill>
            </a:endParaRPr>
          </a:p>
          <a:p>
            <a:pPr defTabSz="914400">
              <a:defRPr/>
            </a:pPr>
            <a:r>
              <a:rPr lang="en-US">
                <a:solidFill>
                  <a:schemeClr val="tx1">
                    <a:lumMod val="50000"/>
                    <a:lumOff val="50000"/>
                  </a:schemeClr>
                </a:solidFill>
              </a:rPr>
              <a:t>1. Superior Health Council. Vaccination Against RSV (For Older Adults). September 2023. </a:t>
            </a:r>
            <a:r>
              <a:rPr lang="en-US">
                <a:solidFill>
                  <a:schemeClr val="tx1">
                    <a:lumMod val="50000"/>
                    <a:lumOff val="50000"/>
                  </a:schemeClr>
                </a:solidFill>
                <a:hlinkClick r:id="rId7">
                  <a:extLst>
                    <a:ext uri="{A12FA001-AC4F-418D-AE19-62706E023703}">
                      <ahyp:hlinkClr xmlns:ahyp="http://schemas.microsoft.com/office/drawing/2018/hyperlinkcolor" val="tx"/>
                    </a:ext>
                  </a:extLst>
                </a:hlinkClick>
              </a:rPr>
              <a:t>https://www.health.belgium.be/sites/default/files/uploads/fields/fpshealth_theme_file/20230918_shc-9725_rsv_vaccination_adults_vweb_1.pdf</a:t>
            </a:r>
            <a:r>
              <a:rPr lang="en-US">
                <a:solidFill>
                  <a:schemeClr val="tx1">
                    <a:lumMod val="50000"/>
                    <a:lumOff val="50000"/>
                  </a:schemeClr>
                </a:solidFill>
              </a:rPr>
              <a:t>. Accessed 17 March 2025; 2</a:t>
            </a:r>
            <a:r>
              <a:rPr lang="en-GB">
                <a:solidFill>
                  <a:schemeClr val="tx1">
                    <a:lumMod val="50000"/>
                    <a:lumOff val="50000"/>
                  </a:schemeClr>
                </a:solidFill>
              </a:rPr>
              <a:t>. Torres A, et al. </a:t>
            </a:r>
            <a:r>
              <a:rPr lang="en-GB" i="1">
                <a:solidFill>
                  <a:schemeClr val="tx1">
                    <a:lumMod val="50000"/>
                    <a:lumOff val="50000"/>
                  </a:schemeClr>
                </a:solidFill>
              </a:rPr>
              <a:t>Thorax. </a:t>
            </a:r>
            <a:r>
              <a:rPr lang="en-GB">
                <a:solidFill>
                  <a:schemeClr val="tx1">
                    <a:lumMod val="50000"/>
                    <a:lumOff val="50000"/>
                  </a:schemeClr>
                </a:solidFill>
              </a:rPr>
              <a:t>2015;70(10):984-989; 3. </a:t>
            </a:r>
            <a:r>
              <a:rPr lang="en-GB" err="1">
                <a:solidFill>
                  <a:schemeClr val="tx1">
                    <a:lumMod val="50000"/>
                    <a:lumOff val="50000"/>
                  </a:schemeClr>
                </a:solidFill>
              </a:rPr>
              <a:t>Hultström</a:t>
            </a:r>
            <a:r>
              <a:rPr lang="en-GB">
                <a:solidFill>
                  <a:schemeClr val="tx1">
                    <a:lumMod val="50000"/>
                    <a:lumOff val="50000"/>
                  </a:schemeClr>
                </a:solidFill>
              </a:rPr>
              <a:t> M, et al. </a:t>
            </a:r>
            <a:r>
              <a:rPr lang="en-GB" i="1">
                <a:solidFill>
                  <a:schemeClr val="tx1">
                    <a:lumMod val="50000"/>
                    <a:lumOff val="50000"/>
                  </a:schemeClr>
                </a:solidFill>
              </a:rPr>
              <a:t>Crit Care</a:t>
            </a:r>
            <a:r>
              <a:rPr lang="en-GB">
                <a:solidFill>
                  <a:schemeClr val="tx1">
                    <a:lumMod val="50000"/>
                    <a:lumOff val="50000"/>
                  </a:schemeClr>
                </a:solidFill>
              </a:rPr>
              <a:t>. 2021;25(1):37; 4. Hu X, et al. </a:t>
            </a:r>
            <a:r>
              <a:rPr lang="en-GB" i="1">
                <a:solidFill>
                  <a:schemeClr val="tx1">
                    <a:lumMod val="50000"/>
                    <a:lumOff val="50000"/>
                  </a:schemeClr>
                </a:solidFill>
              </a:rPr>
              <a:t>Ann Hepatol</a:t>
            </a:r>
            <a:r>
              <a:rPr lang="en-GB">
                <a:solidFill>
                  <a:schemeClr val="tx1">
                    <a:lumMod val="50000"/>
                    <a:lumOff val="50000"/>
                  </a:schemeClr>
                </a:solidFill>
              </a:rPr>
              <a:t>. 2022;27(1):100653; </a:t>
            </a:r>
            <a:br>
              <a:rPr lang="en-GB">
                <a:solidFill>
                  <a:schemeClr val="tx1">
                    <a:lumMod val="50000"/>
                    <a:lumOff val="50000"/>
                  </a:schemeClr>
                </a:solidFill>
              </a:rPr>
            </a:br>
            <a:r>
              <a:rPr lang="en-GB">
                <a:solidFill>
                  <a:schemeClr val="tx1">
                    <a:lumMod val="50000"/>
                    <a:lumOff val="50000"/>
                  </a:schemeClr>
                </a:solidFill>
              </a:rPr>
              <a:t>5. </a:t>
            </a:r>
            <a:r>
              <a:rPr lang="en-GB" err="1">
                <a:solidFill>
                  <a:schemeClr val="tx1">
                    <a:lumMod val="50000"/>
                    <a:lumOff val="50000"/>
                  </a:schemeClr>
                </a:solidFill>
              </a:rPr>
              <a:t>Cilloniz</a:t>
            </a:r>
            <a:r>
              <a:rPr lang="en-GB">
                <a:solidFill>
                  <a:schemeClr val="tx1">
                    <a:lumMod val="50000"/>
                    <a:lumOff val="50000"/>
                  </a:schemeClr>
                </a:solidFill>
              </a:rPr>
              <a:t> C, et al. </a:t>
            </a:r>
            <a:r>
              <a:rPr lang="en-GB" i="1" err="1">
                <a:solidFill>
                  <a:schemeClr val="tx1">
                    <a:lumMod val="50000"/>
                    <a:lumOff val="50000"/>
                  </a:schemeClr>
                </a:solidFill>
              </a:rPr>
              <a:t>Eur</a:t>
            </a:r>
            <a:r>
              <a:rPr lang="en-GB" i="1">
                <a:solidFill>
                  <a:schemeClr val="tx1">
                    <a:lumMod val="50000"/>
                    <a:lumOff val="50000"/>
                  </a:schemeClr>
                </a:solidFill>
              </a:rPr>
              <a:t> Respir Rev</a:t>
            </a:r>
            <a:r>
              <a:rPr lang="en-GB">
                <a:solidFill>
                  <a:schemeClr val="tx1">
                    <a:lumMod val="50000"/>
                    <a:lumOff val="50000"/>
                  </a:schemeClr>
                </a:solidFill>
              </a:rPr>
              <a:t>.</a:t>
            </a:r>
            <a:r>
              <a:rPr lang="en-GB" i="1">
                <a:solidFill>
                  <a:schemeClr val="tx1">
                    <a:lumMod val="50000"/>
                    <a:lumOff val="50000"/>
                  </a:schemeClr>
                </a:solidFill>
              </a:rPr>
              <a:t> </a:t>
            </a:r>
            <a:r>
              <a:rPr lang="en-GB">
                <a:solidFill>
                  <a:schemeClr val="tx1">
                    <a:lumMod val="50000"/>
                    <a:lumOff val="50000"/>
                  </a:schemeClr>
                </a:solidFill>
              </a:rPr>
              <a:t>2022;31(166):220051</a:t>
            </a:r>
            <a:r>
              <a:rPr lang="en-GB" sz="900">
                <a:solidFill>
                  <a:schemeClr val="tx1">
                    <a:lumMod val="50000"/>
                    <a:lumOff val="50000"/>
                  </a:schemeClr>
                </a:solidFill>
              </a:rPr>
              <a:t>.</a:t>
            </a:r>
            <a:endParaRPr lang="en-US" sz="900">
              <a:solidFill>
                <a:schemeClr val="tx1">
                  <a:lumMod val="50000"/>
                  <a:lumOff val="50000"/>
                </a:schemeClr>
              </a:solidFill>
            </a:endParaRPr>
          </a:p>
        </p:txBody>
      </p:sp>
      <p:grpSp>
        <p:nvGrpSpPr>
          <p:cNvPr id="14" name="Group 13">
            <a:extLst>
              <a:ext uri="{FF2B5EF4-FFF2-40B4-BE49-F238E27FC236}">
                <a16:creationId xmlns:a16="http://schemas.microsoft.com/office/drawing/2014/main" id="{3D0F4889-55AD-9955-2259-B8C871C09536}"/>
              </a:ext>
            </a:extLst>
          </p:cNvPr>
          <p:cNvGrpSpPr/>
          <p:nvPr/>
        </p:nvGrpSpPr>
        <p:grpSpPr>
          <a:xfrm>
            <a:off x="9513903" y="6320005"/>
            <a:ext cx="1895426" cy="453867"/>
            <a:chOff x="9513903" y="6320005"/>
            <a:chExt cx="1895426" cy="453867"/>
          </a:xfrm>
        </p:grpSpPr>
        <p:pic>
          <p:nvPicPr>
            <p:cNvPr id="16" name="Picture 15" descr="A yellow and blue logo&#10;&#10;Description automatically generated">
              <a:extLst>
                <a:ext uri="{FF2B5EF4-FFF2-40B4-BE49-F238E27FC236}">
                  <a16:creationId xmlns:a16="http://schemas.microsoft.com/office/drawing/2014/main" id="{E0FB0323-F92C-2357-4C76-E46FBDA4094B}"/>
                </a:ext>
              </a:extLst>
            </p:cNvPr>
            <p:cNvPicPr>
              <a:picLocks noChangeAspect="1"/>
            </p:cNvPicPr>
            <p:nvPr/>
          </p:nvPicPr>
          <p:blipFill>
            <a:blip r:embed="rId8">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17" name="Picture 16" descr="A black and blue logo&#10;&#10;AI-generated content may be incorrect.">
              <a:extLst>
                <a:ext uri="{FF2B5EF4-FFF2-40B4-BE49-F238E27FC236}">
                  <a16:creationId xmlns:a16="http://schemas.microsoft.com/office/drawing/2014/main" id="{EE64E907-2AB0-764B-B180-0744F01332A1}"/>
                </a:ext>
              </a:extLst>
            </p:cNvPr>
            <p:cNvPicPr>
              <a:picLocks noChangeAspect="1"/>
            </p:cNvPicPr>
            <p:nvPr/>
          </p:nvPicPr>
          <p:blipFill>
            <a:blip r:embed="rId9"/>
            <a:stretch>
              <a:fillRect/>
            </a:stretch>
          </p:blipFill>
          <p:spPr>
            <a:xfrm>
              <a:off x="9513903" y="6494969"/>
              <a:ext cx="981021" cy="204067"/>
            </a:xfrm>
            <a:prstGeom prst="rect">
              <a:avLst/>
            </a:prstGeom>
          </p:spPr>
        </p:pic>
      </p:grpSp>
    </p:spTree>
    <p:extLst>
      <p:ext uri="{BB962C8B-B14F-4D97-AF65-F5344CB8AC3E}">
        <p14:creationId xmlns:p14="http://schemas.microsoft.com/office/powerpoint/2010/main" val="85504243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C68B39-99CE-422A-2D36-72F73EF54078}"/>
              </a:ext>
            </a:extLst>
          </p:cNvPr>
          <p:cNvSpPr>
            <a:spLocks noGrp="1"/>
          </p:cNvSpPr>
          <p:nvPr>
            <p:ph type="title"/>
          </p:nvPr>
        </p:nvSpPr>
        <p:spPr/>
        <p:txBody>
          <a:bodyPr/>
          <a:lstStyle/>
          <a:p>
            <a:r>
              <a:rPr lang="en-US" dirty="0" err="1"/>
              <a:t>Teşekkürler</a:t>
            </a:r>
            <a:endParaRPr lang="tr-TR" dirty="0"/>
          </a:p>
        </p:txBody>
      </p:sp>
    </p:spTree>
    <p:extLst>
      <p:ext uri="{BB962C8B-B14F-4D97-AF65-F5344CB8AC3E}">
        <p14:creationId xmlns:p14="http://schemas.microsoft.com/office/powerpoint/2010/main" val="6404766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654906-FEB7-0B67-114D-452868C78C3A}"/>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8F1C5071-2E27-DE40-3B35-3CB542D98D98}"/>
              </a:ext>
            </a:extLst>
          </p:cNvPr>
          <p:cNvSpPr/>
          <p:nvPr/>
        </p:nvSpPr>
        <p:spPr>
          <a:xfrm>
            <a:off x="641164" y="1437222"/>
            <a:ext cx="10972801" cy="4421761"/>
          </a:xfrm>
          <a:prstGeom prst="roundRect">
            <a:avLst>
              <a:gd name="adj" fmla="val 2943"/>
            </a:avLst>
          </a:prstGeom>
          <a:solidFill>
            <a:schemeClr val="accent2">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2" name="Title 1">
            <a:extLst>
              <a:ext uri="{FF2B5EF4-FFF2-40B4-BE49-F238E27FC236}">
                <a16:creationId xmlns:a16="http://schemas.microsoft.com/office/drawing/2014/main" id="{75ABB3A1-C637-A14F-0083-5D2391F86DD3}"/>
              </a:ext>
            </a:extLst>
          </p:cNvPr>
          <p:cNvSpPr>
            <a:spLocks noGrp="1"/>
          </p:cNvSpPr>
          <p:nvPr>
            <p:ph type="title"/>
          </p:nvPr>
        </p:nvSpPr>
        <p:spPr>
          <a:xfrm>
            <a:off x="613152" y="195684"/>
            <a:ext cx="10969218" cy="842156"/>
          </a:xfrm>
        </p:spPr>
        <p:txBody>
          <a:bodyPr lIns="0" tIns="0" rIns="0" bIns="0">
            <a:noAutofit/>
          </a:bodyPr>
          <a:lstStyle/>
          <a:p>
            <a:r>
              <a:rPr lang="en-GB" err="1"/>
              <a:t>Özet</a:t>
            </a:r>
            <a:r>
              <a:rPr lang="en-GB"/>
              <a:t>: </a:t>
            </a:r>
            <a:r>
              <a:rPr lang="en-US"/>
              <a:t>İleri yaştaki bireyler, alt solunum yolu enfeksiyonları (LRTI) açısından en yüksek risk grubundadır.</a:t>
            </a:r>
            <a:endParaRPr lang="pt-PT"/>
          </a:p>
        </p:txBody>
      </p:sp>
      <p:sp>
        <p:nvSpPr>
          <p:cNvPr id="3" name="Slide Number Placeholder 2">
            <a:extLst>
              <a:ext uri="{FF2B5EF4-FFF2-40B4-BE49-F238E27FC236}">
                <a16:creationId xmlns:a16="http://schemas.microsoft.com/office/drawing/2014/main" id="{6EE4BEFD-53A3-13AE-A988-6111D9ADD683}"/>
              </a:ext>
            </a:extLst>
          </p:cNvPr>
          <p:cNvSpPr>
            <a:spLocks noGrp="1"/>
          </p:cNvSpPr>
          <p:nvPr>
            <p:ph type="sldNum" sz="quarter" idx="4"/>
          </p:nvPr>
        </p:nvSpPr>
        <p:spPr>
          <a:xfrm>
            <a:off x="10438834" y="6508427"/>
            <a:ext cx="1143536" cy="153889"/>
          </a:xfrm>
        </p:spPr>
        <p:txBody>
          <a:bodyPr/>
          <a:lstStyle/>
          <a:p>
            <a:pPr lvl="0"/>
            <a:fld id="{2B39012A-6F33-204B-8224-A57BEFB0AAD0}" type="slidenum">
              <a:rPr lang="en-US" noProof="0" smtClean="0"/>
              <a:pPr lvl="0"/>
              <a:t>11</a:t>
            </a:fld>
            <a:endParaRPr lang="en-US" noProof="0"/>
          </a:p>
        </p:txBody>
      </p:sp>
      <p:sp>
        <p:nvSpPr>
          <p:cNvPr id="17" name="TextBox 16">
            <a:extLst>
              <a:ext uri="{FF2B5EF4-FFF2-40B4-BE49-F238E27FC236}">
                <a16:creationId xmlns:a16="http://schemas.microsoft.com/office/drawing/2014/main" id="{2B21444B-3ADA-59D0-0556-B65EB803B0B0}"/>
              </a:ext>
            </a:extLst>
          </p:cNvPr>
          <p:cNvSpPr txBox="1"/>
          <p:nvPr/>
        </p:nvSpPr>
        <p:spPr>
          <a:xfrm>
            <a:off x="669647" y="6058709"/>
            <a:ext cx="10861668" cy="276999"/>
          </a:xfrm>
          <a:prstGeom prst="rect">
            <a:avLst/>
          </a:prstGeom>
          <a:noFill/>
        </p:spPr>
        <p:txBody>
          <a:bodyPr wrap="square" lIns="0" tIns="0" rIns="0" bIns="0" rtlCol="0" anchor="b">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Pfizer Diatype Office"/>
                <a:ea typeface="+mn-ea"/>
                <a:cs typeface="+mn-cs"/>
              </a:rPr>
              <a:t>ASYE, alt </a:t>
            </a:r>
            <a:r>
              <a:rPr kumimoji="0" lang="en-GB" sz="900" b="0" i="0" u="none" strike="noStrike" kern="1200" cap="none" spc="0" normalizeH="0" baseline="0" noProof="0" err="1">
                <a:ln>
                  <a:noFill/>
                </a:ln>
                <a:solidFill>
                  <a:srgbClr val="FFFFFF">
                    <a:lumMod val="50000"/>
                  </a:srgbClr>
                </a:solidFill>
                <a:effectLst/>
                <a:uLnTx/>
                <a:uFillTx/>
                <a:latin typeface="Pfizer Diatype Office"/>
                <a:ea typeface="+mn-ea"/>
                <a:cs typeface="+mn-cs"/>
              </a:rPr>
              <a:t>solunum</a:t>
            </a:r>
            <a:r>
              <a:rPr kumimoji="0" lang="en-GB" sz="900" b="0" i="0" u="none" strike="noStrike" kern="1200" cap="none" spc="0" normalizeH="0" baseline="0" noProof="0">
                <a:ln>
                  <a:noFill/>
                </a:ln>
                <a:solidFill>
                  <a:srgbClr val="FFFFFF">
                    <a:lumMod val="50000"/>
                  </a:srgbClr>
                </a:solidFill>
                <a:effectLst/>
                <a:uLnTx/>
                <a:uFillTx/>
                <a:latin typeface="Pfizer Diatype Office"/>
                <a:ea typeface="+mn-ea"/>
                <a:cs typeface="+mn-cs"/>
              </a:rPr>
              <a:t> </a:t>
            </a:r>
            <a:r>
              <a:rPr kumimoji="0" lang="en-GB" sz="900" b="0" i="0" u="none" strike="noStrike" kern="1200" cap="none" spc="0" normalizeH="0" baseline="0" noProof="0" err="1">
                <a:ln>
                  <a:noFill/>
                </a:ln>
                <a:solidFill>
                  <a:srgbClr val="FFFFFF">
                    <a:lumMod val="50000"/>
                  </a:srgbClr>
                </a:solidFill>
                <a:effectLst/>
                <a:uLnTx/>
                <a:uFillTx/>
                <a:latin typeface="Pfizer Diatype Office"/>
                <a:ea typeface="+mn-ea"/>
                <a:cs typeface="+mn-cs"/>
              </a:rPr>
              <a:t>yolu</a:t>
            </a:r>
            <a:r>
              <a:rPr kumimoji="0" lang="en-GB" sz="900" b="0" i="0" u="none" strike="noStrike" kern="1200" cap="none" spc="0" normalizeH="0" baseline="0" noProof="0">
                <a:ln>
                  <a:noFill/>
                </a:ln>
                <a:solidFill>
                  <a:srgbClr val="FFFFFF">
                    <a:lumMod val="50000"/>
                  </a:srgbClr>
                </a:solidFill>
                <a:effectLst/>
                <a:uLnTx/>
                <a:uFillTx/>
                <a:latin typeface="Pfizer Diatype Office"/>
                <a:ea typeface="+mn-ea"/>
                <a:cs typeface="+mn-cs"/>
              </a:rPr>
              <a:t> </a:t>
            </a:r>
            <a:r>
              <a:rPr kumimoji="0" lang="en-GB" sz="900" b="0" i="0" u="none" strike="noStrike" kern="1200" cap="none" spc="0" normalizeH="0" baseline="0" noProof="0" err="1">
                <a:ln>
                  <a:noFill/>
                </a:ln>
                <a:solidFill>
                  <a:srgbClr val="FFFFFF">
                    <a:lumMod val="50000"/>
                  </a:srgbClr>
                </a:solidFill>
                <a:effectLst/>
                <a:uLnTx/>
                <a:uFillTx/>
                <a:latin typeface="Pfizer Diatype Office"/>
                <a:ea typeface="+mn-ea"/>
                <a:cs typeface="+mn-cs"/>
              </a:rPr>
              <a:t>enfeksiyonu</a:t>
            </a:r>
            <a:r>
              <a:rPr kumimoji="0" lang="en-GB" sz="900" b="0" i="0" u="none" strike="noStrike" kern="1200" cap="none" spc="0" normalizeH="0" baseline="0" noProof="0">
                <a:ln>
                  <a:noFill/>
                </a:ln>
                <a:solidFill>
                  <a:srgbClr val="FFFFFF">
                    <a:lumMod val="50000"/>
                  </a:srgbClr>
                </a:solidFill>
                <a:effectLst/>
                <a:uLnTx/>
                <a:uFillTx/>
                <a:latin typeface="Pfizer Diatype Office"/>
                <a:ea typeface="+mn-ea"/>
                <a:cs typeface="+mn-cs"/>
              </a:rPr>
              <a:t>; RSV, </a:t>
            </a:r>
            <a:r>
              <a:rPr kumimoji="0" lang="en-GB" sz="900" b="0" i="0" u="none" strike="noStrike" kern="1200" cap="none" spc="0" normalizeH="0" baseline="0" noProof="0" err="1">
                <a:ln>
                  <a:noFill/>
                </a:ln>
                <a:solidFill>
                  <a:srgbClr val="FFFFFF">
                    <a:lumMod val="50000"/>
                  </a:srgbClr>
                </a:solidFill>
                <a:effectLst/>
                <a:uLnTx/>
                <a:uFillTx/>
                <a:latin typeface="Pfizer Diatype Office"/>
                <a:ea typeface="+mn-ea"/>
                <a:cs typeface="+mn-cs"/>
              </a:rPr>
              <a:t>solunum</a:t>
            </a:r>
            <a:r>
              <a:rPr kumimoji="0" lang="en-GB" sz="900" b="0" i="0" u="none" strike="noStrike" kern="1200" cap="none" spc="0" normalizeH="0" baseline="0" noProof="0">
                <a:ln>
                  <a:noFill/>
                </a:ln>
                <a:solidFill>
                  <a:srgbClr val="FFFFFF">
                    <a:lumMod val="50000"/>
                  </a:srgbClr>
                </a:solidFill>
                <a:effectLst/>
                <a:uLnTx/>
                <a:uFillTx/>
                <a:latin typeface="Pfizer Diatype Office"/>
                <a:ea typeface="+mn-ea"/>
                <a:cs typeface="+mn-cs"/>
              </a:rPr>
              <a:t> </a:t>
            </a:r>
            <a:r>
              <a:rPr kumimoji="0" lang="en-GB" sz="900" b="0" i="0" u="none" strike="noStrike" kern="1200" cap="none" spc="0" normalizeH="0" baseline="0" noProof="0" err="1">
                <a:ln>
                  <a:noFill/>
                </a:ln>
                <a:solidFill>
                  <a:srgbClr val="FFFFFF">
                    <a:lumMod val="50000"/>
                  </a:srgbClr>
                </a:solidFill>
                <a:effectLst/>
                <a:uLnTx/>
                <a:uFillTx/>
                <a:latin typeface="Pfizer Diatype Office"/>
                <a:ea typeface="+mn-ea"/>
                <a:cs typeface="+mn-cs"/>
              </a:rPr>
              <a:t>sinsityal</a:t>
            </a:r>
            <a:r>
              <a:rPr kumimoji="0" lang="en-GB" sz="900" b="0" i="0" u="none" strike="noStrike" kern="1200" cap="none" spc="0" normalizeH="0" baseline="0" noProof="0">
                <a:ln>
                  <a:noFill/>
                </a:ln>
                <a:solidFill>
                  <a:srgbClr val="FFFFFF">
                    <a:lumMod val="50000"/>
                  </a:srgbClr>
                </a:solidFill>
                <a:effectLst/>
                <a:uLnTx/>
                <a:uFillTx/>
                <a:latin typeface="Pfizer Diatype Office"/>
                <a:ea typeface="+mn-ea"/>
                <a:cs typeface="+mn-cs"/>
              </a:rPr>
              <a:t> </a:t>
            </a:r>
            <a:r>
              <a:rPr kumimoji="0" lang="en-GB" sz="900" b="0" i="0" u="none" strike="noStrike" kern="1200" cap="none" spc="0" normalizeH="0" baseline="0" noProof="0" err="1">
                <a:ln>
                  <a:noFill/>
                </a:ln>
                <a:solidFill>
                  <a:srgbClr val="FFFFFF">
                    <a:lumMod val="50000"/>
                  </a:srgbClr>
                </a:solidFill>
                <a:effectLst/>
                <a:uLnTx/>
                <a:uFillTx/>
                <a:latin typeface="Pfizer Diatype Office"/>
                <a:ea typeface="+mn-ea"/>
                <a:cs typeface="+mn-cs"/>
              </a:rPr>
              <a:t>virüsü</a:t>
            </a:r>
            <a:r>
              <a:rPr lang="en-GB">
                <a:solidFill>
                  <a:srgbClr val="FFFFFF">
                    <a:lumMod val="50000"/>
                  </a:srgbClr>
                </a:solidFill>
                <a:latin typeface="Pfizer Diatype Office"/>
              </a:rPr>
              <a:t>; </a:t>
            </a:r>
            <a:r>
              <a:rPr kumimoji="0" lang="en-GB" b="0" i="0" u="none" strike="noStrike" kern="1200" cap="none" spc="0" normalizeH="0" baseline="0" noProof="0">
                <a:ln>
                  <a:noFill/>
                </a:ln>
                <a:solidFill>
                  <a:schemeClr val="tx1">
                    <a:lumMod val="50000"/>
                    <a:lumOff val="50000"/>
                  </a:schemeClr>
                </a:solidFill>
                <a:effectLst/>
                <a:uLnTx/>
                <a:uFillTx/>
                <a:latin typeface="Pfizer Diatype Office"/>
                <a:ea typeface="+mn-ea"/>
                <a:cs typeface="+mn-cs"/>
              </a:rPr>
              <a:t>SARS-CoV-2, </a:t>
            </a:r>
            <a:r>
              <a:rPr kumimoji="0" lang="en-GB" b="0" i="0" u="none" strike="noStrike" kern="1200" cap="none" spc="0" normalizeH="0" baseline="0" noProof="0" err="1">
                <a:ln>
                  <a:noFill/>
                </a:ln>
                <a:solidFill>
                  <a:schemeClr val="tx1">
                    <a:lumMod val="50000"/>
                    <a:lumOff val="50000"/>
                  </a:schemeClr>
                </a:solidFill>
                <a:effectLst/>
                <a:uLnTx/>
                <a:uFillTx/>
                <a:latin typeface="Pfizer Diatype Office"/>
                <a:ea typeface="+mn-ea"/>
                <a:cs typeface="+mn-cs"/>
              </a:rPr>
              <a:t>şiddetli</a:t>
            </a:r>
            <a:r>
              <a:rPr kumimoji="0" lang="en-GB" b="0" i="0" u="none" strike="noStrike" kern="1200" cap="none" spc="0" normalizeH="0" baseline="0" noProof="0">
                <a:ln>
                  <a:noFill/>
                </a:ln>
                <a:solidFill>
                  <a:schemeClr val="tx1">
                    <a:lumMod val="50000"/>
                    <a:lumOff val="50000"/>
                  </a:schemeClr>
                </a:solidFill>
                <a:effectLst/>
                <a:uLnTx/>
                <a:uFillTx/>
                <a:latin typeface="Pfizer Diatype Office"/>
                <a:ea typeface="+mn-ea"/>
                <a:cs typeface="+mn-cs"/>
              </a:rPr>
              <a:t> </a:t>
            </a:r>
            <a:r>
              <a:rPr kumimoji="0" lang="en-GB" b="0" i="0" u="none" strike="noStrike" kern="1200" cap="none" spc="0" normalizeH="0" baseline="0" noProof="0" err="1">
                <a:ln>
                  <a:noFill/>
                </a:ln>
                <a:solidFill>
                  <a:schemeClr val="tx1">
                    <a:lumMod val="50000"/>
                    <a:lumOff val="50000"/>
                  </a:schemeClr>
                </a:solidFill>
                <a:effectLst/>
                <a:uLnTx/>
                <a:uFillTx/>
                <a:latin typeface="Pfizer Diatype Office"/>
                <a:ea typeface="+mn-ea"/>
                <a:cs typeface="+mn-cs"/>
              </a:rPr>
              <a:t>akut</a:t>
            </a:r>
            <a:r>
              <a:rPr kumimoji="0" lang="en-GB" b="0" i="0" u="none" strike="noStrike" kern="1200" cap="none" spc="0" normalizeH="0" baseline="0" noProof="0">
                <a:ln>
                  <a:noFill/>
                </a:ln>
                <a:solidFill>
                  <a:schemeClr val="tx1">
                    <a:lumMod val="50000"/>
                    <a:lumOff val="50000"/>
                  </a:schemeClr>
                </a:solidFill>
                <a:effectLst/>
                <a:uLnTx/>
                <a:uFillTx/>
                <a:latin typeface="Pfizer Diatype Office"/>
                <a:ea typeface="+mn-ea"/>
                <a:cs typeface="+mn-cs"/>
              </a:rPr>
              <a:t> </a:t>
            </a:r>
            <a:r>
              <a:rPr kumimoji="0" lang="en-GB" b="0" i="0" u="none" strike="noStrike" kern="1200" cap="none" spc="0" normalizeH="0" baseline="0" noProof="0" err="1">
                <a:ln>
                  <a:noFill/>
                </a:ln>
                <a:solidFill>
                  <a:schemeClr val="tx1">
                    <a:lumMod val="50000"/>
                    <a:lumOff val="50000"/>
                  </a:schemeClr>
                </a:solidFill>
                <a:effectLst/>
                <a:uLnTx/>
                <a:uFillTx/>
                <a:latin typeface="Pfizer Diatype Office"/>
                <a:ea typeface="+mn-ea"/>
                <a:cs typeface="+mn-cs"/>
              </a:rPr>
              <a:t>solunum</a:t>
            </a:r>
            <a:r>
              <a:rPr kumimoji="0" lang="en-GB" b="0" i="0" u="none" strike="noStrike" kern="1200" cap="none" spc="0" normalizeH="0" baseline="0" noProof="0">
                <a:ln>
                  <a:noFill/>
                </a:ln>
                <a:solidFill>
                  <a:schemeClr val="tx1">
                    <a:lumMod val="50000"/>
                    <a:lumOff val="50000"/>
                  </a:schemeClr>
                </a:solidFill>
                <a:effectLst/>
                <a:uLnTx/>
                <a:uFillTx/>
                <a:latin typeface="Pfizer Diatype Office"/>
                <a:ea typeface="+mn-ea"/>
                <a:cs typeface="+mn-cs"/>
              </a:rPr>
              <a:t> </a:t>
            </a:r>
            <a:r>
              <a:rPr kumimoji="0" lang="en-GB" b="0" i="0" u="none" strike="noStrike" kern="1200" cap="none" spc="0" normalizeH="0" baseline="0" noProof="0" err="1">
                <a:ln>
                  <a:noFill/>
                </a:ln>
                <a:solidFill>
                  <a:schemeClr val="tx1">
                    <a:lumMod val="50000"/>
                    <a:lumOff val="50000"/>
                  </a:schemeClr>
                </a:solidFill>
                <a:effectLst/>
                <a:uLnTx/>
                <a:uFillTx/>
                <a:latin typeface="Pfizer Diatype Office"/>
                <a:ea typeface="+mn-ea"/>
                <a:cs typeface="+mn-cs"/>
              </a:rPr>
              <a:t>sendromu</a:t>
            </a:r>
            <a:r>
              <a:rPr kumimoji="0" lang="en-GB" b="0" i="0" u="none" strike="noStrike" kern="1200" cap="none" spc="0" normalizeH="0" baseline="0" noProof="0">
                <a:ln>
                  <a:noFill/>
                </a:ln>
                <a:solidFill>
                  <a:schemeClr val="tx1">
                    <a:lumMod val="50000"/>
                    <a:lumOff val="50000"/>
                  </a:schemeClr>
                </a:solidFill>
                <a:effectLst/>
                <a:uLnTx/>
                <a:uFillTx/>
                <a:latin typeface="Pfizer Diatype Office"/>
                <a:ea typeface="+mn-ea"/>
                <a:cs typeface="+mn-cs"/>
              </a:rPr>
              <a:t>, </a:t>
            </a:r>
            <a:r>
              <a:rPr kumimoji="0" lang="en-GB" b="0" i="0" u="none" strike="noStrike" kern="1200" cap="none" spc="0" normalizeH="0" baseline="0" noProof="0" err="1">
                <a:ln>
                  <a:noFill/>
                </a:ln>
                <a:solidFill>
                  <a:schemeClr val="tx1">
                    <a:lumMod val="50000"/>
                    <a:lumOff val="50000"/>
                  </a:schemeClr>
                </a:solidFill>
                <a:effectLst/>
                <a:uLnTx/>
                <a:uFillTx/>
                <a:latin typeface="Pfizer Diatype Office"/>
                <a:ea typeface="+mn-ea"/>
                <a:cs typeface="+mn-cs"/>
              </a:rPr>
              <a:t>koronavirüs</a:t>
            </a:r>
            <a:r>
              <a:rPr kumimoji="0" lang="en-GB" b="0" i="0" u="none" strike="noStrike" kern="1200" cap="none" spc="0" normalizeH="0" baseline="0" noProof="0">
                <a:ln>
                  <a:noFill/>
                </a:ln>
                <a:solidFill>
                  <a:schemeClr val="tx1">
                    <a:lumMod val="50000"/>
                    <a:lumOff val="50000"/>
                  </a:schemeClr>
                </a:solidFill>
                <a:effectLst/>
                <a:uLnTx/>
                <a:uFillTx/>
                <a:latin typeface="Pfizer Diatype Office"/>
                <a:ea typeface="+mn-ea"/>
                <a:cs typeface="+mn-cs"/>
              </a:rPr>
              <a:t> 2</a:t>
            </a:r>
            <a:r>
              <a:rPr kumimoji="0" lang="en-GB" sz="900" b="0" i="0" u="none" strike="noStrike" kern="1200" cap="none" spc="0" normalizeH="0" baseline="0" noProof="0">
                <a:ln>
                  <a:noFill/>
                </a:ln>
                <a:solidFill>
                  <a:srgbClr val="FFFFFF">
                    <a:lumMod val="50000"/>
                  </a:srgbClr>
                </a:solidFill>
                <a:effectLst/>
                <a:uLnTx/>
                <a:uFillTx/>
                <a:latin typeface="Pfizer Diatype Office"/>
                <a:ea typeface="+mn-ea"/>
                <a:cs typeface="+mn-cs"/>
              </a:rPr>
              <a:t>. </a:t>
            </a:r>
          </a:p>
          <a:p>
            <a:pPr marL="0" marR="0" lvl="0" indent="0" algn="l" defTabSz="22852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err="1">
                <a:ln>
                  <a:noFill/>
                </a:ln>
                <a:solidFill>
                  <a:srgbClr val="FFFFFF">
                    <a:lumMod val="50000"/>
                  </a:srgbClr>
                </a:solidFill>
                <a:effectLst/>
                <a:uLnTx/>
                <a:uFillTx/>
                <a:latin typeface="Pfizer Diatype Office"/>
                <a:ea typeface="+mn-ea"/>
                <a:cs typeface="+mn-cs"/>
              </a:rPr>
              <a:t>Referanslar</a:t>
            </a:r>
            <a:r>
              <a:rPr kumimoji="0" lang="en-GB" sz="900" b="0" i="0" u="none" strike="noStrike" kern="1200" cap="none" spc="0" normalizeH="0" baseline="0" noProof="0">
                <a:ln>
                  <a:noFill/>
                </a:ln>
                <a:solidFill>
                  <a:srgbClr val="FFFFFF">
                    <a:lumMod val="50000"/>
                  </a:srgbClr>
                </a:solidFill>
                <a:effectLst/>
                <a:uLnTx/>
                <a:uFillTx/>
                <a:latin typeface="Pfizer Diatype Office"/>
                <a:ea typeface="+mn-ea"/>
                <a:cs typeface="+mn-cs"/>
              </a:rPr>
              <a:t> </a:t>
            </a:r>
            <a:r>
              <a:rPr kumimoji="0" lang="en-GB" sz="900" b="0" i="0" u="none" strike="noStrike" kern="1200" cap="none" spc="0" normalizeH="0" baseline="0" noProof="0" err="1">
                <a:ln>
                  <a:noFill/>
                </a:ln>
                <a:solidFill>
                  <a:srgbClr val="FFFFFF">
                    <a:lumMod val="50000"/>
                  </a:srgbClr>
                </a:solidFill>
                <a:effectLst/>
                <a:uLnTx/>
                <a:uFillTx/>
                <a:latin typeface="Pfizer Diatype Office"/>
                <a:ea typeface="+mn-ea"/>
                <a:cs typeface="+mn-cs"/>
              </a:rPr>
              <a:t>için</a:t>
            </a:r>
            <a:r>
              <a:rPr kumimoji="0" lang="en-GB" sz="900" b="0" i="0" u="none" strike="noStrike" kern="1200" cap="none" spc="0" normalizeH="0" baseline="0" noProof="0">
                <a:ln>
                  <a:noFill/>
                </a:ln>
                <a:solidFill>
                  <a:srgbClr val="FFFFFF">
                    <a:lumMod val="50000"/>
                  </a:srgbClr>
                </a:solidFill>
                <a:effectLst/>
                <a:uLnTx/>
                <a:uFillTx/>
                <a:latin typeface="Pfizer Diatype Office"/>
                <a:ea typeface="+mn-ea"/>
                <a:cs typeface="+mn-cs"/>
              </a:rPr>
              <a:t> </a:t>
            </a:r>
            <a:r>
              <a:rPr kumimoji="0" lang="en-GB" sz="900" b="0" i="0" u="none" strike="noStrike" kern="1200" cap="none" spc="0" normalizeH="0" baseline="0" noProof="0" err="1">
                <a:ln>
                  <a:noFill/>
                </a:ln>
                <a:solidFill>
                  <a:srgbClr val="FFFFFF">
                    <a:lumMod val="50000"/>
                  </a:srgbClr>
                </a:solidFill>
                <a:effectLst/>
                <a:uLnTx/>
                <a:uFillTx/>
                <a:latin typeface="Pfizer Diatype Office"/>
                <a:ea typeface="+mn-ea"/>
                <a:cs typeface="+mn-cs"/>
              </a:rPr>
              <a:t>notlar</a:t>
            </a:r>
            <a:r>
              <a:rPr kumimoji="0" lang="en-GB" sz="900" b="0" i="0" u="none" strike="noStrike" kern="1200" cap="none" spc="0" normalizeH="0" baseline="0" noProof="0">
                <a:ln>
                  <a:noFill/>
                </a:ln>
                <a:solidFill>
                  <a:srgbClr val="FFFFFF">
                    <a:lumMod val="50000"/>
                  </a:srgbClr>
                </a:solidFill>
                <a:effectLst/>
                <a:uLnTx/>
                <a:uFillTx/>
                <a:latin typeface="Pfizer Diatype Office"/>
                <a:ea typeface="+mn-ea"/>
                <a:cs typeface="+mn-cs"/>
              </a:rPr>
              <a:t> </a:t>
            </a:r>
            <a:r>
              <a:rPr kumimoji="0" lang="en-GB" sz="900" b="0" i="0" u="none" strike="noStrike" kern="1200" cap="none" spc="0" normalizeH="0" baseline="0" noProof="0" err="1">
                <a:ln>
                  <a:noFill/>
                </a:ln>
                <a:solidFill>
                  <a:srgbClr val="FFFFFF">
                    <a:lumMod val="50000"/>
                  </a:srgbClr>
                </a:solidFill>
                <a:effectLst/>
                <a:uLnTx/>
                <a:uFillTx/>
                <a:latin typeface="Pfizer Diatype Office"/>
                <a:ea typeface="+mn-ea"/>
                <a:cs typeface="+mn-cs"/>
              </a:rPr>
              <a:t>sayfasına</a:t>
            </a:r>
            <a:r>
              <a:rPr kumimoji="0" lang="en-GB" sz="900" b="0" i="0" u="none" strike="noStrike" kern="1200" cap="none" spc="0" normalizeH="0" baseline="0" noProof="0">
                <a:ln>
                  <a:noFill/>
                </a:ln>
                <a:solidFill>
                  <a:srgbClr val="FFFFFF">
                    <a:lumMod val="50000"/>
                  </a:srgbClr>
                </a:solidFill>
                <a:effectLst/>
                <a:uLnTx/>
                <a:uFillTx/>
                <a:latin typeface="Pfizer Diatype Office"/>
                <a:ea typeface="+mn-ea"/>
                <a:cs typeface="+mn-cs"/>
              </a:rPr>
              <a:t> </a:t>
            </a:r>
            <a:r>
              <a:rPr kumimoji="0" lang="en-GB" sz="900" b="0" i="0" u="none" strike="noStrike" kern="1200" cap="none" spc="0" normalizeH="0" baseline="0" noProof="0" err="1">
                <a:ln>
                  <a:noFill/>
                </a:ln>
                <a:solidFill>
                  <a:srgbClr val="FFFFFF">
                    <a:lumMod val="50000"/>
                  </a:srgbClr>
                </a:solidFill>
                <a:effectLst/>
                <a:uLnTx/>
                <a:uFillTx/>
                <a:latin typeface="Pfizer Diatype Office"/>
                <a:ea typeface="+mn-ea"/>
                <a:cs typeface="+mn-cs"/>
              </a:rPr>
              <a:t>bakın</a:t>
            </a:r>
            <a:r>
              <a:rPr kumimoji="0" lang="en-GB" sz="900" b="0" i="0" u="none" strike="noStrike" kern="1200" cap="none" spc="0" normalizeH="0" baseline="0" noProof="0">
                <a:ln>
                  <a:noFill/>
                </a:ln>
                <a:solidFill>
                  <a:srgbClr val="FFFFFF">
                    <a:lumMod val="50000"/>
                  </a:srgbClr>
                </a:solidFill>
                <a:effectLst/>
                <a:uLnTx/>
                <a:uFillTx/>
                <a:latin typeface="Pfizer Diatype Office"/>
                <a:ea typeface="+mn-ea"/>
                <a:cs typeface="+mn-cs"/>
              </a:rPr>
              <a:t>.</a:t>
            </a:r>
          </a:p>
        </p:txBody>
      </p:sp>
      <p:sp>
        <p:nvSpPr>
          <p:cNvPr id="20" name="TextBox 21">
            <a:extLst>
              <a:ext uri="{FF2B5EF4-FFF2-40B4-BE49-F238E27FC236}">
                <a16:creationId xmlns:a16="http://schemas.microsoft.com/office/drawing/2014/main" id="{83595126-1680-0D1A-C1B9-8C8ADCAADF8D}"/>
              </a:ext>
            </a:extLst>
          </p:cNvPr>
          <p:cNvSpPr txBox="1"/>
          <p:nvPr/>
        </p:nvSpPr>
        <p:spPr>
          <a:xfrm>
            <a:off x="937063" y="2295445"/>
            <a:ext cx="2530038" cy="1114151"/>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228520">
              <a:lnSpc>
                <a:spcPct val="90000"/>
              </a:lnSpc>
              <a:spcBef>
                <a:spcPts val="600"/>
              </a:spcBef>
              <a:defRPr/>
            </a:pPr>
            <a:r>
              <a:rPr lang="en-GB" sz="1600" err="1">
                <a:solidFill>
                  <a:srgbClr val="02005E"/>
                </a:solidFill>
                <a:latin typeface="Pfizer Diatype Office"/>
              </a:rPr>
              <a:t>ASYE’lere</a:t>
            </a:r>
            <a:r>
              <a:rPr lang="en-GB" sz="1600">
                <a:solidFill>
                  <a:srgbClr val="02005E"/>
                </a:solidFill>
                <a:latin typeface="Pfizer Diatype Office"/>
              </a:rPr>
              <a:t> </a:t>
            </a:r>
            <a:r>
              <a:rPr lang="en-GB" sz="1600" err="1">
                <a:solidFill>
                  <a:srgbClr val="02005E"/>
                </a:solidFill>
                <a:latin typeface="Pfizer Diatype Office"/>
              </a:rPr>
              <a:t>ağırlıklı</a:t>
            </a:r>
            <a:r>
              <a:rPr lang="en-GB" sz="1600">
                <a:solidFill>
                  <a:srgbClr val="02005E"/>
                </a:solidFill>
                <a:latin typeface="Pfizer Diatype Office"/>
              </a:rPr>
              <a:t> </a:t>
            </a:r>
            <a:r>
              <a:rPr lang="en-GB" sz="1600" err="1">
                <a:solidFill>
                  <a:srgbClr val="02005E"/>
                </a:solidFill>
                <a:latin typeface="Pfizer Diatype Office"/>
              </a:rPr>
              <a:t>olarak</a:t>
            </a:r>
            <a:r>
              <a:rPr lang="en-GB" sz="1600">
                <a:solidFill>
                  <a:srgbClr val="02005E"/>
                </a:solidFill>
                <a:latin typeface="Pfizer Diatype Office"/>
              </a:rPr>
              <a:t> </a:t>
            </a:r>
            <a:r>
              <a:rPr lang="en-GB" sz="1600" err="1">
                <a:solidFill>
                  <a:srgbClr val="02005E"/>
                </a:solidFill>
                <a:latin typeface="Pfizer Diatype Office"/>
              </a:rPr>
              <a:t>birlikte</a:t>
            </a:r>
            <a:r>
              <a:rPr lang="en-GB" sz="1600">
                <a:solidFill>
                  <a:srgbClr val="02005E"/>
                </a:solidFill>
                <a:latin typeface="Pfizer Diatype Office"/>
              </a:rPr>
              <a:t> </a:t>
            </a:r>
            <a:r>
              <a:rPr lang="en-GB" sz="1600" err="1">
                <a:solidFill>
                  <a:srgbClr val="02005E"/>
                </a:solidFill>
                <a:latin typeface="Pfizer Diatype Office"/>
              </a:rPr>
              <a:t>dolaşımda</a:t>
            </a:r>
            <a:r>
              <a:rPr lang="en-GB" sz="1600">
                <a:solidFill>
                  <a:srgbClr val="02005E"/>
                </a:solidFill>
                <a:latin typeface="Pfizer Diatype Office"/>
              </a:rPr>
              <a:t> </a:t>
            </a:r>
            <a:r>
              <a:rPr lang="en-GB" sz="1600" err="1">
                <a:solidFill>
                  <a:srgbClr val="02005E"/>
                </a:solidFill>
                <a:latin typeface="Pfizer Diatype Office"/>
              </a:rPr>
              <a:t>olan</a:t>
            </a:r>
            <a:r>
              <a:rPr lang="en-GB" sz="1600">
                <a:solidFill>
                  <a:srgbClr val="02005E"/>
                </a:solidFill>
                <a:latin typeface="Pfizer Diatype Office"/>
              </a:rPr>
              <a:t> </a:t>
            </a:r>
            <a:r>
              <a:rPr lang="en-GB" sz="1600" err="1">
                <a:solidFill>
                  <a:srgbClr val="02005E"/>
                </a:solidFill>
                <a:latin typeface="Pfizer Diatype Office"/>
              </a:rPr>
              <a:t>üç</a:t>
            </a:r>
            <a:r>
              <a:rPr lang="en-GB" sz="1600">
                <a:solidFill>
                  <a:srgbClr val="02005E"/>
                </a:solidFill>
                <a:latin typeface="Pfizer Diatype Office"/>
              </a:rPr>
              <a:t> </a:t>
            </a:r>
            <a:r>
              <a:rPr lang="en-GB" sz="1600" err="1">
                <a:solidFill>
                  <a:srgbClr val="02005E"/>
                </a:solidFill>
                <a:latin typeface="Pfizer Diatype Office"/>
              </a:rPr>
              <a:t>virüs</a:t>
            </a:r>
            <a:r>
              <a:rPr lang="en-GB" sz="1600">
                <a:solidFill>
                  <a:srgbClr val="02005E"/>
                </a:solidFill>
                <a:latin typeface="Pfizer Diatype Office"/>
              </a:rPr>
              <a:t> </a:t>
            </a:r>
            <a:r>
              <a:rPr lang="en-GB" sz="1600">
                <a:solidFill>
                  <a:srgbClr val="02005E"/>
                </a:solidFill>
              </a:rPr>
              <a:t>(SARS-CoV-2, influenza, RSV) </a:t>
            </a:r>
            <a:r>
              <a:rPr lang="en-GB" sz="1600" err="1">
                <a:solidFill>
                  <a:srgbClr val="02005E"/>
                </a:solidFill>
              </a:rPr>
              <a:t>ve</a:t>
            </a:r>
            <a:r>
              <a:rPr lang="en-GB" sz="1600">
                <a:solidFill>
                  <a:srgbClr val="02005E"/>
                </a:solidFill>
              </a:rPr>
              <a:t> </a:t>
            </a:r>
            <a:r>
              <a:rPr lang="en-GB" sz="1600" i="1">
                <a:solidFill>
                  <a:srgbClr val="02005E"/>
                </a:solidFill>
              </a:rPr>
              <a:t>S. pneumoniae </a:t>
            </a:r>
            <a:r>
              <a:rPr lang="en-GB" sz="1600" err="1">
                <a:solidFill>
                  <a:srgbClr val="02005E"/>
                </a:solidFill>
              </a:rPr>
              <a:t>sebep</a:t>
            </a:r>
            <a:r>
              <a:rPr lang="en-GB" sz="1600">
                <a:solidFill>
                  <a:srgbClr val="02005E"/>
                </a:solidFill>
              </a:rPr>
              <a:t> olur</a:t>
            </a:r>
            <a:r>
              <a:rPr lang="en-GB" sz="1600" baseline="30000">
                <a:solidFill>
                  <a:srgbClr val="02005E"/>
                </a:solidFill>
              </a:rPr>
              <a:t>1,2</a:t>
            </a:r>
            <a:endParaRPr kumimoji="0" lang="en-GB" sz="1600" b="0" u="none" strike="noStrike" kern="1200" cap="none" spc="0" normalizeH="0" baseline="0" noProof="0">
              <a:ln>
                <a:noFill/>
              </a:ln>
              <a:solidFill>
                <a:srgbClr val="02005E"/>
              </a:solidFill>
              <a:effectLst/>
              <a:uLnTx/>
              <a:uFillTx/>
              <a:latin typeface="Pfizer Diatype Office"/>
              <a:ea typeface="+mn-ea"/>
              <a:cs typeface="+mn-cs"/>
            </a:endParaRPr>
          </a:p>
        </p:txBody>
      </p:sp>
      <p:sp>
        <p:nvSpPr>
          <p:cNvPr id="21" name="TextBox 33">
            <a:extLst>
              <a:ext uri="{FF2B5EF4-FFF2-40B4-BE49-F238E27FC236}">
                <a16:creationId xmlns:a16="http://schemas.microsoft.com/office/drawing/2014/main" id="{43967BE3-7A78-B518-BC3B-FA3594B3BD88}"/>
              </a:ext>
            </a:extLst>
          </p:cNvPr>
          <p:cNvSpPr txBox="1"/>
          <p:nvPr/>
        </p:nvSpPr>
        <p:spPr>
          <a:xfrm>
            <a:off x="8987113" y="2283675"/>
            <a:ext cx="2267824" cy="670953"/>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228520" rtl="0" eaLnBrk="1" fontAlgn="auto" latinLnBrk="0" hangingPunct="1">
              <a:lnSpc>
                <a:spcPct val="90000"/>
              </a:lnSpc>
              <a:spcBef>
                <a:spcPts val="600"/>
              </a:spcBef>
              <a:spcAft>
                <a:spcPts val="0"/>
              </a:spcAft>
              <a:buClrTx/>
              <a:buSzTx/>
              <a:buFontTx/>
              <a:buNone/>
              <a:tabLst/>
              <a:defRPr/>
            </a:pP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ASYE’lerin</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insidansı</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en</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yüksek</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yaşlı</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yetişkinlerde</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görülmekte</a:t>
            </a:r>
            <a:r>
              <a:rPr lang="en-GB" sz="1600">
                <a:solidFill>
                  <a:srgbClr val="02005E"/>
                </a:solidFill>
                <a:latin typeface="Pfizer Diatype Office"/>
              </a:rPr>
              <a:t>d</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ir</a:t>
            </a:r>
            <a:r>
              <a:rPr kumimoji="0" lang="en-GB" sz="1600" b="0" i="0" u="none" strike="noStrike" kern="1200" cap="none" spc="0" normalizeH="0" baseline="30000" noProof="0">
                <a:ln>
                  <a:noFill/>
                </a:ln>
                <a:solidFill>
                  <a:srgbClr val="02005E"/>
                </a:solidFill>
                <a:effectLst/>
                <a:uLnTx/>
                <a:uFillTx/>
                <a:latin typeface="Pfizer Diatype Office"/>
                <a:ea typeface="+mn-ea"/>
                <a:cs typeface="+mn-cs"/>
              </a:rPr>
              <a:t>2</a:t>
            </a:r>
          </a:p>
        </p:txBody>
      </p:sp>
      <p:sp>
        <p:nvSpPr>
          <p:cNvPr id="22" name="TextBox 36">
            <a:extLst>
              <a:ext uri="{FF2B5EF4-FFF2-40B4-BE49-F238E27FC236}">
                <a16:creationId xmlns:a16="http://schemas.microsoft.com/office/drawing/2014/main" id="{D1E93BF3-9F7A-E069-C43A-2100C6100C22}"/>
              </a:ext>
            </a:extLst>
          </p:cNvPr>
          <p:cNvSpPr txBox="1"/>
          <p:nvPr/>
        </p:nvSpPr>
        <p:spPr>
          <a:xfrm>
            <a:off x="8584365" y="4582618"/>
            <a:ext cx="1755206" cy="892552"/>
          </a:xfrm>
          <a:prstGeom prst="rect">
            <a:avLst/>
          </a:prstGeom>
          <a:noFill/>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228520">
              <a:lnSpc>
                <a:spcPct val="90000"/>
              </a:lnSpc>
              <a:spcBef>
                <a:spcPts val="600"/>
              </a:spcBef>
              <a:defRPr/>
            </a:pP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Solunum</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yolu</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hastalıklarından</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ölüm</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riski</a:t>
            </a:r>
            <a:r>
              <a:rPr kumimoji="0" lang="en-GB" sz="1600" b="0" i="0" u="none" strike="noStrike" kern="1200" cap="none" spc="0" normalizeH="0" baseline="3000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yaşla</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birlikte</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artar</a:t>
            </a:r>
            <a:r>
              <a:rPr lang="en-GB" sz="1600" baseline="30000">
                <a:solidFill>
                  <a:srgbClr val="02005E"/>
                </a:solidFill>
              </a:rPr>
              <a:t> 9,10</a:t>
            </a:r>
            <a:r>
              <a:rPr lang="en-GB" sz="1600">
                <a:solidFill>
                  <a:srgbClr val="02005E"/>
                </a:solidFill>
              </a:rPr>
              <a:t> </a:t>
            </a:r>
            <a:endParaRPr kumimoji="0" lang="en-GB" sz="1600" b="0" i="0" u="none" strike="noStrike" kern="1200" cap="none" spc="0" normalizeH="0" baseline="0" noProof="0">
              <a:ln>
                <a:noFill/>
              </a:ln>
              <a:solidFill>
                <a:srgbClr val="02005E"/>
              </a:solidFill>
              <a:effectLst/>
              <a:uLnTx/>
              <a:uFillTx/>
              <a:latin typeface="Pfizer Diatype Office"/>
              <a:ea typeface="+mn-ea"/>
              <a:cs typeface="+mn-cs"/>
            </a:endParaRPr>
          </a:p>
        </p:txBody>
      </p:sp>
      <p:sp>
        <p:nvSpPr>
          <p:cNvPr id="28" name="TextBox 57">
            <a:extLst>
              <a:ext uri="{FF2B5EF4-FFF2-40B4-BE49-F238E27FC236}">
                <a16:creationId xmlns:a16="http://schemas.microsoft.com/office/drawing/2014/main" id="{39BA5830-C906-2F3A-668E-B0AEE4E738F8}"/>
              </a:ext>
            </a:extLst>
          </p:cNvPr>
          <p:cNvSpPr txBox="1"/>
          <p:nvPr/>
        </p:nvSpPr>
        <p:spPr>
          <a:xfrm>
            <a:off x="6580171" y="2302653"/>
            <a:ext cx="2104232" cy="670953"/>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228520" rtl="0" eaLnBrk="1" fontAlgn="auto" latinLnBrk="0" hangingPunct="1">
              <a:lnSpc>
                <a:spcPct val="90000"/>
              </a:lnSpc>
              <a:spcBef>
                <a:spcPts val="600"/>
              </a:spcBef>
              <a:spcAft>
                <a:spcPts val="0"/>
              </a:spcAft>
              <a:buClrTx/>
              <a:buSzTx/>
              <a:buFontTx/>
              <a:buNone/>
              <a:tabLst/>
              <a:defRPr/>
            </a:pP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Dünyanın</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yaşlı</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nüfusu</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benzeri</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görülmemiş</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oranlarda</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rtmaktadır</a:t>
            </a:r>
            <a:r>
              <a:rPr kumimoji="0" lang="en-GB" sz="1600" b="0" i="0" u="none" strike="noStrike" kern="1200" cap="none" spc="0" normalizeH="0" baseline="30000" noProof="0">
                <a:ln>
                  <a:noFill/>
                </a:ln>
                <a:solidFill>
                  <a:srgbClr val="02005E"/>
                </a:solidFill>
                <a:effectLst/>
                <a:uLnTx/>
                <a:uFillTx/>
                <a:latin typeface="Pfizer Diatype Office"/>
                <a:ea typeface="+mn-ea"/>
                <a:cs typeface="+mn-cs"/>
              </a:rPr>
              <a:t>4</a:t>
            </a:r>
          </a:p>
        </p:txBody>
      </p:sp>
      <p:sp>
        <p:nvSpPr>
          <p:cNvPr id="32" name="TextBox 67">
            <a:extLst>
              <a:ext uri="{FF2B5EF4-FFF2-40B4-BE49-F238E27FC236}">
                <a16:creationId xmlns:a16="http://schemas.microsoft.com/office/drawing/2014/main" id="{F9974819-8099-250F-D16D-A1040C2FF6BA}"/>
              </a:ext>
            </a:extLst>
          </p:cNvPr>
          <p:cNvSpPr txBox="1"/>
          <p:nvPr/>
        </p:nvSpPr>
        <p:spPr>
          <a:xfrm flipH="1">
            <a:off x="3577785" y="2283675"/>
            <a:ext cx="2649108" cy="1335750"/>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228520" rtl="0" eaLnBrk="1" fontAlgn="auto" latinLnBrk="0" hangingPunct="1">
              <a:lnSpc>
                <a:spcPct val="90000"/>
              </a:lnSpc>
              <a:spcBef>
                <a:spcPts val="600"/>
              </a:spcBef>
              <a:spcAft>
                <a:spcPts val="0"/>
              </a:spcAft>
              <a:buClrTx/>
              <a:buSzTx/>
              <a:buFontTx/>
              <a:buNone/>
              <a:tabLst/>
              <a:defRPr/>
            </a:pP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Solunum</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yolu</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virüsleri</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00067"/>
                </a:solidFill>
                <a:effectLst/>
                <a:uLnTx/>
                <a:uFillTx/>
                <a:latin typeface="Pfizer Diatype Office"/>
                <a:ea typeface="+mn-ea"/>
                <a:cs typeface="+mn-cs"/>
              </a:rPr>
              <a:t>bireylerde</a:t>
            </a:r>
            <a:r>
              <a:rPr kumimoji="0" lang="en-GB" sz="1600" b="0" i="0" u="none" strike="noStrike" kern="1200" cap="none" spc="0" normalizeH="0" baseline="0" noProof="0">
                <a:ln>
                  <a:noFill/>
                </a:ln>
                <a:solidFill>
                  <a:srgbClr val="000067"/>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00067"/>
                </a:solidFill>
                <a:effectLst/>
                <a:uLnTx/>
                <a:uFillTx/>
                <a:latin typeface="Pfizer Diatype Office"/>
                <a:ea typeface="+mn-ea"/>
                <a:cs typeface="+mn-cs"/>
              </a:rPr>
              <a:t>koenfeksiyon</a:t>
            </a:r>
            <a:r>
              <a:rPr kumimoji="0" lang="en-GB" sz="1600" b="0" i="0" u="none" strike="noStrike" kern="1200" cap="none" spc="0" normalizeH="0" baseline="0" noProof="0">
                <a:ln>
                  <a:noFill/>
                </a:ln>
                <a:solidFill>
                  <a:srgbClr val="000067"/>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00067"/>
                </a:solidFill>
                <a:effectLst/>
                <a:uLnTx/>
                <a:uFillTx/>
                <a:latin typeface="Pfizer Diatype Office"/>
                <a:ea typeface="+mn-ea"/>
                <a:cs typeface="+mn-cs"/>
              </a:rPr>
              <a:t>ve</a:t>
            </a:r>
            <a:r>
              <a:rPr kumimoji="0" lang="en-GB" sz="1600" b="0" i="0" u="none" strike="noStrike" kern="1200" cap="none" spc="0" normalizeH="0" baseline="0" noProof="0">
                <a:ln>
                  <a:noFill/>
                </a:ln>
                <a:solidFill>
                  <a:srgbClr val="000067"/>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00067"/>
                </a:solidFill>
                <a:effectLst/>
                <a:uLnTx/>
                <a:uFillTx/>
                <a:latin typeface="Pfizer Diatype Office"/>
                <a:ea typeface="+mn-ea"/>
                <a:cs typeface="+mn-cs"/>
              </a:rPr>
              <a:t>sekonder</a:t>
            </a:r>
            <a:r>
              <a:rPr kumimoji="0" lang="en-GB" sz="1600" b="0" i="0" u="none" strike="noStrike" kern="1200" cap="none" spc="0" normalizeH="0" baseline="0" noProof="0">
                <a:ln>
                  <a:noFill/>
                </a:ln>
                <a:solidFill>
                  <a:srgbClr val="000067"/>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00067"/>
                </a:solidFill>
                <a:effectLst/>
                <a:uLnTx/>
                <a:uFillTx/>
                <a:latin typeface="Pfizer Diatype Office"/>
                <a:ea typeface="+mn-ea"/>
                <a:cs typeface="+mn-cs"/>
              </a:rPr>
              <a:t>bakteriyel</a:t>
            </a:r>
            <a:r>
              <a:rPr kumimoji="0" lang="en-GB" sz="1600" b="0" i="0" u="none" strike="noStrike" kern="1200" cap="none" spc="0" normalizeH="0" baseline="0" noProof="0">
                <a:ln>
                  <a:noFill/>
                </a:ln>
                <a:solidFill>
                  <a:srgbClr val="000067"/>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00067"/>
                </a:solidFill>
                <a:effectLst/>
                <a:uLnTx/>
                <a:uFillTx/>
                <a:latin typeface="Pfizer Diatype Office"/>
                <a:ea typeface="+mn-ea"/>
                <a:cs typeface="+mn-cs"/>
              </a:rPr>
              <a:t>enfeksiyona</a:t>
            </a:r>
            <a:r>
              <a:rPr kumimoji="0" lang="en-GB" sz="1600" b="0" i="0" u="none" strike="noStrike" kern="1200" cap="none" spc="0" normalizeH="0" baseline="0" noProof="0">
                <a:ln>
                  <a:noFill/>
                </a:ln>
                <a:solidFill>
                  <a:srgbClr val="000067"/>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00067"/>
                </a:solidFill>
                <a:effectLst/>
                <a:uLnTx/>
                <a:uFillTx/>
                <a:latin typeface="Pfizer Diatype Office"/>
                <a:ea typeface="+mn-ea"/>
                <a:cs typeface="+mn-cs"/>
              </a:rPr>
              <a:t>yol</a:t>
            </a:r>
            <a:r>
              <a:rPr kumimoji="0" lang="en-GB" sz="1600" b="0" i="0" u="none" strike="noStrike" kern="1200" cap="none" spc="0" normalizeH="0" baseline="0" noProof="0">
                <a:ln>
                  <a:noFill/>
                </a:ln>
                <a:solidFill>
                  <a:srgbClr val="000067"/>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açabilir</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ve</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bu</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durum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daha</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ağır</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klinik</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tabloya</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sebep</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olabilir</a:t>
            </a:r>
            <a:r>
              <a:rPr kumimoji="0" lang="en-GB" sz="1600" b="0" i="0" u="none" strike="noStrike" kern="1200" cap="none" spc="0" normalizeH="0" baseline="30000" noProof="0">
                <a:ln>
                  <a:noFill/>
                </a:ln>
                <a:solidFill>
                  <a:srgbClr val="000067"/>
                </a:solidFill>
                <a:effectLst/>
                <a:uLnTx/>
                <a:uFillTx/>
                <a:latin typeface="Pfizer Diatype Office"/>
                <a:ea typeface="+mn-ea"/>
                <a:cs typeface="+mn-cs"/>
              </a:rPr>
              <a:t>3</a:t>
            </a:r>
          </a:p>
        </p:txBody>
      </p:sp>
      <p:grpSp>
        <p:nvGrpSpPr>
          <p:cNvPr id="39" name="Group 38">
            <a:extLst>
              <a:ext uri="{FF2B5EF4-FFF2-40B4-BE49-F238E27FC236}">
                <a16:creationId xmlns:a16="http://schemas.microsoft.com/office/drawing/2014/main" id="{BDA76A0C-5CFB-31AD-F359-500D4F73BB27}"/>
              </a:ext>
            </a:extLst>
          </p:cNvPr>
          <p:cNvGrpSpPr/>
          <p:nvPr/>
        </p:nvGrpSpPr>
        <p:grpSpPr>
          <a:xfrm>
            <a:off x="3577785" y="1653875"/>
            <a:ext cx="493776" cy="493776"/>
            <a:chOff x="1274458" y="5465634"/>
            <a:chExt cx="491133" cy="497988"/>
          </a:xfrm>
          <a:solidFill>
            <a:schemeClr val="accent1"/>
          </a:solidFill>
        </p:grpSpPr>
        <p:sp>
          <p:nvSpPr>
            <p:cNvPr id="48" name="Freeform: Shape 47">
              <a:extLst>
                <a:ext uri="{FF2B5EF4-FFF2-40B4-BE49-F238E27FC236}">
                  <a16:creationId xmlns:a16="http://schemas.microsoft.com/office/drawing/2014/main" id="{9A55F8AC-88ED-C0C0-C3B2-BCA5F9483F28}"/>
                </a:ext>
              </a:extLst>
            </p:cNvPr>
            <p:cNvSpPr/>
            <p:nvPr/>
          </p:nvSpPr>
          <p:spPr>
            <a:xfrm>
              <a:off x="1447385" y="5662087"/>
              <a:ext cx="145327" cy="53578"/>
            </a:xfrm>
            <a:custGeom>
              <a:avLst/>
              <a:gdLst>
                <a:gd name="connsiteX0" fmla="*/ 72652 w 145327"/>
                <a:gd name="connsiteY0" fmla="*/ 18931 h 53578"/>
                <a:gd name="connsiteX1" fmla="*/ 107418 w 145327"/>
                <a:gd name="connsiteY1" fmla="*/ 53578 h 53578"/>
                <a:gd name="connsiteX2" fmla="*/ 145328 w 145327"/>
                <a:gd name="connsiteY2" fmla="*/ 53578 h 53578"/>
                <a:gd name="connsiteX3" fmla="*/ 91630 w 145327"/>
                <a:gd name="connsiteY3" fmla="*/ 0 h 53578"/>
                <a:gd name="connsiteX4" fmla="*/ 53721 w 145327"/>
                <a:gd name="connsiteY4" fmla="*/ 0 h 53578"/>
                <a:gd name="connsiteX5" fmla="*/ 0 w 145327"/>
                <a:gd name="connsiteY5" fmla="*/ 53578 h 53578"/>
                <a:gd name="connsiteX6" fmla="*/ 37933 w 145327"/>
                <a:gd name="connsiteY6" fmla="*/ 53578 h 53578"/>
                <a:gd name="connsiteX7" fmla="*/ 72652 w 145327"/>
                <a:gd name="connsiteY7" fmla="*/ 18931 h 53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27" h="53578">
                  <a:moveTo>
                    <a:pt x="72652" y="18931"/>
                  </a:moveTo>
                  <a:lnTo>
                    <a:pt x="107418" y="53578"/>
                  </a:lnTo>
                  <a:lnTo>
                    <a:pt x="145328" y="53578"/>
                  </a:lnTo>
                  <a:lnTo>
                    <a:pt x="91630" y="0"/>
                  </a:lnTo>
                  <a:lnTo>
                    <a:pt x="53721" y="0"/>
                  </a:lnTo>
                  <a:lnTo>
                    <a:pt x="0" y="53578"/>
                  </a:lnTo>
                  <a:lnTo>
                    <a:pt x="37933" y="53578"/>
                  </a:lnTo>
                  <a:lnTo>
                    <a:pt x="72652" y="18931"/>
                  </a:lnTo>
                  <a:close/>
                </a:path>
              </a:pathLst>
            </a:custGeom>
            <a:grpFill/>
            <a:ln w="2381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49" name="Freeform: Shape 48">
              <a:extLst>
                <a:ext uri="{FF2B5EF4-FFF2-40B4-BE49-F238E27FC236}">
                  <a16:creationId xmlns:a16="http://schemas.microsoft.com/office/drawing/2014/main" id="{59C936DD-A7C5-F890-D086-343818DEE74A}"/>
                </a:ext>
              </a:extLst>
            </p:cNvPr>
            <p:cNvSpPr/>
            <p:nvPr/>
          </p:nvSpPr>
          <p:spPr>
            <a:xfrm>
              <a:off x="1274458" y="5549740"/>
              <a:ext cx="491133" cy="413882"/>
            </a:xfrm>
            <a:custGeom>
              <a:avLst/>
              <a:gdLst>
                <a:gd name="connsiteX0" fmla="*/ 178618 w 491133"/>
                <a:gd name="connsiteY0" fmla="*/ 183785 h 413882"/>
                <a:gd name="connsiteX1" fmla="*/ 178618 w 491133"/>
                <a:gd name="connsiteY1" fmla="*/ 264152 h 413882"/>
                <a:gd name="connsiteX2" fmla="*/ 166711 w 491133"/>
                <a:gd name="connsiteY2" fmla="*/ 297656 h 413882"/>
                <a:gd name="connsiteX3" fmla="*/ 33742 w 491133"/>
                <a:gd name="connsiteY3" fmla="*/ 386286 h 413882"/>
                <a:gd name="connsiteX4" fmla="*/ 29170 w 491133"/>
                <a:gd name="connsiteY4" fmla="*/ 386525 h 413882"/>
                <a:gd name="connsiteX5" fmla="*/ 26789 w 491133"/>
                <a:gd name="connsiteY5" fmla="*/ 382572 h 413882"/>
                <a:gd name="connsiteX6" fmla="*/ 26789 w 491133"/>
                <a:gd name="connsiteY6" fmla="*/ 180642 h 413882"/>
                <a:gd name="connsiteX7" fmla="*/ 124801 w 491133"/>
                <a:gd name="connsiteY7" fmla="*/ 44672 h 413882"/>
                <a:gd name="connsiteX8" fmla="*/ 174141 w 491133"/>
                <a:gd name="connsiteY8" fmla="*/ 28265 h 413882"/>
                <a:gd name="connsiteX9" fmla="*/ 174141 w 491133"/>
                <a:gd name="connsiteY9" fmla="*/ 0 h 413882"/>
                <a:gd name="connsiteX10" fmla="*/ 116324 w 491133"/>
                <a:gd name="connsiteY10" fmla="*/ 19288 h 413882"/>
                <a:gd name="connsiteX11" fmla="*/ 0 w 491133"/>
                <a:gd name="connsiteY11" fmla="*/ 180665 h 413882"/>
                <a:gd name="connsiteX12" fmla="*/ 0 w 491133"/>
                <a:gd name="connsiteY12" fmla="*/ 382595 h 413882"/>
                <a:gd name="connsiteX13" fmla="*/ 31101 w 491133"/>
                <a:gd name="connsiteY13" fmla="*/ 413883 h 413882"/>
                <a:gd name="connsiteX14" fmla="*/ 48601 w 491133"/>
                <a:gd name="connsiteY14" fmla="*/ 408575 h 413882"/>
                <a:gd name="connsiteX15" fmla="*/ 181570 w 491133"/>
                <a:gd name="connsiteY15" fmla="*/ 319945 h 413882"/>
                <a:gd name="connsiteX16" fmla="*/ 205383 w 491133"/>
                <a:gd name="connsiteY16" fmla="*/ 264152 h 413882"/>
                <a:gd name="connsiteX17" fmla="*/ 205383 w 491133"/>
                <a:gd name="connsiteY17" fmla="*/ 183785 h 413882"/>
                <a:gd name="connsiteX18" fmla="*/ 178618 w 491133"/>
                <a:gd name="connsiteY18" fmla="*/ 183785 h 413882"/>
                <a:gd name="connsiteX19" fmla="*/ 309586 w 491133"/>
                <a:gd name="connsiteY19" fmla="*/ 319945 h 413882"/>
                <a:gd name="connsiteX20" fmla="*/ 442555 w 491133"/>
                <a:gd name="connsiteY20" fmla="*/ 408575 h 413882"/>
                <a:gd name="connsiteX21" fmla="*/ 485882 w 491133"/>
                <a:gd name="connsiteY21" fmla="*/ 399919 h 413882"/>
                <a:gd name="connsiteX22" fmla="*/ 491133 w 491133"/>
                <a:gd name="connsiteY22" fmla="*/ 382572 h 413882"/>
                <a:gd name="connsiteX23" fmla="*/ 491133 w 491133"/>
                <a:gd name="connsiteY23" fmla="*/ 180642 h 413882"/>
                <a:gd name="connsiteX24" fmla="*/ 374833 w 491133"/>
                <a:gd name="connsiteY24" fmla="*/ 19264 h 413882"/>
                <a:gd name="connsiteX25" fmla="*/ 317016 w 491133"/>
                <a:gd name="connsiteY25" fmla="*/ 0 h 413882"/>
                <a:gd name="connsiteX26" fmla="*/ 317016 w 491133"/>
                <a:gd name="connsiteY26" fmla="*/ 28242 h 413882"/>
                <a:gd name="connsiteX27" fmla="*/ 366355 w 491133"/>
                <a:gd name="connsiteY27" fmla="*/ 44672 h 413882"/>
                <a:gd name="connsiteX28" fmla="*/ 464368 w 491133"/>
                <a:gd name="connsiteY28" fmla="*/ 180642 h 413882"/>
                <a:gd name="connsiteX29" fmla="*/ 464368 w 491133"/>
                <a:gd name="connsiteY29" fmla="*/ 382572 h 413882"/>
                <a:gd name="connsiteX30" fmla="*/ 461986 w 491133"/>
                <a:gd name="connsiteY30" fmla="*/ 386525 h 413882"/>
                <a:gd name="connsiteX31" fmla="*/ 457414 w 491133"/>
                <a:gd name="connsiteY31" fmla="*/ 386286 h 413882"/>
                <a:gd name="connsiteX32" fmla="*/ 324445 w 491133"/>
                <a:gd name="connsiteY32" fmla="*/ 297656 h 413882"/>
                <a:gd name="connsiteX33" fmla="*/ 312539 w 491133"/>
                <a:gd name="connsiteY33" fmla="*/ 264152 h 413882"/>
                <a:gd name="connsiteX34" fmla="*/ 312539 w 491133"/>
                <a:gd name="connsiteY34" fmla="*/ 183785 h 413882"/>
                <a:gd name="connsiteX35" fmla="*/ 285774 w 491133"/>
                <a:gd name="connsiteY35" fmla="*/ 183785 h 413882"/>
                <a:gd name="connsiteX36" fmla="*/ 285774 w 491133"/>
                <a:gd name="connsiteY36" fmla="*/ 264152 h 413882"/>
                <a:gd name="connsiteX37" fmla="*/ 309586 w 491133"/>
                <a:gd name="connsiteY37" fmla="*/ 319945 h 41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91133" h="413882">
                  <a:moveTo>
                    <a:pt x="178618" y="183785"/>
                  </a:moveTo>
                  <a:lnTo>
                    <a:pt x="178618" y="264152"/>
                  </a:lnTo>
                  <a:cubicBezTo>
                    <a:pt x="178618" y="282083"/>
                    <a:pt x="175046" y="292108"/>
                    <a:pt x="166711" y="297656"/>
                  </a:cubicBezTo>
                  <a:lnTo>
                    <a:pt x="33742" y="386286"/>
                  </a:lnTo>
                  <a:cubicBezTo>
                    <a:pt x="32392" y="387241"/>
                    <a:pt x="30613" y="387334"/>
                    <a:pt x="29170" y="386525"/>
                  </a:cubicBezTo>
                  <a:cubicBezTo>
                    <a:pt x="27675" y="385784"/>
                    <a:pt x="26745" y="384241"/>
                    <a:pt x="26789" y="382572"/>
                  </a:cubicBezTo>
                  <a:lnTo>
                    <a:pt x="26789" y="180642"/>
                  </a:lnTo>
                  <a:cubicBezTo>
                    <a:pt x="26725" y="118927"/>
                    <a:pt x="66231" y="64121"/>
                    <a:pt x="124801" y="44672"/>
                  </a:cubicBezTo>
                  <a:lnTo>
                    <a:pt x="174141" y="28265"/>
                  </a:lnTo>
                  <a:lnTo>
                    <a:pt x="174141" y="0"/>
                  </a:lnTo>
                  <a:lnTo>
                    <a:pt x="116324" y="19288"/>
                  </a:lnTo>
                  <a:cubicBezTo>
                    <a:pt x="46819" y="42385"/>
                    <a:pt x="-62" y="107423"/>
                    <a:pt x="0" y="180665"/>
                  </a:cubicBezTo>
                  <a:lnTo>
                    <a:pt x="0" y="382595"/>
                  </a:lnTo>
                  <a:cubicBezTo>
                    <a:pt x="-52" y="399824"/>
                    <a:pt x="13873" y="413833"/>
                    <a:pt x="31101" y="413883"/>
                  </a:cubicBezTo>
                  <a:cubicBezTo>
                    <a:pt x="37334" y="413902"/>
                    <a:pt x="43429" y="412054"/>
                    <a:pt x="48601" y="408575"/>
                  </a:cubicBezTo>
                  <a:lnTo>
                    <a:pt x="181570" y="319945"/>
                  </a:lnTo>
                  <a:cubicBezTo>
                    <a:pt x="202930" y="305705"/>
                    <a:pt x="205383" y="281297"/>
                    <a:pt x="205383" y="264152"/>
                  </a:cubicBezTo>
                  <a:lnTo>
                    <a:pt x="205383" y="183785"/>
                  </a:lnTo>
                  <a:lnTo>
                    <a:pt x="178618" y="183785"/>
                  </a:lnTo>
                  <a:close/>
                  <a:moveTo>
                    <a:pt x="309586" y="319945"/>
                  </a:moveTo>
                  <a:lnTo>
                    <a:pt x="442555" y="408575"/>
                  </a:lnTo>
                  <a:cubicBezTo>
                    <a:pt x="456910" y="418150"/>
                    <a:pt x="476307" y="414273"/>
                    <a:pt x="485882" y="399919"/>
                  </a:cubicBezTo>
                  <a:cubicBezTo>
                    <a:pt x="489309" y="394783"/>
                    <a:pt x="491135" y="388746"/>
                    <a:pt x="491133" y="382572"/>
                  </a:cubicBezTo>
                  <a:lnTo>
                    <a:pt x="491133" y="180642"/>
                  </a:lnTo>
                  <a:cubicBezTo>
                    <a:pt x="491207" y="107403"/>
                    <a:pt x="444332" y="42363"/>
                    <a:pt x="374833" y="19264"/>
                  </a:cubicBezTo>
                  <a:lnTo>
                    <a:pt x="317016" y="0"/>
                  </a:lnTo>
                  <a:lnTo>
                    <a:pt x="317016" y="28242"/>
                  </a:lnTo>
                  <a:lnTo>
                    <a:pt x="366355" y="44672"/>
                  </a:lnTo>
                  <a:cubicBezTo>
                    <a:pt x="424922" y="64128"/>
                    <a:pt x="464425" y="118929"/>
                    <a:pt x="464368" y="180642"/>
                  </a:cubicBezTo>
                  <a:lnTo>
                    <a:pt x="464368" y="382572"/>
                  </a:lnTo>
                  <a:cubicBezTo>
                    <a:pt x="464411" y="384241"/>
                    <a:pt x="463482" y="385784"/>
                    <a:pt x="461986" y="386525"/>
                  </a:cubicBezTo>
                  <a:cubicBezTo>
                    <a:pt x="460543" y="387334"/>
                    <a:pt x="458765" y="387241"/>
                    <a:pt x="457414" y="386286"/>
                  </a:cubicBezTo>
                  <a:lnTo>
                    <a:pt x="324445" y="297656"/>
                  </a:lnTo>
                  <a:cubicBezTo>
                    <a:pt x="316111" y="292108"/>
                    <a:pt x="312539" y="282083"/>
                    <a:pt x="312539" y="264152"/>
                  </a:cubicBezTo>
                  <a:lnTo>
                    <a:pt x="312539" y="183785"/>
                  </a:lnTo>
                  <a:lnTo>
                    <a:pt x="285774" y="183785"/>
                  </a:lnTo>
                  <a:lnTo>
                    <a:pt x="285774" y="264152"/>
                  </a:lnTo>
                  <a:cubicBezTo>
                    <a:pt x="285774" y="281297"/>
                    <a:pt x="288227" y="305705"/>
                    <a:pt x="309586" y="319945"/>
                  </a:cubicBezTo>
                  <a:close/>
                </a:path>
              </a:pathLst>
            </a:custGeom>
            <a:grpFill/>
            <a:ln w="2381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50" name="Freeform: Shape 49">
              <a:extLst>
                <a:ext uri="{FF2B5EF4-FFF2-40B4-BE49-F238E27FC236}">
                  <a16:creationId xmlns:a16="http://schemas.microsoft.com/office/drawing/2014/main" id="{4D1CFB43-8C39-E76A-53A9-321F6F8558C3}"/>
                </a:ext>
              </a:extLst>
            </p:cNvPr>
            <p:cNvSpPr/>
            <p:nvPr/>
          </p:nvSpPr>
          <p:spPr>
            <a:xfrm>
              <a:off x="1430740" y="5465634"/>
              <a:ext cx="178593" cy="208430"/>
            </a:xfrm>
            <a:custGeom>
              <a:avLst/>
              <a:gdLst>
                <a:gd name="connsiteX0" fmla="*/ 40195 w 178593"/>
                <a:gd name="connsiteY0" fmla="*/ 136779 h 208430"/>
                <a:gd name="connsiteX1" fmla="*/ 0 w 178593"/>
                <a:gd name="connsiteY1" fmla="*/ 172545 h 208430"/>
                <a:gd name="connsiteX2" fmla="*/ 0 w 178593"/>
                <a:gd name="connsiteY2" fmla="*/ 208407 h 208430"/>
                <a:gd name="connsiteX3" fmla="*/ 66985 w 178593"/>
                <a:gd name="connsiteY3" fmla="*/ 148804 h 208430"/>
                <a:gd name="connsiteX4" fmla="*/ 66985 w 178593"/>
                <a:gd name="connsiteY4" fmla="*/ 0 h 208430"/>
                <a:gd name="connsiteX5" fmla="*/ 40195 w 178593"/>
                <a:gd name="connsiteY5" fmla="*/ 0 h 208430"/>
                <a:gd name="connsiteX6" fmla="*/ 40195 w 178593"/>
                <a:gd name="connsiteY6" fmla="*/ 136779 h 208430"/>
                <a:gd name="connsiteX7" fmla="*/ 138422 w 178593"/>
                <a:gd name="connsiteY7" fmla="*/ 136779 h 208430"/>
                <a:gd name="connsiteX8" fmla="*/ 138422 w 178593"/>
                <a:gd name="connsiteY8" fmla="*/ 0 h 208430"/>
                <a:gd name="connsiteX9" fmla="*/ 111633 w 178593"/>
                <a:gd name="connsiteY9" fmla="*/ 0 h 208430"/>
                <a:gd name="connsiteX10" fmla="*/ 111633 w 178593"/>
                <a:gd name="connsiteY10" fmla="*/ 148828 h 208430"/>
                <a:gd name="connsiteX11" fmla="*/ 178594 w 178593"/>
                <a:gd name="connsiteY11" fmla="*/ 208431 h 208430"/>
                <a:gd name="connsiteX12" fmla="*/ 178594 w 178593"/>
                <a:gd name="connsiteY12" fmla="*/ 172545 h 208430"/>
                <a:gd name="connsiteX13" fmla="*/ 138422 w 178593"/>
                <a:gd name="connsiteY13" fmla="*/ 136779 h 208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593" h="208430">
                  <a:moveTo>
                    <a:pt x="40195" y="136779"/>
                  </a:moveTo>
                  <a:lnTo>
                    <a:pt x="0" y="172545"/>
                  </a:lnTo>
                  <a:lnTo>
                    <a:pt x="0" y="208407"/>
                  </a:lnTo>
                  <a:lnTo>
                    <a:pt x="66985" y="148804"/>
                  </a:lnTo>
                  <a:lnTo>
                    <a:pt x="66985" y="0"/>
                  </a:lnTo>
                  <a:lnTo>
                    <a:pt x="40195" y="0"/>
                  </a:lnTo>
                  <a:lnTo>
                    <a:pt x="40195" y="136779"/>
                  </a:lnTo>
                  <a:close/>
                  <a:moveTo>
                    <a:pt x="138422" y="136779"/>
                  </a:moveTo>
                  <a:lnTo>
                    <a:pt x="138422" y="0"/>
                  </a:lnTo>
                  <a:lnTo>
                    <a:pt x="111633" y="0"/>
                  </a:lnTo>
                  <a:lnTo>
                    <a:pt x="111633" y="148828"/>
                  </a:lnTo>
                  <a:lnTo>
                    <a:pt x="178594" y="208431"/>
                  </a:lnTo>
                  <a:lnTo>
                    <a:pt x="178594" y="172545"/>
                  </a:lnTo>
                  <a:lnTo>
                    <a:pt x="138422" y="136779"/>
                  </a:lnTo>
                  <a:close/>
                </a:path>
              </a:pathLst>
            </a:custGeom>
            <a:grpFill/>
            <a:ln w="2381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fizer Diatype Office"/>
                <a:ea typeface="+mn-ea"/>
                <a:cs typeface="+mn-cs"/>
              </a:endParaRPr>
            </a:p>
          </p:txBody>
        </p:sp>
      </p:grpSp>
      <p:sp>
        <p:nvSpPr>
          <p:cNvPr id="43" name="Graphic 114">
            <a:extLst>
              <a:ext uri="{FF2B5EF4-FFF2-40B4-BE49-F238E27FC236}">
                <a16:creationId xmlns:a16="http://schemas.microsoft.com/office/drawing/2014/main" id="{70CE7053-2E55-411D-D2EC-187A8144CF64}"/>
              </a:ext>
            </a:extLst>
          </p:cNvPr>
          <p:cNvSpPr/>
          <p:nvPr/>
        </p:nvSpPr>
        <p:spPr>
          <a:xfrm>
            <a:off x="937062" y="1671797"/>
            <a:ext cx="495032" cy="495032"/>
          </a:xfrm>
          <a:custGeom>
            <a:avLst/>
            <a:gdLst>
              <a:gd name="connsiteX0" fmla="*/ 296108 w 525660"/>
              <a:gd name="connsiteY0" fmla="*/ 497729 h 526875"/>
              <a:gd name="connsiteX1" fmla="*/ 383262 w 525660"/>
              <a:gd name="connsiteY1" fmla="*/ 281297 h 526875"/>
              <a:gd name="connsiteX2" fmla="*/ 356426 w 525660"/>
              <a:gd name="connsiteY2" fmla="*/ 281297 h 526875"/>
              <a:gd name="connsiteX3" fmla="*/ 268843 w 525660"/>
              <a:gd name="connsiteY3" fmla="*/ 488037 h 526875"/>
              <a:gd name="connsiteX4" fmla="*/ 263176 w 525660"/>
              <a:gd name="connsiteY4" fmla="*/ 494133 h 526875"/>
              <a:gd name="connsiteX5" fmla="*/ 257508 w 525660"/>
              <a:gd name="connsiteY5" fmla="*/ 488037 h 526875"/>
              <a:gd name="connsiteX6" fmla="*/ 169926 w 525660"/>
              <a:gd name="connsiteY6" fmla="*/ 281297 h 526875"/>
              <a:gd name="connsiteX7" fmla="*/ 143113 w 525660"/>
              <a:gd name="connsiteY7" fmla="*/ 281297 h 526875"/>
              <a:gd name="connsiteX8" fmla="*/ 230338 w 525660"/>
              <a:gd name="connsiteY8" fmla="*/ 497824 h 526875"/>
              <a:gd name="connsiteX9" fmla="*/ 26861 w 525660"/>
              <a:gd name="connsiteY9" fmla="*/ 281297 h 526875"/>
              <a:gd name="connsiteX10" fmla="*/ 48 w 525660"/>
              <a:gd name="connsiteY10" fmla="*/ 281297 h 526875"/>
              <a:gd name="connsiteX11" fmla="*/ 262866 w 525660"/>
              <a:gd name="connsiteY11" fmla="*/ 526875 h 526875"/>
              <a:gd name="connsiteX12" fmla="*/ 525661 w 525660"/>
              <a:gd name="connsiteY12" fmla="*/ 281297 h 526875"/>
              <a:gd name="connsiteX13" fmla="*/ 498824 w 525660"/>
              <a:gd name="connsiteY13" fmla="*/ 281297 h 526875"/>
              <a:gd name="connsiteX14" fmla="*/ 296132 w 525660"/>
              <a:gd name="connsiteY14" fmla="*/ 497729 h 526875"/>
              <a:gd name="connsiteX15" fmla="*/ 230315 w 525660"/>
              <a:gd name="connsiteY15" fmla="*/ 29051 h 526875"/>
              <a:gd name="connsiteX16" fmla="*/ 143089 w 525660"/>
              <a:gd name="connsiteY16" fmla="*/ 245578 h 526875"/>
              <a:gd name="connsiteX17" fmla="*/ 169926 w 525660"/>
              <a:gd name="connsiteY17" fmla="*/ 245578 h 526875"/>
              <a:gd name="connsiteX18" fmla="*/ 257604 w 525660"/>
              <a:gd name="connsiteY18" fmla="*/ 38743 h 526875"/>
              <a:gd name="connsiteX19" fmla="*/ 263176 w 525660"/>
              <a:gd name="connsiteY19" fmla="*/ 32742 h 526875"/>
              <a:gd name="connsiteX20" fmla="*/ 268748 w 525660"/>
              <a:gd name="connsiteY20" fmla="*/ 38743 h 526875"/>
              <a:gd name="connsiteX21" fmla="*/ 356426 w 525660"/>
              <a:gd name="connsiteY21" fmla="*/ 245578 h 526875"/>
              <a:gd name="connsiteX22" fmla="*/ 383262 w 525660"/>
              <a:gd name="connsiteY22" fmla="*/ 245578 h 526875"/>
              <a:gd name="connsiteX23" fmla="*/ 296108 w 525660"/>
              <a:gd name="connsiteY23" fmla="*/ 29147 h 526875"/>
              <a:gd name="connsiteX24" fmla="*/ 498800 w 525660"/>
              <a:gd name="connsiteY24" fmla="*/ 245578 h 526875"/>
              <a:gd name="connsiteX25" fmla="*/ 525637 w 525660"/>
              <a:gd name="connsiteY25" fmla="*/ 245578 h 526875"/>
              <a:gd name="connsiteX26" fmla="*/ 262842 w 525660"/>
              <a:gd name="connsiteY26" fmla="*/ 0 h 526875"/>
              <a:gd name="connsiteX27" fmla="*/ 0 w 525660"/>
              <a:gd name="connsiteY27" fmla="*/ 245578 h 526875"/>
              <a:gd name="connsiteX28" fmla="*/ 26837 w 525660"/>
              <a:gd name="connsiteY28" fmla="*/ 245578 h 526875"/>
              <a:gd name="connsiteX29" fmla="*/ 230315 w 525660"/>
              <a:gd name="connsiteY29" fmla="*/ 29051 h 526875"/>
              <a:gd name="connsiteX30" fmla="*/ 352020 w 525660"/>
              <a:gd name="connsiteY30" fmla="*/ 250055 h 526875"/>
              <a:gd name="connsiteX31" fmla="*/ 174284 w 525660"/>
              <a:gd name="connsiteY31" fmla="*/ 250055 h 526875"/>
              <a:gd name="connsiteX32" fmla="*/ 174284 w 525660"/>
              <a:gd name="connsiteY32" fmla="*/ 276820 h 526875"/>
              <a:gd name="connsiteX33" fmla="*/ 352020 w 525660"/>
              <a:gd name="connsiteY33" fmla="*/ 276820 h 526875"/>
              <a:gd name="connsiteX34" fmla="*/ 352020 w 525660"/>
              <a:gd name="connsiteY34" fmla="*/ 250055 h 526875"/>
              <a:gd name="connsiteX35" fmla="*/ 138494 w 525660"/>
              <a:gd name="connsiteY35" fmla="*/ 250055 h 526875"/>
              <a:gd name="connsiteX36" fmla="*/ 31337 w 525660"/>
              <a:gd name="connsiteY36" fmla="*/ 250055 h 526875"/>
              <a:gd name="connsiteX37" fmla="*/ 31337 w 525660"/>
              <a:gd name="connsiteY37" fmla="*/ 276820 h 526875"/>
              <a:gd name="connsiteX38" fmla="*/ 138494 w 525660"/>
              <a:gd name="connsiteY38" fmla="*/ 276820 h 526875"/>
              <a:gd name="connsiteX39" fmla="*/ 138494 w 525660"/>
              <a:gd name="connsiteY39" fmla="*/ 250055 h 526875"/>
              <a:gd name="connsiteX40" fmla="*/ 495348 w 525660"/>
              <a:gd name="connsiteY40" fmla="*/ 250055 h 526875"/>
              <a:gd name="connsiteX41" fmla="*/ 387858 w 525660"/>
              <a:gd name="connsiteY41" fmla="*/ 250055 h 526875"/>
              <a:gd name="connsiteX42" fmla="*/ 387858 w 525660"/>
              <a:gd name="connsiteY42" fmla="*/ 276820 h 526875"/>
              <a:gd name="connsiteX43" fmla="*/ 495348 w 525660"/>
              <a:gd name="connsiteY43" fmla="*/ 276820 h 526875"/>
              <a:gd name="connsiteX44" fmla="*/ 495348 w 525660"/>
              <a:gd name="connsiteY44" fmla="*/ 250055 h 52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25660" h="526875">
                <a:moveTo>
                  <a:pt x="296108" y="497729"/>
                </a:moveTo>
                <a:cubicBezTo>
                  <a:pt x="348653" y="437428"/>
                  <a:pt x="379357" y="361186"/>
                  <a:pt x="383262" y="281297"/>
                </a:cubicBezTo>
                <a:lnTo>
                  <a:pt x="356426" y="281297"/>
                </a:lnTo>
                <a:cubicBezTo>
                  <a:pt x="352349" y="358342"/>
                  <a:pt x="321352" y="431511"/>
                  <a:pt x="268843" y="488037"/>
                </a:cubicBezTo>
                <a:lnTo>
                  <a:pt x="263176" y="494133"/>
                </a:lnTo>
                <a:lnTo>
                  <a:pt x="257508" y="488037"/>
                </a:lnTo>
                <a:cubicBezTo>
                  <a:pt x="204995" y="431513"/>
                  <a:pt x="173998" y="358342"/>
                  <a:pt x="169926" y="281297"/>
                </a:cubicBezTo>
                <a:lnTo>
                  <a:pt x="143113" y="281297"/>
                </a:lnTo>
                <a:cubicBezTo>
                  <a:pt x="147018" y="361226"/>
                  <a:pt x="177747" y="437507"/>
                  <a:pt x="230338" y="497824"/>
                </a:cubicBezTo>
                <a:cubicBezTo>
                  <a:pt x="120968" y="482751"/>
                  <a:pt x="35219" y="392644"/>
                  <a:pt x="26861" y="281297"/>
                </a:cubicBezTo>
                <a:lnTo>
                  <a:pt x="48" y="281297"/>
                </a:lnTo>
                <a:cubicBezTo>
                  <a:pt x="9263" y="418243"/>
                  <a:pt x="123611" y="526875"/>
                  <a:pt x="262866" y="526875"/>
                </a:cubicBezTo>
                <a:cubicBezTo>
                  <a:pt x="402098" y="526875"/>
                  <a:pt x="516469" y="418243"/>
                  <a:pt x="525661" y="281297"/>
                </a:cubicBezTo>
                <a:lnTo>
                  <a:pt x="498824" y="281297"/>
                </a:lnTo>
                <a:cubicBezTo>
                  <a:pt x="490490" y="392382"/>
                  <a:pt x="405122" y="482322"/>
                  <a:pt x="296132" y="497729"/>
                </a:cubicBezTo>
                <a:close/>
                <a:moveTo>
                  <a:pt x="230315" y="29051"/>
                </a:moveTo>
                <a:cubicBezTo>
                  <a:pt x="177722" y="89367"/>
                  <a:pt x="146992" y="165649"/>
                  <a:pt x="143089" y="245578"/>
                </a:cubicBezTo>
                <a:lnTo>
                  <a:pt x="169926" y="245578"/>
                </a:lnTo>
                <a:cubicBezTo>
                  <a:pt x="174004" y="168488"/>
                  <a:pt x="205037" y="95280"/>
                  <a:pt x="257604" y="38743"/>
                </a:cubicBezTo>
                <a:lnTo>
                  <a:pt x="263176" y="32742"/>
                </a:lnTo>
                <a:lnTo>
                  <a:pt x="268748" y="38743"/>
                </a:lnTo>
                <a:cubicBezTo>
                  <a:pt x="321314" y="95281"/>
                  <a:pt x="352346" y="168488"/>
                  <a:pt x="356426" y="245578"/>
                </a:cubicBezTo>
                <a:lnTo>
                  <a:pt x="383262" y="245578"/>
                </a:lnTo>
                <a:cubicBezTo>
                  <a:pt x="379357" y="165690"/>
                  <a:pt x="348655" y="89447"/>
                  <a:pt x="296108" y="29147"/>
                </a:cubicBezTo>
                <a:cubicBezTo>
                  <a:pt x="405098" y="44553"/>
                  <a:pt x="490466" y="134493"/>
                  <a:pt x="498800" y="245578"/>
                </a:cubicBezTo>
                <a:lnTo>
                  <a:pt x="525637" y="245578"/>
                </a:lnTo>
                <a:cubicBezTo>
                  <a:pt x="516422" y="108633"/>
                  <a:pt x="402074" y="0"/>
                  <a:pt x="262842" y="0"/>
                </a:cubicBezTo>
                <a:cubicBezTo>
                  <a:pt x="123587" y="24"/>
                  <a:pt x="9215" y="108656"/>
                  <a:pt x="0" y="245578"/>
                </a:cubicBezTo>
                <a:lnTo>
                  <a:pt x="26837" y="245578"/>
                </a:lnTo>
                <a:cubicBezTo>
                  <a:pt x="35171" y="134231"/>
                  <a:pt x="120944" y="44125"/>
                  <a:pt x="230315" y="29051"/>
                </a:cubicBezTo>
                <a:close/>
                <a:moveTo>
                  <a:pt x="352020" y="250055"/>
                </a:moveTo>
                <a:lnTo>
                  <a:pt x="174284" y="250055"/>
                </a:lnTo>
                <a:lnTo>
                  <a:pt x="174284" y="276820"/>
                </a:lnTo>
                <a:lnTo>
                  <a:pt x="352020" y="276820"/>
                </a:lnTo>
                <a:lnTo>
                  <a:pt x="352020" y="250055"/>
                </a:lnTo>
                <a:close/>
                <a:moveTo>
                  <a:pt x="138494" y="250055"/>
                </a:moveTo>
                <a:lnTo>
                  <a:pt x="31337" y="250055"/>
                </a:lnTo>
                <a:lnTo>
                  <a:pt x="31337" y="276820"/>
                </a:lnTo>
                <a:lnTo>
                  <a:pt x="138494" y="276820"/>
                </a:lnTo>
                <a:lnTo>
                  <a:pt x="138494" y="250055"/>
                </a:lnTo>
                <a:close/>
                <a:moveTo>
                  <a:pt x="495348" y="250055"/>
                </a:moveTo>
                <a:lnTo>
                  <a:pt x="387858" y="250055"/>
                </a:lnTo>
                <a:lnTo>
                  <a:pt x="387858" y="276820"/>
                </a:lnTo>
                <a:lnTo>
                  <a:pt x="495348" y="276820"/>
                </a:lnTo>
                <a:lnTo>
                  <a:pt x="495348" y="250055"/>
                </a:lnTo>
                <a:close/>
              </a:path>
            </a:pathLst>
          </a:custGeom>
          <a:solidFill>
            <a:schemeClr val="accent1"/>
          </a:solidFill>
          <a:ln w="2381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fizer Diatype Office"/>
              <a:ea typeface="+mn-ea"/>
              <a:cs typeface="+mn-cs"/>
            </a:endParaRPr>
          </a:p>
        </p:txBody>
      </p:sp>
      <p:cxnSp>
        <p:nvCxnSpPr>
          <p:cNvPr id="7" name="Straight Connector 6">
            <a:extLst>
              <a:ext uri="{FF2B5EF4-FFF2-40B4-BE49-F238E27FC236}">
                <a16:creationId xmlns:a16="http://schemas.microsoft.com/office/drawing/2014/main" id="{F1412D98-A562-38A5-4384-741EA6B923EC}"/>
              </a:ext>
            </a:extLst>
          </p:cNvPr>
          <p:cNvCxnSpPr>
            <a:cxnSpLocks/>
          </p:cNvCxnSpPr>
          <p:nvPr/>
        </p:nvCxnSpPr>
        <p:spPr>
          <a:xfrm>
            <a:off x="775366" y="3648103"/>
            <a:ext cx="10654634" cy="0"/>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886E7B5B-4F08-D2FB-E198-9523EAE28069}"/>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001742" y="1637141"/>
            <a:ext cx="493776" cy="493776"/>
          </a:xfrm>
          <a:prstGeom prst="rect">
            <a:avLst/>
          </a:prstGeom>
        </p:spPr>
      </p:pic>
      <p:pic>
        <p:nvPicPr>
          <p:cNvPr id="10" name="Graphic 9">
            <a:extLst>
              <a:ext uri="{FF2B5EF4-FFF2-40B4-BE49-F238E27FC236}">
                <a16:creationId xmlns:a16="http://schemas.microsoft.com/office/drawing/2014/main" id="{F49EB844-6DE6-7F61-2B6F-12F66879CD9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8584365" y="3900256"/>
            <a:ext cx="493776" cy="493776"/>
          </a:xfrm>
          <a:prstGeom prst="rect">
            <a:avLst/>
          </a:prstGeom>
        </p:spPr>
      </p:pic>
      <p:pic>
        <p:nvPicPr>
          <p:cNvPr id="12" name="Graphic 11">
            <a:extLst>
              <a:ext uri="{FF2B5EF4-FFF2-40B4-BE49-F238E27FC236}">
                <a16:creationId xmlns:a16="http://schemas.microsoft.com/office/drawing/2014/main" id="{EF6DFA17-D139-0A8E-AFA4-BDE7941B82AA}"/>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540236" y="1672271"/>
            <a:ext cx="493776" cy="493776"/>
          </a:xfrm>
          <a:prstGeom prst="rect">
            <a:avLst/>
          </a:prstGeom>
        </p:spPr>
      </p:pic>
      <p:sp>
        <p:nvSpPr>
          <p:cNvPr id="6" name="TextBox 51">
            <a:extLst>
              <a:ext uri="{FF2B5EF4-FFF2-40B4-BE49-F238E27FC236}">
                <a16:creationId xmlns:a16="http://schemas.microsoft.com/office/drawing/2014/main" id="{88CEAE5F-C10E-220A-1AF9-17BB97822F3E}"/>
              </a:ext>
            </a:extLst>
          </p:cNvPr>
          <p:cNvSpPr txBox="1"/>
          <p:nvPr/>
        </p:nvSpPr>
        <p:spPr>
          <a:xfrm>
            <a:off x="1852429" y="4595506"/>
            <a:ext cx="3229344" cy="1114151"/>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228520" rtl="0" eaLnBrk="1" fontAlgn="auto" latinLnBrk="0" hangingPunct="1">
              <a:lnSpc>
                <a:spcPct val="90000"/>
              </a:lnSpc>
              <a:spcBef>
                <a:spcPts val="600"/>
              </a:spcBef>
              <a:spcAft>
                <a:spcPts val="0"/>
              </a:spcAft>
              <a:buClrTx/>
              <a:buSzTx/>
              <a:buFontTx/>
              <a:buNone/>
              <a:tabLst/>
              <a:defRPr/>
            </a:pP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Yaşlı</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bireyler</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immünosenesans</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inflammaging,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yaş</a:t>
            </a:r>
            <a:r>
              <a:rPr lang="en-GB" sz="1600">
                <a:solidFill>
                  <a:srgbClr val="02005E"/>
                </a:solidFill>
                <a:latin typeface="Pfizer Diatype Office"/>
              </a:rPr>
              <a:t>a </a:t>
            </a:r>
            <a:r>
              <a:rPr lang="en-GB" sz="1600" err="1">
                <a:solidFill>
                  <a:srgbClr val="02005E"/>
                </a:solidFill>
                <a:latin typeface="Pfizer Diatype Office"/>
              </a:rPr>
              <a:t>bağlı</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değişiklikler</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ve</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kronik</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komorbiditeler</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nedeniyle</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enfeksiyon</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hastalıklara</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daha</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duyarlı</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olabilirler</a:t>
            </a:r>
            <a:r>
              <a:rPr kumimoji="0" lang="en-GB" sz="1600" b="0" i="0" u="none" strike="noStrike" kern="1200" cap="none" spc="0" normalizeH="0" baseline="30000" noProof="0">
                <a:ln>
                  <a:noFill/>
                </a:ln>
                <a:solidFill>
                  <a:srgbClr val="02005E"/>
                </a:solidFill>
                <a:effectLst/>
                <a:uLnTx/>
                <a:uFillTx/>
                <a:latin typeface="Pfizer Diatype Office"/>
                <a:ea typeface="+mn-ea"/>
                <a:cs typeface="+mn-cs"/>
              </a:rPr>
              <a:t>5,6</a:t>
            </a:r>
          </a:p>
        </p:txBody>
      </p:sp>
      <p:sp>
        <p:nvSpPr>
          <p:cNvPr id="9" name="Graphic 103">
            <a:extLst>
              <a:ext uri="{FF2B5EF4-FFF2-40B4-BE49-F238E27FC236}">
                <a16:creationId xmlns:a16="http://schemas.microsoft.com/office/drawing/2014/main" id="{6C815650-117F-69E0-E5C4-FFF7D7577091}"/>
              </a:ext>
            </a:extLst>
          </p:cNvPr>
          <p:cNvSpPr/>
          <p:nvPr/>
        </p:nvSpPr>
        <p:spPr>
          <a:xfrm>
            <a:off x="1892621" y="3952456"/>
            <a:ext cx="495114" cy="493776"/>
          </a:xfrm>
          <a:custGeom>
            <a:avLst/>
            <a:gdLst>
              <a:gd name="connsiteX0" fmla="*/ 89297 w 464343"/>
              <a:gd name="connsiteY0" fmla="*/ 428649 h 491156"/>
              <a:gd name="connsiteX1" fmla="*/ 53578 w 464343"/>
              <a:gd name="connsiteY1" fmla="*/ 428649 h 491156"/>
              <a:gd name="connsiteX2" fmla="*/ 53578 w 464343"/>
              <a:gd name="connsiteY2" fmla="*/ 455438 h 491156"/>
              <a:gd name="connsiteX3" fmla="*/ 89297 w 464343"/>
              <a:gd name="connsiteY3" fmla="*/ 455438 h 491156"/>
              <a:gd name="connsiteX4" fmla="*/ 89297 w 464343"/>
              <a:gd name="connsiteY4" fmla="*/ 428649 h 491156"/>
              <a:gd name="connsiteX5" fmla="*/ 142875 w 464343"/>
              <a:gd name="connsiteY5" fmla="*/ 357211 h 491156"/>
              <a:gd name="connsiteX6" fmla="*/ 107156 w 464343"/>
              <a:gd name="connsiteY6" fmla="*/ 357211 h 491156"/>
              <a:gd name="connsiteX7" fmla="*/ 107156 w 464343"/>
              <a:gd name="connsiteY7" fmla="*/ 384000 h 491156"/>
              <a:gd name="connsiteX8" fmla="*/ 142875 w 464343"/>
              <a:gd name="connsiteY8" fmla="*/ 384000 h 491156"/>
              <a:gd name="connsiteX9" fmla="*/ 142875 w 464343"/>
              <a:gd name="connsiteY9" fmla="*/ 357211 h 491156"/>
              <a:gd name="connsiteX10" fmla="*/ 303609 w 464343"/>
              <a:gd name="connsiteY10" fmla="*/ 26813 h 491156"/>
              <a:gd name="connsiteX11" fmla="*/ 464344 w 464343"/>
              <a:gd name="connsiteY11" fmla="*/ 26813 h 491156"/>
              <a:gd name="connsiteX12" fmla="*/ 464344 w 464343"/>
              <a:gd name="connsiteY12" fmla="*/ 0 h 491156"/>
              <a:gd name="connsiteX13" fmla="*/ 303609 w 464343"/>
              <a:gd name="connsiteY13" fmla="*/ 0 h 491156"/>
              <a:gd name="connsiteX14" fmla="*/ 165021 w 464343"/>
              <a:gd name="connsiteY14" fmla="*/ 138494 h 491156"/>
              <a:gd name="connsiteX15" fmla="*/ 165164 w 464343"/>
              <a:gd name="connsiteY15" fmla="*/ 168640 h 491156"/>
              <a:gd name="connsiteX16" fmla="*/ 107156 w 464343"/>
              <a:gd name="connsiteY16" fmla="*/ 226957 h 491156"/>
              <a:gd name="connsiteX17" fmla="*/ 107156 w 464343"/>
              <a:gd name="connsiteY17" fmla="*/ 276749 h 491156"/>
              <a:gd name="connsiteX18" fmla="*/ 164949 w 464343"/>
              <a:gd name="connsiteY18" fmla="*/ 276749 h 491156"/>
              <a:gd name="connsiteX19" fmla="*/ 164949 w 464343"/>
              <a:gd name="connsiteY19" fmla="*/ 352663 h 491156"/>
              <a:gd name="connsiteX20" fmla="*/ 250079 w 464343"/>
              <a:gd name="connsiteY20" fmla="*/ 437579 h 491156"/>
              <a:gd name="connsiteX21" fmla="*/ 254484 w 464343"/>
              <a:gd name="connsiteY21" fmla="*/ 437555 h 491156"/>
              <a:gd name="connsiteX22" fmla="*/ 254484 w 464343"/>
              <a:gd name="connsiteY22" fmla="*/ 491133 h 491156"/>
              <a:gd name="connsiteX23" fmla="*/ 464344 w 464343"/>
              <a:gd name="connsiteY23" fmla="*/ 491133 h 491156"/>
              <a:gd name="connsiteX24" fmla="*/ 464344 w 464343"/>
              <a:gd name="connsiteY24" fmla="*/ 464344 h 491156"/>
              <a:gd name="connsiteX25" fmla="*/ 281273 w 464343"/>
              <a:gd name="connsiteY25" fmla="*/ 464344 h 491156"/>
              <a:gd name="connsiteX26" fmla="*/ 281273 w 464343"/>
              <a:gd name="connsiteY26" fmla="*/ 410647 h 491156"/>
              <a:gd name="connsiteX27" fmla="*/ 250031 w 464343"/>
              <a:gd name="connsiteY27" fmla="*/ 410789 h 491156"/>
              <a:gd name="connsiteX28" fmla="*/ 191738 w 464343"/>
              <a:gd name="connsiteY28" fmla="*/ 352663 h 491156"/>
              <a:gd name="connsiteX29" fmla="*/ 191738 w 464343"/>
              <a:gd name="connsiteY29" fmla="*/ 249960 h 491156"/>
              <a:gd name="connsiteX30" fmla="*/ 122063 w 464343"/>
              <a:gd name="connsiteY30" fmla="*/ 249960 h 491156"/>
              <a:gd name="connsiteX31" fmla="*/ 192024 w 464343"/>
              <a:gd name="connsiteY31" fmla="*/ 179642 h 491156"/>
              <a:gd name="connsiteX32" fmla="*/ 191786 w 464343"/>
              <a:gd name="connsiteY32" fmla="*/ 138446 h 491156"/>
              <a:gd name="connsiteX33" fmla="*/ 303609 w 464343"/>
              <a:gd name="connsiteY33" fmla="*/ 26789 h 491156"/>
              <a:gd name="connsiteX34" fmla="*/ 53578 w 464343"/>
              <a:gd name="connsiteY34" fmla="*/ 285774 h 491156"/>
              <a:gd name="connsiteX35" fmla="*/ 53578 w 464343"/>
              <a:gd name="connsiteY35" fmla="*/ 312539 h 491156"/>
              <a:gd name="connsiteX36" fmla="*/ 89297 w 464343"/>
              <a:gd name="connsiteY36" fmla="*/ 312539 h 491156"/>
              <a:gd name="connsiteX37" fmla="*/ 89297 w 464343"/>
              <a:gd name="connsiteY37" fmla="*/ 285774 h 491156"/>
              <a:gd name="connsiteX38" fmla="*/ 53578 w 464343"/>
              <a:gd name="connsiteY38" fmla="*/ 285774 h 491156"/>
              <a:gd name="connsiteX39" fmla="*/ 89297 w 464343"/>
              <a:gd name="connsiteY39" fmla="*/ 357211 h 491156"/>
              <a:gd name="connsiteX40" fmla="*/ 53578 w 464343"/>
              <a:gd name="connsiteY40" fmla="*/ 357211 h 491156"/>
              <a:gd name="connsiteX41" fmla="*/ 53578 w 464343"/>
              <a:gd name="connsiteY41" fmla="*/ 384000 h 491156"/>
              <a:gd name="connsiteX42" fmla="*/ 89297 w 464343"/>
              <a:gd name="connsiteY42" fmla="*/ 384000 h 491156"/>
              <a:gd name="connsiteX43" fmla="*/ 89297 w 464343"/>
              <a:gd name="connsiteY43" fmla="*/ 357211 h 491156"/>
              <a:gd name="connsiteX44" fmla="*/ 35719 w 464343"/>
              <a:gd name="connsiteY44" fmla="*/ 357211 h 491156"/>
              <a:gd name="connsiteX45" fmla="*/ 0 w 464343"/>
              <a:gd name="connsiteY45" fmla="*/ 357211 h 491156"/>
              <a:gd name="connsiteX46" fmla="*/ 0 w 464343"/>
              <a:gd name="connsiteY46" fmla="*/ 384000 h 491156"/>
              <a:gd name="connsiteX47" fmla="*/ 35719 w 464343"/>
              <a:gd name="connsiteY47" fmla="*/ 384000 h 491156"/>
              <a:gd name="connsiteX48" fmla="*/ 35719 w 464343"/>
              <a:gd name="connsiteY48" fmla="*/ 357211 h 491156"/>
              <a:gd name="connsiteX49" fmla="*/ 35719 w 464343"/>
              <a:gd name="connsiteY49" fmla="*/ 464368 h 491156"/>
              <a:gd name="connsiteX50" fmla="*/ 0 w 464343"/>
              <a:gd name="connsiteY50" fmla="*/ 464368 h 491156"/>
              <a:gd name="connsiteX51" fmla="*/ 0 w 464343"/>
              <a:gd name="connsiteY51" fmla="*/ 491157 h 491156"/>
              <a:gd name="connsiteX52" fmla="*/ 35719 w 464343"/>
              <a:gd name="connsiteY52" fmla="*/ 491157 h 491156"/>
              <a:gd name="connsiteX53" fmla="*/ 35719 w 464343"/>
              <a:gd name="connsiteY53" fmla="*/ 464368 h 491156"/>
              <a:gd name="connsiteX54" fmla="*/ 35719 w 464343"/>
              <a:gd name="connsiteY54" fmla="*/ 250055 h 491156"/>
              <a:gd name="connsiteX55" fmla="*/ 0 w 464343"/>
              <a:gd name="connsiteY55" fmla="*/ 250055 h 491156"/>
              <a:gd name="connsiteX56" fmla="*/ 0 w 464343"/>
              <a:gd name="connsiteY56" fmla="*/ 276820 h 491156"/>
              <a:gd name="connsiteX57" fmla="*/ 35719 w 464343"/>
              <a:gd name="connsiteY57" fmla="*/ 276820 h 491156"/>
              <a:gd name="connsiteX58" fmla="*/ 35719 w 464343"/>
              <a:gd name="connsiteY58" fmla="*/ 250055 h 49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64343" h="491156">
                <a:moveTo>
                  <a:pt x="89297" y="428649"/>
                </a:moveTo>
                <a:lnTo>
                  <a:pt x="53578" y="428649"/>
                </a:lnTo>
                <a:lnTo>
                  <a:pt x="53578" y="455438"/>
                </a:lnTo>
                <a:lnTo>
                  <a:pt x="89297" y="455438"/>
                </a:lnTo>
                <a:lnTo>
                  <a:pt x="89297" y="428649"/>
                </a:lnTo>
                <a:close/>
                <a:moveTo>
                  <a:pt x="142875" y="357211"/>
                </a:moveTo>
                <a:lnTo>
                  <a:pt x="107156" y="357211"/>
                </a:lnTo>
                <a:lnTo>
                  <a:pt x="107156" y="384000"/>
                </a:lnTo>
                <a:lnTo>
                  <a:pt x="142875" y="384000"/>
                </a:lnTo>
                <a:lnTo>
                  <a:pt x="142875" y="357211"/>
                </a:lnTo>
                <a:close/>
                <a:moveTo>
                  <a:pt x="303609" y="26813"/>
                </a:moveTo>
                <a:lnTo>
                  <a:pt x="464344" y="26813"/>
                </a:lnTo>
                <a:lnTo>
                  <a:pt x="464344" y="0"/>
                </a:lnTo>
                <a:lnTo>
                  <a:pt x="303609" y="0"/>
                </a:lnTo>
                <a:cubicBezTo>
                  <a:pt x="227314" y="0"/>
                  <a:pt x="165164" y="62103"/>
                  <a:pt x="165021" y="138494"/>
                </a:cubicBezTo>
                <a:lnTo>
                  <a:pt x="165164" y="168640"/>
                </a:lnTo>
                <a:lnTo>
                  <a:pt x="107156" y="226957"/>
                </a:lnTo>
                <a:lnTo>
                  <a:pt x="107156" y="276749"/>
                </a:lnTo>
                <a:lnTo>
                  <a:pt x="164949" y="276749"/>
                </a:lnTo>
                <a:lnTo>
                  <a:pt x="164949" y="352663"/>
                </a:lnTo>
                <a:cubicBezTo>
                  <a:pt x="165054" y="399600"/>
                  <a:pt x="203142" y="437593"/>
                  <a:pt x="250079" y="437579"/>
                </a:cubicBezTo>
                <a:lnTo>
                  <a:pt x="254484" y="437555"/>
                </a:lnTo>
                <a:lnTo>
                  <a:pt x="254484" y="491133"/>
                </a:lnTo>
                <a:lnTo>
                  <a:pt x="464344" y="491133"/>
                </a:lnTo>
                <a:lnTo>
                  <a:pt x="464344" y="464344"/>
                </a:lnTo>
                <a:lnTo>
                  <a:pt x="281273" y="464344"/>
                </a:lnTo>
                <a:lnTo>
                  <a:pt x="281273" y="410647"/>
                </a:lnTo>
                <a:lnTo>
                  <a:pt x="250031" y="410789"/>
                </a:lnTo>
                <a:cubicBezTo>
                  <a:pt x="217896" y="410804"/>
                  <a:pt x="191817" y="384798"/>
                  <a:pt x="191738" y="352663"/>
                </a:cubicBezTo>
                <a:lnTo>
                  <a:pt x="191738" y="249960"/>
                </a:lnTo>
                <a:lnTo>
                  <a:pt x="122063" y="249960"/>
                </a:lnTo>
                <a:lnTo>
                  <a:pt x="192024" y="179642"/>
                </a:lnTo>
                <a:lnTo>
                  <a:pt x="191786" y="138446"/>
                </a:lnTo>
                <a:cubicBezTo>
                  <a:pt x="191969" y="76791"/>
                  <a:pt x="241954" y="26881"/>
                  <a:pt x="303609" y="26789"/>
                </a:cubicBezTo>
                <a:close/>
                <a:moveTo>
                  <a:pt x="53578" y="285774"/>
                </a:moveTo>
                <a:lnTo>
                  <a:pt x="53578" y="312539"/>
                </a:lnTo>
                <a:lnTo>
                  <a:pt x="89297" y="312539"/>
                </a:lnTo>
                <a:lnTo>
                  <a:pt x="89297" y="285774"/>
                </a:lnTo>
                <a:lnTo>
                  <a:pt x="53578" y="285774"/>
                </a:lnTo>
                <a:close/>
                <a:moveTo>
                  <a:pt x="89297" y="357211"/>
                </a:moveTo>
                <a:lnTo>
                  <a:pt x="53578" y="357211"/>
                </a:lnTo>
                <a:lnTo>
                  <a:pt x="53578" y="384000"/>
                </a:lnTo>
                <a:lnTo>
                  <a:pt x="89297" y="384000"/>
                </a:lnTo>
                <a:lnTo>
                  <a:pt x="89297" y="357211"/>
                </a:lnTo>
                <a:close/>
                <a:moveTo>
                  <a:pt x="35719" y="357211"/>
                </a:moveTo>
                <a:lnTo>
                  <a:pt x="0" y="357211"/>
                </a:lnTo>
                <a:lnTo>
                  <a:pt x="0" y="384000"/>
                </a:lnTo>
                <a:lnTo>
                  <a:pt x="35719" y="384000"/>
                </a:lnTo>
                <a:lnTo>
                  <a:pt x="35719" y="357211"/>
                </a:lnTo>
                <a:close/>
                <a:moveTo>
                  <a:pt x="35719" y="464368"/>
                </a:moveTo>
                <a:lnTo>
                  <a:pt x="0" y="464368"/>
                </a:lnTo>
                <a:lnTo>
                  <a:pt x="0" y="491157"/>
                </a:lnTo>
                <a:lnTo>
                  <a:pt x="35719" y="491157"/>
                </a:lnTo>
                <a:lnTo>
                  <a:pt x="35719" y="464368"/>
                </a:lnTo>
                <a:close/>
                <a:moveTo>
                  <a:pt x="35719" y="250055"/>
                </a:moveTo>
                <a:lnTo>
                  <a:pt x="0" y="250055"/>
                </a:lnTo>
                <a:lnTo>
                  <a:pt x="0" y="276820"/>
                </a:lnTo>
                <a:lnTo>
                  <a:pt x="35719" y="276820"/>
                </a:lnTo>
                <a:lnTo>
                  <a:pt x="35719" y="250055"/>
                </a:lnTo>
                <a:close/>
              </a:path>
            </a:pathLst>
          </a:custGeom>
          <a:solidFill>
            <a:schemeClr val="accent1"/>
          </a:solidFill>
          <a:ln w="2381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1" name="TextBox 47">
            <a:extLst>
              <a:ext uri="{FF2B5EF4-FFF2-40B4-BE49-F238E27FC236}">
                <a16:creationId xmlns:a16="http://schemas.microsoft.com/office/drawing/2014/main" id="{91ADF502-3A88-F472-9F46-2781F09E2D06}"/>
              </a:ext>
            </a:extLst>
          </p:cNvPr>
          <p:cNvSpPr txBox="1"/>
          <p:nvPr/>
        </p:nvSpPr>
        <p:spPr>
          <a:xfrm flipH="1">
            <a:off x="5490546" y="4534831"/>
            <a:ext cx="2578186" cy="1114151"/>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228520" rtl="0" eaLnBrk="1" fontAlgn="auto" latinLnBrk="0" hangingPunct="1">
              <a:lnSpc>
                <a:spcPct val="90000"/>
              </a:lnSpc>
              <a:spcBef>
                <a:spcPts val="600"/>
              </a:spcBef>
              <a:spcAft>
                <a:spcPts val="0"/>
              </a:spcAft>
              <a:buClrTx/>
              <a:buSzTx/>
              <a:buFontTx/>
              <a:buNone/>
              <a:tabLst/>
              <a:defRPr/>
            </a:pP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Solunum</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yolu</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enfeksiyonları</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kronik</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hastalıkları</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alevlendirebilir</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ve</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daha</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şiddetli</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uzun</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süreli</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belirtilere</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a:t>
            </a:r>
            <a:r>
              <a:rPr kumimoji="0" lang="en-GB" sz="1600" b="0" i="0" u="none" strike="noStrike" kern="1200" cap="none" spc="0" normalizeH="0" baseline="0" noProof="0" err="1">
                <a:ln>
                  <a:noFill/>
                </a:ln>
                <a:solidFill>
                  <a:srgbClr val="02005E"/>
                </a:solidFill>
                <a:effectLst/>
                <a:uLnTx/>
                <a:uFillTx/>
                <a:latin typeface="Pfizer Diatype Office"/>
                <a:ea typeface="+mn-ea"/>
                <a:cs typeface="+mn-cs"/>
              </a:rPr>
              <a:t>neden</a:t>
            </a:r>
            <a:r>
              <a:rPr kumimoji="0" lang="en-GB" sz="1600" b="0" i="0" u="none" strike="noStrike" kern="1200" cap="none" spc="0" normalizeH="0" baseline="0" noProof="0">
                <a:ln>
                  <a:noFill/>
                </a:ln>
                <a:solidFill>
                  <a:srgbClr val="02005E"/>
                </a:solidFill>
                <a:effectLst/>
                <a:uLnTx/>
                <a:uFillTx/>
                <a:latin typeface="Pfizer Diatype Office"/>
                <a:ea typeface="+mn-ea"/>
                <a:cs typeface="+mn-cs"/>
              </a:rPr>
              <a:t> olabilir</a:t>
            </a:r>
            <a:r>
              <a:rPr kumimoji="0" lang="en-GB" sz="1600" b="0" i="0" u="none" strike="noStrike" kern="1200" cap="none" spc="0" normalizeH="0" baseline="30000" noProof="0">
                <a:ln>
                  <a:noFill/>
                </a:ln>
                <a:solidFill>
                  <a:srgbClr val="02005E"/>
                </a:solidFill>
                <a:effectLst/>
                <a:uLnTx/>
                <a:uFillTx/>
                <a:latin typeface="Pfizer Diatype Office"/>
                <a:ea typeface="+mn-ea"/>
                <a:cs typeface="+mn-cs"/>
              </a:rPr>
              <a:t>7,8</a:t>
            </a:r>
          </a:p>
        </p:txBody>
      </p:sp>
      <p:grpSp>
        <p:nvGrpSpPr>
          <p:cNvPr id="13" name="Group 12">
            <a:extLst>
              <a:ext uri="{FF2B5EF4-FFF2-40B4-BE49-F238E27FC236}">
                <a16:creationId xmlns:a16="http://schemas.microsoft.com/office/drawing/2014/main" id="{D24C0B68-1433-BB83-429F-81D85D727BDE}"/>
              </a:ext>
            </a:extLst>
          </p:cNvPr>
          <p:cNvGrpSpPr/>
          <p:nvPr/>
        </p:nvGrpSpPr>
        <p:grpSpPr>
          <a:xfrm>
            <a:off x="5483581" y="3911811"/>
            <a:ext cx="493776" cy="493776"/>
            <a:chOff x="8589654" y="3066144"/>
            <a:chExt cx="491133" cy="497988"/>
          </a:xfrm>
          <a:solidFill>
            <a:schemeClr val="accent1"/>
          </a:solidFill>
        </p:grpSpPr>
        <p:sp>
          <p:nvSpPr>
            <p:cNvPr id="14" name="Freeform: Shape 13">
              <a:extLst>
                <a:ext uri="{FF2B5EF4-FFF2-40B4-BE49-F238E27FC236}">
                  <a16:creationId xmlns:a16="http://schemas.microsoft.com/office/drawing/2014/main" id="{F91E13C7-7FB9-4049-D9CD-4C44397104FF}"/>
                </a:ext>
              </a:extLst>
            </p:cNvPr>
            <p:cNvSpPr/>
            <p:nvPr/>
          </p:nvSpPr>
          <p:spPr>
            <a:xfrm>
              <a:off x="8762581" y="3262597"/>
              <a:ext cx="145327" cy="53578"/>
            </a:xfrm>
            <a:custGeom>
              <a:avLst/>
              <a:gdLst>
                <a:gd name="connsiteX0" fmla="*/ 72652 w 145327"/>
                <a:gd name="connsiteY0" fmla="*/ 18931 h 53578"/>
                <a:gd name="connsiteX1" fmla="*/ 107418 w 145327"/>
                <a:gd name="connsiteY1" fmla="*/ 53578 h 53578"/>
                <a:gd name="connsiteX2" fmla="*/ 145328 w 145327"/>
                <a:gd name="connsiteY2" fmla="*/ 53578 h 53578"/>
                <a:gd name="connsiteX3" fmla="*/ 91630 w 145327"/>
                <a:gd name="connsiteY3" fmla="*/ 0 h 53578"/>
                <a:gd name="connsiteX4" fmla="*/ 53721 w 145327"/>
                <a:gd name="connsiteY4" fmla="*/ 0 h 53578"/>
                <a:gd name="connsiteX5" fmla="*/ 0 w 145327"/>
                <a:gd name="connsiteY5" fmla="*/ 53578 h 53578"/>
                <a:gd name="connsiteX6" fmla="*/ 37933 w 145327"/>
                <a:gd name="connsiteY6" fmla="*/ 53578 h 53578"/>
                <a:gd name="connsiteX7" fmla="*/ 72652 w 145327"/>
                <a:gd name="connsiteY7" fmla="*/ 18931 h 53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27" h="53578">
                  <a:moveTo>
                    <a:pt x="72652" y="18931"/>
                  </a:moveTo>
                  <a:lnTo>
                    <a:pt x="107418" y="53578"/>
                  </a:lnTo>
                  <a:lnTo>
                    <a:pt x="145328" y="53578"/>
                  </a:lnTo>
                  <a:lnTo>
                    <a:pt x="91630" y="0"/>
                  </a:lnTo>
                  <a:lnTo>
                    <a:pt x="53721" y="0"/>
                  </a:lnTo>
                  <a:lnTo>
                    <a:pt x="0" y="53578"/>
                  </a:lnTo>
                  <a:lnTo>
                    <a:pt x="37933" y="53578"/>
                  </a:lnTo>
                  <a:lnTo>
                    <a:pt x="72652" y="18931"/>
                  </a:lnTo>
                  <a:close/>
                </a:path>
              </a:pathLst>
            </a:custGeom>
            <a:grpFill/>
            <a:ln w="2381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5" name="Freeform: Shape 14">
              <a:extLst>
                <a:ext uri="{FF2B5EF4-FFF2-40B4-BE49-F238E27FC236}">
                  <a16:creationId xmlns:a16="http://schemas.microsoft.com/office/drawing/2014/main" id="{908C1034-0A20-E909-304B-C92E865703F6}"/>
                </a:ext>
              </a:extLst>
            </p:cNvPr>
            <p:cNvSpPr/>
            <p:nvPr/>
          </p:nvSpPr>
          <p:spPr>
            <a:xfrm>
              <a:off x="8589654" y="3150250"/>
              <a:ext cx="491133" cy="413882"/>
            </a:xfrm>
            <a:custGeom>
              <a:avLst/>
              <a:gdLst>
                <a:gd name="connsiteX0" fmla="*/ 178618 w 491133"/>
                <a:gd name="connsiteY0" fmla="*/ 183785 h 413882"/>
                <a:gd name="connsiteX1" fmla="*/ 178618 w 491133"/>
                <a:gd name="connsiteY1" fmla="*/ 264152 h 413882"/>
                <a:gd name="connsiteX2" fmla="*/ 166711 w 491133"/>
                <a:gd name="connsiteY2" fmla="*/ 297656 h 413882"/>
                <a:gd name="connsiteX3" fmla="*/ 33742 w 491133"/>
                <a:gd name="connsiteY3" fmla="*/ 386286 h 413882"/>
                <a:gd name="connsiteX4" fmla="*/ 29170 w 491133"/>
                <a:gd name="connsiteY4" fmla="*/ 386525 h 413882"/>
                <a:gd name="connsiteX5" fmla="*/ 26789 w 491133"/>
                <a:gd name="connsiteY5" fmla="*/ 382572 h 413882"/>
                <a:gd name="connsiteX6" fmla="*/ 26789 w 491133"/>
                <a:gd name="connsiteY6" fmla="*/ 180642 h 413882"/>
                <a:gd name="connsiteX7" fmla="*/ 124801 w 491133"/>
                <a:gd name="connsiteY7" fmla="*/ 44672 h 413882"/>
                <a:gd name="connsiteX8" fmla="*/ 174141 w 491133"/>
                <a:gd name="connsiteY8" fmla="*/ 28265 h 413882"/>
                <a:gd name="connsiteX9" fmla="*/ 174141 w 491133"/>
                <a:gd name="connsiteY9" fmla="*/ 0 h 413882"/>
                <a:gd name="connsiteX10" fmla="*/ 116324 w 491133"/>
                <a:gd name="connsiteY10" fmla="*/ 19288 h 413882"/>
                <a:gd name="connsiteX11" fmla="*/ 0 w 491133"/>
                <a:gd name="connsiteY11" fmla="*/ 180665 h 413882"/>
                <a:gd name="connsiteX12" fmla="*/ 0 w 491133"/>
                <a:gd name="connsiteY12" fmla="*/ 382595 h 413882"/>
                <a:gd name="connsiteX13" fmla="*/ 31101 w 491133"/>
                <a:gd name="connsiteY13" fmla="*/ 413883 h 413882"/>
                <a:gd name="connsiteX14" fmla="*/ 48601 w 491133"/>
                <a:gd name="connsiteY14" fmla="*/ 408575 h 413882"/>
                <a:gd name="connsiteX15" fmla="*/ 181570 w 491133"/>
                <a:gd name="connsiteY15" fmla="*/ 319945 h 413882"/>
                <a:gd name="connsiteX16" fmla="*/ 205383 w 491133"/>
                <a:gd name="connsiteY16" fmla="*/ 264152 h 413882"/>
                <a:gd name="connsiteX17" fmla="*/ 205383 w 491133"/>
                <a:gd name="connsiteY17" fmla="*/ 183785 h 413882"/>
                <a:gd name="connsiteX18" fmla="*/ 178618 w 491133"/>
                <a:gd name="connsiteY18" fmla="*/ 183785 h 413882"/>
                <a:gd name="connsiteX19" fmla="*/ 374833 w 491133"/>
                <a:gd name="connsiteY19" fmla="*/ 19264 h 413882"/>
                <a:gd name="connsiteX20" fmla="*/ 317016 w 491133"/>
                <a:gd name="connsiteY20" fmla="*/ 0 h 413882"/>
                <a:gd name="connsiteX21" fmla="*/ 317016 w 491133"/>
                <a:gd name="connsiteY21" fmla="*/ 28242 h 413882"/>
                <a:gd name="connsiteX22" fmla="*/ 366355 w 491133"/>
                <a:gd name="connsiteY22" fmla="*/ 44672 h 413882"/>
                <a:gd name="connsiteX23" fmla="*/ 464368 w 491133"/>
                <a:gd name="connsiteY23" fmla="*/ 180642 h 413882"/>
                <a:gd name="connsiteX24" fmla="*/ 464368 w 491133"/>
                <a:gd name="connsiteY24" fmla="*/ 382572 h 413882"/>
                <a:gd name="connsiteX25" fmla="*/ 461986 w 491133"/>
                <a:gd name="connsiteY25" fmla="*/ 386525 h 413882"/>
                <a:gd name="connsiteX26" fmla="*/ 457414 w 491133"/>
                <a:gd name="connsiteY26" fmla="*/ 386286 h 413882"/>
                <a:gd name="connsiteX27" fmla="*/ 324445 w 491133"/>
                <a:gd name="connsiteY27" fmla="*/ 297656 h 413882"/>
                <a:gd name="connsiteX28" fmla="*/ 312539 w 491133"/>
                <a:gd name="connsiteY28" fmla="*/ 264152 h 413882"/>
                <a:gd name="connsiteX29" fmla="*/ 312539 w 491133"/>
                <a:gd name="connsiteY29" fmla="*/ 183785 h 413882"/>
                <a:gd name="connsiteX30" fmla="*/ 285774 w 491133"/>
                <a:gd name="connsiteY30" fmla="*/ 183785 h 413882"/>
                <a:gd name="connsiteX31" fmla="*/ 285774 w 491133"/>
                <a:gd name="connsiteY31" fmla="*/ 264152 h 413882"/>
                <a:gd name="connsiteX32" fmla="*/ 309586 w 491133"/>
                <a:gd name="connsiteY32" fmla="*/ 319945 h 413882"/>
                <a:gd name="connsiteX33" fmla="*/ 442555 w 491133"/>
                <a:gd name="connsiteY33" fmla="*/ 408575 h 413882"/>
                <a:gd name="connsiteX34" fmla="*/ 485882 w 491133"/>
                <a:gd name="connsiteY34" fmla="*/ 399919 h 413882"/>
                <a:gd name="connsiteX35" fmla="*/ 491133 w 491133"/>
                <a:gd name="connsiteY35" fmla="*/ 382572 h 413882"/>
                <a:gd name="connsiteX36" fmla="*/ 491133 w 491133"/>
                <a:gd name="connsiteY36" fmla="*/ 180642 h 413882"/>
                <a:gd name="connsiteX37" fmla="*/ 374833 w 491133"/>
                <a:gd name="connsiteY37" fmla="*/ 19264 h 41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91133" h="413882">
                  <a:moveTo>
                    <a:pt x="178618" y="183785"/>
                  </a:moveTo>
                  <a:lnTo>
                    <a:pt x="178618" y="264152"/>
                  </a:lnTo>
                  <a:cubicBezTo>
                    <a:pt x="178618" y="282083"/>
                    <a:pt x="175046" y="292108"/>
                    <a:pt x="166711" y="297656"/>
                  </a:cubicBezTo>
                  <a:lnTo>
                    <a:pt x="33742" y="386286"/>
                  </a:lnTo>
                  <a:cubicBezTo>
                    <a:pt x="32392" y="387241"/>
                    <a:pt x="30613" y="387334"/>
                    <a:pt x="29170" y="386525"/>
                  </a:cubicBezTo>
                  <a:cubicBezTo>
                    <a:pt x="27675" y="385784"/>
                    <a:pt x="26745" y="384241"/>
                    <a:pt x="26789" y="382572"/>
                  </a:cubicBezTo>
                  <a:lnTo>
                    <a:pt x="26789" y="180642"/>
                  </a:lnTo>
                  <a:cubicBezTo>
                    <a:pt x="26725" y="118927"/>
                    <a:pt x="66231" y="64121"/>
                    <a:pt x="124801" y="44672"/>
                  </a:cubicBezTo>
                  <a:lnTo>
                    <a:pt x="174141" y="28265"/>
                  </a:lnTo>
                  <a:lnTo>
                    <a:pt x="174141" y="0"/>
                  </a:lnTo>
                  <a:lnTo>
                    <a:pt x="116324" y="19288"/>
                  </a:lnTo>
                  <a:cubicBezTo>
                    <a:pt x="46819" y="42385"/>
                    <a:pt x="-62" y="107423"/>
                    <a:pt x="0" y="180665"/>
                  </a:cubicBezTo>
                  <a:lnTo>
                    <a:pt x="0" y="382595"/>
                  </a:lnTo>
                  <a:cubicBezTo>
                    <a:pt x="-52" y="399824"/>
                    <a:pt x="13873" y="413833"/>
                    <a:pt x="31101" y="413883"/>
                  </a:cubicBezTo>
                  <a:cubicBezTo>
                    <a:pt x="37334" y="413902"/>
                    <a:pt x="43429" y="412054"/>
                    <a:pt x="48601" y="408575"/>
                  </a:cubicBezTo>
                  <a:lnTo>
                    <a:pt x="181570" y="319945"/>
                  </a:lnTo>
                  <a:cubicBezTo>
                    <a:pt x="202930" y="305705"/>
                    <a:pt x="205383" y="281297"/>
                    <a:pt x="205383" y="264152"/>
                  </a:cubicBezTo>
                  <a:lnTo>
                    <a:pt x="205383" y="183785"/>
                  </a:lnTo>
                  <a:lnTo>
                    <a:pt x="178618" y="183785"/>
                  </a:lnTo>
                  <a:close/>
                  <a:moveTo>
                    <a:pt x="374833" y="19264"/>
                  </a:moveTo>
                  <a:lnTo>
                    <a:pt x="317016" y="0"/>
                  </a:lnTo>
                  <a:lnTo>
                    <a:pt x="317016" y="28242"/>
                  </a:lnTo>
                  <a:lnTo>
                    <a:pt x="366355" y="44672"/>
                  </a:lnTo>
                  <a:cubicBezTo>
                    <a:pt x="424927" y="64121"/>
                    <a:pt x="464432" y="118927"/>
                    <a:pt x="464368" y="180642"/>
                  </a:cubicBezTo>
                  <a:lnTo>
                    <a:pt x="464368" y="382572"/>
                  </a:lnTo>
                  <a:cubicBezTo>
                    <a:pt x="464411" y="384241"/>
                    <a:pt x="463482" y="385784"/>
                    <a:pt x="461986" y="386525"/>
                  </a:cubicBezTo>
                  <a:cubicBezTo>
                    <a:pt x="460543" y="387334"/>
                    <a:pt x="458765" y="387241"/>
                    <a:pt x="457414" y="386286"/>
                  </a:cubicBezTo>
                  <a:lnTo>
                    <a:pt x="324445" y="297656"/>
                  </a:lnTo>
                  <a:cubicBezTo>
                    <a:pt x="316111" y="292108"/>
                    <a:pt x="312539" y="282083"/>
                    <a:pt x="312539" y="264152"/>
                  </a:cubicBezTo>
                  <a:lnTo>
                    <a:pt x="312539" y="183785"/>
                  </a:lnTo>
                  <a:lnTo>
                    <a:pt x="285774" y="183785"/>
                  </a:lnTo>
                  <a:lnTo>
                    <a:pt x="285774" y="264152"/>
                  </a:lnTo>
                  <a:cubicBezTo>
                    <a:pt x="285774" y="281297"/>
                    <a:pt x="288227" y="305705"/>
                    <a:pt x="309586" y="319945"/>
                  </a:cubicBezTo>
                  <a:lnTo>
                    <a:pt x="442555" y="408575"/>
                  </a:lnTo>
                  <a:cubicBezTo>
                    <a:pt x="456910" y="418150"/>
                    <a:pt x="476307" y="414273"/>
                    <a:pt x="485882" y="399919"/>
                  </a:cubicBezTo>
                  <a:cubicBezTo>
                    <a:pt x="489309" y="394783"/>
                    <a:pt x="491135" y="388746"/>
                    <a:pt x="491133" y="382572"/>
                  </a:cubicBezTo>
                  <a:lnTo>
                    <a:pt x="491133" y="180642"/>
                  </a:lnTo>
                  <a:cubicBezTo>
                    <a:pt x="491207" y="107403"/>
                    <a:pt x="444332" y="42363"/>
                    <a:pt x="374833" y="19264"/>
                  </a:cubicBezTo>
                  <a:close/>
                </a:path>
              </a:pathLst>
            </a:custGeom>
            <a:grpFill/>
            <a:ln w="2381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6" name="Freeform: Shape 15">
              <a:extLst>
                <a:ext uri="{FF2B5EF4-FFF2-40B4-BE49-F238E27FC236}">
                  <a16:creationId xmlns:a16="http://schemas.microsoft.com/office/drawing/2014/main" id="{33ABA135-FD52-8516-0602-F0FE8C18BB2B}"/>
                </a:ext>
              </a:extLst>
            </p:cNvPr>
            <p:cNvSpPr/>
            <p:nvPr/>
          </p:nvSpPr>
          <p:spPr>
            <a:xfrm>
              <a:off x="8661116" y="3066144"/>
              <a:ext cx="348257" cy="357187"/>
            </a:xfrm>
            <a:custGeom>
              <a:avLst/>
              <a:gdLst>
                <a:gd name="connsiteX0" fmla="*/ 125016 w 348257"/>
                <a:gd name="connsiteY0" fmla="*/ 136779 h 357187"/>
                <a:gd name="connsiteX1" fmla="*/ 84820 w 348257"/>
                <a:gd name="connsiteY1" fmla="*/ 172545 h 357187"/>
                <a:gd name="connsiteX2" fmla="*/ 84820 w 348257"/>
                <a:gd name="connsiteY2" fmla="*/ 208407 h 357187"/>
                <a:gd name="connsiteX3" fmla="*/ 151805 w 348257"/>
                <a:gd name="connsiteY3" fmla="*/ 148804 h 357187"/>
                <a:gd name="connsiteX4" fmla="*/ 151805 w 348257"/>
                <a:gd name="connsiteY4" fmla="*/ 0 h 357187"/>
                <a:gd name="connsiteX5" fmla="*/ 125016 w 348257"/>
                <a:gd name="connsiteY5" fmla="*/ 0 h 357187"/>
                <a:gd name="connsiteX6" fmla="*/ 125016 w 348257"/>
                <a:gd name="connsiteY6" fmla="*/ 136779 h 357187"/>
                <a:gd name="connsiteX7" fmla="*/ 223242 w 348257"/>
                <a:gd name="connsiteY7" fmla="*/ 136779 h 357187"/>
                <a:gd name="connsiteX8" fmla="*/ 223242 w 348257"/>
                <a:gd name="connsiteY8" fmla="*/ 0 h 357187"/>
                <a:gd name="connsiteX9" fmla="*/ 196453 w 348257"/>
                <a:gd name="connsiteY9" fmla="*/ 0 h 357187"/>
                <a:gd name="connsiteX10" fmla="*/ 196453 w 348257"/>
                <a:gd name="connsiteY10" fmla="*/ 148828 h 357187"/>
                <a:gd name="connsiteX11" fmla="*/ 263414 w 348257"/>
                <a:gd name="connsiteY11" fmla="*/ 208431 h 357187"/>
                <a:gd name="connsiteX12" fmla="*/ 263414 w 348257"/>
                <a:gd name="connsiteY12" fmla="*/ 172545 h 357187"/>
                <a:gd name="connsiteX13" fmla="*/ 223242 w 348257"/>
                <a:gd name="connsiteY13" fmla="*/ 136779 h 357187"/>
                <a:gd name="connsiteX14" fmla="*/ 0 w 348257"/>
                <a:gd name="connsiteY14" fmla="*/ 249936 h 357187"/>
                <a:gd name="connsiteX15" fmla="*/ 0 w 348257"/>
                <a:gd name="connsiteY15" fmla="*/ 285655 h 357187"/>
                <a:gd name="connsiteX16" fmla="*/ 26789 w 348257"/>
                <a:gd name="connsiteY16" fmla="*/ 285655 h 357187"/>
                <a:gd name="connsiteX17" fmla="*/ 26789 w 348257"/>
                <a:gd name="connsiteY17" fmla="*/ 249936 h 357187"/>
                <a:gd name="connsiteX18" fmla="*/ 0 w 348257"/>
                <a:gd name="connsiteY18" fmla="*/ 249936 h 357187"/>
                <a:gd name="connsiteX19" fmla="*/ 26789 w 348257"/>
                <a:gd name="connsiteY19" fmla="*/ 321469 h 357187"/>
                <a:gd name="connsiteX20" fmla="*/ 0 w 348257"/>
                <a:gd name="connsiteY20" fmla="*/ 321469 h 357187"/>
                <a:gd name="connsiteX21" fmla="*/ 0 w 348257"/>
                <a:gd name="connsiteY21" fmla="*/ 357188 h 357187"/>
                <a:gd name="connsiteX22" fmla="*/ 26789 w 348257"/>
                <a:gd name="connsiteY22" fmla="*/ 357188 h 357187"/>
                <a:gd name="connsiteX23" fmla="*/ 26789 w 348257"/>
                <a:gd name="connsiteY23" fmla="*/ 321469 h 357187"/>
                <a:gd name="connsiteX24" fmla="*/ 80367 w 348257"/>
                <a:gd name="connsiteY24" fmla="*/ 285750 h 357187"/>
                <a:gd name="connsiteX25" fmla="*/ 53578 w 348257"/>
                <a:gd name="connsiteY25" fmla="*/ 285750 h 357187"/>
                <a:gd name="connsiteX26" fmla="*/ 53578 w 348257"/>
                <a:gd name="connsiteY26" fmla="*/ 321469 h 357187"/>
                <a:gd name="connsiteX27" fmla="*/ 80367 w 348257"/>
                <a:gd name="connsiteY27" fmla="*/ 321469 h 357187"/>
                <a:gd name="connsiteX28" fmla="*/ 80367 w 348257"/>
                <a:gd name="connsiteY28" fmla="*/ 285750 h 357187"/>
                <a:gd name="connsiteX29" fmla="*/ 348258 w 348257"/>
                <a:gd name="connsiteY29" fmla="*/ 249936 h 357187"/>
                <a:gd name="connsiteX30" fmla="*/ 321469 w 348257"/>
                <a:gd name="connsiteY30" fmla="*/ 249936 h 357187"/>
                <a:gd name="connsiteX31" fmla="*/ 321469 w 348257"/>
                <a:gd name="connsiteY31" fmla="*/ 285655 h 357187"/>
                <a:gd name="connsiteX32" fmla="*/ 348258 w 348257"/>
                <a:gd name="connsiteY32" fmla="*/ 285655 h 357187"/>
                <a:gd name="connsiteX33" fmla="*/ 348258 w 348257"/>
                <a:gd name="connsiteY33" fmla="*/ 249936 h 357187"/>
                <a:gd name="connsiteX34" fmla="*/ 348258 w 348257"/>
                <a:gd name="connsiteY34" fmla="*/ 321469 h 357187"/>
                <a:gd name="connsiteX35" fmla="*/ 321469 w 348257"/>
                <a:gd name="connsiteY35" fmla="*/ 321469 h 357187"/>
                <a:gd name="connsiteX36" fmla="*/ 321469 w 348257"/>
                <a:gd name="connsiteY36" fmla="*/ 357188 h 357187"/>
                <a:gd name="connsiteX37" fmla="*/ 348258 w 348257"/>
                <a:gd name="connsiteY37" fmla="*/ 357188 h 357187"/>
                <a:gd name="connsiteX38" fmla="*/ 348258 w 348257"/>
                <a:gd name="connsiteY38" fmla="*/ 321469 h 357187"/>
                <a:gd name="connsiteX39" fmla="*/ 294680 w 348257"/>
                <a:gd name="connsiteY39" fmla="*/ 285750 h 357187"/>
                <a:gd name="connsiteX40" fmla="*/ 267891 w 348257"/>
                <a:gd name="connsiteY40" fmla="*/ 285750 h 357187"/>
                <a:gd name="connsiteX41" fmla="*/ 267891 w 348257"/>
                <a:gd name="connsiteY41" fmla="*/ 321469 h 357187"/>
                <a:gd name="connsiteX42" fmla="*/ 294680 w 348257"/>
                <a:gd name="connsiteY42" fmla="*/ 321469 h 357187"/>
                <a:gd name="connsiteX43" fmla="*/ 294680 w 348257"/>
                <a:gd name="connsiteY43" fmla="*/ 285750 h 35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8257" h="357187">
                  <a:moveTo>
                    <a:pt x="125016" y="136779"/>
                  </a:moveTo>
                  <a:lnTo>
                    <a:pt x="84820" y="172545"/>
                  </a:lnTo>
                  <a:lnTo>
                    <a:pt x="84820" y="208407"/>
                  </a:lnTo>
                  <a:lnTo>
                    <a:pt x="151805" y="148804"/>
                  </a:lnTo>
                  <a:lnTo>
                    <a:pt x="151805" y="0"/>
                  </a:lnTo>
                  <a:lnTo>
                    <a:pt x="125016" y="0"/>
                  </a:lnTo>
                  <a:lnTo>
                    <a:pt x="125016" y="136779"/>
                  </a:lnTo>
                  <a:close/>
                  <a:moveTo>
                    <a:pt x="223242" y="136779"/>
                  </a:moveTo>
                  <a:lnTo>
                    <a:pt x="223242" y="0"/>
                  </a:lnTo>
                  <a:lnTo>
                    <a:pt x="196453" y="0"/>
                  </a:lnTo>
                  <a:lnTo>
                    <a:pt x="196453" y="148828"/>
                  </a:lnTo>
                  <a:lnTo>
                    <a:pt x="263414" y="208431"/>
                  </a:lnTo>
                  <a:lnTo>
                    <a:pt x="263414" y="172545"/>
                  </a:lnTo>
                  <a:lnTo>
                    <a:pt x="223242" y="136779"/>
                  </a:lnTo>
                  <a:close/>
                  <a:moveTo>
                    <a:pt x="0" y="249936"/>
                  </a:moveTo>
                  <a:lnTo>
                    <a:pt x="0" y="285655"/>
                  </a:lnTo>
                  <a:lnTo>
                    <a:pt x="26789" y="285655"/>
                  </a:lnTo>
                  <a:lnTo>
                    <a:pt x="26789" y="249936"/>
                  </a:lnTo>
                  <a:lnTo>
                    <a:pt x="0" y="249936"/>
                  </a:lnTo>
                  <a:close/>
                  <a:moveTo>
                    <a:pt x="26789" y="321469"/>
                  </a:moveTo>
                  <a:lnTo>
                    <a:pt x="0" y="321469"/>
                  </a:lnTo>
                  <a:lnTo>
                    <a:pt x="0" y="357188"/>
                  </a:lnTo>
                  <a:lnTo>
                    <a:pt x="26789" y="357188"/>
                  </a:lnTo>
                  <a:lnTo>
                    <a:pt x="26789" y="321469"/>
                  </a:lnTo>
                  <a:close/>
                  <a:moveTo>
                    <a:pt x="80367" y="285750"/>
                  </a:moveTo>
                  <a:lnTo>
                    <a:pt x="53578" y="285750"/>
                  </a:lnTo>
                  <a:lnTo>
                    <a:pt x="53578" y="321469"/>
                  </a:lnTo>
                  <a:lnTo>
                    <a:pt x="80367" y="321469"/>
                  </a:lnTo>
                  <a:lnTo>
                    <a:pt x="80367" y="285750"/>
                  </a:lnTo>
                  <a:close/>
                  <a:moveTo>
                    <a:pt x="348258" y="249936"/>
                  </a:moveTo>
                  <a:lnTo>
                    <a:pt x="321469" y="249936"/>
                  </a:lnTo>
                  <a:lnTo>
                    <a:pt x="321469" y="285655"/>
                  </a:lnTo>
                  <a:lnTo>
                    <a:pt x="348258" y="285655"/>
                  </a:lnTo>
                  <a:lnTo>
                    <a:pt x="348258" y="249936"/>
                  </a:lnTo>
                  <a:close/>
                  <a:moveTo>
                    <a:pt x="348258" y="321469"/>
                  </a:moveTo>
                  <a:lnTo>
                    <a:pt x="321469" y="321469"/>
                  </a:lnTo>
                  <a:lnTo>
                    <a:pt x="321469" y="357188"/>
                  </a:lnTo>
                  <a:lnTo>
                    <a:pt x="348258" y="357188"/>
                  </a:lnTo>
                  <a:lnTo>
                    <a:pt x="348258" y="321469"/>
                  </a:lnTo>
                  <a:close/>
                  <a:moveTo>
                    <a:pt x="294680" y="285750"/>
                  </a:moveTo>
                  <a:lnTo>
                    <a:pt x="267891" y="285750"/>
                  </a:lnTo>
                  <a:lnTo>
                    <a:pt x="267891" y="321469"/>
                  </a:lnTo>
                  <a:lnTo>
                    <a:pt x="294680" y="321469"/>
                  </a:lnTo>
                  <a:lnTo>
                    <a:pt x="294680" y="285750"/>
                  </a:lnTo>
                  <a:close/>
                </a:path>
              </a:pathLst>
            </a:custGeom>
            <a:grpFill/>
            <a:ln w="2381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fizer Diatype Office"/>
                <a:ea typeface="+mn-ea"/>
                <a:cs typeface="+mn-cs"/>
              </a:endParaRPr>
            </a:p>
          </p:txBody>
        </p:sp>
      </p:grpSp>
      <p:grpSp>
        <p:nvGrpSpPr>
          <p:cNvPr id="19" name="Group 18">
            <a:extLst>
              <a:ext uri="{FF2B5EF4-FFF2-40B4-BE49-F238E27FC236}">
                <a16:creationId xmlns:a16="http://schemas.microsoft.com/office/drawing/2014/main" id="{9162D4EC-F7D2-D3F2-4D5F-864BA070C5FB}"/>
              </a:ext>
            </a:extLst>
          </p:cNvPr>
          <p:cNvGrpSpPr/>
          <p:nvPr/>
        </p:nvGrpSpPr>
        <p:grpSpPr>
          <a:xfrm>
            <a:off x="9513903" y="6320005"/>
            <a:ext cx="1895426" cy="453867"/>
            <a:chOff x="9513903" y="6320005"/>
            <a:chExt cx="1895426" cy="453867"/>
          </a:xfrm>
        </p:grpSpPr>
        <p:pic>
          <p:nvPicPr>
            <p:cNvPr id="23" name="Picture 22" descr="A yellow and blue logo&#10;&#10;Description automatically generated">
              <a:extLst>
                <a:ext uri="{FF2B5EF4-FFF2-40B4-BE49-F238E27FC236}">
                  <a16:creationId xmlns:a16="http://schemas.microsoft.com/office/drawing/2014/main" id="{F696BEC4-6FD4-3AD4-5E29-AD79CB0CCD1A}"/>
                </a:ext>
              </a:extLst>
            </p:cNvPr>
            <p:cNvPicPr>
              <a:picLocks noChangeAspect="1"/>
            </p:cNvPicPr>
            <p:nvPr/>
          </p:nvPicPr>
          <p:blipFill>
            <a:blip r:embed="rId9">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24" name="Picture 23" descr="A black and blue logo&#10;&#10;AI-generated content may be incorrect.">
              <a:extLst>
                <a:ext uri="{FF2B5EF4-FFF2-40B4-BE49-F238E27FC236}">
                  <a16:creationId xmlns:a16="http://schemas.microsoft.com/office/drawing/2014/main" id="{7263E994-0B8B-ADF4-89B1-F46283917C6B}"/>
                </a:ext>
              </a:extLst>
            </p:cNvPr>
            <p:cNvPicPr>
              <a:picLocks noChangeAspect="1"/>
            </p:cNvPicPr>
            <p:nvPr/>
          </p:nvPicPr>
          <p:blipFill>
            <a:blip r:embed="rId10"/>
            <a:stretch>
              <a:fillRect/>
            </a:stretch>
          </p:blipFill>
          <p:spPr>
            <a:xfrm>
              <a:off x="9513903" y="6494969"/>
              <a:ext cx="981021" cy="204067"/>
            </a:xfrm>
            <a:prstGeom prst="rect">
              <a:avLst/>
            </a:prstGeom>
          </p:spPr>
        </p:pic>
      </p:grpSp>
    </p:spTree>
    <p:extLst>
      <p:ext uri="{BB962C8B-B14F-4D97-AF65-F5344CB8AC3E}">
        <p14:creationId xmlns:p14="http://schemas.microsoft.com/office/powerpoint/2010/main" val="11920646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3FE530-334E-D0BA-0534-AA95D59F5B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7673B7-98F1-D2C4-33F0-C689ED73BF03}"/>
              </a:ext>
            </a:extLst>
          </p:cNvPr>
          <p:cNvSpPr>
            <a:spLocks noGrp="1"/>
          </p:cNvSpPr>
          <p:nvPr>
            <p:ph type="title"/>
          </p:nvPr>
        </p:nvSpPr>
        <p:spPr>
          <a:xfrm>
            <a:off x="613152" y="221942"/>
            <a:ext cx="10969218" cy="815898"/>
          </a:xfrm>
        </p:spPr>
        <p:txBody>
          <a:bodyPr anchor="ctr">
            <a:normAutofit/>
          </a:bodyPr>
          <a:lstStyle/>
          <a:p>
            <a:r>
              <a:rPr lang="en-US" sz="3200" dirty="0">
                <a:solidFill>
                  <a:srgbClr val="FFFFFF"/>
                </a:solidFill>
              </a:rPr>
              <a:t>AJANDA</a:t>
            </a:r>
            <a:endParaRPr lang="tr-TR" sz="3200" dirty="0">
              <a:solidFill>
                <a:schemeClr val="bg1"/>
              </a:solidFill>
            </a:endParaRPr>
          </a:p>
        </p:txBody>
      </p:sp>
      <p:sp>
        <p:nvSpPr>
          <p:cNvPr id="3" name="Slide Number Placeholder 2">
            <a:extLst>
              <a:ext uri="{FF2B5EF4-FFF2-40B4-BE49-F238E27FC236}">
                <a16:creationId xmlns:a16="http://schemas.microsoft.com/office/drawing/2014/main" id="{95EB79A1-2040-E14C-48C7-95974BE751D7}"/>
              </a:ext>
            </a:extLst>
          </p:cNvPr>
          <p:cNvSpPr>
            <a:spLocks noGrp="1"/>
          </p:cNvSpPr>
          <p:nvPr>
            <p:ph type="sldNum" sz="quarter" idx="4"/>
          </p:nvPr>
        </p:nvSpPr>
        <p:spPr/>
        <p:txBody>
          <a:bodyPr/>
          <a:lstStyle/>
          <a:p>
            <a:fld id="{2B39012A-6F33-204B-8224-A57BEFB0AAD0}" type="slidenum">
              <a:rPr lang="en-US" smtClean="0"/>
              <a:pPr/>
              <a:t>12</a:t>
            </a:fld>
            <a:endParaRPr lang="en-US"/>
          </a:p>
        </p:txBody>
      </p:sp>
      <p:pic>
        <p:nvPicPr>
          <p:cNvPr id="21" name="Picture 20" descr="A black and blue logo&#10;&#10;AI-generated content may be incorrect.">
            <a:extLst>
              <a:ext uri="{FF2B5EF4-FFF2-40B4-BE49-F238E27FC236}">
                <a16:creationId xmlns:a16="http://schemas.microsoft.com/office/drawing/2014/main" id="{B6B35180-FF63-AA91-868A-0B513883B630}"/>
              </a:ext>
            </a:extLst>
          </p:cNvPr>
          <p:cNvPicPr>
            <a:picLocks noChangeAspect="1"/>
          </p:cNvPicPr>
          <p:nvPr/>
        </p:nvPicPr>
        <p:blipFill>
          <a:blip r:embed="rId2"/>
          <a:stretch>
            <a:fillRect/>
          </a:stretch>
        </p:blipFill>
        <p:spPr>
          <a:xfrm>
            <a:off x="10371153" y="6494969"/>
            <a:ext cx="981021" cy="204067"/>
          </a:xfrm>
          <a:prstGeom prst="rect">
            <a:avLst/>
          </a:prstGeom>
        </p:spPr>
      </p:pic>
      <p:grpSp>
        <p:nvGrpSpPr>
          <p:cNvPr id="39" name="Group 38">
            <a:extLst>
              <a:ext uri="{FF2B5EF4-FFF2-40B4-BE49-F238E27FC236}">
                <a16:creationId xmlns:a16="http://schemas.microsoft.com/office/drawing/2014/main" id="{B733445B-0196-EC02-B955-BF6CFCCDA9B7}"/>
              </a:ext>
            </a:extLst>
          </p:cNvPr>
          <p:cNvGrpSpPr/>
          <p:nvPr/>
        </p:nvGrpSpPr>
        <p:grpSpPr>
          <a:xfrm>
            <a:off x="3305060" y="1496242"/>
            <a:ext cx="8681292" cy="773339"/>
            <a:chOff x="3305060" y="1496242"/>
            <a:chExt cx="8681292" cy="773339"/>
          </a:xfrm>
        </p:grpSpPr>
        <p:grpSp>
          <p:nvGrpSpPr>
            <p:cNvPr id="13" name="Google Shape;674;p30">
              <a:extLst>
                <a:ext uri="{FF2B5EF4-FFF2-40B4-BE49-F238E27FC236}">
                  <a16:creationId xmlns:a16="http://schemas.microsoft.com/office/drawing/2014/main" id="{1AF40532-29AA-DA7B-BFF9-F308D8404BDB}"/>
                </a:ext>
              </a:extLst>
            </p:cNvPr>
            <p:cNvGrpSpPr/>
            <p:nvPr/>
          </p:nvGrpSpPr>
          <p:grpSpPr>
            <a:xfrm>
              <a:off x="3305060" y="1496242"/>
              <a:ext cx="8681292" cy="773339"/>
              <a:chOff x="485966" y="2196110"/>
              <a:chExt cx="8681292" cy="773339"/>
            </a:xfrm>
          </p:grpSpPr>
          <p:sp>
            <p:nvSpPr>
              <p:cNvPr id="14" name="Google Shape;675;p30">
                <a:extLst>
                  <a:ext uri="{FF2B5EF4-FFF2-40B4-BE49-F238E27FC236}">
                    <a16:creationId xmlns:a16="http://schemas.microsoft.com/office/drawing/2014/main" id="{B06467B0-9369-D344-88CC-61B559542A17}"/>
                  </a:ext>
                </a:extLst>
              </p:cNvPr>
              <p:cNvSpPr/>
              <p:nvPr/>
            </p:nvSpPr>
            <p:spPr>
              <a:xfrm>
                <a:off x="875153" y="2196237"/>
                <a:ext cx="8292105" cy="773085"/>
              </a:xfrm>
              <a:prstGeom prst="roundRect">
                <a:avLst/>
              </a:prstGeom>
              <a:solidFill>
                <a:schemeClr val="bg1"/>
              </a:solidFill>
              <a:ln w="19050">
                <a:solidFill>
                  <a:schemeClr val="accent2"/>
                </a:solid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15" name="Google Shape;678;p30">
                <a:extLst>
                  <a:ext uri="{FF2B5EF4-FFF2-40B4-BE49-F238E27FC236}">
                    <a16:creationId xmlns:a16="http://schemas.microsoft.com/office/drawing/2014/main" id="{F92AF65F-179E-7A76-4F90-814F8E37F2CF}"/>
                  </a:ext>
                </a:extLst>
              </p:cNvPr>
              <p:cNvSpPr/>
              <p:nvPr/>
            </p:nvSpPr>
            <p:spPr>
              <a:xfrm>
                <a:off x="485966" y="2196110"/>
                <a:ext cx="773085" cy="773339"/>
              </a:xfrm>
              <a:custGeom>
                <a:avLst/>
                <a:gdLst/>
                <a:ahLst/>
                <a:cxnLst/>
                <a:rect l="l" t="t" r="r" b="b"/>
                <a:pathLst>
                  <a:path w="36505" h="36517" extrusionOk="0">
                    <a:moveTo>
                      <a:pt x="18253" y="0"/>
                    </a:moveTo>
                    <a:cubicBezTo>
                      <a:pt x="8168" y="0"/>
                      <a:pt x="1" y="8180"/>
                      <a:pt x="1" y="18253"/>
                    </a:cubicBezTo>
                    <a:cubicBezTo>
                      <a:pt x="1" y="28337"/>
                      <a:pt x="8168" y="36517"/>
                      <a:pt x="18253" y="36517"/>
                    </a:cubicBezTo>
                    <a:cubicBezTo>
                      <a:pt x="28326" y="36517"/>
                      <a:pt x="36505" y="28337"/>
                      <a:pt x="36505" y="18253"/>
                    </a:cubicBezTo>
                    <a:cubicBezTo>
                      <a:pt x="36505" y="8180"/>
                      <a:pt x="28326" y="0"/>
                      <a:pt x="18253" y="0"/>
                    </a:cubicBez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16" name="Google Shape;679;p30">
                <a:extLst>
                  <a:ext uri="{FF2B5EF4-FFF2-40B4-BE49-F238E27FC236}">
                    <a16:creationId xmlns:a16="http://schemas.microsoft.com/office/drawing/2014/main" id="{BB0440D2-45FB-DD56-489B-C469521C202C}"/>
                  </a:ext>
                </a:extLst>
              </p:cNvPr>
              <p:cNvSpPr/>
              <p:nvPr/>
            </p:nvSpPr>
            <p:spPr>
              <a:xfrm>
                <a:off x="547993" y="2258392"/>
                <a:ext cx="648794" cy="648773"/>
              </a:xfrm>
              <a:custGeom>
                <a:avLst/>
                <a:gdLst/>
                <a:ahLst/>
                <a:cxnLst/>
                <a:rect l="l" t="t" r="r" b="b"/>
                <a:pathLst>
                  <a:path w="30636" h="30635" extrusionOk="0">
                    <a:moveTo>
                      <a:pt x="15324" y="0"/>
                    </a:moveTo>
                    <a:cubicBezTo>
                      <a:pt x="6858" y="0"/>
                      <a:pt x="0" y="6858"/>
                      <a:pt x="0" y="15312"/>
                    </a:cubicBezTo>
                    <a:cubicBezTo>
                      <a:pt x="0" y="23777"/>
                      <a:pt x="6858" y="30635"/>
                      <a:pt x="15324" y="30635"/>
                    </a:cubicBezTo>
                    <a:cubicBezTo>
                      <a:pt x="23777" y="30635"/>
                      <a:pt x="30635" y="23777"/>
                      <a:pt x="30635" y="15312"/>
                    </a:cubicBezTo>
                    <a:cubicBezTo>
                      <a:pt x="30635" y="6858"/>
                      <a:pt x="23777" y="0"/>
                      <a:pt x="15324" y="0"/>
                    </a:cubicBezTo>
                    <a:close/>
                  </a:path>
                </a:pathLst>
              </a:cu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endParaRPr sz="1600"/>
              </a:p>
            </p:txBody>
          </p:sp>
        </p:grpSp>
        <p:sp>
          <p:nvSpPr>
            <p:cNvPr id="17" name="TextBox 16">
              <a:extLst>
                <a:ext uri="{FF2B5EF4-FFF2-40B4-BE49-F238E27FC236}">
                  <a16:creationId xmlns:a16="http://schemas.microsoft.com/office/drawing/2014/main" id="{6A3478D8-3D1D-BB01-A76E-9576D7570CBD}"/>
                </a:ext>
              </a:extLst>
            </p:cNvPr>
            <p:cNvSpPr txBox="1"/>
            <p:nvPr/>
          </p:nvSpPr>
          <p:spPr>
            <a:xfrm>
              <a:off x="4263514" y="1555899"/>
              <a:ext cx="7194028" cy="654025"/>
            </a:xfrm>
            <a:prstGeom prst="rect">
              <a:avLst/>
            </a:prstGeom>
            <a:noFill/>
          </p:spPr>
          <p:txBody>
            <a:bodyPr wrap="square">
              <a:spAutoFit/>
            </a:bodyPr>
            <a:lstStyle/>
            <a:p>
              <a:pPr marL="0" marR="0" lvl="1" indent="0" algn="l" defTabSz="914400" rtl="0" eaLnBrk="1" fontAlgn="auto" latinLnBrk="0" hangingPunct="1">
                <a:lnSpc>
                  <a:spcPct val="90000"/>
                </a:lnSpc>
                <a:spcBef>
                  <a:spcPts val="0"/>
                </a:spcBef>
                <a:spcAft>
                  <a:spcPts val="0"/>
                </a:spcAft>
                <a:buClrTx/>
                <a:buSzTx/>
                <a:buFontTx/>
                <a:buNone/>
                <a:tabLst/>
                <a:defRPr/>
              </a:pPr>
              <a:r>
                <a:rPr kumimoji="0" lang="tr-TR" sz="2000" b="0" i="0" u="none" strike="noStrike" kern="1200" cap="none" spc="0" normalizeH="0" baseline="0" noProof="0" dirty="0">
                  <a:ln>
                    <a:noFill/>
                  </a:ln>
                  <a:solidFill>
                    <a:srgbClr val="000000"/>
                  </a:solidFill>
                  <a:effectLst/>
                  <a:uLnTx/>
                  <a:uFillTx/>
                  <a:ea typeface="+mn-ea"/>
                  <a:cs typeface="+mn-cs"/>
                </a:rPr>
                <a:t>Yaygın Solunum Yolu Enfeksiyonlarının Epidemiyolojisi ve Klinik Özellikleri</a:t>
              </a:r>
            </a:p>
          </p:txBody>
        </p:sp>
        <p:sp>
          <p:nvSpPr>
            <p:cNvPr id="30" name="TextBox 29">
              <a:extLst>
                <a:ext uri="{FF2B5EF4-FFF2-40B4-BE49-F238E27FC236}">
                  <a16:creationId xmlns:a16="http://schemas.microsoft.com/office/drawing/2014/main" id="{CE840E76-99D4-F9A7-F7A9-4AB86898E575}"/>
                </a:ext>
              </a:extLst>
            </p:cNvPr>
            <p:cNvSpPr txBox="1"/>
            <p:nvPr/>
          </p:nvSpPr>
          <p:spPr>
            <a:xfrm>
              <a:off x="3403531" y="1559746"/>
              <a:ext cx="571565" cy="646331"/>
            </a:xfrm>
            <a:prstGeom prst="rect">
              <a:avLst/>
            </a:prstGeom>
            <a:noFill/>
          </p:spPr>
          <p:txBody>
            <a:bodyPr wrap="square" rtlCol="0" anchor="ctr">
              <a:spAutoFit/>
            </a:bodyPr>
            <a:lstStyle/>
            <a:p>
              <a:pPr algn="ctr"/>
              <a:r>
                <a:rPr lang="tr-TR"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rPr>
                <a:t>1</a:t>
              </a:r>
              <a:endParaRPr lang="en-GB"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endParaRPr>
            </a:p>
          </p:txBody>
        </p:sp>
      </p:grpSp>
      <p:grpSp>
        <p:nvGrpSpPr>
          <p:cNvPr id="40" name="Group 39">
            <a:extLst>
              <a:ext uri="{FF2B5EF4-FFF2-40B4-BE49-F238E27FC236}">
                <a16:creationId xmlns:a16="http://schemas.microsoft.com/office/drawing/2014/main" id="{ED74CBAA-C124-B92A-C8AE-98AAF946A91A}"/>
              </a:ext>
            </a:extLst>
          </p:cNvPr>
          <p:cNvGrpSpPr/>
          <p:nvPr/>
        </p:nvGrpSpPr>
        <p:grpSpPr>
          <a:xfrm>
            <a:off x="3305060" y="2593624"/>
            <a:ext cx="8681292" cy="773339"/>
            <a:chOff x="3367087" y="2608884"/>
            <a:chExt cx="8681292" cy="773339"/>
          </a:xfrm>
        </p:grpSpPr>
        <p:grpSp>
          <p:nvGrpSpPr>
            <p:cNvPr id="18" name="Google Shape;674;p30">
              <a:extLst>
                <a:ext uri="{FF2B5EF4-FFF2-40B4-BE49-F238E27FC236}">
                  <a16:creationId xmlns:a16="http://schemas.microsoft.com/office/drawing/2014/main" id="{0467A442-B6CC-77B9-7249-07BC0757B97D}"/>
                </a:ext>
              </a:extLst>
            </p:cNvPr>
            <p:cNvGrpSpPr/>
            <p:nvPr/>
          </p:nvGrpSpPr>
          <p:grpSpPr>
            <a:xfrm>
              <a:off x="3367087" y="2608884"/>
              <a:ext cx="8681292" cy="773339"/>
              <a:chOff x="485966" y="2196110"/>
              <a:chExt cx="8681292" cy="773339"/>
            </a:xfrm>
          </p:grpSpPr>
          <p:sp>
            <p:nvSpPr>
              <p:cNvPr id="19" name="Google Shape;675;p30">
                <a:extLst>
                  <a:ext uri="{FF2B5EF4-FFF2-40B4-BE49-F238E27FC236}">
                    <a16:creationId xmlns:a16="http://schemas.microsoft.com/office/drawing/2014/main" id="{9CB05FD6-F51D-62FF-9A90-52BAD83B07C9}"/>
                  </a:ext>
                </a:extLst>
              </p:cNvPr>
              <p:cNvSpPr/>
              <p:nvPr/>
            </p:nvSpPr>
            <p:spPr>
              <a:xfrm>
                <a:off x="875153" y="2196237"/>
                <a:ext cx="8292105" cy="773085"/>
              </a:xfrm>
              <a:prstGeom prst="roundRect">
                <a:avLst/>
              </a:prstGeom>
              <a:solidFill>
                <a:schemeClr val="bg1"/>
              </a:solidFill>
              <a:ln w="19050">
                <a:solidFill>
                  <a:schemeClr val="accent2"/>
                </a:solid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22" name="Google Shape;678;p30">
                <a:extLst>
                  <a:ext uri="{FF2B5EF4-FFF2-40B4-BE49-F238E27FC236}">
                    <a16:creationId xmlns:a16="http://schemas.microsoft.com/office/drawing/2014/main" id="{77A2B515-54C7-BA22-A35A-A9A6B9D14E63}"/>
                  </a:ext>
                </a:extLst>
              </p:cNvPr>
              <p:cNvSpPr/>
              <p:nvPr/>
            </p:nvSpPr>
            <p:spPr>
              <a:xfrm>
                <a:off x="485966" y="2196110"/>
                <a:ext cx="773085" cy="773339"/>
              </a:xfrm>
              <a:custGeom>
                <a:avLst/>
                <a:gdLst/>
                <a:ahLst/>
                <a:cxnLst/>
                <a:rect l="l" t="t" r="r" b="b"/>
                <a:pathLst>
                  <a:path w="36505" h="36517" extrusionOk="0">
                    <a:moveTo>
                      <a:pt x="18253" y="0"/>
                    </a:moveTo>
                    <a:cubicBezTo>
                      <a:pt x="8168" y="0"/>
                      <a:pt x="1" y="8180"/>
                      <a:pt x="1" y="18253"/>
                    </a:cubicBezTo>
                    <a:cubicBezTo>
                      <a:pt x="1" y="28337"/>
                      <a:pt x="8168" y="36517"/>
                      <a:pt x="18253" y="36517"/>
                    </a:cubicBezTo>
                    <a:cubicBezTo>
                      <a:pt x="28326" y="36517"/>
                      <a:pt x="36505" y="28337"/>
                      <a:pt x="36505" y="18253"/>
                    </a:cubicBezTo>
                    <a:cubicBezTo>
                      <a:pt x="36505" y="8180"/>
                      <a:pt x="28326" y="0"/>
                      <a:pt x="18253" y="0"/>
                    </a:cubicBez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23" name="Google Shape;679;p30">
                <a:extLst>
                  <a:ext uri="{FF2B5EF4-FFF2-40B4-BE49-F238E27FC236}">
                    <a16:creationId xmlns:a16="http://schemas.microsoft.com/office/drawing/2014/main" id="{51A5A21E-F5D5-D61E-FFE0-55F86D853B56}"/>
                  </a:ext>
                </a:extLst>
              </p:cNvPr>
              <p:cNvSpPr/>
              <p:nvPr/>
            </p:nvSpPr>
            <p:spPr>
              <a:xfrm>
                <a:off x="547993" y="2258392"/>
                <a:ext cx="648794" cy="648773"/>
              </a:xfrm>
              <a:custGeom>
                <a:avLst/>
                <a:gdLst/>
                <a:ahLst/>
                <a:cxnLst/>
                <a:rect l="l" t="t" r="r" b="b"/>
                <a:pathLst>
                  <a:path w="30636" h="30635" extrusionOk="0">
                    <a:moveTo>
                      <a:pt x="15324" y="0"/>
                    </a:moveTo>
                    <a:cubicBezTo>
                      <a:pt x="6858" y="0"/>
                      <a:pt x="0" y="6858"/>
                      <a:pt x="0" y="15312"/>
                    </a:cubicBezTo>
                    <a:cubicBezTo>
                      <a:pt x="0" y="23777"/>
                      <a:pt x="6858" y="30635"/>
                      <a:pt x="15324" y="30635"/>
                    </a:cubicBezTo>
                    <a:cubicBezTo>
                      <a:pt x="23777" y="30635"/>
                      <a:pt x="30635" y="23777"/>
                      <a:pt x="30635" y="15312"/>
                    </a:cubicBezTo>
                    <a:cubicBezTo>
                      <a:pt x="30635" y="6858"/>
                      <a:pt x="23777" y="0"/>
                      <a:pt x="15324" y="0"/>
                    </a:cubicBezTo>
                    <a:close/>
                  </a:path>
                </a:pathLst>
              </a:cu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endParaRPr sz="1600"/>
              </a:p>
            </p:txBody>
          </p:sp>
        </p:grpSp>
        <p:sp>
          <p:nvSpPr>
            <p:cNvPr id="24" name="TextBox 23">
              <a:extLst>
                <a:ext uri="{FF2B5EF4-FFF2-40B4-BE49-F238E27FC236}">
                  <a16:creationId xmlns:a16="http://schemas.microsoft.com/office/drawing/2014/main" id="{8A263ED4-8E21-FFFC-A758-831E80FB1DE9}"/>
                </a:ext>
              </a:extLst>
            </p:cNvPr>
            <p:cNvSpPr txBox="1"/>
            <p:nvPr/>
          </p:nvSpPr>
          <p:spPr>
            <a:xfrm>
              <a:off x="4325541" y="2668541"/>
              <a:ext cx="7722838" cy="654025"/>
            </a:xfrm>
            <a:prstGeom prst="rect">
              <a:avLst/>
            </a:prstGeom>
            <a:noFill/>
          </p:spPr>
          <p:txBody>
            <a:bodyPr wrap="square">
              <a:spAutoFit/>
            </a:bodyPr>
            <a:lstStyle/>
            <a:p>
              <a:pPr marL="0" lvl="1" defTabSz="914400">
                <a:lnSpc>
                  <a:spcPct val="90000"/>
                </a:lnSpc>
                <a:defRPr/>
              </a:pPr>
              <a:r>
                <a:rPr kumimoji="0" lang="tr-TR" sz="2000" b="1" i="0" u="none" strike="noStrike" kern="1200" cap="none" spc="0" normalizeH="0" baseline="0" noProof="0" dirty="0">
                  <a:ln>
                    <a:noFill/>
                  </a:ln>
                  <a:effectLst/>
                  <a:uLnTx/>
                  <a:uFillTx/>
                  <a:ea typeface="+mn-ea"/>
                  <a:cs typeface="+mn-cs"/>
                </a:rPr>
                <a:t>RSV’ye Genel Bakış, Klinik Özellikleri ve </a:t>
              </a:r>
              <a:r>
                <a:rPr kumimoji="0" lang="en-US" sz="2000" b="1" i="0" u="none" strike="noStrike" kern="1200" cap="none" spc="0" normalizeH="0" baseline="0" noProof="0" dirty="0" err="1">
                  <a:ln>
                    <a:noFill/>
                  </a:ln>
                  <a:effectLst/>
                  <a:uLnTx/>
                  <a:uFillTx/>
                  <a:ea typeface="+mn-ea"/>
                  <a:cs typeface="+mn-cs"/>
                </a:rPr>
                <a:t>İleri</a:t>
              </a:r>
              <a:r>
                <a:rPr kumimoji="0" lang="en-US" sz="2000" b="1" i="0" u="none" strike="noStrike" kern="1200" cap="none" spc="0" normalizeH="0" baseline="0" noProof="0" dirty="0">
                  <a:ln>
                    <a:noFill/>
                  </a:ln>
                  <a:effectLst/>
                  <a:uLnTx/>
                  <a:uFillTx/>
                  <a:ea typeface="+mn-ea"/>
                  <a:cs typeface="+mn-cs"/>
                </a:rPr>
                <a:t> </a:t>
              </a:r>
              <a:r>
                <a:rPr kumimoji="0" lang="en-US" sz="2000" b="1" i="0" u="none" strike="noStrike" kern="1200" cap="none" spc="0" normalizeH="0" baseline="0" noProof="0" dirty="0" err="1">
                  <a:ln>
                    <a:noFill/>
                  </a:ln>
                  <a:effectLst/>
                  <a:uLnTx/>
                  <a:uFillTx/>
                  <a:ea typeface="+mn-ea"/>
                  <a:cs typeface="+mn-cs"/>
                </a:rPr>
                <a:t>Yaş</a:t>
              </a:r>
              <a:r>
                <a:rPr kumimoji="0" lang="en-US" sz="2000" b="1" i="0" u="none" strike="noStrike" kern="1200" cap="none" spc="0" normalizeH="0" baseline="0" noProof="0" dirty="0">
                  <a:ln>
                    <a:noFill/>
                  </a:ln>
                  <a:effectLst/>
                  <a:uLnTx/>
                  <a:uFillTx/>
                  <a:ea typeface="+mn-ea"/>
                  <a:cs typeface="+mn-cs"/>
                </a:rPr>
                <a:t> </a:t>
              </a:r>
              <a:r>
                <a:rPr kumimoji="0" lang="en-US" sz="2000" b="1" i="0" u="none" strike="noStrike" kern="1200" cap="none" spc="0" normalizeH="0" baseline="0" noProof="0" dirty="0" err="1">
                  <a:ln>
                    <a:noFill/>
                  </a:ln>
                  <a:effectLst/>
                  <a:uLnTx/>
                  <a:uFillTx/>
                  <a:ea typeface="+mn-ea"/>
                  <a:cs typeface="+mn-cs"/>
                </a:rPr>
                <a:t>Erişkinlerde</a:t>
              </a:r>
              <a:r>
                <a:rPr kumimoji="0" lang="en-US" sz="2000" b="1" i="0" u="none" strike="noStrike" kern="1200" cap="none" spc="0" normalizeH="0" baseline="0" noProof="0" dirty="0">
                  <a:ln>
                    <a:noFill/>
                  </a:ln>
                  <a:effectLst/>
                  <a:uLnTx/>
                  <a:uFillTx/>
                  <a:ea typeface="+mn-ea"/>
                  <a:cs typeface="+mn-cs"/>
                </a:rPr>
                <a:t> </a:t>
              </a:r>
              <a:r>
                <a:rPr kumimoji="0" lang="tr-TR" sz="2000" b="1" i="0" u="none" strike="noStrike" kern="1200" cap="none" spc="0" normalizeH="0" baseline="0" noProof="0" dirty="0">
                  <a:ln>
                    <a:noFill/>
                  </a:ln>
                  <a:effectLst/>
                  <a:uLnTx/>
                  <a:uFillTx/>
                  <a:ea typeface="+mn-ea"/>
                  <a:cs typeface="+mn-cs"/>
                </a:rPr>
                <a:t>Hastalık Yükü</a:t>
              </a:r>
              <a:endParaRPr kumimoji="0" lang="en-US" sz="2000" b="1" i="0" u="none" strike="noStrike" kern="1200" cap="none" spc="0" normalizeH="0" baseline="0" noProof="0" dirty="0">
                <a:ln>
                  <a:noFill/>
                </a:ln>
                <a:effectLst/>
                <a:uLnTx/>
                <a:uFillTx/>
                <a:ea typeface="+mn-ea"/>
                <a:cs typeface="+mn-cs"/>
              </a:endParaRPr>
            </a:p>
          </p:txBody>
        </p:sp>
        <p:sp>
          <p:nvSpPr>
            <p:cNvPr id="31" name="TextBox 30">
              <a:extLst>
                <a:ext uri="{FF2B5EF4-FFF2-40B4-BE49-F238E27FC236}">
                  <a16:creationId xmlns:a16="http://schemas.microsoft.com/office/drawing/2014/main" id="{F5AE0FF7-1B0F-E327-B8E7-5C7BB06F3DF2}"/>
                </a:ext>
              </a:extLst>
            </p:cNvPr>
            <p:cNvSpPr txBox="1"/>
            <p:nvPr/>
          </p:nvSpPr>
          <p:spPr>
            <a:xfrm>
              <a:off x="3465848" y="2672388"/>
              <a:ext cx="571565" cy="646331"/>
            </a:xfrm>
            <a:prstGeom prst="rect">
              <a:avLst/>
            </a:prstGeom>
            <a:noFill/>
          </p:spPr>
          <p:txBody>
            <a:bodyPr wrap="square" rtlCol="0" anchor="ctr">
              <a:spAutoFit/>
            </a:bodyPr>
            <a:lstStyle/>
            <a:p>
              <a:pPr algn="ctr"/>
              <a:r>
                <a:rPr lang="tr-TR"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rPr>
                <a:t>2</a:t>
              </a:r>
              <a:endParaRPr lang="en-GB"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endParaRPr>
            </a:p>
          </p:txBody>
        </p:sp>
      </p:grpSp>
      <p:grpSp>
        <p:nvGrpSpPr>
          <p:cNvPr id="41" name="Group 40">
            <a:extLst>
              <a:ext uri="{FF2B5EF4-FFF2-40B4-BE49-F238E27FC236}">
                <a16:creationId xmlns:a16="http://schemas.microsoft.com/office/drawing/2014/main" id="{FF28F2F4-5FC2-4ED5-A004-021373489B75}"/>
              </a:ext>
            </a:extLst>
          </p:cNvPr>
          <p:cNvGrpSpPr/>
          <p:nvPr/>
        </p:nvGrpSpPr>
        <p:grpSpPr>
          <a:xfrm>
            <a:off x="3305060" y="3691006"/>
            <a:ext cx="8681292" cy="773339"/>
            <a:chOff x="3367087" y="3690453"/>
            <a:chExt cx="8681292" cy="773339"/>
          </a:xfrm>
        </p:grpSpPr>
        <p:grpSp>
          <p:nvGrpSpPr>
            <p:cNvPr id="25" name="Google Shape;674;p30">
              <a:extLst>
                <a:ext uri="{FF2B5EF4-FFF2-40B4-BE49-F238E27FC236}">
                  <a16:creationId xmlns:a16="http://schemas.microsoft.com/office/drawing/2014/main" id="{10E095FE-BFD5-3507-8177-DFF21B86DB79}"/>
                </a:ext>
              </a:extLst>
            </p:cNvPr>
            <p:cNvGrpSpPr/>
            <p:nvPr/>
          </p:nvGrpSpPr>
          <p:grpSpPr>
            <a:xfrm>
              <a:off x="3367087" y="3690453"/>
              <a:ext cx="8681292" cy="773339"/>
              <a:chOff x="485966" y="2196110"/>
              <a:chExt cx="8681292" cy="773339"/>
            </a:xfrm>
          </p:grpSpPr>
          <p:sp>
            <p:nvSpPr>
              <p:cNvPr id="26" name="Google Shape;675;p30">
                <a:extLst>
                  <a:ext uri="{FF2B5EF4-FFF2-40B4-BE49-F238E27FC236}">
                    <a16:creationId xmlns:a16="http://schemas.microsoft.com/office/drawing/2014/main" id="{36852BE1-F1E2-2E51-4134-C52A639A303D}"/>
                  </a:ext>
                </a:extLst>
              </p:cNvPr>
              <p:cNvSpPr/>
              <p:nvPr/>
            </p:nvSpPr>
            <p:spPr>
              <a:xfrm>
                <a:off x="875153" y="2196237"/>
                <a:ext cx="8292105" cy="773085"/>
              </a:xfrm>
              <a:prstGeom prst="roundRect">
                <a:avLst/>
              </a:prstGeom>
              <a:solidFill>
                <a:schemeClr val="bg1"/>
              </a:solidFill>
              <a:ln w="19050">
                <a:solidFill>
                  <a:schemeClr val="accent2"/>
                </a:solid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27" name="Google Shape;678;p30">
                <a:extLst>
                  <a:ext uri="{FF2B5EF4-FFF2-40B4-BE49-F238E27FC236}">
                    <a16:creationId xmlns:a16="http://schemas.microsoft.com/office/drawing/2014/main" id="{FD4F3D32-F0CD-3D23-F3AD-69122ED3917E}"/>
                  </a:ext>
                </a:extLst>
              </p:cNvPr>
              <p:cNvSpPr/>
              <p:nvPr/>
            </p:nvSpPr>
            <p:spPr>
              <a:xfrm>
                <a:off x="485966" y="2196110"/>
                <a:ext cx="773085" cy="773339"/>
              </a:xfrm>
              <a:custGeom>
                <a:avLst/>
                <a:gdLst/>
                <a:ahLst/>
                <a:cxnLst/>
                <a:rect l="l" t="t" r="r" b="b"/>
                <a:pathLst>
                  <a:path w="36505" h="36517" extrusionOk="0">
                    <a:moveTo>
                      <a:pt x="18253" y="0"/>
                    </a:moveTo>
                    <a:cubicBezTo>
                      <a:pt x="8168" y="0"/>
                      <a:pt x="1" y="8180"/>
                      <a:pt x="1" y="18253"/>
                    </a:cubicBezTo>
                    <a:cubicBezTo>
                      <a:pt x="1" y="28337"/>
                      <a:pt x="8168" y="36517"/>
                      <a:pt x="18253" y="36517"/>
                    </a:cubicBezTo>
                    <a:cubicBezTo>
                      <a:pt x="28326" y="36517"/>
                      <a:pt x="36505" y="28337"/>
                      <a:pt x="36505" y="18253"/>
                    </a:cubicBezTo>
                    <a:cubicBezTo>
                      <a:pt x="36505" y="8180"/>
                      <a:pt x="28326" y="0"/>
                      <a:pt x="18253" y="0"/>
                    </a:cubicBez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28" name="Google Shape;679;p30">
                <a:extLst>
                  <a:ext uri="{FF2B5EF4-FFF2-40B4-BE49-F238E27FC236}">
                    <a16:creationId xmlns:a16="http://schemas.microsoft.com/office/drawing/2014/main" id="{755961A0-780D-C609-1120-E621BB104197}"/>
                  </a:ext>
                </a:extLst>
              </p:cNvPr>
              <p:cNvSpPr/>
              <p:nvPr/>
            </p:nvSpPr>
            <p:spPr>
              <a:xfrm>
                <a:off x="547993" y="2258392"/>
                <a:ext cx="648794" cy="648773"/>
              </a:xfrm>
              <a:custGeom>
                <a:avLst/>
                <a:gdLst/>
                <a:ahLst/>
                <a:cxnLst/>
                <a:rect l="l" t="t" r="r" b="b"/>
                <a:pathLst>
                  <a:path w="30636" h="30635" extrusionOk="0">
                    <a:moveTo>
                      <a:pt x="15324" y="0"/>
                    </a:moveTo>
                    <a:cubicBezTo>
                      <a:pt x="6858" y="0"/>
                      <a:pt x="0" y="6858"/>
                      <a:pt x="0" y="15312"/>
                    </a:cubicBezTo>
                    <a:cubicBezTo>
                      <a:pt x="0" y="23777"/>
                      <a:pt x="6858" y="30635"/>
                      <a:pt x="15324" y="30635"/>
                    </a:cubicBezTo>
                    <a:cubicBezTo>
                      <a:pt x="23777" y="30635"/>
                      <a:pt x="30635" y="23777"/>
                      <a:pt x="30635" y="15312"/>
                    </a:cubicBezTo>
                    <a:cubicBezTo>
                      <a:pt x="30635" y="6858"/>
                      <a:pt x="23777" y="0"/>
                      <a:pt x="15324" y="0"/>
                    </a:cubicBezTo>
                    <a:close/>
                  </a:path>
                </a:pathLst>
              </a:cu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endParaRPr sz="1600"/>
              </a:p>
            </p:txBody>
          </p:sp>
        </p:grpSp>
        <p:sp>
          <p:nvSpPr>
            <p:cNvPr id="29" name="TextBox 28">
              <a:extLst>
                <a:ext uri="{FF2B5EF4-FFF2-40B4-BE49-F238E27FC236}">
                  <a16:creationId xmlns:a16="http://schemas.microsoft.com/office/drawing/2014/main" id="{4044B949-A38B-C0D6-15BF-1E4B9AAE4762}"/>
                </a:ext>
              </a:extLst>
            </p:cNvPr>
            <p:cNvSpPr txBox="1"/>
            <p:nvPr/>
          </p:nvSpPr>
          <p:spPr>
            <a:xfrm>
              <a:off x="4325541" y="3888609"/>
              <a:ext cx="7194028" cy="377026"/>
            </a:xfrm>
            <a:prstGeom prst="rect">
              <a:avLst/>
            </a:prstGeom>
            <a:noFill/>
          </p:spPr>
          <p:txBody>
            <a:bodyPr wrap="square">
              <a:spAutoFit/>
            </a:bodyPr>
            <a:lstStyle/>
            <a:p>
              <a:pPr marL="0" lvl="1" defTabSz="914400">
                <a:lnSpc>
                  <a:spcPct val="90000"/>
                </a:lnSpc>
                <a:defRPr/>
              </a:pPr>
              <a:r>
                <a:rPr lang="tr-TR" sz="2000" dirty="0"/>
                <a:t>İleri Yaşta Pnömokok </a:t>
              </a:r>
              <a:r>
                <a:rPr lang="en-US" sz="2000" dirty="0" err="1"/>
                <a:t>Hastalık</a:t>
              </a:r>
              <a:r>
                <a:rPr lang="en-US" sz="2000" dirty="0"/>
                <a:t> </a:t>
              </a:r>
              <a:r>
                <a:rPr lang="en-US" sz="2000" dirty="0" err="1"/>
                <a:t>Yükü</a:t>
              </a:r>
              <a:r>
                <a:rPr lang="en-US" sz="2000" dirty="0"/>
                <a:t> </a:t>
              </a:r>
              <a:r>
                <a:rPr lang="tr-TR" sz="2000" dirty="0"/>
                <a:t>ve Önemi</a:t>
              </a:r>
              <a:endParaRPr lang="en-US" sz="2000" dirty="0"/>
            </a:p>
          </p:txBody>
        </p:sp>
        <p:sp>
          <p:nvSpPr>
            <p:cNvPr id="32" name="TextBox 31">
              <a:extLst>
                <a:ext uri="{FF2B5EF4-FFF2-40B4-BE49-F238E27FC236}">
                  <a16:creationId xmlns:a16="http://schemas.microsoft.com/office/drawing/2014/main" id="{CAC59628-475C-CB5D-A009-69D43D503199}"/>
                </a:ext>
              </a:extLst>
            </p:cNvPr>
            <p:cNvSpPr txBox="1"/>
            <p:nvPr/>
          </p:nvSpPr>
          <p:spPr>
            <a:xfrm>
              <a:off x="3465848" y="3753957"/>
              <a:ext cx="571565" cy="646331"/>
            </a:xfrm>
            <a:prstGeom prst="rect">
              <a:avLst/>
            </a:prstGeom>
            <a:noFill/>
          </p:spPr>
          <p:txBody>
            <a:bodyPr wrap="square" rtlCol="0" anchor="ctr">
              <a:spAutoFit/>
            </a:bodyPr>
            <a:lstStyle/>
            <a:p>
              <a:pPr algn="ctr"/>
              <a:r>
                <a:rPr lang="tr-TR"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rPr>
                <a:t>3</a:t>
              </a:r>
              <a:endParaRPr lang="en-GB"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endParaRPr>
            </a:p>
          </p:txBody>
        </p:sp>
      </p:grpSp>
      <p:grpSp>
        <p:nvGrpSpPr>
          <p:cNvPr id="42" name="Group 41">
            <a:extLst>
              <a:ext uri="{FF2B5EF4-FFF2-40B4-BE49-F238E27FC236}">
                <a16:creationId xmlns:a16="http://schemas.microsoft.com/office/drawing/2014/main" id="{F4021321-DDEA-DEF9-C129-1F29EB0F1A9B}"/>
              </a:ext>
            </a:extLst>
          </p:cNvPr>
          <p:cNvGrpSpPr/>
          <p:nvPr/>
        </p:nvGrpSpPr>
        <p:grpSpPr>
          <a:xfrm>
            <a:off x="3305060" y="4788389"/>
            <a:ext cx="8681292" cy="773339"/>
            <a:chOff x="3429114" y="4788389"/>
            <a:chExt cx="8681292" cy="773339"/>
          </a:xfrm>
        </p:grpSpPr>
        <p:grpSp>
          <p:nvGrpSpPr>
            <p:cNvPr id="33" name="Google Shape;674;p30">
              <a:extLst>
                <a:ext uri="{FF2B5EF4-FFF2-40B4-BE49-F238E27FC236}">
                  <a16:creationId xmlns:a16="http://schemas.microsoft.com/office/drawing/2014/main" id="{7C2272B7-B55C-40A2-33E4-7B0274362D3B}"/>
                </a:ext>
              </a:extLst>
            </p:cNvPr>
            <p:cNvGrpSpPr/>
            <p:nvPr/>
          </p:nvGrpSpPr>
          <p:grpSpPr>
            <a:xfrm>
              <a:off x="3429114" y="4788389"/>
              <a:ext cx="8681292" cy="773339"/>
              <a:chOff x="485966" y="2196110"/>
              <a:chExt cx="8681292" cy="773339"/>
            </a:xfrm>
          </p:grpSpPr>
          <p:sp>
            <p:nvSpPr>
              <p:cNvPr id="34" name="Google Shape;675;p30">
                <a:extLst>
                  <a:ext uri="{FF2B5EF4-FFF2-40B4-BE49-F238E27FC236}">
                    <a16:creationId xmlns:a16="http://schemas.microsoft.com/office/drawing/2014/main" id="{15CB423E-E74B-E33E-88D8-ADECABD9D7F9}"/>
                  </a:ext>
                </a:extLst>
              </p:cNvPr>
              <p:cNvSpPr/>
              <p:nvPr/>
            </p:nvSpPr>
            <p:spPr>
              <a:xfrm>
                <a:off x="875153" y="2196237"/>
                <a:ext cx="8292105" cy="773085"/>
              </a:xfrm>
              <a:prstGeom prst="roundRect">
                <a:avLst/>
              </a:prstGeom>
              <a:solidFill>
                <a:schemeClr val="bg1"/>
              </a:solidFill>
              <a:ln w="19050">
                <a:solidFill>
                  <a:schemeClr val="accent2"/>
                </a:solid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35" name="Google Shape;678;p30">
                <a:extLst>
                  <a:ext uri="{FF2B5EF4-FFF2-40B4-BE49-F238E27FC236}">
                    <a16:creationId xmlns:a16="http://schemas.microsoft.com/office/drawing/2014/main" id="{43976F99-9861-40FD-613C-5A9CB9B82CA7}"/>
                  </a:ext>
                </a:extLst>
              </p:cNvPr>
              <p:cNvSpPr/>
              <p:nvPr/>
            </p:nvSpPr>
            <p:spPr>
              <a:xfrm>
                <a:off x="485966" y="2196110"/>
                <a:ext cx="773085" cy="773339"/>
              </a:xfrm>
              <a:custGeom>
                <a:avLst/>
                <a:gdLst/>
                <a:ahLst/>
                <a:cxnLst/>
                <a:rect l="l" t="t" r="r" b="b"/>
                <a:pathLst>
                  <a:path w="36505" h="36517" extrusionOk="0">
                    <a:moveTo>
                      <a:pt x="18253" y="0"/>
                    </a:moveTo>
                    <a:cubicBezTo>
                      <a:pt x="8168" y="0"/>
                      <a:pt x="1" y="8180"/>
                      <a:pt x="1" y="18253"/>
                    </a:cubicBezTo>
                    <a:cubicBezTo>
                      <a:pt x="1" y="28337"/>
                      <a:pt x="8168" y="36517"/>
                      <a:pt x="18253" y="36517"/>
                    </a:cubicBezTo>
                    <a:cubicBezTo>
                      <a:pt x="28326" y="36517"/>
                      <a:pt x="36505" y="28337"/>
                      <a:pt x="36505" y="18253"/>
                    </a:cubicBezTo>
                    <a:cubicBezTo>
                      <a:pt x="36505" y="8180"/>
                      <a:pt x="28326" y="0"/>
                      <a:pt x="18253" y="0"/>
                    </a:cubicBez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36" name="Google Shape;679;p30">
                <a:extLst>
                  <a:ext uri="{FF2B5EF4-FFF2-40B4-BE49-F238E27FC236}">
                    <a16:creationId xmlns:a16="http://schemas.microsoft.com/office/drawing/2014/main" id="{88691C31-12D5-38E2-914B-ADC020577944}"/>
                  </a:ext>
                </a:extLst>
              </p:cNvPr>
              <p:cNvSpPr/>
              <p:nvPr/>
            </p:nvSpPr>
            <p:spPr>
              <a:xfrm>
                <a:off x="547993" y="2258392"/>
                <a:ext cx="648794" cy="648773"/>
              </a:xfrm>
              <a:custGeom>
                <a:avLst/>
                <a:gdLst/>
                <a:ahLst/>
                <a:cxnLst/>
                <a:rect l="l" t="t" r="r" b="b"/>
                <a:pathLst>
                  <a:path w="30636" h="30635" extrusionOk="0">
                    <a:moveTo>
                      <a:pt x="15324" y="0"/>
                    </a:moveTo>
                    <a:cubicBezTo>
                      <a:pt x="6858" y="0"/>
                      <a:pt x="0" y="6858"/>
                      <a:pt x="0" y="15312"/>
                    </a:cubicBezTo>
                    <a:cubicBezTo>
                      <a:pt x="0" y="23777"/>
                      <a:pt x="6858" y="30635"/>
                      <a:pt x="15324" y="30635"/>
                    </a:cubicBezTo>
                    <a:cubicBezTo>
                      <a:pt x="23777" y="30635"/>
                      <a:pt x="30635" y="23777"/>
                      <a:pt x="30635" y="15312"/>
                    </a:cubicBezTo>
                    <a:cubicBezTo>
                      <a:pt x="30635" y="6858"/>
                      <a:pt x="23777" y="0"/>
                      <a:pt x="15324" y="0"/>
                    </a:cubicBezTo>
                    <a:close/>
                  </a:path>
                </a:pathLst>
              </a:cu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endParaRPr sz="1600"/>
              </a:p>
            </p:txBody>
          </p:sp>
        </p:grpSp>
        <p:sp>
          <p:nvSpPr>
            <p:cNvPr id="37" name="TextBox 36">
              <a:extLst>
                <a:ext uri="{FF2B5EF4-FFF2-40B4-BE49-F238E27FC236}">
                  <a16:creationId xmlns:a16="http://schemas.microsoft.com/office/drawing/2014/main" id="{0024E63C-01C6-A6D4-99AB-4ED350EECEDB}"/>
                </a:ext>
              </a:extLst>
            </p:cNvPr>
            <p:cNvSpPr txBox="1"/>
            <p:nvPr/>
          </p:nvSpPr>
          <p:spPr>
            <a:xfrm>
              <a:off x="4387568" y="4986545"/>
              <a:ext cx="7194028" cy="377026"/>
            </a:xfrm>
            <a:prstGeom prst="rect">
              <a:avLst/>
            </a:prstGeom>
            <a:noFill/>
          </p:spPr>
          <p:txBody>
            <a:bodyPr wrap="square">
              <a:spAutoFit/>
            </a:bodyPr>
            <a:lstStyle/>
            <a:p>
              <a:pPr marL="0" lvl="1" defTabSz="914400">
                <a:lnSpc>
                  <a:spcPct val="90000"/>
                </a:lnSpc>
                <a:defRPr/>
              </a:pPr>
              <a:r>
                <a:rPr lang="en-US" sz="2000" dirty="0"/>
                <a:t>PREVENAR 20 &amp; ABRYSVO</a:t>
              </a:r>
              <a:endParaRPr kumimoji="0" lang="en-US" sz="2000" i="0" u="none" strike="noStrike" kern="1200" cap="none" spc="0" normalizeH="0" baseline="0" noProof="0" dirty="0">
                <a:ln>
                  <a:noFill/>
                </a:ln>
                <a:effectLst/>
                <a:uLnTx/>
                <a:uFillTx/>
                <a:ea typeface="+mn-ea"/>
                <a:cs typeface="+mn-cs"/>
              </a:endParaRPr>
            </a:p>
          </p:txBody>
        </p:sp>
        <p:sp>
          <p:nvSpPr>
            <p:cNvPr id="38" name="TextBox 37">
              <a:extLst>
                <a:ext uri="{FF2B5EF4-FFF2-40B4-BE49-F238E27FC236}">
                  <a16:creationId xmlns:a16="http://schemas.microsoft.com/office/drawing/2014/main" id="{1A306599-EFF7-8602-7B6C-ED3C0878ADB2}"/>
                </a:ext>
              </a:extLst>
            </p:cNvPr>
            <p:cNvSpPr txBox="1"/>
            <p:nvPr/>
          </p:nvSpPr>
          <p:spPr>
            <a:xfrm>
              <a:off x="3527875" y="4851893"/>
              <a:ext cx="571565" cy="646331"/>
            </a:xfrm>
            <a:prstGeom prst="rect">
              <a:avLst/>
            </a:prstGeom>
            <a:noFill/>
          </p:spPr>
          <p:txBody>
            <a:bodyPr wrap="square" rtlCol="0" anchor="ctr">
              <a:spAutoFit/>
            </a:bodyPr>
            <a:lstStyle/>
            <a:p>
              <a:pPr algn="ctr"/>
              <a:r>
                <a:rPr lang="en-US"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rPr>
                <a:t>4</a:t>
              </a:r>
              <a:endParaRPr lang="en-GB"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endParaRPr>
            </a:p>
          </p:txBody>
        </p:sp>
      </p:grpSp>
      <p:sp>
        <p:nvSpPr>
          <p:cNvPr id="43" name="Rectangle 42">
            <a:extLst>
              <a:ext uri="{FF2B5EF4-FFF2-40B4-BE49-F238E27FC236}">
                <a16:creationId xmlns:a16="http://schemas.microsoft.com/office/drawing/2014/main" id="{CE1E7BBF-C45B-72AB-25D3-06116273F1DD}"/>
              </a:ext>
            </a:extLst>
          </p:cNvPr>
          <p:cNvSpPr/>
          <p:nvPr/>
        </p:nvSpPr>
        <p:spPr>
          <a:xfrm>
            <a:off x="2672623" y="1439350"/>
            <a:ext cx="9519377" cy="1099321"/>
          </a:xfrm>
          <a:prstGeom prst="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4" name="Rectangle 3">
            <a:extLst>
              <a:ext uri="{FF2B5EF4-FFF2-40B4-BE49-F238E27FC236}">
                <a16:creationId xmlns:a16="http://schemas.microsoft.com/office/drawing/2014/main" id="{65766BB1-4B52-E96A-A8CB-E8A13409FA82}"/>
              </a:ext>
            </a:extLst>
          </p:cNvPr>
          <p:cNvSpPr/>
          <p:nvPr/>
        </p:nvSpPr>
        <p:spPr>
          <a:xfrm>
            <a:off x="2672622" y="3602355"/>
            <a:ext cx="9519377" cy="2496631"/>
          </a:xfrm>
          <a:prstGeom prst="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Tree>
    <p:extLst>
      <p:ext uri="{BB962C8B-B14F-4D97-AF65-F5344CB8AC3E}">
        <p14:creationId xmlns:p14="http://schemas.microsoft.com/office/powerpoint/2010/main" val="28907020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F561C6C8-E32D-1FC8-C972-45F0330FE8A1}"/>
              </a:ext>
            </a:extLst>
          </p:cNvPr>
          <p:cNvGrpSpPr/>
          <p:nvPr/>
        </p:nvGrpSpPr>
        <p:grpSpPr>
          <a:xfrm>
            <a:off x="6096000" y="1699558"/>
            <a:ext cx="5243106" cy="2637417"/>
            <a:chOff x="0" y="1483743"/>
            <a:chExt cx="12192000" cy="3071004"/>
          </a:xfrm>
        </p:grpSpPr>
        <p:sp>
          <p:nvSpPr>
            <p:cNvPr id="15" name="TextBox 14">
              <a:extLst>
                <a:ext uri="{FF2B5EF4-FFF2-40B4-BE49-F238E27FC236}">
                  <a16:creationId xmlns:a16="http://schemas.microsoft.com/office/drawing/2014/main" id="{D81C3215-EB4F-3D5F-C4B7-5D182AD531BB}"/>
                </a:ext>
              </a:extLst>
            </p:cNvPr>
            <p:cNvSpPr txBox="1"/>
            <p:nvPr/>
          </p:nvSpPr>
          <p:spPr bwMode="gray">
            <a:xfrm>
              <a:off x="0" y="1483743"/>
              <a:ext cx="12191999" cy="3071004"/>
            </a:xfrm>
            <a:prstGeom prst="rect">
              <a:avLst/>
            </a:prstGeom>
            <a:solidFill>
              <a:schemeClr val="bg1">
                <a:lumMod val="95000"/>
              </a:schemeClr>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2400" b="0" i="0" u="none" strike="noStrike" kern="1200" cap="none" spc="0" normalizeH="0" baseline="0" noProof="0">
                <a:ln>
                  <a:noFill/>
                </a:ln>
                <a:effectLst/>
                <a:uLnTx/>
                <a:uFillTx/>
                <a:ea typeface="+mn-ea"/>
                <a:cs typeface="+mn-cs"/>
              </a:endParaRPr>
            </a:p>
          </p:txBody>
        </p:sp>
        <p:cxnSp>
          <p:nvCxnSpPr>
            <p:cNvPr id="16" name="Straight Connector 15">
              <a:extLst>
                <a:ext uri="{FF2B5EF4-FFF2-40B4-BE49-F238E27FC236}">
                  <a16:creationId xmlns:a16="http://schemas.microsoft.com/office/drawing/2014/main" id="{2D31FFE7-82B2-5518-D02C-338D881EE8E1}"/>
                </a:ext>
              </a:extLst>
            </p:cNvPr>
            <p:cNvCxnSpPr/>
            <p:nvPr/>
          </p:nvCxnSpPr>
          <p:spPr bwMode="gray">
            <a:xfrm>
              <a:off x="0" y="1483743"/>
              <a:ext cx="12192000" cy="0"/>
            </a:xfrm>
            <a:prstGeom prst="line">
              <a:avLst/>
            </a:prstGeom>
            <a:noFill/>
            <a:ln w="22225" cap="rnd">
              <a:solidFill>
                <a:schemeClr val="tx2"/>
              </a:solidFill>
              <a:prstDash val="solid"/>
              <a:round/>
              <a:headEnd/>
              <a:tailEnd/>
            </a:ln>
            <a:effectLst/>
          </p:spPr>
        </p:cxnSp>
        <p:cxnSp>
          <p:nvCxnSpPr>
            <p:cNvPr id="17" name="Straight Connector 16">
              <a:extLst>
                <a:ext uri="{FF2B5EF4-FFF2-40B4-BE49-F238E27FC236}">
                  <a16:creationId xmlns:a16="http://schemas.microsoft.com/office/drawing/2014/main" id="{CEDD9C1B-0ED1-A8F5-4340-3AC621582CD4}"/>
                </a:ext>
              </a:extLst>
            </p:cNvPr>
            <p:cNvCxnSpPr/>
            <p:nvPr/>
          </p:nvCxnSpPr>
          <p:spPr bwMode="gray">
            <a:xfrm>
              <a:off x="0" y="4554747"/>
              <a:ext cx="12192000" cy="0"/>
            </a:xfrm>
            <a:prstGeom prst="line">
              <a:avLst/>
            </a:prstGeom>
            <a:noFill/>
            <a:ln w="22225" cap="rnd">
              <a:solidFill>
                <a:schemeClr val="tx2"/>
              </a:solidFill>
              <a:prstDash val="solid"/>
              <a:round/>
              <a:headEnd/>
              <a:tailEnd/>
            </a:ln>
            <a:effectLst/>
          </p:spPr>
        </p:cxnSp>
      </p:grpSp>
      <p:sp>
        <p:nvSpPr>
          <p:cNvPr id="5" name="Title 4">
            <a:extLst>
              <a:ext uri="{FF2B5EF4-FFF2-40B4-BE49-F238E27FC236}">
                <a16:creationId xmlns:a16="http://schemas.microsoft.com/office/drawing/2014/main" id="{E28758B9-5442-1D79-D588-D9B42B3AC363}"/>
              </a:ext>
            </a:extLst>
          </p:cNvPr>
          <p:cNvSpPr>
            <a:spLocks noGrp="1"/>
          </p:cNvSpPr>
          <p:nvPr>
            <p:ph type="title"/>
          </p:nvPr>
        </p:nvSpPr>
        <p:spPr/>
        <p:txBody>
          <a:bodyPr/>
          <a:lstStyle/>
          <a:p>
            <a:r>
              <a:rPr kumimoji="0" lang="tr-TR" sz="2400" i="0" u="none" strike="noStrike" kern="1200" cap="none" spc="0" normalizeH="0" baseline="0" noProof="0">
                <a:ln>
                  <a:noFill/>
                </a:ln>
                <a:effectLst/>
                <a:uLnTx/>
                <a:uFillTx/>
                <a:ea typeface="+mn-ea"/>
                <a:cs typeface="Arial" panose="020B0604020202020204" pitchFamily="34" charset="0"/>
              </a:rPr>
              <a:t>Respiratuvar Sinsityal Virüs, yaygın olarak üst ve alt solunum yolu enfeksiyonlarına neden olan tek </a:t>
            </a:r>
            <a:r>
              <a:rPr kumimoji="0" lang="en-US" sz="2400" i="0" u="none" strike="noStrike" kern="1200" cap="none" spc="0" normalizeH="0" baseline="0" noProof="0" err="1">
                <a:ln>
                  <a:noFill/>
                </a:ln>
                <a:effectLst/>
                <a:uLnTx/>
                <a:uFillTx/>
                <a:ea typeface="+mn-ea"/>
                <a:cs typeface="Arial" panose="020B0604020202020204" pitchFamily="34" charset="0"/>
              </a:rPr>
              <a:t>sarmallı</a:t>
            </a:r>
            <a:r>
              <a:rPr kumimoji="0" lang="tr-TR" sz="2400" i="0" u="none" strike="noStrike" kern="1200" cap="none" spc="0" normalizeH="0" baseline="0" noProof="0">
                <a:ln>
                  <a:noFill/>
                </a:ln>
                <a:effectLst/>
                <a:uLnTx/>
                <a:uFillTx/>
                <a:ea typeface="+mn-ea"/>
                <a:cs typeface="Arial" panose="020B0604020202020204" pitchFamily="34" charset="0"/>
              </a:rPr>
              <a:t>, negatif </a:t>
            </a:r>
            <a:r>
              <a:rPr lang="en-US" sz="2400" spc="0" err="1">
                <a:ea typeface="+mn-ea"/>
                <a:cs typeface="Arial" panose="020B0604020202020204" pitchFamily="34" charset="0"/>
              </a:rPr>
              <a:t>iplikli</a:t>
            </a:r>
            <a:r>
              <a:rPr kumimoji="0" lang="tr-TR" sz="2400" i="0" u="none" strike="noStrike" kern="1200" cap="none" spc="0" normalizeH="0" baseline="0" noProof="0">
                <a:ln>
                  <a:noFill/>
                </a:ln>
                <a:effectLst/>
                <a:uLnTx/>
                <a:uFillTx/>
                <a:ea typeface="+mn-ea"/>
                <a:cs typeface="Arial" panose="020B0604020202020204" pitchFamily="34" charset="0"/>
              </a:rPr>
              <a:t> bir RNA virüsüdür.</a:t>
            </a:r>
            <a:endParaRPr lang="en-US" sz="2400" baseline="30000">
              <a:cs typeface="Arial"/>
            </a:endParaRPr>
          </a:p>
        </p:txBody>
      </p:sp>
      <p:sp>
        <p:nvSpPr>
          <p:cNvPr id="12" name="Text Placeholder 11">
            <a:extLst>
              <a:ext uri="{FF2B5EF4-FFF2-40B4-BE49-F238E27FC236}">
                <a16:creationId xmlns:a16="http://schemas.microsoft.com/office/drawing/2014/main" id="{6A6B4A13-DDFB-4A00-8509-09BB7F0C0CF4}"/>
              </a:ext>
            </a:extLst>
          </p:cNvPr>
          <p:cNvSpPr>
            <a:spLocks noGrp="1"/>
          </p:cNvSpPr>
          <p:nvPr>
            <p:ph type="body" sz="quarter" idx="4294967295"/>
          </p:nvPr>
        </p:nvSpPr>
        <p:spPr>
          <a:xfrm>
            <a:off x="850505" y="6060771"/>
            <a:ext cx="9804400" cy="347662"/>
          </a:xfrm>
        </p:spPr>
        <p:txBody>
          <a:bodyPr>
            <a:noAutofit/>
          </a:bodyPr>
          <a:lstStyle/>
          <a:p>
            <a:pPr marL="0" indent="0">
              <a:spcBef>
                <a:spcPts val="0"/>
              </a:spcBef>
            </a:pPr>
            <a:r>
              <a:rPr lang="en-US" sz="500" dirty="0">
                <a:ea typeface="Calibri" panose="020F0502020204030204" pitchFamily="34" charset="0"/>
              </a:rPr>
              <a:t>RNA=</a:t>
            </a:r>
            <a:r>
              <a:rPr lang="en-US" sz="500" dirty="0" err="1">
                <a:ea typeface="Calibri" panose="020F0502020204030204" pitchFamily="34" charset="0"/>
              </a:rPr>
              <a:t>ribonükleik</a:t>
            </a:r>
            <a:r>
              <a:rPr lang="en-US" sz="500" dirty="0">
                <a:ea typeface="Calibri" panose="020F0502020204030204" pitchFamily="34" charset="0"/>
              </a:rPr>
              <a:t> </a:t>
            </a:r>
            <a:r>
              <a:rPr lang="en-US" sz="500" dirty="0" err="1">
                <a:ea typeface="Calibri" panose="020F0502020204030204" pitchFamily="34" charset="0"/>
              </a:rPr>
              <a:t>asit</a:t>
            </a:r>
            <a:r>
              <a:rPr lang="en-US" sz="500" dirty="0">
                <a:ea typeface="Calibri" panose="020F0502020204030204" pitchFamily="34" charset="0"/>
              </a:rPr>
              <a:t>; RSV=</a:t>
            </a:r>
            <a:r>
              <a:rPr lang="en-US" sz="500" dirty="0" err="1">
                <a:ea typeface="Calibri" panose="020F0502020204030204" pitchFamily="34" charset="0"/>
              </a:rPr>
              <a:t>solunum</a:t>
            </a:r>
            <a:r>
              <a:rPr lang="en-US" sz="500" dirty="0">
                <a:ea typeface="Calibri" panose="020F0502020204030204" pitchFamily="34" charset="0"/>
              </a:rPr>
              <a:t> </a:t>
            </a:r>
            <a:r>
              <a:rPr lang="en-US" sz="500" dirty="0" err="1">
                <a:ea typeface="Calibri" panose="020F0502020204030204" pitchFamily="34" charset="0"/>
              </a:rPr>
              <a:t>sinsityal</a:t>
            </a:r>
            <a:r>
              <a:rPr lang="en-US" sz="500" dirty="0">
                <a:ea typeface="Calibri" panose="020F0502020204030204" pitchFamily="34" charset="0"/>
              </a:rPr>
              <a:t> </a:t>
            </a:r>
            <a:r>
              <a:rPr lang="en-US" sz="500" dirty="0" err="1">
                <a:ea typeface="Calibri" panose="020F0502020204030204" pitchFamily="34" charset="0"/>
              </a:rPr>
              <a:t>virüsü</a:t>
            </a:r>
            <a:r>
              <a:rPr lang="en-US" sz="500" dirty="0">
                <a:ea typeface="Calibri" panose="020F0502020204030204" pitchFamily="34" charset="0"/>
              </a:rPr>
              <a:t>.</a:t>
            </a:r>
            <a:endParaRPr lang="tr-TR" sz="500" dirty="0">
              <a:ea typeface="Calibri" panose="020F0502020204030204" pitchFamily="34" charset="0"/>
            </a:endParaRPr>
          </a:p>
          <a:p>
            <a:pPr marL="0" indent="0">
              <a:spcBef>
                <a:spcPts val="0"/>
              </a:spcBef>
            </a:pPr>
            <a:r>
              <a:rPr lang="en-US" sz="500" b="1" dirty="0">
                <a:ea typeface="Calibri" panose="020F0502020204030204" pitchFamily="34" charset="0"/>
              </a:rPr>
              <a:t>1. </a:t>
            </a:r>
            <a:r>
              <a:rPr lang="en-US" sz="500" dirty="0">
                <a:ea typeface="Calibri" panose="020F0502020204030204" pitchFamily="34" charset="0"/>
              </a:rPr>
              <a:t>Jain H, et al. Respiratory syncytial virus infection in Children. In: </a:t>
            </a:r>
            <a:r>
              <a:rPr lang="en-US" sz="500" dirty="0" err="1">
                <a:ea typeface="Calibri" panose="020F0502020204030204" pitchFamily="34" charset="0"/>
              </a:rPr>
              <a:t>StatPearls</a:t>
            </a:r>
            <a:r>
              <a:rPr lang="en-US" sz="500" dirty="0">
                <a:ea typeface="Calibri" panose="020F0502020204030204" pitchFamily="34" charset="0"/>
              </a:rPr>
              <a:t>. </a:t>
            </a:r>
            <a:r>
              <a:rPr lang="en-US" sz="500" dirty="0" err="1">
                <a:ea typeface="Calibri" panose="020F0502020204030204" pitchFamily="34" charset="0"/>
              </a:rPr>
              <a:t>StatPearls</a:t>
            </a:r>
            <a:r>
              <a:rPr lang="en-US" sz="500" dirty="0">
                <a:ea typeface="Calibri" panose="020F0502020204030204" pitchFamily="34" charset="0"/>
              </a:rPr>
              <a:t> Publishing; 2023. Accessed June 26, 2024. https://www.ncbi.nlm.nih.gov/books/NBK459215/ </a:t>
            </a:r>
            <a:r>
              <a:rPr lang="en-US" sz="500" b="1" dirty="0">
                <a:ea typeface="Calibri" panose="020F0502020204030204" pitchFamily="34" charset="0"/>
              </a:rPr>
              <a:t>2. </a:t>
            </a:r>
            <a:r>
              <a:rPr lang="en-US" sz="500" dirty="0">
                <a:ea typeface="Calibri" panose="020F0502020204030204" pitchFamily="34" charset="0"/>
              </a:rPr>
              <a:t>Jung HE, et al. </a:t>
            </a:r>
            <a:r>
              <a:rPr lang="en-US" sz="500" i="1" dirty="0">
                <a:ea typeface="Calibri" panose="020F0502020204030204" pitchFamily="34" charset="0"/>
              </a:rPr>
              <a:t>Viruses</a:t>
            </a:r>
            <a:r>
              <a:rPr lang="en-US" sz="500" dirty="0">
                <a:ea typeface="Calibri" panose="020F0502020204030204" pitchFamily="34" charset="0"/>
              </a:rPr>
              <a:t>. 2020;12:102.</a:t>
            </a:r>
            <a:r>
              <a:rPr lang="en-US" sz="500" b="1" dirty="0">
                <a:ea typeface="Calibri" panose="020F0502020204030204" pitchFamily="34" charset="0"/>
              </a:rPr>
              <a:t> </a:t>
            </a:r>
            <a:br>
              <a:rPr lang="en-US" sz="500" b="1" dirty="0">
                <a:ea typeface="Calibri" panose="020F0502020204030204" pitchFamily="34" charset="0"/>
              </a:rPr>
            </a:br>
            <a:r>
              <a:rPr lang="en-US" sz="500" b="1" dirty="0">
                <a:ea typeface="Calibri" panose="020F0502020204030204" pitchFamily="34" charset="0"/>
              </a:rPr>
              <a:t>3</a:t>
            </a:r>
            <a:r>
              <a:rPr lang="en-US" sz="500" b="1" dirty="0"/>
              <a:t>. </a:t>
            </a:r>
            <a:r>
              <a:rPr lang="en-US" sz="500" dirty="0">
                <a:ea typeface="Calibri" panose="020F0502020204030204" pitchFamily="34" charset="0"/>
              </a:rPr>
              <a:t>Bergeron HC. </a:t>
            </a:r>
            <a:r>
              <a:rPr lang="en-US" sz="500" i="1" dirty="0">
                <a:ea typeface="Calibri" panose="020F0502020204030204" pitchFamily="34" charset="0"/>
              </a:rPr>
              <a:t>Viruses</a:t>
            </a:r>
            <a:r>
              <a:rPr lang="en-US" sz="500" dirty="0">
                <a:ea typeface="Calibri" panose="020F0502020204030204" pitchFamily="34" charset="0"/>
              </a:rPr>
              <a:t>. 2021;13:2478. 4. </a:t>
            </a:r>
            <a:r>
              <a:rPr lang="en-US" sz="500" dirty="0"/>
              <a:t>Simonich CAL, McMahon TE, Ju X, Yu TC, Brunette N, Stevens-Ayers T, </a:t>
            </a:r>
            <a:r>
              <a:rPr lang="en-US" sz="500" dirty="0" err="1"/>
              <a:t>Boeckh</a:t>
            </a:r>
            <a:r>
              <a:rPr lang="en-US" sz="500" dirty="0"/>
              <a:t> MJ, King NP, Greninger AL, Bloom JD. RSV F evolution escapes some monoclonal antibodies but does not strongly erode neutralization by human polyclonal sera. </a:t>
            </a:r>
            <a:r>
              <a:rPr lang="en-US" sz="500" dirty="0" err="1"/>
              <a:t>bioRxiv</a:t>
            </a:r>
            <a:r>
              <a:rPr lang="en-US" sz="500" dirty="0"/>
              <a:t> [Preprint]. 2025 Mar 11:2025.03.11.642476. </a:t>
            </a:r>
            <a:r>
              <a:rPr lang="en-US" sz="500" dirty="0" err="1"/>
              <a:t>doi</a:t>
            </a:r>
            <a:r>
              <a:rPr lang="en-US" sz="500" dirty="0"/>
              <a:t>: 10.1101/2025.03.11.642476. Update in: J </a:t>
            </a:r>
            <a:r>
              <a:rPr lang="en-US" sz="500" dirty="0" err="1"/>
              <a:t>Virol</a:t>
            </a:r>
            <a:r>
              <a:rPr lang="en-US" sz="500" dirty="0"/>
              <a:t>. 2025 Jul 22;99(7):e0053125. </a:t>
            </a:r>
            <a:r>
              <a:rPr lang="en-US" sz="500" dirty="0" err="1"/>
              <a:t>doi</a:t>
            </a:r>
            <a:r>
              <a:rPr lang="en-US" sz="500" dirty="0"/>
              <a:t>: 10.1128/jvi.00531-25. PMID: 40161760; PMCID: PMC11952455.</a:t>
            </a:r>
          </a:p>
        </p:txBody>
      </p:sp>
      <p:pic>
        <p:nvPicPr>
          <p:cNvPr id="6" name="Content Placeholder 5">
            <a:extLst>
              <a:ext uri="{FF2B5EF4-FFF2-40B4-BE49-F238E27FC236}">
                <a16:creationId xmlns:a16="http://schemas.microsoft.com/office/drawing/2014/main" id="{51383B46-29E4-80C4-937E-4A6A519BEF63}"/>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l="2095" t="6214" r="2659" b="1261"/>
          <a:stretch/>
        </p:blipFill>
        <p:spPr bwMode="gray">
          <a:xfrm>
            <a:off x="690417" y="1804157"/>
            <a:ext cx="5026933" cy="3267584"/>
          </a:xfrm>
          <a:prstGeom prst="rect">
            <a:avLst/>
          </a:prstGeom>
        </p:spPr>
      </p:pic>
      <p:sp>
        <p:nvSpPr>
          <p:cNvPr id="7" name="TextBox 6">
            <a:extLst>
              <a:ext uri="{FF2B5EF4-FFF2-40B4-BE49-F238E27FC236}">
                <a16:creationId xmlns:a16="http://schemas.microsoft.com/office/drawing/2014/main" id="{4613DAD7-2D58-3054-0BD1-D74B08CB324D}"/>
              </a:ext>
            </a:extLst>
          </p:cNvPr>
          <p:cNvSpPr txBox="1"/>
          <p:nvPr/>
        </p:nvSpPr>
        <p:spPr bwMode="gray">
          <a:xfrm>
            <a:off x="1022137" y="1312232"/>
            <a:ext cx="4363492" cy="355803"/>
          </a:xfrm>
          <a:prstGeom prst="rect">
            <a:avLst/>
          </a:prstGeom>
          <a:noFill/>
        </p:spPr>
        <p:txBody>
          <a:bodyPr wrap="square">
            <a:spAutoFit/>
          </a:bodyPr>
          <a:lstStyle/>
          <a:p>
            <a:pPr marL="0" marR="0" lvl="0" indent="0" algn="ctr" defTabSz="914400" rtl="0" eaLnBrk="1" fontAlgn="ctr" latinLnBrk="0" hangingPunct="1">
              <a:lnSpc>
                <a:spcPct val="107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2"/>
                </a:solidFill>
                <a:effectLst/>
                <a:uLnTx/>
                <a:uFillTx/>
                <a:ea typeface="Times New Roman" panose="02020603050405020304" pitchFamily="18" charset="0"/>
                <a:cs typeface="Calibri" panose="020F0502020204030204" pitchFamily="34" charset="0"/>
              </a:rPr>
              <a:t>RSV </a:t>
            </a:r>
            <a:r>
              <a:rPr kumimoji="0" lang="en-US" sz="1600" b="1" i="0" u="none" strike="noStrike" kern="1200" cap="none" spc="0" normalizeH="0" baseline="0" noProof="0" err="1">
                <a:ln>
                  <a:noFill/>
                </a:ln>
                <a:solidFill>
                  <a:schemeClr val="tx2"/>
                </a:solidFill>
                <a:effectLst/>
                <a:uLnTx/>
                <a:uFillTx/>
                <a:ea typeface="Times New Roman" panose="02020603050405020304" pitchFamily="18" charset="0"/>
                <a:cs typeface="Calibri" panose="020F0502020204030204" pitchFamily="34" charset="0"/>
              </a:rPr>
              <a:t>Yapı</a:t>
            </a:r>
            <a:r>
              <a:rPr kumimoji="0" lang="tr-TR" sz="1600" b="1" i="0" u="none" strike="noStrike" kern="1200" cap="none" spc="0" normalizeH="0" baseline="0" noProof="0">
                <a:ln>
                  <a:noFill/>
                </a:ln>
                <a:solidFill>
                  <a:schemeClr val="tx2"/>
                </a:solidFill>
                <a:effectLst/>
                <a:uLnTx/>
                <a:uFillTx/>
                <a:ea typeface="Times New Roman" panose="02020603050405020304" pitchFamily="18" charset="0"/>
                <a:cs typeface="Calibri" panose="020F0502020204030204" pitchFamily="34" charset="0"/>
              </a:rPr>
              <a:t>sı</a:t>
            </a:r>
            <a:r>
              <a:rPr kumimoji="0" lang="en-US" sz="1600" b="1" i="0" u="none" strike="noStrike" kern="1200" cap="none" spc="0" normalizeH="0" baseline="30000" noProof="0">
                <a:ln>
                  <a:noFill/>
                </a:ln>
                <a:solidFill>
                  <a:schemeClr val="tx2"/>
                </a:solidFill>
                <a:effectLst/>
                <a:uLnTx/>
                <a:uFillTx/>
                <a:ea typeface="Times New Roman" panose="02020603050405020304" pitchFamily="18" charset="0"/>
                <a:cs typeface="Calibri" panose="020F0502020204030204" pitchFamily="34" charset="0"/>
              </a:rPr>
              <a:t>2</a:t>
            </a:r>
          </a:p>
        </p:txBody>
      </p:sp>
      <p:sp>
        <p:nvSpPr>
          <p:cNvPr id="8" name="Content Placeholder 1">
            <a:extLst>
              <a:ext uri="{FF2B5EF4-FFF2-40B4-BE49-F238E27FC236}">
                <a16:creationId xmlns:a16="http://schemas.microsoft.com/office/drawing/2014/main" id="{255C236A-5884-5567-23D0-4D79B70455BF}"/>
              </a:ext>
            </a:extLst>
          </p:cNvPr>
          <p:cNvSpPr txBox="1">
            <a:spLocks/>
          </p:cNvSpPr>
          <p:nvPr/>
        </p:nvSpPr>
        <p:spPr bwMode="gray">
          <a:xfrm>
            <a:off x="6382907" y="1951034"/>
            <a:ext cx="4895320" cy="2195563"/>
          </a:xfrm>
          <a:prstGeom prst="rect">
            <a:avLst/>
          </a:prstGeom>
        </p:spPr>
        <p:txBody>
          <a:bodyPr vert="horz" lIns="45720" tIns="45720" rIns="45720" bIns="45720" rtlCol="0">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ctr" latinLnBrk="0" hangingPunct="1">
              <a:lnSpc>
                <a:spcPct val="107000"/>
              </a:lnSpc>
              <a:spcBef>
                <a:spcPts val="0"/>
              </a:spcBef>
              <a:spcAft>
                <a:spcPts val="0"/>
              </a:spcAft>
              <a:buClrTx/>
              <a:buSzPct val="100000"/>
              <a:buNone/>
              <a:tabLst/>
              <a:defRPr/>
            </a:pPr>
            <a:endParaRPr kumimoji="0" lang="en-US" sz="1400" b="0" i="0" u="none" strike="noStrike" kern="1200" cap="none" spc="0" normalizeH="0" baseline="30000" noProof="0">
              <a:ln>
                <a:noFill/>
              </a:ln>
              <a:solidFill>
                <a:srgbClr val="000000"/>
              </a:solidFill>
              <a:effectLst/>
              <a:uLnTx/>
              <a:uFillTx/>
              <a:ea typeface="Times New Roman" panose="02020603050405020304" pitchFamily="18" charset="0"/>
              <a:cs typeface="Calibri" panose="020F0502020204030204" pitchFamily="34" charset="0"/>
            </a:endParaRPr>
          </a:p>
          <a:p>
            <a:pPr marL="228600" marR="0" lvl="0" indent="-228600" algn="l" defTabSz="914400" rtl="0" eaLnBrk="1" fontAlgn="ctr" latinLnBrk="0" hangingPunct="1">
              <a:lnSpc>
                <a:spcPct val="107000"/>
              </a:lnSpc>
              <a:spcBef>
                <a:spcPts val="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Birlikte</a:t>
            </a:r>
            <a:r>
              <a:rPr kumimoji="0" lang="en-US" sz="14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a:t>
            </a:r>
            <a:r>
              <a:rPr kumimoji="0" lang="en-US" sz="1400" b="0"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dolaşan</a:t>
            </a:r>
            <a:r>
              <a:rPr kumimoji="0" lang="en-US" sz="14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RSV alt </a:t>
            </a:r>
            <a:r>
              <a:rPr kumimoji="0" lang="en-US" sz="1400" b="0"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grup</a:t>
            </a:r>
            <a:r>
              <a:rPr kumimoji="0" lang="en-US" sz="14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a:t>
            </a:r>
            <a:r>
              <a:rPr kumimoji="0" lang="en-US" sz="1400" b="0"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suşları</a:t>
            </a:r>
            <a:r>
              <a:rPr kumimoji="0" lang="en-US" sz="14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A </a:t>
            </a:r>
            <a:r>
              <a:rPr kumimoji="0" lang="en-US" sz="1400" b="0"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ve</a:t>
            </a:r>
            <a:r>
              <a:rPr kumimoji="0" lang="en-US" sz="14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B, </a:t>
            </a:r>
            <a:r>
              <a:rPr kumimoji="0" lang="en-US" sz="1400" b="0"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zar</a:t>
            </a:r>
            <a:r>
              <a:rPr kumimoji="0" lang="en-US" sz="14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a:t>
            </a:r>
            <a:r>
              <a:rPr kumimoji="0" lang="en-US" sz="1400" b="0"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proteinlerinin</a:t>
            </a:r>
            <a:r>
              <a:rPr kumimoji="0" lang="en-US" sz="14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a:t>
            </a:r>
            <a:r>
              <a:rPr kumimoji="0" lang="en-US" sz="1400" b="0"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yapısında</a:t>
            </a:r>
            <a:r>
              <a:rPr kumimoji="0" lang="en-US" sz="14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a:t>
            </a:r>
            <a:r>
              <a:rPr kumimoji="0" lang="en-US" sz="1400" b="0"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farklılık</a:t>
            </a:r>
            <a:r>
              <a:rPr kumimoji="0" lang="en-US" sz="14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a:t>
            </a:r>
            <a:r>
              <a:rPr kumimoji="0" lang="en-US" sz="1400" b="0"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gösterir</a:t>
            </a:r>
            <a:r>
              <a:rPr kumimoji="0" lang="tr-TR" sz="14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a:t>
            </a:r>
            <a:r>
              <a:rPr kumimoji="0" lang="en-US" sz="1400" b="0" i="0" u="none" strike="noStrike" kern="1200" cap="none" spc="0" normalizeH="0" baseline="30000" noProof="0">
                <a:ln>
                  <a:noFill/>
                </a:ln>
                <a:solidFill>
                  <a:srgbClr val="000000"/>
                </a:solidFill>
                <a:effectLst/>
                <a:uLnTx/>
                <a:uFillTx/>
                <a:ea typeface="Times New Roman" panose="02020603050405020304" pitchFamily="18" charset="0"/>
                <a:cs typeface="Calibri" panose="020F0502020204030204" pitchFamily="34" charset="0"/>
              </a:rPr>
              <a:t>1,3</a:t>
            </a:r>
            <a:endParaRPr kumimoji="0" lang="en-US" sz="14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endParaRPr>
          </a:p>
          <a:p>
            <a:pPr marL="457200" marR="0" lvl="1" indent="-169863" algn="l" defTabSz="914400"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Bu </a:t>
            </a:r>
            <a:r>
              <a:rPr kumimoji="0" lang="en-US" sz="1200" b="0"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proteinlerden</a:t>
            </a:r>
            <a:r>
              <a:rPr kumimoji="0" lang="en-US" sz="12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a:t>
            </a:r>
            <a:r>
              <a:rPr kumimoji="0" lang="en-US" sz="1200" b="0"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ikisi</a:t>
            </a:r>
            <a:r>
              <a:rPr kumimoji="0" lang="en-US" sz="12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a:t>
            </a:r>
            <a:r>
              <a:rPr kumimoji="0" lang="en-US" sz="1200" b="1"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bağlanma</a:t>
            </a:r>
            <a:r>
              <a:rPr kumimoji="0" lang="en-US" sz="1200" b="1"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a:t>
            </a:r>
            <a:r>
              <a:rPr kumimoji="0" lang="en-US" sz="1200" b="1"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glikoproteini</a:t>
            </a:r>
            <a:r>
              <a:rPr kumimoji="0" lang="en-US" sz="1200" b="1"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G)</a:t>
            </a:r>
            <a:r>
              <a:rPr kumimoji="0" lang="en-US" sz="12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a:t>
            </a:r>
            <a:r>
              <a:rPr kumimoji="0" lang="en-US" sz="1200" b="0"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ve</a:t>
            </a:r>
            <a:r>
              <a:rPr kumimoji="0" lang="en-US" sz="12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a:t>
            </a:r>
            <a:r>
              <a:rPr kumimoji="0" lang="en-US" sz="1200" b="1"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füzyon</a:t>
            </a:r>
            <a:r>
              <a:rPr kumimoji="0" lang="en-US" sz="1200" b="1"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a:t>
            </a:r>
            <a:r>
              <a:rPr kumimoji="0" lang="en-US" sz="1200" b="1"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glikoproteini</a:t>
            </a:r>
            <a:r>
              <a:rPr kumimoji="0" lang="en-US" sz="1200" b="1"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F)</a:t>
            </a:r>
            <a:r>
              <a:rPr kumimoji="0" lang="en-US" sz="12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a:t>
            </a:r>
            <a:r>
              <a:rPr kumimoji="0" lang="en-US" sz="1200" b="0"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önemli</a:t>
            </a:r>
            <a:r>
              <a:rPr kumimoji="0" lang="en-US" sz="12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a:t>
            </a:r>
            <a:r>
              <a:rPr kumimoji="0" lang="en-US" sz="1200" b="0"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antijenik</a:t>
            </a:r>
            <a:r>
              <a:rPr kumimoji="0" lang="en-US" sz="12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a:t>
            </a:r>
            <a:r>
              <a:rPr kumimoji="0" lang="en-US" sz="1200" b="0" i="0" u="none" strike="noStrike" kern="1200" cap="none" spc="0" normalizeH="0" baseline="0" noProof="0" err="1">
                <a:ln>
                  <a:noFill/>
                </a:ln>
                <a:solidFill>
                  <a:srgbClr val="000000"/>
                </a:solidFill>
                <a:effectLst/>
                <a:uLnTx/>
                <a:uFillTx/>
                <a:ea typeface="Times New Roman" panose="02020603050405020304" pitchFamily="18" charset="0"/>
                <a:cs typeface="Calibri" panose="020F0502020204030204" pitchFamily="34" charset="0"/>
              </a:rPr>
              <a:t>kapasite</a:t>
            </a:r>
            <a:r>
              <a:rPr kumimoji="0" lang="en-US" sz="1200" b="0"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rPr>
              <a:t> sergiler.</a:t>
            </a:r>
            <a:r>
              <a:rPr kumimoji="0" lang="en-US" sz="1200" b="0" i="0" u="none" strike="noStrike" kern="1200" cap="none" spc="0" normalizeH="0" baseline="30000" noProof="0">
                <a:ln>
                  <a:noFill/>
                </a:ln>
                <a:solidFill>
                  <a:srgbClr val="000000"/>
                </a:solidFill>
                <a:effectLst/>
                <a:uLnTx/>
                <a:uFillTx/>
                <a:ea typeface="Times New Roman" panose="02020603050405020304" pitchFamily="18" charset="0"/>
                <a:cs typeface="Calibri" panose="020F0502020204030204" pitchFamily="34" charset="0"/>
              </a:rPr>
              <a:t>1,3</a:t>
            </a:r>
          </a:p>
          <a:p>
            <a:pPr marL="228600" marR="0" lvl="0" indent="-228600" algn="l" defTabSz="914400" rtl="0" eaLnBrk="1" fontAlgn="ctr" latinLnBrk="0" hangingPunct="1">
              <a:lnSpc>
                <a:spcPct val="107000"/>
              </a:lnSpc>
              <a:spcBef>
                <a:spcPts val="0"/>
              </a:spcBef>
              <a:spcAft>
                <a:spcPts val="0"/>
              </a:spcAft>
              <a:buClrTx/>
              <a:buSzPct val="100000"/>
              <a:buFont typeface="Arial" panose="020B0604020202020204" pitchFamily="34" charset="0"/>
              <a:buChar char="•"/>
              <a:tabLst/>
              <a:defRPr/>
            </a:pPr>
            <a:endParaRPr kumimoji="0" lang="en-US" sz="1400" b="0" i="0" u="none" strike="noStrike" kern="1200" cap="none" spc="0" normalizeH="0" baseline="30000" noProof="0">
              <a:ln>
                <a:noFill/>
              </a:ln>
              <a:solidFill>
                <a:srgbClr val="000000"/>
              </a:solidFill>
              <a:effectLst/>
              <a:uLnTx/>
              <a:uFillTx/>
              <a:ea typeface="Times New Roman" panose="02020603050405020304" pitchFamily="18" charset="0"/>
              <a:cs typeface="Calibri" panose="020F0502020204030204" pitchFamily="34" charset="0"/>
            </a:endParaRPr>
          </a:p>
        </p:txBody>
      </p:sp>
      <p:sp>
        <p:nvSpPr>
          <p:cNvPr id="9" name="Content Placeholder 1">
            <a:extLst>
              <a:ext uri="{FF2B5EF4-FFF2-40B4-BE49-F238E27FC236}">
                <a16:creationId xmlns:a16="http://schemas.microsoft.com/office/drawing/2014/main" id="{D6359569-C435-798D-2D98-FEC8BA05B881}"/>
              </a:ext>
            </a:extLst>
          </p:cNvPr>
          <p:cNvSpPr txBox="1">
            <a:spLocks/>
          </p:cNvSpPr>
          <p:nvPr/>
        </p:nvSpPr>
        <p:spPr bwMode="gray">
          <a:xfrm>
            <a:off x="6546324" y="2469496"/>
            <a:ext cx="5196372" cy="1339512"/>
          </a:xfrm>
          <a:prstGeom prst="rect">
            <a:avLst/>
          </a:prstGeom>
        </p:spPr>
        <p:txBody>
          <a:bodyPr vert="horz" lIns="45720" tIns="45720" rIns="45720" bIns="45720" rtlCol="0">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ctr" latinLnBrk="0" hangingPunct="1">
              <a:lnSpc>
                <a:spcPct val="107000"/>
              </a:lnSpc>
              <a:spcBef>
                <a:spcPts val="0"/>
              </a:spcBef>
              <a:spcAft>
                <a:spcPts val="0"/>
              </a:spcAft>
              <a:buClrTx/>
              <a:buSzPct val="100000"/>
              <a:buFont typeface="Arial" panose="020B0604020202020204" pitchFamily="34" charset="0"/>
              <a:buNone/>
              <a:tabLst/>
              <a:defRPr/>
            </a:pPr>
            <a:endParaRPr kumimoji="0" lang="en-US" sz="1200" b="0" i="0" u="none" strike="noStrike" kern="1200" cap="none" spc="0" normalizeH="0" baseline="30000" noProof="0">
              <a:ln>
                <a:noFill/>
              </a:ln>
              <a:solidFill>
                <a:srgbClr val="0000C9"/>
              </a:solidFill>
              <a:effectLst/>
              <a:uLnTx/>
              <a:uFillTx/>
              <a:ea typeface="Times New Roman" panose="02020603050405020304" pitchFamily="18" charset="0"/>
              <a:cs typeface="Calibri" panose="020F0502020204030204" pitchFamily="34" charset="0"/>
            </a:endParaRPr>
          </a:p>
        </p:txBody>
      </p:sp>
      <p:sp>
        <p:nvSpPr>
          <p:cNvPr id="2" name="Content Placeholder 1">
            <a:extLst>
              <a:ext uri="{FF2B5EF4-FFF2-40B4-BE49-F238E27FC236}">
                <a16:creationId xmlns:a16="http://schemas.microsoft.com/office/drawing/2014/main" id="{C42000C1-6C66-24D3-7A5A-19464633D431}"/>
              </a:ext>
            </a:extLst>
          </p:cNvPr>
          <p:cNvSpPr txBox="1">
            <a:spLocks/>
          </p:cNvSpPr>
          <p:nvPr/>
        </p:nvSpPr>
        <p:spPr bwMode="gray">
          <a:xfrm>
            <a:off x="850505" y="5321817"/>
            <a:ext cx="10488600" cy="673206"/>
          </a:xfrm>
          <a:prstGeom prst="roundRect">
            <a:avLst/>
          </a:prstGeom>
          <a:solidFill>
            <a:schemeClr val="tx2"/>
          </a:solidFill>
          <a:ln>
            <a:noFill/>
          </a:ln>
          <a:effectLst>
            <a:outerShdw blurRad="50800" dist="38100" dir="2700000" algn="tl" rotWithShape="0">
              <a:prstClr val="black">
                <a:alpha val="40000"/>
              </a:prstClr>
            </a:outerShdw>
          </a:effectLst>
        </p:spPr>
        <p:txBody>
          <a:bodyPr vert="horz" lIns="45720" tIns="45720" rIns="45720" bIns="45720" rtlCol="0">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ctr" latinLnBrk="0" hangingPunct="1">
              <a:lnSpc>
                <a:spcPct val="107000"/>
              </a:lnSpc>
              <a:spcBef>
                <a:spcPts val="0"/>
              </a:spcBef>
              <a:spcAft>
                <a:spcPts val="0"/>
              </a:spcAft>
              <a:buClrTx/>
              <a:buSzPct val="100000"/>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RSV, G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glikoproteini</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aracılığıyla</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hücresel</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reseptörlere</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bağlanır</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ve</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F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glikoproteini</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aracılığıyla</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hücre</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zarına</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füzyonu</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sağlayarak</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virüsün</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konak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hücreye</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girişini</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ve</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replikasyonun</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FFFFFF"/>
                </a:solidFill>
                <a:effectLst/>
                <a:uLnTx/>
                <a:uFillTx/>
                <a:ea typeface="Times New Roman" panose="02020603050405020304" pitchFamily="18" charset="0"/>
                <a:cs typeface="Calibri" panose="020F0502020204030204" pitchFamily="34" charset="0"/>
              </a:rPr>
              <a:t>başlamasını</a:t>
            </a:r>
            <a:r>
              <a:rPr kumimoji="0" lang="en-US" sz="1600" b="1" i="0" u="none" strike="noStrike" kern="1200" cap="none" spc="0" normalizeH="0" baseline="0" noProof="0">
                <a:ln>
                  <a:noFill/>
                </a:ln>
                <a:solidFill>
                  <a:srgbClr val="FFFFFF"/>
                </a:solidFill>
                <a:effectLst/>
                <a:uLnTx/>
                <a:uFillTx/>
                <a:ea typeface="Times New Roman" panose="02020603050405020304" pitchFamily="18" charset="0"/>
                <a:cs typeface="Calibri" panose="020F0502020204030204" pitchFamily="34" charset="0"/>
              </a:rPr>
              <a:t> sağlar.</a:t>
            </a:r>
            <a:r>
              <a:rPr kumimoji="0" lang="en-US" sz="1600" b="1" i="0" u="none" strike="noStrike" kern="1200" cap="none" spc="0" normalizeH="0" baseline="30000" noProof="0">
                <a:ln>
                  <a:noFill/>
                </a:ln>
                <a:solidFill>
                  <a:srgbClr val="FFFFFF"/>
                </a:solidFill>
                <a:effectLst/>
                <a:uLnTx/>
                <a:uFillTx/>
                <a:ea typeface="Times New Roman" panose="02020603050405020304" pitchFamily="18" charset="0"/>
                <a:cs typeface="Calibri" panose="020F0502020204030204" pitchFamily="34" charset="0"/>
              </a:rPr>
              <a:t>3</a:t>
            </a:r>
          </a:p>
        </p:txBody>
      </p:sp>
      <p:cxnSp>
        <p:nvCxnSpPr>
          <p:cNvPr id="22" name="Straight Connector 21">
            <a:extLst>
              <a:ext uri="{FF2B5EF4-FFF2-40B4-BE49-F238E27FC236}">
                <a16:creationId xmlns:a16="http://schemas.microsoft.com/office/drawing/2014/main" id="{3BC38CDF-EA5B-B84C-4BE8-9CFEB7198508}"/>
              </a:ext>
            </a:extLst>
          </p:cNvPr>
          <p:cNvCxnSpPr/>
          <p:nvPr/>
        </p:nvCxnSpPr>
        <p:spPr bwMode="gray">
          <a:xfrm>
            <a:off x="913773" y="1696040"/>
            <a:ext cx="4846044" cy="0"/>
          </a:xfrm>
          <a:prstGeom prst="line">
            <a:avLst/>
          </a:prstGeom>
          <a:noFill/>
          <a:ln w="22225" cap="rnd">
            <a:solidFill>
              <a:schemeClr val="tx2"/>
            </a:solidFill>
            <a:prstDash val="solid"/>
            <a:round/>
            <a:headEnd/>
            <a:tailEnd/>
          </a:ln>
          <a:effectLst/>
        </p:spPr>
      </p:cxnSp>
      <p:sp>
        <p:nvSpPr>
          <p:cNvPr id="3" name="TextBox 15">
            <a:extLst>
              <a:ext uri="{FF2B5EF4-FFF2-40B4-BE49-F238E27FC236}">
                <a16:creationId xmlns:a16="http://schemas.microsoft.com/office/drawing/2014/main" id="{A3D90B8E-B6EC-5D87-6E16-0F13CB46E319}"/>
              </a:ext>
            </a:extLst>
          </p:cNvPr>
          <p:cNvSpPr txBox="1"/>
          <p:nvPr/>
        </p:nvSpPr>
        <p:spPr bwMode="gray">
          <a:xfrm>
            <a:off x="690417" y="2130947"/>
            <a:ext cx="1077086" cy="380659"/>
          </a:xfrm>
          <a:prstGeom prst="rect">
            <a:avLst/>
          </a:prstGeom>
          <a:solidFill>
            <a:schemeClr val="bg1"/>
          </a:solidFill>
        </p:spPr>
        <p:txBody>
          <a:bodyPr wrap="square" lIns="45708" tIns="45708" rIns="45708" bIns="45708" rtlCol="0" anchor="ctr">
            <a:noAutofit/>
          </a:bodyPr>
          <a:lstStyle/>
          <a:p>
            <a:pPr marL="0" marR="0" lvl="0" indent="0" algn="l" defTabSz="228520" rtl="0" eaLnBrk="1" fontAlgn="auto" latinLnBrk="0" hangingPunct="1">
              <a:lnSpc>
                <a:spcPct val="90000"/>
              </a:lnSpc>
              <a:spcBef>
                <a:spcPts val="100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ea typeface="+mn-ea"/>
                <a:cs typeface="+mn-cs"/>
              </a:rPr>
              <a:t>Büyük Polimeraz Proteini (L)</a:t>
            </a:r>
          </a:p>
        </p:txBody>
      </p:sp>
      <p:sp>
        <p:nvSpPr>
          <p:cNvPr id="10" name="TextBox 15">
            <a:extLst>
              <a:ext uri="{FF2B5EF4-FFF2-40B4-BE49-F238E27FC236}">
                <a16:creationId xmlns:a16="http://schemas.microsoft.com/office/drawing/2014/main" id="{A0A80D02-EF2D-104F-7BB2-E8EDF25F0729}"/>
              </a:ext>
            </a:extLst>
          </p:cNvPr>
          <p:cNvSpPr txBox="1"/>
          <p:nvPr/>
        </p:nvSpPr>
        <p:spPr bwMode="gray">
          <a:xfrm>
            <a:off x="446914" y="3979951"/>
            <a:ext cx="1077086" cy="408994"/>
          </a:xfrm>
          <a:prstGeom prst="rect">
            <a:avLst/>
          </a:prstGeom>
          <a:solidFill>
            <a:schemeClr val="bg1"/>
          </a:solidFill>
        </p:spPr>
        <p:txBody>
          <a:bodyPr wrap="square" lIns="45708" tIns="45708" rIns="45708" bIns="45708" rtlCol="0" anchor="ctr">
            <a:noAutofit/>
          </a:bodyPr>
          <a:lstStyle/>
          <a:p>
            <a:pPr marL="0" marR="0" lvl="0" indent="0" algn="l" defTabSz="228520" rtl="0" eaLnBrk="1" fontAlgn="auto" latinLnBrk="0" hangingPunct="1">
              <a:lnSpc>
                <a:spcPct val="90000"/>
              </a:lnSpc>
              <a:spcBef>
                <a:spcPts val="1000"/>
              </a:spcBef>
              <a:spcAft>
                <a:spcPts val="0"/>
              </a:spcAft>
              <a:buClrTx/>
              <a:buSzTx/>
              <a:buFontTx/>
              <a:buNone/>
              <a:tabLst/>
              <a:defRPr/>
            </a:pPr>
            <a:r>
              <a:rPr kumimoji="0" lang="en-US" sz="1000" b="1" i="0" u="none" strike="noStrike" kern="1200" cap="none" spc="0" normalizeH="0" baseline="0" noProof="0" err="1">
                <a:ln>
                  <a:noFill/>
                </a:ln>
                <a:solidFill>
                  <a:srgbClr val="000000"/>
                </a:solidFill>
                <a:effectLst/>
                <a:uLnTx/>
                <a:uFillTx/>
                <a:ea typeface="+mn-ea"/>
                <a:cs typeface="+mn-cs"/>
              </a:rPr>
              <a:t>Bağlanma</a:t>
            </a:r>
            <a:r>
              <a:rPr kumimoji="0" lang="en-US" sz="1000" b="1" i="0" u="none" strike="noStrike" kern="1200" cap="none" spc="0" normalizeH="0" baseline="0" noProof="0">
                <a:ln>
                  <a:noFill/>
                </a:ln>
                <a:solidFill>
                  <a:srgbClr val="000000"/>
                </a:solidFill>
                <a:effectLst/>
                <a:uLnTx/>
                <a:uFillTx/>
                <a:ea typeface="+mn-ea"/>
                <a:cs typeface="+mn-cs"/>
              </a:rPr>
              <a:t> </a:t>
            </a:r>
            <a:r>
              <a:rPr kumimoji="0" lang="tr-TR" sz="1000" b="1" i="0" u="none" strike="noStrike" kern="1200" cap="none" spc="0" normalizeH="0" baseline="0" noProof="0" err="1">
                <a:ln>
                  <a:noFill/>
                </a:ln>
                <a:solidFill>
                  <a:srgbClr val="000000"/>
                </a:solidFill>
                <a:effectLst/>
                <a:uLnTx/>
                <a:uFillTx/>
                <a:ea typeface="+mn-ea"/>
                <a:cs typeface="+mn-cs"/>
              </a:rPr>
              <a:t>glikop</a:t>
            </a:r>
            <a:r>
              <a:rPr kumimoji="0" lang="en-US" sz="1000" b="1" i="0" u="none" strike="noStrike" kern="1200" cap="none" spc="0" normalizeH="0" baseline="0" noProof="0" err="1">
                <a:ln>
                  <a:noFill/>
                </a:ln>
                <a:solidFill>
                  <a:srgbClr val="000000"/>
                </a:solidFill>
                <a:effectLst/>
                <a:uLnTx/>
                <a:uFillTx/>
                <a:ea typeface="+mn-ea"/>
                <a:cs typeface="+mn-cs"/>
              </a:rPr>
              <a:t>roteini</a:t>
            </a:r>
            <a:r>
              <a:rPr kumimoji="0" lang="en-US" sz="1000" b="1" i="0" u="none" strike="noStrike" kern="1200" cap="none" spc="0" normalizeH="0" baseline="0" noProof="0">
                <a:ln>
                  <a:noFill/>
                </a:ln>
                <a:solidFill>
                  <a:srgbClr val="000000"/>
                </a:solidFill>
                <a:effectLst/>
                <a:uLnTx/>
                <a:uFillTx/>
                <a:ea typeface="+mn-ea"/>
                <a:cs typeface="+mn-cs"/>
              </a:rPr>
              <a:t> (G)</a:t>
            </a:r>
          </a:p>
        </p:txBody>
      </p:sp>
      <p:sp>
        <p:nvSpPr>
          <p:cNvPr id="11" name="TextBox 16">
            <a:extLst>
              <a:ext uri="{FF2B5EF4-FFF2-40B4-BE49-F238E27FC236}">
                <a16:creationId xmlns:a16="http://schemas.microsoft.com/office/drawing/2014/main" id="{CFF0DF0A-FFDA-2F57-445A-AE1609DE5D2A}"/>
              </a:ext>
            </a:extLst>
          </p:cNvPr>
          <p:cNvSpPr txBox="1"/>
          <p:nvPr/>
        </p:nvSpPr>
        <p:spPr bwMode="gray">
          <a:xfrm>
            <a:off x="4717224" y="2638866"/>
            <a:ext cx="1344857" cy="383577"/>
          </a:xfrm>
          <a:prstGeom prst="rect">
            <a:avLst/>
          </a:prstGeom>
          <a:solidFill>
            <a:schemeClr val="bg1"/>
          </a:solidFill>
        </p:spPr>
        <p:txBody>
          <a:bodyPr wrap="square" lIns="45708" tIns="45708" rIns="45708" bIns="45708" rtlCol="0" anchor="ctr">
            <a:noAutofit/>
          </a:bodyPr>
          <a:lstStyle/>
          <a:p>
            <a:pPr marL="0" marR="0" lvl="0" indent="0" algn="l" defTabSz="228520" rtl="0" eaLnBrk="1" fontAlgn="auto" latinLnBrk="0" hangingPunct="1">
              <a:lnSpc>
                <a:spcPct val="90000"/>
              </a:lnSpc>
              <a:spcBef>
                <a:spcPts val="100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ea typeface="+mn-ea"/>
                <a:cs typeface="+mn-cs"/>
              </a:rPr>
              <a:t>Küçük Hidrofobik Protein (</a:t>
            </a:r>
            <a:r>
              <a:rPr kumimoji="0" lang="tr-TR" sz="1000" b="1" i="0" u="none" strike="noStrike" kern="1200" cap="none" spc="0" normalizeH="0" baseline="0" noProof="0">
                <a:ln>
                  <a:noFill/>
                </a:ln>
                <a:solidFill>
                  <a:srgbClr val="000000"/>
                </a:solidFill>
                <a:effectLst/>
                <a:uLnTx/>
                <a:uFillTx/>
                <a:ea typeface="+mn-ea"/>
                <a:cs typeface="+mn-cs"/>
              </a:rPr>
              <a:t>K</a:t>
            </a:r>
            <a:r>
              <a:rPr kumimoji="0" lang="en-US" sz="1000" b="1" i="0" u="none" strike="noStrike" kern="1200" cap="none" spc="0" normalizeH="0" baseline="0" noProof="0">
                <a:ln>
                  <a:noFill/>
                </a:ln>
                <a:solidFill>
                  <a:srgbClr val="000000"/>
                </a:solidFill>
                <a:effectLst/>
                <a:uLnTx/>
                <a:uFillTx/>
                <a:ea typeface="+mn-ea"/>
                <a:cs typeface="+mn-cs"/>
              </a:rPr>
              <a:t>H)</a:t>
            </a:r>
          </a:p>
        </p:txBody>
      </p:sp>
      <p:sp>
        <p:nvSpPr>
          <p:cNvPr id="13" name="TextBox 19">
            <a:extLst>
              <a:ext uri="{FF2B5EF4-FFF2-40B4-BE49-F238E27FC236}">
                <a16:creationId xmlns:a16="http://schemas.microsoft.com/office/drawing/2014/main" id="{7DD4DAC0-8A74-55E5-CF3B-8C49A8D32206}"/>
              </a:ext>
            </a:extLst>
          </p:cNvPr>
          <p:cNvSpPr txBox="1"/>
          <p:nvPr/>
        </p:nvSpPr>
        <p:spPr bwMode="gray">
          <a:xfrm>
            <a:off x="4686384" y="4277938"/>
            <a:ext cx="1095725" cy="239259"/>
          </a:xfrm>
          <a:prstGeom prst="rect">
            <a:avLst/>
          </a:prstGeom>
          <a:solidFill>
            <a:schemeClr val="bg1"/>
          </a:solidFill>
        </p:spPr>
        <p:txBody>
          <a:bodyPr wrap="square" lIns="45708" tIns="45708" rIns="45708" bIns="45708" rtlCol="0" anchor="ctr">
            <a:noAutofit/>
          </a:bodyPr>
          <a:lstStyle/>
          <a:p>
            <a:pPr marL="0" marR="0" lvl="0" indent="0" algn="l" defTabSz="228520" rtl="0" eaLnBrk="1" fontAlgn="auto" latinLnBrk="0" hangingPunct="1">
              <a:lnSpc>
                <a:spcPct val="90000"/>
              </a:lnSpc>
              <a:spcBef>
                <a:spcPts val="100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ea typeface="+mn-ea"/>
                <a:cs typeface="+mn-cs"/>
              </a:rPr>
              <a:t>Lipit Çift Tabaka</a:t>
            </a:r>
          </a:p>
        </p:txBody>
      </p:sp>
      <p:sp>
        <p:nvSpPr>
          <p:cNvPr id="14" name="TextBox 17">
            <a:extLst>
              <a:ext uri="{FF2B5EF4-FFF2-40B4-BE49-F238E27FC236}">
                <a16:creationId xmlns:a16="http://schemas.microsoft.com/office/drawing/2014/main" id="{7612763D-5ED6-DCAD-D8D7-74EF62FF4CD8}"/>
              </a:ext>
            </a:extLst>
          </p:cNvPr>
          <p:cNvSpPr txBox="1"/>
          <p:nvPr/>
        </p:nvSpPr>
        <p:spPr bwMode="gray">
          <a:xfrm>
            <a:off x="4747695" y="3478215"/>
            <a:ext cx="1275867" cy="239259"/>
          </a:xfrm>
          <a:prstGeom prst="rect">
            <a:avLst/>
          </a:prstGeom>
          <a:solidFill>
            <a:schemeClr val="bg1"/>
          </a:solidFill>
        </p:spPr>
        <p:txBody>
          <a:bodyPr wrap="square" lIns="45708" tIns="45708" rIns="45708" bIns="45708" rtlCol="0" anchor="ctr">
            <a:noAutofit/>
          </a:bodyPr>
          <a:lstStyle/>
          <a:p>
            <a:pPr marL="0" marR="0" lvl="0" indent="0" algn="l" defTabSz="228520" rtl="0" eaLnBrk="1" fontAlgn="auto" latinLnBrk="0" hangingPunct="1">
              <a:lnSpc>
                <a:spcPct val="90000"/>
              </a:lnSpc>
              <a:spcBef>
                <a:spcPts val="100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ea typeface="+mn-ea"/>
                <a:cs typeface="+mn-cs"/>
              </a:rPr>
              <a:t>Fosfoprotein (P)</a:t>
            </a:r>
          </a:p>
        </p:txBody>
      </p:sp>
      <p:sp>
        <p:nvSpPr>
          <p:cNvPr id="19" name="TextBox 15">
            <a:extLst>
              <a:ext uri="{FF2B5EF4-FFF2-40B4-BE49-F238E27FC236}">
                <a16:creationId xmlns:a16="http://schemas.microsoft.com/office/drawing/2014/main" id="{E9F5E11E-72B6-0C07-CCFF-034045880631}"/>
              </a:ext>
            </a:extLst>
          </p:cNvPr>
          <p:cNvSpPr txBox="1"/>
          <p:nvPr/>
        </p:nvSpPr>
        <p:spPr bwMode="gray">
          <a:xfrm>
            <a:off x="4492372" y="1971317"/>
            <a:ext cx="1303336" cy="408994"/>
          </a:xfrm>
          <a:prstGeom prst="rect">
            <a:avLst/>
          </a:prstGeom>
          <a:solidFill>
            <a:schemeClr val="bg1"/>
          </a:solidFill>
        </p:spPr>
        <p:txBody>
          <a:bodyPr wrap="square" lIns="45708" tIns="45708" rIns="45708" bIns="45708" rtlCol="0" anchor="ctr">
            <a:noAutofit/>
          </a:bodyPr>
          <a:lstStyle/>
          <a:p>
            <a:pPr marL="0" marR="0" lvl="0" indent="0" algn="l" defTabSz="228520" rtl="0" eaLnBrk="1" fontAlgn="auto" latinLnBrk="0" hangingPunct="1">
              <a:lnSpc>
                <a:spcPct val="90000"/>
              </a:lnSpc>
              <a:spcBef>
                <a:spcPts val="1000"/>
              </a:spcBef>
              <a:spcAft>
                <a:spcPts val="0"/>
              </a:spcAft>
              <a:buClrTx/>
              <a:buSzTx/>
              <a:buFontTx/>
              <a:buNone/>
              <a:tabLst/>
              <a:defRPr/>
            </a:pPr>
            <a:r>
              <a:rPr kumimoji="0" lang="tr-TR" sz="1000" b="1" i="0" u="none" strike="noStrike" kern="1200" cap="none" spc="0" normalizeH="0" baseline="0" noProof="0">
                <a:ln>
                  <a:noFill/>
                </a:ln>
                <a:solidFill>
                  <a:srgbClr val="000000"/>
                </a:solidFill>
                <a:effectLst/>
                <a:uLnTx/>
                <a:uFillTx/>
                <a:ea typeface="+mn-ea"/>
                <a:cs typeface="+mn-cs"/>
              </a:rPr>
              <a:t>Füzyon proteini (F)</a:t>
            </a:r>
            <a:endParaRPr kumimoji="0" lang="en-US" sz="1000" b="1" i="0" u="none" strike="noStrike" kern="1200" cap="none" spc="0" normalizeH="0" baseline="0" noProof="0">
              <a:ln>
                <a:noFill/>
              </a:ln>
              <a:solidFill>
                <a:srgbClr val="000000"/>
              </a:solidFill>
              <a:effectLst/>
              <a:uLnTx/>
              <a:uFillTx/>
              <a:ea typeface="+mn-ea"/>
              <a:cs typeface="+mn-cs"/>
            </a:endParaRPr>
          </a:p>
        </p:txBody>
      </p:sp>
      <p:sp>
        <p:nvSpPr>
          <p:cNvPr id="20" name="TextBox 17">
            <a:extLst>
              <a:ext uri="{FF2B5EF4-FFF2-40B4-BE49-F238E27FC236}">
                <a16:creationId xmlns:a16="http://schemas.microsoft.com/office/drawing/2014/main" id="{4CDEDAA6-3FA1-6875-5ED6-14165C4DE490}"/>
              </a:ext>
            </a:extLst>
          </p:cNvPr>
          <p:cNvSpPr txBox="1"/>
          <p:nvPr/>
        </p:nvSpPr>
        <p:spPr bwMode="gray">
          <a:xfrm>
            <a:off x="2565949" y="2745847"/>
            <a:ext cx="1275867" cy="239259"/>
          </a:xfrm>
          <a:prstGeom prst="rect">
            <a:avLst/>
          </a:prstGeom>
          <a:solidFill>
            <a:srgbClr val="F8EFFF"/>
          </a:solidFill>
        </p:spPr>
        <p:txBody>
          <a:bodyPr wrap="square" lIns="45708" tIns="45708" rIns="45708" bIns="45708" rtlCol="0" anchor="ctr">
            <a:noAutofit/>
          </a:bodyPr>
          <a:lstStyle/>
          <a:p>
            <a:pPr marL="0" marR="0" lvl="0" indent="0" algn="l" defTabSz="228520" rtl="0" eaLnBrk="1" fontAlgn="auto" latinLnBrk="0" hangingPunct="1">
              <a:lnSpc>
                <a:spcPct val="90000"/>
              </a:lnSpc>
              <a:spcBef>
                <a:spcPts val="1000"/>
              </a:spcBef>
              <a:spcAft>
                <a:spcPts val="0"/>
              </a:spcAft>
              <a:buClrTx/>
              <a:buSzTx/>
              <a:buFontTx/>
              <a:buNone/>
              <a:tabLst/>
              <a:defRPr/>
            </a:pPr>
            <a:r>
              <a:rPr kumimoji="0" lang="en-US" sz="1000" b="1" i="0" u="none" strike="noStrike" kern="1200" cap="none" spc="0" normalizeH="0" baseline="0" noProof="0" err="1">
                <a:ln>
                  <a:noFill/>
                </a:ln>
                <a:solidFill>
                  <a:srgbClr val="000000"/>
                </a:solidFill>
                <a:effectLst/>
                <a:uLnTx/>
                <a:uFillTx/>
                <a:ea typeface="+mn-ea"/>
                <a:cs typeface="+mn-cs"/>
              </a:rPr>
              <a:t>Nükleoprotein</a:t>
            </a:r>
            <a:r>
              <a:rPr kumimoji="0" lang="en-US" sz="1000" b="1" i="0" u="none" strike="noStrike" kern="1200" cap="none" spc="0" normalizeH="0" baseline="0" noProof="0">
                <a:ln>
                  <a:noFill/>
                </a:ln>
                <a:solidFill>
                  <a:srgbClr val="000000"/>
                </a:solidFill>
                <a:effectLst/>
                <a:uLnTx/>
                <a:uFillTx/>
                <a:ea typeface="+mn-ea"/>
                <a:cs typeface="+mn-cs"/>
              </a:rPr>
              <a:t> (N)</a:t>
            </a:r>
          </a:p>
        </p:txBody>
      </p:sp>
      <p:sp>
        <p:nvSpPr>
          <p:cNvPr id="24" name="TextBox 17">
            <a:extLst>
              <a:ext uri="{FF2B5EF4-FFF2-40B4-BE49-F238E27FC236}">
                <a16:creationId xmlns:a16="http://schemas.microsoft.com/office/drawing/2014/main" id="{CD7F56BE-757F-CB72-A2CE-09B7CD0E72FC}"/>
              </a:ext>
            </a:extLst>
          </p:cNvPr>
          <p:cNvSpPr txBox="1"/>
          <p:nvPr/>
        </p:nvSpPr>
        <p:spPr bwMode="gray">
          <a:xfrm>
            <a:off x="2644554" y="3936655"/>
            <a:ext cx="921276" cy="239260"/>
          </a:xfrm>
          <a:prstGeom prst="rect">
            <a:avLst/>
          </a:prstGeom>
          <a:solidFill>
            <a:srgbClr val="F8EFFF"/>
          </a:solidFill>
        </p:spPr>
        <p:txBody>
          <a:bodyPr wrap="square" lIns="45708" tIns="45708" rIns="45708" bIns="45708" rtlCol="0" anchor="ctr">
            <a:noAutofit/>
          </a:bodyPr>
          <a:lstStyle/>
          <a:p>
            <a:pPr marL="0" marR="0" lvl="0" indent="0" algn="l" defTabSz="228520" rtl="0" eaLnBrk="1" fontAlgn="auto" latinLnBrk="0" hangingPunct="1">
              <a:lnSpc>
                <a:spcPct val="90000"/>
              </a:lnSpc>
              <a:spcBef>
                <a:spcPts val="1000"/>
              </a:spcBef>
              <a:spcAft>
                <a:spcPts val="0"/>
              </a:spcAft>
              <a:buClrTx/>
              <a:buSzTx/>
              <a:buFontTx/>
              <a:buNone/>
              <a:tabLst/>
              <a:defRPr/>
            </a:pPr>
            <a:r>
              <a:rPr kumimoji="0" lang="en-US" sz="700" b="1" i="0" u="none" strike="noStrike" kern="1200" cap="none" spc="0" normalizeH="0" baseline="0" noProof="0" err="1">
                <a:ln>
                  <a:noFill/>
                </a:ln>
                <a:solidFill>
                  <a:srgbClr val="000000"/>
                </a:solidFill>
                <a:effectLst/>
                <a:uLnTx/>
                <a:uFillTx/>
                <a:ea typeface="+mn-ea"/>
                <a:cs typeface="+mn-cs"/>
              </a:rPr>
              <a:t>Matris</a:t>
            </a:r>
            <a:r>
              <a:rPr kumimoji="0" lang="en-US" sz="700" b="1" i="0" u="none" strike="noStrike" kern="1200" cap="none" spc="0" normalizeH="0" baseline="0" noProof="0">
                <a:ln>
                  <a:noFill/>
                </a:ln>
                <a:solidFill>
                  <a:srgbClr val="000000"/>
                </a:solidFill>
                <a:effectLst/>
                <a:uLnTx/>
                <a:uFillTx/>
                <a:ea typeface="+mn-ea"/>
                <a:cs typeface="+mn-cs"/>
              </a:rPr>
              <a:t> Protein (M)</a:t>
            </a:r>
          </a:p>
        </p:txBody>
      </p:sp>
      <p:sp>
        <p:nvSpPr>
          <p:cNvPr id="23" name="TextBox 22">
            <a:extLst>
              <a:ext uri="{FF2B5EF4-FFF2-40B4-BE49-F238E27FC236}">
                <a16:creationId xmlns:a16="http://schemas.microsoft.com/office/drawing/2014/main" id="{2FAD4F6A-8050-0733-9421-DC8C7877834F}"/>
              </a:ext>
            </a:extLst>
          </p:cNvPr>
          <p:cNvSpPr txBox="1"/>
          <p:nvPr/>
        </p:nvSpPr>
        <p:spPr>
          <a:xfrm>
            <a:off x="6402212" y="3239139"/>
            <a:ext cx="4730844" cy="738664"/>
          </a:xfrm>
          <a:prstGeom prst="rect">
            <a:avLst/>
          </a:prstGeom>
          <a:noFill/>
        </p:spPr>
        <p:txBody>
          <a:bodyPr wrap="square">
            <a:spAutoFit/>
          </a:bodyPr>
          <a:lstStyle/>
          <a:p>
            <a:pPr marL="285750" indent="-285750">
              <a:buFont typeface="Arial" panose="020B0604020202020204" pitchFamily="34" charset="0"/>
              <a:buChar char="•"/>
            </a:pPr>
            <a:r>
              <a:rPr lang="en-US" sz="1400">
                <a:solidFill>
                  <a:srgbClr val="000000"/>
                </a:solidFill>
                <a:cs typeface="Calibri" panose="020F0502020204030204" pitchFamily="34" charset="0"/>
              </a:rPr>
              <a:t>RSV F </a:t>
            </a:r>
            <a:r>
              <a:rPr lang="en-US" sz="1400" err="1">
                <a:solidFill>
                  <a:srgbClr val="000000"/>
                </a:solidFill>
                <a:cs typeface="Calibri" panose="020F0502020204030204" pitchFamily="34" charset="0"/>
              </a:rPr>
              <a:t>proteini</a:t>
            </a:r>
            <a:r>
              <a:rPr lang="en-US" sz="1400">
                <a:solidFill>
                  <a:srgbClr val="000000"/>
                </a:solidFill>
                <a:cs typeface="Calibri" panose="020F0502020204030204" pitchFamily="34" charset="0"/>
              </a:rPr>
              <a:t>, influenza </a:t>
            </a:r>
            <a:r>
              <a:rPr lang="en-US" sz="1400" err="1">
                <a:solidFill>
                  <a:srgbClr val="000000"/>
                </a:solidFill>
                <a:cs typeface="Calibri" panose="020F0502020204030204" pitchFamily="34" charset="0"/>
              </a:rPr>
              <a:t>virüsü</a:t>
            </a:r>
            <a:r>
              <a:rPr lang="en-US" sz="1400">
                <a:solidFill>
                  <a:srgbClr val="000000"/>
                </a:solidFill>
                <a:cs typeface="Calibri" panose="020F0502020204030204" pitchFamily="34" charset="0"/>
              </a:rPr>
              <a:t> </a:t>
            </a:r>
            <a:r>
              <a:rPr lang="en-US" sz="1400" err="1">
                <a:solidFill>
                  <a:srgbClr val="000000"/>
                </a:solidFill>
                <a:cs typeface="Calibri" panose="020F0502020204030204" pitchFamily="34" charset="0"/>
              </a:rPr>
              <a:t>veya</a:t>
            </a:r>
            <a:r>
              <a:rPr lang="en-US" sz="1400">
                <a:solidFill>
                  <a:srgbClr val="000000"/>
                </a:solidFill>
                <a:cs typeface="Calibri" panose="020F0502020204030204" pitchFamily="34" charset="0"/>
              </a:rPr>
              <a:t> </a:t>
            </a:r>
            <a:r>
              <a:rPr lang="en-US" sz="1400" err="1">
                <a:solidFill>
                  <a:srgbClr val="000000"/>
                </a:solidFill>
                <a:cs typeface="Calibri" panose="020F0502020204030204" pitchFamily="34" charset="0"/>
              </a:rPr>
              <a:t>insan</a:t>
            </a:r>
            <a:r>
              <a:rPr lang="en-US" sz="1400">
                <a:solidFill>
                  <a:srgbClr val="000000"/>
                </a:solidFill>
                <a:cs typeface="Calibri" panose="020F0502020204030204" pitchFamily="34" charset="0"/>
              </a:rPr>
              <a:t> </a:t>
            </a:r>
            <a:r>
              <a:rPr lang="en-US" sz="1400" err="1">
                <a:solidFill>
                  <a:srgbClr val="000000"/>
                </a:solidFill>
                <a:cs typeface="Calibri" panose="020F0502020204030204" pitchFamily="34" charset="0"/>
              </a:rPr>
              <a:t>koronavirüslerinin</a:t>
            </a:r>
            <a:r>
              <a:rPr lang="en-US" sz="1400">
                <a:solidFill>
                  <a:srgbClr val="000000"/>
                </a:solidFill>
                <a:cs typeface="Calibri" panose="020F0502020204030204" pitchFamily="34" charset="0"/>
              </a:rPr>
              <a:t> </a:t>
            </a:r>
            <a:r>
              <a:rPr lang="en-US" sz="1400" err="1">
                <a:solidFill>
                  <a:srgbClr val="000000"/>
                </a:solidFill>
                <a:cs typeface="Calibri" panose="020F0502020204030204" pitchFamily="34" charset="0"/>
              </a:rPr>
              <a:t>yüzey</a:t>
            </a:r>
            <a:r>
              <a:rPr lang="en-US" sz="1400">
                <a:solidFill>
                  <a:srgbClr val="000000"/>
                </a:solidFill>
                <a:cs typeface="Calibri" panose="020F0502020204030204" pitchFamily="34" charset="0"/>
              </a:rPr>
              <a:t> </a:t>
            </a:r>
            <a:r>
              <a:rPr lang="en-US" sz="1400" err="1">
                <a:solidFill>
                  <a:srgbClr val="000000"/>
                </a:solidFill>
                <a:cs typeface="Calibri" panose="020F0502020204030204" pitchFamily="34" charset="0"/>
              </a:rPr>
              <a:t>proteinlerine</a:t>
            </a:r>
            <a:r>
              <a:rPr lang="en-US" sz="1400">
                <a:solidFill>
                  <a:srgbClr val="000000"/>
                </a:solidFill>
                <a:cs typeface="Calibri" panose="020F0502020204030204" pitchFamily="34" charset="0"/>
              </a:rPr>
              <a:t> </a:t>
            </a:r>
            <a:r>
              <a:rPr lang="en-US" sz="1400" err="1">
                <a:solidFill>
                  <a:srgbClr val="000000"/>
                </a:solidFill>
                <a:cs typeface="Calibri" panose="020F0502020204030204" pitchFamily="34" charset="0"/>
              </a:rPr>
              <a:t>kıyasla</a:t>
            </a:r>
            <a:r>
              <a:rPr lang="en-US" sz="1400">
                <a:solidFill>
                  <a:srgbClr val="000000"/>
                </a:solidFill>
                <a:cs typeface="Calibri" panose="020F0502020204030204" pitchFamily="34" charset="0"/>
              </a:rPr>
              <a:t> </a:t>
            </a:r>
            <a:r>
              <a:rPr lang="en-US" sz="1400" err="1">
                <a:solidFill>
                  <a:srgbClr val="000000"/>
                </a:solidFill>
                <a:cs typeface="Calibri" panose="020F0502020204030204" pitchFamily="34" charset="0"/>
              </a:rPr>
              <a:t>daha</a:t>
            </a:r>
            <a:r>
              <a:rPr lang="en-US" sz="1400">
                <a:solidFill>
                  <a:srgbClr val="000000"/>
                </a:solidFill>
                <a:cs typeface="Calibri" panose="020F0502020204030204" pitchFamily="34" charset="0"/>
              </a:rPr>
              <a:t> </a:t>
            </a:r>
            <a:r>
              <a:rPr lang="en-US" sz="1400" err="1">
                <a:solidFill>
                  <a:srgbClr val="000000"/>
                </a:solidFill>
                <a:cs typeface="Calibri" panose="020F0502020204030204" pitchFamily="34" charset="0"/>
              </a:rPr>
              <a:t>az</a:t>
            </a:r>
            <a:r>
              <a:rPr lang="en-US" sz="1400">
                <a:solidFill>
                  <a:srgbClr val="000000"/>
                </a:solidFill>
                <a:cs typeface="Calibri" panose="020F0502020204030204" pitchFamily="34" charset="0"/>
              </a:rPr>
              <a:t> değişkendir</a:t>
            </a:r>
            <a:r>
              <a:rPr lang="en-US" sz="1400" baseline="30000">
                <a:solidFill>
                  <a:srgbClr val="000000"/>
                </a:solidFill>
                <a:cs typeface="Calibri" panose="020F0502020204030204" pitchFamily="34" charset="0"/>
              </a:rPr>
              <a:t>4</a:t>
            </a:r>
            <a:endParaRPr lang="en-US" sz="1400">
              <a:solidFill>
                <a:srgbClr val="000000"/>
              </a:solidFill>
              <a:cs typeface="Calibri" panose="020F0502020204030204" pitchFamily="34" charset="0"/>
            </a:endParaRPr>
          </a:p>
        </p:txBody>
      </p:sp>
      <p:pic>
        <p:nvPicPr>
          <p:cNvPr id="26" name="Picture 25" descr="A black and blue logo&#10;&#10;AI-generated content may be incorrect.">
            <a:extLst>
              <a:ext uri="{FF2B5EF4-FFF2-40B4-BE49-F238E27FC236}">
                <a16:creationId xmlns:a16="http://schemas.microsoft.com/office/drawing/2014/main" id="{6E57BA52-56BC-40C1-DD6C-AF1623B7EDED}"/>
              </a:ext>
            </a:extLst>
          </p:cNvPr>
          <p:cNvPicPr>
            <a:picLocks noChangeAspect="1"/>
          </p:cNvPicPr>
          <p:nvPr/>
        </p:nvPicPr>
        <p:blipFill>
          <a:blip r:embed="rId5"/>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4634011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CBE36-A29E-82AC-CE6A-8D1142068EF0}"/>
              </a:ext>
            </a:extLst>
          </p:cNvPr>
          <p:cNvSpPr>
            <a:spLocks noGrp="1"/>
          </p:cNvSpPr>
          <p:nvPr>
            <p:ph type="title"/>
          </p:nvPr>
        </p:nvSpPr>
        <p:spPr/>
        <p:txBody>
          <a:bodyPr>
            <a:normAutofit/>
          </a:bodyPr>
          <a:lstStyle/>
          <a:p>
            <a:r>
              <a:rPr lang="tr-TR"/>
              <a:t>RSV Çeşitli Temas Şekilleriyle Bulaşabilir ve Belirtiler ≥10 Gün Sürebilir</a:t>
            </a:r>
            <a:endParaRPr lang="x-none"/>
          </a:p>
        </p:txBody>
      </p:sp>
      <p:grpSp>
        <p:nvGrpSpPr>
          <p:cNvPr id="4" name="Group 3">
            <a:extLst>
              <a:ext uri="{FF2B5EF4-FFF2-40B4-BE49-F238E27FC236}">
                <a16:creationId xmlns:a16="http://schemas.microsoft.com/office/drawing/2014/main" id="{4CE7BE0A-9A09-F453-A1A6-F3B8F124BE46}"/>
              </a:ext>
            </a:extLst>
          </p:cNvPr>
          <p:cNvGrpSpPr/>
          <p:nvPr/>
        </p:nvGrpSpPr>
        <p:grpSpPr>
          <a:xfrm>
            <a:off x="5829513" y="2188929"/>
            <a:ext cx="5717828" cy="2625615"/>
            <a:chOff x="475410" y="2376295"/>
            <a:chExt cx="6517790" cy="3150043"/>
          </a:xfrm>
        </p:grpSpPr>
        <p:sp>
          <p:nvSpPr>
            <p:cNvPr id="5" name="Rectangle 4">
              <a:extLst>
                <a:ext uri="{FF2B5EF4-FFF2-40B4-BE49-F238E27FC236}">
                  <a16:creationId xmlns:a16="http://schemas.microsoft.com/office/drawing/2014/main" id="{8C26E0C2-21E1-F1C7-D7F5-216631586FAA}"/>
                </a:ext>
              </a:extLst>
            </p:cNvPr>
            <p:cNvSpPr/>
            <p:nvPr/>
          </p:nvSpPr>
          <p:spPr bwMode="gray">
            <a:xfrm>
              <a:off x="3432106" y="2474875"/>
              <a:ext cx="1098225" cy="2496535"/>
            </a:xfrm>
            <a:prstGeom prst="rect">
              <a:avLst/>
            </a:prstGeom>
            <a:solidFill>
              <a:srgbClr val="0070C0">
                <a:alpha val="25098"/>
              </a:srgb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tr-TR" sz="1800" b="1" i="0" u="none" strike="noStrike" kern="1200" cap="none" spc="0" normalizeH="0" baseline="0" noProof="0">
                <a:ln>
                  <a:noFill/>
                </a:ln>
                <a:solidFill>
                  <a:srgbClr val="0000C9"/>
                </a:solidFill>
                <a:effectLst/>
                <a:uLnTx/>
                <a:uFillTx/>
                <a:latin typeface="Arial" panose="020B0604020202020204" pitchFamily="34" charset="0"/>
                <a:ea typeface="+mn-ea"/>
                <a:cs typeface="Arial" panose="020B0604020202020204" pitchFamily="34" charset="0"/>
              </a:endParaRPr>
            </a:p>
          </p:txBody>
        </p:sp>
        <p:grpSp>
          <p:nvGrpSpPr>
            <p:cNvPr id="6" name="Group 5">
              <a:extLst>
                <a:ext uri="{FF2B5EF4-FFF2-40B4-BE49-F238E27FC236}">
                  <a16:creationId xmlns:a16="http://schemas.microsoft.com/office/drawing/2014/main" id="{C3B53A59-7699-FACA-DFEA-221F44131C11}"/>
                </a:ext>
              </a:extLst>
            </p:cNvPr>
            <p:cNvGrpSpPr/>
            <p:nvPr/>
          </p:nvGrpSpPr>
          <p:grpSpPr>
            <a:xfrm>
              <a:off x="475410" y="2376295"/>
              <a:ext cx="6517790" cy="3150043"/>
              <a:chOff x="2702473" y="2029738"/>
              <a:chExt cx="7017071" cy="3391352"/>
            </a:xfrm>
          </p:grpSpPr>
          <p:cxnSp>
            <p:nvCxnSpPr>
              <p:cNvPr id="7" name="Straight Connector 6">
                <a:extLst>
                  <a:ext uri="{FF2B5EF4-FFF2-40B4-BE49-F238E27FC236}">
                    <a16:creationId xmlns:a16="http://schemas.microsoft.com/office/drawing/2014/main" id="{86FA8C03-7BC7-609E-A622-2E82FE7B206E}"/>
                  </a:ext>
                </a:extLst>
              </p:cNvPr>
              <p:cNvCxnSpPr>
                <a:cxnSpLocks/>
              </p:cNvCxnSpPr>
              <p:nvPr/>
            </p:nvCxnSpPr>
            <p:spPr>
              <a:xfrm>
                <a:off x="7055608" y="2154382"/>
                <a:ext cx="0" cy="2687782"/>
              </a:xfrm>
              <a:prstGeom prst="line">
                <a:avLst/>
              </a:prstGeom>
              <a:ln w="12700">
                <a:prstDash val="dash"/>
              </a:ln>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B52AEA52-EF81-97BD-ABCC-2671C438D55C}"/>
                  </a:ext>
                </a:extLst>
              </p:cNvPr>
              <p:cNvCxnSpPr>
                <a:cxnSpLocks/>
              </p:cNvCxnSpPr>
              <p:nvPr/>
            </p:nvCxnSpPr>
            <p:spPr>
              <a:xfrm>
                <a:off x="5882602" y="2148719"/>
                <a:ext cx="0" cy="2687783"/>
              </a:xfrm>
              <a:prstGeom prst="line">
                <a:avLst/>
              </a:prstGeom>
              <a:ln w="12700">
                <a:prstDash val="dash"/>
              </a:ln>
            </p:spPr>
            <p:style>
              <a:lnRef idx="1">
                <a:schemeClr val="dk1"/>
              </a:lnRef>
              <a:fillRef idx="0">
                <a:schemeClr val="dk1"/>
              </a:fillRef>
              <a:effectRef idx="0">
                <a:schemeClr val="dk1"/>
              </a:effectRef>
              <a:fontRef idx="minor">
                <a:schemeClr val="tx1"/>
              </a:fontRef>
            </p:style>
          </p:cxnSp>
          <p:sp>
            <p:nvSpPr>
              <p:cNvPr id="9" name="Freeform: Shape 105">
                <a:extLst>
                  <a:ext uri="{FF2B5EF4-FFF2-40B4-BE49-F238E27FC236}">
                    <a16:creationId xmlns:a16="http://schemas.microsoft.com/office/drawing/2014/main" id="{7E9E13E4-75BE-10A8-330D-392ED0AD49D0}"/>
                  </a:ext>
                </a:extLst>
              </p:cNvPr>
              <p:cNvSpPr/>
              <p:nvPr/>
            </p:nvSpPr>
            <p:spPr>
              <a:xfrm>
                <a:off x="4081646" y="2411307"/>
                <a:ext cx="4761459" cy="2072640"/>
              </a:xfrm>
              <a:custGeom>
                <a:avLst/>
                <a:gdLst>
                  <a:gd name="connsiteX0" fmla="*/ 0 w 3759200"/>
                  <a:gd name="connsiteY0" fmla="*/ 2072640 h 2072640"/>
                  <a:gd name="connsiteX1" fmla="*/ 487680 w 3759200"/>
                  <a:gd name="connsiteY1" fmla="*/ 0 h 2072640"/>
                  <a:gd name="connsiteX2" fmla="*/ 934720 w 3759200"/>
                  <a:gd name="connsiteY2" fmla="*/ 345440 h 2072640"/>
                  <a:gd name="connsiteX3" fmla="*/ 1388534 w 3759200"/>
                  <a:gd name="connsiteY3" fmla="*/ 379306 h 2072640"/>
                  <a:gd name="connsiteX4" fmla="*/ 2336800 w 3759200"/>
                  <a:gd name="connsiteY4" fmla="*/ 1097280 h 2072640"/>
                  <a:gd name="connsiteX5" fmla="*/ 2797387 w 3759200"/>
                  <a:gd name="connsiteY5" fmla="*/ 1286933 h 2072640"/>
                  <a:gd name="connsiteX6" fmla="*/ 3285067 w 3759200"/>
                  <a:gd name="connsiteY6" fmla="*/ 1659466 h 2072640"/>
                  <a:gd name="connsiteX7" fmla="*/ 3759200 w 3759200"/>
                  <a:gd name="connsiteY7" fmla="*/ 1483360 h 2072640"/>
                  <a:gd name="connsiteX8" fmla="*/ 3759200 w 3759200"/>
                  <a:gd name="connsiteY8" fmla="*/ 1483360 h 2072640"/>
                  <a:gd name="connsiteX9" fmla="*/ 3745654 w 3759200"/>
                  <a:gd name="connsiteY9" fmla="*/ 1496906 h 2072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59200" h="2072640">
                    <a:moveTo>
                      <a:pt x="0" y="2072640"/>
                    </a:moveTo>
                    <a:lnTo>
                      <a:pt x="487680" y="0"/>
                    </a:lnTo>
                    <a:lnTo>
                      <a:pt x="934720" y="345440"/>
                    </a:lnTo>
                    <a:lnTo>
                      <a:pt x="1388534" y="379306"/>
                    </a:lnTo>
                    <a:lnTo>
                      <a:pt x="2336800" y="1097280"/>
                    </a:lnTo>
                    <a:lnTo>
                      <a:pt x="2797387" y="1286933"/>
                    </a:lnTo>
                    <a:lnTo>
                      <a:pt x="3285067" y="1659466"/>
                    </a:lnTo>
                    <a:lnTo>
                      <a:pt x="3759200" y="1483360"/>
                    </a:lnTo>
                    <a:lnTo>
                      <a:pt x="3759200" y="1483360"/>
                    </a:lnTo>
                    <a:lnTo>
                      <a:pt x="3745654" y="1496906"/>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Freeform: Shape 106">
                <a:extLst>
                  <a:ext uri="{FF2B5EF4-FFF2-40B4-BE49-F238E27FC236}">
                    <a16:creationId xmlns:a16="http://schemas.microsoft.com/office/drawing/2014/main" id="{2B01DBE6-6689-B8CE-9A0D-A004C1997DD6}"/>
                  </a:ext>
                </a:extLst>
              </p:cNvPr>
              <p:cNvSpPr/>
              <p:nvPr/>
            </p:nvSpPr>
            <p:spPr>
              <a:xfrm>
                <a:off x="3487537" y="2933700"/>
                <a:ext cx="5356641" cy="1908810"/>
              </a:xfrm>
              <a:custGeom>
                <a:avLst/>
                <a:gdLst>
                  <a:gd name="connsiteX0" fmla="*/ 0 w 4229100"/>
                  <a:gd name="connsiteY0" fmla="*/ 1908810 h 1908810"/>
                  <a:gd name="connsiteX1" fmla="*/ 118110 w 4229100"/>
                  <a:gd name="connsiteY1" fmla="*/ 1581150 h 1908810"/>
                  <a:gd name="connsiteX2" fmla="*/ 217170 w 4229100"/>
                  <a:gd name="connsiteY2" fmla="*/ 1352550 h 1908810"/>
                  <a:gd name="connsiteX3" fmla="*/ 312420 w 4229100"/>
                  <a:gd name="connsiteY3" fmla="*/ 1131570 h 1908810"/>
                  <a:gd name="connsiteX4" fmla="*/ 396240 w 4229100"/>
                  <a:gd name="connsiteY4" fmla="*/ 910590 h 1908810"/>
                  <a:gd name="connsiteX5" fmla="*/ 422910 w 4229100"/>
                  <a:gd name="connsiteY5" fmla="*/ 826770 h 1908810"/>
                  <a:gd name="connsiteX6" fmla="*/ 514350 w 4229100"/>
                  <a:gd name="connsiteY6" fmla="*/ 647700 h 1908810"/>
                  <a:gd name="connsiteX7" fmla="*/ 666750 w 4229100"/>
                  <a:gd name="connsiteY7" fmla="*/ 430530 h 1908810"/>
                  <a:gd name="connsiteX8" fmla="*/ 807720 w 4229100"/>
                  <a:gd name="connsiteY8" fmla="*/ 217170 h 1908810"/>
                  <a:gd name="connsiteX9" fmla="*/ 914400 w 4229100"/>
                  <a:gd name="connsiteY9" fmla="*/ 57150 h 1908810"/>
                  <a:gd name="connsiteX10" fmla="*/ 952500 w 4229100"/>
                  <a:gd name="connsiteY10" fmla="*/ 0 h 1908810"/>
                  <a:gd name="connsiteX11" fmla="*/ 1169670 w 4229100"/>
                  <a:gd name="connsiteY11" fmla="*/ 30480 h 1908810"/>
                  <a:gd name="connsiteX12" fmla="*/ 1375410 w 4229100"/>
                  <a:gd name="connsiteY12" fmla="*/ 80010 h 1908810"/>
                  <a:gd name="connsiteX13" fmla="*/ 1463040 w 4229100"/>
                  <a:gd name="connsiteY13" fmla="*/ 80010 h 1908810"/>
                  <a:gd name="connsiteX14" fmla="*/ 1619250 w 4229100"/>
                  <a:gd name="connsiteY14" fmla="*/ 53340 h 1908810"/>
                  <a:gd name="connsiteX15" fmla="*/ 1741170 w 4229100"/>
                  <a:gd name="connsiteY15" fmla="*/ 34290 h 1908810"/>
                  <a:gd name="connsiteX16" fmla="*/ 1851660 w 4229100"/>
                  <a:gd name="connsiteY16" fmla="*/ 26670 h 1908810"/>
                  <a:gd name="connsiteX17" fmla="*/ 1920240 w 4229100"/>
                  <a:gd name="connsiteY17" fmla="*/ 53340 h 1908810"/>
                  <a:gd name="connsiteX18" fmla="*/ 2026920 w 4229100"/>
                  <a:gd name="connsiteY18" fmla="*/ 137160 h 1908810"/>
                  <a:gd name="connsiteX19" fmla="*/ 2114550 w 4229100"/>
                  <a:gd name="connsiteY19" fmla="*/ 209550 h 1908810"/>
                  <a:gd name="connsiteX20" fmla="*/ 2228850 w 4229100"/>
                  <a:gd name="connsiteY20" fmla="*/ 274320 h 1908810"/>
                  <a:gd name="connsiteX21" fmla="*/ 2320290 w 4229100"/>
                  <a:gd name="connsiteY21" fmla="*/ 358140 h 1908810"/>
                  <a:gd name="connsiteX22" fmla="*/ 2396490 w 4229100"/>
                  <a:gd name="connsiteY22" fmla="*/ 434340 h 1908810"/>
                  <a:gd name="connsiteX23" fmla="*/ 2510790 w 4229100"/>
                  <a:gd name="connsiteY23" fmla="*/ 590550 h 1908810"/>
                  <a:gd name="connsiteX24" fmla="*/ 2613660 w 4229100"/>
                  <a:gd name="connsiteY24" fmla="*/ 708660 h 1908810"/>
                  <a:gd name="connsiteX25" fmla="*/ 2689860 w 4229100"/>
                  <a:gd name="connsiteY25" fmla="*/ 803910 h 1908810"/>
                  <a:gd name="connsiteX26" fmla="*/ 2762250 w 4229100"/>
                  <a:gd name="connsiteY26" fmla="*/ 861060 h 1908810"/>
                  <a:gd name="connsiteX27" fmla="*/ 2853690 w 4229100"/>
                  <a:gd name="connsiteY27" fmla="*/ 952500 h 1908810"/>
                  <a:gd name="connsiteX28" fmla="*/ 2990850 w 4229100"/>
                  <a:gd name="connsiteY28" fmla="*/ 1055370 h 1908810"/>
                  <a:gd name="connsiteX29" fmla="*/ 3108960 w 4229100"/>
                  <a:gd name="connsiteY29" fmla="*/ 1139190 h 1908810"/>
                  <a:gd name="connsiteX30" fmla="*/ 3196590 w 4229100"/>
                  <a:gd name="connsiteY30" fmla="*/ 1200150 h 1908810"/>
                  <a:gd name="connsiteX31" fmla="*/ 3280410 w 4229100"/>
                  <a:gd name="connsiteY31" fmla="*/ 1242060 h 1908810"/>
                  <a:gd name="connsiteX32" fmla="*/ 3409950 w 4229100"/>
                  <a:gd name="connsiteY32" fmla="*/ 1280160 h 1908810"/>
                  <a:gd name="connsiteX33" fmla="*/ 3589020 w 4229100"/>
                  <a:gd name="connsiteY33" fmla="*/ 1295400 h 1908810"/>
                  <a:gd name="connsiteX34" fmla="*/ 3749040 w 4229100"/>
                  <a:gd name="connsiteY34" fmla="*/ 1314450 h 1908810"/>
                  <a:gd name="connsiteX35" fmla="*/ 3890010 w 4229100"/>
                  <a:gd name="connsiteY35" fmla="*/ 1333500 h 1908810"/>
                  <a:gd name="connsiteX36" fmla="*/ 4065270 w 4229100"/>
                  <a:gd name="connsiteY36" fmla="*/ 1360170 h 1908810"/>
                  <a:gd name="connsiteX37" fmla="*/ 4175760 w 4229100"/>
                  <a:gd name="connsiteY37" fmla="*/ 1375410 h 1908810"/>
                  <a:gd name="connsiteX38" fmla="*/ 4229100 w 4229100"/>
                  <a:gd name="connsiteY38" fmla="*/ 1379220 h 1908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229100" h="1908810">
                    <a:moveTo>
                      <a:pt x="0" y="1908810"/>
                    </a:moveTo>
                    <a:lnTo>
                      <a:pt x="118110" y="1581150"/>
                    </a:lnTo>
                    <a:lnTo>
                      <a:pt x="217170" y="1352550"/>
                    </a:lnTo>
                    <a:lnTo>
                      <a:pt x="312420" y="1131570"/>
                    </a:lnTo>
                    <a:lnTo>
                      <a:pt x="396240" y="910590"/>
                    </a:lnTo>
                    <a:lnTo>
                      <a:pt x="422910" y="826770"/>
                    </a:lnTo>
                    <a:lnTo>
                      <a:pt x="514350" y="647700"/>
                    </a:lnTo>
                    <a:lnTo>
                      <a:pt x="666750" y="430530"/>
                    </a:lnTo>
                    <a:lnTo>
                      <a:pt x="807720" y="217170"/>
                    </a:lnTo>
                    <a:lnTo>
                      <a:pt x="914400" y="57150"/>
                    </a:lnTo>
                    <a:lnTo>
                      <a:pt x="952500" y="0"/>
                    </a:lnTo>
                    <a:lnTo>
                      <a:pt x="1169670" y="30480"/>
                    </a:lnTo>
                    <a:lnTo>
                      <a:pt x="1375410" y="80010"/>
                    </a:lnTo>
                    <a:lnTo>
                      <a:pt x="1463040" y="80010"/>
                    </a:lnTo>
                    <a:lnTo>
                      <a:pt x="1619250" y="53340"/>
                    </a:lnTo>
                    <a:lnTo>
                      <a:pt x="1741170" y="34290"/>
                    </a:lnTo>
                    <a:lnTo>
                      <a:pt x="1851660" y="26670"/>
                    </a:lnTo>
                    <a:lnTo>
                      <a:pt x="1920240" y="53340"/>
                    </a:lnTo>
                    <a:lnTo>
                      <a:pt x="2026920" y="137160"/>
                    </a:lnTo>
                    <a:lnTo>
                      <a:pt x="2114550" y="209550"/>
                    </a:lnTo>
                    <a:lnTo>
                      <a:pt x="2228850" y="274320"/>
                    </a:lnTo>
                    <a:lnTo>
                      <a:pt x="2320290" y="358140"/>
                    </a:lnTo>
                    <a:lnTo>
                      <a:pt x="2396490" y="434340"/>
                    </a:lnTo>
                    <a:lnTo>
                      <a:pt x="2510790" y="590550"/>
                    </a:lnTo>
                    <a:lnTo>
                      <a:pt x="2613660" y="708660"/>
                    </a:lnTo>
                    <a:lnTo>
                      <a:pt x="2689860" y="803910"/>
                    </a:lnTo>
                    <a:lnTo>
                      <a:pt x="2762250" y="861060"/>
                    </a:lnTo>
                    <a:lnTo>
                      <a:pt x="2853690" y="952500"/>
                    </a:lnTo>
                    <a:lnTo>
                      <a:pt x="2990850" y="1055370"/>
                    </a:lnTo>
                    <a:lnTo>
                      <a:pt x="3108960" y="1139190"/>
                    </a:lnTo>
                    <a:lnTo>
                      <a:pt x="3196590" y="1200150"/>
                    </a:lnTo>
                    <a:lnTo>
                      <a:pt x="3280410" y="1242060"/>
                    </a:lnTo>
                    <a:lnTo>
                      <a:pt x="3409950" y="1280160"/>
                    </a:lnTo>
                    <a:lnTo>
                      <a:pt x="3589020" y="1295400"/>
                    </a:lnTo>
                    <a:lnTo>
                      <a:pt x="3749040" y="1314450"/>
                    </a:lnTo>
                    <a:lnTo>
                      <a:pt x="3890010" y="1333500"/>
                    </a:lnTo>
                    <a:lnTo>
                      <a:pt x="4065270" y="1360170"/>
                    </a:lnTo>
                    <a:lnTo>
                      <a:pt x="4175760" y="1375410"/>
                    </a:lnTo>
                    <a:lnTo>
                      <a:pt x="4229100" y="1379220"/>
                    </a:lnTo>
                  </a:path>
                </a:pathLst>
              </a:custGeom>
              <a:noFill/>
              <a:ln w="28575">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1" name="Straight Connector 10">
                <a:extLst>
                  <a:ext uri="{FF2B5EF4-FFF2-40B4-BE49-F238E27FC236}">
                    <a16:creationId xmlns:a16="http://schemas.microsoft.com/office/drawing/2014/main" id="{4F6EDF83-FAE9-F389-8976-8D0650185704}"/>
                  </a:ext>
                </a:extLst>
              </p:cNvPr>
              <p:cNvCxnSpPr>
                <a:cxnSpLocks/>
              </p:cNvCxnSpPr>
              <p:nvPr/>
            </p:nvCxnSpPr>
            <p:spPr>
              <a:xfrm>
                <a:off x="3203252" y="2154382"/>
                <a:ext cx="0" cy="2687782"/>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5120DF7B-AA7D-71FB-78C5-3A54316EE71B}"/>
                  </a:ext>
                </a:extLst>
              </p:cNvPr>
              <p:cNvCxnSpPr>
                <a:cxnSpLocks/>
              </p:cNvCxnSpPr>
              <p:nvPr/>
            </p:nvCxnSpPr>
            <p:spPr>
              <a:xfrm flipH="1">
                <a:off x="3203253" y="4842164"/>
                <a:ext cx="5940125" cy="0"/>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E991D5A1-4B31-2A25-D749-09BBC96CC517}"/>
                  </a:ext>
                </a:extLst>
              </p:cNvPr>
              <p:cNvCxnSpPr/>
              <p:nvPr/>
            </p:nvCxnSpPr>
            <p:spPr>
              <a:xfrm flipH="1">
                <a:off x="3097962" y="2154382"/>
                <a:ext cx="10529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1DC8285-B210-3FE4-D75E-E856B06E1962}"/>
                  </a:ext>
                </a:extLst>
              </p:cNvPr>
              <p:cNvCxnSpPr>
                <a:cxnSpLocks/>
              </p:cNvCxnSpPr>
              <p:nvPr/>
            </p:nvCxnSpPr>
            <p:spPr>
              <a:xfrm flipV="1">
                <a:off x="9143377" y="4843128"/>
                <a:ext cx="0" cy="54455"/>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CC5FCA32-BA7E-6BF2-BC0D-45734E5132DD}"/>
                  </a:ext>
                </a:extLst>
              </p:cNvPr>
              <p:cNvCxnSpPr>
                <a:cxnSpLocks/>
              </p:cNvCxnSpPr>
              <p:nvPr/>
            </p:nvCxnSpPr>
            <p:spPr>
              <a:xfrm flipV="1">
                <a:off x="3203252" y="4842165"/>
                <a:ext cx="0" cy="54455"/>
              </a:xfrm>
              <a:prstGeom prst="line">
                <a:avLst/>
              </a:prstGeom>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2E1D400-F660-9E56-22C3-E71A465E8E0F}"/>
                  </a:ext>
                </a:extLst>
              </p:cNvPr>
              <p:cNvCxnSpPr/>
              <p:nvPr/>
            </p:nvCxnSpPr>
            <p:spPr>
              <a:xfrm flipH="1">
                <a:off x="3097962" y="4842164"/>
                <a:ext cx="10529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AC9D7B4-DC15-5811-38C8-0821DEDC4D86}"/>
                  </a:ext>
                </a:extLst>
              </p:cNvPr>
              <p:cNvSpPr txBox="1"/>
              <p:nvPr/>
            </p:nvSpPr>
            <p:spPr>
              <a:xfrm>
                <a:off x="2764982" y="2029738"/>
                <a:ext cx="356234" cy="31802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a:t>
                </a:r>
              </a:p>
            </p:txBody>
          </p:sp>
          <p:sp>
            <p:nvSpPr>
              <p:cNvPr id="18" name="TextBox 17">
                <a:extLst>
                  <a:ext uri="{FF2B5EF4-FFF2-40B4-BE49-F238E27FC236}">
                    <a16:creationId xmlns:a16="http://schemas.microsoft.com/office/drawing/2014/main" id="{41E232CB-CA0B-53E2-671E-22021F309983}"/>
                  </a:ext>
                </a:extLst>
              </p:cNvPr>
              <p:cNvSpPr txBox="1"/>
              <p:nvPr/>
            </p:nvSpPr>
            <p:spPr>
              <a:xfrm>
                <a:off x="2764982" y="4703663"/>
                <a:ext cx="356234" cy="31802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19" name="TextBox 18">
                <a:extLst>
                  <a:ext uri="{FF2B5EF4-FFF2-40B4-BE49-F238E27FC236}">
                    <a16:creationId xmlns:a16="http://schemas.microsoft.com/office/drawing/2014/main" id="{3D787632-F5C8-50E0-13C3-41A920008E53}"/>
                  </a:ext>
                </a:extLst>
              </p:cNvPr>
              <p:cNvSpPr txBox="1"/>
              <p:nvPr/>
            </p:nvSpPr>
            <p:spPr>
              <a:xfrm>
                <a:off x="3329410" y="4874508"/>
                <a:ext cx="356234" cy="3180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20" name="TextBox 19">
                <a:extLst>
                  <a:ext uri="{FF2B5EF4-FFF2-40B4-BE49-F238E27FC236}">
                    <a16:creationId xmlns:a16="http://schemas.microsoft.com/office/drawing/2014/main" id="{A3DE723E-D20B-440D-1586-4F51B1DCF309}"/>
                  </a:ext>
                </a:extLst>
              </p:cNvPr>
              <p:cNvSpPr txBox="1"/>
              <p:nvPr/>
            </p:nvSpPr>
            <p:spPr>
              <a:xfrm>
                <a:off x="5150689" y="5103061"/>
                <a:ext cx="2106940" cy="3180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mptom süresi (gün)</a:t>
                </a:r>
              </a:p>
            </p:txBody>
          </p:sp>
          <p:sp>
            <p:nvSpPr>
              <p:cNvPr id="21" name="TextBox 20">
                <a:extLst>
                  <a:ext uri="{FF2B5EF4-FFF2-40B4-BE49-F238E27FC236}">
                    <a16:creationId xmlns:a16="http://schemas.microsoft.com/office/drawing/2014/main" id="{6CF5D1F1-7AD2-0187-CBD2-D871E5073698}"/>
                  </a:ext>
                </a:extLst>
              </p:cNvPr>
              <p:cNvSpPr txBox="1"/>
              <p:nvPr/>
            </p:nvSpPr>
            <p:spPr>
              <a:xfrm rot="16200000">
                <a:off x="1749367" y="3364412"/>
                <a:ext cx="2208381" cy="30216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SV </a:t>
                </a:r>
                <a:r>
                  <a:rPr kumimoji="0" lang="tr-TR"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titresi</a:t>
                </a: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log</a:t>
                </a:r>
                <a:r>
                  <a:rPr kumimoji="0" lang="tr-TR" sz="1000" b="0" i="0" u="none" strike="noStrike" kern="1200" cap="none" spc="0" normalizeH="0" baseline="-25000" noProof="0">
                    <a:ln>
                      <a:noFill/>
                    </a:ln>
                    <a:solidFill>
                      <a:srgbClr val="000000"/>
                    </a:solidFill>
                    <a:effectLst/>
                    <a:uLnTx/>
                    <a:uFillTx/>
                    <a:latin typeface="Arial" panose="020B0604020202020204" pitchFamily="34" charset="0"/>
                    <a:ea typeface="+mn-ea"/>
                    <a:cs typeface="Arial" panose="020B0604020202020204" pitchFamily="34" charset="0"/>
                  </a:rPr>
                  <a:t>10</a:t>
                </a: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tr-TR"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pfu</a:t>
                </a: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r>
                  <a:rPr kumimoji="0" lang="tr-TR"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mL</a:t>
                </a:r>
                <a:endPar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AEFADDB5-BFBD-30C0-ADDF-70CB825D3B67}"/>
                  </a:ext>
                </a:extLst>
              </p:cNvPr>
              <p:cNvSpPr txBox="1"/>
              <p:nvPr/>
            </p:nvSpPr>
            <p:spPr>
              <a:xfrm>
                <a:off x="8853831" y="4904317"/>
                <a:ext cx="579094" cy="3180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4</a:t>
                </a:r>
              </a:p>
            </p:txBody>
          </p:sp>
          <p:cxnSp>
            <p:nvCxnSpPr>
              <p:cNvPr id="23" name="Straight Connector 22">
                <a:extLst>
                  <a:ext uri="{FF2B5EF4-FFF2-40B4-BE49-F238E27FC236}">
                    <a16:creationId xmlns:a16="http://schemas.microsoft.com/office/drawing/2014/main" id="{3631A1CA-B05C-68BC-488D-9BA3D9C040A1}"/>
                  </a:ext>
                </a:extLst>
              </p:cNvPr>
              <p:cNvCxnSpPr>
                <a:cxnSpLocks/>
              </p:cNvCxnSpPr>
              <p:nvPr/>
            </p:nvCxnSpPr>
            <p:spPr>
              <a:xfrm flipH="1">
                <a:off x="7725274" y="2292925"/>
                <a:ext cx="394853" cy="0"/>
              </a:xfrm>
              <a:prstGeom prst="line">
                <a:avLst/>
              </a:prstGeom>
              <a:ln w="19050">
                <a:solidFill>
                  <a:schemeClr val="accent1">
                    <a:lumMod val="20000"/>
                    <a:lumOff val="80000"/>
                  </a:schemeClr>
                </a:solidFill>
                <a:prstDash val="lgDash"/>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04686C00-AFAC-4896-AC5D-D241507D927D}"/>
                  </a:ext>
                </a:extLst>
              </p:cNvPr>
              <p:cNvCxnSpPr>
                <a:cxnSpLocks/>
              </p:cNvCxnSpPr>
              <p:nvPr/>
            </p:nvCxnSpPr>
            <p:spPr>
              <a:xfrm flipH="1">
                <a:off x="7725274" y="2476499"/>
                <a:ext cx="394853" cy="0"/>
              </a:xfrm>
              <a:prstGeom prst="line">
                <a:avLst/>
              </a:prstGeom>
              <a:ln w="19050">
                <a:solidFill>
                  <a:schemeClr val="accent1"/>
                </a:solidFill>
                <a:prstDash val="solid"/>
              </a:ln>
            </p:spPr>
            <p:style>
              <a:lnRef idx="1">
                <a:schemeClr val="dk1"/>
              </a:lnRef>
              <a:fillRef idx="0">
                <a:schemeClr val="dk1"/>
              </a:fillRef>
              <a:effectRef idx="0">
                <a:schemeClr val="dk1"/>
              </a:effectRef>
              <a:fontRef idx="minor">
                <a:schemeClr val="tx1"/>
              </a:fontRef>
            </p:style>
          </p:cxnSp>
          <p:sp>
            <p:nvSpPr>
              <p:cNvPr id="25" name="TextBox 24">
                <a:extLst>
                  <a:ext uri="{FF2B5EF4-FFF2-40B4-BE49-F238E27FC236}">
                    <a16:creationId xmlns:a16="http://schemas.microsoft.com/office/drawing/2014/main" id="{6761B3F3-6590-6B48-D888-9DC33C7FE725}"/>
                  </a:ext>
                </a:extLst>
              </p:cNvPr>
              <p:cNvSpPr txBox="1"/>
              <p:nvPr/>
            </p:nvSpPr>
            <p:spPr>
              <a:xfrm>
                <a:off x="3943565" y="4874508"/>
                <a:ext cx="356234" cy="3180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26" name="TextBox 25">
                <a:extLst>
                  <a:ext uri="{FF2B5EF4-FFF2-40B4-BE49-F238E27FC236}">
                    <a16:creationId xmlns:a16="http://schemas.microsoft.com/office/drawing/2014/main" id="{77E30FB9-5C33-F983-48AB-74C35059DDEA}"/>
                  </a:ext>
                </a:extLst>
              </p:cNvPr>
              <p:cNvSpPr txBox="1"/>
              <p:nvPr/>
            </p:nvSpPr>
            <p:spPr>
              <a:xfrm>
                <a:off x="5125379" y="4874508"/>
                <a:ext cx="356234" cy="3180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4</a:t>
                </a:r>
              </a:p>
            </p:txBody>
          </p:sp>
          <p:sp>
            <p:nvSpPr>
              <p:cNvPr id="27" name="TextBox 26">
                <a:extLst>
                  <a:ext uri="{FF2B5EF4-FFF2-40B4-BE49-F238E27FC236}">
                    <a16:creationId xmlns:a16="http://schemas.microsoft.com/office/drawing/2014/main" id="{73B5CE2A-D4DC-44AF-48D5-819A79E01ABF}"/>
                  </a:ext>
                </a:extLst>
              </p:cNvPr>
              <p:cNvSpPr txBox="1"/>
              <p:nvPr/>
            </p:nvSpPr>
            <p:spPr>
              <a:xfrm>
                <a:off x="5710134" y="4874508"/>
                <a:ext cx="356234" cy="3180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5</a:t>
                </a:r>
              </a:p>
            </p:txBody>
          </p:sp>
          <p:sp>
            <p:nvSpPr>
              <p:cNvPr id="28" name="TextBox 27">
                <a:extLst>
                  <a:ext uri="{FF2B5EF4-FFF2-40B4-BE49-F238E27FC236}">
                    <a16:creationId xmlns:a16="http://schemas.microsoft.com/office/drawing/2014/main" id="{62E1AF62-7716-3F74-9792-F6828BB8925F}"/>
                  </a:ext>
                </a:extLst>
              </p:cNvPr>
              <p:cNvSpPr txBox="1"/>
              <p:nvPr/>
            </p:nvSpPr>
            <p:spPr>
              <a:xfrm>
                <a:off x="6305763" y="4874508"/>
                <a:ext cx="356234" cy="3180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6</a:t>
                </a:r>
              </a:p>
            </p:txBody>
          </p:sp>
          <p:sp>
            <p:nvSpPr>
              <p:cNvPr id="29" name="TextBox 28">
                <a:extLst>
                  <a:ext uri="{FF2B5EF4-FFF2-40B4-BE49-F238E27FC236}">
                    <a16:creationId xmlns:a16="http://schemas.microsoft.com/office/drawing/2014/main" id="{2215BD32-0E71-9BAB-2A8A-3A72B827D06D}"/>
                  </a:ext>
                </a:extLst>
              </p:cNvPr>
              <p:cNvSpPr txBox="1"/>
              <p:nvPr/>
            </p:nvSpPr>
            <p:spPr>
              <a:xfrm>
                <a:off x="6901394" y="4874508"/>
                <a:ext cx="356234" cy="3180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7</a:t>
                </a:r>
              </a:p>
            </p:txBody>
          </p:sp>
          <p:sp>
            <p:nvSpPr>
              <p:cNvPr id="30" name="TextBox 29">
                <a:extLst>
                  <a:ext uri="{FF2B5EF4-FFF2-40B4-BE49-F238E27FC236}">
                    <a16:creationId xmlns:a16="http://schemas.microsoft.com/office/drawing/2014/main" id="{366C44E9-48D0-2689-D224-2626290441C3}"/>
                  </a:ext>
                </a:extLst>
              </p:cNvPr>
              <p:cNvSpPr txBox="1"/>
              <p:nvPr/>
            </p:nvSpPr>
            <p:spPr>
              <a:xfrm>
                <a:off x="7445402" y="4874508"/>
                <a:ext cx="356234" cy="3180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8</a:t>
                </a:r>
              </a:p>
            </p:txBody>
          </p:sp>
          <p:sp>
            <p:nvSpPr>
              <p:cNvPr id="31" name="TextBox 30">
                <a:extLst>
                  <a:ext uri="{FF2B5EF4-FFF2-40B4-BE49-F238E27FC236}">
                    <a16:creationId xmlns:a16="http://schemas.microsoft.com/office/drawing/2014/main" id="{8C739AAB-9AF4-5DE0-D6E0-943BF25C8A2B}"/>
                  </a:ext>
                </a:extLst>
              </p:cNvPr>
              <p:cNvSpPr txBox="1"/>
              <p:nvPr/>
            </p:nvSpPr>
            <p:spPr>
              <a:xfrm>
                <a:off x="8040850" y="2150734"/>
                <a:ext cx="1678694" cy="31802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Arial" panose="020B0604020202020204" pitchFamily="34" charset="0"/>
                  </a:rPr>
                  <a:t>Poliklinik hastaları</a:t>
                </a:r>
              </a:p>
            </p:txBody>
          </p:sp>
          <p:sp>
            <p:nvSpPr>
              <p:cNvPr id="32" name="TextBox 31">
                <a:extLst>
                  <a:ext uri="{FF2B5EF4-FFF2-40B4-BE49-F238E27FC236}">
                    <a16:creationId xmlns:a16="http://schemas.microsoft.com/office/drawing/2014/main" id="{556E46E8-297B-1705-06F4-DF320490E7EB}"/>
                  </a:ext>
                </a:extLst>
              </p:cNvPr>
              <p:cNvSpPr txBox="1"/>
              <p:nvPr/>
            </p:nvSpPr>
            <p:spPr>
              <a:xfrm>
                <a:off x="8040850" y="2332218"/>
                <a:ext cx="1678694" cy="31802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Arial" panose="020B0604020202020204" pitchFamily="34" charset="0"/>
                  </a:rPr>
                  <a:t>Yatan hastalar</a:t>
                </a:r>
              </a:p>
            </p:txBody>
          </p:sp>
          <p:sp>
            <p:nvSpPr>
              <p:cNvPr id="33" name="TextBox 32">
                <a:extLst>
                  <a:ext uri="{FF2B5EF4-FFF2-40B4-BE49-F238E27FC236}">
                    <a16:creationId xmlns:a16="http://schemas.microsoft.com/office/drawing/2014/main" id="{8A656F71-0728-A1D0-2D1F-F266A1A3A237}"/>
                  </a:ext>
                </a:extLst>
              </p:cNvPr>
              <p:cNvSpPr txBox="1"/>
              <p:nvPr/>
            </p:nvSpPr>
            <p:spPr>
              <a:xfrm>
                <a:off x="5787106" y="4337526"/>
                <a:ext cx="1379472" cy="51679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Arial" panose="020B0604020202020204" pitchFamily="34" charset="0"/>
                  </a:rPr>
                  <a:t>Yaşlılar bakıma ihtiyaç duyabilir</a:t>
                </a:r>
              </a:p>
            </p:txBody>
          </p:sp>
          <p:sp>
            <p:nvSpPr>
              <p:cNvPr id="34" name="Parallelogram 33">
                <a:extLst>
                  <a:ext uri="{FF2B5EF4-FFF2-40B4-BE49-F238E27FC236}">
                    <a16:creationId xmlns:a16="http://schemas.microsoft.com/office/drawing/2014/main" id="{4EB9CF99-F229-CEDA-A61D-2F309C7A8124}"/>
                  </a:ext>
                </a:extLst>
              </p:cNvPr>
              <p:cNvSpPr/>
              <p:nvPr/>
            </p:nvSpPr>
            <p:spPr>
              <a:xfrm>
                <a:off x="8184524" y="4732760"/>
                <a:ext cx="311574" cy="273262"/>
              </a:xfrm>
              <a:prstGeom prst="parallelogram">
                <a:avLst>
                  <a:gd name="adj" fmla="val 6686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35" name="Straight Connector 34">
                <a:extLst>
                  <a:ext uri="{FF2B5EF4-FFF2-40B4-BE49-F238E27FC236}">
                    <a16:creationId xmlns:a16="http://schemas.microsoft.com/office/drawing/2014/main" id="{CF0D0A3C-3F8D-55C2-D92F-977753F5F554}"/>
                  </a:ext>
                </a:extLst>
              </p:cNvPr>
              <p:cNvCxnSpPr>
                <a:cxnSpLocks/>
              </p:cNvCxnSpPr>
              <p:nvPr/>
            </p:nvCxnSpPr>
            <p:spPr>
              <a:xfrm>
                <a:off x="3811799" y="4842164"/>
                <a:ext cx="0" cy="621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DFB067D-AF49-A139-FB46-9D98A8C2919E}"/>
                  </a:ext>
                </a:extLst>
              </p:cNvPr>
              <p:cNvCxnSpPr>
                <a:cxnSpLocks/>
              </p:cNvCxnSpPr>
              <p:nvPr/>
            </p:nvCxnSpPr>
            <p:spPr>
              <a:xfrm>
                <a:off x="4431559" y="4842164"/>
                <a:ext cx="0" cy="621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619CAC1-5C24-1183-2180-BB44CDA7B802}"/>
                  </a:ext>
                </a:extLst>
              </p:cNvPr>
              <p:cNvCxnSpPr>
                <a:cxnSpLocks/>
              </p:cNvCxnSpPr>
              <p:nvPr/>
            </p:nvCxnSpPr>
            <p:spPr>
              <a:xfrm>
                <a:off x="5008139" y="4842164"/>
                <a:ext cx="0" cy="621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2E9812B-7627-A265-B36D-6B14B919BE85}"/>
                  </a:ext>
                </a:extLst>
              </p:cNvPr>
              <p:cNvCxnSpPr>
                <a:cxnSpLocks/>
              </p:cNvCxnSpPr>
              <p:nvPr/>
            </p:nvCxnSpPr>
            <p:spPr>
              <a:xfrm>
                <a:off x="5594879" y="4842164"/>
                <a:ext cx="0" cy="621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E3A55EF-F217-C6C5-AD2B-1C74C52E9E8E}"/>
                  </a:ext>
                </a:extLst>
              </p:cNvPr>
              <p:cNvCxnSpPr>
                <a:cxnSpLocks/>
              </p:cNvCxnSpPr>
              <p:nvPr/>
            </p:nvCxnSpPr>
            <p:spPr>
              <a:xfrm>
                <a:off x="6181619" y="4842164"/>
                <a:ext cx="0" cy="621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E685E38-0B53-F84E-15E9-DB68852B398D}"/>
                  </a:ext>
                </a:extLst>
              </p:cNvPr>
              <p:cNvCxnSpPr>
                <a:cxnSpLocks/>
              </p:cNvCxnSpPr>
              <p:nvPr/>
            </p:nvCxnSpPr>
            <p:spPr>
              <a:xfrm>
                <a:off x="6786139" y="4842164"/>
                <a:ext cx="0" cy="621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EF2E079-1555-5DE6-1407-55B0E446EB9B}"/>
                  </a:ext>
                </a:extLst>
              </p:cNvPr>
              <p:cNvCxnSpPr>
                <a:cxnSpLocks/>
              </p:cNvCxnSpPr>
              <p:nvPr/>
            </p:nvCxnSpPr>
            <p:spPr>
              <a:xfrm>
                <a:off x="7372879" y="4842164"/>
                <a:ext cx="0" cy="621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F93C65D-705D-21B7-F743-9E7273BD9B9B}"/>
                  </a:ext>
                </a:extLst>
              </p:cNvPr>
              <p:cNvCxnSpPr/>
              <p:nvPr/>
            </p:nvCxnSpPr>
            <p:spPr>
              <a:xfrm flipH="1">
                <a:off x="8328481" y="4732761"/>
                <a:ext cx="200237" cy="2002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B4188DC-4F93-E05A-79BC-ED310CBF9054}"/>
                  </a:ext>
                </a:extLst>
              </p:cNvPr>
              <p:cNvCxnSpPr/>
              <p:nvPr/>
            </p:nvCxnSpPr>
            <p:spPr>
              <a:xfrm flipH="1">
                <a:off x="8210695" y="4732869"/>
                <a:ext cx="200237" cy="2002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19F1D9B-8EF2-244C-01CB-F89FF664C905}"/>
                  </a:ext>
                </a:extLst>
              </p:cNvPr>
              <p:cNvSpPr txBox="1"/>
              <p:nvPr/>
            </p:nvSpPr>
            <p:spPr>
              <a:xfrm>
                <a:off x="4543720" y="4874508"/>
                <a:ext cx="356234" cy="3180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a:t>
                </a:r>
              </a:p>
            </p:txBody>
          </p:sp>
          <p:cxnSp>
            <p:nvCxnSpPr>
              <p:cNvPr id="45" name="Straight Connector 44">
                <a:extLst>
                  <a:ext uri="{FF2B5EF4-FFF2-40B4-BE49-F238E27FC236}">
                    <a16:creationId xmlns:a16="http://schemas.microsoft.com/office/drawing/2014/main" id="{510F5D93-C0B8-4ABD-EE40-1571D4506972}"/>
                  </a:ext>
                </a:extLst>
              </p:cNvPr>
              <p:cNvCxnSpPr>
                <a:cxnSpLocks/>
              </p:cNvCxnSpPr>
              <p:nvPr/>
            </p:nvCxnSpPr>
            <p:spPr>
              <a:xfrm>
                <a:off x="5012112" y="4842164"/>
                <a:ext cx="0" cy="621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6" name="TextBox 45">
            <a:extLst>
              <a:ext uri="{FF2B5EF4-FFF2-40B4-BE49-F238E27FC236}">
                <a16:creationId xmlns:a16="http://schemas.microsoft.com/office/drawing/2014/main" id="{367B8438-B580-03DE-2D12-E8ECE4545C99}"/>
              </a:ext>
            </a:extLst>
          </p:cNvPr>
          <p:cNvSpPr txBox="1"/>
          <p:nvPr/>
        </p:nvSpPr>
        <p:spPr>
          <a:xfrm>
            <a:off x="5994523" y="1347145"/>
            <a:ext cx="5083320" cy="738664"/>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a:ln>
                  <a:noFill/>
                </a:ln>
                <a:solidFill>
                  <a:srgbClr val="0070C0"/>
                </a:solidFill>
                <a:effectLst/>
                <a:uLnTx/>
                <a:uFillTx/>
                <a:latin typeface="Arial" panose="020B0604020202020204" pitchFamily="34" charset="0"/>
                <a:ea typeface="ヒラギノ角ゴ Pro W3"/>
                <a:cs typeface="Arial" panose="020B0604020202020204" pitchFamily="34" charset="0"/>
              </a:rPr>
              <a:t>RSV ile </a:t>
            </a:r>
            <a:r>
              <a:rPr kumimoji="0" lang="tr-TR" sz="1400" b="1" i="0" u="none" strike="noStrike" kern="1200" cap="none" spc="0" normalizeH="0" baseline="0" noProof="0" err="1">
                <a:ln>
                  <a:noFill/>
                </a:ln>
                <a:solidFill>
                  <a:srgbClr val="0070C0"/>
                </a:solidFill>
                <a:effectLst/>
                <a:uLnTx/>
                <a:uFillTx/>
                <a:latin typeface="Arial" panose="020B0604020202020204" pitchFamily="34" charset="0"/>
                <a:ea typeface="ヒラギノ角ゴ Pro W3"/>
                <a:cs typeface="Arial" panose="020B0604020202020204" pitchFamily="34" charset="0"/>
              </a:rPr>
              <a:t>enfekte</a:t>
            </a:r>
            <a:r>
              <a:rPr kumimoji="0" lang="tr-TR" sz="1400" b="1" i="0" u="none" strike="noStrike" kern="1200" cap="none" spc="0" normalizeH="0" baseline="0" noProof="0">
                <a:ln>
                  <a:noFill/>
                </a:ln>
                <a:solidFill>
                  <a:srgbClr val="0070C0"/>
                </a:solidFill>
                <a:effectLst/>
                <a:uLnTx/>
                <a:uFillTx/>
                <a:latin typeface="Arial" panose="020B0604020202020204" pitchFamily="34" charset="0"/>
                <a:ea typeface="ヒラギノ角ゴ Pro W3"/>
                <a:cs typeface="Arial" panose="020B0604020202020204" pitchFamily="34" charset="0"/>
              </a:rPr>
              <a:t> kişilerde bulaşıcılık, </a:t>
            </a:r>
            <a:r>
              <a:rPr kumimoji="0" lang="tr-TR" sz="1400" b="1" i="0" u="none" strike="noStrike" kern="1200" cap="none" spc="0" normalizeH="0" baseline="0" noProof="0">
                <a:ln>
                  <a:noFill/>
                </a:ln>
                <a:solidFill>
                  <a:srgbClr val="0070C0"/>
                </a:solidFill>
                <a:effectLst/>
                <a:highlight>
                  <a:srgbClr val="FFFFFF"/>
                </a:highlight>
                <a:uLnTx/>
                <a:uFillTx/>
                <a:latin typeface="Arial" panose="020B0604020202020204" pitchFamily="34" charset="0"/>
                <a:ea typeface="ヒラギノ角ゴ Pro W3"/>
                <a:cs typeface="Arial" panose="020B0604020202020204" pitchFamily="34" charset="0"/>
              </a:rPr>
              <a:t>semptom başlangıcından sonraki 3. günde zirve yapar ve 10 gün veya daha fazla sürebilir. </a:t>
            </a:r>
            <a:r>
              <a:rPr kumimoji="0" lang="tr-TR" sz="1400" b="1" i="0" u="none" strike="noStrike" kern="1200" cap="none" spc="0" normalizeH="0" baseline="30000" noProof="0">
                <a:ln>
                  <a:noFill/>
                </a:ln>
                <a:solidFill>
                  <a:srgbClr val="0070C0"/>
                </a:solidFill>
                <a:effectLst/>
                <a:uLnTx/>
                <a:uFillTx/>
                <a:latin typeface="Arial" panose="020B0604020202020204" pitchFamily="34" charset="0"/>
                <a:ea typeface="ヒラギノ角ゴ Pro W3"/>
                <a:cs typeface="Arial" panose="020B0604020202020204" pitchFamily="34" charset="0"/>
              </a:rPr>
              <a:t>5,6</a:t>
            </a:r>
          </a:p>
        </p:txBody>
      </p:sp>
      <p:sp>
        <p:nvSpPr>
          <p:cNvPr id="49" name="TextBox 48">
            <a:extLst>
              <a:ext uri="{FF2B5EF4-FFF2-40B4-BE49-F238E27FC236}">
                <a16:creationId xmlns:a16="http://schemas.microsoft.com/office/drawing/2014/main" id="{1DE6B547-A010-720F-8A73-2D7CE383E2CB}"/>
              </a:ext>
            </a:extLst>
          </p:cNvPr>
          <p:cNvSpPr txBox="1"/>
          <p:nvPr/>
        </p:nvSpPr>
        <p:spPr bwMode="gray">
          <a:xfrm>
            <a:off x="828952" y="1328075"/>
            <a:ext cx="4467675" cy="553357"/>
          </a:xfrm>
          <a:prstGeom prst="rect">
            <a:avLst/>
          </a:prstGeom>
          <a:noFill/>
        </p:spPr>
        <p:txBody>
          <a:bodyPr wrap="square">
            <a:spAutoFit/>
          </a:bodyPr>
          <a:lstStyle/>
          <a:p>
            <a:pPr marL="0" marR="0" lvl="0" indent="0" algn="ctr" defTabSz="914400" rtl="0" eaLnBrk="1" fontAlgn="ctr" latinLnBrk="0" hangingPunct="1">
              <a:lnSpc>
                <a:spcPct val="107000"/>
              </a:lnSpc>
              <a:spcBef>
                <a:spcPts val="0"/>
              </a:spcBef>
              <a:spcAft>
                <a:spcPts val="0"/>
              </a:spcAft>
              <a:buClrTx/>
              <a:buSzTx/>
              <a:buFontTx/>
              <a:buNone/>
              <a:tabLst/>
              <a:defRPr/>
            </a:pPr>
            <a:r>
              <a:rPr kumimoji="0" lang="tr-TR" sz="1400" b="1" i="0" u="none" strike="noStrike" kern="1200" cap="none" spc="0" normalizeH="0" baseline="0" noProof="0">
                <a:ln>
                  <a:noFill/>
                </a:ln>
                <a:solidFill>
                  <a:srgbClr val="0070C0"/>
                </a:solidFill>
                <a:effectLst/>
                <a:uLnTx/>
                <a:uFillTx/>
                <a:latin typeface="Arial" panose="020B0604020202020204" pitchFamily="34" charset="0"/>
                <a:ea typeface="Times New Roman" panose="02020603050405020304" pitchFamily="18" charset="0"/>
                <a:cs typeface="Arial" panose="020B0604020202020204" pitchFamily="34" charset="0"/>
              </a:rPr>
              <a:t>RSV, mobilya, kumaş, eldiven ve cilt gibi yüzeylerde uzun süre canlı kalabilir.</a:t>
            </a:r>
            <a:r>
              <a:rPr kumimoji="0" lang="tr-TR" sz="1400" b="1" i="0" u="none" strike="noStrike" kern="1200" cap="none" spc="0" normalizeH="0" baseline="30000" noProof="0">
                <a:ln>
                  <a:noFill/>
                </a:ln>
                <a:solidFill>
                  <a:srgbClr val="0070C0"/>
                </a:solidFill>
                <a:effectLst/>
                <a:uLnTx/>
                <a:uFillTx/>
                <a:latin typeface="Arial" panose="020B0604020202020204" pitchFamily="34" charset="0"/>
                <a:ea typeface="Times New Roman" panose="02020603050405020304" pitchFamily="18" charset="0"/>
                <a:cs typeface="Arial" panose="020B0604020202020204" pitchFamily="34" charset="0"/>
              </a:rPr>
              <a:t>1</a:t>
            </a:r>
          </a:p>
        </p:txBody>
      </p:sp>
      <p:sp>
        <p:nvSpPr>
          <p:cNvPr id="50" name="Rectangle: Top Corners Rounded 11">
            <a:extLst>
              <a:ext uri="{FF2B5EF4-FFF2-40B4-BE49-F238E27FC236}">
                <a16:creationId xmlns:a16="http://schemas.microsoft.com/office/drawing/2014/main" id="{8FBC761A-7D26-C787-E124-C28D3D2E55F9}"/>
              </a:ext>
            </a:extLst>
          </p:cNvPr>
          <p:cNvSpPr/>
          <p:nvPr/>
        </p:nvSpPr>
        <p:spPr bwMode="gray">
          <a:xfrm>
            <a:off x="768970" y="1987507"/>
            <a:ext cx="4587638" cy="1538516"/>
          </a:xfrm>
          <a:prstGeom prst="round2SameRect">
            <a:avLst>
              <a:gd name="adj1" fmla="val 19534"/>
              <a:gd name="adj2" fmla="val 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tr-TR" sz="1200" b="1" i="0" u="none" strike="noStrike" kern="1200" cap="none" spc="0" normalizeH="0" baseline="0" noProof="0">
              <a:ln>
                <a:noFill/>
              </a:ln>
              <a:solidFill>
                <a:srgbClr val="0000C9"/>
              </a:solidFill>
              <a:effectLst/>
              <a:uLnTx/>
              <a:uFillTx/>
              <a:latin typeface="Arial" panose="020B0604020202020204" pitchFamily="34" charset="0"/>
              <a:ea typeface="+mn-ea"/>
              <a:cs typeface="Arial" panose="020B0604020202020204" pitchFamily="34" charset="0"/>
            </a:endParaRPr>
          </a:p>
        </p:txBody>
      </p:sp>
      <p:grpSp>
        <p:nvGrpSpPr>
          <p:cNvPr id="51" name="Group 50">
            <a:extLst>
              <a:ext uri="{FF2B5EF4-FFF2-40B4-BE49-F238E27FC236}">
                <a16:creationId xmlns:a16="http://schemas.microsoft.com/office/drawing/2014/main" id="{57362F8B-3849-2CEC-9F83-535DD59A503B}"/>
              </a:ext>
            </a:extLst>
          </p:cNvPr>
          <p:cNvGrpSpPr/>
          <p:nvPr/>
        </p:nvGrpSpPr>
        <p:grpSpPr>
          <a:xfrm>
            <a:off x="1058021" y="2082778"/>
            <a:ext cx="4009537" cy="1286344"/>
            <a:chOff x="899672" y="2205203"/>
            <a:chExt cx="4009537" cy="1286344"/>
          </a:xfrm>
        </p:grpSpPr>
        <p:sp>
          <p:nvSpPr>
            <p:cNvPr id="52" name="TextBox 51">
              <a:extLst>
                <a:ext uri="{FF2B5EF4-FFF2-40B4-BE49-F238E27FC236}">
                  <a16:creationId xmlns:a16="http://schemas.microsoft.com/office/drawing/2014/main" id="{A9BA210B-5BFA-5E60-3F04-D9051801ACDC}"/>
                </a:ext>
              </a:extLst>
            </p:cNvPr>
            <p:cNvSpPr txBox="1"/>
            <p:nvPr/>
          </p:nvSpPr>
          <p:spPr bwMode="gray">
            <a:xfrm>
              <a:off x="1693639" y="2205203"/>
              <a:ext cx="1093787" cy="592424"/>
            </a:xfrm>
            <a:prstGeom prst="rect">
              <a:avLst/>
            </a:prstGeom>
            <a:noFill/>
          </p:spPr>
          <p:txBody>
            <a:bodyPr wrap="square" lIns="45720" tIns="45720" rIns="45720" bIns="45720" rtlCol="0" anchor="ctr">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tr-TR"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obilya</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tr-TR"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7 saat</a:t>
              </a:r>
            </a:p>
          </p:txBody>
        </p:sp>
        <p:sp>
          <p:nvSpPr>
            <p:cNvPr id="53" name="TextBox 52">
              <a:extLst>
                <a:ext uri="{FF2B5EF4-FFF2-40B4-BE49-F238E27FC236}">
                  <a16:creationId xmlns:a16="http://schemas.microsoft.com/office/drawing/2014/main" id="{930CAB95-13C8-77CF-134D-E996A7194E1F}"/>
                </a:ext>
              </a:extLst>
            </p:cNvPr>
            <p:cNvSpPr txBox="1"/>
            <p:nvPr/>
          </p:nvSpPr>
          <p:spPr bwMode="gray">
            <a:xfrm>
              <a:off x="1690378" y="2941124"/>
              <a:ext cx="1093787" cy="550423"/>
            </a:xfrm>
            <a:prstGeom prst="rect">
              <a:avLst/>
            </a:prstGeom>
            <a:noFill/>
          </p:spPr>
          <p:txBody>
            <a:bodyPr wrap="square" lIns="45720" tIns="45720" rIns="45720" bIns="45720" rtlCol="0" anchor="ctr">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tr-TR"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ilt</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tr-TR"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0 dakika</a:t>
              </a:r>
            </a:p>
          </p:txBody>
        </p:sp>
        <p:sp>
          <p:nvSpPr>
            <p:cNvPr id="54" name="TextBox 53">
              <a:extLst>
                <a:ext uri="{FF2B5EF4-FFF2-40B4-BE49-F238E27FC236}">
                  <a16:creationId xmlns:a16="http://schemas.microsoft.com/office/drawing/2014/main" id="{9F0F1D40-D604-85B0-A55C-77BDDD165F06}"/>
                </a:ext>
              </a:extLst>
            </p:cNvPr>
            <p:cNvSpPr txBox="1"/>
            <p:nvPr/>
          </p:nvSpPr>
          <p:spPr bwMode="gray">
            <a:xfrm>
              <a:off x="3990475" y="2270613"/>
              <a:ext cx="918734" cy="504943"/>
            </a:xfrm>
            <a:prstGeom prst="rect">
              <a:avLst/>
            </a:prstGeom>
            <a:noFill/>
          </p:spPr>
          <p:txBody>
            <a:bodyPr wrap="square" lIns="45720" tIns="45720" rIns="45720" bIns="45720" rtlCol="0" anchor="ctr">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tr-TR"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umaş</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tr-TR"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 saat</a:t>
              </a:r>
            </a:p>
          </p:txBody>
        </p:sp>
        <p:sp>
          <p:nvSpPr>
            <p:cNvPr id="55" name="TextBox 54">
              <a:extLst>
                <a:ext uri="{FF2B5EF4-FFF2-40B4-BE49-F238E27FC236}">
                  <a16:creationId xmlns:a16="http://schemas.microsoft.com/office/drawing/2014/main" id="{599DD136-9A2B-CD83-0DC8-C13DEB7DB016}"/>
                </a:ext>
              </a:extLst>
            </p:cNvPr>
            <p:cNvSpPr txBox="1"/>
            <p:nvPr/>
          </p:nvSpPr>
          <p:spPr bwMode="gray">
            <a:xfrm>
              <a:off x="3983018" y="2960802"/>
              <a:ext cx="878547" cy="529136"/>
            </a:xfrm>
            <a:prstGeom prst="rect">
              <a:avLst/>
            </a:prstGeom>
            <a:noFill/>
          </p:spPr>
          <p:txBody>
            <a:bodyPr wrap="square" lIns="45720" tIns="45720" rIns="45720" bIns="45720" rtlCol="0" anchor="ctr">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tr-TR"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ldiven</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tr-TR"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 saat</a:t>
              </a:r>
            </a:p>
          </p:txBody>
        </p:sp>
        <p:grpSp>
          <p:nvGrpSpPr>
            <p:cNvPr id="56" name="Graphic 14" descr="Person eating">
              <a:extLst>
                <a:ext uri="{FF2B5EF4-FFF2-40B4-BE49-F238E27FC236}">
                  <a16:creationId xmlns:a16="http://schemas.microsoft.com/office/drawing/2014/main" id="{EE1FB1EB-A1D3-144E-B398-0B33443013CE}"/>
                </a:ext>
              </a:extLst>
            </p:cNvPr>
            <p:cNvGrpSpPr/>
            <p:nvPr/>
          </p:nvGrpSpPr>
          <p:grpSpPr>
            <a:xfrm>
              <a:off x="899672" y="2304587"/>
              <a:ext cx="646013" cy="393656"/>
              <a:chOff x="7041857" y="1837336"/>
              <a:chExt cx="781557" cy="476251"/>
            </a:xfrm>
            <a:solidFill>
              <a:schemeClr val="bg1"/>
            </a:solidFill>
          </p:grpSpPr>
          <p:sp>
            <p:nvSpPr>
              <p:cNvPr id="68" name="Freeform 20">
                <a:extLst>
                  <a:ext uri="{FF2B5EF4-FFF2-40B4-BE49-F238E27FC236}">
                    <a16:creationId xmlns:a16="http://schemas.microsoft.com/office/drawing/2014/main" id="{9BCEE0A9-B7E4-3509-9CB0-0FF1AEC3B7A9}"/>
                  </a:ext>
                </a:extLst>
              </p:cNvPr>
              <p:cNvSpPr/>
              <p:nvPr/>
            </p:nvSpPr>
            <p:spPr>
              <a:xfrm>
                <a:off x="7194510" y="1942111"/>
                <a:ext cx="476250" cy="371475"/>
              </a:xfrm>
              <a:custGeom>
                <a:avLst/>
                <a:gdLst>
                  <a:gd name="connsiteX0" fmla="*/ 447675 w 476250"/>
                  <a:gd name="connsiteY0" fmla="*/ 0 h 371475"/>
                  <a:gd name="connsiteX1" fmla="*/ 28575 w 476250"/>
                  <a:gd name="connsiteY1" fmla="*/ 0 h 371475"/>
                  <a:gd name="connsiteX2" fmla="*/ 0 w 476250"/>
                  <a:gd name="connsiteY2" fmla="*/ 28575 h 371475"/>
                  <a:gd name="connsiteX3" fmla="*/ 28575 w 476250"/>
                  <a:gd name="connsiteY3" fmla="*/ 57150 h 371475"/>
                  <a:gd name="connsiteX4" fmla="*/ 209550 w 476250"/>
                  <a:gd name="connsiteY4" fmla="*/ 57150 h 371475"/>
                  <a:gd name="connsiteX5" fmla="*/ 209550 w 476250"/>
                  <a:gd name="connsiteY5" fmla="*/ 314325 h 371475"/>
                  <a:gd name="connsiteX6" fmla="*/ 152400 w 476250"/>
                  <a:gd name="connsiteY6" fmla="*/ 314325 h 371475"/>
                  <a:gd name="connsiteX7" fmla="*/ 152400 w 476250"/>
                  <a:gd name="connsiteY7" fmla="*/ 371475 h 371475"/>
                  <a:gd name="connsiteX8" fmla="*/ 323850 w 476250"/>
                  <a:gd name="connsiteY8" fmla="*/ 371475 h 371475"/>
                  <a:gd name="connsiteX9" fmla="*/ 323850 w 476250"/>
                  <a:gd name="connsiteY9" fmla="*/ 314325 h 371475"/>
                  <a:gd name="connsiteX10" fmla="*/ 266700 w 476250"/>
                  <a:gd name="connsiteY10" fmla="*/ 314325 h 371475"/>
                  <a:gd name="connsiteX11" fmla="*/ 266700 w 476250"/>
                  <a:gd name="connsiteY11" fmla="*/ 57150 h 371475"/>
                  <a:gd name="connsiteX12" fmla="*/ 447675 w 476250"/>
                  <a:gd name="connsiteY12" fmla="*/ 57150 h 371475"/>
                  <a:gd name="connsiteX13" fmla="*/ 476250 w 476250"/>
                  <a:gd name="connsiteY13" fmla="*/ 28575 h 371475"/>
                  <a:gd name="connsiteX14" fmla="*/ 447675 w 476250"/>
                  <a:gd name="connsiteY14" fmla="*/ 0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250" h="371475">
                    <a:moveTo>
                      <a:pt x="447675" y="0"/>
                    </a:moveTo>
                    <a:lnTo>
                      <a:pt x="28575" y="0"/>
                    </a:lnTo>
                    <a:cubicBezTo>
                      <a:pt x="12793" y="0"/>
                      <a:pt x="0" y="12793"/>
                      <a:pt x="0" y="28575"/>
                    </a:cubicBezTo>
                    <a:cubicBezTo>
                      <a:pt x="0" y="44357"/>
                      <a:pt x="12793" y="57150"/>
                      <a:pt x="28575" y="57150"/>
                    </a:cubicBezTo>
                    <a:lnTo>
                      <a:pt x="209550" y="57150"/>
                    </a:lnTo>
                    <a:lnTo>
                      <a:pt x="209550" y="314325"/>
                    </a:lnTo>
                    <a:lnTo>
                      <a:pt x="152400" y="314325"/>
                    </a:lnTo>
                    <a:lnTo>
                      <a:pt x="152400" y="371475"/>
                    </a:lnTo>
                    <a:lnTo>
                      <a:pt x="323850" y="371475"/>
                    </a:lnTo>
                    <a:lnTo>
                      <a:pt x="323850" y="314325"/>
                    </a:lnTo>
                    <a:lnTo>
                      <a:pt x="266700" y="314325"/>
                    </a:lnTo>
                    <a:lnTo>
                      <a:pt x="266700" y="57150"/>
                    </a:lnTo>
                    <a:lnTo>
                      <a:pt x="447675" y="57150"/>
                    </a:lnTo>
                    <a:cubicBezTo>
                      <a:pt x="463457" y="57150"/>
                      <a:pt x="476250" y="44357"/>
                      <a:pt x="476250" y="28575"/>
                    </a:cubicBezTo>
                    <a:cubicBezTo>
                      <a:pt x="476250" y="12793"/>
                      <a:pt x="463457" y="0"/>
                      <a:pt x="44767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 name="Freeform 21">
                <a:extLst>
                  <a:ext uri="{FF2B5EF4-FFF2-40B4-BE49-F238E27FC236}">
                    <a16:creationId xmlns:a16="http://schemas.microsoft.com/office/drawing/2014/main" id="{5C495BB3-ECA0-5D83-023A-E64041EEC78E}"/>
                  </a:ext>
                </a:extLst>
              </p:cNvPr>
              <p:cNvSpPr/>
              <p:nvPr/>
            </p:nvSpPr>
            <p:spPr>
              <a:xfrm>
                <a:off x="7041857" y="1837337"/>
                <a:ext cx="266700" cy="476250"/>
              </a:xfrm>
              <a:custGeom>
                <a:avLst/>
                <a:gdLst>
                  <a:gd name="connsiteX0" fmla="*/ 238125 w 266700"/>
                  <a:gd name="connsiteY0" fmla="*/ 285750 h 476250"/>
                  <a:gd name="connsiteX1" fmla="*/ 57150 w 266700"/>
                  <a:gd name="connsiteY1" fmla="*/ 285750 h 476250"/>
                  <a:gd name="connsiteX2" fmla="*/ 57150 w 266700"/>
                  <a:gd name="connsiteY2" fmla="*/ 28575 h 476250"/>
                  <a:gd name="connsiteX3" fmla="*/ 28575 w 266700"/>
                  <a:gd name="connsiteY3" fmla="*/ 0 h 476250"/>
                  <a:gd name="connsiteX4" fmla="*/ 0 w 266700"/>
                  <a:gd name="connsiteY4" fmla="*/ 28575 h 476250"/>
                  <a:gd name="connsiteX5" fmla="*/ 0 w 266700"/>
                  <a:gd name="connsiteY5" fmla="*/ 314325 h 476250"/>
                  <a:gd name="connsiteX6" fmla="*/ 28575 w 266700"/>
                  <a:gd name="connsiteY6" fmla="*/ 342900 h 476250"/>
                  <a:gd name="connsiteX7" fmla="*/ 104775 w 266700"/>
                  <a:gd name="connsiteY7" fmla="*/ 342900 h 476250"/>
                  <a:gd name="connsiteX8" fmla="*/ 104775 w 266700"/>
                  <a:gd name="connsiteY8" fmla="*/ 419100 h 476250"/>
                  <a:gd name="connsiteX9" fmla="*/ 47625 w 266700"/>
                  <a:gd name="connsiteY9" fmla="*/ 419100 h 476250"/>
                  <a:gd name="connsiteX10" fmla="*/ 47625 w 266700"/>
                  <a:gd name="connsiteY10" fmla="*/ 476250 h 476250"/>
                  <a:gd name="connsiteX11" fmla="*/ 219075 w 266700"/>
                  <a:gd name="connsiteY11" fmla="*/ 476250 h 476250"/>
                  <a:gd name="connsiteX12" fmla="*/ 219075 w 266700"/>
                  <a:gd name="connsiteY12" fmla="*/ 419100 h 476250"/>
                  <a:gd name="connsiteX13" fmla="*/ 161925 w 266700"/>
                  <a:gd name="connsiteY13" fmla="*/ 419100 h 476250"/>
                  <a:gd name="connsiteX14" fmla="*/ 161925 w 266700"/>
                  <a:gd name="connsiteY14" fmla="*/ 342900 h 476250"/>
                  <a:gd name="connsiteX15" fmla="*/ 238125 w 266700"/>
                  <a:gd name="connsiteY15" fmla="*/ 342900 h 476250"/>
                  <a:gd name="connsiteX16" fmla="*/ 266700 w 266700"/>
                  <a:gd name="connsiteY16" fmla="*/ 314325 h 476250"/>
                  <a:gd name="connsiteX17" fmla="*/ 238125 w 266700"/>
                  <a:gd name="connsiteY17" fmla="*/ 28575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6700" h="476250">
                    <a:moveTo>
                      <a:pt x="238125" y="285750"/>
                    </a:moveTo>
                    <a:lnTo>
                      <a:pt x="57150" y="285750"/>
                    </a:lnTo>
                    <a:lnTo>
                      <a:pt x="57150" y="28575"/>
                    </a:lnTo>
                    <a:cubicBezTo>
                      <a:pt x="57150" y="12793"/>
                      <a:pt x="44357" y="0"/>
                      <a:pt x="28575" y="0"/>
                    </a:cubicBezTo>
                    <a:cubicBezTo>
                      <a:pt x="12793" y="0"/>
                      <a:pt x="0" y="12793"/>
                      <a:pt x="0" y="28575"/>
                    </a:cubicBezTo>
                    <a:lnTo>
                      <a:pt x="0" y="314325"/>
                    </a:lnTo>
                    <a:cubicBezTo>
                      <a:pt x="0" y="330107"/>
                      <a:pt x="12793" y="342900"/>
                      <a:pt x="28575" y="342900"/>
                    </a:cubicBezTo>
                    <a:lnTo>
                      <a:pt x="104775" y="342900"/>
                    </a:lnTo>
                    <a:lnTo>
                      <a:pt x="104775" y="419100"/>
                    </a:lnTo>
                    <a:lnTo>
                      <a:pt x="47625" y="419100"/>
                    </a:lnTo>
                    <a:lnTo>
                      <a:pt x="47625" y="476250"/>
                    </a:lnTo>
                    <a:lnTo>
                      <a:pt x="219075" y="476250"/>
                    </a:lnTo>
                    <a:lnTo>
                      <a:pt x="219075" y="419100"/>
                    </a:lnTo>
                    <a:lnTo>
                      <a:pt x="161925" y="419100"/>
                    </a:lnTo>
                    <a:lnTo>
                      <a:pt x="161925" y="342900"/>
                    </a:lnTo>
                    <a:lnTo>
                      <a:pt x="238125" y="342900"/>
                    </a:lnTo>
                    <a:cubicBezTo>
                      <a:pt x="253907" y="342900"/>
                      <a:pt x="266700" y="330107"/>
                      <a:pt x="266700" y="314325"/>
                    </a:cubicBezTo>
                    <a:cubicBezTo>
                      <a:pt x="266700" y="298543"/>
                      <a:pt x="253907" y="285750"/>
                      <a:pt x="238125" y="2857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0" name="Freeform 21">
                <a:extLst>
                  <a:ext uri="{FF2B5EF4-FFF2-40B4-BE49-F238E27FC236}">
                    <a16:creationId xmlns:a16="http://schemas.microsoft.com/office/drawing/2014/main" id="{0881F016-4B1A-F5D9-AA05-2A1B803ABF9E}"/>
                  </a:ext>
                </a:extLst>
              </p:cNvPr>
              <p:cNvSpPr/>
              <p:nvPr/>
            </p:nvSpPr>
            <p:spPr>
              <a:xfrm flipH="1">
                <a:off x="7556714" y="1837336"/>
                <a:ext cx="266700" cy="476250"/>
              </a:xfrm>
              <a:custGeom>
                <a:avLst/>
                <a:gdLst>
                  <a:gd name="connsiteX0" fmla="*/ 238125 w 266700"/>
                  <a:gd name="connsiteY0" fmla="*/ 285750 h 476250"/>
                  <a:gd name="connsiteX1" fmla="*/ 57150 w 266700"/>
                  <a:gd name="connsiteY1" fmla="*/ 285750 h 476250"/>
                  <a:gd name="connsiteX2" fmla="*/ 57150 w 266700"/>
                  <a:gd name="connsiteY2" fmla="*/ 28575 h 476250"/>
                  <a:gd name="connsiteX3" fmla="*/ 28575 w 266700"/>
                  <a:gd name="connsiteY3" fmla="*/ 0 h 476250"/>
                  <a:gd name="connsiteX4" fmla="*/ 0 w 266700"/>
                  <a:gd name="connsiteY4" fmla="*/ 28575 h 476250"/>
                  <a:gd name="connsiteX5" fmla="*/ 0 w 266700"/>
                  <a:gd name="connsiteY5" fmla="*/ 314325 h 476250"/>
                  <a:gd name="connsiteX6" fmla="*/ 28575 w 266700"/>
                  <a:gd name="connsiteY6" fmla="*/ 342900 h 476250"/>
                  <a:gd name="connsiteX7" fmla="*/ 104775 w 266700"/>
                  <a:gd name="connsiteY7" fmla="*/ 342900 h 476250"/>
                  <a:gd name="connsiteX8" fmla="*/ 104775 w 266700"/>
                  <a:gd name="connsiteY8" fmla="*/ 419100 h 476250"/>
                  <a:gd name="connsiteX9" fmla="*/ 47625 w 266700"/>
                  <a:gd name="connsiteY9" fmla="*/ 419100 h 476250"/>
                  <a:gd name="connsiteX10" fmla="*/ 47625 w 266700"/>
                  <a:gd name="connsiteY10" fmla="*/ 476250 h 476250"/>
                  <a:gd name="connsiteX11" fmla="*/ 219075 w 266700"/>
                  <a:gd name="connsiteY11" fmla="*/ 476250 h 476250"/>
                  <a:gd name="connsiteX12" fmla="*/ 219075 w 266700"/>
                  <a:gd name="connsiteY12" fmla="*/ 419100 h 476250"/>
                  <a:gd name="connsiteX13" fmla="*/ 161925 w 266700"/>
                  <a:gd name="connsiteY13" fmla="*/ 419100 h 476250"/>
                  <a:gd name="connsiteX14" fmla="*/ 161925 w 266700"/>
                  <a:gd name="connsiteY14" fmla="*/ 342900 h 476250"/>
                  <a:gd name="connsiteX15" fmla="*/ 238125 w 266700"/>
                  <a:gd name="connsiteY15" fmla="*/ 342900 h 476250"/>
                  <a:gd name="connsiteX16" fmla="*/ 266700 w 266700"/>
                  <a:gd name="connsiteY16" fmla="*/ 314325 h 476250"/>
                  <a:gd name="connsiteX17" fmla="*/ 238125 w 266700"/>
                  <a:gd name="connsiteY17" fmla="*/ 28575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6700" h="476250">
                    <a:moveTo>
                      <a:pt x="238125" y="285750"/>
                    </a:moveTo>
                    <a:lnTo>
                      <a:pt x="57150" y="285750"/>
                    </a:lnTo>
                    <a:lnTo>
                      <a:pt x="57150" y="28575"/>
                    </a:lnTo>
                    <a:cubicBezTo>
                      <a:pt x="57150" y="12793"/>
                      <a:pt x="44357" y="0"/>
                      <a:pt x="28575" y="0"/>
                    </a:cubicBezTo>
                    <a:cubicBezTo>
                      <a:pt x="12793" y="0"/>
                      <a:pt x="0" y="12793"/>
                      <a:pt x="0" y="28575"/>
                    </a:cubicBezTo>
                    <a:lnTo>
                      <a:pt x="0" y="314325"/>
                    </a:lnTo>
                    <a:cubicBezTo>
                      <a:pt x="0" y="330107"/>
                      <a:pt x="12793" y="342900"/>
                      <a:pt x="28575" y="342900"/>
                    </a:cubicBezTo>
                    <a:lnTo>
                      <a:pt x="104775" y="342900"/>
                    </a:lnTo>
                    <a:lnTo>
                      <a:pt x="104775" y="419100"/>
                    </a:lnTo>
                    <a:lnTo>
                      <a:pt x="47625" y="419100"/>
                    </a:lnTo>
                    <a:lnTo>
                      <a:pt x="47625" y="476250"/>
                    </a:lnTo>
                    <a:lnTo>
                      <a:pt x="219075" y="476250"/>
                    </a:lnTo>
                    <a:lnTo>
                      <a:pt x="219075" y="419100"/>
                    </a:lnTo>
                    <a:lnTo>
                      <a:pt x="161925" y="419100"/>
                    </a:lnTo>
                    <a:lnTo>
                      <a:pt x="161925" y="342900"/>
                    </a:lnTo>
                    <a:lnTo>
                      <a:pt x="238125" y="342900"/>
                    </a:lnTo>
                    <a:cubicBezTo>
                      <a:pt x="253907" y="342900"/>
                      <a:pt x="266700" y="330107"/>
                      <a:pt x="266700" y="314325"/>
                    </a:cubicBezTo>
                    <a:cubicBezTo>
                      <a:pt x="266700" y="298543"/>
                      <a:pt x="253907" y="285750"/>
                      <a:pt x="238125" y="2857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57" name="Freeform: Shape 20">
              <a:extLst>
                <a:ext uri="{FF2B5EF4-FFF2-40B4-BE49-F238E27FC236}">
                  <a16:creationId xmlns:a16="http://schemas.microsoft.com/office/drawing/2014/main" id="{DC4E69DB-04CE-2D67-690F-B3550A53C7D3}"/>
                </a:ext>
              </a:extLst>
            </p:cNvPr>
            <p:cNvSpPr/>
            <p:nvPr/>
          </p:nvSpPr>
          <p:spPr bwMode="gray">
            <a:xfrm>
              <a:off x="3425304" y="2929626"/>
              <a:ext cx="390323" cy="543192"/>
            </a:xfrm>
            <a:custGeom>
              <a:avLst/>
              <a:gdLst>
                <a:gd name="connsiteX0" fmla="*/ 824259 w 1792836"/>
                <a:gd name="connsiteY0" fmla="*/ 0 h 2495002"/>
                <a:gd name="connsiteX1" fmla="*/ 942994 w 1792836"/>
                <a:gd name="connsiteY1" fmla="*/ 118735 h 2495002"/>
                <a:gd name="connsiteX2" fmla="*/ 942142 w 1792836"/>
                <a:gd name="connsiteY2" fmla="*/ 953921 h 2495002"/>
                <a:gd name="connsiteX3" fmla="*/ 1018638 w 1792836"/>
                <a:gd name="connsiteY3" fmla="*/ 953921 h 2495002"/>
                <a:gd name="connsiteX4" fmla="*/ 1095220 w 1792836"/>
                <a:gd name="connsiteY4" fmla="*/ 246751 h 2495002"/>
                <a:gd name="connsiteX5" fmla="*/ 1234770 w 1792836"/>
                <a:gd name="connsiteY5" fmla="*/ 135002 h 2495002"/>
                <a:gd name="connsiteX6" fmla="*/ 1346520 w 1792836"/>
                <a:gd name="connsiteY6" fmla="*/ 274551 h 2495002"/>
                <a:gd name="connsiteX7" fmla="*/ 1266078 w 1792836"/>
                <a:gd name="connsiteY7" fmla="*/ 1068381 h 2495002"/>
                <a:gd name="connsiteX8" fmla="*/ 1254739 w 1792836"/>
                <a:gd name="connsiteY8" fmla="*/ 1300310 h 2495002"/>
                <a:gd name="connsiteX9" fmla="*/ 1300791 w 1792836"/>
                <a:gd name="connsiteY9" fmla="*/ 1354463 h 2495002"/>
                <a:gd name="connsiteX10" fmla="*/ 1583723 w 1792836"/>
                <a:gd name="connsiteY10" fmla="*/ 862845 h 2495002"/>
                <a:gd name="connsiteX11" fmla="*/ 1790404 w 1792836"/>
                <a:gd name="connsiteY11" fmla="*/ 943108 h 2495002"/>
                <a:gd name="connsiteX12" fmla="*/ 1585731 w 1792836"/>
                <a:gd name="connsiteY12" fmla="*/ 1460814 h 2495002"/>
                <a:gd name="connsiteX13" fmla="*/ 1248202 w 1792836"/>
                <a:gd name="connsiteY13" fmla="*/ 2026471 h 2495002"/>
                <a:gd name="connsiteX14" fmla="*/ 1197366 w 1792836"/>
                <a:gd name="connsiteY14" fmla="*/ 2055999 h 2495002"/>
                <a:gd name="connsiteX15" fmla="*/ 1188254 w 1792836"/>
                <a:gd name="connsiteY15" fmla="*/ 2100762 h 2495002"/>
                <a:gd name="connsiteX16" fmla="*/ 1207396 w 1792836"/>
                <a:gd name="connsiteY16" fmla="*/ 2393991 h 2495002"/>
                <a:gd name="connsiteX17" fmla="*/ 1204469 w 1792836"/>
                <a:gd name="connsiteY17" fmla="*/ 2393991 h 2495002"/>
                <a:gd name="connsiteX18" fmla="*/ 1207397 w 1792836"/>
                <a:gd name="connsiteY18" fmla="*/ 2400977 h 2495002"/>
                <a:gd name="connsiteX19" fmla="*/ 816428 w 1792836"/>
                <a:gd name="connsiteY19" fmla="*/ 2495002 h 2495002"/>
                <a:gd name="connsiteX20" fmla="*/ 425459 w 1792836"/>
                <a:gd name="connsiteY20" fmla="*/ 2400977 h 2495002"/>
                <a:gd name="connsiteX21" fmla="*/ 428387 w 1792836"/>
                <a:gd name="connsiteY21" fmla="*/ 2393991 h 2495002"/>
                <a:gd name="connsiteX22" fmla="*/ 425459 w 1792836"/>
                <a:gd name="connsiteY22" fmla="*/ 2393991 h 2495002"/>
                <a:gd name="connsiteX23" fmla="*/ 443769 w 1792836"/>
                <a:gd name="connsiteY23" fmla="*/ 2097050 h 2495002"/>
                <a:gd name="connsiteX24" fmla="*/ 432360 w 1792836"/>
                <a:gd name="connsiteY24" fmla="*/ 2040771 h 2495002"/>
                <a:gd name="connsiteX25" fmla="*/ 390951 w 1792836"/>
                <a:gd name="connsiteY25" fmla="*/ 2013865 h 2495002"/>
                <a:gd name="connsiteX26" fmla="*/ 123190 w 1792836"/>
                <a:gd name="connsiteY26" fmla="*/ 1480067 h 2495002"/>
                <a:gd name="connsiteX27" fmla="*/ 118561 w 1792836"/>
                <a:gd name="connsiteY27" fmla="*/ 1411347 h 2495002"/>
                <a:gd name="connsiteX28" fmla="*/ 119105 w 1792836"/>
                <a:gd name="connsiteY28" fmla="*/ 1411915 h 2495002"/>
                <a:gd name="connsiteX29" fmla="*/ 116561 w 1792836"/>
                <a:gd name="connsiteY29" fmla="*/ 1366122 h 2495002"/>
                <a:gd name="connsiteX30" fmla="*/ 115691 w 1792836"/>
                <a:gd name="connsiteY30" fmla="*/ 1312312 h 2495002"/>
                <a:gd name="connsiteX31" fmla="*/ 105968 w 1792836"/>
                <a:gd name="connsiteY31" fmla="*/ 1232937 h 2495002"/>
                <a:gd name="connsiteX32" fmla="*/ 1730 w 1792836"/>
                <a:gd name="connsiteY32" fmla="*/ 631503 h 2495002"/>
                <a:gd name="connsiteX33" fmla="*/ 96636 w 1792836"/>
                <a:gd name="connsiteY33" fmla="*/ 496802 h 2495002"/>
                <a:gd name="connsiteX34" fmla="*/ 117309 w 1792836"/>
                <a:gd name="connsiteY34" fmla="*/ 493219 h 2495002"/>
                <a:gd name="connsiteX35" fmla="*/ 252010 w 1792836"/>
                <a:gd name="connsiteY35" fmla="*/ 588125 h 2495002"/>
                <a:gd name="connsiteX36" fmla="*/ 341028 w 1792836"/>
                <a:gd name="connsiteY36" fmla="*/ 1101752 h 2495002"/>
                <a:gd name="connsiteX37" fmla="*/ 398388 w 1792836"/>
                <a:gd name="connsiteY37" fmla="*/ 1090621 h 2495002"/>
                <a:gd name="connsiteX38" fmla="*/ 298712 w 1792836"/>
                <a:gd name="connsiteY38" fmla="*/ 294106 h 2495002"/>
                <a:gd name="connsiteX39" fmla="*/ 410733 w 1792836"/>
                <a:gd name="connsiteY39" fmla="*/ 145202 h 2495002"/>
                <a:gd name="connsiteX40" fmla="*/ 556285 w 1792836"/>
                <a:gd name="connsiteY40" fmla="*/ 261543 h 2495002"/>
                <a:gd name="connsiteX41" fmla="*/ 646962 w 1792836"/>
                <a:gd name="connsiteY41" fmla="*/ 964402 h 2495002"/>
                <a:gd name="connsiteX42" fmla="*/ 705525 w 1792836"/>
                <a:gd name="connsiteY42" fmla="*/ 964402 h 2495002"/>
                <a:gd name="connsiteX43" fmla="*/ 705524 w 1792836"/>
                <a:gd name="connsiteY43" fmla="*/ 118735 h 2495002"/>
                <a:gd name="connsiteX44" fmla="*/ 824259 w 1792836"/>
                <a:gd name="connsiteY44" fmla="*/ 0 h 249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792836" h="2495002">
                  <a:moveTo>
                    <a:pt x="824259" y="0"/>
                  </a:moveTo>
                  <a:cubicBezTo>
                    <a:pt x="889835" y="0"/>
                    <a:pt x="937394" y="40013"/>
                    <a:pt x="942994" y="118735"/>
                  </a:cubicBezTo>
                  <a:cubicBezTo>
                    <a:pt x="962641" y="277721"/>
                    <a:pt x="929535" y="814724"/>
                    <a:pt x="942142" y="953921"/>
                  </a:cubicBezTo>
                  <a:cubicBezTo>
                    <a:pt x="953594" y="969974"/>
                    <a:pt x="1019226" y="978001"/>
                    <a:pt x="1018638" y="953921"/>
                  </a:cubicBezTo>
                  <a:lnTo>
                    <a:pt x="1095220" y="246751"/>
                  </a:lnTo>
                  <a:cubicBezTo>
                    <a:pt x="1102897" y="177357"/>
                    <a:pt x="1165376" y="127325"/>
                    <a:pt x="1234770" y="135002"/>
                  </a:cubicBezTo>
                  <a:cubicBezTo>
                    <a:pt x="1304164" y="142679"/>
                    <a:pt x="1354197" y="205157"/>
                    <a:pt x="1346520" y="274551"/>
                  </a:cubicBezTo>
                  <a:lnTo>
                    <a:pt x="1266078" y="1068381"/>
                  </a:lnTo>
                  <a:cubicBezTo>
                    <a:pt x="1253440" y="1240005"/>
                    <a:pt x="1251963" y="1266677"/>
                    <a:pt x="1254739" y="1300310"/>
                  </a:cubicBezTo>
                  <a:cubicBezTo>
                    <a:pt x="1260525" y="1347990"/>
                    <a:pt x="1245961" y="1427373"/>
                    <a:pt x="1300791" y="1354463"/>
                  </a:cubicBezTo>
                  <a:cubicBezTo>
                    <a:pt x="1428558" y="1104787"/>
                    <a:pt x="1519737" y="946659"/>
                    <a:pt x="1583723" y="862845"/>
                  </a:cubicBezTo>
                  <a:cubicBezTo>
                    <a:pt x="1658053" y="765482"/>
                    <a:pt x="1814148" y="845454"/>
                    <a:pt x="1790404" y="943108"/>
                  </a:cubicBezTo>
                  <a:cubicBezTo>
                    <a:pt x="1766660" y="1040763"/>
                    <a:pt x="1682833" y="1222162"/>
                    <a:pt x="1585731" y="1460814"/>
                  </a:cubicBezTo>
                  <a:cubicBezTo>
                    <a:pt x="1514913" y="1634867"/>
                    <a:pt x="1467867" y="1880011"/>
                    <a:pt x="1248202" y="2026471"/>
                  </a:cubicBezTo>
                  <a:lnTo>
                    <a:pt x="1197366" y="2055999"/>
                  </a:lnTo>
                  <a:lnTo>
                    <a:pt x="1188254" y="2100762"/>
                  </a:lnTo>
                  <a:cubicBezTo>
                    <a:pt x="1174660" y="2192938"/>
                    <a:pt x="1178544" y="2282330"/>
                    <a:pt x="1207396" y="2393991"/>
                  </a:cubicBezTo>
                  <a:lnTo>
                    <a:pt x="1204469" y="2393991"/>
                  </a:lnTo>
                  <a:lnTo>
                    <a:pt x="1207397" y="2400977"/>
                  </a:lnTo>
                  <a:cubicBezTo>
                    <a:pt x="1207397" y="2452906"/>
                    <a:pt x="1032354" y="2495002"/>
                    <a:pt x="816428" y="2495002"/>
                  </a:cubicBezTo>
                  <a:cubicBezTo>
                    <a:pt x="600502" y="2495002"/>
                    <a:pt x="425459" y="2452906"/>
                    <a:pt x="425459" y="2400977"/>
                  </a:cubicBezTo>
                  <a:lnTo>
                    <a:pt x="428387" y="2393991"/>
                  </a:lnTo>
                  <a:lnTo>
                    <a:pt x="425459" y="2393991"/>
                  </a:lnTo>
                  <a:cubicBezTo>
                    <a:pt x="449873" y="2269959"/>
                    <a:pt x="455976" y="2184896"/>
                    <a:pt x="443769" y="2097050"/>
                  </a:cubicBezTo>
                  <a:lnTo>
                    <a:pt x="432360" y="2040771"/>
                  </a:lnTo>
                  <a:lnTo>
                    <a:pt x="390951" y="2013865"/>
                  </a:lnTo>
                  <a:cubicBezTo>
                    <a:pt x="215793" y="1867269"/>
                    <a:pt x="140548" y="1634465"/>
                    <a:pt x="123190" y="1480067"/>
                  </a:cubicBezTo>
                  <a:lnTo>
                    <a:pt x="118561" y="1411347"/>
                  </a:lnTo>
                  <a:lnTo>
                    <a:pt x="119105" y="1411915"/>
                  </a:lnTo>
                  <a:lnTo>
                    <a:pt x="116561" y="1366122"/>
                  </a:lnTo>
                  <a:lnTo>
                    <a:pt x="115691" y="1312312"/>
                  </a:lnTo>
                  <a:lnTo>
                    <a:pt x="105968" y="1232937"/>
                  </a:lnTo>
                  <a:lnTo>
                    <a:pt x="1730" y="631503"/>
                  </a:lnTo>
                  <a:cubicBezTo>
                    <a:pt x="-9258" y="568099"/>
                    <a:pt x="33232" y="507791"/>
                    <a:pt x="96636" y="496802"/>
                  </a:cubicBezTo>
                  <a:lnTo>
                    <a:pt x="117309" y="493219"/>
                  </a:lnTo>
                  <a:cubicBezTo>
                    <a:pt x="180713" y="482231"/>
                    <a:pt x="241020" y="524722"/>
                    <a:pt x="252010" y="588125"/>
                  </a:cubicBezTo>
                  <a:lnTo>
                    <a:pt x="341028" y="1101752"/>
                  </a:lnTo>
                  <a:cubicBezTo>
                    <a:pt x="352121" y="1116101"/>
                    <a:pt x="393315" y="1100351"/>
                    <a:pt x="398388" y="1090621"/>
                  </a:cubicBezTo>
                  <a:lnTo>
                    <a:pt x="298712" y="294106"/>
                  </a:lnTo>
                  <a:cubicBezTo>
                    <a:pt x="289453" y="220860"/>
                    <a:pt x="339606" y="154194"/>
                    <a:pt x="410733" y="145202"/>
                  </a:cubicBezTo>
                  <a:cubicBezTo>
                    <a:pt x="481859" y="136210"/>
                    <a:pt x="547025" y="188298"/>
                    <a:pt x="556285" y="261543"/>
                  </a:cubicBezTo>
                  <a:lnTo>
                    <a:pt x="646962" y="964402"/>
                  </a:lnTo>
                  <a:cubicBezTo>
                    <a:pt x="662993" y="976615"/>
                    <a:pt x="683998" y="978449"/>
                    <a:pt x="705525" y="964402"/>
                  </a:cubicBezTo>
                  <a:cubicBezTo>
                    <a:pt x="705525" y="682513"/>
                    <a:pt x="705524" y="400624"/>
                    <a:pt x="705524" y="118735"/>
                  </a:cubicBezTo>
                  <a:cubicBezTo>
                    <a:pt x="705524" y="53159"/>
                    <a:pt x="758683" y="0"/>
                    <a:pt x="824259" y="0"/>
                  </a:cubicBezTo>
                  <a:close/>
                </a:path>
              </a:pathLst>
            </a:cu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tr-TR" sz="1800" b="1" i="0" u="none" strike="noStrike" kern="1200" cap="none" spc="0" normalizeH="0" baseline="0" noProof="0">
                <a:ln>
                  <a:noFill/>
                </a:ln>
                <a:solidFill>
                  <a:srgbClr val="0000C9"/>
                </a:solidFill>
                <a:effectLst/>
                <a:uLnTx/>
                <a:uFillTx/>
                <a:latin typeface="Arial" panose="020B0604020202020204" pitchFamily="34" charset="0"/>
                <a:ea typeface="+mn-ea"/>
                <a:cs typeface="Arial" panose="020B0604020202020204" pitchFamily="34" charset="0"/>
              </a:endParaRPr>
            </a:p>
          </p:txBody>
        </p:sp>
        <p:grpSp>
          <p:nvGrpSpPr>
            <p:cNvPr id="58" name="Group 57">
              <a:extLst>
                <a:ext uri="{FF2B5EF4-FFF2-40B4-BE49-F238E27FC236}">
                  <a16:creationId xmlns:a16="http://schemas.microsoft.com/office/drawing/2014/main" id="{005AA04C-E0A7-AE38-E33C-091C25F5929B}"/>
                </a:ext>
              </a:extLst>
            </p:cNvPr>
            <p:cNvGrpSpPr/>
            <p:nvPr/>
          </p:nvGrpSpPr>
          <p:grpSpPr>
            <a:xfrm>
              <a:off x="967049" y="2887781"/>
              <a:ext cx="511257" cy="507587"/>
              <a:chOff x="3399414" y="1061934"/>
              <a:chExt cx="5567085" cy="5527125"/>
            </a:xfrm>
            <a:solidFill>
              <a:schemeClr val="bg1"/>
            </a:solidFill>
          </p:grpSpPr>
          <p:sp>
            <p:nvSpPr>
              <p:cNvPr id="64" name="Freeform: Shape 22">
                <a:extLst>
                  <a:ext uri="{FF2B5EF4-FFF2-40B4-BE49-F238E27FC236}">
                    <a16:creationId xmlns:a16="http://schemas.microsoft.com/office/drawing/2014/main" id="{998868EE-D617-6625-2E07-EA80CDEDD1D0}"/>
                  </a:ext>
                </a:extLst>
              </p:cNvPr>
              <p:cNvSpPr/>
              <p:nvPr/>
            </p:nvSpPr>
            <p:spPr>
              <a:xfrm>
                <a:off x="5727586" y="1061934"/>
                <a:ext cx="1532440" cy="4897296"/>
              </a:xfrm>
              <a:custGeom>
                <a:avLst/>
                <a:gdLst>
                  <a:gd name="connsiteX0" fmla="*/ 457200 w 914400"/>
                  <a:gd name="connsiteY0" fmla="*/ 0 h 4970103"/>
                  <a:gd name="connsiteX1" fmla="*/ 914400 w 914400"/>
                  <a:gd name="connsiteY1" fmla="*/ 4491135 h 4970103"/>
                  <a:gd name="connsiteX2" fmla="*/ 911875 w 914400"/>
                  <a:gd name="connsiteY2" fmla="*/ 4491135 h 4970103"/>
                  <a:gd name="connsiteX3" fmla="*/ 914400 w 914400"/>
                  <a:gd name="connsiteY3" fmla="*/ 4516013 h 4970103"/>
                  <a:gd name="connsiteX4" fmla="*/ 457200 w 914400"/>
                  <a:gd name="connsiteY4" fmla="*/ 4970103 h 4970103"/>
                  <a:gd name="connsiteX5" fmla="*/ 0 w 914400"/>
                  <a:gd name="connsiteY5" fmla="*/ 4516013 h 4970103"/>
                  <a:gd name="connsiteX6" fmla="*/ 2525 w 914400"/>
                  <a:gd name="connsiteY6" fmla="*/ 4491135 h 4970103"/>
                  <a:gd name="connsiteX7" fmla="*/ 0 w 914400"/>
                  <a:gd name="connsiteY7" fmla="*/ 4491135 h 4970103"/>
                  <a:gd name="connsiteX0" fmla="*/ 1537252 w 1537252"/>
                  <a:gd name="connsiteY0" fmla="*/ 0 h 4897216"/>
                  <a:gd name="connsiteX1" fmla="*/ 914400 w 1537252"/>
                  <a:gd name="connsiteY1" fmla="*/ 4418248 h 4897216"/>
                  <a:gd name="connsiteX2" fmla="*/ 911875 w 1537252"/>
                  <a:gd name="connsiteY2" fmla="*/ 4418248 h 4897216"/>
                  <a:gd name="connsiteX3" fmla="*/ 914400 w 1537252"/>
                  <a:gd name="connsiteY3" fmla="*/ 4443126 h 4897216"/>
                  <a:gd name="connsiteX4" fmla="*/ 457200 w 1537252"/>
                  <a:gd name="connsiteY4" fmla="*/ 4897216 h 4897216"/>
                  <a:gd name="connsiteX5" fmla="*/ 0 w 1537252"/>
                  <a:gd name="connsiteY5" fmla="*/ 4443126 h 4897216"/>
                  <a:gd name="connsiteX6" fmla="*/ 2525 w 1537252"/>
                  <a:gd name="connsiteY6" fmla="*/ 4418248 h 4897216"/>
                  <a:gd name="connsiteX7" fmla="*/ 0 w 1537252"/>
                  <a:gd name="connsiteY7" fmla="*/ 4418248 h 4897216"/>
                  <a:gd name="connsiteX8" fmla="*/ 1537252 w 1537252"/>
                  <a:gd name="connsiteY8" fmla="*/ 0 h 4897216"/>
                  <a:gd name="connsiteX0" fmla="*/ 1537252 w 1547994"/>
                  <a:gd name="connsiteY0" fmla="*/ 0 h 4897216"/>
                  <a:gd name="connsiteX1" fmla="*/ 914400 w 1547994"/>
                  <a:gd name="connsiteY1" fmla="*/ 4418248 h 4897216"/>
                  <a:gd name="connsiteX2" fmla="*/ 911875 w 1547994"/>
                  <a:gd name="connsiteY2" fmla="*/ 4418248 h 4897216"/>
                  <a:gd name="connsiteX3" fmla="*/ 914400 w 1547994"/>
                  <a:gd name="connsiteY3" fmla="*/ 4443126 h 4897216"/>
                  <a:gd name="connsiteX4" fmla="*/ 457200 w 1547994"/>
                  <a:gd name="connsiteY4" fmla="*/ 4897216 h 4897216"/>
                  <a:gd name="connsiteX5" fmla="*/ 0 w 1547994"/>
                  <a:gd name="connsiteY5" fmla="*/ 4443126 h 4897216"/>
                  <a:gd name="connsiteX6" fmla="*/ 2525 w 1547994"/>
                  <a:gd name="connsiteY6" fmla="*/ 4418248 h 4897216"/>
                  <a:gd name="connsiteX7" fmla="*/ 0 w 1547994"/>
                  <a:gd name="connsiteY7" fmla="*/ 4418248 h 4897216"/>
                  <a:gd name="connsiteX8" fmla="*/ 1537252 w 1547994"/>
                  <a:gd name="connsiteY8" fmla="*/ 0 h 4897216"/>
                  <a:gd name="connsiteX0" fmla="*/ 1537252 w 1547994"/>
                  <a:gd name="connsiteY0" fmla="*/ 0 h 4897216"/>
                  <a:gd name="connsiteX1" fmla="*/ 914400 w 1547994"/>
                  <a:gd name="connsiteY1" fmla="*/ 4418248 h 4897216"/>
                  <a:gd name="connsiteX2" fmla="*/ 911875 w 1547994"/>
                  <a:gd name="connsiteY2" fmla="*/ 4418248 h 4897216"/>
                  <a:gd name="connsiteX3" fmla="*/ 914400 w 1547994"/>
                  <a:gd name="connsiteY3" fmla="*/ 4443126 h 4897216"/>
                  <a:gd name="connsiteX4" fmla="*/ 457200 w 1547994"/>
                  <a:gd name="connsiteY4" fmla="*/ 4897216 h 4897216"/>
                  <a:gd name="connsiteX5" fmla="*/ 0 w 1547994"/>
                  <a:gd name="connsiteY5" fmla="*/ 4443126 h 4897216"/>
                  <a:gd name="connsiteX6" fmla="*/ 2525 w 1547994"/>
                  <a:gd name="connsiteY6" fmla="*/ 4418248 h 4897216"/>
                  <a:gd name="connsiteX7" fmla="*/ 0 w 1547994"/>
                  <a:gd name="connsiteY7" fmla="*/ 4418248 h 4897216"/>
                  <a:gd name="connsiteX8" fmla="*/ 1537252 w 1547994"/>
                  <a:gd name="connsiteY8" fmla="*/ 0 h 4897216"/>
                  <a:gd name="connsiteX0" fmla="*/ 1537252 w 1537252"/>
                  <a:gd name="connsiteY0" fmla="*/ 0 h 4897216"/>
                  <a:gd name="connsiteX1" fmla="*/ 914400 w 1537252"/>
                  <a:gd name="connsiteY1" fmla="*/ 4418248 h 4897216"/>
                  <a:gd name="connsiteX2" fmla="*/ 911875 w 1537252"/>
                  <a:gd name="connsiteY2" fmla="*/ 4418248 h 4897216"/>
                  <a:gd name="connsiteX3" fmla="*/ 914400 w 1537252"/>
                  <a:gd name="connsiteY3" fmla="*/ 4443126 h 4897216"/>
                  <a:gd name="connsiteX4" fmla="*/ 457200 w 1537252"/>
                  <a:gd name="connsiteY4" fmla="*/ 4897216 h 4897216"/>
                  <a:gd name="connsiteX5" fmla="*/ 0 w 1537252"/>
                  <a:gd name="connsiteY5" fmla="*/ 4443126 h 4897216"/>
                  <a:gd name="connsiteX6" fmla="*/ 2525 w 1537252"/>
                  <a:gd name="connsiteY6" fmla="*/ 4418248 h 4897216"/>
                  <a:gd name="connsiteX7" fmla="*/ 0 w 1537252"/>
                  <a:gd name="connsiteY7" fmla="*/ 4418248 h 4897216"/>
                  <a:gd name="connsiteX8" fmla="*/ 1537252 w 1537252"/>
                  <a:gd name="connsiteY8" fmla="*/ 0 h 4897216"/>
                  <a:gd name="connsiteX0" fmla="*/ 1537252 w 1537252"/>
                  <a:gd name="connsiteY0" fmla="*/ 0 h 4897216"/>
                  <a:gd name="connsiteX1" fmla="*/ 914400 w 1537252"/>
                  <a:gd name="connsiteY1" fmla="*/ 4418248 h 4897216"/>
                  <a:gd name="connsiteX2" fmla="*/ 911875 w 1537252"/>
                  <a:gd name="connsiteY2" fmla="*/ 4418248 h 4897216"/>
                  <a:gd name="connsiteX3" fmla="*/ 914400 w 1537252"/>
                  <a:gd name="connsiteY3" fmla="*/ 4443126 h 4897216"/>
                  <a:gd name="connsiteX4" fmla="*/ 457200 w 1537252"/>
                  <a:gd name="connsiteY4" fmla="*/ 4897216 h 4897216"/>
                  <a:gd name="connsiteX5" fmla="*/ 0 w 1537252"/>
                  <a:gd name="connsiteY5" fmla="*/ 4443126 h 4897216"/>
                  <a:gd name="connsiteX6" fmla="*/ 2525 w 1537252"/>
                  <a:gd name="connsiteY6" fmla="*/ 4418248 h 4897216"/>
                  <a:gd name="connsiteX7" fmla="*/ 0 w 1537252"/>
                  <a:gd name="connsiteY7" fmla="*/ 4418248 h 4897216"/>
                  <a:gd name="connsiteX8" fmla="*/ 1537252 w 1537252"/>
                  <a:gd name="connsiteY8" fmla="*/ 0 h 4897216"/>
                  <a:gd name="connsiteX0" fmla="*/ 1537252 w 1537252"/>
                  <a:gd name="connsiteY0" fmla="*/ 0 h 4897216"/>
                  <a:gd name="connsiteX1" fmla="*/ 914400 w 1537252"/>
                  <a:gd name="connsiteY1" fmla="*/ 4418248 h 4897216"/>
                  <a:gd name="connsiteX2" fmla="*/ 911875 w 1537252"/>
                  <a:gd name="connsiteY2" fmla="*/ 4418248 h 4897216"/>
                  <a:gd name="connsiteX3" fmla="*/ 914400 w 1537252"/>
                  <a:gd name="connsiteY3" fmla="*/ 4443126 h 4897216"/>
                  <a:gd name="connsiteX4" fmla="*/ 457200 w 1537252"/>
                  <a:gd name="connsiteY4" fmla="*/ 4897216 h 4897216"/>
                  <a:gd name="connsiteX5" fmla="*/ 0 w 1537252"/>
                  <a:gd name="connsiteY5" fmla="*/ 4443126 h 4897216"/>
                  <a:gd name="connsiteX6" fmla="*/ 2525 w 1537252"/>
                  <a:gd name="connsiteY6" fmla="*/ 4418248 h 4897216"/>
                  <a:gd name="connsiteX7" fmla="*/ 0 w 1537252"/>
                  <a:gd name="connsiteY7" fmla="*/ 4418248 h 4897216"/>
                  <a:gd name="connsiteX8" fmla="*/ 1537252 w 1537252"/>
                  <a:gd name="connsiteY8" fmla="*/ 0 h 4897216"/>
                  <a:gd name="connsiteX0" fmla="*/ 1537252 w 1537252"/>
                  <a:gd name="connsiteY0" fmla="*/ 0 h 4897216"/>
                  <a:gd name="connsiteX1" fmla="*/ 914400 w 1537252"/>
                  <a:gd name="connsiteY1" fmla="*/ 4418248 h 4897216"/>
                  <a:gd name="connsiteX2" fmla="*/ 911875 w 1537252"/>
                  <a:gd name="connsiteY2" fmla="*/ 4339774 h 4897216"/>
                  <a:gd name="connsiteX3" fmla="*/ 914400 w 1537252"/>
                  <a:gd name="connsiteY3" fmla="*/ 4443126 h 4897216"/>
                  <a:gd name="connsiteX4" fmla="*/ 457200 w 1537252"/>
                  <a:gd name="connsiteY4" fmla="*/ 4897216 h 4897216"/>
                  <a:gd name="connsiteX5" fmla="*/ 0 w 1537252"/>
                  <a:gd name="connsiteY5" fmla="*/ 4443126 h 4897216"/>
                  <a:gd name="connsiteX6" fmla="*/ 2525 w 1537252"/>
                  <a:gd name="connsiteY6" fmla="*/ 4418248 h 4897216"/>
                  <a:gd name="connsiteX7" fmla="*/ 0 w 1537252"/>
                  <a:gd name="connsiteY7" fmla="*/ 4418248 h 4897216"/>
                  <a:gd name="connsiteX8" fmla="*/ 1537252 w 1537252"/>
                  <a:gd name="connsiteY8" fmla="*/ 0 h 4897216"/>
                  <a:gd name="connsiteX0" fmla="*/ 1537252 w 1537252"/>
                  <a:gd name="connsiteY0" fmla="*/ 0 h 4897216"/>
                  <a:gd name="connsiteX1" fmla="*/ 914400 w 1537252"/>
                  <a:gd name="connsiteY1" fmla="*/ 4418248 h 4897216"/>
                  <a:gd name="connsiteX2" fmla="*/ 911875 w 1537252"/>
                  <a:gd name="connsiteY2" fmla="*/ 4339774 h 4897216"/>
                  <a:gd name="connsiteX3" fmla="*/ 914400 w 1537252"/>
                  <a:gd name="connsiteY3" fmla="*/ 4443126 h 4897216"/>
                  <a:gd name="connsiteX4" fmla="*/ 457200 w 1537252"/>
                  <a:gd name="connsiteY4" fmla="*/ 4897216 h 4897216"/>
                  <a:gd name="connsiteX5" fmla="*/ 0 w 1537252"/>
                  <a:gd name="connsiteY5" fmla="*/ 4443126 h 4897216"/>
                  <a:gd name="connsiteX6" fmla="*/ 2525 w 1537252"/>
                  <a:gd name="connsiteY6" fmla="*/ 4418248 h 4897216"/>
                  <a:gd name="connsiteX7" fmla="*/ 0 w 1537252"/>
                  <a:gd name="connsiteY7" fmla="*/ 4418248 h 4897216"/>
                  <a:gd name="connsiteX8" fmla="*/ 1537252 w 1537252"/>
                  <a:gd name="connsiteY8" fmla="*/ 0 h 4897216"/>
                  <a:gd name="connsiteX0" fmla="*/ 1537252 w 1537252"/>
                  <a:gd name="connsiteY0" fmla="*/ 0 h 4897216"/>
                  <a:gd name="connsiteX1" fmla="*/ 914400 w 1537252"/>
                  <a:gd name="connsiteY1" fmla="*/ 4418248 h 4897216"/>
                  <a:gd name="connsiteX2" fmla="*/ 854725 w 1537252"/>
                  <a:gd name="connsiteY2" fmla="*/ 3892099 h 4897216"/>
                  <a:gd name="connsiteX3" fmla="*/ 914400 w 1537252"/>
                  <a:gd name="connsiteY3" fmla="*/ 4443126 h 4897216"/>
                  <a:gd name="connsiteX4" fmla="*/ 457200 w 1537252"/>
                  <a:gd name="connsiteY4" fmla="*/ 4897216 h 4897216"/>
                  <a:gd name="connsiteX5" fmla="*/ 0 w 1537252"/>
                  <a:gd name="connsiteY5" fmla="*/ 4443126 h 4897216"/>
                  <a:gd name="connsiteX6" fmla="*/ 2525 w 1537252"/>
                  <a:gd name="connsiteY6" fmla="*/ 4418248 h 4897216"/>
                  <a:gd name="connsiteX7" fmla="*/ 0 w 1537252"/>
                  <a:gd name="connsiteY7" fmla="*/ 4418248 h 4897216"/>
                  <a:gd name="connsiteX8" fmla="*/ 1537252 w 1537252"/>
                  <a:gd name="connsiteY8" fmla="*/ 0 h 4897216"/>
                  <a:gd name="connsiteX0" fmla="*/ 1537252 w 1537252"/>
                  <a:gd name="connsiteY0" fmla="*/ 0 h 4897216"/>
                  <a:gd name="connsiteX1" fmla="*/ 869156 w 1537252"/>
                  <a:gd name="connsiteY1" fmla="*/ 3444317 h 4897216"/>
                  <a:gd name="connsiteX2" fmla="*/ 854725 w 1537252"/>
                  <a:gd name="connsiteY2" fmla="*/ 3892099 h 4897216"/>
                  <a:gd name="connsiteX3" fmla="*/ 914400 w 1537252"/>
                  <a:gd name="connsiteY3" fmla="*/ 4443126 h 4897216"/>
                  <a:gd name="connsiteX4" fmla="*/ 457200 w 1537252"/>
                  <a:gd name="connsiteY4" fmla="*/ 4897216 h 4897216"/>
                  <a:gd name="connsiteX5" fmla="*/ 0 w 1537252"/>
                  <a:gd name="connsiteY5" fmla="*/ 4443126 h 4897216"/>
                  <a:gd name="connsiteX6" fmla="*/ 2525 w 1537252"/>
                  <a:gd name="connsiteY6" fmla="*/ 4418248 h 4897216"/>
                  <a:gd name="connsiteX7" fmla="*/ 0 w 1537252"/>
                  <a:gd name="connsiteY7" fmla="*/ 4418248 h 4897216"/>
                  <a:gd name="connsiteX8" fmla="*/ 1537252 w 1537252"/>
                  <a:gd name="connsiteY8" fmla="*/ 0 h 4897216"/>
                  <a:gd name="connsiteX0" fmla="*/ 1537252 w 1537252"/>
                  <a:gd name="connsiteY0" fmla="*/ 0 h 4897216"/>
                  <a:gd name="connsiteX1" fmla="*/ 869156 w 1537252"/>
                  <a:gd name="connsiteY1" fmla="*/ 3444317 h 4897216"/>
                  <a:gd name="connsiteX2" fmla="*/ 914400 w 1537252"/>
                  <a:gd name="connsiteY2" fmla="*/ 4443126 h 4897216"/>
                  <a:gd name="connsiteX3" fmla="*/ 457200 w 1537252"/>
                  <a:gd name="connsiteY3" fmla="*/ 4897216 h 4897216"/>
                  <a:gd name="connsiteX4" fmla="*/ 0 w 1537252"/>
                  <a:gd name="connsiteY4" fmla="*/ 4443126 h 4897216"/>
                  <a:gd name="connsiteX5" fmla="*/ 2525 w 1537252"/>
                  <a:gd name="connsiteY5" fmla="*/ 4418248 h 4897216"/>
                  <a:gd name="connsiteX6" fmla="*/ 0 w 1537252"/>
                  <a:gd name="connsiteY6" fmla="*/ 4418248 h 4897216"/>
                  <a:gd name="connsiteX7" fmla="*/ 1537252 w 1537252"/>
                  <a:gd name="connsiteY7" fmla="*/ 0 h 4897216"/>
                  <a:gd name="connsiteX0" fmla="*/ 1537252 w 1537252"/>
                  <a:gd name="connsiteY0" fmla="*/ 0 h 4897216"/>
                  <a:gd name="connsiteX1" fmla="*/ 869156 w 1537252"/>
                  <a:gd name="connsiteY1" fmla="*/ 3444317 h 4897216"/>
                  <a:gd name="connsiteX2" fmla="*/ 914400 w 1537252"/>
                  <a:gd name="connsiteY2" fmla="*/ 4443126 h 4897216"/>
                  <a:gd name="connsiteX3" fmla="*/ 457200 w 1537252"/>
                  <a:gd name="connsiteY3" fmla="*/ 4897216 h 4897216"/>
                  <a:gd name="connsiteX4" fmla="*/ 0 w 1537252"/>
                  <a:gd name="connsiteY4" fmla="*/ 4443126 h 4897216"/>
                  <a:gd name="connsiteX5" fmla="*/ 2525 w 1537252"/>
                  <a:gd name="connsiteY5" fmla="*/ 4418248 h 4897216"/>
                  <a:gd name="connsiteX6" fmla="*/ 0 w 1537252"/>
                  <a:gd name="connsiteY6" fmla="*/ 4418248 h 4897216"/>
                  <a:gd name="connsiteX7" fmla="*/ 1537252 w 1537252"/>
                  <a:gd name="connsiteY7" fmla="*/ 0 h 4897216"/>
                  <a:gd name="connsiteX0" fmla="*/ 1537252 w 1537252"/>
                  <a:gd name="connsiteY0" fmla="*/ 0 h 4897216"/>
                  <a:gd name="connsiteX1" fmla="*/ 816769 w 1537252"/>
                  <a:gd name="connsiteY1" fmla="*/ 2834717 h 4897216"/>
                  <a:gd name="connsiteX2" fmla="*/ 914400 w 1537252"/>
                  <a:gd name="connsiteY2" fmla="*/ 4443126 h 4897216"/>
                  <a:gd name="connsiteX3" fmla="*/ 457200 w 1537252"/>
                  <a:gd name="connsiteY3" fmla="*/ 4897216 h 4897216"/>
                  <a:gd name="connsiteX4" fmla="*/ 0 w 1537252"/>
                  <a:gd name="connsiteY4" fmla="*/ 4443126 h 4897216"/>
                  <a:gd name="connsiteX5" fmla="*/ 2525 w 1537252"/>
                  <a:gd name="connsiteY5" fmla="*/ 4418248 h 4897216"/>
                  <a:gd name="connsiteX6" fmla="*/ 0 w 1537252"/>
                  <a:gd name="connsiteY6" fmla="*/ 4418248 h 4897216"/>
                  <a:gd name="connsiteX7" fmla="*/ 1537252 w 1537252"/>
                  <a:gd name="connsiteY7" fmla="*/ 0 h 4897216"/>
                  <a:gd name="connsiteX0" fmla="*/ 1537252 w 1537252"/>
                  <a:gd name="connsiteY0" fmla="*/ 0 h 4897216"/>
                  <a:gd name="connsiteX1" fmla="*/ 816769 w 1537252"/>
                  <a:gd name="connsiteY1" fmla="*/ 2834717 h 4897216"/>
                  <a:gd name="connsiteX2" fmla="*/ 914400 w 1537252"/>
                  <a:gd name="connsiteY2" fmla="*/ 4443126 h 4897216"/>
                  <a:gd name="connsiteX3" fmla="*/ 457200 w 1537252"/>
                  <a:gd name="connsiteY3" fmla="*/ 4897216 h 4897216"/>
                  <a:gd name="connsiteX4" fmla="*/ 0 w 1537252"/>
                  <a:gd name="connsiteY4" fmla="*/ 4443126 h 4897216"/>
                  <a:gd name="connsiteX5" fmla="*/ 2525 w 1537252"/>
                  <a:gd name="connsiteY5" fmla="*/ 4418248 h 4897216"/>
                  <a:gd name="connsiteX6" fmla="*/ 0 w 1537252"/>
                  <a:gd name="connsiteY6" fmla="*/ 4418248 h 4897216"/>
                  <a:gd name="connsiteX7" fmla="*/ 1537252 w 1537252"/>
                  <a:gd name="connsiteY7" fmla="*/ 0 h 4897216"/>
                  <a:gd name="connsiteX0" fmla="*/ 1537252 w 1537252"/>
                  <a:gd name="connsiteY0" fmla="*/ 0 h 4897216"/>
                  <a:gd name="connsiteX1" fmla="*/ 816769 w 1537252"/>
                  <a:gd name="connsiteY1" fmla="*/ 2834717 h 4897216"/>
                  <a:gd name="connsiteX2" fmla="*/ 914400 w 1537252"/>
                  <a:gd name="connsiteY2" fmla="*/ 4443126 h 4897216"/>
                  <a:gd name="connsiteX3" fmla="*/ 457200 w 1537252"/>
                  <a:gd name="connsiteY3" fmla="*/ 4897216 h 4897216"/>
                  <a:gd name="connsiteX4" fmla="*/ 0 w 1537252"/>
                  <a:gd name="connsiteY4" fmla="*/ 4443126 h 4897216"/>
                  <a:gd name="connsiteX5" fmla="*/ 2525 w 1537252"/>
                  <a:gd name="connsiteY5" fmla="*/ 4418248 h 4897216"/>
                  <a:gd name="connsiteX6" fmla="*/ 0 w 1537252"/>
                  <a:gd name="connsiteY6" fmla="*/ 4418248 h 4897216"/>
                  <a:gd name="connsiteX7" fmla="*/ 1537252 w 1537252"/>
                  <a:gd name="connsiteY7" fmla="*/ 0 h 4897216"/>
                  <a:gd name="connsiteX0" fmla="*/ 1537252 w 1537252"/>
                  <a:gd name="connsiteY0" fmla="*/ 0 h 4897216"/>
                  <a:gd name="connsiteX1" fmla="*/ 816769 w 1537252"/>
                  <a:gd name="connsiteY1" fmla="*/ 2834717 h 4897216"/>
                  <a:gd name="connsiteX2" fmla="*/ 914400 w 1537252"/>
                  <a:gd name="connsiteY2" fmla="*/ 4443126 h 4897216"/>
                  <a:gd name="connsiteX3" fmla="*/ 457200 w 1537252"/>
                  <a:gd name="connsiteY3" fmla="*/ 4897216 h 4897216"/>
                  <a:gd name="connsiteX4" fmla="*/ 0 w 1537252"/>
                  <a:gd name="connsiteY4" fmla="*/ 4443126 h 4897216"/>
                  <a:gd name="connsiteX5" fmla="*/ 2525 w 1537252"/>
                  <a:gd name="connsiteY5" fmla="*/ 4418248 h 4897216"/>
                  <a:gd name="connsiteX6" fmla="*/ 0 w 1537252"/>
                  <a:gd name="connsiteY6" fmla="*/ 4418248 h 4897216"/>
                  <a:gd name="connsiteX7" fmla="*/ 1537252 w 1537252"/>
                  <a:gd name="connsiteY7" fmla="*/ 0 h 4897216"/>
                  <a:gd name="connsiteX0" fmla="*/ 1537252 w 1537252"/>
                  <a:gd name="connsiteY0" fmla="*/ 0 h 4897216"/>
                  <a:gd name="connsiteX1" fmla="*/ 816769 w 1537252"/>
                  <a:gd name="connsiteY1" fmla="*/ 2834717 h 4897216"/>
                  <a:gd name="connsiteX2" fmla="*/ 914400 w 1537252"/>
                  <a:gd name="connsiteY2" fmla="*/ 4443126 h 4897216"/>
                  <a:gd name="connsiteX3" fmla="*/ 457200 w 1537252"/>
                  <a:gd name="connsiteY3" fmla="*/ 4897216 h 4897216"/>
                  <a:gd name="connsiteX4" fmla="*/ 0 w 1537252"/>
                  <a:gd name="connsiteY4" fmla="*/ 4443126 h 4897216"/>
                  <a:gd name="connsiteX5" fmla="*/ 2525 w 1537252"/>
                  <a:gd name="connsiteY5" fmla="*/ 4418248 h 4897216"/>
                  <a:gd name="connsiteX6" fmla="*/ 0 w 1537252"/>
                  <a:gd name="connsiteY6" fmla="*/ 4418248 h 4897216"/>
                  <a:gd name="connsiteX7" fmla="*/ 1537252 w 1537252"/>
                  <a:gd name="connsiteY7" fmla="*/ 0 h 4897216"/>
                  <a:gd name="connsiteX0" fmla="*/ 1537252 w 1537252"/>
                  <a:gd name="connsiteY0" fmla="*/ 0 h 4897216"/>
                  <a:gd name="connsiteX1" fmla="*/ 816769 w 1537252"/>
                  <a:gd name="connsiteY1" fmla="*/ 2834717 h 4897216"/>
                  <a:gd name="connsiteX2" fmla="*/ 914400 w 1537252"/>
                  <a:gd name="connsiteY2" fmla="*/ 4443126 h 4897216"/>
                  <a:gd name="connsiteX3" fmla="*/ 457200 w 1537252"/>
                  <a:gd name="connsiteY3" fmla="*/ 4897216 h 4897216"/>
                  <a:gd name="connsiteX4" fmla="*/ 0 w 1537252"/>
                  <a:gd name="connsiteY4" fmla="*/ 4443126 h 4897216"/>
                  <a:gd name="connsiteX5" fmla="*/ 2525 w 1537252"/>
                  <a:gd name="connsiteY5" fmla="*/ 4418248 h 4897216"/>
                  <a:gd name="connsiteX6" fmla="*/ 64546 w 1537252"/>
                  <a:gd name="connsiteY6" fmla="*/ 4143928 h 4897216"/>
                  <a:gd name="connsiteX7" fmla="*/ 1537252 w 1537252"/>
                  <a:gd name="connsiteY7" fmla="*/ 0 h 4897216"/>
                  <a:gd name="connsiteX0" fmla="*/ 1537252 w 1537252"/>
                  <a:gd name="connsiteY0" fmla="*/ 0 h 4897216"/>
                  <a:gd name="connsiteX1" fmla="*/ 816769 w 1537252"/>
                  <a:gd name="connsiteY1" fmla="*/ 2834717 h 4897216"/>
                  <a:gd name="connsiteX2" fmla="*/ 914400 w 1537252"/>
                  <a:gd name="connsiteY2" fmla="*/ 4443126 h 4897216"/>
                  <a:gd name="connsiteX3" fmla="*/ 457200 w 1537252"/>
                  <a:gd name="connsiteY3" fmla="*/ 4897216 h 4897216"/>
                  <a:gd name="connsiteX4" fmla="*/ 0 w 1537252"/>
                  <a:gd name="connsiteY4" fmla="*/ 4443126 h 4897216"/>
                  <a:gd name="connsiteX5" fmla="*/ 2525 w 1537252"/>
                  <a:gd name="connsiteY5" fmla="*/ 4418248 h 4897216"/>
                  <a:gd name="connsiteX6" fmla="*/ 64546 w 1537252"/>
                  <a:gd name="connsiteY6" fmla="*/ 4143928 h 4897216"/>
                  <a:gd name="connsiteX7" fmla="*/ 1537252 w 1537252"/>
                  <a:gd name="connsiteY7" fmla="*/ 0 h 4897216"/>
                  <a:gd name="connsiteX0" fmla="*/ 1537252 w 1537252"/>
                  <a:gd name="connsiteY0" fmla="*/ 0 h 4897216"/>
                  <a:gd name="connsiteX1" fmla="*/ 816769 w 1537252"/>
                  <a:gd name="connsiteY1" fmla="*/ 2834717 h 4897216"/>
                  <a:gd name="connsiteX2" fmla="*/ 914400 w 1537252"/>
                  <a:gd name="connsiteY2" fmla="*/ 4443126 h 4897216"/>
                  <a:gd name="connsiteX3" fmla="*/ 457200 w 1537252"/>
                  <a:gd name="connsiteY3" fmla="*/ 4897216 h 4897216"/>
                  <a:gd name="connsiteX4" fmla="*/ 0 w 1537252"/>
                  <a:gd name="connsiteY4" fmla="*/ 4443126 h 4897216"/>
                  <a:gd name="connsiteX5" fmla="*/ 64546 w 1537252"/>
                  <a:gd name="connsiteY5" fmla="*/ 4143928 h 4897216"/>
                  <a:gd name="connsiteX6" fmla="*/ 1537252 w 1537252"/>
                  <a:gd name="connsiteY6" fmla="*/ 0 h 4897216"/>
                  <a:gd name="connsiteX0" fmla="*/ 1526494 w 1526494"/>
                  <a:gd name="connsiteY0" fmla="*/ 0 h 4897297"/>
                  <a:gd name="connsiteX1" fmla="*/ 806011 w 1526494"/>
                  <a:gd name="connsiteY1" fmla="*/ 2834717 h 4897297"/>
                  <a:gd name="connsiteX2" fmla="*/ 903642 w 1526494"/>
                  <a:gd name="connsiteY2" fmla="*/ 4443126 h 4897297"/>
                  <a:gd name="connsiteX3" fmla="*/ 446442 w 1526494"/>
                  <a:gd name="connsiteY3" fmla="*/ 4897216 h 4897297"/>
                  <a:gd name="connsiteX4" fmla="*/ 0 w 1526494"/>
                  <a:gd name="connsiteY4" fmla="*/ 4470021 h 4897297"/>
                  <a:gd name="connsiteX5" fmla="*/ 53788 w 1526494"/>
                  <a:gd name="connsiteY5" fmla="*/ 4143928 h 4897297"/>
                  <a:gd name="connsiteX6" fmla="*/ 1526494 w 1526494"/>
                  <a:gd name="connsiteY6" fmla="*/ 0 h 4897297"/>
                  <a:gd name="connsiteX0" fmla="*/ 1529898 w 1529898"/>
                  <a:gd name="connsiteY0" fmla="*/ 0 h 4897296"/>
                  <a:gd name="connsiteX1" fmla="*/ 809415 w 1529898"/>
                  <a:gd name="connsiteY1" fmla="*/ 2834717 h 4897296"/>
                  <a:gd name="connsiteX2" fmla="*/ 907046 w 1529898"/>
                  <a:gd name="connsiteY2" fmla="*/ 4443126 h 4897296"/>
                  <a:gd name="connsiteX3" fmla="*/ 449846 w 1529898"/>
                  <a:gd name="connsiteY3" fmla="*/ 4897216 h 4897296"/>
                  <a:gd name="connsiteX4" fmla="*/ 3404 w 1529898"/>
                  <a:gd name="connsiteY4" fmla="*/ 4470021 h 4897296"/>
                  <a:gd name="connsiteX5" fmla="*/ 57192 w 1529898"/>
                  <a:gd name="connsiteY5" fmla="*/ 4143928 h 4897296"/>
                  <a:gd name="connsiteX6" fmla="*/ 1529898 w 1529898"/>
                  <a:gd name="connsiteY6" fmla="*/ 0 h 4897296"/>
                  <a:gd name="connsiteX0" fmla="*/ 1526509 w 1526509"/>
                  <a:gd name="connsiteY0" fmla="*/ 0 h 4897315"/>
                  <a:gd name="connsiteX1" fmla="*/ 806026 w 1526509"/>
                  <a:gd name="connsiteY1" fmla="*/ 2834717 h 4897315"/>
                  <a:gd name="connsiteX2" fmla="*/ 903657 w 1526509"/>
                  <a:gd name="connsiteY2" fmla="*/ 4443126 h 4897315"/>
                  <a:gd name="connsiteX3" fmla="*/ 446457 w 1526509"/>
                  <a:gd name="connsiteY3" fmla="*/ 4897216 h 4897315"/>
                  <a:gd name="connsiteX4" fmla="*/ 15 w 1526509"/>
                  <a:gd name="connsiteY4" fmla="*/ 4470021 h 4897315"/>
                  <a:gd name="connsiteX5" fmla="*/ 53803 w 1526509"/>
                  <a:gd name="connsiteY5" fmla="*/ 4143928 h 4897315"/>
                  <a:gd name="connsiteX6" fmla="*/ 1526509 w 1526509"/>
                  <a:gd name="connsiteY6" fmla="*/ 0 h 4897315"/>
                  <a:gd name="connsiteX0" fmla="*/ 1526852 w 1526852"/>
                  <a:gd name="connsiteY0" fmla="*/ 0 h 4897336"/>
                  <a:gd name="connsiteX1" fmla="*/ 806369 w 1526852"/>
                  <a:gd name="connsiteY1" fmla="*/ 2834717 h 4897336"/>
                  <a:gd name="connsiteX2" fmla="*/ 904000 w 1526852"/>
                  <a:gd name="connsiteY2" fmla="*/ 4443126 h 4897336"/>
                  <a:gd name="connsiteX3" fmla="*/ 446800 w 1526852"/>
                  <a:gd name="connsiteY3" fmla="*/ 4897216 h 4897336"/>
                  <a:gd name="connsiteX4" fmla="*/ 358 w 1526852"/>
                  <a:gd name="connsiteY4" fmla="*/ 4470021 h 4897336"/>
                  <a:gd name="connsiteX5" fmla="*/ 54146 w 1526852"/>
                  <a:gd name="connsiteY5" fmla="*/ 4143928 h 4897336"/>
                  <a:gd name="connsiteX6" fmla="*/ 1526852 w 1526852"/>
                  <a:gd name="connsiteY6" fmla="*/ 0 h 4897336"/>
                  <a:gd name="connsiteX0" fmla="*/ 1526852 w 1526852"/>
                  <a:gd name="connsiteY0" fmla="*/ 0 h 4897336"/>
                  <a:gd name="connsiteX1" fmla="*/ 806369 w 1526852"/>
                  <a:gd name="connsiteY1" fmla="*/ 2834717 h 4897336"/>
                  <a:gd name="connsiteX2" fmla="*/ 904000 w 1526852"/>
                  <a:gd name="connsiteY2" fmla="*/ 4443126 h 4897336"/>
                  <a:gd name="connsiteX3" fmla="*/ 446800 w 1526852"/>
                  <a:gd name="connsiteY3" fmla="*/ 4897216 h 4897336"/>
                  <a:gd name="connsiteX4" fmla="*/ 358 w 1526852"/>
                  <a:gd name="connsiteY4" fmla="*/ 4470021 h 4897336"/>
                  <a:gd name="connsiteX5" fmla="*/ 54146 w 1526852"/>
                  <a:gd name="connsiteY5" fmla="*/ 4143928 h 4897336"/>
                  <a:gd name="connsiteX6" fmla="*/ 1526852 w 1526852"/>
                  <a:gd name="connsiteY6" fmla="*/ 0 h 4897336"/>
                  <a:gd name="connsiteX0" fmla="*/ 1526852 w 1526852"/>
                  <a:gd name="connsiteY0" fmla="*/ 0 h 4897336"/>
                  <a:gd name="connsiteX1" fmla="*/ 806369 w 1526852"/>
                  <a:gd name="connsiteY1" fmla="*/ 2834717 h 4897336"/>
                  <a:gd name="connsiteX2" fmla="*/ 904000 w 1526852"/>
                  <a:gd name="connsiteY2" fmla="*/ 4443126 h 4897336"/>
                  <a:gd name="connsiteX3" fmla="*/ 446800 w 1526852"/>
                  <a:gd name="connsiteY3" fmla="*/ 4897216 h 4897336"/>
                  <a:gd name="connsiteX4" fmla="*/ 358 w 1526852"/>
                  <a:gd name="connsiteY4" fmla="*/ 4470021 h 4897336"/>
                  <a:gd name="connsiteX5" fmla="*/ 54146 w 1526852"/>
                  <a:gd name="connsiteY5" fmla="*/ 4143928 h 4897336"/>
                  <a:gd name="connsiteX6" fmla="*/ 1526852 w 1526852"/>
                  <a:gd name="connsiteY6" fmla="*/ 0 h 4897336"/>
                  <a:gd name="connsiteX0" fmla="*/ 1526852 w 1526852"/>
                  <a:gd name="connsiteY0" fmla="*/ 0 h 4897336"/>
                  <a:gd name="connsiteX1" fmla="*/ 806369 w 1526852"/>
                  <a:gd name="connsiteY1" fmla="*/ 2834717 h 4897336"/>
                  <a:gd name="connsiteX2" fmla="*/ 904000 w 1526852"/>
                  <a:gd name="connsiteY2" fmla="*/ 4443126 h 4897336"/>
                  <a:gd name="connsiteX3" fmla="*/ 446800 w 1526852"/>
                  <a:gd name="connsiteY3" fmla="*/ 4897216 h 4897336"/>
                  <a:gd name="connsiteX4" fmla="*/ 358 w 1526852"/>
                  <a:gd name="connsiteY4" fmla="*/ 4470021 h 4897336"/>
                  <a:gd name="connsiteX5" fmla="*/ 54146 w 1526852"/>
                  <a:gd name="connsiteY5" fmla="*/ 4143928 h 4897336"/>
                  <a:gd name="connsiteX6" fmla="*/ 1526852 w 1526852"/>
                  <a:gd name="connsiteY6" fmla="*/ 0 h 4897336"/>
                  <a:gd name="connsiteX0" fmla="*/ 1532212 w 1532212"/>
                  <a:gd name="connsiteY0" fmla="*/ 0 h 4897296"/>
                  <a:gd name="connsiteX1" fmla="*/ 811729 w 1532212"/>
                  <a:gd name="connsiteY1" fmla="*/ 2834717 h 4897296"/>
                  <a:gd name="connsiteX2" fmla="*/ 909360 w 1532212"/>
                  <a:gd name="connsiteY2" fmla="*/ 4443126 h 4897296"/>
                  <a:gd name="connsiteX3" fmla="*/ 452160 w 1532212"/>
                  <a:gd name="connsiteY3" fmla="*/ 4897216 h 4897296"/>
                  <a:gd name="connsiteX4" fmla="*/ 5718 w 1532212"/>
                  <a:gd name="connsiteY4" fmla="*/ 4470021 h 4897296"/>
                  <a:gd name="connsiteX5" fmla="*/ 193977 w 1532212"/>
                  <a:gd name="connsiteY5" fmla="*/ 3412408 h 4897296"/>
                  <a:gd name="connsiteX6" fmla="*/ 1532212 w 1532212"/>
                  <a:gd name="connsiteY6" fmla="*/ 0 h 4897296"/>
                  <a:gd name="connsiteX0" fmla="*/ 1532336 w 1532336"/>
                  <a:gd name="connsiteY0" fmla="*/ 0 h 4897296"/>
                  <a:gd name="connsiteX1" fmla="*/ 811853 w 1532336"/>
                  <a:gd name="connsiteY1" fmla="*/ 2834717 h 4897296"/>
                  <a:gd name="connsiteX2" fmla="*/ 909484 w 1532336"/>
                  <a:gd name="connsiteY2" fmla="*/ 4443126 h 4897296"/>
                  <a:gd name="connsiteX3" fmla="*/ 452284 w 1532336"/>
                  <a:gd name="connsiteY3" fmla="*/ 4897216 h 4897296"/>
                  <a:gd name="connsiteX4" fmla="*/ 5842 w 1532336"/>
                  <a:gd name="connsiteY4" fmla="*/ 4470021 h 4897296"/>
                  <a:gd name="connsiteX5" fmla="*/ 194101 w 1532336"/>
                  <a:gd name="connsiteY5" fmla="*/ 3412408 h 4897296"/>
                  <a:gd name="connsiteX6" fmla="*/ 1532336 w 1532336"/>
                  <a:gd name="connsiteY6" fmla="*/ 0 h 4897296"/>
                  <a:gd name="connsiteX0" fmla="*/ 1532440 w 1532440"/>
                  <a:gd name="connsiteY0" fmla="*/ 0 h 4897296"/>
                  <a:gd name="connsiteX1" fmla="*/ 811957 w 1532440"/>
                  <a:gd name="connsiteY1" fmla="*/ 2834717 h 4897296"/>
                  <a:gd name="connsiteX2" fmla="*/ 909588 w 1532440"/>
                  <a:gd name="connsiteY2" fmla="*/ 4443126 h 4897296"/>
                  <a:gd name="connsiteX3" fmla="*/ 452388 w 1532440"/>
                  <a:gd name="connsiteY3" fmla="*/ 4897216 h 4897296"/>
                  <a:gd name="connsiteX4" fmla="*/ 5946 w 1532440"/>
                  <a:gd name="connsiteY4" fmla="*/ 4470021 h 4897296"/>
                  <a:gd name="connsiteX5" fmla="*/ 194205 w 1532440"/>
                  <a:gd name="connsiteY5" fmla="*/ 3412408 h 4897296"/>
                  <a:gd name="connsiteX6" fmla="*/ 1532440 w 1532440"/>
                  <a:gd name="connsiteY6" fmla="*/ 0 h 4897296"/>
                  <a:gd name="connsiteX0" fmla="*/ 1532440 w 1532440"/>
                  <a:gd name="connsiteY0" fmla="*/ 0 h 4897296"/>
                  <a:gd name="connsiteX1" fmla="*/ 811957 w 1532440"/>
                  <a:gd name="connsiteY1" fmla="*/ 2834717 h 4897296"/>
                  <a:gd name="connsiteX2" fmla="*/ 909588 w 1532440"/>
                  <a:gd name="connsiteY2" fmla="*/ 4443126 h 4897296"/>
                  <a:gd name="connsiteX3" fmla="*/ 452388 w 1532440"/>
                  <a:gd name="connsiteY3" fmla="*/ 4897216 h 4897296"/>
                  <a:gd name="connsiteX4" fmla="*/ 5946 w 1532440"/>
                  <a:gd name="connsiteY4" fmla="*/ 4470021 h 4897296"/>
                  <a:gd name="connsiteX5" fmla="*/ 194205 w 1532440"/>
                  <a:gd name="connsiteY5" fmla="*/ 3412408 h 4897296"/>
                  <a:gd name="connsiteX6" fmla="*/ 1532440 w 1532440"/>
                  <a:gd name="connsiteY6" fmla="*/ 0 h 4897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2440" h="4897296">
                    <a:moveTo>
                      <a:pt x="1532440" y="0"/>
                    </a:moveTo>
                    <a:cubicBezTo>
                      <a:pt x="1073030" y="1293845"/>
                      <a:pt x="871141" y="1889585"/>
                      <a:pt x="811957" y="2834717"/>
                    </a:cubicBezTo>
                    <a:cubicBezTo>
                      <a:pt x="761811" y="3635518"/>
                      <a:pt x="969516" y="4099376"/>
                      <a:pt x="909588" y="4443126"/>
                    </a:cubicBezTo>
                    <a:cubicBezTo>
                      <a:pt x="849660" y="4786876"/>
                      <a:pt x="602995" y="4892734"/>
                      <a:pt x="452388" y="4897216"/>
                    </a:cubicBezTo>
                    <a:cubicBezTo>
                      <a:pt x="301781" y="4901699"/>
                      <a:pt x="48976" y="4717489"/>
                      <a:pt x="5946" y="4470021"/>
                    </a:cubicBezTo>
                    <a:cubicBezTo>
                      <a:pt x="-37084" y="4222553"/>
                      <a:pt x="166585" y="3519056"/>
                      <a:pt x="194205" y="3412408"/>
                    </a:cubicBezTo>
                    <a:cubicBezTo>
                      <a:pt x="648984" y="1656416"/>
                      <a:pt x="889710" y="1039845"/>
                      <a:pt x="153244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5" name="Freeform: Shape 23">
                <a:extLst>
                  <a:ext uri="{FF2B5EF4-FFF2-40B4-BE49-F238E27FC236}">
                    <a16:creationId xmlns:a16="http://schemas.microsoft.com/office/drawing/2014/main" id="{7529B40B-8E6A-2251-C094-4F4CC0F0236D}"/>
                  </a:ext>
                </a:extLst>
              </p:cNvPr>
              <p:cNvSpPr/>
              <p:nvPr/>
            </p:nvSpPr>
            <p:spPr>
              <a:xfrm>
                <a:off x="3399414" y="4464424"/>
                <a:ext cx="5567085" cy="2124635"/>
              </a:xfrm>
              <a:custGeom>
                <a:avLst/>
                <a:gdLst>
                  <a:gd name="connsiteX0" fmla="*/ 526230 w 5567085"/>
                  <a:gd name="connsiteY0" fmla="*/ 0 h 2124635"/>
                  <a:gd name="connsiteX1" fmla="*/ 1652196 w 5567085"/>
                  <a:gd name="connsiteY1" fmla="*/ 0 h 2124635"/>
                  <a:gd name="connsiteX2" fmla="*/ 2178426 w 5567085"/>
                  <a:gd name="connsiteY2" fmla="*/ 526230 h 2124635"/>
                  <a:gd name="connsiteX3" fmla="*/ 2178426 w 5567085"/>
                  <a:gd name="connsiteY3" fmla="*/ 732353 h 2124635"/>
                  <a:gd name="connsiteX4" fmla="*/ 2175274 w 5567085"/>
                  <a:gd name="connsiteY4" fmla="*/ 744853 h 2124635"/>
                  <a:gd name="connsiteX5" fmla="*/ 2128074 w 5567085"/>
                  <a:gd name="connsiteY5" fmla="*/ 1224505 h 2124635"/>
                  <a:gd name="connsiteX6" fmla="*/ 2759457 w 5567085"/>
                  <a:gd name="connsiteY6" fmla="*/ 1717935 h 2124635"/>
                  <a:gd name="connsiteX7" fmla="*/ 3406053 w 5567085"/>
                  <a:gd name="connsiteY7" fmla="*/ 1193440 h 2124635"/>
                  <a:gd name="connsiteX8" fmla="*/ 3380911 w 5567085"/>
                  <a:gd name="connsiteY8" fmla="*/ 675027 h 2124635"/>
                  <a:gd name="connsiteX9" fmla="*/ 3372525 w 5567085"/>
                  <a:gd name="connsiteY9" fmla="*/ 628986 h 2124635"/>
                  <a:gd name="connsiteX10" fmla="*/ 3372525 w 5567085"/>
                  <a:gd name="connsiteY10" fmla="*/ 563878 h 2124635"/>
                  <a:gd name="connsiteX11" fmla="*/ 3936403 w 5567085"/>
                  <a:gd name="connsiteY11" fmla="*/ 0 h 2124635"/>
                  <a:gd name="connsiteX12" fmla="*/ 5003207 w 5567085"/>
                  <a:gd name="connsiteY12" fmla="*/ 0 h 2124635"/>
                  <a:gd name="connsiteX13" fmla="*/ 5567085 w 5567085"/>
                  <a:gd name="connsiteY13" fmla="*/ 563878 h 2124635"/>
                  <a:gd name="connsiteX14" fmla="*/ 5567085 w 5567085"/>
                  <a:gd name="connsiteY14" fmla="*/ 2124635 h 2124635"/>
                  <a:gd name="connsiteX15" fmla="*/ 3576920 w 5567085"/>
                  <a:gd name="connsiteY15" fmla="*/ 2124635 h 2124635"/>
                  <a:gd name="connsiteX16" fmla="*/ 3372525 w 5567085"/>
                  <a:gd name="connsiteY16" fmla="*/ 2124635 h 2124635"/>
                  <a:gd name="connsiteX17" fmla="*/ 2178426 w 5567085"/>
                  <a:gd name="connsiteY17" fmla="*/ 2124635 h 2124635"/>
                  <a:gd name="connsiteX18" fmla="*/ 1420012 w 5567085"/>
                  <a:gd name="connsiteY18" fmla="*/ 2124635 h 2124635"/>
                  <a:gd name="connsiteX19" fmla="*/ 0 w 5567085"/>
                  <a:gd name="connsiteY19" fmla="*/ 2124635 h 2124635"/>
                  <a:gd name="connsiteX20" fmla="*/ 0 w 5567085"/>
                  <a:gd name="connsiteY20" fmla="*/ 526230 h 2124635"/>
                  <a:gd name="connsiteX21" fmla="*/ 526230 w 5567085"/>
                  <a:gd name="connsiteY21" fmla="*/ 0 h 2124635"/>
                  <a:gd name="connsiteX0" fmla="*/ 526230 w 5567085"/>
                  <a:gd name="connsiteY0" fmla="*/ 0 h 2124635"/>
                  <a:gd name="connsiteX1" fmla="*/ 1652196 w 5567085"/>
                  <a:gd name="connsiteY1" fmla="*/ 0 h 2124635"/>
                  <a:gd name="connsiteX2" fmla="*/ 2178426 w 5567085"/>
                  <a:gd name="connsiteY2" fmla="*/ 526230 h 2124635"/>
                  <a:gd name="connsiteX3" fmla="*/ 2175274 w 5567085"/>
                  <a:gd name="connsiteY3" fmla="*/ 744853 h 2124635"/>
                  <a:gd name="connsiteX4" fmla="*/ 2128074 w 5567085"/>
                  <a:gd name="connsiteY4" fmla="*/ 1224505 h 2124635"/>
                  <a:gd name="connsiteX5" fmla="*/ 2759457 w 5567085"/>
                  <a:gd name="connsiteY5" fmla="*/ 1717935 h 2124635"/>
                  <a:gd name="connsiteX6" fmla="*/ 3406053 w 5567085"/>
                  <a:gd name="connsiteY6" fmla="*/ 1193440 h 2124635"/>
                  <a:gd name="connsiteX7" fmla="*/ 3380911 w 5567085"/>
                  <a:gd name="connsiteY7" fmla="*/ 675027 h 2124635"/>
                  <a:gd name="connsiteX8" fmla="*/ 3372525 w 5567085"/>
                  <a:gd name="connsiteY8" fmla="*/ 628986 h 2124635"/>
                  <a:gd name="connsiteX9" fmla="*/ 3372525 w 5567085"/>
                  <a:gd name="connsiteY9" fmla="*/ 563878 h 2124635"/>
                  <a:gd name="connsiteX10" fmla="*/ 3936403 w 5567085"/>
                  <a:gd name="connsiteY10" fmla="*/ 0 h 2124635"/>
                  <a:gd name="connsiteX11" fmla="*/ 5003207 w 5567085"/>
                  <a:gd name="connsiteY11" fmla="*/ 0 h 2124635"/>
                  <a:gd name="connsiteX12" fmla="*/ 5567085 w 5567085"/>
                  <a:gd name="connsiteY12" fmla="*/ 563878 h 2124635"/>
                  <a:gd name="connsiteX13" fmla="*/ 5567085 w 5567085"/>
                  <a:gd name="connsiteY13" fmla="*/ 2124635 h 2124635"/>
                  <a:gd name="connsiteX14" fmla="*/ 3576920 w 5567085"/>
                  <a:gd name="connsiteY14" fmla="*/ 2124635 h 2124635"/>
                  <a:gd name="connsiteX15" fmla="*/ 3372525 w 5567085"/>
                  <a:gd name="connsiteY15" fmla="*/ 2124635 h 2124635"/>
                  <a:gd name="connsiteX16" fmla="*/ 2178426 w 5567085"/>
                  <a:gd name="connsiteY16" fmla="*/ 2124635 h 2124635"/>
                  <a:gd name="connsiteX17" fmla="*/ 1420012 w 5567085"/>
                  <a:gd name="connsiteY17" fmla="*/ 2124635 h 2124635"/>
                  <a:gd name="connsiteX18" fmla="*/ 0 w 5567085"/>
                  <a:gd name="connsiteY18" fmla="*/ 2124635 h 2124635"/>
                  <a:gd name="connsiteX19" fmla="*/ 0 w 5567085"/>
                  <a:gd name="connsiteY19" fmla="*/ 526230 h 2124635"/>
                  <a:gd name="connsiteX20" fmla="*/ 526230 w 5567085"/>
                  <a:gd name="connsiteY20" fmla="*/ 0 h 2124635"/>
                  <a:gd name="connsiteX0" fmla="*/ 526230 w 5567085"/>
                  <a:gd name="connsiteY0" fmla="*/ 0 h 2124635"/>
                  <a:gd name="connsiteX1" fmla="*/ 1652196 w 5567085"/>
                  <a:gd name="connsiteY1" fmla="*/ 0 h 2124635"/>
                  <a:gd name="connsiteX2" fmla="*/ 2178426 w 5567085"/>
                  <a:gd name="connsiteY2" fmla="*/ 526230 h 2124635"/>
                  <a:gd name="connsiteX3" fmla="*/ 2175274 w 5567085"/>
                  <a:gd name="connsiteY3" fmla="*/ 744853 h 2124635"/>
                  <a:gd name="connsiteX4" fmla="*/ 2128074 w 5567085"/>
                  <a:gd name="connsiteY4" fmla="*/ 1224505 h 2124635"/>
                  <a:gd name="connsiteX5" fmla="*/ 2759457 w 5567085"/>
                  <a:gd name="connsiteY5" fmla="*/ 1717935 h 2124635"/>
                  <a:gd name="connsiteX6" fmla="*/ 3406053 w 5567085"/>
                  <a:gd name="connsiteY6" fmla="*/ 1193440 h 2124635"/>
                  <a:gd name="connsiteX7" fmla="*/ 3380911 w 5567085"/>
                  <a:gd name="connsiteY7" fmla="*/ 675027 h 2124635"/>
                  <a:gd name="connsiteX8" fmla="*/ 3372525 w 5567085"/>
                  <a:gd name="connsiteY8" fmla="*/ 628986 h 2124635"/>
                  <a:gd name="connsiteX9" fmla="*/ 3372525 w 5567085"/>
                  <a:gd name="connsiteY9" fmla="*/ 563878 h 2124635"/>
                  <a:gd name="connsiteX10" fmla="*/ 3936403 w 5567085"/>
                  <a:gd name="connsiteY10" fmla="*/ 0 h 2124635"/>
                  <a:gd name="connsiteX11" fmla="*/ 5003207 w 5567085"/>
                  <a:gd name="connsiteY11" fmla="*/ 0 h 2124635"/>
                  <a:gd name="connsiteX12" fmla="*/ 5567085 w 5567085"/>
                  <a:gd name="connsiteY12" fmla="*/ 563878 h 2124635"/>
                  <a:gd name="connsiteX13" fmla="*/ 5567085 w 5567085"/>
                  <a:gd name="connsiteY13" fmla="*/ 2124635 h 2124635"/>
                  <a:gd name="connsiteX14" fmla="*/ 3576920 w 5567085"/>
                  <a:gd name="connsiteY14" fmla="*/ 2124635 h 2124635"/>
                  <a:gd name="connsiteX15" fmla="*/ 3372525 w 5567085"/>
                  <a:gd name="connsiteY15" fmla="*/ 2124635 h 2124635"/>
                  <a:gd name="connsiteX16" fmla="*/ 2178426 w 5567085"/>
                  <a:gd name="connsiteY16" fmla="*/ 2124635 h 2124635"/>
                  <a:gd name="connsiteX17" fmla="*/ 1420012 w 5567085"/>
                  <a:gd name="connsiteY17" fmla="*/ 2124635 h 2124635"/>
                  <a:gd name="connsiteX18" fmla="*/ 0 w 5567085"/>
                  <a:gd name="connsiteY18" fmla="*/ 2124635 h 2124635"/>
                  <a:gd name="connsiteX19" fmla="*/ 0 w 5567085"/>
                  <a:gd name="connsiteY19" fmla="*/ 526230 h 2124635"/>
                  <a:gd name="connsiteX20" fmla="*/ 526230 w 5567085"/>
                  <a:gd name="connsiteY20" fmla="*/ 0 h 2124635"/>
                  <a:gd name="connsiteX0" fmla="*/ 526230 w 5567085"/>
                  <a:gd name="connsiteY0" fmla="*/ 0 h 2124635"/>
                  <a:gd name="connsiteX1" fmla="*/ 1652196 w 5567085"/>
                  <a:gd name="connsiteY1" fmla="*/ 0 h 2124635"/>
                  <a:gd name="connsiteX2" fmla="*/ 2178426 w 5567085"/>
                  <a:gd name="connsiteY2" fmla="*/ 526230 h 2124635"/>
                  <a:gd name="connsiteX3" fmla="*/ 2175274 w 5567085"/>
                  <a:gd name="connsiteY3" fmla="*/ 744853 h 2124635"/>
                  <a:gd name="connsiteX4" fmla="*/ 2128074 w 5567085"/>
                  <a:gd name="connsiteY4" fmla="*/ 1224505 h 2124635"/>
                  <a:gd name="connsiteX5" fmla="*/ 2759457 w 5567085"/>
                  <a:gd name="connsiteY5" fmla="*/ 1717935 h 2124635"/>
                  <a:gd name="connsiteX6" fmla="*/ 3406053 w 5567085"/>
                  <a:gd name="connsiteY6" fmla="*/ 1193440 h 2124635"/>
                  <a:gd name="connsiteX7" fmla="*/ 3380911 w 5567085"/>
                  <a:gd name="connsiteY7" fmla="*/ 675027 h 2124635"/>
                  <a:gd name="connsiteX8" fmla="*/ 3372525 w 5567085"/>
                  <a:gd name="connsiteY8" fmla="*/ 563878 h 2124635"/>
                  <a:gd name="connsiteX9" fmla="*/ 3936403 w 5567085"/>
                  <a:gd name="connsiteY9" fmla="*/ 0 h 2124635"/>
                  <a:gd name="connsiteX10" fmla="*/ 5003207 w 5567085"/>
                  <a:gd name="connsiteY10" fmla="*/ 0 h 2124635"/>
                  <a:gd name="connsiteX11" fmla="*/ 5567085 w 5567085"/>
                  <a:gd name="connsiteY11" fmla="*/ 563878 h 2124635"/>
                  <a:gd name="connsiteX12" fmla="*/ 5567085 w 5567085"/>
                  <a:gd name="connsiteY12" fmla="*/ 2124635 h 2124635"/>
                  <a:gd name="connsiteX13" fmla="*/ 3576920 w 5567085"/>
                  <a:gd name="connsiteY13" fmla="*/ 2124635 h 2124635"/>
                  <a:gd name="connsiteX14" fmla="*/ 3372525 w 5567085"/>
                  <a:gd name="connsiteY14" fmla="*/ 2124635 h 2124635"/>
                  <a:gd name="connsiteX15" fmla="*/ 2178426 w 5567085"/>
                  <a:gd name="connsiteY15" fmla="*/ 2124635 h 2124635"/>
                  <a:gd name="connsiteX16" fmla="*/ 1420012 w 5567085"/>
                  <a:gd name="connsiteY16" fmla="*/ 2124635 h 2124635"/>
                  <a:gd name="connsiteX17" fmla="*/ 0 w 5567085"/>
                  <a:gd name="connsiteY17" fmla="*/ 2124635 h 2124635"/>
                  <a:gd name="connsiteX18" fmla="*/ 0 w 5567085"/>
                  <a:gd name="connsiteY18" fmla="*/ 526230 h 2124635"/>
                  <a:gd name="connsiteX19" fmla="*/ 526230 w 5567085"/>
                  <a:gd name="connsiteY19" fmla="*/ 0 h 2124635"/>
                  <a:gd name="connsiteX0" fmla="*/ 526230 w 5567085"/>
                  <a:gd name="connsiteY0" fmla="*/ 0 h 2124635"/>
                  <a:gd name="connsiteX1" fmla="*/ 1652196 w 5567085"/>
                  <a:gd name="connsiteY1" fmla="*/ 0 h 2124635"/>
                  <a:gd name="connsiteX2" fmla="*/ 2178426 w 5567085"/>
                  <a:gd name="connsiteY2" fmla="*/ 526230 h 2124635"/>
                  <a:gd name="connsiteX3" fmla="*/ 2175274 w 5567085"/>
                  <a:gd name="connsiteY3" fmla="*/ 744853 h 2124635"/>
                  <a:gd name="connsiteX4" fmla="*/ 2128074 w 5567085"/>
                  <a:gd name="connsiteY4" fmla="*/ 1224505 h 2124635"/>
                  <a:gd name="connsiteX5" fmla="*/ 2759457 w 5567085"/>
                  <a:gd name="connsiteY5" fmla="*/ 1717935 h 2124635"/>
                  <a:gd name="connsiteX6" fmla="*/ 3406053 w 5567085"/>
                  <a:gd name="connsiteY6" fmla="*/ 1193440 h 2124635"/>
                  <a:gd name="connsiteX7" fmla="*/ 3380911 w 5567085"/>
                  <a:gd name="connsiteY7" fmla="*/ 675027 h 2124635"/>
                  <a:gd name="connsiteX8" fmla="*/ 3372525 w 5567085"/>
                  <a:gd name="connsiteY8" fmla="*/ 563878 h 2124635"/>
                  <a:gd name="connsiteX9" fmla="*/ 3936403 w 5567085"/>
                  <a:gd name="connsiteY9" fmla="*/ 0 h 2124635"/>
                  <a:gd name="connsiteX10" fmla="*/ 5003207 w 5567085"/>
                  <a:gd name="connsiteY10" fmla="*/ 0 h 2124635"/>
                  <a:gd name="connsiteX11" fmla="*/ 5567085 w 5567085"/>
                  <a:gd name="connsiteY11" fmla="*/ 563878 h 2124635"/>
                  <a:gd name="connsiteX12" fmla="*/ 5567085 w 5567085"/>
                  <a:gd name="connsiteY12" fmla="*/ 2124635 h 2124635"/>
                  <a:gd name="connsiteX13" fmla="*/ 3576920 w 5567085"/>
                  <a:gd name="connsiteY13" fmla="*/ 2124635 h 2124635"/>
                  <a:gd name="connsiteX14" fmla="*/ 3372525 w 5567085"/>
                  <a:gd name="connsiteY14" fmla="*/ 2124635 h 2124635"/>
                  <a:gd name="connsiteX15" fmla="*/ 2178426 w 5567085"/>
                  <a:gd name="connsiteY15" fmla="*/ 2124635 h 2124635"/>
                  <a:gd name="connsiteX16" fmla="*/ 1420012 w 5567085"/>
                  <a:gd name="connsiteY16" fmla="*/ 2124635 h 2124635"/>
                  <a:gd name="connsiteX17" fmla="*/ 0 w 5567085"/>
                  <a:gd name="connsiteY17" fmla="*/ 2124635 h 2124635"/>
                  <a:gd name="connsiteX18" fmla="*/ 0 w 5567085"/>
                  <a:gd name="connsiteY18" fmla="*/ 526230 h 2124635"/>
                  <a:gd name="connsiteX19" fmla="*/ 526230 w 5567085"/>
                  <a:gd name="connsiteY19" fmla="*/ 0 h 2124635"/>
                  <a:gd name="connsiteX0" fmla="*/ 526230 w 5567085"/>
                  <a:gd name="connsiteY0" fmla="*/ 0 h 2124635"/>
                  <a:gd name="connsiteX1" fmla="*/ 1652196 w 5567085"/>
                  <a:gd name="connsiteY1" fmla="*/ 0 h 2124635"/>
                  <a:gd name="connsiteX2" fmla="*/ 2178426 w 5567085"/>
                  <a:gd name="connsiteY2" fmla="*/ 526230 h 2124635"/>
                  <a:gd name="connsiteX3" fmla="*/ 2175274 w 5567085"/>
                  <a:gd name="connsiteY3" fmla="*/ 744853 h 2124635"/>
                  <a:gd name="connsiteX4" fmla="*/ 2128074 w 5567085"/>
                  <a:gd name="connsiteY4" fmla="*/ 1224505 h 2124635"/>
                  <a:gd name="connsiteX5" fmla="*/ 2759457 w 5567085"/>
                  <a:gd name="connsiteY5" fmla="*/ 1717935 h 2124635"/>
                  <a:gd name="connsiteX6" fmla="*/ 3406053 w 5567085"/>
                  <a:gd name="connsiteY6" fmla="*/ 1193440 h 2124635"/>
                  <a:gd name="connsiteX7" fmla="*/ 3380911 w 5567085"/>
                  <a:gd name="connsiteY7" fmla="*/ 675027 h 2124635"/>
                  <a:gd name="connsiteX8" fmla="*/ 3372525 w 5567085"/>
                  <a:gd name="connsiteY8" fmla="*/ 563878 h 2124635"/>
                  <a:gd name="connsiteX9" fmla="*/ 3936403 w 5567085"/>
                  <a:gd name="connsiteY9" fmla="*/ 0 h 2124635"/>
                  <a:gd name="connsiteX10" fmla="*/ 5003207 w 5567085"/>
                  <a:gd name="connsiteY10" fmla="*/ 0 h 2124635"/>
                  <a:gd name="connsiteX11" fmla="*/ 5567085 w 5567085"/>
                  <a:gd name="connsiteY11" fmla="*/ 563878 h 2124635"/>
                  <a:gd name="connsiteX12" fmla="*/ 5567085 w 5567085"/>
                  <a:gd name="connsiteY12" fmla="*/ 2124635 h 2124635"/>
                  <a:gd name="connsiteX13" fmla="*/ 3576920 w 5567085"/>
                  <a:gd name="connsiteY13" fmla="*/ 2124635 h 2124635"/>
                  <a:gd name="connsiteX14" fmla="*/ 3372525 w 5567085"/>
                  <a:gd name="connsiteY14" fmla="*/ 2124635 h 2124635"/>
                  <a:gd name="connsiteX15" fmla="*/ 2178426 w 5567085"/>
                  <a:gd name="connsiteY15" fmla="*/ 2124635 h 2124635"/>
                  <a:gd name="connsiteX16" fmla="*/ 1420012 w 5567085"/>
                  <a:gd name="connsiteY16" fmla="*/ 2124635 h 2124635"/>
                  <a:gd name="connsiteX17" fmla="*/ 0 w 5567085"/>
                  <a:gd name="connsiteY17" fmla="*/ 2124635 h 2124635"/>
                  <a:gd name="connsiteX18" fmla="*/ 0 w 5567085"/>
                  <a:gd name="connsiteY18" fmla="*/ 526230 h 2124635"/>
                  <a:gd name="connsiteX19" fmla="*/ 526230 w 5567085"/>
                  <a:gd name="connsiteY19" fmla="*/ 0 h 2124635"/>
                  <a:gd name="connsiteX0" fmla="*/ 526230 w 5567085"/>
                  <a:gd name="connsiteY0" fmla="*/ 0 h 2124635"/>
                  <a:gd name="connsiteX1" fmla="*/ 1652196 w 5567085"/>
                  <a:gd name="connsiteY1" fmla="*/ 0 h 2124635"/>
                  <a:gd name="connsiteX2" fmla="*/ 2178426 w 5567085"/>
                  <a:gd name="connsiteY2" fmla="*/ 526230 h 2124635"/>
                  <a:gd name="connsiteX3" fmla="*/ 2175274 w 5567085"/>
                  <a:gd name="connsiteY3" fmla="*/ 744853 h 2124635"/>
                  <a:gd name="connsiteX4" fmla="*/ 2128074 w 5567085"/>
                  <a:gd name="connsiteY4" fmla="*/ 1224505 h 2124635"/>
                  <a:gd name="connsiteX5" fmla="*/ 2759457 w 5567085"/>
                  <a:gd name="connsiteY5" fmla="*/ 1717935 h 2124635"/>
                  <a:gd name="connsiteX6" fmla="*/ 3406053 w 5567085"/>
                  <a:gd name="connsiteY6" fmla="*/ 1193440 h 2124635"/>
                  <a:gd name="connsiteX7" fmla="*/ 3380911 w 5567085"/>
                  <a:gd name="connsiteY7" fmla="*/ 675027 h 2124635"/>
                  <a:gd name="connsiteX8" fmla="*/ 3372525 w 5567085"/>
                  <a:gd name="connsiteY8" fmla="*/ 563878 h 2124635"/>
                  <a:gd name="connsiteX9" fmla="*/ 3936403 w 5567085"/>
                  <a:gd name="connsiteY9" fmla="*/ 0 h 2124635"/>
                  <a:gd name="connsiteX10" fmla="*/ 5003207 w 5567085"/>
                  <a:gd name="connsiteY10" fmla="*/ 0 h 2124635"/>
                  <a:gd name="connsiteX11" fmla="*/ 5567085 w 5567085"/>
                  <a:gd name="connsiteY11" fmla="*/ 563878 h 2124635"/>
                  <a:gd name="connsiteX12" fmla="*/ 5567085 w 5567085"/>
                  <a:gd name="connsiteY12" fmla="*/ 2124635 h 2124635"/>
                  <a:gd name="connsiteX13" fmla="*/ 3576920 w 5567085"/>
                  <a:gd name="connsiteY13" fmla="*/ 2124635 h 2124635"/>
                  <a:gd name="connsiteX14" fmla="*/ 3372525 w 5567085"/>
                  <a:gd name="connsiteY14" fmla="*/ 2124635 h 2124635"/>
                  <a:gd name="connsiteX15" fmla="*/ 2178426 w 5567085"/>
                  <a:gd name="connsiteY15" fmla="*/ 2124635 h 2124635"/>
                  <a:gd name="connsiteX16" fmla="*/ 1420012 w 5567085"/>
                  <a:gd name="connsiteY16" fmla="*/ 2124635 h 2124635"/>
                  <a:gd name="connsiteX17" fmla="*/ 0 w 5567085"/>
                  <a:gd name="connsiteY17" fmla="*/ 2124635 h 2124635"/>
                  <a:gd name="connsiteX18" fmla="*/ 0 w 5567085"/>
                  <a:gd name="connsiteY18" fmla="*/ 526230 h 2124635"/>
                  <a:gd name="connsiteX19" fmla="*/ 526230 w 5567085"/>
                  <a:gd name="connsiteY19" fmla="*/ 0 h 2124635"/>
                  <a:gd name="connsiteX0" fmla="*/ 526230 w 5567085"/>
                  <a:gd name="connsiteY0" fmla="*/ 0 h 2124635"/>
                  <a:gd name="connsiteX1" fmla="*/ 1652196 w 5567085"/>
                  <a:gd name="connsiteY1" fmla="*/ 0 h 2124635"/>
                  <a:gd name="connsiteX2" fmla="*/ 2178426 w 5567085"/>
                  <a:gd name="connsiteY2" fmla="*/ 526230 h 2124635"/>
                  <a:gd name="connsiteX3" fmla="*/ 2175274 w 5567085"/>
                  <a:gd name="connsiteY3" fmla="*/ 744853 h 2124635"/>
                  <a:gd name="connsiteX4" fmla="*/ 2128074 w 5567085"/>
                  <a:gd name="connsiteY4" fmla="*/ 1224505 h 2124635"/>
                  <a:gd name="connsiteX5" fmla="*/ 2759457 w 5567085"/>
                  <a:gd name="connsiteY5" fmla="*/ 1717935 h 2124635"/>
                  <a:gd name="connsiteX6" fmla="*/ 3406053 w 5567085"/>
                  <a:gd name="connsiteY6" fmla="*/ 1193440 h 2124635"/>
                  <a:gd name="connsiteX7" fmla="*/ 3380911 w 5567085"/>
                  <a:gd name="connsiteY7" fmla="*/ 675027 h 2124635"/>
                  <a:gd name="connsiteX8" fmla="*/ 3372525 w 5567085"/>
                  <a:gd name="connsiteY8" fmla="*/ 563878 h 2124635"/>
                  <a:gd name="connsiteX9" fmla="*/ 3936403 w 5567085"/>
                  <a:gd name="connsiteY9" fmla="*/ 0 h 2124635"/>
                  <a:gd name="connsiteX10" fmla="*/ 5003207 w 5567085"/>
                  <a:gd name="connsiteY10" fmla="*/ 0 h 2124635"/>
                  <a:gd name="connsiteX11" fmla="*/ 5567085 w 5567085"/>
                  <a:gd name="connsiteY11" fmla="*/ 563878 h 2124635"/>
                  <a:gd name="connsiteX12" fmla="*/ 5567085 w 5567085"/>
                  <a:gd name="connsiteY12" fmla="*/ 2124635 h 2124635"/>
                  <a:gd name="connsiteX13" fmla="*/ 3576920 w 5567085"/>
                  <a:gd name="connsiteY13" fmla="*/ 2124635 h 2124635"/>
                  <a:gd name="connsiteX14" fmla="*/ 3372525 w 5567085"/>
                  <a:gd name="connsiteY14" fmla="*/ 2124635 h 2124635"/>
                  <a:gd name="connsiteX15" fmla="*/ 2178426 w 5567085"/>
                  <a:gd name="connsiteY15" fmla="*/ 2124635 h 2124635"/>
                  <a:gd name="connsiteX16" fmla="*/ 1420012 w 5567085"/>
                  <a:gd name="connsiteY16" fmla="*/ 2124635 h 2124635"/>
                  <a:gd name="connsiteX17" fmla="*/ 0 w 5567085"/>
                  <a:gd name="connsiteY17" fmla="*/ 2124635 h 2124635"/>
                  <a:gd name="connsiteX18" fmla="*/ 0 w 5567085"/>
                  <a:gd name="connsiteY18" fmla="*/ 526230 h 2124635"/>
                  <a:gd name="connsiteX19" fmla="*/ 526230 w 5567085"/>
                  <a:gd name="connsiteY19" fmla="*/ 0 h 2124635"/>
                  <a:gd name="connsiteX0" fmla="*/ 526230 w 5567085"/>
                  <a:gd name="connsiteY0" fmla="*/ 0 h 2124635"/>
                  <a:gd name="connsiteX1" fmla="*/ 1652196 w 5567085"/>
                  <a:gd name="connsiteY1" fmla="*/ 0 h 2124635"/>
                  <a:gd name="connsiteX2" fmla="*/ 2178426 w 5567085"/>
                  <a:gd name="connsiteY2" fmla="*/ 526230 h 2124635"/>
                  <a:gd name="connsiteX3" fmla="*/ 2175274 w 5567085"/>
                  <a:gd name="connsiteY3" fmla="*/ 744853 h 2124635"/>
                  <a:gd name="connsiteX4" fmla="*/ 2128074 w 5567085"/>
                  <a:gd name="connsiteY4" fmla="*/ 1224505 h 2124635"/>
                  <a:gd name="connsiteX5" fmla="*/ 2759457 w 5567085"/>
                  <a:gd name="connsiteY5" fmla="*/ 1717935 h 2124635"/>
                  <a:gd name="connsiteX6" fmla="*/ 3406053 w 5567085"/>
                  <a:gd name="connsiteY6" fmla="*/ 1193440 h 2124635"/>
                  <a:gd name="connsiteX7" fmla="*/ 3380911 w 5567085"/>
                  <a:gd name="connsiteY7" fmla="*/ 675027 h 2124635"/>
                  <a:gd name="connsiteX8" fmla="*/ 3372525 w 5567085"/>
                  <a:gd name="connsiteY8" fmla="*/ 563878 h 2124635"/>
                  <a:gd name="connsiteX9" fmla="*/ 3936403 w 5567085"/>
                  <a:gd name="connsiteY9" fmla="*/ 0 h 2124635"/>
                  <a:gd name="connsiteX10" fmla="*/ 5003207 w 5567085"/>
                  <a:gd name="connsiteY10" fmla="*/ 0 h 2124635"/>
                  <a:gd name="connsiteX11" fmla="*/ 5567085 w 5567085"/>
                  <a:gd name="connsiteY11" fmla="*/ 563878 h 2124635"/>
                  <a:gd name="connsiteX12" fmla="*/ 5567085 w 5567085"/>
                  <a:gd name="connsiteY12" fmla="*/ 2124635 h 2124635"/>
                  <a:gd name="connsiteX13" fmla="*/ 3576920 w 5567085"/>
                  <a:gd name="connsiteY13" fmla="*/ 2124635 h 2124635"/>
                  <a:gd name="connsiteX14" fmla="*/ 3372525 w 5567085"/>
                  <a:gd name="connsiteY14" fmla="*/ 2124635 h 2124635"/>
                  <a:gd name="connsiteX15" fmla="*/ 2178426 w 5567085"/>
                  <a:gd name="connsiteY15" fmla="*/ 2124635 h 2124635"/>
                  <a:gd name="connsiteX16" fmla="*/ 1420012 w 5567085"/>
                  <a:gd name="connsiteY16" fmla="*/ 2124635 h 2124635"/>
                  <a:gd name="connsiteX17" fmla="*/ 0 w 5567085"/>
                  <a:gd name="connsiteY17" fmla="*/ 2124635 h 2124635"/>
                  <a:gd name="connsiteX18" fmla="*/ 0 w 5567085"/>
                  <a:gd name="connsiteY18" fmla="*/ 526230 h 2124635"/>
                  <a:gd name="connsiteX19" fmla="*/ 526230 w 5567085"/>
                  <a:gd name="connsiteY19" fmla="*/ 0 h 2124635"/>
                  <a:gd name="connsiteX0" fmla="*/ 526230 w 5567085"/>
                  <a:gd name="connsiteY0" fmla="*/ 0 h 2124635"/>
                  <a:gd name="connsiteX1" fmla="*/ 1652196 w 5567085"/>
                  <a:gd name="connsiteY1" fmla="*/ 0 h 2124635"/>
                  <a:gd name="connsiteX2" fmla="*/ 2178426 w 5567085"/>
                  <a:gd name="connsiteY2" fmla="*/ 526230 h 2124635"/>
                  <a:gd name="connsiteX3" fmla="*/ 2175274 w 5567085"/>
                  <a:gd name="connsiteY3" fmla="*/ 744853 h 2124635"/>
                  <a:gd name="connsiteX4" fmla="*/ 2128074 w 5567085"/>
                  <a:gd name="connsiteY4" fmla="*/ 1224505 h 2124635"/>
                  <a:gd name="connsiteX5" fmla="*/ 2759457 w 5567085"/>
                  <a:gd name="connsiteY5" fmla="*/ 1717935 h 2124635"/>
                  <a:gd name="connsiteX6" fmla="*/ 3406053 w 5567085"/>
                  <a:gd name="connsiteY6" fmla="*/ 1193440 h 2124635"/>
                  <a:gd name="connsiteX7" fmla="*/ 3380911 w 5567085"/>
                  <a:gd name="connsiteY7" fmla="*/ 675027 h 2124635"/>
                  <a:gd name="connsiteX8" fmla="*/ 3372525 w 5567085"/>
                  <a:gd name="connsiteY8" fmla="*/ 563878 h 2124635"/>
                  <a:gd name="connsiteX9" fmla="*/ 3936403 w 5567085"/>
                  <a:gd name="connsiteY9" fmla="*/ 0 h 2124635"/>
                  <a:gd name="connsiteX10" fmla="*/ 5003207 w 5567085"/>
                  <a:gd name="connsiteY10" fmla="*/ 0 h 2124635"/>
                  <a:gd name="connsiteX11" fmla="*/ 5567085 w 5567085"/>
                  <a:gd name="connsiteY11" fmla="*/ 563878 h 2124635"/>
                  <a:gd name="connsiteX12" fmla="*/ 5567085 w 5567085"/>
                  <a:gd name="connsiteY12" fmla="*/ 2124635 h 2124635"/>
                  <a:gd name="connsiteX13" fmla="*/ 3576920 w 5567085"/>
                  <a:gd name="connsiteY13" fmla="*/ 2124635 h 2124635"/>
                  <a:gd name="connsiteX14" fmla="*/ 3372525 w 5567085"/>
                  <a:gd name="connsiteY14" fmla="*/ 2124635 h 2124635"/>
                  <a:gd name="connsiteX15" fmla="*/ 2178426 w 5567085"/>
                  <a:gd name="connsiteY15" fmla="*/ 2124635 h 2124635"/>
                  <a:gd name="connsiteX16" fmla="*/ 1420012 w 5567085"/>
                  <a:gd name="connsiteY16" fmla="*/ 2124635 h 2124635"/>
                  <a:gd name="connsiteX17" fmla="*/ 0 w 5567085"/>
                  <a:gd name="connsiteY17" fmla="*/ 2124635 h 2124635"/>
                  <a:gd name="connsiteX18" fmla="*/ 0 w 5567085"/>
                  <a:gd name="connsiteY18" fmla="*/ 526230 h 2124635"/>
                  <a:gd name="connsiteX19" fmla="*/ 526230 w 5567085"/>
                  <a:gd name="connsiteY19" fmla="*/ 0 h 212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67085" h="2124635">
                    <a:moveTo>
                      <a:pt x="526230" y="0"/>
                    </a:moveTo>
                    <a:lnTo>
                      <a:pt x="1652196" y="0"/>
                    </a:lnTo>
                    <a:cubicBezTo>
                      <a:pt x="1942825" y="0"/>
                      <a:pt x="2178426" y="235601"/>
                      <a:pt x="2178426" y="526230"/>
                    </a:cubicBezTo>
                    <a:cubicBezTo>
                      <a:pt x="2191889" y="618456"/>
                      <a:pt x="2186168" y="699691"/>
                      <a:pt x="2175274" y="744853"/>
                    </a:cubicBezTo>
                    <a:cubicBezTo>
                      <a:pt x="2129278" y="935534"/>
                      <a:pt x="2105254" y="1117316"/>
                      <a:pt x="2128074" y="1224505"/>
                    </a:cubicBezTo>
                    <a:cubicBezTo>
                      <a:pt x="2188930" y="1510342"/>
                      <a:pt x="2471157" y="1728492"/>
                      <a:pt x="2759457" y="1717935"/>
                    </a:cubicBezTo>
                    <a:cubicBezTo>
                      <a:pt x="3047757" y="1707378"/>
                      <a:pt x="3321300" y="1590487"/>
                      <a:pt x="3406053" y="1193440"/>
                    </a:cubicBezTo>
                    <a:cubicBezTo>
                      <a:pt x="3437836" y="1044547"/>
                      <a:pt x="3416392" y="876145"/>
                      <a:pt x="3380911" y="675027"/>
                    </a:cubicBezTo>
                    <a:cubicBezTo>
                      <a:pt x="3373278" y="623463"/>
                      <a:pt x="3375320" y="600928"/>
                      <a:pt x="3372525" y="563878"/>
                    </a:cubicBezTo>
                    <a:cubicBezTo>
                      <a:pt x="3372525" y="252457"/>
                      <a:pt x="3624982" y="0"/>
                      <a:pt x="3936403" y="0"/>
                    </a:cubicBezTo>
                    <a:lnTo>
                      <a:pt x="5003207" y="0"/>
                    </a:lnTo>
                    <a:cubicBezTo>
                      <a:pt x="5314628" y="0"/>
                      <a:pt x="5567085" y="252457"/>
                      <a:pt x="5567085" y="563878"/>
                    </a:cubicBezTo>
                    <a:lnTo>
                      <a:pt x="5567085" y="2124635"/>
                    </a:lnTo>
                    <a:lnTo>
                      <a:pt x="3576920" y="2124635"/>
                    </a:lnTo>
                    <a:lnTo>
                      <a:pt x="3372525" y="2124635"/>
                    </a:lnTo>
                    <a:lnTo>
                      <a:pt x="2178426" y="2124635"/>
                    </a:lnTo>
                    <a:lnTo>
                      <a:pt x="1420012" y="2124635"/>
                    </a:lnTo>
                    <a:lnTo>
                      <a:pt x="0" y="2124635"/>
                    </a:lnTo>
                    <a:lnTo>
                      <a:pt x="0" y="526230"/>
                    </a:lnTo>
                    <a:cubicBezTo>
                      <a:pt x="0" y="235601"/>
                      <a:pt x="235601" y="0"/>
                      <a:pt x="52623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6" name="Freeform: Shape 24">
                <a:extLst>
                  <a:ext uri="{FF2B5EF4-FFF2-40B4-BE49-F238E27FC236}">
                    <a16:creationId xmlns:a16="http://schemas.microsoft.com/office/drawing/2014/main" id="{12C6C857-17E4-72E1-6465-BAEBB7655E6C}"/>
                  </a:ext>
                </a:extLst>
              </p:cNvPr>
              <p:cNvSpPr/>
              <p:nvPr/>
            </p:nvSpPr>
            <p:spPr>
              <a:xfrm>
                <a:off x="7438182" y="1857066"/>
                <a:ext cx="1074174" cy="2443265"/>
              </a:xfrm>
              <a:custGeom>
                <a:avLst/>
                <a:gdLst>
                  <a:gd name="connsiteX0" fmla="*/ 1074174 w 1074174"/>
                  <a:gd name="connsiteY0" fmla="*/ 0 h 2443265"/>
                  <a:gd name="connsiteX1" fmla="*/ 426630 w 1074174"/>
                  <a:gd name="connsiteY1" fmla="*/ 2175012 h 2443265"/>
                  <a:gd name="connsiteX2" fmla="*/ 389842 w 1074174"/>
                  <a:gd name="connsiteY2" fmla="*/ 2443265 h 2443265"/>
                  <a:gd name="connsiteX3" fmla="*/ 0 w 1074174"/>
                  <a:gd name="connsiteY3" fmla="*/ 2443265 h 2443265"/>
                  <a:gd name="connsiteX4" fmla="*/ 46514 w 1074174"/>
                  <a:gd name="connsiteY4" fmla="*/ 2284638 h 2443265"/>
                  <a:gd name="connsiteX5" fmla="*/ 1074174 w 1074174"/>
                  <a:gd name="connsiteY5" fmla="*/ 0 h 244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4174" h="2443265">
                    <a:moveTo>
                      <a:pt x="1074174" y="0"/>
                    </a:moveTo>
                    <a:cubicBezTo>
                      <a:pt x="729617" y="970384"/>
                      <a:pt x="529915" y="1548084"/>
                      <a:pt x="426630" y="2175012"/>
                    </a:cubicBezTo>
                    <a:lnTo>
                      <a:pt x="389842" y="2443265"/>
                    </a:lnTo>
                    <a:lnTo>
                      <a:pt x="0" y="2443265"/>
                    </a:lnTo>
                    <a:lnTo>
                      <a:pt x="46514" y="2284638"/>
                    </a:lnTo>
                    <a:cubicBezTo>
                      <a:pt x="336207" y="1321676"/>
                      <a:pt x="592127" y="779884"/>
                      <a:pt x="107417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7" name="Freeform: Shape 25">
                <a:extLst>
                  <a:ext uri="{FF2B5EF4-FFF2-40B4-BE49-F238E27FC236}">
                    <a16:creationId xmlns:a16="http://schemas.microsoft.com/office/drawing/2014/main" id="{3B58D6C5-61DD-BDE6-8408-5A3872095768}"/>
                  </a:ext>
                </a:extLst>
              </p:cNvPr>
              <p:cNvSpPr/>
              <p:nvPr/>
            </p:nvSpPr>
            <p:spPr>
              <a:xfrm>
                <a:off x="4708234" y="1857066"/>
                <a:ext cx="1074174" cy="2443265"/>
              </a:xfrm>
              <a:custGeom>
                <a:avLst/>
                <a:gdLst>
                  <a:gd name="connsiteX0" fmla="*/ 1074174 w 1074174"/>
                  <a:gd name="connsiteY0" fmla="*/ 0 h 2443265"/>
                  <a:gd name="connsiteX1" fmla="*/ 426630 w 1074174"/>
                  <a:gd name="connsiteY1" fmla="*/ 2175012 h 2443265"/>
                  <a:gd name="connsiteX2" fmla="*/ 389842 w 1074174"/>
                  <a:gd name="connsiteY2" fmla="*/ 2443265 h 2443265"/>
                  <a:gd name="connsiteX3" fmla="*/ 0 w 1074174"/>
                  <a:gd name="connsiteY3" fmla="*/ 2443265 h 2443265"/>
                  <a:gd name="connsiteX4" fmla="*/ 46514 w 1074174"/>
                  <a:gd name="connsiteY4" fmla="*/ 2284638 h 2443265"/>
                  <a:gd name="connsiteX5" fmla="*/ 1074174 w 1074174"/>
                  <a:gd name="connsiteY5" fmla="*/ 0 h 244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4174" h="2443265">
                    <a:moveTo>
                      <a:pt x="1074174" y="0"/>
                    </a:moveTo>
                    <a:cubicBezTo>
                      <a:pt x="729617" y="970384"/>
                      <a:pt x="529915" y="1548084"/>
                      <a:pt x="426630" y="2175012"/>
                    </a:cubicBezTo>
                    <a:lnTo>
                      <a:pt x="389842" y="2443265"/>
                    </a:lnTo>
                    <a:lnTo>
                      <a:pt x="0" y="2443265"/>
                    </a:lnTo>
                    <a:lnTo>
                      <a:pt x="46514" y="2284638"/>
                    </a:lnTo>
                    <a:cubicBezTo>
                      <a:pt x="336207" y="1321676"/>
                      <a:pt x="592127" y="779884"/>
                      <a:pt x="107417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59" name="Group 58">
              <a:extLst>
                <a:ext uri="{FF2B5EF4-FFF2-40B4-BE49-F238E27FC236}">
                  <a16:creationId xmlns:a16="http://schemas.microsoft.com/office/drawing/2014/main" id="{E18559AF-AA15-546D-1C81-5BB4EC8B6630}"/>
                </a:ext>
              </a:extLst>
            </p:cNvPr>
            <p:cNvGrpSpPr/>
            <p:nvPr/>
          </p:nvGrpSpPr>
          <p:grpSpPr>
            <a:xfrm>
              <a:off x="3299530" y="2319634"/>
              <a:ext cx="567056" cy="438338"/>
              <a:chOff x="2811626" y="1483888"/>
              <a:chExt cx="5110063" cy="3950111"/>
            </a:xfrm>
            <a:solidFill>
              <a:schemeClr val="bg1"/>
            </a:solidFill>
          </p:grpSpPr>
          <p:sp>
            <p:nvSpPr>
              <p:cNvPr id="60" name="Rectangle: Top Corners Rounded 10">
                <a:extLst>
                  <a:ext uri="{FF2B5EF4-FFF2-40B4-BE49-F238E27FC236}">
                    <a16:creationId xmlns:a16="http://schemas.microsoft.com/office/drawing/2014/main" id="{26042690-5858-24E3-504C-85603E13D976}"/>
                  </a:ext>
                </a:extLst>
              </p:cNvPr>
              <p:cNvSpPr/>
              <p:nvPr/>
            </p:nvSpPr>
            <p:spPr>
              <a:xfrm rot="16200000">
                <a:off x="3390867" y="1263228"/>
                <a:ext cx="253807" cy="1412289"/>
              </a:xfrm>
              <a:custGeom>
                <a:avLst/>
                <a:gdLst>
                  <a:gd name="connsiteX0" fmla="*/ 124409 w 248817"/>
                  <a:gd name="connsiteY0" fmla="*/ 0 h 1412033"/>
                  <a:gd name="connsiteX1" fmla="*/ 124409 w 248817"/>
                  <a:gd name="connsiteY1" fmla="*/ 0 h 1412033"/>
                  <a:gd name="connsiteX2" fmla="*/ 248818 w 248817"/>
                  <a:gd name="connsiteY2" fmla="*/ 124409 h 1412033"/>
                  <a:gd name="connsiteX3" fmla="*/ 248817 w 248817"/>
                  <a:gd name="connsiteY3" fmla="*/ 1412033 h 1412033"/>
                  <a:gd name="connsiteX4" fmla="*/ 248817 w 248817"/>
                  <a:gd name="connsiteY4" fmla="*/ 1412033 h 1412033"/>
                  <a:gd name="connsiteX5" fmla="*/ 0 w 248817"/>
                  <a:gd name="connsiteY5" fmla="*/ 1412033 h 1412033"/>
                  <a:gd name="connsiteX6" fmla="*/ 0 w 248817"/>
                  <a:gd name="connsiteY6" fmla="*/ 1412033 h 1412033"/>
                  <a:gd name="connsiteX7" fmla="*/ 0 w 248817"/>
                  <a:gd name="connsiteY7" fmla="*/ 124409 h 1412033"/>
                  <a:gd name="connsiteX8" fmla="*/ 124409 w 248817"/>
                  <a:gd name="connsiteY8" fmla="*/ 0 h 1412033"/>
                  <a:gd name="connsiteX0" fmla="*/ 124409 w 248818"/>
                  <a:gd name="connsiteY0" fmla="*/ 0 h 1412033"/>
                  <a:gd name="connsiteX1" fmla="*/ 124409 w 248818"/>
                  <a:gd name="connsiteY1" fmla="*/ 0 h 1412033"/>
                  <a:gd name="connsiteX2" fmla="*/ 248818 w 248818"/>
                  <a:gd name="connsiteY2" fmla="*/ 124409 h 1412033"/>
                  <a:gd name="connsiteX3" fmla="*/ 248817 w 248818"/>
                  <a:gd name="connsiteY3" fmla="*/ 1412033 h 1412033"/>
                  <a:gd name="connsiteX4" fmla="*/ 248817 w 248818"/>
                  <a:gd name="connsiteY4" fmla="*/ 1218149 h 1412033"/>
                  <a:gd name="connsiteX5" fmla="*/ 0 w 248818"/>
                  <a:gd name="connsiteY5" fmla="*/ 1412033 h 1412033"/>
                  <a:gd name="connsiteX6" fmla="*/ 0 w 248818"/>
                  <a:gd name="connsiteY6" fmla="*/ 1412033 h 1412033"/>
                  <a:gd name="connsiteX7" fmla="*/ 0 w 248818"/>
                  <a:gd name="connsiteY7" fmla="*/ 124409 h 1412033"/>
                  <a:gd name="connsiteX8" fmla="*/ 124409 w 248818"/>
                  <a:gd name="connsiteY8" fmla="*/ 0 h 1412033"/>
                  <a:gd name="connsiteX0" fmla="*/ 124409 w 272760"/>
                  <a:gd name="connsiteY0" fmla="*/ 14975 h 1427008"/>
                  <a:gd name="connsiteX1" fmla="*/ 124409 w 272760"/>
                  <a:gd name="connsiteY1" fmla="*/ 14975 h 1427008"/>
                  <a:gd name="connsiteX2" fmla="*/ 248818 w 272760"/>
                  <a:gd name="connsiteY2" fmla="*/ 139384 h 1427008"/>
                  <a:gd name="connsiteX3" fmla="*/ 248817 w 272760"/>
                  <a:gd name="connsiteY3" fmla="*/ 1233124 h 1427008"/>
                  <a:gd name="connsiteX4" fmla="*/ 0 w 272760"/>
                  <a:gd name="connsiteY4" fmla="*/ 1427008 h 1427008"/>
                  <a:gd name="connsiteX5" fmla="*/ 0 w 272760"/>
                  <a:gd name="connsiteY5" fmla="*/ 1427008 h 1427008"/>
                  <a:gd name="connsiteX6" fmla="*/ 0 w 272760"/>
                  <a:gd name="connsiteY6" fmla="*/ 139384 h 1427008"/>
                  <a:gd name="connsiteX7" fmla="*/ 124409 w 272760"/>
                  <a:gd name="connsiteY7" fmla="*/ 14975 h 1427008"/>
                  <a:gd name="connsiteX0" fmla="*/ 124409 w 265578"/>
                  <a:gd name="connsiteY0" fmla="*/ 15267 h 1427300"/>
                  <a:gd name="connsiteX1" fmla="*/ 124409 w 265578"/>
                  <a:gd name="connsiteY1" fmla="*/ 15267 h 1427300"/>
                  <a:gd name="connsiteX2" fmla="*/ 248818 w 265578"/>
                  <a:gd name="connsiteY2" fmla="*/ 139676 h 1427300"/>
                  <a:gd name="connsiteX3" fmla="*/ 248817 w 265578"/>
                  <a:gd name="connsiteY3" fmla="*/ 1233416 h 1427300"/>
                  <a:gd name="connsiteX4" fmla="*/ 0 w 265578"/>
                  <a:gd name="connsiteY4" fmla="*/ 1427300 h 1427300"/>
                  <a:gd name="connsiteX5" fmla="*/ 0 w 265578"/>
                  <a:gd name="connsiteY5" fmla="*/ 1427300 h 1427300"/>
                  <a:gd name="connsiteX6" fmla="*/ 0 w 265578"/>
                  <a:gd name="connsiteY6" fmla="*/ 139676 h 1427300"/>
                  <a:gd name="connsiteX7" fmla="*/ 124409 w 265578"/>
                  <a:gd name="connsiteY7" fmla="*/ 15267 h 1427300"/>
                  <a:gd name="connsiteX0" fmla="*/ 124409 w 249918"/>
                  <a:gd name="connsiteY0" fmla="*/ 15267 h 1427300"/>
                  <a:gd name="connsiteX1" fmla="*/ 124409 w 249918"/>
                  <a:gd name="connsiteY1" fmla="*/ 15267 h 1427300"/>
                  <a:gd name="connsiteX2" fmla="*/ 248818 w 249918"/>
                  <a:gd name="connsiteY2" fmla="*/ 139676 h 1427300"/>
                  <a:gd name="connsiteX3" fmla="*/ 248817 w 249918"/>
                  <a:gd name="connsiteY3" fmla="*/ 1233416 h 1427300"/>
                  <a:gd name="connsiteX4" fmla="*/ 0 w 249918"/>
                  <a:gd name="connsiteY4" fmla="*/ 1427300 h 1427300"/>
                  <a:gd name="connsiteX5" fmla="*/ 0 w 249918"/>
                  <a:gd name="connsiteY5" fmla="*/ 1427300 h 1427300"/>
                  <a:gd name="connsiteX6" fmla="*/ 0 w 249918"/>
                  <a:gd name="connsiteY6" fmla="*/ 139676 h 1427300"/>
                  <a:gd name="connsiteX7" fmla="*/ 124409 w 249918"/>
                  <a:gd name="connsiteY7" fmla="*/ 15267 h 1427300"/>
                  <a:gd name="connsiteX0" fmla="*/ 124409 w 250969"/>
                  <a:gd name="connsiteY0" fmla="*/ 0 h 1412033"/>
                  <a:gd name="connsiteX1" fmla="*/ 124409 w 250969"/>
                  <a:gd name="connsiteY1" fmla="*/ 0 h 1412033"/>
                  <a:gd name="connsiteX2" fmla="*/ 248818 w 250969"/>
                  <a:gd name="connsiteY2" fmla="*/ 124409 h 1412033"/>
                  <a:gd name="connsiteX3" fmla="*/ 248817 w 250969"/>
                  <a:gd name="connsiteY3" fmla="*/ 1218149 h 1412033"/>
                  <a:gd name="connsiteX4" fmla="*/ 0 w 250969"/>
                  <a:gd name="connsiteY4" fmla="*/ 1412033 h 1412033"/>
                  <a:gd name="connsiteX5" fmla="*/ 0 w 250969"/>
                  <a:gd name="connsiteY5" fmla="*/ 1412033 h 1412033"/>
                  <a:gd name="connsiteX6" fmla="*/ 0 w 250969"/>
                  <a:gd name="connsiteY6" fmla="*/ 124409 h 1412033"/>
                  <a:gd name="connsiteX7" fmla="*/ 124409 w 250969"/>
                  <a:gd name="connsiteY7" fmla="*/ 0 h 1412033"/>
                  <a:gd name="connsiteX0" fmla="*/ 124409 w 253807"/>
                  <a:gd name="connsiteY0" fmla="*/ 0 h 1412033"/>
                  <a:gd name="connsiteX1" fmla="*/ 124409 w 253807"/>
                  <a:gd name="connsiteY1" fmla="*/ 0 h 1412033"/>
                  <a:gd name="connsiteX2" fmla="*/ 248818 w 253807"/>
                  <a:gd name="connsiteY2" fmla="*/ 124409 h 1412033"/>
                  <a:gd name="connsiteX3" fmla="*/ 248817 w 253807"/>
                  <a:gd name="connsiteY3" fmla="*/ 1218149 h 1412033"/>
                  <a:gd name="connsiteX4" fmla="*/ 0 w 253807"/>
                  <a:gd name="connsiteY4" fmla="*/ 1412033 h 1412033"/>
                  <a:gd name="connsiteX5" fmla="*/ 0 w 253807"/>
                  <a:gd name="connsiteY5" fmla="*/ 1412033 h 1412033"/>
                  <a:gd name="connsiteX6" fmla="*/ 0 w 253807"/>
                  <a:gd name="connsiteY6" fmla="*/ 124409 h 1412033"/>
                  <a:gd name="connsiteX7" fmla="*/ 124409 w 253807"/>
                  <a:gd name="connsiteY7" fmla="*/ 0 h 1412033"/>
                  <a:gd name="connsiteX0" fmla="*/ 124409 w 253807"/>
                  <a:gd name="connsiteY0" fmla="*/ 0 h 1412033"/>
                  <a:gd name="connsiteX1" fmla="*/ 124409 w 253807"/>
                  <a:gd name="connsiteY1" fmla="*/ 0 h 1412033"/>
                  <a:gd name="connsiteX2" fmla="*/ 248818 w 253807"/>
                  <a:gd name="connsiteY2" fmla="*/ 124409 h 1412033"/>
                  <a:gd name="connsiteX3" fmla="*/ 248817 w 253807"/>
                  <a:gd name="connsiteY3" fmla="*/ 1218149 h 1412033"/>
                  <a:gd name="connsiteX4" fmla="*/ 0 w 253807"/>
                  <a:gd name="connsiteY4" fmla="*/ 1412033 h 1412033"/>
                  <a:gd name="connsiteX5" fmla="*/ 0 w 253807"/>
                  <a:gd name="connsiteY5" fmla="*/ 1412033 h 1412033"/>
                  <a:gd name="connsiteX6" fmla="*/ 0 w 253807"/>
                  <a:gd name="connsiteY6" fmla="*/ 124409 h 1412033"/>
                  <a:gd name="connsiteX7" fmla="*/ 124409 w 253807"/>
                  <a:gd name="connsiteY7" fmla="*/ 0 h 1412033"/>
                  <a:gd name="connsiteX0" fmla="*/ 124409 w 253807"/>
                  <a:gd name="connsiteY0" fmla="*/ 0 h 1412289"/>
                  <a:gd name="connsiteX1" fmla="*/ 124409 w 253807"/>
                  <a:gd name="connsiteY1" fmla="*/ 0 h 1412289"/>
                  <a:gd name="connsiteX2" fmla="*/ 248818 w 253807"/>
                  <a:gd name="connsiteY2" fmla="*/ 124409 h 1412289"/>
                  <a:gd name="connsiteX3" fmla="*/ 248817 w 253807"/>
                  <a:gd name="connsiteY3" fmla="*/ 1218149 h 1412289"/>
                  <a:gd name="connsiteX4" fmla="*/ 0 w 253807"/>
                  <a:gd name="connsiteY4" fmla="*/ 1412033 h 1412289"/>
                  <a:gd name="connsiteX5" fmla="*/ 0 w 253807"/>
                  <a:gd name="connsiteY5" fmla="*/ 1412033 h 1412289"/>
                  <a:gd name="connsiteX6" fmla="*/ 0 w 253807"/>
                  <a:gd name="connsiteY6" fmla="*/ 124409 h 1412289"/>
                  <a:gd name="connsiteX7" fmla="*/ 124409 w 253807"/>
                  <a:gd name="connsiteY7" fmla="*/ 0 h 141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3807" h="1412289">
                    <a:moveTo>
                      <a:pt x="124409" y="0"/>
                    </a:moveTo>
                    <a:lnTo>
                      <a:pt x="124409" y="0"/>
                    </a:lnTo>
                    <a:cubicBezTo>
                      <a:pt x="193118" y="0"/>
                      <a:pt x="246157" y="56721"/>
                      <a:pt x="248818" y="124409"/>
                    </a:cubicBezTo>
                    <a:cubicBezTo>
                      <a:pt x="257108" y="335286"/>
                      <a:pt x="253607" y="1000925"/>
                      <a:pt x="248817" y="1218149"/>
                    </a:cubicBezTo>
                    <a:cubicBezTo>
                      <a:pt x="220899" y="1384959"/>
                      <a:pt x="96040" y="1415526"/>
                      <a:pt x="0" y="1412033"/>
                    </a:cubicBezTo>
                    <a:lnTo>
                      <a:pt x="0" y="1412033"/>
                    </a:lnTo>
                    <a:lnTo>
                      <a:pt x="0" y="124409"/>
                    </a:lnTo>
                    <a:cubicBezTo>
                      <a:pt x="0" y="55700"/>
                      <a:pt x="55700" y="0"/>
                      <a:pt x="124409" y="0"/>
                    </a:cubicBezTo>
                    <a:close/>
                  </a:path>
                </a:pathLst>
              </a:cu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1" name="Rectangle: Top Corners Rounded 28">
                <a:extLst>
                  <a:ext uri="{FF2B5EF4-FFF2-40B4-BE49-F238E27FC236}">
                    <a16:creationId xmlns:a16="http://schemas.microsoft.com/office/drawing/2014/main" id="{4BABBF08-0771-B6F4-E1AA-831FB2B2B502}"/>
                  </a:ext>
                </a:extLst>
              </p:cNvPr>
              <p:cNvSpPr/>
              <p:nvPr/>
            </p:nvSpPr>
            <p:spPr>
              <a:xfrm rot="16200000" flipV="1">
                <a:off x="7565570" y="1727716"/>
                <a:ext cx="236375" cy="475862"/>
              </a:xfrm>
              <a:prstGeom prst="round2SameRect">
                <a:avLst>
                  <a:gd name="adj1" fmla="val 50000"/>
                  <a:gd name="adj2" fmla="val 0"/>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2" name="Freeform: Shape 29">
                <a:extLst>
                  <a:ext uri="{FF2B5EF4-FFF2-40B4-BE49-F238E27FC236}">
                    <a16:creationId xmlns:a16="http://schemas.microsoft.com/office/drawing/2014/main" id="{0211CCD8-93D6-AFDC-C4D4-822DF8D0A349}"/>
                  </a:ext>
                </a:extLst>
              </p:cNvPr>
              <p:cNvSpPr/>
              <p:nvPr/>
            </p:nvSpPr>
            <p:spPr>
              <a:xfrm flipV="1">
                <a:off x="3733581" y="1483888"/>
                <a:ext cx="3594056" cy="3520259"/>
              </a:xfrm>
              <a:custGeom>
                <a:avLst/>
                <a:gdLst>
                  <a:gd name="connsiteX0" fmla="*/ 469751 w 3607161"/>
                  <a:gd name="connsiteY0" fmla="*/ 3517467 h 3517467"/>
                  <a:gd name="connsiteX1" fmla="*/ 3131188 w 3607161"/>
                  <a:gd name="connsiteY1" fmla="*/ 3517467 h 3517467"/>
                  <a:gd name="connsiteX2" fmla="*/ 3600939 w 3607161"/>
                  <a:gd name="connsiteY2" fmla="*/ 3047716 h 3517467"/>
                  <a:gd name="connsiteX3" fmla="*/ 3600939 w 3607161"/>
                  <a:gd name="connsiteY3" fmla="*/ 2880049 h 3517467"/>
                  <a:gd name="connsiteX4" fmla="*/ 3607161 w 3607161"/>
                  <a:gd name="connsiteY4" fmla="*/ 2880049 h 3517467"/>
                  <a:gd name="connsiteX5" fmla="*/ 3607161 w 3607161"/>
                  <a:gd name="connsiteY5" fmla="*/ 92046 h 3517467"/>
                  <a:gd name="connsiteX6" fmla="*/ 3515115 w 3607161"/>
                  <a:gd name="connsiteY6" fmla="*/ 0 h 3517467"/>
                  <a:gd name="connsiteX7" fmla="*/ 728721 w 3607161"/>
                  <a:gd name="connsiteY7" fmla="*/ 0 h 3517467"/>
                  <a:gd name="connsiteX8" fmla="*/ 636675 w 3607161"/>
                  <a:gd name="connsiteY8" fmla="*/ 92046 h 3517467"/>
                  <a:gd name="connsiteX9" fmla="*/ 636675 w 3607161"/>
                  <a:gd name="connsiteY9" fmla="*/ 2326446 h 3517467"/>
                  <a:gd name="connsiteX10" fmla="*/ 0 w 3607161"/>
                  <a:gd name="connsiteY10" fmla="*/ 2326446 h 3517467"/>
                  <a:gd name="connsiteX11" fmla="*/ 0 w 3607161"/>
                  <a:gd name="connsiteY11" fmla="*/ 3047716 h 3517467"/>
                  <a:gd name="connsiteX12" fmla="*/ 469751 w 3607161"/>
                  <a:gd name="connsiteY12" fmla="*/ 3517467 h 3517467"/>
                  <a:gd name="connsiteX0" fmla="*/ 469751 w 3607161"/>
                  <a:gd name="connsiteY0" fmla="*/ 3517467 h 3517467"/>
                  <a:gd name="connsiteX1" fmla="*/ 3131188 w 3607161"/>
                  <a:gd name="connsiteY1" fmla="*/ 3517467 h 3517467"/>
                  <a:gd name="connsiteX2" fmla="*/ 3600939 w 3607161"/>
                  <a:gd name="connsiteY2" fmla="*/ 3047716 h 3517467"/>
                  <a:gd name="connsiteX3" fmla="*/ 3600939 w 3607161"/>
                  <a:gd name="connsiteY3" fmla="*/ 2880049 h 3517467"/>
                  <a:gd name="connsiteX4" fmla="*/ 3607161 w 3607161"/>
                  <a:gd name="connsiteY4" fmla="*/ 2880049 h 3517467"/>
                  <a:gd name="connsiteX5" fmla="*/ 3607161 w 3607161"/>
                  <a:gd name="connsiteY5" fmla="*/ 92046 h 3517467"/>
                  <a:gd name="connsiteX6" fmla="*/ 3515115 w 3607161"/>
                  <a:gd name="connsiteY6" fmla="*/ 0 h 3517467"/>
                  <a:gd name="connsiteX7" fmla="*/ 728721 w 3607161"/>
                  <a:gd name="connsiteY7" fmla="*/ 0 h 3517467"/>
                  <a:gd name="connsiteX8" fmla="*/ 636675 w 3607161"/>
                  <a:gd name="connsiteY8" fmla="*/ 92046 h 3517467"/>
                  <a:gd name="connsiteX9" fmla="*/ 636675 w 3607161"/>
                  <a:gd name="connsiteY9" fmla="*/ 2965740 h 3517467"/>
                  <a:gd name="connsiteX10" fmla="*/ 0 w 3607161"/>
                  <a:gd name="connsiteY10" fmla="*/ 2326446 h 3517467"/>
                  <a:gd name="connsiteX11" fmla="*/ 0 w 3607161"/>
                  <a:gd name="connsiteY11" fmla="*/ 3047716 h 3517467"/>
                  <a:gd name="connsiteX12" fmla="*/ 469751 w 3607161"/>
                  <a:gd name="connsiteY12" fmla="*/ 3517467 h 3517467"/>
                  <a:gd name="connsiteX0" fmla="*/ 469751 w 3607161"/>
                  <a:gd name="connsiteY0" fmla="*/ 3517467 h 3517467"/>
                  <a:gd name="connsiteX1" fmla="*/ 3131188 w 3607161"/>
                  <a:gd name="connsiteY1" fmla="*/ 3517467 h 3517467"/>
                  <a:gd name="connsiteX2" fmla="*/ 3600939 w 3607161"/>
                  <a:gd name="connsiteY2" fmla="*/ 3047716 h 3517467"/>
                  <a:gd name="connsiteX3" fmla="*/ 3600939 w 3607161"/>
                  <a:gd name="connsiteY3" fmla="*/ 2880049 h 3517467"/>
                  <a:gd name="connsiteX4" fmla="*/ 3607161 w 3607161"/>
                  <a:gd name="connsiteY4" fmla="*/ 2880049 h 3517467"/>
                  <a:gd name="connsiteX5" fmla="*/ 3607161 w 3607161"/>
                  <a:gd name="connsiteY5" fmla="*/ 92046 h 3517467"/>
                  <a:gd name="connsiteX6" fmla="*/ 3515115 w 3607161"/>
                  <a:gd name="connsiteY6" fmla="*/ 0 h 3517467"/>
                  <a:gd name="connsiteX7" fmla="*/ 728721 w 3607161"/>
                  <a:gd name="connsiteY7" fmla="*/ 0 h 3517467"/>
                  <a:gd name="connsiteX8" fmla="*/ 636675 w 3607161"/>
                  <a:gd name="connsiteY8" fmla="*/ 92046 h 3517467"/>
                  <a:gd name="connsiteX9" fmla="*/ 636675 w 3607161"/>
                  <a:gd name="connsiteY9" fmla="*/ 2965740 h 3517467"/>
                  <a:gd name="connsiteX10" fmla="*/ 374668 w 3607161"/>
                  <a:gd name="connsiteY10" fmla="*/ 3280147 h 3517467"/>
                  <a:gd name="connsiteX11" fmla="*/ 0 w 3607161"/>
                  <a:gd name="connsiteY11" fmla="*/ 3047716 h 3517467"/>
                  <a:gd name="connsiteX12" fmla="*/ 469751 w 3607161"/>
                  <a:gd name="connsiteY12" fmla="*/ 3517467 h 3517467"/>
                  <a:gd name="connsiteX0" fmla="*/ 469751 w 3607161"/>
                  <a:gd name="connsiteY0" fmla="*/ 3517467 h 3517467"/>
                  <a:gd name="connsiteX1" fmla="*/ 3131188 w 3607161"/>
                  <a:gd name="connsiteY1" fmla="*/ 3517467 h 3517467"/>
                  <a:gd name="connsiteX2" fmla="*/ 3600939 w 3607161"/>
                  <a:gd name="connsiteY2" fmla="*/ 3047716 h 3517467"/>
                  <a:gd name="connsiteX3" fmla="*/ 3600939 w 3607161"/>
                  <a:gd name="connsiteY3" fmla="*/ 2880049 h 3517467"/>
                  <a:gd name="connsiteX4" fmla="*/ 3607161 w 3607161"/>
                  <a:gd name="connsiteY4" fmla="*/ 2880049 h 3517467"/>
                  <a:gd name="connsiteX5" fmla="*/ 3607161 w 3607161"/>
                  <a:gd name="connsiteY5" fmla="*/ 92046 h 3517467"/>
                  <a:gd name="connsiteX6" fmla="*/ 3515115 w 3607161"/>
                  <a:gd name="connsiteY6" fmla="*/ 0 h 3517467"/>
                  <a:gd name="connsiteX7" fmla="*/ 728721 w 3607161"/>
                  <a:gd name="connsiteY7" fmla="*/ 0 h 3517467"/>
                  <a:gd name="connsiteX8" fmla="*/ 636675 w 3607161"/>
                  <a:gd name="connsiteY8" fmla="*/ 92046 h 3517467"/>
                  <a:gd name="connsiteX9" fmla="*/ 636675 w 3607161"/>
                  <a:gd name="connsiteY9" fmla="*/ 2965740 h 3517467"/>
                  <a:gd name="connsiteX10" fmla="*/ 374668 w 3607161"/>
                  <a:gd name="connsiteY10" fmla="*/ 3280147 h 3517467"/>
                  <a:gd name="connsiteX11" fmla="*/ 0 w 3607161"/>
                  <a:gd name="connsiteY11" fmla="*/ 3047716 h 3517467"/>
                  <a:gd name="connsiteX12" fmla="*/ 469751 w 3607161"/>
                  <a:gd name="connsiteY12" fmla="*/ 3517467 h 3517467"/>
                  <a:gd name="connsiteX0" fmla="*/ 469751 w 3607161"/>
                  <a:gd name="connsiteY0" fmla="*/ 3517467 h 3517467"/>
                  <a:gd name="connsiteX1" fmla="*/ 3131188 w 3607161"/>
                  <a:gd name="connsiteY1" fmla="*/ 3517467 h 3517467"/>
                  <a:gd name="connsiteX2" fmla="*/ 3600939 w 3607161"/>
                  <a:gd name="connsiteY2" fmla="*/ 3047716 h 3517467"/>
                  <a:gd name="connsiteX3" fmla="*/ 3600939 w 3607161"/>
                  <a:gd name="connsiteY3" fmla="*/ 2880049 h 3517467"/>
                  <a:gd name="connsiteX4" fmla="*/ 3607161 w 3607161"/>
                  <a:gd name="connsiteY4" fmla="*/ 2880049 h 3517467"/>
                  <a:gd name="connsiteX5" fmla="*/ 3607161 w 3607161"/>
                  <a:gd name="connsiteY5" fmla="*/ 92046 h 3517467"/>
                  <a:gd name="connsiteX6" fmla="*/ 3515115 w 3607161"/>
                  <a:gd name="connsiteY6" fmla="*/ 0 h 3517467"/>
                  <a:gd name="connsiteX7" fmla="*/ 728721 w 3607161"/>
                  <a:gd name="connsiteY7" fmla="*/ 0 h 3517467"/>
                  <a:gd name="connsiteX8" fmla="*/ 636675 w 3607161"/>
                  <a:gd name="connsiteY8" fmla="*/ 92046 h 3517467"/>
                  <a:gd name="connsiteX9" fmla="*/ 636675 w 3607161"/>
                  <a:gd name="connsiteY9" fmla="*/ 2965740 h 3517467"/>
                  <a:gd name="connsiteX10" fmla="*/ 374668 w 3607161"/>
                  <a:gd name="connsiteY10" fmla="*/ 3280147 h 3517467"/>
                  <a:gd name="connsiteX11" fmla="*/ 0 w 3607161"/>
                  <a:gd name="connsiteY11" fmla="*/ 3047716 h 3517467"/>
                  <a:gd name="connsiteX12" fmla="*/ 469751 w 3607161"/>
                  <a:gd name="connsiteY12" fmla="*/ 3517467 h 3517467"/>
                  <a:gd name="connsiteX0" fmla="*/ 469751 w 3607161"/>
                  <a:gd name="connsiteY0" fmla="*/ 3517467 h 3517467"/>
                  <a:gd name="connsiteX1" fmla="*/ 3131188 w 3607161"/>
                  <a:gd name="connsiteY1" fmla="*/ 3517467 h 3517467"/>
                  <a:gd name="connsiteX2" fmla="*/ 3600939 w 3607161"/>
                  <a:gd name="connsiteY2" fmla="*/ 3047716 h 3517467"/>
                  <a:gd name="connsiteX3" fmla="*/ 3600939 w 3607161"/>
                  <a:gd name="connsiteY3" fmla="*/ 2880049 h 3517467"/>
                  <a:gd name="connsiteX4" fmla="*/ 3607161 w 3607161"/>
                  <a:gd name="connsiteY4" fmla="*/ 2880049 h 3517467"/>
                  <a:gd name="connsiteX5" fmla="*/ 3607161 w 3607161"/>
                  <a:gd name="connsiteY5" fmla="*/ 92046 h 3517467"/>
                  <a:gd name="connsiteX6" fmla="*/ 3515115 w 3607161"/>
                  <a:gd name="connsiteY6" fmla="*/ 0 h 3517467"/>
                  <a:gd name="connsiteX7" fmla="*/ 728721 w 3607161"/>
                  <a:gd name="connsiteY7" fmla="*/ 0 h 3517467"/>
                  <a:gd name="connsiteX8" fmla="*/ 636675 w 3607161"/>
                  <a:gd name="connsiteY8" fmla="*/ 92046 h 3517467"/>
                  <a:gd name="connsiteX9" fmla="*/ 636675 w 3607161"/>
                  <a:gd name="connsiteY9" fmla="*/ 2965740 h 3517467"/>
                  <a:gd name="connsiteX10" fmla="*/ 296066 w 3607161"/>
                  <a:gd name="connsiteY10" fmla="*/ 3280147 h 3517467"/>
                  <a:gd name="connsiteX11" fmla="*/ 0 w 3607161"/>
                  <a:gd name="connsiteY11" fmla="*/ 3047716 h 3517467"/>
                  <a:gd name="connsiteX12" fmla="*/ 469751 w 3607161"/>
                  <a:gd name="connsiteY12" fmla="*/ 3517467 h 3517467"/>
                  <a:gd name="connsiteX0" fmla="*/ 469751 w 3607161"/>
                  <a:gd name="connsiteY0" fmla="*/ 3517467 h 3517467"/>
                  <a:gd name="connsiteX1" fmla="*/ 3131188 w 3607161"/>
                  <a:gd name="connsiteY1" fmla="*/ 3517467 h 3517467"/>
                  <a:gd name="connsiteX2" fmla="*/ 3600939 w 3607161"/>
                  <a:gd name="connsiteY2" fmla="*/ 3047716 h 3517467"/>
                  <a:gd name="connsiteX3" fmla="*/ 3600939 w 3607161"/>
                  <a:gd name="connsiteY3" fmla="*/ 2880049 h 3517467"/>
                  <a:gd name="connsiteX4" fmla="*/ 3607161 w 3607161"/>
                  <a:gd name="connsiteY4" fmla="*/ 2880049 h 3517467"/>
                  <a:gd name="connsiteX5" fmla="*/ 3607161 w 3607161"/>
                  <a:gd name="connsiteY5" fmla="*/ 92046 h 3517467"/>
                  <a:gd name="connsiteX6" fmla="*/ 3515115 w 3607161"/>
                  <a:gd name="connsiteY6" fmla="*/ 0 h 3517467"/>
                  <a:gd name="connsiteX7" fmla="*/ 728721 w 3607161"/>
                  <a:gd name="connsiteY7" fmla="*/ 0 h 3517467"/>
                  <a:gd name="connsiteX8" fmla="*/ 636675 w 3607161"/>
                  <a:gd name="connsiteY8" fmla="*/ 92046 h 3517467"/>
                  <a:gd name="connsiteX9" fmla="*/ 636675 w 3607161"/>
                  <a:gd name="connsiteY9" fmla="*/ 2965740 h 3517467"/>
                  <a:gd name="connsiteX10" fmla="*/ 296066 w 3607161"/>
                  <a:gd name="connsiteY10" fmla="*/ 3280147 h 3517467"/>
                  <a:gd name="connsiteX11" fmla="*/ 0 w 3607161"/>
                  <a:gd name="connsiteY11" fmla="*/ 3047716 h 3517467"/>
                  <a:gd name="connsiteX12" fmla="*/ 469751 w 3607161"/>
                  <a:gd name="connsiteY12" fmla="*/ 3517467 h 3517467"/>
                  <a:gd name="connsiteX0" fmla="*/ 456650 w 3594060"/>
                  <a:gd name="connsiteY0" fmla="*/ 3517467 h 3517719"/>
                  <a:gd name="connsiteX1" fmla="*/ 3118087 w 3594060"/>
                  <a:gd name="connsiteY1" fmla="*/ 3517467 h 3517719"/>
                  <a:gd name="connsiteX2" fmla="*/ 3587838 w 3594060"/>
                  <a:gd name="connsiteY2" fmla="*/ 3047716 h 3517719"/>
                  <a:gd name="connsiteX3" fmla="*/ 3587838 w 3594060"/>
                  <a:gd name="connsiteY3" fmla="*/ 2880049 h 3517719"/>
                  <a:gd name="connsiteX4" fmla="*/ 3594060 w 3594060"/>
                  <a:gd name="connsiteY4" fmla="*/ 2880049 h 3517719"/>
                  <a:gd name="connsiteX5" fmla="*/ 3594060 w 3594060"/>
                  <a:gd name="connsiteY5" fmla="*/ 92046 h 3517719"/>
                  <a:gd name="connsiteX6" fmla="*/ 3502014 w 3594060"/>
                  <a:gd name="connsiteY6" fmla="*/ 0 h 3517719"/>
                  <a:gd name="connsiteX7" fmla="*/ 715620 w 3594060"/>
                  <a:gd name="connsiteY7" fmla="*/ 0 h 3517719"/>
                  <a:gd name="connsiteX8" fmla="*/ 623574 w 3594060"/>
                  <a:gd name="connsiteY8" fmla="*/ 92046 h 3517719"/>
                  <a:gd name="connsiteX9" fmla="*/ 623574 w 3594060"/>
                  <a:gd name="connsiteY9" fmla="*/ 2965740 h 3517719"/>
                  <a:gd name="connsiteX10" fmla="*/ 282965 w 3594060"/>
                  <a:gd name="connsiteY10" fmla="*/ 3280147 h 3517719"/>
                  <a:gd name="connsiteX11" fmla="*/ 0 w 3594060"/>
                  <a:gd name="connsiteY11" fmla="*/ 3275661 h 3517719"/>
                  <a:gd name="connsiteX12" fmla="*/ 456650 w 3594060"/>
                  <a:gd name="connsiteY12" fmla="*/ 3517467 h 3517719"/>
                  <a:gd name="connsiteX0" fmla="*/ 456650 w 3594060"/>
                  <a:gd name="connsiteY0" fmla="*/ 3517467 h 3517467"/>
                  <a:gd name="connsiteX1" fmla="*/ 3118087 w 3594060"/>
                  <a:gd name="connsiteY1" fmla="*/ 3517467 h 3517467"/>
                  <a:gd name="connsiteX2" fmla="*/ 3587838 w 3594060"/>
                  <a:gd name="connsiteY2" fmla="*/ 3047716 h 3517467"/>
                  <a:gd name="connsiteX3" fmla="*/ 3587838 w 3594060"/>
                  <a:gd name="connsiteY3" fmla="*/ 2880049 h 3517467"/>
                  <a:gd name="connsiteX4" fmla="*/ 3594060 w 3594060"/>
                  <a:gd name="connsiteY4" fmla="*/ 2880049 h 3517467"/>
                  <a:gd name="connsiteX5" fmla="*/ 3594060 w 3594060"/>
                  <a:gd name="connsiteY5" fmla="*/ 92046 h 3517467"/>
                  <a:gd name="connsiteX6" fmla="*/ 3502014 w 3594060"/>
                  <a:gd name="connsiteY6" fmla="*/ 0 h 3517467"/>
                  <a:gd name="connsiteX7" fmla="*/ 715620 w 3594060"/>
                  <a:gd name="connsiteY7" fmla="*/ 0 h 3517467"/>
                  <a:gd name="connsiteX8" fmla="*/ 623574 w 3594060"/>
                  <a:gd name="connsiteY8" fmla="*/ 92046 h 3517467"/>
                  <a:gd name="connsiteX9" fmla="*/ 623574 w 3594060"/>
                  <a:gd name="connsiteY9" fmla="*/ 2965740 h 3517467"/>
                  <a:gd name="connsiteX10" fmla="*/ 282965 w 3594060"/>
                  <a:gd name="connsiteY10" fmla="*/ 3280147 h 3517467"/>
                  <a:gd name="connsiteX11" fmla="*/ 0 w 3594060"/>
                  <a:gd name="connsiteY11" fmla="*/ 3275661 h 3517467"/>
                  <a:gd name="connsiteX12" fmla="*/ 456650 w 3594060"/>
                  <a:gd name="connsiteY12" fmla="*/ 3517467 h 3517467"/>
                  <a:gd name="connsiteX0" fmla="*/ 456650 w 3594060"/>
                  <a:gd name="connsiteY0" fmla="*/ 3517467 h 3518925"/>
                  <a:gd name="connsiteX1" fmla="*/ 3118087 w 3594060"/>
                  <a:gd name="connsiteY1" fmla="*/ 3517467 h 3518925"/>
                  <a:gd name="connsiteX2" fmla="*/ 3587838 w 3594060"/>
                  <a:gd name="connsiteY2" fmla="*/ 3047716 h 3518925"/>
                  <a:gd name="connsiteX3" fmla="*/ 3587838 w 3594060"/>
                  <a:gd name="connsiteY3" fmla="*/ 2880049 h 3518925"/>
                  <a:gd name="connsiteX4" fmla="*/ 3594060 w 3594060"/>
                  <a:gd name="connsiteY4" fmla="*/ 2880049 h 3518925"/>
                  <a:gd name="connsiteX5" fmla="*/ 3594060 w 3594060"/>
                  <a:gd name="connsiteY5" fmla="*/ 92046 h 3518925"/>
                  <a:gd name="connsiteX6" fmla="*/ 3502014 w 3594060"/>
                  <a:gd name="connsiteY6" fmla="*/ 0 h 3518925"/>
                  <a:gd name="connsiteX7" fmla="*/ 715620 w 3594060"/>
                  <a:gd name="connsiteY7" fmla="*/ 0 h 3518925"/>
                  <a:gd name="connsiteX8" fmla="*/ 623574 w 3594060"/>
                  <a:gd name="connsiteY8" fmla="*/ 92046 h 3518925"/>
                  <a:gd name="connsiteX9" fmla="*/ 623574 w 3594060"/>
                  <a:gd name="connsiteY9" fmla="*/ 2965740 h 3518925"/>
                  <a:gd name="connsiteX10" fmla="*/ 282965 w 3594060"/>
                  <a:gd name="connsiteY10" fmla="*/ 3280147 h 3518925"/>
                  <a:gd name="connsiteX11" fmla="*/ 0 w 3594060"/>
                  <a:gd name="connsiteY11" fmla="*/ 3275661 h 3518925"/>
                  <a:gd name="connsiteX12" fmla="*/ 456650 w 3594060"/>
                  <a:gd name="connsiteY12" fmla="*/ 3517467 h 3518925"/>
                  <a:gd name="connsiteX0" fmla="*/ 391148 w 3594060"/>
                  <a:gd name="connsiteY0" fmla="*/ 3520087 h 3521517"/>
                  <a:gd name="connsiteX1" fmla="*/ 3118087 w 3594060"/>
                  <a:gd name="connsiteY1" fmla="*/ 3517467 h 3521517"/>
                  <a:gd name="connsiteX2" fmla="*/ 3587838 w 3594060"/>
                  <a:gd name="connsiteY2" fmla="*/ 3047716 h 3521517"/>
                  <a:gd name="connsiteX3" fmla="*/ 3587838 w 3594060"/>
                  <a:gd name="connsiteY3" fmla="*/ 2880049 h 3521517"/>
                  <a:gd name="connsiteX4" fmla="*/ 3594060 w 3594060"/>
                  <a:gd name="connsiteY4" fmla="*/ 2880049 h 3521517"/>
                  <a:gd name="connsiteX5" fmla="*/ 3594060 w 3594060"/>
                  <a:gd name="connsiteY5" fmla="*/ 92046 h 3521517"/>
                  <a:gd name="connsiteX6" fmla="*/ 3502014 w 3594060"/>
                  <a:gd name="connsiteY6" fmla="*/ 0 h 3521517"/>
                  <a:gd name="connsiteX7" fmla="*/ 715620 w 3594060"/>
                  <a:gd name="connsiteY7" fmla="*/ 0 h 3521517"/>
                  <a:gd name="connsiteX8" fmla="*/ 623574 w 3594060"/>
                  <a:gd name="connsiteY8" fmla="*/ 92046 h 3521517"/>
                  <a:gd name="connsiteX9" fmla="*/ 623574 w 3594060"/>
                  <a:gd name="connsiteY9" fmla="*/ 2965740 h 3521517"/>
                  <a:gd name="connsiteX10" fmla="*/ 282965 w 3594060"/>
                  <a:gd name="connsiteY10" fmla="*/ 3280147 h 3521517"/>
                  <a:gd name="connsiteX11" fmla="*/ 0 w 3594060"/>
                  <a:gd name="connsiteY11" fmla="*/ 3275661 h 3521517"/>
                  <a:gd name="connsiteX12" fmla="*/ 391148 w 3594060"/>
                  <a:gd name="connsiteY12" fmla="*/ 3520087 h 3521517"/>
                  <a:gd name="connsiteX0" fmla="*/ 391148 w 3594060"/>
                  <a:gd name="connsiteY0" fmla="*/ 3520087 h 3520273"/>
                  <a:gd name="connsiteX1" fmla="*/ 3118087 w 3594060"/>
                  <a:gd name="connsiteY1" fmla="*/ 3517467 h 3520273"/>
                  <a:gd name="connsiteX2" fmla="*/ 3587838 w 3594060"/>
                  <a:gd name="connsiteY2" fmla="*/ 3047716 h 3520273"/>
                  <a:gd name="connsiteX3" fmla="*/ 3587838 w 3594060"/>
                  <a:gd name="connsiteY3" fmla="*/ 2880049 h 3520273"/>
                  <a:gd name="connsiteX4" fmla="*/ 3594060 w 3594060"/>
                  <a:gd name="connsiteY4" fmla="*/ 2880049 h 3520273"/>
                  <a:gd name="connsiteX5" fmla="*/ 3594060 w 3594060"/>
                  <a:gd name="connsiteY5" fmla="*/ 92046 h 3520273"/>
                  <a:gd name="connsiteX6" fmla="*/ 3502014 w 3594060"/>
                  <a:gd name="connsiteY6" fmla="*/ 0 h 3520273"/>
                  <a:gd name="connsiteX7" fmla="*/ 715620 w 3594060"/>
                  <a:gd name="connsiteY7" fmla="*/ 0 h 3520273"/>
                  <a:gd name="connsiteX8" fmla="*/ 623574 w 3594060"/>
                  <a:gd name="connsiteY8" fmla="*/ 92046 h 3520273"/>
                  <a:gd name="connsiteX9" fmla="*/ 623574 w 3594060"/>
                  <a:gd name="connsiteY9" fmla="*/ 2965740 h 3520273"/>
                  <a:gd name="connsiteX10" fmla="*/ 282965 w 3594060"/>
                  <a:gd name="connsiteY10" fmla="*/ 3280147 h 3520273"/>
                  <a:gd name="connsiteX11" fmla="*/ 0 w 3594060"/>
                  <a:gd name="connsiteY11" fmla="*/ 3275661 h 3520273"/>
                  <a:gd name="connsiteX12" fmla="*/ 391148 w 3594060"/>
                  <a:gd name="connsiteY12" fmla="*/ 3520087 h 3520273"/>
                  <a:gd name="connsiteX0" fmla="*/ 391148 w 3594060"/>
                  <a:gd name="connsiteY0" fmla="*/ 3520087 h 3520273"/>
                  <a:gd name="connsiteX1" fmla="*/ 3118087 w 3594060"/>
                  <a:gd name="connsiteY1" fmla="*/ 3517467 h 3520273"/>
                  <a:gd name="connsiteX2" fmla="*/ 3587838 w 3594060"/>
                  <a:gd name="connsiteY2" fmla="*/ 3047716 h 3520273"/>
                  <a:gd name="connsiteX3" fmla="*/ 3587838 w 3594060"/>
                  <a:gd name="connsiteY3" fmla="*/ 2880049 h 3520273"/>
                  <a:gd name="connsiteX4" fmla="*/ 3594060 w 3594060"/>
                  <a:gd name="connsiteY4" fmla="*/ 2880049 h 3520273"/>
                  <a:gd name="connsiteX5" fmla="*/ 3594060 w 3594060"/>
                  <a:gd name="connsiteY5" fmla="*/ 92046 h 3520273"/>
                  <a:gd name="connsiteX6" fmla="*/ 3502014 w 3594060"/>
                  <a:gd name="connsiteY6" fmla="*/ 0 h 3520273"/>
                  <a:gd name="connsiteX7" fmla="*/ 715620 w 3594060"/>
                  <a:gd name="connsiteY7" fmla="*/ 0 h 3520273"/>
                  <a:gd name="connsiteX8" fmla="*/ 623574 w 3594060"/>
                  <a:gd name="connsiteY8" fmla="*/ 92046 h 3520273"/>
                  <a:gd name="connsiteX9" fmla="*/ 623574 w 3594060"/>
                  <a:gd name="connsiteY9" fmla="*/ 2965740 h 3520273"/>
                  <a:gd name="connsiteX10" fmla="*/ 282965 w 3594060"/>
                  <a:gd name="connsiteY10" fmla="*/ 3280147 h 3520273"/>
                  <a:gd name="connsiteX11" fmla="*/ 0 w 3594060"/>
                  <a:gd name="connsiteY11" fmla="*/ 3275661 h 3520273"/>
                  <a:gd name="connsiteX12" fmla="*/ 391148 w 3594060"/>
                  <a:gd name="connsiteY12" fmla="*/ 3520087 h 3520273"/>
                  <a:gd name="connsiteX0" fmla="*/ 391148 w 3594060"/>
                  <a:gd name="connsiteY0" fmla="*/ 3520087 h 3520273"/>
                  <a:gd name="connsiteX1" fmla="*/ 3118087 w 3594060"/>
                  <a:gd name="connsiteY1" fmla="*/ 3517467 h 3520273"/>
                  <a:gd name="connsiteX2" fmla="*/ 3587838 w 3594060"/>
                  <a:gd name="connsiteY2" fmla="*/ 3047716 h 3520273"/>
                  <a:gd name="connsiteX3" fmla="*/ 3587838 w 3594060"/>
                  <a:gd name="connsiteY3" fmla="*/ 2880049 h 3520273"/>
                  <a:gd name="connsiteX4" fmla="*/ 3594060 w 3594060"/>
                  <a:gd name="connsiteY4" fmla="*/ 2880049 h 3520273"/>
                  <a:gd name="connsiteX5" fmla="*/ 3594060 w 3594060"/>
                  <a:gd name="connsiteY5" fmla="*/ 92046 h 3520273"/>
                  <a:gd name="connsiteX6" fmla="*/ 3502014 w 3594060"/>
                  <a:gd name="connsiteY6" fmla="*/ 0 h 3520273"/>
                  <a:gd name="connsiteX7" fmla="*/ 715620 w 3594060"/>
                  <a:gd name="connsiteY7" fmla="*/ 0 h 3520273"/>
                  <a:gd name="connsiteX8" fmla="*/ 623574 w 3594060"/>
                  <a:gd name="connsiteY8" fmla="*/ 92046 h 3520273"/>
                  <a:gd name="connsiteX9" fmla="*/ 623574 w 3594060"/>
                  <a:gd name="connsiteY9" fmla="*/ 2965740 h 3520273"/>
                  <a:gd name="connsiteX10" fmla="*/ 282965 w 3594060"/>
                  <a:gd name="connsiteY10" fmla="*/ 3280147 h 3520273"/>
                  <a:gd name="connsiteX11" fmla="*/ 0 w 3594060"/>
                  <a:gd name="connsiteY11" fmla="*/ 3275661 h 3520273"/>
                  <a:gd name="connsiteX12" fmla="*/ 391148 w 3594060"/>
                  <a:gd name="connsiteY12" fmla="*/ 3520087 h 3520273"/>
                  <a:gd name="connsiteX0" fmla="*/ 391148 w 3594060"/>
                  <a:gd name="connsiteY0" fmla="*/ 3520087 h 3520257"/>
                  <a:gd name="connsiteX1" fmla="*/ 3118087 w 3594060"/>
                  <a:gd name="connsiteY1" fmla="*/ 3517467 h 3520257"/>
                  <a:gd name="connsiteX2" fmla="*/ 3587838 w 3594060"/>
                  <a:gd name="connsiteY2" fmla="*/ 3047716 h 3520257"/>
                  <a:gd name="connsiteX3" fmla="*/ 3587838 w 3594060"/>
                  <a:gd name="connsiteY3" fmla="*/ 2880049 h 3520257"/>
                  <a:gd name="connsiteX4" fmla="*/ 3594060 w 3594060"/>
                  <a:gd name="connsiteY4" fmla="*/ 2880049 h 3520257"/>
                  <a:gd name="connsiteX5" fmla="*/ 3594060 w 3594060"/>
                  <a:gd name="connsiteY5" fmla="*/ 92046 h 3520257"/>
                  <a:gd name="connsiteX6" fmla="*/ 3502014 w 3594060"/>
                  <a:gd name="connsiteY6" fmla="*/ 0 h 3520257"/>
                  <a:gd name="connsiteX7" fmla="*/ 715620 w 3594060"/>
                  <a:gd name="connsiteY7" fmla="*/ 0 h 3520257"/>
                  <a:gd name="connsiteX8" fmla="*/ 623574 w 3594060"/>
                  <a:gd name="connsiteY8" fmla="*/ 92046 h 3520257"/>
                  <a:gd name="connsiteX9" fmla="*/ 623574 w 3594060"/>
                  <a:gd name="connsiteY9" fmla="*/ 2965740 h 3520257"/>
                  <a:gd name="connsiteX10" fmla="*/ 282965 w 3594060"/>
                  <a:gd name="connsiteY10" fmla="*/ 3280147 h 3520257"/>
                  <a:gd name="connsiteX11" fmla="*/ 0 w 3594060"/>
                  <a:gd name="connsiteY11" fmla="*/ 3275661 h 3520257"/>
                  <a:gd name="connsiteX12" fmla="*/ 391148 w 3594060"/>
                  <a:gd name="connsiteY12" fmla="*/ 3520087 h 3520257"/>
                  <a:gd name="connsiteX0" fmla="*/ 391148 w 3594060"/>
                  <a:gd name="connsiteY0" fmla="*/ 3520087 h 3520257"/>
                  <a:gd name="connsiteX1" fmla="*/ 3118087 w 3594060"/>
                  <a:gd name="connsiteY1" fmla="*/ 3517467 h 3520257"/>
                  <a:gd name="connsiteX2" fmla="*/ 3587838 w 3594060"/>
                  <a:gd name="connsiteY2" fmla="*/ 3047716 h 3520257"/>
                  <a:gd name="connsiteX3" fmla="*/ 3587838 w 3594060"/>
                  <a:gd name="connsiteY3" fmla="*/ 2880049 h 3520257"/>
                  <a:gd name="connsiteX4" fmla="*/ 3594060 w 3594060"/>
                  <a:gd name="connsiteY4" fmla="*/ 92046 h 3520257"/>
                  <a:gd name="connsiteX5" fmla="*/ 3502014 w 3594060"/>
                  <a:gd name="connsiteY5" fmla="*/ 0 h 3520257"/>
                  <a:gd name="connsiteX6" fmla="*/ 715620 w 3594060"/>
                  <a:gd name="connsiteY6" fmla="*/ 0 h 3520257"/>
                  <a:gd name="connsiteX7" fmla="*/ 623574 w 3594060"/>
                  <a:gd name="connsiteY7" fmla="*/ 92046 h 3520257"/>
                  <a:gd name="connsiteX8" fmla="*/ 623574 w 3594060"/>
                  <a:gd name="connsiteY8" fmla="*/ 2965740 h 3520257"/>
                  <a:gd name="connsiteX9" fmla="*/ 282965 w 3594060"/>
                  <a:gd name="connsiteY9" fmla="*/ 3280147 h 3520257"/>
                  <a:gd name="connsiteX10" fmla="*/ 0 w 3594060"/>
                  <a:gd name="connsiteY10" fmla="*/ 3275661 h 3520257"/>
                  <a:gd name="connsiteX11" fmla="*/ 391148 w 3594060"/>
                  <a:gd name="connsiteY11" fmla="*/ 3520087 h 35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94060" h="3520257">
                    <a:moveTo>
                      <a:pt x="391148" y="3520087"/>
                    </a:moveTo>
                    <a:lnTo>
                      <a:pt x="3118087" y="3517467"/>
                    </a:lnTo>
                    <a:cubicBezTo>
                      <a:pt x="3377523" y="3517467"/>
                      <a:pt x="3587838" y="3307152"/>
                      <a:pt x="3587838" y="3047716"/>
                    </a:cubicBezTo>
                    <a:lnTo>
                      <a:pt x="3587838" y="2880049"/>
                    </a:lnTo>
                    <a:lnTo>
                      <a:pt x="3594060" y="92046"/>
                    </a:lnTo>
                    <a:cubicBezTo>
                      <a:pt x="3594060" y="41210"/>
                      <a:pt x="3552850" y="0"/>
                      <a:pt x="3502014" y="0"/>
                    </a:cubicBezTo>
                    <a:lnTo>
                      <a:pt x="715620" y="0"/>
                    </a:lnTo>
                    <a:cubicBezTo>
                      <a:pt x="664784" y="0"/>
                      <a:pt x="623574" y="41210"/>
                      <a:pt x="623574" y="92046"/>
                    </a:cubicBezTo>
                    <a:lnTo>
                      <a:pt x="623574" y="2965740"/>
                    </a:lnTo>
                    <a:cubicBezTo>
                      <a:pt x="622700" y="3104602"/>
                      <a:pt x="506544" y="3277527"/>
                      <a:pt x="282965" y="3280147"/>
                    </a:cubicBezTo>
                    <a:lnTo>
                      <a:pt x="0" y="3275661"/>
                    </a:lnTo>
                    <a:cubicBezTo>
                      <a:pt x="7860" y="3409333"/>
                      <a:pt x="205073" y="3525328"/>
                      <a:pt x="391148" y="3520087"/>
                    </a:cubicBezTo>
                    <a:close/>
                  </a:path>
                </a:pathLst>
              </a:cu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3" name="Freeform: Shape 30">
                <a:extLst>
                  <a:ext uri="{FF2B5EF4-FFF2-40B4-BE49-F238E27FC236}">
                    <a16:creationId xmlns:a16="http://schemas.microsoft.com/office/drawing/2014/main" id="{AC8A708E-B4FE-CF61-9B12-2466133C9785}"/>
                  </a:ext>
                </a:extLst>
              </p:cNvPr>
              <p:cNvSpPr/>
              <p:nvPr/>
            </p:nvSpPr>
            <p:spPr>
              <a:xfrm flipV="1">
                <a:off x="3719805" y="2213948"/>
                <a:ext cx="2985796" cy="3220051"/>
              </a:xfrm>
              <a:custGeom>
                <a:avLst/>
                <a:gdLst>
                  <a:gd name="connsiteX0" fmla="*/ 0 w 2985796"/>
                  <a:gd name="connsiteY0" fmla="*/ 3222168 h 3222168"/>
                  <a:gd name="connsiteX1" fmla="*/ 496652 w 2985796"/>
                  <a:gd name="connsiteY1" fmla="*/ 3222168 h 3222168"/>
                  <a:gd name="connsiteX2" fmla="*/ 496652 w 2985796"/>
                  <a:gd name="connsiteY2" fmla="*/ 504563 h 3222168"/>
                  <a:gd name="connsiteX3" fmla="*/ 687086 w 2985796"/>
                  <a:gd name="connsiteY3" fmla="*/ 314129 h 3222168"/>
                  <a:gd name="connsiteX4" fmla="*/ 2985796 w 2985796"/>
                  <a:gd name="connsiteY4" fmla="*/ 314129 h 3222168"/>
                  <a:gd name="connsiteX5" fmla="*/ 2985796 w 2985796"/>
                  <a:gd name="connsiteY5" fmla="*/ 78467 h 3222168"/>
                  <a:gd name="connsiteX6" fmla="*/ 2907329 w 2985796"/>
                  <a:gd name="connsiteY6" fmla="*/ 0 h 3222168"/>
                  <a:gd name="connsiteX7" fmla="*/ 78467 w 2985796"/>
                  <a:gd name="connsiteY7" fmla="*/ 0 h 3222168"/>
                  <a:gd name="connsiteX8" fmla="*/ 0 w 2985796"/>
                  <a:gd name="connsiteY8" fmla="*/ 78467 h 322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85796" h="3222168">
                    <a:moveTo>
                      <a:pt x="0" y="3222168"/>
                    </a:moveTo>
                    <a:lnTo>
                      <a:pt x="496652" y="3222168"/>
                    </a:lnTo>
                    <a:lnTo>
                      <a:pt x="496652" y="504563"/>
                    </a:lnTo>
                    <a:cubicBezTo>
                      <a:pt x="496652" y="399389"/>
                      <a:pt x="581912" y="314129"/>
                      <a:pt x="687086" y="314129"/>
                    </a:cubicBezTo>
                    <a:lnTo>
                      <a:pt x="2985796" y="314129"/>
                    </a:lnTo>
                    <a:lnTo>
                      <a:pt x="2985796" y="78467"/>
                    </a:lnTo>
                    <a:cubicBezTo>
                      <a:pt x="2985796" y="35131"/>
                      <a:pt x="2950665" y="0"/>
                      <a:pt x="2907329" y="0"/>
                    </a:cubicBezTo>
                    <a:lnTo>
                      <a:pt x="78467" y="0"/>
                    </a:lnTo>
                    <a:cubicBezTo>
                      <a:pt x="35131" y="0"/>
                      <a:pt x="0" y="35131"/>
                      <a:pt x="0" y="78467"/>
                    </a:cubicBezTo>
                    <a:close/>
                  </a:path>
                </a:pathLst>
              </a:cu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sp>
        <p:nvSpPr>
          <p:cNvPr id="71" name="Rounded Rectangle 70">
            <a:extLst>
              <a:ext uri="{FF2B5EF4-FFF2-40B4-BE49-F238E27FC236}">
                <a16:creationId xmlns:a16="http://schemas.microsoft.com/office/drawing/2014/main" id="{9239417B-2865-154D-7F3A-6BDD72AF5BF2}"/>
              </a:ext>
            </a:extLst>
          </p:cNvPr>
          <p:cNvSpPr/>
          <p:nvPr/>
        </p:nvSpPr>
        <p:spPr bwMode="gray">
          <a:xfrm>
            <a:off x="769898" y="1987506"/>
            <a:ext cx="4585783" cy="3684374"/>
          </a:xfrm>
          <a:prstGeom prst="roundRect">
            <a:avLst>
              <a:gd name="adj" fmla="val 8665"/>
            </a:avLst>
          </a:prstGeom>
          <a:noFill/>
          <a:ln w="12700" cap="flat" cmpd="sng" algn="ctr">
            <a:solidFill>
              <a:srgbClr val="0070C0"/>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tr-TR" sz="1800" b="1" i="0" u="none" strike="noStrike" kern="1200" cap="none" spc="0" normalizeH="0" baseline="0" noProof="0">
              <a:ln>
                <a:noFill/>
              </a:ln>
              <a:solidFill>
                <a:srgbClr val="0000C9"/>
              </a:solidFill>
              <a:effectLst/>
              <a:uLnTx/>
              <a:uFillTx/>
              <a:latin typeface="Arial" panose="020B0604020202020204" pitchFamily="34" charset="0"/>
              <a:ea typeface="+mn-ea"/>
              <a:cs typeface="Arial" panose="020B0604020202020204" pitchFamily="34" charset="0"/>
            </a:endParaRPr>
          </a:p>
        </p:txBody>
      </p:sp>
      <p:cxnSp>
        <p:nvCxnSpPr>
          <p:cNvPr id="72" name="Straight Connector 71">
            <a:extLst>
              <a:ext uri="{FF2B5EF4-FFF2-40B4-BE49-F238E27FC236}">
                <a16:creationId xmlns:a16="http://schemas.microsoft.com/office/drawing/2014/main" id="{F051F60A-C0F3-5C6A-8F4D-DB75EE3B3128}"/>
              </a:ext>
            </a:extLst>
          </p:cNvPr>
          <p:cNvCxnSpPr>
            <a:cxnSpLocks/>
          </p:cNvCxnSpPr>
          <p:nvPr/>
        </p:nvCxnSpPr>
        <p:spPr bwMode="gray">
          <a:xfrm>
            <a:off x="1026412" y="4209045"/>
            <a:ext cx="4072754" cy="0"/>
          </a:xfrm>
          <a:prstGeom prst="line">
            <a:avLst/>
          </a:prstGeom>
          <a:ln w="9525">
            <a:solidFill>
              <a:srgbClr val="0070C0"/>
            </a:solidFill>
            <a:headEnd/>
            <a:tailEnd/>
          </a:ln>
        </p:spPr>
        <p:style>
          <a:lnRef idx="1">
            <a:schemeClr val="accent3"/>
          </a:lnRef>
          <a:fillRef idx="0">
            <a:schemeClr val="accent3"/>
          </a:fillRef>
          <a:effectRef idx="0">
            <a:schemeClr val="accent3"/>
          </a:effectRef>
          <a:fontRef idx="minor">
            <a:schemeClr val="tx1"/>
          </a:fontRef>
        </p:style>
      </p:cxnSp>
      <p:cxnSp>
        <p:nvCxnSpPr>
          <p:cNvPr id="73" name="Straight Connector 72">
            <a:extLst>
              <a:ext uri="{FF2B5EF4-FFF2-40B4-BE49-F238E27FC236}">
                <a16:creationId xmlns:a16="http://schemas.microsoft.com/office/drawing/2014/main" id="{568DC70C-67B1-DFE5-C2CA-2806EA225FB3}"/>
              </a:ext>
            </a:extLst>
          </p:cNvPr>
          <p:cNvCxnSpPr>
            <a:cxnSpLocks/>
          </p:cNvCxnSpPr>
          <p:nvPr/>
        </p:nvCxnSpPr>
        <p:spPr bwMode="gray">
          <a:xfrm>
            <a:off x="1026412" y="4874146"/>
            <a:ext cx="4072754" cy="0"/>
          </a:xfrm>
          <a:prstGeom prst="line">
            <a:avLst/>
          </a:prstGeom>
          <a:ln w="9525">
            <a:solidFill>
              <a:srgbClr val="0070C0"/>
            </a:solidFill>
            <a:headEnd/>
            <a:tailEnd/>
          </a:ln>
        </p:spPr>
        <p:style>
          <a:lnRef idx="1">
            <a:schemeClr val="accent3"/>
          </a:lnRef>
          <a:fillRef idx="0">
            <a:schemeClr val="accent3"/>
          </a:fillRef>
          <a:effectRef idx="0">
            <a:schemeClr val="accent3"/>
          </a:effectRef>
          <a:fontRef idx="minor">
            <a:schemeClr val="tx1"/>
          </a:fontRef>
        </p:style>
      </p:cxnSp>
      <p:sp>
        <p:nvSpPr>
          <p:cNvPr id="74" name="Content Placeholder 3">
            <a:extLst>
              <a:ext uri="{FF2B5EF4-FFF2-40B4-BE49-F238E27FC236}">
                <a16:creationId xmlns:a16="http://schemas.microsoft.com/office/drawing/2014/main" id="{BA1A1375-2305-2D65-EC97-FE9E8AC64614}"/>
              </a:ext>
            </a:extLst>
          </p:cNvPr>
          <p:cNvSpPr txBox="1">
            <a:spLocks/>
          </p:cNvSpPr>
          <p:nvPr/>
        </p:nvSpPr>
        <p:spPr bwMode="gray">
          <a:xfrm>
            <a:off x="1006484" y="4281073"/>
            <a:ext cx="4112610" cy="530997"/>
          </a:xfrm>
          <a:prstGeom prst="rect">
            <a:avLst/>
          </a:prstGeom>
        </p:spPr>
        <p:txBody>
          <a:bodyPr vert="horz" lIns="45720" tIns="45720" rIns="45720" bIns="45720" rtlCol="0">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ctr" latinLnBrk="0" hangingPunct="1">
              <a:lnSpc>
                <a:spcPct val="100000"/>
              </a:lnSpc>
              <a:spcBef>
                <a:spcPts val="600"/>
              </a:spcBef>
              <a:spcAft>
                <a:spcPts val="0"/>
              </a:spcAft>
              <a:buClrTx/>
              <a:buSzPct val="100000"/>
              <a:buFont typeface="Arial" panose="020B0604020202020204" pitchFamily="34" charset="0"/>
              <a:buNone/>
              <a:tabLst/>
              <a:defRPr/>
            </a:pPr>
            <a:r>
              <a:rPr kumimoji="0" lang="tr-TR" sz="14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RSV </a:t>
            </a:r>
            <a:r>
              <a:rPr kumimoji="0" lang="tr-TR" sz="1400" b="0" i="0" u="none" strike="noStrike" kern="1200" cap="none" spc="0" normalizeH="0" baseline="0" noProof="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bulaşı</a:t>
            </a:r>
            <a:r>
              <a:rPr kumimoji="0" lang="tr-TR" sz="14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için </a:t>
            </a:r>
            <a:r>
              <a:rPr kumimoji="0" lang="tr-TR" sz="1400" b="0" i="0" u="none" strike="noStrike" kern="1200" cap="none" spc="0" normalizeH="0" baseline="0" noProof="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enfekte</a:t>
            </a:r>
            <a:r>
              <a:rPr kumimoji="0" lang="tr-TR" sz="14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biriyle veya </a:t>
            </a:r>
            <a:r>
              <a:rPr kumimoji="0" lang="tr-TR" sz="1400" b="0" i="0" u="none" strike="noStrike" kern="1200" cap="none" spc="0" normalizeH="0" baseline="0" noProof="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kontamine</a:t>
            </a:r>
            <a:r>
              <a:rPr kumimoji="0" lang="tr-TR" sz="14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bir yüzeyle temas, ya da </a:t>
            </a:r>
            <a:r>
              <a:rPr kumimoji="0" lang="tr-TR" sz="1400" b="0" i="0" u="none" strike="noStrike" kern="1200" cap="none" spc="0" normalizeH="0" baseline="0" noProof="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otoinokülasyon</a:t>
            </a:r>
            <a:r>
              <a:rPr kumimoji="0" lang="tr-TR" sz="14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gereklidir.</a:t>
            </a:r>
            <a:r>
              <a:rPr kumimoji="0" lang="tr-TR" sz="1400" b="0" i="0" u="none" strike="noStrike" kern="1200" cap="none" spc="0" normalizeH="0" baseline="3000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3</a:t>
            </a:r>
          </a:p>
        </p:txBody>
      </p:sp>
      <p:sp>
        <p:nvSpPr>
          <p:cNvPr id="75" name="Content Placeholder 3">
            <a:extLst>
              <a:ext uri="{FF2B5EF4-FFF2-40B4-BE49-F238E27FC236}">
                <a16:creationId xmlns:a16="http://schemas.microsoft.com/office/drawing/2014/main" id="{D3A82E58-A6A5-E4BB-4233-08676C105890}"/>
              </a:ext>
            </a:extLst>
          </p:cNvPr>
          <p:cNvSpPr txBox="1">
            <a:spLocks/>
          </p:cNvSpPr>
          <p:nvPr/>
        </p:nvSpPr>
        <p:spPr bwMode="gray">
          <a:xfrm>
            <a:off x="1006484" y="4975118"/>
            <a:ext cx="4112610" cy="530997"/>
          </a:xfrm>
          <a:prstGeom prst="rect">
            <a:avLst/>
          </a:prstGeom>
        </p:spPr>
        <p:txBody>
          <a:bodyPr vert="horz" lIns="45720" tIns="45720" rIns="45720" bIns="45720" rtlCol="0">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ctr" latinLnBrk="0" hangingPunct="1">
              <a:lnSpc>
                <a:spcPct val="100000"/>
              </a:lnSpc>
              <a:spcBef>
                <a:spcPts val="600"/>
              </a:spcBef>
              <a:spcAft>
                <a:spcPts val="0"/>
              </a:spcAft>
              <a:buClrTx/>
              <a:buSzPct val="100000"/>
              <a:buFont typeface="Arial" panose="020B0604020202020204" pitchFamily="34" charset="0"/>
              <a:buNone/>
              <a:tabLst/>
              <a:defRPr/>
            </a:pPr>
            <a:r>
              <a:rPr kumimoji="0" lang="tr-TR" sz="14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Yaşlılarda </a:t>
            </a:r>
            <a:r>
              <a:rPr kumimoji="0" lang="tr-TR" sz="1400" b="0" i="0" u="none" strike="noStrike" kern="1200" cap="none" spc="0" normalizeH="0" baseline="0" noProof="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nozokomiyal</a:t>
            </a:r>
            <a:r>
              <a:rPr kumimoji="0" lang="tr-TR" sz="14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enfeksiyon özellikle bir endişe nedenidir.</a:t>
            </a:r>
            <a:r>
              <a:rPr kumimoji="0" lang="tr-TR" sz="1400" b="0" i="0" u="none" strike="noStrike" kern="1200" cap="none" spc="0" normalizeH="0" baseline="3000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4</a:t>
            </a:r>
          </a:p>
        </p:txBody>
      </p:sp>
      <p:sp>
        <p:nvSpPr>
          <p:cNvPr id="76" name="Text Placeholder 4">
            <a:extLst>
              <a:ext uri="{FF2B5EF4-FFF2-40B4-BE49-F238E27FC236}">
                <a16:creationId xmlns:a16="http://schemas.microsoft.com/office/drawing/2014/main" id="{0C585513-806A-D207-C03B-DD83A6B47F02}"/>
              </a:ext>
            </a:extLst>
          </p:cNvPr>
          <p:cNvSpPr txBox="1">
            <a:spLocks/>
          </p:cNvSpPr>
          <p:nvPr/>
        </p:nvSpPr>
        <p:spPr bwMode="gray">
          <a:xfrm>
            <a:off x="5829513" y="4922453"/>
            <a:ext cx="5666488" cy="852672"/>
          </a:xfrm>
          <a:prstGeom prst="rect">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29" tIns="1920240" rIns="91429" bIns="45715" numCol="1" rtlCol="0" anchor="t"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ctr" defTabSz="914126" rtl="0" eaLnBrk="0" fontAlgn="base" latinLnBrk="0" hangingPunct="0">
              <a:lnSpc>
                <a:spcPct val="100000"/>
              </a:lnSpc>
              <a:spcBef>
                <a:spcPts val="1800"/>
              </a:spcBef>
              <a:spcAft>
                <a:spcPts val="1200"/>
              </a:spcAft>
              <a:buClrTx/>
              <a:buSzTx/>
              <a:buFontTx/>
              <a:buNone/>
              <a:tabLst/>
              <a:defRPr/>
            </a:pPr>
            <a:endParaRPr kumimoji="0" lang="tr-TR" alt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 name="Content Placeholder 3">
            <a:extLst>
              <a:ext uri="{FF2B5EF4-FFF2-40B4-BE49-F238E27FC236}">
                <a16:creationId xmlns:a16="http://schemas.microsoft.com/office/drawing/2014/main" id="{03E9A159-B77B-3765-2984-78666215BF9D}"/>
              </a:ext>
            </a:extLst>
          </p:cNvPr>
          <p:cNvSpPr txBox="1">
            <a:spLocks/>
          </p:cNvSpPr>
          <p:nvPr/>
        </p:nvSpPr>
        <p:spPr bwMode="gray">
          <a:xfrm>
            <a:off x="5920407" y="4991121"/>
            <a:ext cx="5539713" cy="762135"/>
          </a:xfrm>
          <a:prstGeom prst="rect">
            <a:avLst/>
          </a:prstGeom>
        </p:spPr>
        <p:txBody>
          <a:bodyPr vert="horz" lIns="45720" tIns="45720" rIns="45720" bIns="45720" rtlCol="0">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ctr" latinLnBrk="0" hangingPunct="1">
              <a:lnSpc>
                <a:spcPct val="100000"/>
              </a:lnSpc>
              <a:spcBef>
                <a:spcPts val="600"/>
              </a:spcBef>
              <a:spcAft>
                <a:spcPts val="600"/>
              </a:spcAft>
              <a:buClrTx/>
              <a:buSzPct val="100000"/>
              <a:buFont typeface="Arial" panose="020B0604020202020204" pitchFamily="34" charset="0"/>
              <a:buNone/>
              <a:tabLst/>
              <a:defRPr/>
            </a:pPr>
            <a:r>
              <a:rPr kumimoji="0" lang="tr-TR" sz="1400" b="0" i="0" u="none" strike="noStrike" kern="1200" cap="none" spc="0" normalizeH="0" baseline="0" noProof="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Viral</a:t>
            </a:r>
            <a:r>
              <a:rPr kumimoji="0" lang="tr-TR" sz="14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bulaşma 3. günde zirveye çıksa da, yaşlıların semptom başlangıcından sonraki 5 ila 7. günlere kadar doktora veya acil servise başvurmaları muhtemel değildir.</a:t>
            </a:r>
            <a:r>
              <a:rPr kumimoji="0" lang="tr-TR" sz="1400" b="0" i="0" u="none" strike="noStrike" kern="1200" cap="none" spc="0" normalizeH="0" baseline="3000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5</a:t>
            </a:r>
          </a:p>
        </p:txBody>
      </p:sp>
      <p:sp>
        <p:nvSpPr>
          <p:cNvPr id="77" name="Text Placeholder 22">
            <a:extLst>
              <a:ext uri="{FF2B5EF4-FFF2-40B4-BE49-F238E27FC236}">
                <a16:creationId xmlns:a16="http://schemas.microsoft.com/office/drawing/2014/main" id="{312BBE61-5D1A-9C74-4F7C-B3BB447294F1}"/>
              </a:ext>
            </a:extLst>
          </p:cNvPr>
          <p:cNvSpPr txBox="1">
            <a:spLocks/>
          </p:cNvSpPr>
          <p:nvPr/>
        </p:nvSpPr>
        <p:spPr>
          <a:xfrm>
            <a:off x="729359" y="5921373"/>
            <a:ext cx="10817982" cy="4400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tr-TR"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FU: </a:t>
            </a:r>
            <a:r>
              <a:rPr kumimoji="0" lang="tr-TR"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k oluşturan ünite; </a:t>
            </a:r>
            <a:r>
              <a:rPr kumimoji="0" lang="tr-TR"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SV: </a:t>
            </a:r>
            <a:r>
              <a:rPr kumimoji="0" lang="tr-TR"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spiratuvar sinsityal virüs.</a:t>
            </a:r>
            <a:br>
              <a:rPr kumimoji="0" lang="tr-TR"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tr-TR"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eranslar: 1.</a:t>
            </a:r>
            <a:r>
              <a:rPr kumimoji="0" lang="tr-TR"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arvajal JJ, et al. Front Immunol. 2019;10:2152. </a:t>
            </a:r>
            <a:r>
              <a:rPr kumimoji="0" lang="tr-TR"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a:t>
            </a:r>
            <a:r>
              <a:rPr kumimoji="0" lang="tr-TR"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en-US" sz="700" dirty="0">
                <a:solidFill>
                  <a:prstClr val="black"/>
                </a:solidFill>
                <a:latin typeface="Arial" panose="020B0604020202020204" pitchFamily="34" charset="0"/>
                <a:cs typeface="Arial" panose="020B0604020202020204" pitchFamily="34" charset="0"/>
              </a:rPr>
              <a:t>Soni A, Kabra SK, Lodha R. Respiratory Syncytial Virus Infection: An Update. Indian J </a:t>
            </a:r>
            <a:r>
              <a:rPr lang="en-US" sz="700" dirty="0" err="1">
                <a:solidFill>
                  <a:prstClr val="black"/>
                </a:solidFill>
                <a:latin typeface="Arial" panose="020B0604020202020204" pitchFamily="34" charset="0"/>
                <a:cs typeface="Arial" panose="020B0604020202020204" pitchFamily="34" charset="0"/>
              </a:rPr>
              <a:t>Pediatr</a:t>
            </a:r>
            <a:r>
              <a:rPr lang="en-US" sz="700" dirty="0">
                <a:solidFill>
                  <a:prstClr val="black"/>
                </a:solidFill>
                <a:latin typeface="Arial" panose="020B0604020202020204" pitchFamily="34" charset="0"/>
                <a:cs typeface="Arial" panose="020B0604020202020204" pitchFamily="34" charset="0"/>
              </a:rPr>
              <a:t>. 2023 Dec;90(12):1245-1253. </a:t>
            </a:r>
            <a:r>
              <a:rPr lang="en-US" sz="700" dirty="0" err="1">
                <a:solidFill>
                  <a:prstClr val="black"/>
                </a:solidFill>
                <a:latin typeface="Arial" panose="020B0604020202020204" pitchFamily="34" charset="0"/>
                <a:cs typeface="Arial" panose="020B0604020202020204" pitchFamily="34" charset="0"/>
              </a:rPr>
              <a:t>doi</a:t>
            </a:r>
            <a:r>
              <a:rPr lang="en-US" sz="700" dirty="0">
                <a:solidFill>
                  <a:prstClr val="black"/>
                </a:solidFill>
                <a:latin typeface="Arial" panose="020B0604020202020204" pitchFamily="34" charset="0"/>
                <a:cs typeface="Arial" panose="020B0604020202020204" pitchFamily="34" charset="0"/>
              </a:rPr>
              <a:t>: 10.1007/s12098-023-04613-w. </a:t>
            </a:r>
            <a:r>
              <a:rPr lang="en-US" sz="700" dirty="0" err="1">
                <a:solidFill>
                  <a:prstClr val="black"/>
                </a:solidFill>
                <a:latin typeface="Arial" panose="020B0604020202020204" pitchFamily="34" charset="0"/>
                <a:cs typeface="Arial" panose="020B0604020202020204" pitchFamily="34" charset="0"/>
              </a:rPr>
              <a:t>Epub</a:t>
            </a:r>
            <a:r>
              <a:rPr lang="en-US" sz="700" dirty="0">
                <a:solidFill>
                  <a:prstClr val="black"/>
                </a:solidFill>
                <a:latin typeface="Arial" panose="020B0604020202020204" pitchFamily="34" charset="0"/>
                <a:cs typeface="Arial" panose="020B0604020202020204" pitchFamily="34" charset="0"/>
              </a:rPr>
              <a:t> 2023 Jun 16. PMID: 37326948.</a:t>
            </a:r>
            <a:r>
              <a:rPr kumimoji="0" lang="tr-TR"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tr-TR"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 </a:t>
            </a:r>
            <a:r>
              <a:rPr kumimoji="0" lang="tr-TR"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lsey AR, et al. Drugs Aging. 2005;22(7):577-587. 4. Hall CB. Clin Infect Dis. 2000;31(2):590-596. </a:t>
            </a:r>
            <a:r>
              <a:rPr kumimoji="0" lang="tr-TR"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 </a:t>
            </a:r>
            <a:r>
              <a:rPr kumimoji="0" lang="tr-TR"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albot HK, et al. Infect Dis Clin Prac. 2016;24(6):295-302. </a:t>
            </a:r>
            <a:r>
              <a:rPr kumimoji="0" lang="tr-TR"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 </a:t>
            </a:r>
            <a:r>
              <a:rPr kumimoji="0" lang="tr-TR"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alsh EE, et al. J Infect Dis. 2013;207(9):1424-1432.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tr-TR"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Content Placeholder 3">
            <a:extLst>
              <a:ext uri="{FF2B5EF4-FFF2-40B4-BE49-F238E27FC236}">
                <a16:creationId xmlns:a16="http://schemas.microsoft.com/office/drawing/2014/main" id="{68B5024A-EF9B-8B71-EDE5-15D136A8F87F}"/>
              </a:ext>
            </a:extLst>
          </p:cNvPr>
          <p:cNvSpPr txBox="1">
            <a:spLocks/>
          </p:cNvSpPr>
          <p:nvPr/>
        </p:nvSpPr>
        <p:spPr bwMode="gray">
          <a:xfrm>
            <a:off x="1058021" y="3612606"/>
            <a:ext cx="4112610" cy="530997"/>
          </a:xfrm>
          <a:prstGeom prst="rect">
            <a:avLst/>
          </a:prstGeom>
        </p:spPr>
        <p:txBody>
          <a:bodyPr vert="horz" lIns="45720" tIns="45720" rIns="45720" bIns="45720" rtlCol="0">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fontAlgn="ctr">
              <a:lnSpc>
                <a:spcPct val="100000"/>
              </a:lnSpc>
              <a:spcBef>
                <a:spcPts val="600"/>
              </a:spcBef>
              <a:buNone/>
              <a:defRPr/>
            </a:pPr>
            <a:r>
              <a:rPr lang="en-US" sz="1400">
                <a:solidFill>
                  <a:srgbClr val="000000"/>
                </a:solidFill>
                <a:latin typeface="Arial" panose="020B0604020202020204" pitchFamily="34" charset="0"/>
                <a:cs typeface="Arial" panose="020B0604020202020204" pitchFamily="34" charset="0"/>
              </a:rPr>
              <a:t>Respiratuvar sinsityal virüs (RSV), son derece bulaşıcı bir solunum yolu </a:t>
            </a:r>
            <a:r>
              <a:rPr lang="en-US" sz="1400" err="1">
                <a:solidFill>
                  <a:srgbClr val="000000"/>
                </a:solidFill>
                <a:latin typeface="Arial" panose="020B0604020202020204" pitchFamily="34" charset="0"/>
                <a:cs typeface="Arial" panose="020B0604020202020204" pitchFamily="34" charset="0"/>
              </a:rPr>
              <a:t>virüsüdür</a:t>
            </a:r>
            <a:r>
              <a:rPr lang="en-US" sz="1400">
                <a:solidFill>
                  <a:srgbClr val="000000"/>
                </a:solidFill>
                <a:latin typeface="Arial" panose="020B0604020202020204" pitchFamily="34" charset="0"/>
                <a:cs typeface="Arial" panose="020B0604020202020204" pitchFamily="34" charset="0"/>
              </a:rPr>
              <a:t>.</a:t>
            </a:r>
            <a:r>
              <a:rPr lang="tr-TR" sz="1400" baseline="300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US" sz="1400" baseline="30000">
                <a:solidFill>
                  <a:srgbClr val="000000"/>
                </a:solidFill>
                <a:latin typeface="Arial" panose="020B0604020202020204" pitchFamily="34" charset="0"/>
                <a:ea typeface="Times New Roman" panose="02020603050405020304" pitchFamily="18" charset="0"/>
                <a:cs typeface="Arial" panose="020B0604020202020204" pitchFamily="34" charset="0"/>
              </a:rPr>
              <a:t>2</a:t>
            </a:r>
            <a:endParaRPr lang="tr-TR" sz="1400">
              <a:solidFill>
                <a:srgbClr val="000000"/>
              </a:solidFill>
              <a:latin typeface="Arial" panose="020B0604020202020204" pitchFamily="34" charset="0"/>
              <a:cs typeface="Arial" panose="020B0604020202020204" pitchFamily="34" charset="0"/>
            </a:endParaRPr>
          </a:p>
        </p:txBody>
      </p:sp>
      <p:pic>
        <p:nvPicPr>
          <p:cNvPr id="83" name="Picture 82" descr="A black and blue logo&#10;&#10;AI-generated content may be incorrect.">
            <a:extLst>
              <a:ext uri="{FF2B5EF4-FFF2-40B4-BE49-F238E27FC236}">
                <a16:creationId xmlns:a16="http://schemas.microsoft.com/office/drawing/2014/main" id="{755E5788-30AE-7876-2422-EAE658219A1B}"/>
              </a:ext>
            </a:extLst>
          </p:cNvPr>
          <p:cNvPicPr>
            <a:picLocks noChangeAspect="1"/>
          </p:cNvPicPr>
          <p:nvPr/>
        </p:nvPicPr>
        <p:blipFill>
          <a:blip r:embed="rId3"/>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894980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644AE5-484C-16CE-B013-3A2DBC1A713C}"/>
            </a:ext>
          </a:extLst>
        </p:cNvPr>
        <p:cNvGrpSpPr/>
        <p:nvPr/>
      </p:nvGrpSpPr>
      <p:grpSpPr>
        <a:xfrm>
          <a:off x="0" y="0"/>
          <a:ext cx="0" cy="0"/>
          <a:chOff x="0" y="0"/>
          <a:chExt cx="0" cy="0"/>
        </a:xfrm>
      </p:grpSpPr>
      <p:sp>
        <p:nvSpPr>
          <p:cNvPr id="8" name="object 8">
            <a:extLst>
              <a:ext uri="{FF2B5EF4-FFF2-40B4-BE49-F238E27FC236}">
                <a16:creationId xmlns:a16="http://schemas.microsoft.com/office/drawing/2014/main" id="{43A2217D-FDC8-F9F3-65F7-B03C034D79D6}"/>
              </a:ext>
            </a:extLst>
          </p:cNvPr>
          <p:cNvSpPr txBox="1">
            <a:spLocks noGrp="1"/>
          </p:cNvSpPr>
          <p:nvPr>
            <p:ph type="title"/>
          </p:nvPr>
        </p:nvSpPr>
        <p:spPr>
          <a:prstGeom prst="rect">
            <a:avLst/>
          </a:prstGeom>
        </p:spPr>
        <p:txBody>
          <a:bodyPr vert="horz" wrap="square" lIns="0" tIns="5198" rIns="0" bIns="0" rtlCol="0" anchor="ctr">
            <a:spAutoFit/>
          </a:bodyPr>
          <a:lstStyle/>
          <a:p>
            <a:pPr marL="17324" marR="13859">
              <a:lnSpc>
                <a:spcPct val="100800"/>
              </a:lnSpc>
              <a:spcBef>
                <a:spcPts val="41"/>
              </a:spcBef>
            </a:pPr>
            <a:r>
              <a:rPr sz="2400"/>
              <a:t>Ülkemizde RSV </a:t>
            </a:r>
            <a:r>
              <a:rPr sz="2400" err="1"/>
              <a:t>Ekim</a:t>
            </a:r>
            <a:r>
              <a:rPr sz="2400"/>
              <a:t> </a:t>
            </a:r>
            <a:r>
              <a:rPr sz="2400" err="1"/>
              <a:t>ayında</a:t>
            </a:r>
            <a:r>
              <a:rPr sz="2400"/>
              <a:t> </a:t>
            </a:r>
            <a:r>
              <a:rPr lang="en-US" sz="2400" err="1"/>
              <a:t>yükselişe</a:t>
            </a:r>
            <a:r>
              <a:rPr lang="en-US" sz="2400"/>
              <a:t> </a:t>
            </a:r>
            <a:r>
              <a:rPr lang="en-US" sz="2400" err="1"/>
              <a:t>geçer</a:t>
            </a:r>
            <a:r>
              <a:rPr lang="en-US" sz="2400"/>
              <a:t> </a:t>
            </a:r>
            <a:r>
              <a:rPr sz="2400" err="1"/>
              <a:t>ve</a:t>
            </a:r>
            <a:r>
              <a:rPr sz="2400"/>
              <a:t> Ocak-Mart aylarında zirve yapar.</a:t>
            </a:r>
            <a:r>
              <a:rPr sz="2183" b="1" baseline="31893">
                <a:latin typeface="Arial"/>
                <a:cs typeface="Arial"/>
              </a:rPr>
              <a:t>1</a:t>
            </a:r>
            <a:endParaRPr sz="2183" baseline="31893">
              <a:latin typeface="Arial"/>
              <a:cs typeface="Arial"/>
            </a:endParaRPr>
          </a:p>
        </p:txBody>
      </p:sp>
      <p:grpSp>
        <p:nvGrpSpPr>
          <p:cNvPr id="9" name="object 9">
            <a:extLst>
              <a:ext uri="{FF2B5EF4-FFF2-40B4-BE49-F238E27FC236}">
                <a16:creationId xmlns:a16="http://schemas.microsoft.com/office/drawing/2014/main" id="{D09AD07E-CA0D-674E-8FAF-038226D67C96}"/>
              </a:ext>
            </a:extLst>
          </p:cNvPr>
          <p:cNvGrpSpPr/>
          <p:nvPr/>
        </p:nvGrpSpPr>
        <p:grpSpPr>
          <a:xfrm>
            <a:off x="2406837" y="4584523"/>
            <a:ext cx="7732936" cy="6353"/>
            <a:chOff x="1939306" y="10081707"/>
            <a:chExt cx="17005300" cy="13970"/>
          </a:xfrm>
        </p:grpSpPr>
        <p:sp>
          <p:nvSpPr>
            <p:cNvPr id="10" name="object 10">
              <a:extLst>
                <a:ext uri="{FF2B5EF4-FFF2-40B4-BE49-F238E27FC236}">
                  <a16:creationId xmlns:a16="http://schemas.microsoft.com/office/drawing/2014/main" id="{F56E7CEA-306E-C49C-7842-19480C680F73}"/>
                </a:ext>
              </a:extLst>
            </p:cNvPr>
            <p:cNvSpPr/>
            <p:nvPr/>
          </p:nvSpPr>
          <p:spPr>
            <a:xfrm>
              <a:off x="2045320" y="10088692"/>
              <a:ext cx="16895445" cy="0"/>
            </a:xfrm>
            <a:custGeom>
              <a:avLst/>
              <a:gdLst/>
              <a:ahLst/>
              <a:cxnLst/>
              <a:rect l="l" t="t" r="r" b="b"/>
              <a:pathLst>
                <a:path w="16895445">
                  <a:moveTo>
                    <a:pt x="16895267" y="0"/>
                  </a:moveTo>
                  <a:lnTo>
                    <a:pt x="0" y="0"/>
                  </a:lnTo>
                </a:path>
              </a:pathLst>
            </a:custGeom>
            <a:ln w="7362">
              <a:solidFill>
                <a:srgbClr val="D0D2D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object 11">
              <a:extLst>
                <a:ext uri="{FF2B5EF4-FFF2-40B4-BE49-F238E27FC236}">
                  <a16:creationId xmlns:a16="http://schemas.microsoft.com/office/drawing/2014/main" id="{298B396E-E863-BAAA-D30F-87E42B37F99B}"/>
                </a:ext>
              </a:extLst>
            </p:cNvPr>
            <p:cNvSpPr/>
            <p:nvPr/>
          </p:nvSpPr>
          <p:spPr>
            <a:xfrm>
              <a:off x="1946291" y="10088692"/>
              <a:ext cx="91440" cy="0"/>
            </a:xfrm>
            <a:custGeom>
              <a:avLst/>
              <a:gdLst/>
              <a:ahLst/>
              <a:cxnLst/>
              <a:rect l="l" t="t" r="r" b="b"/>
              <a:pathLst>
                <a:path w="91439">
                  <a:moveTo>
                    <a:pt x="90959" y="0"/>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2" name="object 12">
            <a:extLst>
              <a:ext uri="{FF2B5EF4-FFF2-40B4-BE49-F238E27FC236}">
                <a16:creationId xmlns:a16="http://schemas.microsoft.com/office/drawing/2014/main" id="{088B952B-35A0-5B17-5A6C-A9E45E6DE616}"/>
              </a:ext>
            </a:extLst>
          </p:cNvPr>
          <p:cNvSpPr txBox="1"/>
          <p:nvPr/>
        </p:nvSpPr>
        <p:spPr>
          <a:xfrm>
            <a:off x="2420896" y="4626298"/>
            <a:ext cx="5118709" cy="281828"/>
          </a:xfrm>
          <a:prstGeom prst="rect">
            <a:avLst/>
          </a:prstGeom>
        </p:spPr>
        <p:txBody>
          <a:bodyPr vert="vert270" wrap="square" lIns="0" tIns="2599" rIns="0" bIns="0" rtlCol="0">
            <a:spAutoFit/>
          </a:bodyPr>
          <a:lstStyle/>
          <a:p>
            <a:pPr marL="5775" marR="0" lvl="0" indent="0" algn="l" defTabSz="457200" rtl="0" eaLnBrk="1" fontAlgn="auto" latinLnBrk="0" hangingPunct="1">
              <a:lnSpc>
                <a:spcPct val="100000"/>
              </a:lnSpc>
              <a:spcBef>
                <a:spcPts val="20"/>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6/40</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89"/>
              </a:spcBef>
              <a:spcAft>
                <a:spcPts val="0"/>
              </a:spcAft>
              <a:buClrTx/>
              <a:buSzTx/>
              <a:buFontTx/>
              <a:buNone/>
              <a:tabLst/>
              <a:defRPr/>
            </a:pPr>
            <a:r>
              <a:rPr kumimoji="0" sz="546" b="0" i="0" u="none" strike="noStrike" kern="1200" cap="none" spc="16" normalizeH="0" baseline="0" noProof="0">
                <a:ln>
                  <a:noFill/>
                </a:ln>
                <a:solidFill>
                  <a:srgbClr val="415465"/>
                </a:solidFill>
                <a:effectLst/>
                <a:uLnTx/>
                <a:uFillTx/>
                <a:latin typeface="Arial"/>
                <a:ea typeface="+mn-ea"/>
                <a:cs typeface="Arial"/>
              </a:rPr>
              <a:t>2016/46</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98"/>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6/52</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45909" marR="0" lvl="0" indent="0" algn="l" defTabSz="457200" rtl="0" eaLnBrk="1" fontAlgn="auto" latinLnBrk="0" hangingPunct="1">
              <a:lnSpc>
                <a:spcPct val="100000"/>
              </a:lnSpc>
              <a:spcBef>
                <a:spcPts val="118"/>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7/6</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4"/>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7/12</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0"/>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7/18</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25"/>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7/24</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2"/>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7/30</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86"/>
              </a:spcBef>
              <a:spcAft>
                <a:spcPts val="0"/>
              </a:spcAft>
              <a:buClrTx/>
              <a:buSzTx/>
              <a:buFontTx/>
              <a:buNone/>
              <a:tabLst/>
              <a:defRPr/>
            </a:pPr>
            <a:r>
              <a:rPr kumimoji="0" sz="546" b="0" i="0" u="none" strike="noStrike" kern="1200" cap="none" spc="16" normalizeH="0" baseline="0" noProof="0">
                <a:ln>
                  <a:noFill/>
                </a:ln>
                <a:solidFill>
                  <a:srgbClr val="415465"/>
                </a:solidFill>
                <a:effectLst/>
                <a:uLnTx/>
                <a:uFillTx/>
                <a:latin typeface="Arial"/>
                <a:ea typeface="+mn-ea"/>
                <a:cs typeface="Arial"/>
              </a:rPr>
              <a:t>2017/36</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2"/>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7/41</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15"/>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7/47</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45909" marR="0" lvl="0" indent="0" algn="l" defTabSz="457200" rtl="0" eaLnBrk="1" fontAlgn="auto" latinLnBrk="0" hangingPunct="1">
              <a:lnSpc>
                <a:spcPct val="100000"/>
              </a:lnSpc>
              <a:spcBef>
                <a:spcPts val="123"/>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8/1</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45909" marR="0" lvl="0" indent="0" algn="l" defTabSz="457200" rtl="0" eaLnBrk="1" fontAlgn="auto" latinLnBrk="0" hangingPunct="1">
              <a:lnSpc>
                <a:spcPct val="100000"/>
              </a:lnSpc>
              <a:spcBef>
                <a:spcPts val="82"/>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8/7</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9"/>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8/13</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9"/>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8/19</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2"/>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8/25</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23"/>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8/31</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89"/>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8/37</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15"/>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8/42</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2"/>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8/48</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45909" marR="0" lvl="0" indent="0" algn="l" defTabSz="457200" rtl="0" eaLnBrk="1" fontAlgn="auto" latinLnBrk="0" hangingPunct="1">
              <a:lnSpc>
                <a:spcPct val="100000"/>
              </a:lnSpc>
              <a:spcBef>
                <a:spcPts val="109"/>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9/2</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45909" marR="0" lvl="0" indent="0" algn="l" defTabSz="457200" rtl="0" eaLnBrk="1" fontAlgn="auto" latinLnBrk="0" hangingPunct="1">
              <a:lnSpc>
                <a:spcPct val="100000"/>
              </a:lnSpc>
              <a:spcBef>
                <a:spcPts val="84"/>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9/8</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9"/>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9/14</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27"/>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9/20</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89"/>
              </a:spcBef>
              <a:spcAft>
                <a:spcPts val="0"/>
              </a:spcAft>
              <a:buClrTx/>
              <a:buSzTx/>
              <a:buFontTx/>
              <a:buNone/>
              <a:tabLst/>
              <a:defRPr/>
            </a:pPr>
            <a:r>
              <a:rPr kumimoji="0" sz="546" b="0" i="0" u="none" strike="noStrike" kern="1200" cap="none" spc="16" normalizeH="0" baseline="0" noProof="0">
                <a:ln>
                  <a:noFill/>
                </a:ln>
                <a:solidFill>
                  <a:srgbClr val="415465"/>
                </a:solidFill>
                <a:effectLst/>
                <a:uLnTx/>
                <a:uFillTx/>
                <a:latin typeface="Arial"/>
                <a:ea typeface="+mn-ea"/>
                <a:cs typeface="Arial"/>
              </a:rPr>
              <a:t>2019/26</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98"/>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9/32</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84"/>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9/38</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14"/>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9/43</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20"/>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19/49</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45909" marR="0" lvl="0" indent="0" algn="l" defTabSz="457200" rtl="0" eaLnBrk="1" fontAlgn="auto" latinLnBrk="0" hangingPunct="1">
              <a:lnSpc>
                <a:spcPct val="100000"/>
              </a:lnSpc>
              <a:spcBef>
                <a:spcPts val="118"/>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0/3</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45909" marR="0" lvl="0" indent="0" algn="l" defTabSz="457200" rtl="0" eaLnBrk="1" fontAlgn="auto" latinLnBrk="0" hangingPunct="1">
              <a:lnSpc>
                <a:spcPct val="100000"/>
              </a:lnSpc>
              <a:spcBef>
                <a:spcPts val="115"/>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0/9</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98"/>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0/15</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15"/>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0/21</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98"/>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0/27</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82"/>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0/33</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15"/>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0/39</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15"/>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0/44</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84"/>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0/50</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45909" marR="0" lvl="0" indent="0" algn="l" defTabSz="457200" rtl="0" eaLnBrk="1" fontAlgn="auto" latinLnBrk="0" hangingPunct="1">
              <a:lnSpc>
                <a:spcPct val="100000"/>
              </a:lnSpc>
              <a:spcBef>
                <a:spcPts val="123"/>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1/3</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45909" marR="0" lvl="0" indent="0" algn="l" defTabSz="457200" rtl="0" eaLnBrk="1" fontAlgn="auto" latinLnBrk="0" hangingPunct="1">
              <a:lnSpc>
                <a:spcPct val="100000"/>
              </a:lnSpc>
              <a:spcBef>
                <a:spcPts val="91"/>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1/9</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23"/>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1/15</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20"/>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1/21</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68"/>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1/27</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27"/>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1/33</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91"/>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1/39</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15"/>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1/44</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15"/>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1/50</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45909" marR="0" lvl="0" indent="0" algn="l" defTabSz="457200" rtl="0" eaLnBrk="1" fontAlgn="auto" latinLnBrk="0" hangingPunct="1">
              <a:lnSpc>
                <a:spcPct val="100000"/>
              </a:lnSpc>
              <a:spcBef>
                <a:spcPts val="91"/>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2/4</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98"/>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2/10</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2"/>
              </a:spcBef>
              <a:spcAft>
                <a:spcPts val="0"/>
              </a:spcAft>
              <a:buClrTx/>
              <a:buSzTx/>
              <a:buFontTx/>
              <a:buNone/>
              <a:tabLst/>
              <a:defRPr/>
            </a:pPr>
            <a:r>
              <a:rPr kumimoji="0" sz="546" b="0" i="0" u="none" strike="noStrike" kern="1200" cap="none" spc="16" normalizeH="0" baseline="0" noProof="0">
                <a:ln>
                  <a:noFill/>
                </a:ln>
                <a:solidFill>
                  <a:srgbClr val="415465"/>
                </a:solidFill>
                <a:effectLst/>
                <a:uLnTx/>
                <a:uFillTx/>
                <a:latin typeface="Arial"/>
                <a:ea typeface="+mn-ea"/>
                <a:cs typeface="Arial"/>
              </a:rPr>
              <a:t>2022/16</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9"/>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2/22</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23"/>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2/28</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91"/>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2/34</a:t>
            </a:r>
            <a:endParaRPr kumimoji="0" sz="546" b="0" i="0" u="none" strike="noStrike" kern="1200" cap="none" spc="0" normalizeH="0" baseline="0" noProof="0">
              <a:ln>
                <a:noFill/>
              </a:ln>
              <a:solidFill>
                <a:prstClr val="black"/>
              </a:solidFill>
              <a:effectLst/>
              <a:uLnTx/>
              <a:uFillTx/>
              <a:latin typeface="Arial"/>
              <a:ea typeface="+mn-ea"/>
              <a:cs typeface="Arial"/>
            </a:endParaRPr>
          </a:p>
        </p:txBody>
      </p:sp>
      <p:sp>
        <p:nvSpPr>
          <p:cNvPr id="13" name="object 13">
            <a:extLst>
              <a:ext uri="{FF2B5EF4-FFF2-40B4-BE49-F238E27FC236}">
                <a16:creationId xmlns:a16="http://schemas.microsoft.com/office/drawing/2014/main" id="{61D152E5-FCCC-2FC5-4742-DBBAC5791B68}"/>
              </a:ext>
            </a:extLst>
          </p:cNvPr>
          <p:cNvSpPr txBox="1"/>
          <p:nvPr/>
        </p:nvSpPr>
        <p:spPr>
          <a:xfrm>
            <a:off x="7633307" y="4626298"/>
            <a:ext cx="2504532" cy="281828"/>
          </a:xfrm>
          <a:prstGeom prst="rect">
            <a:avLst/>
          </a:prstGeom>
        </p:spPr>
        <p:txBody>
          <a:bodyPr vert="vert270" wrap="square" lIns="0" tIns="2599" rIns="0" bIns="0" rtlCol="0">
            <a:spAutoFit/>
          </a:bodyPr>
          <a:lstStyle/>
          <a:p>
            <a:pPr marL="5775" marR="0" lvl="0" indent="0" algn="l" defTabSz="457200" rtl="0" eaLnBrk="1" fontAlgn="auto" latinLnBrk="0" hangingPunct="1">
              <a:lnSpc>
                <a:spcPct val="100000"/>
              </a:lnSpc>
              <a:spcBef>
                <a:spcPts val="20"/>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2/45</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15"/>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2/51</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45909" marR="0" lvl="0" indent="0" algn="l" defTabSz="457200" rtl="0" eaLnBrk="1" fontAlgn="auto" latinLnBrk="0" hangingPunct="1">
              <a:lnSpc>
                <a:spcPct val="100000"/>
              </a:lnSpc>
              <a:spcBef>
                <a:spcPts val="91"/>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3/5</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9"/>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3/11</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98"/>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3/17</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9"/>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3/23</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86"/>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3/29</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20"/>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3/35</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9"/>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3/40</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98"/>
              </a:spcBef>
              <a:spcAft>
                <a:spcPts val="0"/>
              </a:spcAft>
              <a:buClrTx/>
              <a:buSzTx/>
              <a:buFontTx/>
              <a:buNone/>
              <a:tabLst/>
              <a:defRPr/>
            </a:pPr>
            <a:r>
              <a:rPr kumimoji="0" sz="546" b="0" i="0" u="none" strike="noStrike" kern="1200" cap="none" spc="16" normalizeH="0" baseline="0" noProof="0">
                <a:ln>
                  <a:noFill/>
                </a:ln>
                <a:solidFill>
                  <a:srgbClr val="415465"/>
                </a:solidFill>
                <a:effectLst/>
                <a:uLnTx/>
                <a:uFillTx/>
                <a:latin typeface="Arial"/>
                <a:ea typeface="+mn-ea"/>
                <a:cs typeface="Arial"/>
              </a:rPr>
              <a:t>2023/46</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46"/>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3/52</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45909" marR="0" lvl="0" indent="0" algn="l" defTabSz="457200" rtl="0" eaLnBrk="1" fontAlgn="auto" latinLnBrk="0" hangingPunct="1">
              <a:lnSpc>
                <a:spcPct val="100000"/>
              </a:lnSpc>
              <a:spcBef>
                <a:spcPts val="80"/>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4/6</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6"/>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4/12</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14"/>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4/18</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4"/>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4/24</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84"/>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4/30</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23"/>
              </a:spcBef>
              <a:spcAft>
                <a:spcPts val="0"/>
              </a:spcAft>
              <a:buClrTx/>
              <a:buSzTx/>
              <a:buFontTx/>
              <a:buNone/>
              <a:tabLst/>
              <a:defRPr/>
            </a:pPr>
            <a:r>
              <a:rPr kumimoji="0" sz="546" b="0" i="0" u="none" strike="noStrike" kern="1200" cap="none" spc="16" normalizeH="0" baseline="0" noProof="0">
                <a:ln>
                  <a:noFill/>
                </a:ln>
                <a:solidFill>
                  <a:srgbClr val="415465"/>
                </a:solidFill>
                <a:effectLst/>
                <a:uLnTx/>
                <a:uFillTx/>
                <a:latin typeface="Arial"/>
                <a:ea typeface="+mn-ea"/>
                <a:cs typeface="Arial"/>
              </a:rPr>
              <a:t>2024/36</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09"/>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4/40</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98"/>
              </a:spcBef>
              <a:spcAft>
                <a:spcPts val="0"/>
              </a:spcAft>
              <a:buClrTx/>
              <a:buSzTx/>
              <a:buFontTx/>
              <a:buNone/>
              <a:tabLst/>
              <a:defRPr/>
            </a:pPr>
            <a:r>
              <a:rPr kumimoji="0" sz="546" b="0" i="0" u="none" strike="noStrike" kern="1200" cap="none" spc="16" normalizeH="0" baseline="0" noProof="0">
                <a:ln>
                  <a:noFill/>
                </a:ln>
                <a:solidFill>
                  <a:srgbClr val="415465"/>
                </a:solidFill>
                <a:effectLst/>
                <a:uLnTx/>
                <a:uFillTx/>
                <a:latin typeface="Arial"/>
                <a:ea typeface="+mn-ea"/>
                <a:cs typeface="Arial"/>
              </a:rPr>
              <a:t>2024/46</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95"/>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4/52</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45909" marR="0" lvl="0" indent="0" algn="l" defTabSz="457200" rtl="0" eaLnBrk="1" fontAlgn="auto" latinLnBrk="0" hangingPunct="1">
              <a:lnSpc>
                <a:spcPct val="100000"/>
              </a:lnSpc>
              <a:spcBef>
                <a:spcPts val="104"/>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5/6</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20"/>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5/12</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98"/>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5/18</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15"/>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5/24</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86"/>
              </a:spcBef>
              <a:spcAft>
                <a:spcPts val="0"/>
              </a:spcAft>
              <a:buClrTx/>
              <a:buSzTx/>
              <a:buFontTx/>
              <a:buNone/>
              <a:tabLst/>
              <a:defRPr/>
            </a:pPr>
            <a:r>
              <a:rPr kumimoji="0" sz="546" b="0" i="0" u="none" strike="noStrike" kern="1200" cap="none" spc="-5" normalizeH="0" baseline="0" noProof="0">
                <a:ln>
                  <a:noFill/>
                </a:ln>
                <a:solidFill>
                  <a:srgbClr val="415465"/>
                </a:solidFill>
                <a:effectLst/>
                <a:uLnTx/>
                <a:uFillTx/>
                <a:latin typeface="Arial"/>
                <a:ea typeface="+mn-ea"/>
                <a:cs typeface="Arial"/>
              </a:rPr>
              <a:t>2025/30</a:t>
            </a:r>
            <a:endParaRPr kumimoji="0" sz="546" b="0" i="0" u="none" strike="noStrike" kern="1200" cap="none" spc="0" normalizeH="0" baseline="0" noProof="0">
              <a:ln>
                <a:noFill/>
              </a:ln>
              <a:solidFill>
                <a:prstClr val="black"/>
              </a:solidFill>
              <a:effectLst/>
              <a:uLnTx/>
              <a:uFillTx/>
              <a:latin typeface="Arial"/>
              <a:ea typeface="+mn-ea"/>
              <a:cs typeface="Arial"/>
            </a:endParaRPr>
          </a:p>
          <a:p>
            <a:pPr marL="5775" marR="0" lvl="0" indent="0" algn="l" defTabSz="457200" rtl="0" eaLnBrk="1" fontAlgn="auto" latinLnBrk="0" hangingPunct="1">
              <a:lnSpc>
                <a:spcPct val="100000"/>
              </a:lnSpc>
              <a:spcBef>
                <a:spcPts val="127"/>
              </a:spcBef>
              <a:spcAft>
                <a:spcPts val="0"/>
              </a:spcAft>
              <a:buClrTx/>
              <a:buSzTx/>
              <a:buFontTx/>
              <a:buNone/>
              <a:tabLst/>
              <a:defRPr/>
            </a:pPr>
            <a:r>
              <a:rPr kumimoji="0" sz="546" b="0" i="0" u="none" strike="noStrike" kern="1200" cap="none" spc="16" normalizeH="0" baseline="0" noProof="0">
                <a:ln>
                  <a:noFill/>
                </a:ln>
                <a:solidFill>
                  <a:srgbClr val="415465"/>
                </a:solidFill>
                <a:effectLst/>
                <a:uLnTx/>
                <a:uFillTx/>
                <a:latin typeface="Arial"/>
                <a:ea typeface="+mn-ea"/>
                <a:cs typeface="Arial"/>
              </a:rPr>
              <a:t>2025/36</a:t>
            </a:r>
            <a:endParaRPr kumimoji="0" sz="546" b="0" i="0" u="none" strike="noStrike" kern="1200" cap="none" spc="0" normalizeH="0" baseline="0" noProof="0">
              <a:ln>
                <a:noFill/>
              </a:ln>
              <a:solidFill>
                <a:prstClr val="black"/>
              </a:solidFill>
              <a:effectLst/>
              <a:uLnTx/>
              <a:uFillTx/>
              <a:latin typeface="Arial"/>
              <a:ea typeface="+mn-ea"/>
              <a:cs typeface="Arial"/>
            </a:endParaRPr>
          </a:p>
        </p:txBody>
      </p:sp>
      <p:grpSp>
        <p:nvGrpSpPr>
          <p:cNvPr id="14" name="object 14">
            <a:extLst>
              <a:ext uri="{FF2B5EF4-FFF2-40B4-BE49-F238E27FC236}">
                <a16:creationId xmlns:a16="http://schemas.microsoft.com/office/drawing/2014/main" id="{7CB3F884-AEB3-5871-8CA7-6F3EB43EDCBE}"/>
              </a:ext>
            </a:extLst>
          </p:cNvPr>
          <p:cNvGrpSpPr/>
          <p:nvPr/>
        </p:nvGrpSpPr>
        <p:grpSpPr>
          <a:xfrm>
            <a:off x="2410013" y="2421737"/>
            <a:ext cx="7728013" cy="2545682"/>
            <a:chOff x="1946291" y="5325578"/>
            <a:chExt cx="16994474" cy="5598144"/>
          </a:xfrm>
        </p:grpSpPr>
        <p:sp>
          <p:nvSpPr>
            <p:cNvPr id="15" name="object 15">
              <a:extLst>
                <a:ext uri="{FF2B5EF4-FFF2-40B4-BE49-F238E27FC236}">
                  <a16:creationId xmlns:a16="http://schemas.microsoft.com/office/drawing/2014/main" id="{736A69C8-1CE5-30CD-2D17-6093D2D43176}"/>
                </a:ext>
              </a:extLst>
            </p:cNvPr>
            <p:cNvSpPr/>
            <p:nvPr/>
          </p:nvSpPr>
          <p:spPr>
            <a:xfrm>
              <a:off x="1946291" y="9453846"/>
              <a:ext cx="91440" cy="0"/>
            </a:xfrm>
            <a:custGeom>
              <a:avLst/>
              <a:gdLst/>
              <a:ahLst/>
              <a:cxnLst/>
              <a:rect l="l" t="t" r="r" b="b"/>
              <a:pathLst>
                <a:path w="91439">
                  <a:moveTo>
                    <a:pt x="90959" y="0"/>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 name="object 16">
              <a:extLst>
                <a:ext uri="{FF2B5EF4-FFF2-40B4-BE49-F238E27FC236}">
                  <a16:creationId xmlns:a16="http://schemas.microsoft.com/office/drawing/2014/main" id="{29E793B5-5D7C-FB29-41E1-0D74C326A0C2}"/>
                </a:ext>
              </a:extLst>
            </p:cNvPr>
            <p:cNvSpPr/>
            <p:nvPr/>
          </p:nvSpPr>
          <p:spPr>
            <a:xfrm>
              <a:off x="2045320" y="9453846"/>
              <a:ext cx="16895445" cy="0"/>
            </a:xfrm>
            <a:custGeom>
              <a:avLst/>
              <a:gdLst/>
              <a:ahLst/>
              <a:cxnLst/>
              <a:rect l="l" t="t" r="r" b="b"/>
              <a:pathLst>
                <a:path w="16895445">
                  <a:moveTo>
                    <a:pt x="16895267" y="0"/>
                  </a:moveTo>
                  <a:lnTo>
                    <a:pt x="0" y="0"/>
                  </a:lnTo>
                </a:path>
              </a:pathLst>
            </a:custGeom>
            <a:ln w="7362">
              <a:solidFill>
                <a:srgbClr val="D0D2D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 name="object 17">
              <a:extLst>
                <a:ext uri="{FF2B5EF4-FFF2-40B4-BE49-F238E27FC236}">
                  <a16:creationId xmlns:a16="http://schemas.microsoft.com/office/drawing/2014/main" id="{C4944063-5604-9A86-4D13-44D1F73AA169}"/>
                </a:ext>
              </a:extLst>
            </p:cNvPr>
            <p:cNvSpPr/>
            <p:nvPr/>
          </p:nvSpPr>
          <p:spPr>
            <a:xfrm>
              <a:off x="1946291" y="8809590"/>
              <a:ext cx="91440" cy="0"/>
            </a:xfrm>
            <a:custGeom>
              <a:avLst/>
              <a:gdLst/>
              <a:ahLst/>
              <a:cxnLst/>
              <a:rect l="l" t="t" r="r" b="b"/>
              <a:pathLst>
                <a:path w="91439">
                  <a:moveTo>
                    <a:pt x="90959" y="0"/>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object 18">
              <a:extLst>
                <a:ext uri="{FF2B5EF4-FFF2-40B4-BE49-F238E27FC236}">
                  <a16:creationId xmlns:a16="http://schemas.microsoft.com/office/drawing/2014/main" id="{F015E800-86CB-177A-712E-119787D3FC4F}"/>
                </a:ext>
              </a:extLst>
            </p:cNvPr>
            <p:cNvSpPr/>
            <p:nvPr/>
          </p:nvSpPr>
          <p:spPr>
            <a:xfrm>
              <a:off x="2045320" y="8809590"/>
              <a:ext cx="16895445" cy="0"/>
            </a:xfrm>
            <a:custGeom>
              <a:avLst/>
              <a:gdLst/>
              <a:ahLst/>
              <a:cxnLst/>
              <a:rect l="l" t="t" r="r" b="b"/>
              <a:pathLst>
                <a:path w="16895445">
                  <a:moveTo>
                    <a:pt x="16895267" y="0"/>
                  </a:moveTo>
                  <a:lnTo>
                    <a:pt x="0" y="0"/>
                  </a:lnTo>
                </a:path>
              </a:pathLst>
            </a:custGeom>
            <a:ln w="7362">
              <a:solidFill>
                <a:srgbClr val="D0D2D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 name="object 19">
              <a:extLst>
                <a:ext uri="{FF2B5EF4-FFF2-40B4-BE49-F238E27FC236}">
                  <a16:creationId xmlns:a16="http://schemas.microsoft.com/office/drawing/2014/main" id="{9A40BE17-0011-0B1C-B7F3-27BEF623CCD0}"/>
                </a:ext>
              </a:extLst>
            </p:cNvPr>
            <p:cNvSpPr/>
            <p:nvPr/>
          </p:nvSpPr>
          <p:spPr>
            <a:xfrm>
              <a:off x="1946291" y="8179793"/>
              <a:ext cx="91440" cy="0"/>
            </a:xfrm>
            <a:custGeom>
              <a:avLst/>
              <a:gdLst/>
              <a:ahLst/>
              <a:cxnLst/>
              <a:rect l="l" t="t" r="r" b="b"/>
              <a:pathLst>
                <a:path w="91439">
                  <a:moveTo>
                    <a:pt x="90959" y="0"/>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 name="object 20">
              <a:extLst>
                <a:ext uri="{FF2B5EF4-FFF2-40B4-BE49-F238E27FC236}">
                  <a16:creationId xmlns:a16="http://schemas.microsoft.com/office/drawing/2014/main" id="{AE25D650-C98C-039B-D0F1-66B143036F69}"/>
                </a:ext>
              </a:extLst>
            </p:cNvPr>
            <p:cNvSpPr/>
            <p:nvPr/>
          </p:nvSpPr>
          <p:spPr>
            <a:xfrm>
              <a:off x="2045320" y="8179793"/>
              <a:ext cx="16895445" cy="0"/>
            </a:xfrm>
            <a:custGeom>
              <a:avLst/>
              <a:gdLst/>
              <a:ahLst/>
              <a:cxnLst/>
              <a:rect l="l" t="t" r="r" b="b"/>
              <a:pathLst>
                <a:path w="16895445">
                  <a:moveTo>
                    <a:pt x="16895267" y="0"/>
                  </a:moveTo>
                  <a:lnTo>
                    <a:pt x="0" y="0"/>
                  </a:lnTo>
                </a:path>
              </a:pathLst>
            </a:custGeom>
            <a:ln w="7362">
              <a:solidFill>
                <a:srgbClr val="D0D2D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 name="object 21">
              <a:extLst>
                <a:ext uri="{FF2B5EF4-FFF2-40B4-BE49-F238E27FC236}">
                  <a16:creationId xmlns:a16="http://schemas.microsoft.com/office/drawing/2014/main" id="{72754828-6606-9C13-05EB-497E046AA1D7}"/>
                </a:ext>
              </a:extLst>
            </p:cNvPr>
            <p:cNvSpPr/>
            <p:nvPr/>
          </p:nvSpPr>
          <p:spPr>
            <a:xfrm>
              <a:off x="1946291" y="7538465"/>
              <a:ext cx="91440" cy="0"/>
            </a:xfrm>
            <a:custGeom>
              <a:avLst/>
              <a:gdLst/>
              <a:ahLst/>
              <a:cxnLst/>
              <a:rect l="l" t="t" r="r" b="b"/>
              <a:pathLst>
                <a:path w="91439">
                  <a:moveTo>
                    <a:pt x="90959" y="0"/>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 name="object 22">
              <a:extLst>
                <a:ext uri="{FF2B5EF4-FFF2-40B4-BE49-F238E27FC236}">
                  <a16:creationId xmlns:a16="http://schemas.microsoft.com/office/drawing/2014/main" id="{42C92A92-9AFB-0A32-1854-06763820E8ED}"/>
                </a:ext>
              </a:extLst>
            </p:cNvPr>
            <p:cNvSpPr/>
            <p:nvPr/>
          </p:nvSpPr>
          <p:spPr>
            <a:xfrm>
              <a:off x="2045320" y="7538465"/>
              <a:ext cx="16895445" cy="0"/>
            </a:xfrm>
            <a:custGeom>
              <a:avLst/>
              <a:gdLst/>
              <a:ahLst/>
              <a:cxnLst/>
              <a:rect l="l" t="t" r="r" b="b"/>
              <a:pathLst>
                <a:path w="16895445">
                  <a:moveTo>
                    <a:pt x="16895267" y="0"/>
                  </a:moveTo>
                  <a:lnTo>
                    <a:pt x="0" y="0"/>
                  </a:lnTo>
                </a:path>
              </a:pathLst>
            </a:custGeom>
            <a:ln w="7362">
              <a:solidFill>
                <a:srgbClr val="D0D2D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 name="object 23">
              <a:extLst>
                <a:ext uri="{FF2B5EF4-FFF2-40B4-BE49-F238E27FC236}">
                  <a16:creationId xmlns:a16="http://schemas.microsoft.com/office/drawing/2014/main" id="{02FB0869-8D23-D967-3091-4D27984790D9}"/>
                </a:ext>
              </a:extLst>
            </p:cNvPr>
            <p:cNvSpPr/>
            <p:nvPr/>
          </p:nvSpPr>
          <p:spPr>
            <a:xfrm>
              <a:off x="1946291" y="6913898"/>
              <a:ext cx="91440" cy="0"/>
            </a:xfrm>
            <a:custGeom>
              <a:avLst/>
              <a:gdLst/>
              <a:ahLst/>
              <a:cxnLst/>
              <a:rect l="l" t="t" r="r" b="b"/>
              <a:pathLst>
                <a:path w="91439">
                  <a:moveTo>
                    <a:pt x="90959" y="0"/>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 name="object 24">
              <a:extLst>
                <a:ext uri="{FF2B5EF4-FFF2-40B4-BE49-F238E27FC236}">
                  <a16:creationId xmlns:a16="http://schemas.microsoft.com/office/drawing/2014/main" id="{1CFBBD12-74D5-33B3-49B5-0751099FC1D1}"/>
                </a:ext>
              </a:extLst>
            </p:cNvPr>
            <p:cNvSpPr/>
            <p:nvPr/>
          </p:nvSpPr>
          <p:spPr>
            <a:xfrm>
              <a:off x="2045320" y="6913898"/>
              <a:ext cx="16895445" cy="0"/>
            </a:xfrm>
            <a:custGeom>
              <a:avLst/>
              <a:gdLst/>
              <a:ahLst/>
              <a:cxnLst/>
              <a:rect l="l" t="t" r="r" b="b"/>
              <a:pathLst>
                <a:path w="16895445">
                  <a:moveTo>
                    <a:pt x="16895267" y="0"/>
                  </a:moveTo>
                  <a:lnTo>
                    <a:pt x="0" y="0"/>
                  </a:lnTo>
                </a:path>
              </a:pathLst>
            </a:custGeom>
            <a:ln w="7362">
              <a:solidFill>
                <a:srgbClr val="D0D2D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 name="object 25">
              <a:extLst>
                <a:ext uri="{FF2B5EF4-FFF2-40B4-BE49-F238E27FC236}">
                  <a16:creationId xmlns:a16="http://schemas.microsoft.com/office/drawing/2014/main" id="{F804870A-15D5-19A2-B2FF-3DCB1A4FD998}"/>
                </a:ext>
              </a:extLst>
            </p:cNvPr>
            <p:cNvSpPr/>
            <p:nvPr/>
          </p:nvSpPr>
          <p:spPr>
            <a:xfrm>
              <a:off x="1946291" y="6266291"/>
              <a:ext cx="91440" cy="0"/>
            </a:xfrm>
            <a:custGeom>
              <a:avLst/>
              <a:gdLst/>
              <a:ahLst/>
              <a:cxnLst/>
              <a:rect l="l" t="t" r="r" b="b"/>
              <a:pathLst>
                <a:path w="91439">
                  <a:moveTo>
                    <a:pt x="90959" y="0"/>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 name="object 26">
              <a:extLst>
                <a:ext uri="{FF2B5EF4-FFF2-40B4-BE49-F238E27FC236}">
                  <a16:creationId xmlns:a16="http://schemas.microsoft.com/office/drawing/2014/main" id="{9D6C068F-38C3-24F9-84B4-74F8ACECCE20}"/>
                </a:ext>
              </a:extLst>
            </p:cNvPr>
            <p:cNvSpPr/>
            <p:nvPr/>
          </p:nvSpPr>
          <p:spPr>
            <a:xfrm>
              <a:off x="2045320" y="6266291"/>
              <a:ext cx="16895445" cy="0"/>
            </a:xfrm>
            <a:custGeom>
              <a:avLst/>
              <a:gdLst/>
              <a:ahLst/>
              <a:cxnLst/>
              <a:rect l="l" t="t" r="r" b="b"/>
              <a:pathLst>
                <a:path w="16895445">
                  <a:moveTo>
                    <a:pt x="16895267" y="0"/>
                  </a:moveTo>
                  <a:lnTo>
                    <a:pt x="0" y="0"/>
                  </a:lnTo>
                </a:path>
              </a:pathLst>
            </a:custGeom>
            <a:ln w="7362">
              <a:solidFill>
                <a:srgbClr val="D0D2D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 name="object 27">
              <a:extLst>
                <a:ext uri="{FF2B5EF4-FFF2-40B4-BE49-F238E27FC236}">
                  <a16:creationId xmlns:a16="http://schemas.microsoft.com/office/drawing/2014/main" id="{B6907246-3340-08E0-45B2-F62EDDB1928D}"/>
                </a:ext>
              </a:extLst>
            </p:cNvPr>
            <p:cNvSpPr/>
            <p:nvPr/>
          </p:nvSpPr>
          <p:spPr>
            <a:xfrm>
              <a:off x="1946291" y="5641595"/>
              <a:ext cx="91440" cy="0"/>
            </a:xfrm>
            <a:custGeom>
              <a:avLst/>
              <a:gdLst/>
              <a:ahLst/>
              <a:cxnLst/>
              <a:rect l="l" t="t" r="r" b="b"/>
              <a:pathLst>
                <a:path w="91439">
                  <a:moveTo>
                    <a:pt x="90959" y="0"/>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 name="object 28">
              <a:extLst>
                <a:ext uri="{FF2B5EF4-FFF2-40B4-BE49-F238E27FC236}">
                  <a16:creationId xmlns:a16="http://schemas.microsoft.com/office/drawing/2014/main" id="{7D7F94D8-A70F-BEFB-AFB9-1ECD006F7AFA}"/>
                </a:ext>
              </a:extLst>
            </p:cNvPr>
            <p:cNvSpPr/>
            <p:nvPr/>
          </p:nvSpPr>
          <p:spPr>
            <a:xfrm>
              <a:off x="2045320" y="5641595"/>
              <a:ext cx="16895445" cy="0"/>
            </a:xfrm>
            <a:custGeom>
              <a:avLst/>
              <a:gdLst/>
              <a:ahLst/>
              <a:cxnLst/>
              <a:rect l="l" t="t" r="r" b="b"/>
              <a:pathLst>
                <a:path w="16895445">
                  <a:moveTo>
                    <a:pt x="16895267" y="0"/>
                  </a:moveTo>
                  <a:lnTo>
                    <a:pt x="0" y="0"/>
                  </a:lnTo>
                </a:path>
              </a:pathLst>
            </a:custGeom>
            <a:ln w="7362">
              <a:solidFill>
                <a:srgbClr val="D0D2D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 name="object 29">
              <a:extLst>
                <a:ext uri="{FF2B5EF4-FFF2-40B4-BE49-F238E27FC236}">
                  <a16:creationId xmlns:a16="http://schemas.microsoft.com/office/drawing/2014/main" id="{56189AF3-F2E4-1FE0-31CE-30DADB87E0AD}"/>
                </a:ext>
              </a:extLst>
            </p:cNvPr>
            <p:cNvSpPr/>
            <p:nvPr/>
          </p:nvSpPr>
          <p:spPr>
            <a:xfrm>
              <a:off x="3872283" y="10088697"/>
              <a:ext cx="0" cy="835025"/>
            </a:xfrm>
            <a:custGeom>
              <a:avLst/>
              <a:gdLst/>
              <a:ahLst/>
              <a:cxnLst/>
              <a:rect l="l" t="t" r="r" b="b"/>
              <a:pathLst>
                <a:path h="835025">
                  <a:moveTo>
                    <a:pt x="0" y="835007"/>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 name="object 30">
              <a:extLst>
                <a:ext uri="{FF2B5EF4-FFF2-40B4-BE49-F238E27FC236}">
                  <a16:creationId xmlns:a16="http://schemas.microsoft.com/office/drawing/2014/main" id="{1C63D5DC-BA7B-AF15-D4B9-4A7B833C8735}"/>
                </a:ext>
              </a:extLst>
            </p:cNvPr>
            <p:cNvSpPr/>
            <p:nvPr/>
          </p:nvSpPr>
          <p:spPr>
            <a:xfrm>
              <a:off x="5781632" y="10088697"/>
              <a:ext cx="0" cy="835025"/>
            </a:xfrm>
            <a:custGeom>
              <a:avLst/>
              <a:gdLst/>
              <a:ahLst/>
              <a:cxnLst/>
              <a:rect l="l" t="t" r="r" b="b"/>
              <a:pathLst>
                <a:path h="835025">
                  <a:moveTo>
                    <a:pt x="0" y="835007"/>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 name="object 31">
              <a:extLst>
                <a:ext uri="{FF2B5EF4-FFF2-40B4-BE49-F238E27FC236}">
                  <a16:creationId xmlns:a16="http://schemas.microsoft.com/office/drawing/2014/main" id="{25118C42-02CE-B7A5-B6A9-7ABBB543F2F0}"/>
                </a:ext>
              </a:extLst>
            </p:cNvPr>
            <p:cNvSpPr/>
            <p:nvPr/>
          </p:nvSpPr>
          <p:spPr>
            <a:xfrm>
              <a:off x="7684754" y="10088697"/>
              <a:ext cx="0" cy="835025"/>
            </a:xfrm>
            <a:custGeom>
              <a:avLst/>
              <a:gdLst/>
              <a:ahLst/>
              <a:cxnLst/>
              <a:rect l="l" t="t" r="r" b="b"/>
              <a:pathLst>
                <a:path h="835025">
                  <a:moveTo>
                    <a:pt x="0" y="835007"/>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 name="object 32">
              <a:extLst>
                <a:ext uri="{FF2B5EF4-FFF2-40B4-BE49-F238E27FC236}">
                  <a16:creationId xmlns:a16="http://schemas.microsoft.com/office/drawing/2014/main" id="{57966E3C-57CA-2034-7EB7-5BD259F4BFE1}"/>
                </a:ext>
              </a:extLst>
            </p:cNvPr>
            <p:cNvSpPr/>
            <p:nvPr/>
          </p:nvSpPr>
          <p:spPr>
            <a:xfrm>
              <a:off x="9600591" y="10088697"/>
              <a:ext cx="0" cy="835025"/>
            </a:xfrm>
            <a:custGeom>
              <a:avLst/>
              <a:gdLst/>
              <a:ahLst/>
              <a:cxnLst/>
              <a:rect l="l" t="t" r="r" b="b"/>
              <a:pathLst>
                <a:path h="835025">
                  <a:moveTo>
                    <a:pt x="0" y="835007"/>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 name="object 33">
              <a:extLst>
                <a:ext uri="{FF2B5EF4-FFF2-40B4-BE49-F238E27FC236}">
                  <a16:creationId xmlns:a16="http://schemas.microsoft.com/office/drawing/2014/main" id="{7C302398-C621-AC1F-7302-066BC2DF10C9}"/>
                </a:ext>
              </a:extLst>
            </p:cNvPr>
            <p:cNvSpPr/>
            <p:nvPr/>
          </p:nvSpPr>
          <p:spPr>
            <a:xfrm>
              <a:off x="11527351" y="10088697"/>
              <a:ext cx="0" cy="835025"/>
            </a:xfrm>
            <a:custGeom>
              <a:avLst/>
              <a:gdLst/>
              <a:ahLst/>
              <a:cxnLst/>
              <a:rect l="l" t="t" r="r" b="b"/>
              <a:pathLst>
                <a:path h="835025">
                  <a:moveTo>
                    <a:pt x="0" y="835007"/>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 name="object 34">
              <a:extLst>
                <a:ext uri="{FF2B5EF4-FFF2-40B4-BE49-F238E27FC236}">
                  <a16:creationId xmlns:a16="http://schemas.microsoft.com/office/drawing/2014/main" id="{4EFA501B-6CE7-4919-E216-4491819BEF83}"/>
                </a:ext>
              </a:extLst>
            </p:cNvPr>
            <p:cNvSpPr/>
            <p:nvPr/>
          </p:nvSpPr>
          <p:spPr>
            <a:xfrm>
              <a:off x="13342604" y="10088697"/>
              <a:ext cx="0" cy="835025"/>
            </a:xfrm>
            <a:custGeom>
              <a:avLst/>
              <a:gdLst/>
              <a:ahLst/>
              <a:cxnLst/>
              <a:rect l="l" t="t" r="r" b="b"/>
              <a:pathLst>
                <a:path h="835025">
                  <a:moveTo>
                    <a:pt x="0" y="835007"/>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 name="object 35">
              <a:extLst>
                <a:ext uri="{FF2B5EF4-FFF2-40B4-BE49-F238E27FC236}">
                  <a16:creationId xmlns:a16="http://schemas.microsoft.com/office/drawing/2014/main" id="{E013B159-31C3-BB6F-50F2-20FC703738C7}"/>
                </a:ext>
              </a:extLst>
            </p:cNvPr>
            <p:cNvSpPr/>
            <p:nvPr/>
          </p:nvSpPr>
          <p:spPr>
            <a:xfrm>
              <a:off x="15150363" y="10088697"/>
              <a:ext cx="0" cy="835025"/>
            </a:xfrm>
            <a:custGeom>
              <a:avLst/>
              <a:gdLst/>
              <a:ahLst/>
              <a:cxnLst/>
              <a:rect l="l" t="t" r="r" b="b"/>
              <a:pathLst>
                <a:path h="835025">
                  <a:moveTo>
                    <a:pt x="0" y="835007"/>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 name="object 36">
              <a:extLst>
                <a:ext uri="{FF2B5EF4-FFF2-40B4-BE49-F238E27FC236}">
                  <a16:creationId xmlns:a16="http://schemas.microsoft.com/office/drawing/2014/main" id="{A6D9399F-316C-1300-D98C-F8264F1466CB}"/>
                </a:ext>
              </a:extLst>
            </p:cNvPr>
            <p:cNvSpPr/>
            <p:nvPr/>
          </p:nvSpPr>
          <p:spPr>
            <a:xfrm>
              <a:off x="17061948" y="10088697"/>
              <a:ext cx="0" cy="835025"/>
            </a:xfrm>
            <a:custGeom>
              <a:avLst/>
              <a:gdLst/>
              <a:ahLst/>
              <a:cxnLst/>
              <a:rect l="l" t="t" r="r" b="b"/>
              <a:pathLst>
                <a:path h="835025">
                  <a:moveTo>
                    <a:pt x="0" y="835007"/>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 name="object 37">
              <a:extLst>
                <a:ext uri="{FF2B5EF4-FFF2-40B4-BE49-F238E27FC236}">
                  <a16:creationId xmlns:a16="http://schemas.microsoft.com/office/drawing/2014/main" id="{783AD123-DFCB-B111-7288-9660C5EFD5AF}"/>
                </a:ext>
              </a:extLst>
            </p:cNvPr>
            <p:cNvSpPr/>
            <p:nvPr/>
          </p:nvSpPr>
          <p:spPr>
            <a:xfrm>
              <a:off x="17125745" y="8216856"/>
              <a:ext cx="654050" cy="1856739"/>
            </a:xfrm>
            <a:custGeom>
              <a:avLst/>
              <a:gdLst/>
              <a:ahLst/>
              <a:cxnLst/>
              <a:rect l="l" t="t" r="r" b="b"/>
              <a:pathLst>
                <a:path w="654050" h="1856740">
                  <a:moveTo>
                    <a:pt x="653874" y="205703"/>
                  </a:moveTo>
                  <a:lnTo>
                    <a:pt x="628439" y="838452"/>
                  </a:lnTo>
                  <a:lnTo>
                    <a:pt x="587387" y="540464"/>
                  </a:lnTo>
                  <a:lnTo>
                    <a:pt x="542810" y="662483"/>
                  </a:lnTo>
                  <a:lnTo>
                    <a:pt x="534962" y="372297"/>
                  </a:lnTo>
                  <a:lnTo>
                    <a:pt x="530716" y="221307"/>
                  </a:lnTo>
                  <a:lnTo>
                    <a:pt x="528605" y="160674"/>
                  </a:lnTo>
                  <a:lnTo>
                    <a:pt x="517729" y="82913"/>
                  </a:lnTo>
                  <a:lnTo>
                    <a:pt x="505068" y="37890"/>
                  </a:lnTo>
                  <a:lnTo>
                    <a:pt x="479455" y="0"/>
                  </a:lnTo>
                  <a:lnTo>
                    <a:pt x="468156" y="5568"/>
                  </a:lnTo>
                  <a:lnTo>
                    <a:pt x="456243" y="19529"/>
                  </a:lnTo>
                  <a:lnTo>
                    <a:pt x="446941" y="41324"/>
                  </a:lnTo>
                  <a:lnTo>
                    <a:pt x="443477" y="70393"/>
                  </a:lnTo>
                  <a:lnTo>
                    <a:pt x="440627" y="183609"/>
                  </a:lnTo>
                  <a:lnTo>
                    <a:pt x="433598" y="385403"/>
                  </a:lnTo>
                  <a:lnTo>
                    <a:pt x="426425" y="578105"/>
                  </a:lnTo>
                  <a:lnTo>
                    <a:pt x="423138" y="664043"/>
                  </a:lnTo>
                  <a:lnTo>
                    <a:pt x="381683" y="1363289"/>
                  </a:lnTo>
                  <a:lnTo>
                    <a:pt x="374645" y="1514247"/>
                  </a:lnTo>
                  <a:lnTo>
                    <a:pt x="343359" y="1509554"/>
                  </a:lnTo>
                  <a:lnTo>
                    <a:pt x="303465" y="1780960"/>
                  </a:lnTo>
                  <a:lnTo>
                    <a:pt x="293714" y="1738292"/>
                  </a:lnTo>
                  <a:lnTo>
                    <a:pt x="287042" y="1718285"/>
                  </a:lnTo>
                  <a:lnTo>
                    <a:pt x="280371" y="1715733"/>
                  </a:lnTo>
                  <a:lnTo>
                    <a:pt x="270620" y="1725428"/>
                  </a:lnTo>
                  <a:lnTo>
                    <a:pt x="259112" y="1738087"/>
                  </a:lnTo>
                  <a:lnTo>
                    <a:pt x="248795" y="1748368"/>
                  </a:lnTo>
                  <a:lnTo>
                    <a:pt x="214863" y="1773408"/>
                  </a:lnTo>
                  <a:lnTo>
                    <a:pt x="175194" y="1794251"/>
                  </a:lnTo>
                  <a:lnTo>
                    <a:pt x="172072" y="1856154"/>
                  </a:lnTo>
                  <a:lnTo>
                    <a:pt x="0" y="1856154"/>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 name="object 38">
              <a:extLst>
                <a:ext uri="{FF2B5EF4-FFF2-40B4-BE49-F238E27FC236}">
                  <a16:creationId xmlns:a16="http://schemas.microsoft.com/office/drawing/2014/main" id="{5C528717-150B-E665-088A-8A22F5557D79}"/>
                </a:ext>
              </a:extLst>
            </p:cNvPr>
            <p:cNvSpPr/>
            <p:nvPr/>
          </p:nvSpPr>
          <p:spPr>
            <a:xfrm>
              <a:off x="16585043" y="9929612"/>
              <a:ext cx="469265" cy="146685"/>
            </a:xfrm>
            <a:custGeom>
              <a:avLst/>
              <a:gdLst/>
              <a:ahLst/>
              <a:cxnLst/>
              <a:rect l="l" t="t" r="r" b="b"/>
              <a:pathLst>
                <a:path w="469265" h="146684">
                  <a:moveTo>
                    <a:pt x="469246" y="144704"/>
                  </a:moveTo>
                  <a:lnTo>
                    <a:pt x="410131" y="144704"/>
                  </a:lnTo>
                  <a:lnTo>
                    <a:pt x="378021" y="0"/>
                  </a:lnTo>
                  <a:lnTo>
                    <a:pt x="351026" y="146382"/>
                  </a:lnTo>
                  <a:lnTo>
                    <a:pt x="0" y="146382"/>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 name="object 39">
              <a:extLst>
                <a:ext uri="{FF2B5EF4-FFF2-40B4-BE49-F238E27FC236}">
                  <a16:creationId xmlns:a16="http://schemas.microsoft.com/office/drawing/2014/main" id="{FC1DB4F8-4CE1-29AD-6F91-282DBB9D251D}"/>
                </a:ext>
              </a:extLst>
            </p:cNvPr>
            <p:cNvSpPr/>
            <p:nvPr/>
          </p:nvSpPr>
          <p:spPr>
            <a:xfrm>
              <a:off x="16215778" y="9941828"/>
              <a:ext cx="300990" cy="135890"/>
            </a:xfrm>
            <a:custGeom>
              <a:avLst/>
              <a:gdLst/>
              <a:ahLst/>
              <a:cxnLst/>
              <a:rect l="l" t="t" r="r" b="b"/>
              <a:pathLst>
                <a:path w="300990" h="135890">
                  <a:moveTo>
                    <a:pt x="300668" y="135680"/>
                  </a:moveTo>
                  <a:lnTo>
                    <a:pt x="185364" y="135680"/>
                  </a:lnTo>
                  <a:lnTo>
                    <a:pt x="149602" y="1646"/>
                  </a:lnTo>
                  <a:lnTo>
                    <a:pt x="110925" y="135140"/>
                  </a:lnTo>
                  <a:lnTo>
                    <a:pt x="81731" y="1646"/>
                  </a:lnTo>
                  <a:lnTo>
                    <a:pt x="63922" y="69"/>
                  </a:lnTo>
                  <a:lnTo>
                    <a:pt x="54185" y="0"/>
                  </a:lnTo>
                  <a:lnTo>
                    <a:pt x="49099" y="1848"/>
                  </a:lnTo>
                  <a:lnTo>
                    <a:pt x="45244" y="6024"/>
                  </a:lnTo>
                  <a:lnTo>
                    <a:pt x="35714" y="19205"/>
                  </a:lnTo>
                  <a:lnTo>
                    <a:pt x="20435" y="41090"/>
                  </a:lnTo>
                  <a:lnTo>
                    <a:pt x="6249" y="61608"/>
                  </a:lnTo>
                  <a:lnTo>
                    <a:pt x="0" y="70685"/>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 name="object 40">
              <a:extLst>
                <a:ext uri="{FF2B5EF4-FFF2-40B4-BE49-F238E27FC236}">
                  <a16:creationId xmlns:a16="http://schemas.microsoft.com/office/drawing/2014/main" id="{ADABA45A-D126-DF55-B455-105116DD0942}"/>
                </a:ext>
              </a:extLst>
            </p:cNvPr>
            <p:cNvSpPr/>
            <p:nvPr/>
          </p:nvSpPr>
          <p:spPr>
            <a:xfrm>
              <a:off x="15234472" y="8304603"/>
              <a:ext cx="922655" cy="1772920"/>
            </a:xfrm>
            <a:custGeom>
              <a:avLst/>
              <a:gdLst/>
              <a:ahLst/>
              <a:cxnLst/>
              <a:rect l="l" t="t" r="r" b="b"/>
              <a:pathLst>
                <a:path w="922655" h="1772920">
                  <a:moveTo>
                    <a:pt x="922197" y="1695792"/>
                  </a:moveTo>
                  <a:lnTo>
                    <a:pt x="880594" y="1695792"/>
                  </a:lnTo>
                  <a:lnTo>
                    <a:pt x="846296" y="1598001"/>
                  </a:lnTo>
                  <a:lnTo>
                    <a:pt x="817111" y="1770230"/>
                  </a:lnTo>
                  <a:lnTo>
                    <a:pt x="699618" y="1305362"/>
                  </a:lnTo>
                  <a:lnTo>
                    <a:pt x="667470" y="1132966"/>
                  </a:lnTo>
                  <a:lnTo>
                    <a:pt x="650238" y="1037023"/>
                  </a:lnTo>
                  <a:lnTo>
                    <a:pt x="642055" y="982904"/>
                  </a:lnTo>
                  <a:lnTo>
                    <a:pt x="637058" y="935979"/>
                  </a:lnTo>
                  <a:lnTo>
                    <a:pt x="633201" y="893489"/>
                  </a:lnTo>
                  <a:lnTo>
                    <a:pt x="628049" y="834034"/>
                  </a:lnTo>
                  <a:lnTo>
                    <a:pt x="622054" y="765558"/>
                  </a:lnTo>
                  <a:lnTo>
                    <a:pt x="615668" y="696006"/>
                  </a:lnTo>
                  <a:lnTo>
                    <a:pt x="609345" y="633321"/>
                  </a:lnTo>
                  <a:lnTo>
                    <a:pt x="603537" y="585449"/>
                  </a:lnTo>
                  <a:lnTo>
                    <a:pt x="586175" y="527421"/>
                  </a:lnTo>
                  <a:lnTo>
                    <a:pt x="568133" y="478363"/>
                  </a:lnTo>
                  <a:lnTo>
                    <a:pt x="551764" y="429470"/>
                  </a:lnTo>
                  <a:lnTo>
                    <a:pt x="544263" y="397055"/>
                  </a:lnTo>
                  <a:lnTo>
                    <a:pt x="542218" y="355287"/>
                  </a:lnTo>
                  <a:lnTo>
                    <a:pt x="538582" y="287755"/>
                  </a:lnTo>
                  <a:lnTo>
                    <a:pt x="535111" y="224908"/>
                  </a:lnTo>
                  <a:lnTo>
                    <a:pt x="533563" y="197192"/>
                  </a:lnTo>
                  <a:lnTo>
                    <a:pt x="488947" y="945785"/>
                  </a:lnTo>
                  <a:lnTo>
                    <a:pt x="466644" y="0"/>
                  </a:lnTo>
                  <a:lnTo>
                    <a:pt x="380986" y="588889"/>
                  </a:lnTo>
                  <a:lnTo>
                    <a:pt x="354216" y="41052"/>
                  </a:lnTo>
                  <a:lnTo>
                    <a:pt x="327801" y="241056"/>
                  </a:lnTo>
                  <a:lnTo>
                    <a:pt x="313511" y="352894"/>
                  </a:lnTo>
                  <a:lnTo>
                    <a:pt x="306413" y="417219"/>
                  </a:lnTo>
                  <a:lnTo>
                    <a:pt x="301571" y="474684"/>
                  </a:lnTo>
                  <a:lnTo>
                    <a:pt x="298509" y="514716"/>
                  </a:lnTo>
                  <a:lnTo>
                    <a:pt x="294810" y="564912"/>
                  </a:lnTo>
                  <a:lnTo>
                    <a:pt x="290672" y="621800"/>
                  </a:lnTo>
                  <a:lnTo>
                    <a:pt x="286293" y="681908"/>
                  </a:lnTo>
                  <a:lnTo>
                    <a:pt x="281872" y="741766"/>
                  </a:lnTo>
                  <a:lnTo>
                    <a:pt x="277608" y="797901"/>
                  </a:lnTo>
                  <a:lnTo>
                    <a:pt x="273699" y="846843"/>
                  </a:lnTo>
                  <a:lnTo>
                    <a:pt x="270345" y="885120"/>
                  </a:lnTo>
                  <a:lnTo>
                    <a:pt x="266075" y="924965"/>
                  </a:lnTo>
                  <a:lnTo>
                    <a:pt x="259778" y="977858"/>
                  </a:lnTo>
                  <a:lnTo>
                    <a:pt x="252184" y="1039200"/>
                  </a:lnTo>
                  <a:lnTo>
                    <a:pt x="244026" y="1104390"/>
                  </a:lnTo>
                  <a:lnTo>
                    <a:pt x="236034" y="1168827"/>
                  </a:lnTo>
                  <a:lnTo>
                    <a:pt x="228941" y="1227910"/>
                  </a:lnTo>
                  <a:lnTo>
                    <a:pt x="223479" y="1277040"/>
                  </a:lnTo>
                  <a:lnTo>
                    <a:pt x="220379" y="1311615"/>
                  </a:lnTo>
                  <a:lnTo>
                    <a:pt x="216129" y="1359137"/>
                  </a:lnTo>
                  <a:lnTo>
                    <a:pt x="211124" y="1396707"/>
                  </a:lnTo>
                  <a:lnTo>
                    <a:pt x="206956" y="1421396"/>
                  </a:lnTo>
                  <a:lnTo>
                    <a:pt x="205212" y="1430277"/>
                  </a:lnTo>
                  <a:lnTo>
                    <a:pt x="174880" y="1431170"/>
                  </a:lnTo>
                  <a:lnTo>
                    <a:pt x="116884" y="1628363"/>
                  </a:lnTo>
                  <a:lnTo>
                    <a:pt x="65132" y="1633713"/>
                  </a:lnTo>
                  <a:lnTo>
                    <a:pt x="33012" y="1772900"/>
                  </a:lnTo>
                  <a:lnTo>
                    <a:pt x="0" y="1706875"/>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 name="object 41">
              <a:extLst>
                <a:ext uri="{FF2B5EF4-FFF2-40B4-BE49-F238E27FC236}">
                  <a16:creationId xmlns:a16="http://schemas.microsoft.com/office/drawing/2014/main" id="{C5F2A22B-625D-E495-87D1-0CD2D1F51BBF}"/>
                </a:ext>
              </a:extLst>
            </p:cNvPr>
            <p:cNvSpPr/>
            <p:nvPr/>
          </p:nvSpPr>
          <p:spPr>
            <a:xfrm>
              <a:off x="14732129" y="9871402"/>
              <a:ext cx="435609" cy="206375"/>
            </a:xfrm>
            <a:custGeom>
              <a:avLst/>
              <a:gdLst/>
              <a:ahLst/>
              <a:cxnLst/>
              <a:rect l="l" t="t" r="r" b="b"/>
              <a:pathLst>
                <a:path w="435609" h="206375">
                  <a:moveTo>
                    <a:pt x="435418" y="206106"/>
                  </a:moveTo>
                  <a:lnTo>
                    <a:pt x="395269" y="126691"/>
                  </a:lnTo>
                  <a:lnTo>
                    <a:pt x="367606" y="206106"/>
                  </a:lnTo>
                  <a:lnTo>
                    <a:pt x="280171" y="206106"/>
                  </a:lnTo>
                  <a:lnTo>
                    <a:pt x="263218" y="15166"/>
                  </a:lnTo>
                  <a:lnTo>
                    <a:pt x="221282" y="206106"/>
                  </a:lnTo>
                  <a:lnTo>
                    <a:pt x="175773" y="18729"/>
                  </a:lnTo>
                  <a:lnTo>
                    <a:pt x="155257" y="206106"/>
                  </a:lnTo>
                  <a:lnTo>
                    <a:pt x="34799" y="206106"/>
                  </a:lnTo>
                  <a:lnTo>
                    <a:pt x="0" y="0"/>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 name="object 42">
              <a:extLst>
                <a:ext uri="{FF2B5EF4-FFF2-40B4-BE49-F238E27FC236}">
                  <a16:creationId xmlns:a16="http://schemas.microsoft.com/office/drawing/2014/main" id="{4E1B616E-03FC-765B-B382-BA3B3A0B2C95}"/>
                </a:ext>
              </a:extLst>
            </p:cNvPr>
            <p:cNvSpPr/>
            <p:nvPr/>
          </p:nvSpPr>
          <p:spPr>
            <a:xfrm>
              <a:off x="13366753" y="7690274"/>
              <a:ext cx="1296035" cy="2387600"/>
            </a:xfrm>
            <a:custGeom>
              <a:avLst/>
              <a:gdLst/>
              <a:ahLst/>
              <a:cxnLst/>
              <a:rect l="l" t="t" r="r" b="b"/>
              <a:pathLst>
                <a:path w="1296034" h="2387600">
                  <a:moveTo>
                    <a:pt x="1295781" y="2387234"/>
                  </a:moveTo>
                  <a:lnTo>
                    <a:pt x="1281508" y="2320315"/>
                  </a:lnTo>
                  <a:lnTo>
                    <a:pt x="1278927" y="2304811"/>
                  </a:lnTo>
                  <a:lnTo>
                    <a:pt x="1274255" y="2296668"/>
                  </a:lnTo>
                  <a:lnTo>
                    <a:pt x="1264064" y="2293210"/>
                  </a:lnTo>
                  <a:lnTo>
                    <a:pt x="1244922" y="2291759"/>
                  </a:lnTo>
                  <a:lnTo>
                    <a:pt x="1230239" y="2291779"/>
                  </a:lnTo>
                  <a:lnTo>
                    <a:pt x="1214437" y="2292712"/>
                  </a:lnTo>
                  <a:lnTo>
                    <a:pt x="1201808" y="2293817"/>
                  </a:lnTo>
                  <a:lnTo>
                    <a:pt x="1196645" y="2294350"/>
                  </a:lnTo>
                  <a:lnTo>
                    <a:pt x="1159264" y="2385673"/>
                  </a:lnTo>
                  <a:lnTo>
                    <a:pt x="1121795" y="2155251"/>
                  </a:lnTo>
                  <a:lnTo>
                    <a:pt x="1098598" y="2387234"/>
                  </a:lnTo>
                  <a:lnTo>
                    <a:pt x="1045059" y="2387234"/>
                  </a:lnTo>
                  <a:lnTo>
                    <a:pt x="1012047" y="2100819"/>
                  </a:lnTo>
                  <a:lnTo>
                    <a:pt x="946914" y="2387234"/>
                  </a:lnTo>
                  <a:lnTo>
                    <a:pt x="872859" y="2269456"/>
                  </a:lnTo>
                  <a:lnTo>
                    <a:pt x="847984" y="2042519"/>
                  </a:lnTo>
                  <a:lnTo>
                    <a:pt x="805047" y="2202537"/>
                  </a:lnTo>
                  <a:lnTo>
                    <a:pt x="834487" y="2043717"/>
                  </a:lnTo>
                  <a:lnTo>
                    <a:pt x="805047" y="2202537"/>
                  </a:lnTo>
                  <a:lnTo>
                    <a:pt x="782734" y="1610085"/>
                  </a:lnTo>
                  <a:lnTo>
                    <a:pt x="776353" y="1510085"/>
                  </a:lnTo>
                  <a:lnTo>
                    <a:pt x="771810" y="1455840"/>
                  </a:lnTo>
                  <a:lnTo>
                    <a:pt x="759538" y="1409328"/>
                  </a:lnTo>
                  <a:lnTo>
                    <a:pt x="729650" y="1348767"/>
                  </a:lnTo>
                  <a:lnTo>
                    <a:pt x="713366" y="1326644"/>
                  </a:lnTo>
                  <a:lnTo>
                    <a:pt x="702436" y="1329030"/>
                  </a:lnTo>
                  <a:lnTo>
                    <a:pt x="688355" y="1434603"/>
                  </a:lnTo>
                  <a:lnTo>
                    <a:pt x="666077" y="1641646"/>
                  </a:lnTo>
                  <a:lnTo>
                    <a:pt x="645472" y="1843838"/>
                  </a:lnTo>
                  <a:lnTo>
                    <a:pt x="636410" y="1934862"/>
                  </a:lnTo>
                  <a:lnTo>
                    <a:pt x="590008" y="1704666"/>
                  </a:lnTo>
                  <a:lnTo>
                    <a:pt x="574551" y="1875347"/>
                  </a:lnTo>
                  <a:lnTo>
                    <a:pt x="566705" y="1962633"/>
                  </a:lnTo>
                  <a:lnTo>
                    <a:pt x="564043" y="1993876"/>
                  </a:lnTo>
                  <a:lnTo>
                    <a:pt x="564141" y="1996431"/>
                  </a:lnTo>
                  <a:lnTo>
                    <a:pt x="557962" y="1953935"/>
                  </a:lnTo>
                  <a:lnTo>
                    <a:pt x="543505" y="1863928"/>
                  </a:lnTo>
                  <a:lnTo>
                    <a:pt x="528882" y="1774592"/>
                  </a:lnTo>
                  <a:lnTo>
                    <a:pt x="522205" y="1734106"/>
                  </a:lnTo>
                  <a:lnTo>
                    <a:pt x="480260" y="1790315"/>
                  </a:lnTo>
                  <a:lnTo>
                    <a:pt x="423501" y="757427"/>
                  </a:lnTo>
                  <a:lnTo>
                    <a:pt x="386395" y="1157899"/>
                  </a:lnTo>
                  <a:lnTo>
                    <a:pt x="348012" y="559115"/>
                  </a:lnTo>
                  <a:lnTo>
                    <a:pt x="296829" y="681949"/>
                  </a:lnTo>
                  <a:lnTo>
                    <a:pt x="278924" y="863622"/>
                  </a:lnTo>
                  <a:lnTo>
                    <a:pt x="197035" y="0"/>
                  </a:lnTo>
                  <a:lnTo>
                    <a:pt x="139462" y="1857754"/>
                  </a:lnTo>
                  <a:lnTo>
                    <a:pt x="110886" y="1859472"/>
                  </a:lnTo>
                  <a:lnTo>
                    <a:pt x="85769" y="1857996"/>
                  </a:lnTo>
                  <a:lnTo>
                    <a:pt x="71185" y="1859961"/>
                  </a:lnTo>
                  <a:lnTo>
                    <a:pt x="38947" y="1906074"/>
                  </a:lnTo>
                  <a:lnTo>
                    <a:pt x="18623" y="1963722"/>
                  </a:lnTo>
                  <a:lnTo>
                    <a:pt x="8634" y="2044314"/>
                  </a:lnTo>
                  <a:lnTo>
                    <a:pt x="4477" y="2113645"/>
                  </a:lnTo>
                  <a:lnTo>
                    <a:pt x="1279" y="2175300"/>
                  </a:lnTo>
                  <a:lnTo>
                    <a:pt x="0" y="2201929"/>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 name="object 43">
              <a:extLst>
                <a:ext uri="{FF2B5EF4-FFF2-40B4-BE49-F238E27FC236}">
                  <a16:creationId xmlns:a16="http://schemas.microsoft.com/office/drawing/2014/main" id="{2387CE88-BF69-033C-60C6-B718FD8361D1}"/>
                </a:ext>
              </a:extLst>
            </p:cNvPr>
            <p:cNvSpPr/>
            <p:nvPr/>
          </p:nvSpPr>
          <p:spPr>
            <a:xfrm>
              <a:off x="11483755" y="7262957"/>
              <a:ext cx="1808480" cy="2814320"/>
            </a:xfrm>
            <a:custGeom>
              <a:avLst/>
              <a:gdLst/>
              <a:ahLst/>
              <a:cxnLst/>
              <a:rect l="l" t="t" r="r" b="b"/>
              <a:pathLst>
                <a:path w="1808480" h="2814320">
                  <a:moveTo>
                    <a:pt x="1808446" y="2622102"/>
                  </a:moveTo>
                  <a:lnTo>
                    <a:pt x="1773794" y="2811717"/>
                  </a:lnTo>
                  <a:lnTo>
                    <a:pt x="1725752" y="2645730"/>
                  </a:lnTo>
                  <a:lnTo>
                    <a:pt x="1702909" y="2813621"/>
                  </a:lnTo>
                  <a:lnTo>
                    <a:pt x="1619420" y="2813621"/>
                  </a:lnTo>
                  <a:lnTo>
                    <a:pt x="1592641" y="2573275"/>
                  </a:lnTo>
                  <a:lnTo>
                    <a:pt x="1555633" y="2813621"/>
                  </a:lnTo>
                  <a:lnTo>
                    <a:pt x="1524917" y="2813621"/>
                  </a:lnTo>
                  <a:lnTo>
                    <a:pt x="1480812" y="2678017"/>
                  </a:lnTo>
                  <a:lnTo>
                    <a:pt x="1461120" y="2812993"/>
                  </a:lnTo>
                  <a:lnTo>
                    <a:pt x="1270524" y="2812993"/>
                  </a:lnTo>
                  <a:lnTo>
                    <a:pt x="1248466" y="2694950"/>
                  </a:lnTo>
                  <a:lnTo>
                    <a:pt x="1245907" y="2680621"/>
                  </a:lnTo>
                  <a:lnTo>
                    <a:pt x="1242758" y="2673343"/>
                  </a:lnTo>
                  <a:lnTo>
                    <a:pt x="1236950" y="2670863"/>
                  </a:lnTo>
                  <a:lnTo>
                    <a:pt x="1226418" y="2670929"/>
                  </a:lnTo>
                  <a:lnTo>
                    <a:pt x="1217303" y="2670754"/>
                  </a:lnTo>
                  <a:lnTo>
                    <a:pt x="1187820" y="2694950"/>
                  </a:lnTo>
                  <a:lnTo>
                    <a:pt x="1176883" y="2757810"/>
                  </a:lnTo>
                  <a:lnTo>
                    <a:pt x="1171485" y="2796600"/>
                  </a:lnTo>
                  <a:lnTo>
                    <a:pt x="1169179" y="2813926"/>
                  </a:lnTo>
                  <a:lnTo>
                    <a:pt x="1129540" y="2652033"/>
                  </a:lnTo>
                  <a:lnTo>
                    <a:pt x="1099609" y="2706377"/>
                  </a:lnTo>
                  <a:lnTo>
                    <a:pt x="1060236" y="2351168"/>
                  </a:lnTo>
                  <a:lnTo>
                    <a:pt x="1019281" y="2813317"/>
                  </a:lnTo>
                  <a:lnTo>
                    <a:pt x="1004311" y="2678812"/>
                  </a:lnTo>
                  <a:lnTo>
                    <a:pt x="957850" y="2814043"/>
                  </a:lnTo>
                  <a:lnTo>
                    <a:pt x="830256" y="2814043"/>
                  </a:lnTo>
                  <a:lnTo>
                    <a:pt x="821578" y="2626098"/>
                  </a:lnTo>
                  <a:lnTo>
                    <a:pt x="710770" y="2708948"/>
                  </a:lnTo>
                  <a:lnTo>
                    <a:pt x="654845" y="2452111"/>
                  </a:lnTo>
                  <a:lnTo>
                    <a:pt x="594779" y="2810441"/>
                  </a:lnTo>
                  <a:lnTo>
                    <a:pt x="488103" y="1946720"/>
                  </a:lnTo>
                  <a:lnTo>
                    <a:pt x="415609" y="1988146"/>
                  </a:lnTo>
                  <a:lnTo>
                    <a:pt x="398763" y="1735434"/>
                  </a:lnTo>
                  <a:lnTo>
                    <a:pt x="389589" y="1597581"/>
                  </a:lnTo>
                  <a:lnTo>
                    <a:pt x="384881" y="1526331"/>
                  </a:lnTo>
                  <a:lnTo>
                    <a:pt x="381437" y="1473430"/>
                  </a:lnTo>
                  <a:lnTo>
                    <a:pt x="367437" y="1402081"/>
                  </a:lnTo>
                  <a:lnTo>
                    <a:pt x="341691" y="1322870"/>
                  </a:lnTo>
                  <a:lnTo>
                    <a:pt x="316916" y="1258611"/>
                  </a:lnTo>
                  <a:lnTo>
                    <a:pt x="305831" y="1232122"/>
                  </a:lnTo>
                  <a:lnTo>
                    <a:pt x="243016" y="0"/>
                  </a:lnTo>
                  <a:lnTo>
                    <a:pt x="223000" y="1064977"/>
                  </a:lnTo>
                  <a:lnTo>
                    <a:pt x="178242" y="1086242"/>
                  </a:lnTo>
                  <a:lnTo>
                    <a:pt x="154389" y="1090352"/>
                  </a:lnTo>
                  <a:lnTo>
                    <a:pt x="143400" y="1074629"/>
                  </a:lnTo>
                  <a:lnTo>
                    <a:pt x="137234" y="1036391"/>
                  </a:lnTo>
                  <a:lnTo>
                    <a:pt x="129148" y="920490"/>
                  </a:lnTo>
                  <a:lnTo>
                    <a:pt x="119723" y="731011"/>
                  </a:lnTo>
                  <a:lnTo>
                    <a:pt x="111908" y="554129"/>
                  </a:lnTo>
                  <a:lnTo>
                    <a:pt x="108648" y="476019"/>
                  </a:lnTo>
                  <a:lnTo>
                    <a:pt x="42888" y="2324379"/>
                  </a:lnTo>
                  <a:lnTo>
                    <a:pt x="0" y="1269405"/>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 name="object 44">
              <a:extLst>
                <a:ext uri="{FF2B5EF4-FFF2-40B4-BE49-F238E27FC236}">
                  <a16:creationId xmlns:a16="http://schemas.microsoft.com/office/drawing/2014/main" id="{2E3DA66A-B1AD-0EA9-E3C3-F1596521B2F3}"/>
                </a:ext>
              </a:extLst>
            </p:cNvPr>
            <p:cNvSpPr/>
            <p:nvPr/>
          </p:nvSpPr>
          <p:spPr>
            <a:xfrm>
              <a:off x="11090682" y="7959650"/>
              <a:ext cx="327660" cy="2117090"/>
            </a:xfrm>
            <a:custGeom>
              <a:avLst/>
              <a:gdLst/>
              <a:ahLst/>
              <a:cxnLst/>
              <a:rect l="l" t="t" r="r" b="b"/>
              <a:pathLst>
                <a:path w="327659" h="2117090">
                  <a:moveTo>
                    <a:pt x="327418" y="0"/>
                  </a:moveTo>
                  <a:lnTo>
                    <a:pt x="284274" y="1498805"/>
                  </a:lnTo>
                  <a:lnTo>
                    <a:pt x="258840" y="784246"/>
                  </a:lnTo>
                  <a:lnTo>
                    <a:pt x="221233" y="1492169"/>
                  </a:lnTo>
                  <a:lnTo>
                    <a:pt x="168136" y="1400356"/>
                  </a:lnTo>
                  <a:lnTo>
                    <a:pt x="147119" y="1152589"/>
                  </a:lnTo>
                  <a:lnTo>
                    <a:pt x="106194" y="2116869"/>
                  </a:lnTo>
                  <a:lnTo>
                    <a:pt x="0" y="841761"/>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 name="object 45">
              <a:extLst>
                <a:ext uri="{FF2B5EF4-FFF2-40B4-BE49-F238E27FC236}">
                  <a16:creationId xmlns:a16="http://schemas.microsoft.com/office/drawing/2014/main" id="{6DB404E4-CD79-CFAF-3A66-598527A10A52}"/>
                </a:ext>
              </a:extLst>
            </p:cNvPr>
            <p:cNvSpPr/>
            <p:nvPr/>
          </p:nvSpPr>
          <p:spPr>
            <a:xfrm>
              <a:off x="9881898" y="8487274"/>
              <a:ext cx="1139190" cy="1590040"/>
            </a:xfrm>
            <a:custGeom>
              <a:avLst/>
              <a:gdLst/>
              <a:ahLst/>
              <a:cxnLst/>
              <a:rect l="l" t="t" r="r" b="b"/>
              <a:pathLst>
                <a:path w="1139190" h="1590040">
                  <a:moveTo>
                    <a:pt x="1139101" y="0"/>
                  </a:moveTo>
                  <a:lnTo>
                    <a:pt x="1112557" y="1588665"/>
                  </a:lnTo>
                  <a:lnTo>
                    <a:pt x="1080477" y="1245502"/>
                  </a:lnTo>
                  <a:lnTo>
                    <a:pt x="1030698" y="1099492"/>
                  </a:lnTo>
                  <a:lnTo>
                    <a:pt x="1006363" y="1589509"/>
                  </a:lnTo>
                  <a:lnTo>
                    <a:pt x="739787" y="1589509"/>
                  </a:lnTo>
                  <a:lnTo>
                    <a:pt x="724042" y="1112528"/>
                  </a:lnTo>
                  <a:lnTo>
                    <a:pt x="701050" y="1102898"/>
                  </a:lnTo>
                  <a:lnTo>
                    <a:pt x="669844" y="1210102"/>
                  </a:lnTo>
                  <a:lnTo>
                    <a:pt x="662222" y="1368352"/>
                  </a:lnTo>
                  <a:lnTo>
                    <a:pt x="656052" y="1521003"/>
                  </a:lnTo>
                  <a:lnTo>
                    <a:pt x="653510" y="1589372"/>
                  </a:lnTo>
                  <a:lnTo>
                    <a:pt x="254452" y="1589372"/>
                  </a:lnTo>
                  <a:lnTo>
                    <a:pt x="212732" y="1312312"/>
                  </a:lnTo>
                  <a:lnTo>
                    <a:pt x="195003" y="1587939"/>
                  </a:lnTo>
                  <a:lnTo>
                    <a:pt x="0" y="1587939"/>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 name="object 46">
              <a:extLst>
                <a:ext uri="{FF2B5EF4-FFF2-40B4-BE49-F238E27FC236}">
                  <a16:creationId xmlns:a16="http://schemas.microsoft.com/office/drawing/2014/main" id="{98D7EDCD-EE7E-499D-8297-BB2D7874EA0D}"/>
                </a:ext>
              </a:extLst>
            </p:cNvPr>
            <p:cNvSpPr/>
            <p:nvPr/>
          </p:nvSpPr>
          <p:spPr>
            <a:xfrm>
              <a:off x="7694040" y="8800065"/>
              <a:ext cx="786130" cy="1276985"/>
            </a:xfrm>
            <a:custGeom>
              <a:avLst/>
              <a:gdLst/>
              <a:ahLst/>
              <a:cxnLst/>
              <a:rect l="l" t="t" r="r" b="b"/>
              <a:pathLst>
                <a:path w="786129" h="1276984">
                  <a:moveTo>
                    <a:pt x="786013" y="0"/>
                  </a:moveTo>
                  <a:lnTo>
                    <a:pt x="747699" y="315147"/>
                  </a:lnTo>
                  <a:lnTo>
                    <a:pt x="716807" y="114931"/>
                  </a:lnTo>
                  <a:lnTo>
                    <a:pt x="634005" y="200206"/>
                  </a:lnTo>
                  <a:lnTo>
                    <a:pt x="609287" y="747699"/>
                  </a:lnTo>
                  <a:lnTo>
                    <a:pt x="585806" y="825554"/>
                  </a:lnTo>
                  <a:lnTo>
                    <a:pt x="563562" y="862630"/>
                  </a:lnTo>
                  <a:lnTo>
                    <a:pt x="535134" y="873752"/>
                  </a:lnTo>
                  <a:lnTo>
                    <a:pt x="503004" y="939258"/>
                  </a:lnTo>
                  <a:lnTo>
                    <a:pt x="453569" y="792187"/>
                  </a:lnTo>
                  <a:lnTo>
                    <a:pt x="430088" y="959028"/>
                  </a:lnTo>
                  <a:lnTo>
                    <a:pt x="391774" y="877463"/>
                  </a:lnTo>
                  <a:lnTo>
                    <a:pt x="323795" y="966449"/>
                  </a:lnTo>
                  <a:lnTo>
                    <a:pt x="281781" y="667361"/>
                  </a:lnTo>
                  <a:lnTo>
                    <a:pt x="265711" y="1276522"/>
                  </a:lnTo>
                  <a:lnTo>
                    <a:pt x="201453" y="1276522"/>
                  </a:lnTo>
                  <a:lnTo>
                    <a:pt x="171787" y="1056662"/>
                  </a:lnTo>
                  <a:lnTo>
                    <a:pt x="144596" y="1276266"/>
                  </a:lnTo>
                  <a:lnTo>
                    <a:pt x="0" y="1276266"/>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 name="object 47">
              <a:extLst>
                <a:ext uri="{FF2B5EF4-FFF2-40B4-BE49-F238E27FC236}">
                  <a16:creationId xmlns:a16="http://schemas.microsoft.com/office/drawing/2014/main" id="{B5735B11-8A7C-3B45-7BE7-ED1D4519B083}"/>
                </a:ext>
              </a:extLst>
            </p:cNvPr>
            <p:cNvSpPr/>
            <p:nvPr/>
          </p:nvSpPr>
          <p:spPr>
            <a:xfrm>
              <a:off x="7082288" y="9786285"/>
              <a:ext cx="544195" cy="290830"/>
            </a:xfrm>
            <a:custGeom>
              <a:avLst/>
              <a:gdLst/>
              <a:ahLst/>
              <a:cxnLst/>
              <a:rect l="l" t="t" r="r" b="b"/>
              <a:pathLst>
                <a:path w="544195" h="290829">
                  <a:moveTo>
                    <a:pt x="543782" y="287955"/>
                  </a:moveTo>
                  <a:lnTo>
                    <a:pt x="182910" y="287955"/>
                  </a:lnTo>
                  <a:lnTo>
                    <a:pt x="159429" y="0"/>
                  </a:lnTo>
                  <a:lnTo>
                    <a:pt x="122352" y="290684"/>
                  </a:lnTo>
                  <a:lnTo>
                    <a:pt x="0" y="290684"/>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 name="object 48">
              <a:extLst>
                <a:ext uri="{FF2B5EF4-FFF2-40B4-BE49-F238E27FC236}">
                  <a16:creationId xmlns:a16="http://schemas.microsoft.com/office/drawing/2014/main" id="{51B125D9-C11B-69CC-AFA5-82CC7E419AFD}"/>
                </a:ext>
              </a:extLst>
            </p:cNvPr>
            <p:cNvSpPr/>
            <p:nvPr/>
          </p:nvSpPr>
          <p:spPr>
            <a:xfrm>
              <a:off x="5823384" y="6942564"/>
              <a:ext cx="1207135" cy="3134995"/>
            </a:xfrm>
            <a:custGeom>
              <a:avLst/>
              <a:gdLst/>
              <a:ahLst/>
              <a:cxnLst/>
              <a:rect l="l" t="t" r="r" b="b"/>
              <a:pathLst>
                <a:path w="1207134" h="3134995">
                  <a:moveTo>
                    <a:pt x="1207001" y="3134207"/>
                  </a:moveTo>
                  <a:lnTo>
                    <a:pt x="1150154" y="3134207"/>
                  </a:lnTo>
                  <a:lnTo>
                    <a:pt x="1144265" y="3047912"/>
                  </a:lnTo>
                  <a:lnTo>
                    <a:pt x="1140113" y="3000216"/>
                  </a:lnTo>
                  <a:lnTo>
                    <a:pt x="1129137" y="2952475"/>
                  </a:lnTo>
                  <a:lnTo>
                    <a:pt x="1106433" y="2893619"/>
                  </a:lnTo>
                  <a:lnTo>
                    <a:pt x="1092070" y="2859788"/>
                  </a:lnTo>
                  <a:lnTo>
                    <a:pt x="1064879" y="2903039"/>
                  </a:lnTo>
                  <a:lnTo>
                    <a:pt x="1022854" y="2836307"/>
                  </a:lnTo>
                  <a:lnTo>
                    <a:pt x="975893" y="3010559"/>
                  </a:lnTo>
                  <a:lnTo>
                    <a:pt x="951584" y="2524074"/>
                  </a:lnTo>
                  <a:lnTo>
                    <a:pt x="938975" y="2265489"/>
                  </a:lnTo>
                  <a:lnTo>
                    <a:pt x="934013" y="2148023"/>
                  </a:lnTo>
                  <a:lnTo>
                    <a:pt x="932641" y="2084897"/>
                  </a:lnTo>
                  <a:lnTo>
                    <a:pt x="925360" y="1975986"/>
                  </a:lnTo>
                  <a:lnTo>
                    <a:pt x="910547" y="1820732"/>
                  </a:lnTo>
                  <a:lnTo>
                    <a:pt x="895966" y="1681700"/>
                  </a:lnTo>
                  <a:lnTo>
                    <a:pt x="889380" y="1621452"/>
                  </a:lnTo>
                  <a:lnTo>
                    <a:pt x="839954" y="2521160"/>
                  </a:lnTo>
                  <a:lnTo>
                    <a:pt x="824215" y="1674846"/>
                  </a:lnTo>
                  <a:lnTo>
                    <a:pt x="816007" y="1233237"/>
                  </a:lnTo>
                  <a:lnTo>
                    <a:pt x="812666" y="1052780"/>
                  </a:lnTo>
                  <a:lnTo>
                    <a:pt x="811526" y="989920"/>
                  </a:lnTo>
                  <a:lnTo>
                    <a:pt x="808075" y="941643"/>
                  </a:lnTo>
                  <a:lnTo>
                    <a:pt x="800826" y="884290"/>
                  </a:lnTo>
                  <a:lnTo>
                    <a:pt x="792214" y="824503"/>
                  </a:lnTo>
                  <a:lnTo>
                    <a:pt x="784669" y="768928"/>
                  </a:lnTo>
                  <a:lnTo>
                    <a:pt x="780624" y="724208"/>
                  </a:lnTo>
                  <a:lnTo>
                    <a:pt x="772826" y="584985"/>
                  </a:lnTo>
                  <a:lnTo>
                    <a:pt x="758074" y="338935"/>
                  </a:lnTo>
                  <a:lnTo>
                    <a:pt x="743784" y="104469"/>
                  </a:lnTo>
                  <a:lnTo>
                    <a:pt x="737372" y="0"/>
                  </a:lnTo>
                  <a:lnTo>
                    <a:pt x="668166" y="768706"/>
                  </a:lnTo>
                  <a:lnTo>
                    <a:pt x="627379" y="301551"/>
                  </a:lnTo>
                  <a:lnTo>
                    <a:pt x="606372" y="1039356"/>
                  </a:lnTo>
                  <a:lnTo>
                    <a:pt x="561884" y="1081380"/>
                  </a:lnTo>
                  <a:lnTo>
                    <a:pt x="532218" y="1668414"/>
                  </a:lnTo>
                  <a:lnTo>
                    <a:pt x="490204" y="832965"/>
                  </a:lnTo>
                  <a:lnTo>
                    <a:pt x="418524" y="2353082"/>
                  </a:lnTo>
                  <a:lnTo>
                    <a:pt x="354256" y="269412"/>
                  </a:lnTo>
                  <a:lnTo>
                    <a:pt x="278865" y="2088607"/>
                  </a:lnTo>
                  <a:lnTo>
                    <a:pt x="235203" y="2168941"/>
                  </a:lnTo>
                  <a:lnTo>
                    <a:pt x="212282" y="2216831"/>
                  </a:lnTo>
                  <a:lnTo>
                    <a:pt x="202570" y="2251280"/>
                  </a:lnTo>
                  <a:lnTo>
                    <a:pt x="198537" y="2291288"/>
                  </a:lnTo>
                  <a:lnTo>
                    <a:pt x="196515" y="2315618"/>
                  </a:lnTo>
                  <a:lnTo>
                    <a:pt x="193278" y="2351398"/>
                  </a:lnTo>
                  <a:lnTo>
                    <a:pt x="189024" y="2396404"/>
                  </a:lnTo>
                  <a:lnTo>
                    <a:pt x="183951" y="2448414"/>
                  </a:lnTo>
                  <a:lnTo>
                    <a:pt x="178256" y="2505203"/>
                  </a:lnTo>
                  <a:lnTo>
                    <a:pt x="172136" y="2564549"/>
                  </a:lnTo>
                  <a:lnTo>
                    <a:pt x="165791" y="2624229"/>
                  </a:lnTo>
                  <a:lnTo>
                    <a:pt x="159416" y="2682020"/>
                  </a:lnTo>
                  <a:lnTo>
                    <a:pt x="153209" y="2735699"/>
                  </a:lnTo>
                  <a:lnTo>
                    <a:pt x="147369" y="2783043"/>
                  </a:lnTo>
                  <a:lnTo>
                    <a:pt x="142093" y="2821828"/>
                  </a:lnTo>
                  <a:lnTo>
                    <a:pt x="125527" y="2925063"/>
                  </a:lnTo>
                  <a:lnTo>
                    <a:pt x="107421" y="3026513"/>
                  </a:lnTo>
                  <a:lnTo>
                    <a:pt x="92841" y="3103796"/>
                  </a:lnTo>
                  <a:lnTo>
                    <a:pt x="86855" y="3134531"/>
                  </a:lnTo>
                  <a:lnTo>
                    <a:pt x="31697" y="2733725"/>
                  </a:lnTo>
                  <a:lnTo>
                    <a:pt x="0" y="3134806"/>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 name="object 49">
              <a:extLst>
                <a:ext uri="{FF2B5EF4-FFF2-40B4-BE49-F238E27FC236}">
                  <a16:creationId xmlns:a16="http://schemas.microsoft.com/office/drawing/2014/main" id="{8047D8A5-630F-BB7B-72CE-BCB318AB8700}"/>
                </a:ext>
              </a:extLst>
            </p:cNvPr>
            <p:cNvSpPr/>
            <p:nvPr/>
          </p:nvSpPr>
          <p:spPr>
            <a:xfrm>
              <a:off x="5612852" y="9537878"/>
              <a:ext cx="140970" cy="538480"/>
            </a:xfrm>
            <a:custGeom>
              <a:avLst/>
              <a:gdLst/>
              <a:ahLst/>
              <a:cxnLst/>
              <a:rect l="l" t="t" r="r" b="b"/>
              <a:pathLst>
                <a:path w="140970" h="538479">
                  <a:moveTo>
                    <a:pt x="140885" y="537853"/>
                  </a:moveTo>
                  <a:lnTo>
                    <a:pt x="27181" y="537853"/>
                  </a:lnTo>
                  <a:lnTo>
                    <a:pt x="0" y="0"/>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 name="object 50">
              <a:extLst>
                <a:ext uri="{FF2B5EF4-FFF2-40B4-BE49-F238E27FC236}">
                  <a16:creationId xmlns:a16="http://schemas.microsoft.com/office/drawing/2014/main" id="{2319560A-9303-2F65-5530-15584238CA32}"/>
                </a:ext>
              </a:extLst>
            </p:cNvPr>
            <p:cNvSpPr/>
            <p:nvPr/>
          </p:nvSpPr>
          <p:spPr>
            <a:xfrm>
              <a:off x="3943729" y="7520768"/>
              <a:ext cx="1595120" cy="2555240"/>
            </a:xfrm>
            <a:custGeom>
              <a:avLst/>
              <a:gdLst/>
              <a:ahLst/>
              <a:cxnLst/>
              <a:rect l="l" t="t" r="r" b="b"/>
              <a:pathLst>
                <a:path w="1595120" h="2555240">
                  <a:moveTo>
                    <a:pt x="1594967" y="2057892"/>
                  </a:moveTo>
                  <a:lnTo>
                    <a:pt x="1562838" y="2555203"/>
                  </a:lnTo>
                  <a:lnTo>
                    <a:pt x="1481263" y="2555203"/>
                  </a:lnTo>
                  <a:lnTo>
                    <a:pt x="1477615" y="2526547"/>
                  </a:lnTo>
                  <a:lnTo>
                    <a:pt x="1465972" y="2463503"/>
                  </a:lnTo>
                  <a:lnTo>
                    <a:pt x="1453632" y="2400459"/>
                  </a:lnTo>
                  <a:lnTo>
                    <a:pt x="1447897" y="2371802"/>
                  </a:lnTo>
                  <a:lnTo>
                    <a:pt x="1430601" y="2555203"/>
                  </a:lnTo>
                  <a:lnTo>
                    <a:pt x="1339141" y="2555203"/>
                  </a:lnTo>
                  <a:lnTo>
                    <a:pt x="1272408" y="1787242"/>
                  </a:lnTo>
                  <a:lnTo>
                    <a:pt x="1264375" y="1958677"/>
                  </a:lnTo>
                  <a:lnTo>
                    <a:pt x="1259122" y="2051095"/>
                  </a:lnTo>
                  <a:lnTo>
                    <a:pt x="1254333" y="2096241"/>
                  </a:lnTo>
                  <a:lnTo>
                    <a:pt x="1236239" y="2166512"/>
                  </a:lnTo>
                  <a:lnTo>
                    <a:pt x="1221889" y="2213764"/>
                  </a:lnTo>
                  <a:lnTo>
                    <a:pt x="1209625" y="2252904"/>
                  </a:lnTo>
                  <a:lnTo>
                    <a:pt x="1204429" y="2269220"/>
                  </a:lnTo>
                  <a:lnTo>
                    <a:pt x="1177248" y="1921944"/>
                  </a:lnTo>
                  <a:lnTo>
                    <a:pt x="1157881" y="2142395"/>
                  </a:lnTo>
                  <a:lnTo>
                    <a:pt x="1147434" y="2258104"/>
                  </a:lnTo>
                  <a:lnTo>
                    <a:pt x="1142316" y="2307076"/>
                  </a:lnTo>
                  <a:lnTo>
                    <a:pt x="1122711" y="2353421"/>
                  </a:lnTo>
                  <a:lnTo>
                    <a:pt x="1101857" y="2361917"/>
                  </a:lnTo>
                  <a:lnTo>
                    <a:pt x="1094635" y="2351779"/>
                  </a:lnTo>
                  <a:lnTo>
                    <a:pt x="1089497" y="2326229"/>
                  </a:lnTo>
                  <a:lnTo>
                    <a:pt x="1086213" y="2295350"/>
                  </a:lnTo>
                  <a:lnTo>
                    <a:pt x="1084551" y="2269220"/>
                  </a:lnTo>
                  <a:lnTo>
                    <a:pt x="1081910" y="2213146"/>
                  </a:lnTo>
                  <a:lnTo>
                    <a:pt x="1077298" y="2116286"/>
                  </a:lnTo>
                  <a:lnTo>
                    <a:pt x="1072915" y="2024522"/>
                  </a:lnTo>
                  <a:lnTo>
                    <a:pt x="1070965" y="1983738"/>
                  </a:lnTo>
                  <a:lnTo>
                    <a:pt x="1014108" y="1982501"/>
                  </a:lnTo>
                  <a:lnTo>
                    <a:pt x="960972" y="1279300"/>
                  </a:lnTo>
                  <a:lnTo>
                    <a:pt x="916474" y="1828020"/>
                  </a:lnTo>
                  <a:lnTo>
                    <a:pt x="852215" y="430255"/>
                  </a:lnTo>
                  <a:lnTo>
                    <a:pt x="821313" y="536547"/>
                  </a:lnTo>
                  <a:lnTo>
                    <a:pt x="775588" y="569913"/>
                  </a:lnTo>
                  <a:lnTo>
                    <a:pt x="743459" y="831915"/>
                  </a:lnTo>
                  <a:lnTo>
                    <a:pt x="671779" y="652715"/>
                  </a:lnTo>
                  <a:lnTo>
                    <a:pt x="628518" y="911006"/>
                  </a:lnTo>
                  <a:lnTo>
                    <a:pt x="617764" y="624676"/>
                  </a:lnTo>
                  <a:lnTo>
                    <a:pt x="611992" y="474134"/>
                  </a:lnTo>
                  <a:lnTo>
                    <a:pt x="609230" y="409790"/>
                  </a:lnTo>
                  <a:lnTo>
                    <a:pt x="599902" y="339458"/>
                  </a:lnTo>
                  <a:lnTo>
                    <a:pt x="585576" y="279480"/>
                  </a:lnTo>
                  <a:lnTo>
                    <a:pt x="571713" y="225990"/>
                  </a:lnTo>
                  <a:lnTo>
                    <a:pt x="565496" y="202857"/>
                  </a:lnTo>
                  <a:lnTo>
                    <a:pt x="450624" y="1772115"/>
                  </a:lnTo>
                  <a:lnTo>
                    <a:pt x="425926" y="0"/>
                  </a:lnTo>
                  <a:lnTo>
                    <a:pt x="364691" y="794612"/>
                  </a:lnTo>
                  <a:lnTo>
                    <a:pt x="317012" y="794612"/>
                  </a:lnTo>
                  <a:lnTo>
                    <a:pt x="277962" y="2168572"/>
                  </a:lnTo>
                  <a:lnTo>
                    <a:pt x="251821" y="2079135"/>
                  </a:lnTo>
                  <a:lnTo>
                    <a:pt x="193704" y="2279219"/>
                  </a:lnTo>
                  <a:lnTo>
                    <a:pt x="163581" y="2394935"/>
                  </a:lnTo>
                  <a:lnTo>
                    <a:pt x="151775" y="2470401"/>
                  </a:lnTo>
                  <a:lnTo>
                    <a:pt x="148611" y="2549735"/>
                  </a:lnTo>
                  <a:lnTo>
                    <a:pt x="0" y="2549735"/>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 name="object 51">
              <a:extLst>
                <a:ext uri="{FF2B5EF4-FFF2-40B4-BE49-F238E27FC236}">
                  <a16:creationId xmlns:a16="http://schemas.microsoft.com/office/drawing/2014/main" id="{9EBE5E68-4890-54C3-07D2-B68819EA4A72}"/>
                </a:ext>
              </a:extLst>
            </p:cNvPr>
            <p:cNvSpPr/>
            <p:nvPr/>
          </p:nvSpPr>
          <p:spPr>
            <a:xfrm>
              <a:off x="3762092" y="10073256"/>
              <a:ext cx="99695" cy="0"/>
            </a:xfrm>
            <a:custGeom>
              <a:avLst/>
              <a:gdLst/>
              <a:ahLst/>
              <a:cxnLst/>
              <a:rect l="l" t="t" r="r" b="b"/>
              <a:pathLst>
                <a:path w="99695">
                  <a:moveTo>
                    <a:pt x="99077" y="0"/>
                  </a:moveTo>
                  <a:lnTo>
                    <a:pt x="0" y="0"/>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 name="object 52">
              <a:extLst>
                <a:ext uri="{FF2B5EF4-FFF2-40B4-BE49-F238E27FC236}">
                  <a16:creationId xmlns:a16="http://schemas.microsoft.com/office/drawing/2014/main" id="{6B533271-27A4-2C51-02ED-0E05A90D4A3D}"/>
                </a:ext>
              </a:extLst>
            </p:cNvPr>
            <p:cNvSpPr/>
            <p:nvPr/>
          </p:nvSpPr>
          <p:spPr>
            <a:xfrm>
              <a:off x="2058257" y="7462913"/>
              <a:ext cx="1637030" cy="2616200"/>
            </a:xfrm>
            <a:custGeom>
              <a:avLst/>
              <a:gdLst/>
              <a:ahLst/>
              <a:cxnLst/>
              <a:rect l="l" t="t" r="r" b="b"/>
              <a:pathLst>
                <a:path w="1637029" h="2616200">
                  <a:moveTo>
                    <a:pt x="1636412" y="2610342"/>
                  </a:moveTo>
                  <a:lnTo>
                    <a:pt x="1563486" y="2610342"/>
                  </a:lnTo>
                  <a:lnTo>
                    <a:pt x="1537335" y="1984249"/>
                  </a:lnTo>
                  <a:lnTo>
                    <a:pt x="1501564" y="2612904"/>
                  </a:lnTo>
                  <a:lnTo>
                    <a:pt x="1421746" y="2612904"/>
                  </a:lnTo>
                  <a:lnTo>
                    <a:pt x="1390098" y="1559049"/>
                  </a:lnTo>
                  <a:lnTo>
                    <a:pt x="1358450" y="2612659"/>
                  </a:lnTo>
                  <a:lnTo>
                    <a:pt x="1341705" y="2373715"/>
                  </a:lnTo>
                  <a:lnTo>
                    <a:pt x="1332826" y="2247527"/>
                  </a:lnTo>
                  <a:lnTo>
                    <a:pt x="1328848" y="2192212"/>
                  </a:lnTo>
                  <a:lnTo>
                    <a:pt x="1323879" y="2144705"/>
                  </a:lnTo>
                  <a:lnTo>
                    <a:pt x="1300660" y="2123220"/>
                  </a:lnTo>
                  <a:lnTo>
                    <a:pt x="1289610" y="2127951"/>
                  </a:lnTo>
                  <a:lnTo>
                    <a:pt x="1281398" y="2138357"/>
                  </a:lnTo>
                  <a:lnTo>
                    <a:pt x="1276282" y="2148764"/>
                  </a:lnTo>
                  <a:lnTo>
                    <a:pt x="1274519" y="2153494"/>
                  </a:lnTo>
                  <a:lnTo>
                    <a:pt x="1256624" y="2611962"/>
                  </a:lnTo>
                  <a:lnTo>
                    <a:pt x="1212597" y="2241567"/>
                  </a:lnTo>
                  <a:lnTo>
                    <a:pt x="1182323" y="2612659"/>
                  </a:lnTo>
                  <a:lnTo>
                    <a:pt x="1101131" y="1710409"/>
                  </a:lnTo>
                  <a:lnTo>
                    <a:pt x="1076364" y="2615849"/>
                  </a:lnTo>
                  <a:lnTo>
                    <a:pt x="1004812" y="844882"/>
                  </a:lnTo>
                  <a:lnTo>
                    <a:pt x="960775" y="1827382"/>
                  </a:lnTo>
                  <a:lnTo>
                    <a:pt x="926378" y="1051293"/>
                  </a:lnTo>
                  <a:lnTo>
                    <a:pt x="898853" y="2131486"/>
                  </a:lnTo>
                  <a:lnTo>
                    <a:pt x="860323" y="1713167"/>
                  </a:lnTo>
                  <a:lnTo>
                    <a:pt x="819045" y="1155867"/>
                  </a:lnTo>
                  <a:lnTo>
                    <a:pt x="804641" y="859013"/>
                  </a:lnTo>
                  <a:lnTo>
                    <a:pt x="796686" y="700577"/>
                  </a:lnTo>
                  <a:lnTo>
                    <a:pt x="792342" y="627023"/>
                  </a:lnTo>
                  <a:lnTo>
                    <a:pt x="788771" y="584815"/>
                  </a:lnTo>
                  <a:lnTo>
                    <a:pt x="780859" y="528891"/>
                  </a:lnTo>
                  <a:lnTo>
                    <a:pt x="768821" y="463552"/>
                  </a:lnTo>
                  <a:lnTo>
                    <a:pt x="757815" y="409309"/>
                  </a:lnTo>
                  <a:lnTo>
                    <a:pt x="753000" y="386670"/>
                  </a:lnTo>
                  <a:lnTo>
                    <a:pt x="738655" y="160801"/>
                  </a:lnTo>
                  <a:lnTo>
                    <a:pt x="731149" y="45234"/>
                  </a:lnTo>
                  <a:lnTo>
                    <a:pt x="728031" y="3717"/>
                  </a:lnTo>
                  <a:lnTo>
                    <a:pt x="726849" y="0"/>
                  </a:lnTo>
                  <a:lnTo>
                    <a:pt x="723689" y="91397"/>
                  </a:lnTo>
                  <a:lnTo>
                    <a:pt x="718078" y="288451"/>
                  </a:lnTo>
                  <a:lnTo>
                    <a:pt x="712724" y="484732"/>
                  </a:lnTo>
                  <a:lnTo>
                    <a:pt x="710338" y="573811"/>
                  </a:lnTo>
                  <a:lnTo>
                    <a:pt x="682822" y="1446219"/>
                  </a:lnTo>
                  <a:lnTo>
                    <a:pt x="664927" y="649486"/>
                  </a:lnTo>
                  <a:lnTo>
                    <a:pt x="660004" y="572451"/>
                  </a:lnTo>
                  <a:lnTo>
                    <a:pt x="656499" y="538890"/>
                  </a:lnTo>
                  <a:lnTo>
                    <a:pt x="652738" y="541708"/>
                  </a:lnTo>
                  <a:lnTo>
                    <a:pt x="632013" y="702403"/>
                  </a:lnTo>
                  <a:lnTo>
                    <a:pt x="608341" y="927621"/>
                  </a:lnTo>
                  <a:lnTo>
                    <a:pt x="586475" y="1141747"/>
                  </a:lnTo>
                  <a:lnTo>
                    <a:pt x="576863" y="1237059"/>
                  </a:lnTo>
                  <a:lnTo>
                    <a:pt x="539708" y="1242557"/>
                  </a:lnTo>
                  <a:lnTo>
                    <a:pt x="503937" y="1744815"/>
                  </a:lnTo>
                  <a:lnTo>
                    <a:pt x="437882" y="1206785"/>
                  </a:lnTo>
                  <a:lnTo>
                    <a:pt x="398273" y="1852188"/>
                  </a:lnTo>
                  <a:lnTo>
                    <a:pt x="368411" y="1758951"/>
                  </a:lnTo>
                  <a:lnTo>
                    <a:pt x="311289" y="2366786"/>
                  </a:lnTo>
                  <a:lnTo>
                    <a:pt x="293525" y="2318474"/>
                  </a:lnTo>
                  <a:lnTo>
                    <a:pt x="275411" y="2277202"/>
                  </a:lnTo>
                  <a:lnTo>
                    <a:pt x="232869" y="2250243"/>
                  </a:lnTo>
                  <a:lnTo>
                    <a:pt x="216619" y="2253581"/>
                  </a:lnTo>
                  <a:lnTo>
                    <a:pt x="209718" y="2265196"/>
                  </a:lnTo>
                  <a:lnTo>
                    <a:pt x="201483" y="2328617"/>
                  </a:lnTo>
                  <a:lnTo>
                    <a:pt x="183366" y="2447309"/>
                  </a:lnTo>
                  <a:lnTo>
                    <a:pt x="165249" y="2561994"/>
                  </a:lnTo>
                  <a:lnTo>
                    <a:pt x="157014" y="2613395"/>
                  </a:lnTo>
                  <a:lnTo>
                    <a:pt x="0" y="2613395"/>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 name="object 53">
              <a:extLst>
                <a:ext uri="{FF2B5EF4-FFF2-40B4-BE49-F238E27FC236}">
                  <a16:creationId xmlns:a16="http://schemas.microsoft.com/office/drawing/2014/main" id="{0BF8329A-5920-2281-9A57-3EDA7212BF9C}"/>
                </a:ext>
              </a:extLst>
            </p:cNvPr>
            <p:cNvSpPr/>
            <p:nvPr/>
          </p:nvSpPr>
          <p:spPr>
            <a:xfrm>
              <a:off x="2304880" y="5325578"/>
              <a:ext cx="406400" cy="0"/>
            </a:xfrm>
            <a:custGeom>
              <a:avLst/>
              <a:gdLst/>
              <a:ahLst/>
              <a:cxnLst/>
              <a:rect l="l" t="t" r="r" b="b"/>
              <a:pathLst>
                <a:path w="406400">
                  <a:moveTo>
                    <a:pt x="0" y="0"/>
                  </a:moveTo>
                  <a:lnTo>
                    <a:pt x="406028" y="0"/>
                  </a:lnTo>
                </a:path>
              </a:pathLst>
            </a:custGeom>
            <a:ln w="29449">
              <a:solidFill>
                <a:srgbClr val="00ACB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54" name="object 54">
            <a:extLst>
              <a:ext uri="{FF2B5EF4-FFF2-40B4-BE49-F238E27FC236}">
                <a16:creationId xmlns:a16="http://schemas.microsoft.com/office/drawing/2014/main" id="{66FFB218-2659-0892-9370-B6481D507AA8}"/>
              </a:ext>
            </a:extLst>
          </p:cNvPr>
          <p:cNvSpPr txBox="1"/>
          <p:nvPr/>
        </p:nvSpPr>
        <p:spPr>
          <a:xfrm>
            <a:off x="1993050" y="2908752"/>
            <a:ext cx="307777" cy="1336083"/>
          </a:xfrm>
          <a:prstGeom prst="rect">
            <a:avLst/>
          </a:prstGeom>
        </p:spPr>
        <p:txBody>
          <a:bodyPr vert="vert270" wrap="square" lIns="0" tIns="0" rIns="0" bIns="0" rtlCol="0">
            <a:spAutoFit/>
          </a:bodyPr>
          <a:lstStyle/>
          <a:p>
            <a:pPr marL="5775" marR="0" lvl="0" indent="0" algn="l" defTabSz="457200" rtl="0" eaLnBrk="1" fontAlgn="auto" latinLnBrk="0" hangingPunct="1">
              <a:lnSpc>
                <a:spcPts val="1232"/>
              </a:lnSpc>
              <a:spcBef>
                <a:spcPts val="0"/>
              </a:spcBef>
              <a:spcAft>
                <a:spcPts val="0"/>
              </a:spcAft>
              <a:buClrTx/>
              <a:buSzTx/>
              <a:buFontTx/>
              <a:buNone/>
              <a:tabLst/>
              <a:defRPr/>
            </a:pPr>
            <a:r>
              <a:rPr kumimoji="0" sz="1046" b="1" i="0" u="none" strike="noStrike" kern="1200" cap="none" spc="0" normalizeH="0" baseline="0" noProof="0">
                <a:ln>
                  <a:noFill/>
                </a:ln>
                <a:solidFill>
                  <a:srgbClr val="415465"/>
                </a:solidFill>
                <a:effectLst/>
                <a:uLnTx/>
                <a:uFillTx/>
                <a:latin typeface="Arial"/>
                <a:ea typeface="+mn-ea"/>
                <a:cs typeface="Arial"/>
              </a:rPr>
              <a:t>Test</a:t>
            </a:r>
            <a:r>
              <a:rPr kumimoji="0" sz="1046" b="1" i="0" u="none" strike="noStrike" kern="1200" cap="none" spc="-57" normalizeH="0" baseline="0" noProof="0">
                <a:ln>
                  <a:noFill/>
                </a:ln>
                <a:solidFill>
                  <a:srgbClr val="415465"/>
                </a:solidFill>
                <a:effectLst/>
                <a:uLnTx/>
                <a:uFillTx/>
                <a:latin typeface="Arial"/>
                <a:ea typeface="+mn-ea"/>
                <a:cs typeface="Arial"/>
              </a:rPr>
              <a:t> </a:t>
            </a:r>
            <a:r>
              <a:rPr kumimoji="0" sz="1046" b="1" i="0" u="none" strike="noStrike" kern="1200" cap="none" spc="-14" normalizeH="0" baseline="0" noProof="0">
                <a:ln>
                  <a:noFill/>
                </a:ln>
                <a:solidFill>
                  <a:srgbClr val="415465"/>
                </a:solidFill>
                <a:effectLst/>
                <a:uLnTx/>
                <a:uFillTx/>
                <a:latin typeface="Arial"/>
                <a:ea typeface="+mn-ea"/>
                <a:cs typeface="Arial"/>
              </a:rPr>
              <a:t>pozitiflik</a:t>
            </a:r>
            <a:r>
              <a:rPr kumimoji="0" sz="1046" b="1" i="0" u="none" strike="noStrike" kern="1200" cap="none" spc="-57" normalizeH="0" baseline="0" noProof="0">
                <a:ln>
                  <a:noFill/>
                </a:ln>
                <a:solidFill>
                  <a:srgbClr val="415465"/>
                </a:solidFill>
                <a:effectLst/>
                <a:uLnTx/>
                <a:uFillTx/>
                <a:latin typeface="Arial"/>
                <a:ea typeface="+mn-ea"/>
                <a:cs typeface="Arial"/>
              </a:rPr>
              <a:t> </a:t>
            </a:r>
            <a:r>
              <a:rPr kumimoji="0" sz="1046" b="1" i="0" u="none" strike="noStrike" kern="1200" cap="none" spc="-14" normalizeH="0" baseline="0" noProof="0">
                <a:ln>
                  <a:noFill/>
                </a:ln>
                <a:solidFill>
                  <a:srgbClr val="415465"/>
                </a:solidFill>
                <a:effectLst/>
                <a:uLnTx/>
                <a:uFillTx/>
                <a:latin typeface="Arial"/>
                <a:ea typeface="+mn-ea"/>
                <a:cs typeface="Arial"/>
              </a:rPr>
              <a:t>yüzdesi</a:t>
            </a:r>
            <a:endParaRPr kumimoji="0" sz="1046" b="0" i="0" u="none" strike="noStrike" kern="1200" cap="none" spc="0" normalizeH="0" baseline="0" noProof="0">
              <a:ln>
                <a:noFill/>
              </a:ln>
              <a:solidFill>
                <a:prstClr val="black"/>
              </a:solidFill>
              <a:effectLst/>
              <a:uLnTx/>
              <a:uFillTx/>
              <a:latin typeface="Arial"/>
              <a:ea typeface="+mn-ea"/>
              <a:cs typeface="Arial"/>
            </a:endParaRPr>
          </a:p>
        </p:txBody>
      </p:sp>
      <p:sp>
        <p:nvSpPr>
          <p:cNvPr id="55" name="object 55">
            <a:extLst>
              <a:ext uri="{FF2B5EF4-FFF2-40B4-BE49-F238E27FC236}">
                <a16:creationId xmlns:a16="http://schemas.microsoft.com/office/drawing/2014/main" id="{59DFEB88-1112-7C74-456F-4C8E3F20C671}"/>
              </a:ext>
            </a:extLst>
          </p:cNvPr>
          <p:cNvSpPr txBox="1"/>
          <p:nvPr/>
        </p:nvSpPr>
        <p:spPr>
          <a:xfrm>
            <a:off x="2652954" y="4958188"/>
            <a:ext cx="420720" cy="135518"/>
          </a:xfrm>
          <a:prstGeom prst="rect">
            <a:avLst/>
          </a:prstGeom>
        </p:spPr>
        <p:txBody>
          <a:bodyPr vert="horz" wrap="square" lIns="0" tIns="6064" rIns="0" bIns="0" rtlCol="0">
            <a:spAutoFit/>
          </a:bodyPr>
          <a:lstStyle/>
          <a:p>
            <a:pPr marL="5775" marR="0" lvl="0" indent="0" algn="l" defTabSz="457200" rtl="0" eaLnBrk="1" fontAlgn="auto" latinLnBrk="0" hangingPunct="1">
              <a:lnSpc>
                <a:spcPct val="100000"/>
              </a:lnSpc>
              <a:spcBef>
                <a:spcPts val="48"/>
              </a:spcBef>
              <a:spcAft>
                <a:spcPts val="0"/>
              </a:spcAft>
              <a:buClrTx/>
              <a:buSzTx/>
              <a:buFontTx/>
              <a:buNone/>
              <a:tabLst/>
              <a:defRPr/>
            </a:pPr>
            <a:r>
              <a:rPr kumimoji="0" sz="841" b="1" i="0" u="none" strike="noStrike" kern="1200" cap="none" spc="20" normalizeH="0" baseline="0" noProof="0">
                <a:ln>
                  <a:noFill/>
                </a:ln>
                <a:solidFill>
                  <a:srgbClr val="415465"/>
                </a:solidFill>
                <a:effectLst/>
                <a:uLnTx/>
                <a:uFillTx/>
                <a:latin typeface="Arial"/>
                <a:ea typeface="+mn-ea"/>
                <a:cs typeface="Arial"/>
              </a:rPr>
              <a:t>2016/17</a:t>
            </a:r>
            <a:endParaRPr kumimoji="0" sz="841" b="0" i="0" u="none" strike="noStrike" kern="1200" cap="none" spc="0" normalizeH="0" baseline="0" noProof="0">
              <a:ln>
                <a:noFill/>
              </a:ln>
              <a:solidFill>
                <a:prstClr val="black"/>
              </a:solidFill>
              <a:effectLst/>
              <a:uLnTx/>
              <a:uFillTx/>
              <a:latin typeface="Arial"/>
              <a:ea typeface="+mn-ea"/>
              <a:cs typeface="Arial"/>
            </a:endParaRPr>
          </a:p>
        </p:txBody>
      </p:sp>
      <p:sp>
        <p:nvSpPr>
          <p:cNvPr id="56" name="object 56">
            <a:extLst>
              <a:ext uri="{FF2B5EF4-FFF2-40B4-BE49-F238E27FC236}">
                <a16:creationId xmlns:a16="http://schemas.microsoft.com/office/drawing/2014/main" id="{895515A9-05DE-BA65-524E-C241B07EBC83}"/>
              </a:ext>
            </a:extLst>
          </p:cNvPr>
          <p:cNvSpPr txBox="1"/>
          <p:nvPr/>
        </p:nvSpPr>
        <p:spPr>
          <a:xfrm>
            <a:off x="3509809" y="4958188"/>
            <a:ext cx="420720" cy="135518"/>
          </a:xfrm>
          <a:prstGeom prst="rect">
            <a:avLst/>
          </a:prstGeom>
        </p:spPr>
        <p:txBody>
          <a:bodyPr vert="horz" wrap="square" lIns="0" tIns="6064" rIns="0" bIns="0" rtlCol="0">
            <a:spAutoFit/>
          </a:bodyPr>
          <a:lstStyle/>
          <a:p>
            <a:pPr marL="5775" marR="0" lvl="0" indent="0" algn="l" defTabSz="457200" rtl="0" eaLnBrk="1" fontAlgn="auto" latinLnBrk="0" hangingPunct="1">
              <a:lnSpc>
                <a:spcPct val="100000"/>
              </a:lnSpc>
              <a:spcBef>
                <a:spcPts val="48"/>
              </a:spcBef>
              <a:spcAft>
                <a:spcPts val="0"/>
              </a:spcAft>
              <a:buClrTx/>
              <a:buSzTx/>
              <a:buFontTx/>
              <a:buNone/>
              <a:tabLst/>
              <a:defRPr/>
            </a:pPr>
            <a:r>
              <a:rPr kumimoji="0" sz="841" b="1" i="0" u="none" strike="noStrike" kern="1200" cap="none" spc="20" normalizeH="0" baseline="0" noProof="0">
                <a:ln>
                  <a:noFill/>
                </a:ln>
                <a:solidFill>
                  <a:srgbClr val="415465"/>
                </a:solidFill>
                <a:effectLst/>
                <a:uLnTx/>
                <a:uFillTx/>
                <a:latin typeface="Arial"/>
                <a:ea typeface="+mn-ea"/>
                <a:cs typeface="Arial"/>
              </a:rPr>
              <a:t>2017/18</a:t>
            </a:r>
            <a:endParaRPr kumimoji="0" sz="841" b="0" i="0" u="none" strike="noStrike" kern="1200" cap="none" spc="0" normalizeH="0" baseline="0" noProof="0">
              <a:ln>
                <a:noFill/>
              </a:ln>
              <a:solidFill>
                <a:prstClr val="black"/>
              </a:solidFill>
              <a:effectLst/>
              <a:uLnTx/>
              <a:uFillTx/>
              <a:latin typeface="Arial"/>
              <a:ea typeface="+mn-ea"/>
              <a:cs typeface="Arial"/>
            </a:endParaRPr>
          </a:p>
        </p:txBody>
      </p:sp>
      <p:sp>
        <p:nvSpPr>
          <p:cNvPr id="57" name="object 57">
            <a:extLst>
              <a:ext uri="{FF2B5EF4-FFF2-40B4-BE49-F238E27FC236}">
                <a16:creationId xmlns:a16="http://schemas.microsoft.com/office/drawing/2014/main" id="{317DF2AA-6C1F-16CF-2620-9E0729EB8CB7}"/>
              </a:ext>
            </a:extLst>
          </p:cNvPr>
          <p:cNvSpPr txBox="1"/>
          <p:nvPr/>
        </p:nvSpPr>
        <p:spPr>
          <a:xfrm>
            <a:off x="4376628" y="4958188"/>
            <a:ext cx="420720" cy="135518"/>
          </a:xfrm>
          <a:prstGeom prst="rect">
            <a:avLst/>
          </a:prstGeom>
        </p:spPr>
        <p:txBody>
          <a:bodyPr vert="horz" wrap="square" lIns="0" tIns="6064" rIns="0" bIns="0" rtlCol="0">
            <a:spAutoFit/>
          </a:bodyPr>
          <a:lstStyle/>
          <a:p>
            <a:pPr marL="5775" marR="0" lvl="0" indent="0" algn="l" defTabSz="457200" rtl="0" eaLnBrk="1" fontAlgn="auto" latinLnBrk="0" hangingPunct="1">
              <a:lnSpc>
                <a:spcPct val="100000"/>
              </a:lnSpc>
              <a:spcBef>
                <a:spcPts val="48"/>
              </a:spcBef>
              <a:spcAft>
                <a:spcPts val="0"/>
              </a:spcAft>
              <a:buClrTx/>
              <a:buSzTx/>
              <a:buFontTx/>
              <a:buNone/>
              <a:tabLst/>
              <a:defRPr/>
            </a:pPr>
            <a:r>
              <a:rPr kumimoji="0" sz="841" b="1" i="0" u="none" strike="noStrike" kern="1200" cap="none" spc="20" normalizeH="0" baseline="0" noProof="0">
                <a:ln>
                  <a:noFill/>
                </a:ln>
                <a:solidFill>
                  <a:srgbClr val="415465"/>
                </a:solidFill>
                <a:effectLst/>
                <a:uLnTx/>
                <a:uFillTx/>
                <a:latin typeface="Arial"/>
                <a:ea typeface="+mn-ea"/>
                <a:cs typeface="Arial"/>
              </a:rPr>
              <a:t>2018/19</a:t>
            </a:r>
            <a:endParaRPr kumimoji="0" sz="841" b="0" i="0" u="none" strike="noStrike" kern="1200" cap="none" spc="0" normalizeH="0" baseline="0" noProof="0">
              <a:ln>
                <a:noFill/>
              </a:ln>
              <a:solidFill>
                <a:prstClr val="black"/>
              </a:solidFill>
              <a:effectLst/>
              <a:uLnTx/>
              <a:uFillTx/>
              <a:latin typeface="Arial"/>
              <a:ea typeface="+mn-ea"/>
              <a:cs typeface="Arial"/>
            </a:endParaRPr>
          </a:p>
        </p:txBody>
      </p:sp>
      <p:sp>
        <p:nvSpPr>
          <p:cNvPr id="58" name="object 58">
            <a:extLst>
              <a:ext uri="{FF2B5EF4-FFF2-40B4-BE49-F238E27FC236}">
                <a16:creationId xmlns:a16="http://schemas.microsoft.com/office/drawing/2014/main" id="{0C5EBF3E-C295-1EC9-4ECA-2C559224F36D}"/>
              </a:ext>
            </a:extLst>
          </p:cNvPr>
          <p:cNvSpPr txBox="1"/>
          <p:nvPr/>
        </p:nvSpPr>
        <p:spPr>
          <a:xfrm>
            <a:off x="5256731" y="4958188"/>
            <a:ext cx="420720" cy="135518"/>
          </a:xfrm>
          <a:prstGeom prst="rect">
            <a:avLst/>
          </a:prstGeom>
        </p:spPr>
        <p:txBody>
          <a:bodyPr vert="horz" wrap="square" lIns="0" tIns="6064" rIns="0" bIns="0" rtlCol="0">
            <a:spAutoFit/>
          </a:bodyPr>
          <a:lstStyle/>
          <a:p>
            <a:pPr marL="5775" marR="0" lvl="0" indent="0" algn="l" defTabSz="457200" rtl="0" eaLnBrk="1" fontAlgn="auto" latinLnBrk="0" hangingPunct="1">
              <a:lnSpc>
                <a:spcPct val="100000"/>
              </a:lnSpc>
              <a:spcBef>
                <a:spcPts val="48"/>
              </a:spcBef>
              <a:spcAft>
                <a:spcPts val="0"/>
              </a:spcAft>
              <a:buClrTx/>
              <a:buSzTx/>
              <a:buFontTx/>
              <a:buNone/>
              <a:tabLst/>
              <a:defRPr/>
            </a:pPr>
            <a:r>
              <a:rPr kumimoji="0" sz="841" b="1" i="0" u="none" strike="noStrike" kern="1200" cap="none" spc="20" normalizeH="0" baseline="0" noProof="0">
                <a:ln>
                  <a:noFill/>
                </a:ln>
                <a:solidFill>
                  <a:srgbClr val="415465"/>
                </a:solidFill>
                <a:effectLst/>
                <a:uLnTx/>
                <a:uFillTx/>
                <a:latin typeface="Arial"/>
                <a:ea typeface="+mn-ea"/>
                <a:cs typeface="Arial"/>
              </a:rPr>
              <a:t>2019/20</a:t>
            </a:r>
            <a:endParaRPr kumimoji="0" sz="841" b="0" i="0" u="none" strike="noStrike" kern="1200" cap="none" spc="0" normalizeH="0" baseline="0" noProof="0">
              <a:ln>
                <a:noFill/>
              </a:ln>
              <a:solidFill>
                <a:prstClr val="black"/>
              </a:solidFill>
              <a:effectLst/>
              <a:uLnTx/>
              <a:uFillTx/>
              <a:latin typeface="Arial"/>
              <a:ea typeface="+mn-ea"/>
              <a:cs typeface="Arial"/>
            </a:endParaRPr>
          </a:p>
        </p:txBody>
      </p:sp>
      <p:sp>
        <p:nvSpPr>
          <p:cNvPr id="59" name="object 59">
            <a:extLst>
              <a:ext uri="{FF2B5EF4-FFF2-40B4-BE49-F238E27FC236}">
                <a16:creationId xmlns:a16="http://schemas.microsoft.com/office/drawing/2014/main" id="{AC513B78-6CEC-1C4E-37A2-854C81C3B12B}"/>
              </a:ext>
            </a:extLst>
          </p:cNvPr>
          <p:cNvSpPr txBox="1"/>
          <p:nvPr/>
        </p:nvSpPr>
        <p:spPr>
          <a:xfrm>
            <a:off x="6117657" y="4958188"/>
            <a:ext cx="420720" cy="135518"/>
          </a:xfrm>
          <a:prstGeom prst="rect">
            <a:avLst/>
          </a:prstGeom>
        </p:spPr>
        <p:txBody>
          <a:bodyPr vert="horz" wrap="square" lIns="0" tIns="6064" rIns="0" bIns="0" rtlCol="0">
            <a:spAutoFit/>
          </a:bodyPr>
          <a:lstStyle/>
          <a:p>
            <a:pPr marL="5775" marR="0" lvl="0" indent="0" algn="l" defTabSz="457200" rtl="0" eaLnBrk="1" fontAlgn="auto" latinLnBrk="0" hangingPunct="1">
              <a:lnSpc>
                <a:spcPct val="100000"/>
              </a:lnSpc>
              <a:spcBef>
                <a:spcPts val="48"/>
              </a:spcBef>
              <a:spcAft>
                <a:spcPts val="0"/>
              </a:spcAft>
              <a:buClrTx/>
              <a:buSzTx/>
              <a:buFontTx/>
              <a:buNone/>
              <a:tabLst/>
              <a:defRPr/>
            </a:pPr>
            <a:r>
              <a:rPr kumimoji="0" sz="841" b="1" i="0" u="none" strike="noStrike" kern="1200" cap="none" spc="20" normalizeH="0" baseline="0" noProof="0">
                <a:ln>
                  <a:noFill/>
                </a:ln>
                <a:solidFill>
                  <a:srgbClr val="415465"/>
                </a:solidFill>
                <a:effectLst/>
                <a:uLnTx/>
                <a:uFillTx/>
                <a:latin typeface="Arial"/>
                <a:ea typeface="+mn-ea"/>
                <a:cs typeface="Arial"/>
              </a:rPr>
              <a:t>2020/21</a:t>
            </a:r>
            <a:endParaRPr kumimoji="0" sz="841" b="0" i="0" u="none" strike="noStrike" kern="1200" cap="none" spc="0" normalizeH="0" baseline="0" noProof="0">
              <a:ln>
                <a:noFill/>
              </a:ln>
              <a:solidFill>
                <a:prstClr val="black"/>
              </a:solidFill>
              <a:effectLst/>
              <a:uLnTx/>
              <a:uFillTx/>
              <a:latin typeface="Arial"/>
              <a:ea typeface="+mn-ea"/>
              <a:cs typeface="Arial"/>
            </a:endParaRPr>
          </a:p>
        </p:txBody>
      </p:sp>
      <p:sp>
        <p:nvSpPr>
          <p:cNvPr id="60" name="object 60">
            <a:extLst>
              <a:ext uri="{FF2B5EF4-FFF2-40B4-BE49-F238E27FC236}">
                <a16:creationId xmlns:a16="http://schemas.microsoft.com/office/drawing/2014/main" id="{AE08D70D-60EA-4331-F5DB-AA9134A3A71F}"/>
              </a:ext>
            </a:extLst>
          </p:cNvPr>
          <p:cNvSpPr txBox="1"/>
          <p:nvPr/>
        </p:nvSpPr>
        <p:spPr>
          <a:xfrm>
            <a:off x="6968513" y="4958188"/>
            <a:ext cx="420720" cy="135518"/>
          </a:xfrm>
          <a:prstGeom prst="rect">
            <a:avLst/>
          </a:prstGeom>
        </p:spPr>
        <p:txBody>
          <a:bodyPr vert="horz" wrap="square" lIns="0" tIns="6064" rIns="0" bIns="0" rtlCol="0">
            <a:spAutoFit/>
          </a:bodyPr>
          <a:lstStyle/>
          <a:p>
            <a:pPr marL="5775" marR="0" lvl="0" indent="0" algn="l" defTabSz="457200" rtl="0" eaLnBrk="1" fontAlgn="auto" latinLnBrk="0" hangingPunct="1">
              <a:lnSpc>
                <a:spcPct val="100000"/>
              </a:lnSpc>
              <a:spcBef>
                <a:spcPts val="48"/>
              </a:spcBef>
              <a:spcAft>
                <a:spcPts val="0"/>
              </a:spcAft>
              <a:buClrTx/>
              <a:buSzTx/>
              <a:buFontTx/>
              <a:buNone/>
              <a:tabLst/>
              <a:defRPr/>
            </a:pPr>
            <a:r>
              <a:rPr kumimoji="0" sz="841" b="1" i="0" u="none" strike="noStrike" kern="1200" cap="none" spc="20" normalizeH="0" baseline="0" noProof="0">
                <a:ln>
                  <a:noFill/>
                </a:ln>
                <a:solidFill>
                  <a:srgbClr val="415465"/>
                </a:solidFill>
                <a:effectLst/>
                <a:uLnTx/>
                <a:uFillTx/>
                <a:latin typeface="Arial"/>
                <a:ea typeface="+mn-ea"/>
                <a:cs typeface="Arial"/>
              </a:rPr>
              <a:t>2021/22</a:t>
            </a:r>
            <a:endParaRPr kumimoji="0" sz="841" b="0" i="0" u="none" strike="noStrike" kern="1200" cap="none" spc="0" normalizeH="0" baseline="0" noProof="0">
              <a:ln>
                <a:noFill/>
              </a:ln>
              <a:solidFill>
                <a:prstClr val="black"/>
              </a:solidFill>
              <a:effectLst/>
              <a:uLnTx/>
              <a:uFillTx/>
              <a:latin typeface="Arial"/>
              <a:ea typeface="+mn-ea"/>
              <a:cs typeface="Arial"/>
            </a:endParaRPr>
          </a:p>
        </p:txBody>
      </p:sp>
      <p:sp>
        <p:nvSpPr>
          <p:cNvPr id="61" name="object 61">
            <a:extLst>
              <a:ext uri="{FF2B5EF4-FFF2-40B4-BE49-F238E27FC236}">
                <a16:creationId xmlns:a16="http://schemas.microsoft.com/office/drawing/2014/main" id="{2B80B403-7260-F2B2-17A4-8FE385BC5A4C}"/>
              </a:ext>
            </a:extLst>
          </p:cNvPr>
          <p:cNvSpPr txBox="1"/>
          <p:nvPr/>
        </p:nvSpPr>
        <p:spPr>
          <a:xfrm>
            <a:off x="7793228" y="4958188"/>
            <a:ext cx="420720" cy="135518"/>
          </a:xfrm>
          <a:prstGeom prst="rect">
            <a:avLst/>
          </a:prstGeom>
        </p:spPr>
        <p:txBody>
          <a:bodyPr vert="horz" wrap="square" lIns="0" tIns="6064" rIns="0" bIns="0" rtlCol="0">
            <a:spAutoFit/>
          </a:bodyPr>
          <a:lstStyle/>
          <a:p>
            <a:pPr marL="5775" marR="0" lvl="0" indent="0" algn="l" defTabSz="457200" rtl="0" eaLnBrk="1" fontAlgn="auto" latinLnBrk="0" hangingPunct="1">
              <a:lnSpc>
                <a:spcPct val="100000"/>
              </a:lnSpc>
              <a:spcBef>
                <a:spcPts val="48"/>
              </a:spcBef>
              <a:spcAft>
                <a:spcPts val="0"/>
              </a:spcAft>
              <a:buClrTx/>
              <a:buSzTx/>
              <a:buFontTx/>
              <a:buNone/>
              <a:tabLst/>
              <a:defRPr/>
            </a:pPr>
            <a:r>
              <a:rPr kumimoji="0" sz="841" b="1" i="0" u="none" strike="noStrike" kern="1200" cap="none" spc="20" normalizeH="0" baseline="0" noProof="0">
                <a:ln>
                  <a:noFill/>
                </a:ln>
                <a:solidFill>
                  <a:srgbClr val="415465"/>
                </a:solidFill>
                <a:effectLst/>
                <a:uLnTx/>
                <a:uFillTx/>
                <a:latin typeface="Arial"/>
                <a:ea typeface="+mn-ea"/>
                <a:cs typeface="Arial"/>
              </a:rPr>
              <a:t>2022/23</a:t>
            </a:r>
            <a:endParaRPr kumimoji="0" sz="841" b="0" i="0" u="none" strike="noStrike" kern="1200" cap="none" spc="0" normalizeH="0" baseline="0" noProof="0">
              <a:ln>
                <a:noFill/>
              </a:ln>
              <a:solidFill>
                <a:prstClr val="black"/>
              </a:solidFill>
              <a:effectLst/>
              <a:uLnTx/>
              <a:uFillTx/>
              <a:latin typeface="Arial"/>
              <a:ea typeface="+mn-ea"/>
              <a:cs typeface="Arial"/>
            </a:endParaRPr>
          </a:p>
        </p:txBody>
      </p:sp>
      <p:sp>
        <p:nvSpPr>
          <p:cNvPr id="62" name="object 62">
            <a:extLst>
              <a:ext uri="{FF2B5EF4-FFF2-40B4-BE49-F238E27FC236}">
                <a16:creationId xmlns:a16="http://schemas.microsoft.com/office/drawing/2014/main" id="{005988E3-AC2D-4742-7BE0-8DA4972CEF54}"/>
              </a:ext>
            </a:extLst>
          </p:cNvPr>
          <p:cNvSpPr txBox="1"/>
          <p:nvPr/>
        </p:nvSpPr>
        <p:spPr>
          <a:xfrm>
            <a:off x="8638942" y="4958188"/>
            <a:ext cx="420720" cy="135518"/>
          </a:xfrm>
          <a:prstGeom prst="rect">
            <a:avLst/>
          </a:prstGeom>
        </p:spPr>
        <p:txBody>
          <a:bodyPr vert="horz" wrap="square" lIns="0" tIns="6064" rIns="0" bIns="0" rtlCol="0">
            <a:spAutoFit/>
          </a:bodyPr>
          <a:lstStyle/>
          <a:p>
            <a:pPr marL="5775" marR="0" lvl="0" indent="0" algn="l" defTabSz="457200" rtl="0" eaLnBrk="1" fontAlgn="auto" latinLnBrk="0" hangingPunct="1">
              <a:lnSpc>
                <a:spcPct val="100000"/>
              </a:lnSpc>
              <a:spcBef>
                <a:spcPts val="48"/>
              </a:spcBef>
              <a:spcAft>
                <a:spcPts val="0"/>
              </a:spcAft>
              <a:buClrTx/>
              <a:buSzTx/>
              <a:buFontTx/>
              <a:buNone/>
              <a:tabLst/>
              <a:defRPr/>
            </a:pPr>
            <a:r>
              <a:rPr kumimoji="0" sz="841" b="1" i="0" u="none" strike="noStrike" kern="1200" cap="none" spc="20" normalizeH="0" baseline="0" noProof="0">
                <a:ln>
                  <a:noFill/>
                </a:ln>
                <a:solidFill>
                  <a:srgbClr val="415465"/>
                </a:solidFill>
                <a:effectLst/>
                <a:uLnTx/>
                <a:uFillTx/>
                <a:latin typeface="Arial"/>
                <a:ea typeface="+mn-ea"/>
                <a:cs typeface="Arial"/>
              </a:rPr>
              <a:t>2023/24</a:t>
            </a:r>
            <a:endParaRPr kumimoji="0" sz="841" b="0" i="0" u="none" strike="noStrike" kern="1200" cap="none" spc="0" normalizeH="0" baseline="0" noProof="0">
              <a:ln>
                <a:noFill/>
              </a:ln>
              <a:solidFill>
                <a:prstClr val="black"/>
              </a:solidFill>
              <a:effectLst/>
              <a:uLnTx/>
              <a:uFillTx/>
              <a:latin typeface="Arial"/>
              <a:ea typeface="+mn-ea"/>
              <a:cs typeface="Arial"/>
            </a:endParaRPr>
          </a:p>
        </p:txBody>
      </p:sp>
      <p:sp>
        <p:nvSpPr>
          <p:cNvPr id="63" name="object 63">
            <a:extLst>
              <a:ext uri="{FF2B5EF4-FFF2-40B4-BE49-F238E27FC236}">
                <a16:creationId xmlns:a16="http://schemas.microsoft.com/office/drawing/2014/main" id="{1739A314-B165-2349-C05B-0B734703FCBE}"/>
              </a:ext>
            </a:extLst>
          </p:cNvPr>
          <p:cNvSpPr txBox="1"/>
          <p:nvPr/>
        </p:nvSpPr>
        <p:spPr>
          <a:xfrm>
            <a:off x="9538757" y="4958188"/>
            <a:ext cx="420720" cy="135518"/>
          </a:xfrm>
          <a:prstGeom prst="rect">
            <a:avLst/>
          </a:prstGeom>
        </p:spPr>
        <p:txBody>
          <a:bodyPr vert="horz" wrap="square" lIns="0" tIns="6064" rIns="0" bIns="0" rtlCol="0">
            <a:spAutoFit/>
          </a:bodyPr>
          <a:lstStyle/>
          <a:p>
            <a:pPr marL="5775" marR="0" lvl="0" indent="0" algn="l" defTabSz="457200" rtl="0" eaLnBrk="1" fontAlgn="auto" latinLnBrk="0" hangingPunct="1">
              <a:lnSpc>
                <a:spcPct val="100000"/>
              </a:lnSpc>
              <a:spcBef>
                <a:spcPts val="48"/>
              </a:spcBef>
              <a:spcAft>
                <a:spcPts val="0"/>
              </a:spcAft>
              <a:buClrTx/>
              <a:buSzTx/>
              <a:buFontTx/>
              <a:buNone/>
              <a:tabLst/>
              <a:defRPr/>
            </a:pPr>
            <a:r>
              <a:rPr kumimoji="0" sz="841" b="1" i="0" u="none" strike="noStrike" kern="1200" cap="none" spc="20" normalizeH="0" baseline="0" noProof="0">
                <a:ln>
                  <a:noFill/>
                </a:ln>
                <a:solidFill>
                  <a:srgbClr val="415465"/>
                </a:solidFill>
                <a:effectLst/>
                <a:uLnTx/>
                <a:uFillTx/>
                <a:latin typeface="Arial"/>
                <a:ea typeface="+mn-ea"/>
                <a:cs typeface="Arial"/>
              </a:rPr>
              <a:t>2024/25</a:t>
            </a:r>
            <a:endParaRPr kumimoji="0" sz="841" b="0" i="0" u="none" strike="noStrike" kern="1200" cap="none" spc="0" normalizeH="0" baseline="0" noProof="0">
              <a:ln>
                <a:noFill/>
              </a:ln>
              <a:solidFill>
                <a:prstClr val="black"/>
              </a:solidFill>
              <a:effectLst/>
              <a:uLnTx/>
              <a:uFillTx/>
              <a:latin typeface="Arial"/>
              <a:ea typeface="+mn-ea"/>
              <a:cs typeface="Arial"/>
            </a:endParaRPr>
          </a:p>
        </p:txBody>
      </p:sp>
      <p:sp>
        <p:nvSpPr>
          <p:cNvPr id="64" name="object 64">
            <a:extLst>
              <a:ext uri="{FF2B5EF4-FFF2-40B4-BE49-F238E27FC236}">
                <a16:creationId xmlns:a16="http://schemas.microsoft.com/office/drawing/2014/main" id="{AC322C5D-9980-FACA-1397-B01C4A2E115B}"/>
              </a:ext>
            </a:extLst>
          </p:cNvPr>
          <p:cNvSpPr txBox="1"/>
          <p:nvPr/>
        </p:nvSpPr>
        <p:spPr>
          <a:xfrm>
            <a:off x="2224615" y="1706056"/>
            <a:ext cx="6817574" cy="3017774"/>
          </a:xfrm>
          <a:prstGeom prst="rect">
            <a:avLst/>
          </a:prstGeom>
        </p:spPr>
        <p:txBody>
          <a:bodyPr vert="horz" wrap="square" lIns="0" tIns="5486" rIns="0" bIns="0" rtlCol="0">
            <a:spAutoFit/>
          </a:bodyPr>
          <a:lstStyle/>
          <a:p>
            <a:pPr marL="994402" marR="65831" lvl="0" indent="656582" algn="l" defTabSz="457200" rtl="0" eaLnBrk="1" fontAlgn="auto" latinLnBrk="0" hangingPunct="1">
              <a:lnSpc>
                <a:spcPct val="100800"/>
              </a:lnSpc>
              <a:spcBef>
                <a:spcPts val="43"/>
              </a:spcBef>
              <a:spcAft>
                <a:spcPts val="0"/>
              </a:spcAft>
              <a:buClrTx/>
              <a:buSzTx/>
              <a:buFontTx/>
              <a:buNone/>
              <a:tabLst/>
              <a:defRPr/>
            </a:pPr>
            <a:r>
              <a:rPr kumimoji="0" sz="1046" b="1" i="0" u="none" strike="noStrike" kern="1200" cap="none" spc="-25" normalizeH="0" baseline="0" noProof="0">
                <a:ln>
                  <a:noFill/>
                </a:ln>
                <a:solidFill>
                  <a:srgbClr val="415465"/>
                </a:solidFill>
                <a:effectLst/>
                <a:uLnTx/>
                <a:uFillTx/>
                <a:latin typeface="Arial"/>
                <a:ea typeface="+mn-ea"/>
                <a:cs typeface="Arial"/>
              </a:rPr>
              <a:t>Türkiye’de</a:t>
            </a:r>
            <a:r>
              <a:rPr kumimoji="0" sz="1046" b="1" i="0" u="none" strike="noStrike" kern="1200" cap="none" spc="-48" normalizeH="0" baseline="0" noProof="0">
                <a:ln>
                  <a:noFill/>
                </a:ln>
                <a:solidFill>
                  <a:srgbClr val="415465"/>
                </a:solidFill>
                <a:effectLst/>
                <a:uLnTx/>
                <a:uFillTx/>
                <a:latin typeface="Arial"/>
                <a:ea typeface="+mn-ea"/>
                <a:cs typeface="Arial"/>
              </a:rPr>
              <a:t> </a:t>
            </a:r>
            <a:r>
              <a:rPr kumimoji="0" sz="1046" b="1" i="0" u="none" strike="noStrike" kern="1200" cap="none" spc="-11" normalizeH="0" baseline="0" noProof="0">
                <a:ln>
                  <a:noFill/>
                </a:ln>
                <a:solidFill>
                  <a:srgbClr val="415465"/>
                </a:solidFill>
                <a:effectLst/>
                <a:uLnTx/>
                <a:uFillTx/>
                <a:latin typeface="Arial"/>
                <a:ea typeface="+mn-ea"/>
                <a:cs typeface="Arial"/>
              </a:rPr>
              <a:t>ağır</a:t>
            </a:r>
            <a:r>
              <a:rPr kumimoji="0" sz="1046" b="1" i="0" u="none" strike="noStrike" kern="1200" cap="none" spc="-50" normalizeH="0" baseline="0" noProof="0">
                <a:ln>
                  <a:noFill/>
                </a:ln>
                <a:solidFill>
                  <a:srgbClr val="415465"/>
                </a:solidFill>
                <a:effectLst/>
                <a:uLnTx/>
                <a:uFillTx/>
                <a:latin typeface="Arial"/>
                <a:ea typeface="+mn-ea"/>
                <a:cs typeface="Arial"/>
              </a:rPr>
              <a:t> </a:t>
            </a:r>
            <a:r>
              <a:rPr kumimoji="0" sz="1046" b="1" i="0" u="none" strike="noStrike" kern="1200" cap="none" spc="-18" normalizeH="0" baseline="0" noProof="0">
                <a:ln>
                  <a:noFill/>
                </a:ln>
                <a:solidFill>
                  <a:srgbClr val="415465"/>
                </a:solidFill>
                <a:effectLst/>
                <a:uLnTx/>
                <a:uFillTx/>
                <a:latin typeface="Arial"/>
                <a:ea typeface="+mn-ea"/>
                <a:cs typeface="Arial"/>
              </a:rPr>
              <a:t>akut</a:t>
            </a:r>
            <a:r>
              <a:rPr kumimoji="0" sz="1046" b="1" i="0" u="none" strike="noStrike" kern="1200" cap="none" spc="-41" normalizeH="0" baseline="0" noProof="0">
                <a:ln>
                  <a:noFill/>
                </a:ln>
                <a:solidFill>
                  <a:srgbClr val="415465"/>
                </a:solidFill>
                <a:effectLst/>
                <a:uLnTx/>
                <a:uFillTx/>
                <a:latin typeface="Arial"/>
                <a:ea typeface="+mn-ea"/>
                <a:cs typeface="Arial"/>
              </a:rPr>
              <a:t> </a:t>
            </a:r>
            <a:r>
              <a:rPr kumimoji="0" sz="1046" b="1" i="0" u="none" strike="noStrike" kern="1200" cap="none" spc="-39" normalizeH="0" baseline="0" noProof="0">
                <a:ln>
                  <a:noFill/>
                </a:ln>
                <a:solidFill>
                  <a:srgbClr val="415465"/>
                </a:solidFill>
                <a:effectLst/>
                <a:uLnTx/>
                <a:uFillTx/>
                <a:latin typeface="Arial"/>
                <a:ea typeface="+mn-ea"/>
                <a:cs typeface="Arial"/>
              </a:rPr>
              <a:t>solunum</a:t>
            </a:r>
            <a:r>
              <a:rPr kumimoji="0" sz="1046" b="1" i="0" u="none" strike="noStrike" kern="1200" cap="none" spc="-34" normalizeH="0" baseline="0" noProof="0">
                <a:ln>
                  <a:noFill/>
                </a:ln>
                <a:solidFill>
                  <a:srgbClr val="415465"/>
                </a:solidFill>
                <a:effectLst/>
                <a:uLnTx/>
                <a:uFillTx/>
                <a:latin typeface="Arial"/>
                <a:ea typeface="+mn-ea"/>
                <a:cs typeface="Arial"/>
              </a:rPr>
              <a:t> </a:t>
            </a:r>
            <a:r>
              <a:rPr kumimoji="0" sz="1046" b="1" i="0" u="none" strike="noStrike" kern="1200" cap="none" spc="-36" normalizeH="0" baseline="0" noProof="0">
                <a:ln>
                  <a:noFill/>
                </a:ln>
                <a:solidFill>
                  <a:srgbClr val="415465"/>
                </a:solidFill>
                <a:effectLst/>
                <a:uLnTx/>
                <a:uFillTx/>
                <a:latin typeface="Arial"/>
                <a:ea typeface="+mn-ea"/>
                <a:cs typeface="Arial"/>
              </a:rPr>
              <a:t>yolu </a:t>
            </a:r>
            <a:r>
              <a:rPr kumimoji="0" sz="1046" b="1" i="0" u="none" strike="noStrike" kern="1200" cap="none" spc="-27" normalizeH="0" baseline="0" noProof="0">
                <a:ln>
                  <a:noFill/>
                </a:ln>
                <a:solidFill>
                  <a:srgbClr val="415465"/>
                </a:solidFill>
                <a:effectLst/>
                <a:uLnTx/>
                <a:uFillTx/>
                <a:latin typeface="Arial"/>
                <a:ea typeface="+mn-ea"/>
                <a:cs typeface="Arial"/>
              </a:rPr>
              <a:t>enfeksiyonu</a:t>
            </a:r>
            <a:r>
              <a:rPr kumimoji="0" sz="1046" b="1" i="0" u="none" strike="noStrike" kern="1200" cap="none" spc="-41" normalizeH="0" baseline="0" noProof="0">
                <a:ln>
                  <a:noFill/>
                </a:ln>
                <a:solidFill>
                  <a:srgbClr val="415465"/>
                </a:solidFill>
                <a:effectLst/>
                <a:uLnTx/>
                <a:uFillTx/>
                <a:latin typeface="Arial"/>
                <a:ea typeface="+mn-ea"/>
                <a:cs typeface="Arial"/>
              </a:rPr>
              <a:t> </a:t>
            </a:r>
            <a:r>
              <a:rPr kumimoji="0" sz="1046" b="1" i="0" u="none" strike="noStrike" kern="1200" cap="none" spc="-27" normalizeH="0" baseline="0" noProof="0">
                <a:ln>
                  <a:noFill/>
                </a:ln>
                <a:solidFill>
                  <a:srgbClr val="415465"/>
                </a:solidFill>
                <a:effectLst/>
                <a:uLnTx/>
                <a:uFillTx/>
                <a:latin typeface="Arial"/>
                <a:ea typeface="+mn-ea"/>
                <a:cs typeface="Arial"/>
              </a:rPr>
              <a:t>nedeni</a:t>
            </a:r>
            <a:r>
              <a:rPr kumimoji="0" sz="1046" b="1" i="0" u="none" strike="noStrike" kern="1200" cap="none" spc="-41" normalizeH="0" baseline="0" noProof="0">
                <a:ln>
                  <a:noFill/>
                </a:ln>
                <a:solidFill>
                  <a:srgbClr val="415465"/>
                </a:solidFill>
                <a:effectLst/>
                <a:uLnTx/>
                <a:uFillTx/>
                <a:latin typeface="Arial"/>
                <a:ea typeface="+mn-ea"/>
                <a:cs typeface="Arial"/>
              </a:rPr>
              <a:t> </a:t>
            </a:r>
            <a:r>
              <a:rPr kumimoji="0" sz="1046" b="1" i="0" u="none" strike="noStrike" kern="1200" cap="none" spc="0" normalizeH="0" baseline="0" noProof="0">
                <a:ln>
                  <a:noFill/>
                </a:ln>
                <a:solidFill>
                  <a:srgbClr val="415465"/>
                </a:solidFill>
                <a:effectLst/>
                <a:uLnTx/>
                <a:uFillTx/>
                <a:latin typeface="Arial"/>
                <a:ea typeface="+mn-ea"/>
                <a:cs typeface="Arial"/>
              </a:rPr>
              <a:t>ile</a:t>
            </a:r>
            <a:r>
              <a:rPr kumimoji="0" sz="1046" b="1" i="0" u="none" strike="noStrike" kern="1200" cap="none" spc="-41" normalizeH="0" baseline="0" noProof="0">
                <a:ln>
                  <a:noFill/>
                </a:ln>
                <a:solidFill>
                  <a:srgbClr val="415465"/>
                </a:solidFill>
                <a:effectLst/>
                <a:uLnTx/>
                <a:uFillTx/>
                <a:latin typeface="Arial"/>
                <a:ea typeface="+mn-ea"/>
                <a:cs typeface="Arial"/>
              </a:rPr>
              <a:t> </a:t>
            </a:r>
            <a:r>
              <a:rPr kumimoji="0" sz="1046" b="1" i="0" u="none" strike="noStrike" kern="1200" cap="none" spc="-30" normalizeH="0" baseline="0" noProof="0">
                <a:ln>
                  <a:noFill/>
                </a:ln>
                <a:solidFill>
                  <a:srgbClr val="415465"/>
                </a:solidFill>
                <a:effectLst/>
                <a:uLnTx/>
                <a:uFillTx/>
                <a:latin typeface="Arial"/>
                <a:ea typeface="+mn-ea"/>
                <a:cs typeface="Arial"/>
              </a:rPr>
              <a:t>hastaneye</a:t>
            </a:r>
            <a:r>
              <a:rPr kumimoji="0" sz="1046" b="1" i="0" u="none" strike="noStrike" kern="1200" cap="none" spc="-41" normalizeH="0" baseline="0" noProof="0">
                <a:ln>
                  <a:noFill/>
                </a:ln>
                <a:solidFill>
                  <a:srgbClr val="415465"/>
                </a:solidFill>
                <a:effectLst/>
                <a:uLnTx/>
                <a:uFillTx/>
                <a:latin typeface="Arial"/>
                <a:ea typeface="+mn-ea"/>
                <a:cs typeface="Arial"/>
              </a:rPr>
              <a:t> </a:t>
            </a:r>
            <a:r>
              <a:rPr kumimoji="0" sz="1046" b="1" i="0" u="none" strike="noStrike" kern="1200" cap="none" spc="-5" normalizeH="0" baseline="0" noProof="0">
                <a:ln>
                  <a:noFill/>
                </a:ln>
                <a:solidFill>
                  <a:srgbClr val="415465"/>
                </a:solidFill>
                <a:effectLst/>
                <a:uLnTx/>
                <a:uFillTx/>
                <a:latin typeface="Arial"/>
                <a:ea typeface="+mn-ea"/>
                <a:cs typeface="Arial"/>
              </a:rPr>
              <a:t>yatan </a:t>
            </a:r>
            <a:r>
              <a:rPr kumimoji="0" sz="1046" b="1" i="0" u="none" strike="noStrike" kern="1200" cap="none" spc="-27" normalizeH="0" baseline="0" noProof="0">
                <a:ln>
                  <a:noFill/>
                </a:ln>
                <a:solidFill>
                  <a:srgbClr val="415465"/>
                </a:solidFill>
                <a:effectLst/>
                <a:uLnTx/>
                <a:uFillTx/>
                <a:latin typeface="Arial"/>
                <a:ea typeface="+mn-ea"/>
                <a:cs typeface="Arial"/>
              </a:rPr>
              <a:t>hastalardan alınan</a:t>
            </a:r>
            <a:r>
              <a:rPr kumimoji="0" sz="1046" b="1" i="0" u="none" strike="noStrike" kern="1200" cap="none" spc="-25" normalizeH="0" baseline="0" noProof="0">
                <a:ln>
                  <a:noFill/>
                </a:ln>
                <a:solidFill>
                  <a:srgbClr val="415465"/>
                </a:solidFill>
                <a:effectLst/>
                <a:uLnTx/>
                <a:uFillTx/>
                <a:latin typeface="Arial"/>
                <a:ea typeface="+mn-ea"/>
                <a:cs typeface="Arial"/>
              </a:rPr>
              <a:t> </a:t>
            </a:r>
            <a:r>
              <a:rPr kumimoji="0" sz="1046" b="1" i="0" u="none" strike="noStrike" kern="1200" cap="none" spc="-32" normalizeH="0" baseline="0" noProof="0">
                <a:ln>
                  <a:noFill/>
                </a:ln>
                <a:solidFill>
                  <a:srgbClr val="415465"/>
                </a:solidFill>
                <a:effectLst/>
                <a:uLnTx/>
                <a:uFillTx/>
                <a:latin typeface="Arial"/>
                <a:ea typeface="+mn-ea"/>
                <a:cs typeface="Arial"/>
              </a:rPr>
              <a:t>numunelerdeki</a:t>
            </a:r>
            <a:r>
              <a:rPr kumimoji="0" sz="1046" b="1" i="0" u="none" strike="noStrike" kern="1200" cap="none" spc="-27" normalizeH="0" baseline="0" noProof="0">
                <a:ln>
                  <a:noFill/>
                </a:ln>
                <a:solidFill>
                  <a:srgbClr val="415465"/>
                </a:solidFill>
                <a:effectLst/>
                <a:uLnTx/>
                <a:uFillTx/>
                <a:latin typeface="Arial"/>
                <a:ea typeface="+mn-ea"/>
                <a:cs typeface="Arial"/>
              </a:rPr>
              <a:t> </a:t>
            </a:r>
            <a:r>
              <a:rPr kumimoji="0" sz="1046" b="1" i="0" u="none" strike="noStrike" kern="1200" cap="none" spc="-55" normalizeH="0" baseline="0" noProof="0">
                <a:ln>
                  <a:noFill/>
                </a:ln>
                <a:solidFill>
                  <a:srgbClr val="415465"/>
                </a:solidFill>
                <a:effectLst/>
                <a:uLnTx/>
                <a:uFillTx/>
                <a:latin typeface="Arial"/>
                <a:ea typeface="+mn-ea"/>
                <a:cs typeface="Arial"/>
              </a:rPr>
              <a:t>RSV</a:t>
            </a:r>
            <a:r>
              <a:rPr kumimoji="0" sz="1046" b="1" i="0" u="none" strike="noStrike" kern="1200" cap="none" spc="-25" normalizeH="0" baseline="0" noProof="0">
                <a:ln>
                  <a:noFill/>
                </a:ln>
                <a:solidFill>
                  <a:srgbClr val="415465"/>
                </a:solidFill>
                <a:effectLst/>
                <a:uLnTx/>
                <a:uFillTx/>
                <a:latin typeface="Arial"/>
                <a:ea typeface="+mn-ea"/>
                <a:cs typeface="Arial"/>
              </a:rPr>
              <a:t> </a:t>
            </a:r>
            <a:r>
              <a:rPr kumimoji="0" sz="1046" b="1" i="0" u="none" strike="noStrike" kern="1200" cap="none" spc="-14" normalizeH="0" baseline="0" noProof="0">
                <a:ln>
                  <a:noFill/>
                </a:ln>
                <a:solidFill>
                  <a:srgbClr val="415465"/>
                </a:solidFill>
                <a:effectLst/>
                <a:uLnTx/>
                <a:uFillTx/>
                <a:latin typeface="Arial"/>
                <a:ea typeface="+mn-ea"/>
                <a:cs typeface="Arial"/>
              </a:rPr>
              <a:t>pozitiflik</a:t>
            </a:r>
            <a:r>
              <a:rPr kumimoji="0" sz="1046" b="1" i="0" u="none" strike="noStrike" kern="1200" cap="none" spc="-25" normalizeH="0" baseline="0" noProof="0">
                <a:ln>
                  <a:noFill/>
                </a:ln>
                <a:solidFill>
                  <a:srgbClr val="415465"/>
                </a:solidFill>
                <a:effectLst/>
                <a:uLnTx/>
                <a:uFillTx/>
                <a:latin typeface="Arial"/>
                <a:ea typeface="+mn-ea"/>
                <a:cs typeface="Arial"/>
              </a:rPr>
              <a:t> </a:t>
            </a:r>
            <a:r>
              <a:rPr kumimoji="0" sz="1046" b="1" i="0" u="none" strike="noStrike" kern="1200" cap="none" spc="-32" normalizeH="0" baseline="0" noProof="0">
                <a:ln>
                  <a:noFill/>
                </a:ln>
                <a:solidFill>
                  <a:srgbClr val="415465"/>
                </a:solidFill>
                <a:effectLst/>
                <a:uLnTx/>
                <a:uFillTx/>
                <a:latin typeface="Arial"/>
                <a:ea typeface="+mn-ea"/>
                <a:cs typeface="Arial"/>
              </a:rPr>
              <a:t>yüzdesi,</a:t>
            </a:r>
            <a:r>
              <a:rPr kumimoji="0" sz="1046" b="1" i="0" u="none" strike="noStrike" kern="1200" cap="none" spc="-27" normalizeH="0" baseline="0" noProof="0">
                <a:ln>
                  <a:noFill/>
                </a:ln>
                <a:solidFill>
                  <a:srgbClr val="415465"/>
                </a:solidFill>
                <a:effectLst/>
                <a:uLnTx/>
                <a:uFillTx/>
                <a:latin typeface="Arial"/>
                <a:ea typeface="+mn-ea"/>
                <a:cs typeface="Arial"/>
              </a:rPr>
              <a:t> </a:t>
            </a:r>
            <a:r>
              <a:rPr kumimoji="0" sz="1046" b="1" i="0" u="none" strike="noStrike" kern="1200" cap="none" spc="-23" normalizeH="0" baseline="0" noProof="0">
                <a:ln>
                  <a:noFill/>
                </a:ln>
                <a:solidFill>
                  <a:srgbClr val="415465"/>
                </a:solidFill>
                <a:effectLst/>
                <a:uLnTx/>
                <a:uFillTx/>
                <a:latin typeface="Arial"/>
                <a:ea typeface="+mn-ea"/>
                <a:cs typeface="Arial"/>
              </a:rPr>
              <a:t>Sentinel</a:t>
            </a:r>
            <a:r>
              <a:rPr kumimoji="0" sz="1046" b="1" i="0" u="none" strike="noStrike" kern="1200" cap="none" spc="-25" normalizeH="0" baseline="0" noProof="0">
                <a:ln>
                  <a:noFill/>
                </a:ln>
                <a:solidFill>
                  <a:srgbClr val="415465"/>
                </a:solidFill>
                <a:effectLst/>
                <a:uLnTx/>
                <a:uFillTx/>
                <a:latin typeface="Arial"/>
                <a:ea typeface="+mn-ea"/>
                <a:cs typeface="Arial"/>
              </a:rPr>
              <a:t> </a:t>
            </a:r>
            <a:r>
              <a:rPr kumimoji="0" sz="1046" b="1" i="0" u="none" strike="noStrike" kern="1200" cap="none" spc="-45" normalizeH="0" baseline="0" noProof="0">
                <a:ln>
                  <a:noFill/>
                </a:ln>
                <a:solidFill>
                  <a:srgbClr val="415465"/>
                </a:solidFill>
                <a:effectLst/>
                <a:uLnTx/>
                <a:uFillTx/>
                <a:latin typeface="Arial"/>
                <a:ea typeface="+mn-ea"/>
                <a:cs typeface="Arial"/>
              </a:rPr>
              <a:t>SARI</a:t>
            </a:r>
            <a:r>
              <a:rPr kumimoji="0" sz="1046" b="1" i="0" u="none" strike="noStrike" kern="1200" cap="none" spc="-25" normalizeH="0" baseline="0" noProof="0">
                <a:ln>
                  <a:noFill/>
                </a:ln>
                <a:solidFill>
                  <a:srgbClr val="415465"/>
                </a:solidFill>
                <a:effectLst/>
                <a:uLnTx/>
                <a:uFillTx/>
                <a:latin typeface="Arial"/>
                <a:ea typeface="+mn-ea"/>
                <a:cs typeface="Arial"/>
              </a:rPr>
              <a:t> </a:t>
            </a:r>
            <a:r>
              <a:rPr kumimoji="0" sz="1046" b="1" i="0" u="none" strike="noStrike" kern="1200" cap="none" spc="-43" normalizeH="0" baseline="0" noProof="0">
                <a:ln>
                  <a:noFill/>
                </a:ln>
                <a:solidFill>
                  <a:srgbClr val="415465"/>
                </a:solidFill>
                <a:effectLst/>
                <a:uLnTx/>
                <a:uFillTx/>
                <a:latin typeface="Arial"/>
                <a:ea typeface="+mn-ea"/>
                <a:cs typeface="Arial"/>
              </a:rPr>
              <a:t>Sürveyansı,</a:t>
            </a:r>
            <a:r>
              <a:rPr kumimoji="0" sz="1046" b="1" i="0" u="none" strike="noStrike" kern="1200" cap="none" spc="-27" normalizeH="0" baseline="0" noProof="0">
                <a:ln>
                  <a:noFill/>
                </a:ln>
                <a:solidFill>
                  <a:srgbClr val="415465"/>
                </a:solidFill>
                <a:effectLst/>
                <a:uLnTx/>
                <a:uFillTx/>
                <a:latin typeface="Arial"/>
                <a:ea typeface="+mn-ea"/>
                <a:cs typeface="Arial"/>
              </a:rPr>
              <a:t> </a:t>
            </a:r>
            <a:r>
              <a:rPr kumimoji="0" sz="1046" b="1" i="0" u="none" strike="noStrike" kern="1200" cap="none" spc="25" normalizeH="0" baseline="0" noProof="0">
                <a:ln>
                  <a:noFill/>
                </a:ln>
                <a:solidFill>
                  <a:srgbClr val="415465"/>
                </a:solidFill>
                <a:effectLst/>
                <a:uLnTx/>
                <a:uFillTx/>
                <a:latin typeface="Arial"/>
                <a:ea typeface="+mn-ea"/>
                <a:cs typeface="Arial"/>
              </a:rPr>
              <a:t>2016-</a:t>
            </a:r>
            <a:r>
              <a:rPr kumimoji="0" sz="1046" b="1" i="0" u="none" strike="noStrike" kern="1200" cap="none" spc="16" normalizeH="0" baseline="0" noProof="0">
                <a:ln>
                  <a:noFill/>
                </a:ln>
                <a:solidFill>
                  <a:srgbClr val="415465"/>
                </a:solidFill>
                <a:effectLst/>
                <a:uLnTx/>
                <a:uFillTx/>
                <a:latin typeface="Arial"/>
                <a:ea typeface="+mn-ea"/>
                <a:cs typeface="Arial"/>
              </a:rPr>
              <a:t>2025</a:t>
            </a:r>
            <a:r>
              <a:rPr kumimoji="0" sz="921" b="1" i="0" u="none" strike="noStrike" kern="1200" cap="none" spc="24" normalizeH="0" baseline="30864" noProof="0">
                <a:ln>
                  <a:noFill/>
                </a:ln>
                <a:solidFill>
                  <a:srgbClr val="415465"/>
                </a:solidFill>
                <a:effectLst/>
                <a:uLnTx/>
                <a:uFillTx/>
                <a:latin typeface="Arial"/>
                <a:ea typeface="+mn-ea"/>
                <a:cs typeface="Arial"/>
              </a:rPr>
              <a:t>2</a:t>
            </a:r>
            <a:endParaRPr kumimoji="0" sz="921" b="0" i="0" u="none" strike="noStrike" kern="1200" cap="none" spc="0" normalizeH="0" baseline="30864"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sz="1046"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ts val="100"/>
              </a:spcBef>
              <a:spcAft>
                <a:spcPts val="0"/>
              </a:spcAft>
              <a:buClrTx/>
              <a:buSzTx/>
              <a:buFontTx/>
              <a:buNone/>
              <a:tabLst/>
              <a:defRPr/>
            </a:pPr>
            <a:endParaRPr kumimoji="0" sz="1046" b="0" i="0" u="none" strike="noStrike" kern="1200" cap="none" spc="0" normalizeH="0" baseline="0" noProof="0">
              <a:ln>
                <a:noFill/>
              </a:ln>
              <a:solidFill>
                <a:prstClr val="black"/>
              </a:solidFill>
              <a:effectLst/>
              <a:uLnTx/>
              <a:uFillTx/>
              <a:latin typeface="Arial"/>
              <a:ea typeface="+mn-ea"/>
              <a:cs typeface="Arial"/>
            </a:endParaRPr>
          </a:p>
          <a:p>
            <a:pPr marL="577469" marR="0" lvl="0" indent="0" algn="l" defTabSz="457200" rtl="0" eaLnBrk="1" fontAlgn="auto" latinLnBrk="0" hangingPunct="1">
              <a:lnSpc>
                <a:spcPct val="100000"/>
              </a:lnSpc>
              <a:spcBef>
                <a:spcPts val="0"/>
              </a:spcBef>
              <a:spcAft>
                <a:spcPts val="0"/>
              </a:spcAft>
              <a:buClrTx/>
              <a:buSzTx/>
              <a:buFontTx/>
              <a:buNone/>
              <a:tabLst/>
              <a:defRPr/>
            </a:pPr>
            <a:r>
              <a:rPr kumimoji="0" sz="841" b="0" i="0" u="none" strike="noStrike" kern="1200" cap="none" spc="-11" normalizeH="0" baseline="0" noProof="0">
                <a:ln>
                  <a:noFill/>
                </a:ln>
                <a:solidFill>
                  <a:srgbClr val="415465"/>
                </a:solidFill>
                <a:effectLst/>
                <a:uLnTx/>
                <a:uFillTx/>
                <a:latin typeface="Arial"/>
                <a:ea typeface="+mn-ea"/>
                <a:cs typeface="Arial"/>
              </a:rPr>
              <a:t>RSV</a:t>
            </a:r>
            <a:endParaRPr kumimoji="0" sz="841" b="0" i="0" u="none" strike="noStrike" kern="1200" cap="none" spc="0" normalizeH="0" baseline="0" noProof="0">
              <a:ln>
                <a:noFill/>
              </a:ln>
              <a:solidFill>
                <a:prstClr val="black"/>
              </a:solidFill>
              <a:effectLst/>
              <a:uLnTx/>
              <a:uFillTx/>
              <a:latin typeface="Arial"/>
              <a:ea typeface="+mn-ea"/>
              <a:cs typeface="Arial"/>
            </a:endParaRPr>
          </a:p>
          <a:p>
            <a:pPr marL="51972" marR="0" lvl="0" indent="0" algn="l" defTabSz="457200" rtl="0" eaLnBrk="1" fontAlgn="auto" latinLnBrk="0" hangingPunct="1">
              <a:lnSpc>
                <a:spcPct val="100000"/>
              </a:lnSpc>
              <a:spcBef>
                <a:spcPts val="95"/>
              </a:spcBef>
              <a:spcAft>
                <a:spcPts val="0"/>
              </a:spcAft>
              <a:buClrTx/>
              <a:buSzTx/>
              <a:buFontTx/>
              <a:buNone/>
              <a:tabLst/>
              <a:defRPr/>
            </a:pPr>
            <a:r>
              <a:rPr kumimoji="0" sz="841" b="0" i="0" u="none" strike="noStrike" kern="1200" cap="none" spc="-11" normalizeH="0" baseline="0" noProof="0">
                <a:ln>
                  <a:noFill/>
                </a:ln>
                <a:solidFill>
                  <a:srgbClr val="415465"/>
                </a:solidFill>
                <a:effectLst/>
                <a:uLnTx/>
                <a:uFillTx/>
                <a:latin typeface="Arial"/>
                <a:ea typeface="+mn-ea"/>
                <a:cs typeface="Arial"/>
              </a:rPr>
              <a:t>70</a:t>
            </a:r>
            <a:endParaRPr kumimoji="0" sz="841"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ts val="259"/>
              </a:spcBef>
              <a:spcAft>
                <a:spcPts val="0"/>
              </a:spcAft>
              <a:buClrTx/>
              <a:buSzTx/>
              <a:buFontTx/>
              <a:buNone/>
              <a:tabLst/>
              <a:defRPr/>
            </a:pPr>
            <a:endParaRPr kumimoji="0" sz="841" b="0" i="0" u="none" strike="noStrike" kern="1200" cap="none" spc="0" normalizeH="0" baseline="0" noProof="0">
              <a:ln>
                <a:noFill/>
              </a:ln>
              <a:solidFill>
                <a:prstClr val="black"/>
              </a:solidFill>
              <a:effectLst/>
              <a:uLnTx/>
              <a:uFillTx/>
              <a:latin typeface="Arial"/>
              <a:ea typeface="+mn-ea"/>
              <a:cs typeface="Arial"/>
            </a:endParaRPr>
          </a:p>
          <a:p>
            <a:pPr marL="51972" marR="0" lvl="0" indent="0" algn="l" defTabSz="457200" rtl="0" eaLnBrk="1" fontAlgn="auto" latinLnBrk="0" hangingPunct="1">
              <a:lnSpc>
                <a:spcPct val="100000"/>
              </a:lnSpc>
              <a:spcBef>
                <a:spcPts val="0"/>
              </a:spcBef>
              <a:spcAft>
                <a:spcPts val="0"/>
              </a:spcAft>
              <a:buClrTx/>
              <a:buSzTx/>
              <a:buFontTx/>
              <a:buNone/>
              <a:tabLst/>
              <a:defRPr/>
            </a:pPr>
            <a:r>
              <a:rPr kumimoji="0" sz="841" b="0" i="0" u="none" strike="noStrike" kern="1200" cap="none" spc="-11" normalizeH="0" baseline="0" noProof="0">
                <a:ln>
                  <a:noFill/>
                </a:ln>
                <a:solidFill>
                  <a:srgbClr val="415465"/>
                </a:solidFill>
                <a:effectLst/>
                <a:uLnTx/>
                <a:uFillTx/>
                <a:latin typeface="Arial"/>
                <a:ea typeface="+mn-ea"/>
                <a:cs typeface="Arial"/>
              </a:rPr>
              <a:t>60</a:t>
            </a:r>
            <a:endParaRPr kumimoji="0" sz="841"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ts val="341"/>
              </a:spcBef>
              <a:spcAft>
                <a:spcPts val="0"/>
              </a:spcAft>
              <a:buClrTx/>
              <a:buSzTx/>
              <a:buFontTx/>
              <a:buNone/>
              <a:tabLst/>
              <a:defRPr/>
            </a:pPr>
            <a:endParaRPr kumimoji="0" sz="841" b="0" i="0" u="none" strike="noStrike" kern="1200" cap="none" spc="0" normalizeH="0" baseline="0" noProof="0">
              <a:ln>
                <a:noFill/>
              </a:ln>
              <a:solidFill>
                <a:prstClr val="black"/>
              </a:solidFill>
              <a:effectLst/>
              <a:uLnTx/>
              <a:uFillTx/>
              <a:latin typeface="Arial"/>
              <a:ea typeface="+mn-ea"/>
              <a:cs typeface="Arial"/>
            </a:endParaRPr>
          </a:p>
          <a:p>
            <a:pPr marL="51972" marR="0" lvl="0" indent="0" algn="l" defTabSz="457200" rtl="0" eaLnBrk="1" fontAlgn="auto" latinLnBrk="0" hangingPunct="1">
              <a:lnSpc>
                <a:spcPct val="100000"/>
              </a:lnSpc>
              <a:spcBef>
                <a:spcPts val="2"/>
              </a:spcBef>
              <a:spcAft>
                <a:spcPts val="0"/>
              </a:spcAft>
              <a:buClrTx/>
              <a:buSzTx/>
              <a:buFontTx/>
              <a:buNone/>
              <a:tabLst/>
              <a:defRPr/>
            </a:pPr>
            <a:r>
              <a:rPr kumimoji="0" sz="841" b="0" i="0" u="none" strike="noStrike" kern="1200" cap="none" spc="-11" normalizeH="0" baseline="0" noProof="0">
                <a:ln>
                  <a:noFill/>
                </a:ln>
                <a:solidFill>
                  <a:srgbClr val="415465"/>
                </a:solidFill>
                <a:effectLst/>
                <a:uLnTx/>
                <a:uFillTx/>
                <a:latin typeface="Arial"/>
                <a:ea typeface="+mn-ea"/>
                <a:cs typeface="Arial"/>
              </a:rPr>
              <a:t>50</a:t>
            </a:r>
            <a:endParaRPr kumimoji="0" sz="841"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ts val="257"/>
              </a:spcBef>
              <a:spcAft>
                <a:spcPts val="0"/>
              </a:spcAft>
              <a:buClrTx/>
              <a:buSzTx/>
              <a:buFontTx/>
              <a:buNone/>
              <a:tabLst/>
              <a:defRPr/>
            </a:pPr>
            <a:endParaRPr kumimoji="0" sz="841" b="0" i="0" u="none" strike="noStrike" kern="1200" cap="none" spc="0" normalizeH="0" baseline="0" noProof="0">
              <a:ln>
                <a:noFill/>
              </a:ln>
              <a:solidFill>
                <a:prstClr val="black"/>
              </a:solidFill>
              <a:effectLst/>
              <a:uLnTx/>
              <a:uFillTx/>
              <a:latin typeface="Arial"/>
              <a:ea typeface="+mn-ea"/>
              <a:cs typeface="Arial"/>
            </a:endParaRPr>
          </a:p>
          <a:p>
            <a:pPr marL="51972" marR="0" lvl="0" indent="0" algn="l" defTabSz="457200" rtl="0" eaLnBrk="1" fontAlgn="auto" latinLnBrk="0" hangingPunct="1">
              <a:lnSpc>
                <a:spcPct val="100000"/>
              </a:lnSpc>
              <a:spcBef>
                <a:spcPts val="2"/>
              </a:spcBef>
              <a:spcAft>
                <a:spcPts val="0"/>
              </a:spcAft>
              <a:buClrTx/>
              <a:buSzTx/>
              <a:buFontTx/>
              <a:buNone/>
              <a:tabLst/>
              <a:defRPr/>
            </a:pPr>
            <a:r>
              <a:rPr kumimoji="0" sz="841" b="0" i="0" u="none" strike="noStrike" kern="1200" cap="none" spc="-11" normalizeH="0" baseline="0" noProof="0">
                <a:ln>
                  <a:noFill/>
                </a:ln>
                <a:solidFill>
                  <a:srgbClr val="415465"/>
                </a:solidFill>
                <a:effectLst/>
                <a:uLnTx/>
                <a:uFillTx/>
                <a:latin typeface="Arial"/>
                <a:ea typeface="+mn-ea"/>
                <a:cs typeface="Arial"/>
              </a:rPr>
              <a:t>40</a:t>
            </a:r>
            <a:endParaRPr kumimoji="0" sz="841"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ts val="318"/>
              </a:spcBef>
              <a:spcAft>
                <a:spcPts val="0"/>
              </a:spcAft>
              <a:buClrTx/>
              <a:buSzTx/>
              <a:buFontTx/>
              <a:buNone/>
              <a:tabLst/>
              <a:defRPr/>
            </a:pPr>
            <a:endParaRPr kumimoji="0" sz="841" b="0" i="0" u="none" strike="noStrike" kern="1200" cap="none" spc="0" normalizeH="0" baseline="0" noProof="0">
              <a:ln>
                <a:noFill/>
              </a:ln>
              <a:solidFill>
                <a:prstClr val="black"/>
              </a:solidFill>
              <a:effectLst/>
              <a:uLnTx/>
              <a:uFillTx/>
              <a:latin typeface="Arial"/>
              <a:ea typeface="+mn-ea"/>
              <a:cs typeface="Arial"/>
            </a:endParaRPr>
          </a:p>
          <a:p>
            <a:pPr marL="51972" marR="0" lvl="0" indent="0" algn="l" defTabSz="457200" rtl="0" eaLnBrk="1" fontAlgn="auto" latinLnBrk="0" hangingPunct="1">
              <a:lnSpc>
                <a:spcPct val="100000"/>
              </a:lnSpc>
              <a:spcBef>
                <a:spcPts val="0"/>
              </a:spcBef>
              <a:spcAft>
                <a:spcPts val="0"/>
              </a:spcAft>
              <a:buClrTx/>
              <a:buSzTx/>
              <a:buFontTx/>
              <a:buNone/>
              <a:tabLst/>
              <a:defRPr/>
            </a:pPr>
            <a:r>
              <a:rPr kumimoji="0" sz="841" b="0" i="0" u="none" strike="noStrike" kern="1200" cap="none" spc="-11" normalizeH="0" baseline="0" noProof="0">
                <a:ln>
                  <a:noFill/>
                </a:ln>
                <a:solidFill>
                  <a:srgbClr val="415465"/>
                </a:solidFill>
                <a:effectLst/>
                <a:uLnTx/>
                <a:uFillTx/>
                <a:latin typeface="Arial"/>
                <a:ea typeface="+mn-ea"/>
                <a:cs typeface="Arial"/>
              </a:rPr>
              <a:t>30</a:t>
            </a:r>
            <a:endParaRPr kumimoji="0" sz="841"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ts val="277"/>
              </a:spcBef>
              <a:spcAft>
                <a:spcPts val="0"/>
              </a:spcAft>
              <a:buClrTx/>
              <a:buSzTx/>
              <a:buFontTx/>
              <a:buNone/>
              <a:tabLst/>
              <a:defRPr/>
            </a:pPr>
            <a:endParaRPr kumimoji="0" sz="841" b="0" i="0" u="none" strike="noStrike" kern="1200" cap="none" spc="0" normalizeH="0" baseline="0" noProof="0">
              <a:ln>
                <a:noFill/>
              </a:ln>
              <a:solidFill>
                <a:prstClr val="black"/>
              </a:solidFill>
              <a:effectLst/>
              <a:uLnTx/>
              <a:uFillTx/>
              <a:latin typeface="Arial"/>
              <a:ea typeface="+mn-ea"/>
              <a:cs typeface="Arial"/>
            </a:endParaRPr>
          </a:p>
          <a:p>
            <a:pPr marL="51972" marR="0" lvl="0" indent="0" algn="l" defTabSz="457200" rtl="0" eaLnBrk="1" fontAlgn="auto" latinLnBrk="0" hangingPunct="1">
              <a:lnSpc>
                <a:spcPct val="100000"/>
              </a:lnSpc>
              <a:spcBef>
                <a:spcPts val="0"/>
              </a:spcBef>
              <a:spcAft>
                <a:spcPts val="0"/>
              </a:spcAft>
              <a:buClrTx/>
              <a:buSzTx/>
              <a:buFontTx/>
              <a:buNone/>
              <a:tabLst/>
              <a:defRPr/>
            </a:pPr>
            <a:r>
              <a:rPr kumimoji="0" sz="841" b="0" i="0" u="none" strike="noStrike" kern="1200" cap="none" spc="-11" normalizeH="0" baseline="0" noProof="0">
                <a:ln>
                  <a:noFill/>
                </a:ln>
                <a:solidFill>
                  <a:srgbClr val="415465"/>
                </a:solidFill>
                <a:effectLst/>
                <a:uLnTx/>
                <a:uFillTx/>
                <a:latin typeface="Arial"/>
                <a:ea typeface="+mn-ea"/>
                <a:cs typeface="Arial"/>
              </a:rPr>
              <a:t>20</a:t>
            </a:r>
            <a:endParaRPr kumimoji="0" sz="841"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ts val="330"/>
              </a:spcBef>
              <a:spcAft>
                <a:spcPts val="0"/>
              </a:spcAft>
              <a:buClrTx/>
              <a:buSzTx/>
              <a:buFontTx/>
              <a:buNone/>
              <a:tabLst/>
              <a:defRPr/>
            </a:pPr>
            <a:endParaRPr kumimoji="0" sz="841" b="0" i="0" u="none" strike="noStrike" kern="1200" cap="none" spc="0" normalizeH="0" baseline="0" noProof="0">
              <a:ln>
                <a:noFill/>
              </a:ln>
              <a:solidFill>
                <a:prstClr val="black"/>
              </a:solidFill>
              <a:effectLst/>
              <a:uLnTx/>
              <a:uFillTx/>
              <a:latin typeface="Arial"/>
              <a:ea typeface="+mn-ea"/>
              <a:cs typeface="Arial"/>
            </a:endParaRPr>
          </a:p>
          <a:p>
            <a:pPr marL="51972" marR="0" lvl="0" indent="0" algn="l" defTabSz="457200" rtl="0" eaLnBrk="1" fontAlgn="auto" latinLnBrk="0" hangingPunct="1">
              <a:lnSpc>
                <a:spcPct val="100000"/>
              </a:lnSpc>
              <a:spcBef>
                <a:spcPts val="2"/>
              </a:spcBef>
              <a:spcAft>
                <a:spcPts val="0"/>
              </a:spcAft>
              <a:buClrTx/>
              <a:buSzTx/>
              <a:buFontTx/>
              <a:buNone/>
              <a:tabLst/>
              <a:defRPr/>
            </a:pPr>
            <a:r>
              <a:rPr kumimoji="0" sz="841" b="0" i="0" u="none" strike="noStrike" kern="1200" cap="none" spc="-11" normalizeH="0" baseline="0" noProof="0">
                <a:ln>
                  <a:noFill/>
                </a:ln>
                <a:solidFill>
                  <a:srgbClr val="415465"/>
                </a:solidFill>
                <a:effectLst/>
                <a:uLnTx/>
                <a:uFillTx/>
                <a:latin typeface="Arial"/>
                <a:ea typeface="+mn-ea"/>
                <a:cs typeface="Arial"/>
              </a:rPr>
              <a:t>10</a:t>
            </a:r>
            <a:endParaRPr kumimoji="0" sz="841"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ts val="282"/>
              </a:spcBef>
              <a:spcAft>
                <a:spcPts val="0"/>
              </a:spcAft>
              <a:buClrTx/>
              <a:buSzTx/>
              <a:buFontTx/>
              <a:buNone/>
              <a:tabLst/>
              <a:defRPr/>
            </a:pPr>
            <a:endParaRPr kumimoji="0" sz="841" b="0" i="0" u="none" strike="noStrike" kern="1200" cap="none" spc="0" normalizeH="0" baseline="0" noProof="0">
              <a:ln>
                <a:noFill/>
              </a:ln>
              <a:solidFill>
                <a:prstClr val="black"/>
              </a:solidFill>
              <a:effectLst/>
              <a:uLnTx/>
              <a:uFillTx/>
              <a:latin typeface="Arial"/>
              <a:ea typeface="+mn-ea"/>
              <a:cs typeface="Arial"/>
            </a:endParaRPr>
          </a:p>
          <a:p>
            <a:pPr marL="112029" marR="0" lvl="0" indent="0" algn="l" defTabSz="457200" rtl="0" eaLnBrk="1" fontAlgn="auto" latinLnBrk="0" hangingPunct="1">
              <a:lnSpc>
                <a:spcPct val="100000"/>
              </a:lnSpc>
              <a:spcBef>
                <a:spcPts val="0"/>
              </a:spcBef>
              <a:spcAft>
                <a:spcPts val="0"/>
              </a:spcAft>
              <a:buClrTx/>
              <a:buSzTx/>
              <a:buFontTx/>
              <a:buNone/>
              <a:tabLst/>
              <a:defRPr/>
            </a:pPr>
            <a:r>
              <a:rPr kumimoji="0" sz="841" b="0" i="0" u="none" strike="noStrike" kern="1200" cap="none" spc="-23" normalizeH="0" baseline="0" noProof="0">
                <a:ln>
                  <a:noFill/>
                </a:ln>
                <a:solidFill>
                  <a:srgbClr val="415465"/>
                </a:solidFill>
                <a:effectLst/>
                <a:uLnTx/>
                <a:uFillTx/>
                <a:latin typeface="Arial"/>
                <a:ea typeface="+mn-ea"/>
                <a:cs typeface="Arial"/>
              </a:rPr>
              <a:t>0</a:t>
            </a:r>
            <a:endParaRPr kumimoji="0" sz="841" b="0" i="0" u="none" strike="noStrike" kern="1200" cap="none" spc="0" normalizeH="0" baseline="0" noProof="0">
              <a:ln>
                <a:noFill/>
              </a:ln>
              <a:solidFill>
                <a:prstClr val="black"/>
              </a:solidFill>
              <a:effectLst/>
              <a:uLnTx/>
              <a:uFillTx/>
              <a:latin typeface="Arial"/>
              <a:ea typeface="+mn-ea"/>
              <a:cs typeface="Arial"/>
            </a:endParaRPr>
          </a:p>
        </p:txBody>
      </p:sp>
      <p:sp>
        <p:nvSpPr>
          <p:cNvPr id="65" name="object 65">
            <a:extLst>
              <a:ext uri="{FF2B5EF4-FFF2-40B4-BE49-F238E27FC236}">
                <a16:creationId xmlns:a16="http://schemas.microsoft.com/office/drawing/2014/main" id="{1E8FECE5-6568-FE39-A170-D88C9AA49F86}"/>
              </a:ext>
            </a:extLst>
          </p:cNvPr>
          <p:cNvSpPr/>
          <p:nvPr/>
        </p:nvSpPr>
        <p:spPr>
          <a:xfrm>
            <a:off x="2455045" y="2565443"/>
            <a:ext cx="0" cy="2022172"/>
          </a:xfrm>
          <a:custGeom>
            <a:avLst/>
            <a:gdLst/>
            <a:ahLst/>
            <a:cxnLst/>
            <a:rect l="l" t="t" r="r" b="b"/>
            <a:pathLst>
              <a:path h="4446905">
                <a:moveTo>
                  <a:pt x="0" y="4446775"/>
                </a:moveTo>
                <a:lnTo>
                  <a:pt x="0" y="0"/>
                </a:lnTo>
              </a:path>
            </a:pathLst>
          </a:custGeom>
          <a:ln w="13743">
            <a:solidFill>
              <a:srgbClr val="415465"/>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818"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C483D2C6-4DBA-79BD-4321-D455E2C08899}"/>
              </a:ext>
            </a:extLst>
          </p:cNvPr>
          <p:cNvSpPr txBox="1"/>
          <p:nvPr/>
        </p:nvSpPr>
        <p:spPr>
          <a:xfrm>
            <a:off x="613152" y="5785894"/>
            <a:ext cx="10409607" cy="428322"/>
          </a:xfrm>
          <a:prstGeom prst="rect">
            <a:avLst/>
          </a:prstGeom>
          <a:noFill/>
        </p:spPr>
        <p:txBody>
          <a:bodyPr wrap="square">
            <a:spAutoFit/>
          </a:bodyPr>
          <a:lstStyle/>
          <a:p>
            <a:pPr marR="5080" lvl="0" defTabSz="457200" rtl="0" eaLnBrk="1" fontAlgn="auto" latinLnBrk="0" hangingPunct="1">
              <a:spcBef>
                <a:spcPts val="90"/>
              </a:spcBef>
              <a:spcAft>
                <a:spcPts val="0"/>
              </a:spcAft>
              <a:buClrTx/>
              <a:buSzTx/>
              <a:tabLst>
                <a:tab pos="552450" algn="l"/>
              </a:tabLst>
              <a:defRPr/>
            </a:pPr>
            <a:r>
              <a:rPr lang="en-US" sz="700" dirty="0">
                <a:solidFill>
                  <a:prstClr val="black"/>
                </a:solidFill>
                <a:latin typeface="Arial"/>
                <a:cs typeface="Arial"/>
              </a:rPr>
              <a:t>2. </a:t>
            </a:r>
            <a:r>
              <a:rPr kumimoji="0" lang="en-US" sz="700" b="0" i="0" u="none" strike="noStrike" kern="1200" cap="none" normalizeH="0" baseline="0" noProof="0" dirty="0">
                <a:ln>
                  <a:noFill/>
                </a:ln>
                <a:solidFill>
                  <a:srgbClr val="415465"/>
                </a:solidFill>
                <a:effectLst/>
                <a:uLnTx/>
                <a:uFillTx/>
                <a:latin typeface="Arial"/>
                <a:ea typeface="+mn-ea"/>
                <a:cs typeface="Arial"/>
              </a:rPr>
              <a:t>T.C. SAĞLIK BAKANLIĞI Halk </a:t>
            </a:r>
            <a:r>
              <a:rPr kumimoji="0" lang="en-US" sz="700" b="0" i="0" u="none" strike="noStrike" kern="1200" cap="none" normalizeH="0" baseline="0" noProof="0" dirty="0" err="1">
                <a:ln>
                  <a:noFill/>
                </a:ln>
                <a:solidFill>
                  <a:srgbClr val="415465"/>
                </a:solidFill>
                <a:effectLst/>
                <a:uLnTx/>
                <a:uFillTx/>
                <a:latin typeface="Arial"/>
                <a:ea typeface="+mn-ea"/>
                <a:cs typeface="Arial"/>
              </a:rPr>
              <a:t>Sağlığı</a:t>
            </a:r>
            <a:r>
              <a:rPr kumimoji="0" lang="en-US" sz="700" b="0" i="0" u="none" strike="noStrike" kern="1200" cap="none" normalizeH="0" baseline="0" noProof="0" dirty="0">
                <a:ln>
                  <a:noFill/>
                </a:ln>
                <a:solidFill>
                  <a:srgbClr val="415465"/>
                </a:solidFill>
                <a:effectLst/>
                <a:uLnTx/>
                <a:uFillTx/>
                <a:latin typeface="Arial"/>
                <a:ea typeface="+mn-ea"/>
                <a:cs typeface="Arial"/>
              </a:rPr>
              <a:t> Genel </a:t>
            </a:r>
            <a:r>
              <a:rPr kumimoji="0" lang="en-US" sz="700" b="0" i="0" u="none" strike="noStrike" kern="1200" cap="none" normalizeH="0" baseline="0" noProof="0" dirty="0" err="1">
                <a:ln>
                  <a:noFill/>
                </a:ln>
                <a:solidFill>
                  <a:srgbClr val="415465"/>
                </a:solidFill>
                <a:effectLst/>
                <a:uLnTx/>
                <a:uFillTx/>
                <a:latin typeface="Arial"/>
                <a:ea typeface="+mn-ea"/>
                <a:cs typeface="Arial"/>
              </a:rPr>
              <a:t>Müdürlüğü</a:t>
            </a:r>
            <a:r>
              <a:rPr kumimoji="0" lang="en-US" sz="700" b="0" i="0" u="none" strike="noStrike" kern="1200" cap="none" normalizeH="0" baseline="0" noProof="0" dirty="0">
                <a:ln>
                  <a:noFill/>
                </a:ln>
                <a:solidFill>
                  <a:srgbClr val="415465"/>
                </a:solidFill>
                <a:effectLst/>
                <a:uLnTx/>
                <a:uFillTx/>
                <a:latin typeface="Arial"/>
                <a:ea typeface="+mn-ea"/>
                <a:cs typeface="Arial"/>
              </a:rPr>
              <a:t> </a:t>
            </a:r>
            <a:r>
              <a:rPr kumimoji="0" lang="en-US" sz="700" b="0" i="0" u="none" strike="noStrike" kern="1200" cap="none" normalizeH="0" baseline="0" noProof="0" dirty="0" err="1">
                <a:ln>
                  <a:noFill/>
                </a:ln>
                <a:solidFill>
                  <a:srgbClr val="415465"/>
                </a:solidFill>
                <a:effectLst/>
                <a:uLnTx/>
                <a:uFillTx/>
                <a:latin typeface="Arial"/>
                <a:ea typeface="+mn-ea"/>
                <a:cs typeface="Arial"/>
              </a:rPr>
              <a:t>Bulaşıcı</a:t>
            </a:r>
            <a:r>
              <a:rPr kumimoji="0" lang="en-US" sz="700" b="0" i="0" u="none" strike="noStrike" kern="1200" cap="none" normalizeH="0" baseline="0" noProof="0" dirty="0">
                <a:ln>
                  <a:noFill/>
                </a:ln>
                <a:solidFill>
                  <a:srgbClr val="415465"/>
                </a:solidFill>
                <a:effectLst/>
                <a:uLnTx/>
                <a:uFillTx/>
                <a:latin typeface="Arial"/>
                <a:ea typeface="+mn-ea"/>
                <a:cs typeface="Arial"/>
              </a:rPr>
              <a:t> </a:t>
            </a:r>
            <a:r>
              <a:rPr kumimoji="0" lang="en-US" sz="700" b="0" i="0" u="none" strike="noStrike" kern="1200" cap="none" normalizeH="0" baseline="0" noProof="0" dirty="0" err="1">
                <a:ln>
                  <a:noFill/>
                </a:ln>
                <a:solidFill>
                  <a:srgbClr val="415465"/>
                </a:solidFill>
                <a:effectLst/>
                <a:uLnTx/>
                <a:uFillTx/>
                <a:latin typeface="Arial"/>
                <a:ea typeface="+mn-ea"/>
                <a:cs typeface="Arial"/>
              </a:rPr>
              <a:t>Hastalıklar</a:t>
            </a:r>
            <a:r>
              <a:rPr kumimoji="0" lang="en-US" sz="700" b="0" i="0" u="none" strike="noStrike" kern="1200" cap="none" normalizeH="0" baseline="0" noProof="0" dirty="0">
                <a:ln>
                  <a:noFill/>
                </a:ln>
                <a:solidFill>
                  <a:srgbClr val="415465"/>
                </a:solidFill>
                <a:effectLst/>
                <a:uLnTx/>
                <a:uFillTx/>
                <a:latin typeface="Arial"/>
                <a:ea typeface="+mn-ea"/>
                <a:cs typeface="Arial"/>
              </a:rPr>
              <a:t> </a:t>
            </a:r>
            <a:r>
              <a:rPr kumimoji="0" lang="en-US" sz="700" b="0" i="0" u="none" strike="noStrike" kern="1200" cap="none" normalizeH="0" baseline="0" noProof="0" dirty="0" err="1">
                <a:ln>
                  <a:noFill/>
                </a:ln>
                <a:solidFill>
                  <a:srgbClr val="415465"/>
                </a:solidFill>
                <a:effectLst/>
                <a:uLnTx/>
                <a:uFillTx/>
                <a:latin typeface="Arial"/>
                <a:ea typeface="+mn-ea"/>
                <a:cs typeface="Arial"/>
              </a:rPr>
              <a:t>ve</a:t>
            </a:r>
            <a:r>
              <a:rPr kumimoji="0" lang="en-US" sz="700" b="0" i="0" u="none" strike="noStrike" kern="1200" cap="none" normalizeH="0" baseline="0" noProof="0" dirty="0">
                <a:ln>
                  <a:noFill/>
                </a:ln>
                <a:solidFill>
                  <a:srgbClr val="415465"/>
                </a:solidFill>
                <a:effectLst/>
                <a:uLnTx/>
                <a:uFillTx/>
                <a:latin typeface="Arial"/>
                <a:ea typeface="+mn-ea"/>
                <a:cs typeface="Arial"/>
              </a:rPr>
              <a:t> Erken </a:t>
            </a:r>
            <a:r>
              <a:rPr kumimoji="0" lang="en-US" sz="700" b="0" i="0" u="none" strike="noStrike" kern="1200" cap="none" normalizeH="0" baseline="0" noProof="0" dirty="0" err="1">
                <a:ln>
                  <a:noFill/>
                </a:ln>
                <a:solidFill>
                  <a:srgbClr val="415465"/>
                </a:solidFill>
                <a:effectLst/>
                <a:uLnTx/>
                <a:uFillTx/>
                <a:latin typeface="Arial"/>
                <a:ea typeface="+mn-ea"/>
                <a:cs typeface="Arial"/>
              </a:rPr>
              <a:t>Uyarı</a:t>
            </a:r>
            <a:r>
              <a:rPr kumimoji="0" lang="en-US" sz="700" b="0" i="0" u="none" strike="noStrike" kern="1200" cap="none" normalizeH="0" baseline="0" noProof="0" dirty="0">
                <a:ln>
                  <a:noFill/>
                </a:ln>
                <a:solidFill>
                  <a:srgbClr val="415465"/>
                </a:solidFill>
                <a:effectLst/>
                <a:uLnTx/>
                <a:uFillTx/>
                <a:latin typeface="Arial"/>
                <a:ea typeface="+mn-ea"/>
                <a:cs typeface="Arial"/>
              </a:rPr>
              <a:t> </a:t>
            </a:r>
            <a:r>
              <a:rPr kumimoji="0" lang="en-US" sz="700" b="0" i="0" u="none" strike="noStrike" kern="1200" cap="none" normalizeH="0" baseline="0" noProof="0" dirty="0" err="1">
                <a:ln>
                  <a:noFill/>
                </a:ln>
                <a:solidFill>
                  <a:srgbClr val="415465"/>
                </a:solidFill>
                <a:effectLst/>
                <a:uLnTx/>
                <a:uFillTx/>
                <a:latin typeface="Arial"/>
                <a:ea typeface="+mn-ea"/>
                <a:cs typeface="Arial"/>
              </a:rPr>
              <a:t>Dairesi</a:t>
            </a:r>
            <a:r>
              <a:rPr kumimoji="0" lang="en-US" sz="700" b="0" i="0" u="none" strike="noStrike" kern="1200" cap="none" normalizeH="0" baseline="0" noProof="0" dirty="0">
                <a:ln>
                  <a:noFill/>
                </a:ln>
                <a:solidFill>
                  <a:srgbClr val="415465"/>
                </a:solidFill>
                <a:effectLst/>
                <a:uLnTx/>
                <a:uFillTx/>
                <a:latin typeface="Arial"/>
                <a:ea typeface="+mn-ea"/>
                <a:cs typeface="Arial"/>
              </a:rPr>
              <a:t> </a:t>
            </a:r>
            <a:r>
              <a:rPr kumimoji="0" lang="en-US" sz="700" b="0" i="0" u="none" strike="noStrike" kern="1200" cap="none" normalizeH="0" baseline="0" noProof="0" dirty="0" err="1">
                <a:ln>
                  <a:noFill/>
                </a:ln>
                <a:solidFill>
                  <a:srgbClr val="415465"/>
                </a:solidFill>
                <a:effectLst/>
                <a:uLnTx/>
                <a:uFillTx/>
                <a:latin typeface="Arial"/>
                <a:ea typeface="+mn-ea"/>
                <a:cs typeface="Arial"/>
              </a:rPr>
              <a:t>Başkanlığı</a:t>
            </a:r>
            <a:r>
              <a:rPr kumimoji="0" lang="en-US" sz="700" b="0" i="0" u="none" strike="noStrike" kern="1200" cap="none" normalizeH="0" baseline="0" noProof="0" dirty="0">
                <a:ln>
                  <a:noFill/>
                </a:ln>
                <a:solidFill>
                  <a:srgbClr val="415465"/>
                </a:solidFill>
                <a:effectLst/>
                <a:uLnTx/>
                <a:uFillTx/>
                <a:latin typeface="Arial"/>
                <a:ea typeface="+mn-ea"/>
                <a:cs typeface="Arial"/>
              </a:rPr>
              <a:t>. </a:t>
            </a:r>
            <a:r>
              <a:rPr kumimoji="0" lang="en-US" sz="700" b="0" i="0" u="none" strike="noStrike" kern="1200" cap="none" normalizeH="0" baseline="0" noProof="0" dirty="0" err="1">
                <a:ln>
                  <a:noFill/>
                </a:ln>
                <a:solidFill>
                  <a:srgbClr val="415465"/>
                </a:solidFill>
                <a:effectLst/>
                <a:uLnTx/>
                <a:uFillTx/>
                <a:latin typeface="Arial"/>
                <a:ea typeface="+mn-ea"/>
                <a:cs typeface="Arial"/>
              </a:rPr>
              <a:t>Haftalık</a:t>
            </a:r>
            <a:r>
              <a:rPr kumimoji="0" lang="en-US" sz="700" b="0" i="0" u="none" strike="noStrike" kern="1200" cap="none" normalizeH="0" baseline="0" noProof="0" dirty="0">
                <a:ln>
                  <a:noFill/>
                </a:ln>
                <a:solidFill>
                  <a:srgbClr val="415465"/>
                </a:solidFill>
                <a:effectLst/>
                <a:uLnTx/>
                <a:uFillTx/>
                <a:latin typeface="Arial"/>
                <a:ea typeface="+mn-ea"/>
                <a:cs typeface="Arial"/>
              </a:rPr>
              <a:t> </a:t>
            </a:r>
            <a:r>
              <a:rPr kumimoji="0" lang="en-US" sz="700" b="0" i="0" u="none" strike="noStrike" kern="1200" cap="none" normalizeH="0" baseline="0" noProof="0" dirty="0" err="1">
                <a:ln>
                  <a:noFill/>
                </a:ln>
                <a:solidFill>
                  <a:srgbClr val="415465"/>
                </a:solidFill>
                <a:effectLst/>
                <a:uLnTx/>
                <a:uFillTx/>
                <a:latin typeface="Arial"/>
                <a:ea typeface="+mn-ea"/>
                <a:cs typeface="Arial"/>
              </a:rPr>
              <a:t>Solunum</a:t>
            </a:r>
            <a:r>
              <a:rPr kumimoji="0" lang="en-US" sz="700" b="0" i="0" u="none" strike="noStrike" kern="1200" cap="none" normalizeH="0" baseline="0" noProof="0" dirty="0">
                <a:ln>
                  <a:noFill/>
                </a:ln>
                <a:solidFill>
                  <a:srgbClr val="415465"/>
                </a:solidFill>
                <a:effectLst/>
                <a:uLnTx/>
                <a:uFillTx/>
                <a:latin typeface="Arial"/>
                <a:ea typeface="+mn-ea"/>
                <a:cs typeface="Arial"/>
              </a:rPr>
              <a:t> </a:t>
            </a:r>
            <a:r>
              <a:rPr kumimoji="0" lang="en-US" sz="700" b="0" i="0" u="none" strike="noStrike" kern="1200" cap="none" normalizeH="0" baseline="0" noProof="0" dirty="0" err="1">
                <a:ln>
                  <a:noFill/>
                </a:ln>
                <a:solidFill>
                  <a:srgbClr val="415465"/>
                </a:solidFill>
                <a:effectLst/>
                <a:uLnTx/>
                <a:uFillTx/>
                <a:latin typeface="Arial"/>
                <a:ea typeface="+mn-ea"/>
                <a:cs typeface="Arial"/>
              </a:rPr>
              <a:t>Yolu</a:t>
            </a:r>
            <a:r>
              <a:rPr kumimoji="0" lang="en-US" sz="700" b="0" i="0" u="none" strike="noStrike" kern="1200" cap="none" normalizeH="0" baseline="0" noProof="0" dirty="0">
                <a:ln>
                  <a:noFill/>
                </a:ln>
                <a:solidFill>
                  <a:srgbClr val="415465"/>
                </a:solidFill>
                <a:effectLst/>
                <a:uLnTx/>
                <a:uFillTx/>
                <a:latin typeface="Arial"/>
                <a:ea typeface="+mn-ea"/>
                <a:cs typeface="Arial"/>
              </a:rPr>
              <a:t> </a:t>
            </a:r>
            <a:r>
              <a:rPr kumimoji="0" lang="en-US" sz="700" b="0" i="0" u="none" strike="noStrike" kern="1200" cap="none" normalizeH="0" baseline="0" noProof="0" dirty="0" err="1">
                <a:ln>
                  <a:noFill/>
                </a:ln>
                <a:solidFill>
                  <a:srgbClr val="415465"/>
                </a:solidFill>
                <a:effectLst/>
                <a:uLnTx/>
                <a:uFillTx/>
                <a:latin typeface="Arial"/>
                <a:ea typeface="+mn-ea"/>
                <a:cs typeface="Arial"/>
              </a:rPr>
              <a:t>Virüsleri</a:t>
            </a:r>
            <a:r>
              <a:rPr kumimoji="0" lang="en-US" sz="700" b="0" i="0" u="none" strike="noStrike" kern="1200" cap="none" normalizeH="0" baseline="0" noProof="0" dirty="0">
                <a:ln>
                  <a:noFill/>
                </a:ln>
                <a:solidFill>
                  <a:srgbClr val="415465"/>
                </a:solidFill>
                <a:effectLst/>
                <a:uLnTx/>
                <a:uFillTx/>
                <a:latin typeface="Arial"/>
                <a:ea typeface="+mn-ea"/>
                <a:cs typeface="Arial"/>
              </a:rPr>
              <a:t> </a:t>
            </a:r>
            <a:r>
              <a:rPr kumimoji="0" lang="en-US" sz="700" b="0" i="0" u="none" strike="noStrike" kern="1200" cap="none" normalizeH="0" baseline="0" noProof="0" dirty="0" err="1">
                <a:ln>
                  <a:noFill/>
                </a:ln>
                <a:solidFill>
                  <a:srgbClr val="415465"/>
                </a:solidFill>
                <a:effectLst/>
                <a:uLnTx/>
                <a:uFillTx/>
                <a:latin typeface="Arial"/>
                <a:ea typeface="+mn-ea"/>
                <a:cs typeface="Arial"/>
              </a:rPr>
              <a:t>Sürveyans</a:t>
            </a:r>
            <a:r>
              <a:rPr kumimoji="0" lang="en-US" sz="700" b="0" i="0" u="none" strike="noStrike" kern="1200" cap="none" normalizeH="0" baseline="0" noProof="0" dirty="0">
                <a:ln>
                  <a:noFill/>
                </a:ln>
                <a:solidFill>
                  <a:srgbClr val="415465"/>
                </a:solidFill>
                <a:effectLst/>
                <a:uLnTx/>
                <a:uFillTx/>
                <a:latin typeface="Arial"/>
                <a:ea typeface="+mn-ea"/>
                <a:cs typeface="Arial"/>
              </a:rPr>
              <a:t> </a:t>
            </a:r>
            <a:r>
              <a:rPr kumimoji="0" lang="en-US" sz="700" b="0" i="0" u="none" strike="noStrike" kern="1200" cap="none" normalizeH="0" baseline="0" noProof="0" dirty="0" err="1">
                <a:ln>
                  <a:noFill/>
                </a:ln>
                <a:solidFill>
                  <a:srgbClr val="415465"/>
                </a:solidFill>
                <a:effectLst/>
                <a:uLnTx/>
                <a:uFillTx/>
                <a:latin typeface="Arial"/>
                <a:ea typeface="+mn-ea"/>
                <a:cs typeface="Arial"/>
              </a:rPr>
              <a:t>Raporu</a:t>
            </a:r>
            <a:r>
              <a:rPr kumimoji="0" lang="en-US" sz="700" b="0" i="0" u="none" strike="noStrike" kern="1200" cap="none" normalizeH="0" baseline="0" noProof="0" dirty="0">
                <a:ln>
                  <a:noFill/>
                </a:ln>
                <a:solidFill>
                  <a:srgbClr val="415465"/>
                </a:solidFill>
                <a:effectLst/>
                <a:uLnTx/>
                <a:uFillTx/>
                <a:latin typeface="Arial"/>
                <a:ea typeface="+mn-ea"/>
                <a:cs typeface="Arial"/>
              </a:rPr>
              <a:t> 2025/6. </a:t>
            </a:r>
            <a:r>
              <a:rPr kumimoji="0" lang="en-US" sz="700" b="0" i="0" u="none" strike="noStrike" kern="1200" cap="none" normalizeH="0" baseline="0" noProof="0" dirty="0" err="1">
                <a:ln>
                  <a:noFill/>
                </a:ln>
                <a:solidFill>
                  <a:srgbClr val="415465"/>
                </a:solidFill>
                <a:effectLst/>
                <a:uLnTx/>
                <a:uFillTx/>
                <a:latin typeface="Arial"/>
                <a:ea typeface="+mn-ea"/>
                <a:cs typeface="Arial"/>
              </a:rPr>
              <a:t>Hafta</a:t>
            </a:r>
            <a:r>
              <a:rPr kumimoji="0" lang="en-US" sz="700" b="0" i="0" u="none" strike="noStrike" kern="1200" cap="none" normalizeH="0" baseline="0" noProof="0" dirty="0">
                <a:ln>
                  <a:noFill/>
                </a:ln>
                <a:solidFill>
                  <a:srgbClr val="415465"/>
                </a:solidFill>
                <a:effectLst/>
                <a:uLnTx/>
                <a:uFillTx/>
                <a:latin typeface="Arial"/>
                <a:ea typeface="+mn-ea"/>
                <a:cs typeface="Arial"/>
              </a:rPr>
              <a:t>. https://grip.saglik.gov.tr/depo/influenza- </a:t>
            </a:r>
            <a:r>
              <a:rPr kumimoji="0" lang="en-US" sz="700" b="0" i="0" u="none" strike="noStrike" kern="1200" cap="none" normalizeH="0" baseline="0" noProof="0" dirty="0" err="1">
                <a:ln>
                  <a:noFill/>
                </a:ln>
                <a:solidFill>
                  <a:srgbClr val="415465"/>
                </a:solidFill>
                <a:effectLst/>
                <a:uLnTx/>
                <a:uFillTx/>
                <a:latin typeface="Arial"/>
                <a:ea typeface="+mn-ea"/>
                <a:cs typeface="Arial"/>
              </a:rPr>
              <a:t>raporu</a:t>
            </a:r>
            <a:r>
              <a:rPr kumimoji="0" lang="en-US" sz="700" b="0" i="0" u="none" strike="noStrike" kern="1200" cap="none" normalizeH="0" baseline="0" noProof="0" dirty="0">
                <a:ln>
                  <a:noFill/>
                </a:ln>
                <a:solidFill>
                  <a:srgbClr val="415465"/>
                </a:solidFill>
                <a:effectLst/>
                <a:uLnTx/>
                <a:uFillTx/>
                <a:latin typeface="Arial"/>
                <a:ea typeface="+mn-ea"/>
                <a:cs typeface="Arial"/>
              </a:rPr>
              <a:t>/2025/Haftalik_Solunum_Yolu_Virusleri_Surveyans_Raporu_2025_6._Hafta.pdf (Son </a:t>
            </a:r>
            <a:r>
              <a:rPr kumimoji="0" lang="en-US" sz="700" b="0" i="0" u="none" strike="noStrike" kern="1200" cap="none" normalizeH="0" baseline="0" noProof="0" dirty="0" err="1">
                <a:ln>
                  <a:noFill/>
                </a:ln>
                <a:solidFill>
                  <a:srgbClr val="415465"/>
                </a:solidFill>
                <a:effectLst/>
                <a:uLnTx/>
                <a:uFillTx/>
                <a:latin typeface="Arial"/>
                <a:ea typeface="+mn-ea"/>
                <a:cs typeface="Arial"/>
              </a:rPr>
              <a:t>Erişim</a:t>
            </a:r>
            <a:r>
              <a:rPr kumimoji="0" lang="en-US" sz="700" b="0" i="0" u="none" strike="noStrike" kern="1200" cap="none" normalizeH="0" baseline="0" noProof="0" dirty="0">
                <a:ln>
                  <a:noFill/>
                </a:ln>
                <a:solidFill>
                  <a:srgbClr val="415465"/>
                </a:solidFill>
                <a:effectLst/>
                <a:uLnTx/>
                <a:uFillTx/>
                <a:latin typeface="Arial"/>
                <a:ea typeface="+mn-ea"/>
                <a:cs typeface="Arial"/>
              </a:rPr>
              <a:t> </a:t>
            </a:r>
            <a:r>
              <a:rPr kumimoji="0" lang="en-US" sz="700" b="0" i="0" u="none" strike="noStrike" kern="1200" cap="none" normalizeH="0" baseline="0" noProof="0" dirty="0" err="1">
                <a:ln>
                  <a:noFill/>
                </a:ln>
                <a:solidFill>
                  <a:srgbClr val="415465"/>
                </a:solidFill>
                <a:effectLst/>
                <a:uLnTx/>
                <a:uFillTx/>
                <a:latin typeface="Arial"/>
                <a:ea typeface="+mn-ea"/>
                <a:cs typeface="Arial"/>
              </a:rPr>
              <a:t>Tarihi</a:t>
            </a:r>
            <a:r>
              <a:rPr kumimoji="0" lang="en-US" sz="700" b="0" i="0" u="none" strike="noStrike" kern="1200" cap="none" normalizeH="0" baseline="0" noProof="0" dirty="0">
                <a:ln>
                  <a:noFill/>
                </a:ln>
                <a:solidFill>
                  <a:srgbClr val="415465"/>
                </a:solidFill>
                <a:effectLst/>
                <a:uLnTx/>
                <a:uFillTx/>
                <a:latin typeface="Arial"/>
                <a:ea typeface="+mn-ea"/>
                <a:cs typeface="Arial"/>
              </a:rPr>
              <a:t>: Nisan 2025)</a:t>
            </a:r>
          </a:p>
          <a:p>
            <a:pPr marR="5080" lvl="0" defTabSz="457200" rtl="0" eaLnBrk="1" fontAlgn="auto" latinLnBrk="0" hangingPunct="1">
              <a:spcBef>
                <a:spcPts val="90"/>
              </a:spcBef>
              <a:spcAft>
                <a:spcPts val="0"/>
              </a:spcAft>
              <a:buClrTx/>
              <a:buSzTx/>
              <a:tabLst>
                <a:tab pos="552450" algn="l"/>
              </a:tabLst>
              <a:defRPr/>
            </a:pPr>
            <a:r>
              <a:rPr kumimoji="0" lang="en-US" sz="700" b="0" i="0" u="none" strike="noStrike" kern="1200" cap="none" normalizeH="0" baseline="0" noProof="0" dirty="0">
                <a:ln>
                  <a:noFill/>
                </a:ln>
                <a:solidFill>
                  <a:srgbClr val="415465"/>
                </a:solidFill>
                <a:effectLst/>
                <a:uLnTx/>
                <a:uFillTx/>
                <a:latin typeface="Arial"/>
                <a:ea typeface="+mn-ea"/>
                <a:cs typeface="Arial"/>
              </a:rPr>
              <a:t>1. Turkish Neonatal Society Respiratory Syncytial Virus Infections Study Group. The seasonal variations of respiratory syncytial virus infections in Turkey: a two-year epidemiological study. </a:t>
            </a:r>
            <a:r>
              <a:rPr kumimoji="0" lang="en-US" sz="700" b="0" i="0" u="none" strike="noStrike" kern="1200" cap="none" normalizeH="0" baseline="0" noProof="0" dirty="0" err="1">
                <a:ln>
                  <a:noFill/>
                </a:ln>
                <a:solidFill>
                  <a:srgbClr val="415465"/>
                </a:solidFill>
                <a:effectLst/>
                <a:uLnTx/>
                <a:uFillTx/>
                <a:latin typeface="Arial"/>
                <a:ea typeface="+mn-ea"/>
                <a:cs typeface="Arial"/>
              </a:rPr>
              <a:t>Çocuk</a:t>
            </a:r>
            <a:r>
              <a:rPr kumimoji="0" lang="en-US" sz="700" b="0" i="0" u="none" strike="noStrike" kern="1200" cap="none" normalizeH="0" baseline="0" noProof="0" dirty="0">
                <a:ln>
                  <a:noFill/>
                </a:ln>
                <a:solidFill>
                  <a:srgbClr val="415465"/>
                </a:solidFill>
                <a:effectLst/>
                <a:uLnTx/>
                <a:uFillTx/>
                <a:latin typeface="Arial"/>
                <a:ea typeface="+mn-ea"/>
                <a:cs typeface="Arial"/>
              </a:rPr>
              <a:t> </a:t>
            </a:r>
            <a:r>
              <a:rPr kumimoji="0" lang="en-US" sz="700" b="0" i="0" u="none" strike="noStrike" kern="1200" cap="none" normalizeH="0" baseline="0" noProof="0" dirty="0" err="1">
                <a:ln>
                  <a:noFill/>
                </a:ln>
                <a:solidFill>
                  <a:srgbClr val="415465"/>
                </a:solidFill>
                <a:effectLst/>
                <a:uLnTx/>
                <a:uFillTx/>
                <a:latin typeface="Arial"/>
                <a:ea typeface="+mn-ea"/>
                <a:cs typeface="Arial"/>
              </a:rPr>
              <a:t>Sağlığı</a:t>
            </a:r>
            <a:r>
              <a:rPr kumimoji="0" lang="en-US" sz="700" b="0" i="0" u="none" strike="noStrike" kern="1200" cap="none" normalizeH="0" baseline="0" noProof="0" dirty="0">
                <a:ln>
                  <a:noFill/>
                </a:ln>
                <a:solidFill>
                  <a:srgbClr val="415465"/>
                </a:solidFill>
                <a:effectLst/>
                <a:uLnTx/>
                <a:uFillTx/>
                <a:latin typeface="Arial"/>
                <a:ea typeface="+mn-ea"/>
                <a:cs typeface="Arial"/>
              </a:rPr>
              <a:t> </a:t>
            </a:r>
            <a:r>
              <a:rPr kumimoji="0" lang="en-US" sz="700" b="0" i="0" u="none" strike="noStrike" kern="1200" cap="none" normalizeH="0" baseline="0" noProof="0" dirty="0" err="1">
                <a:ln>
                  <a:noFill/>
                </a:ln>
                <a:solidFill>
                  <a:srgbClr val="415465"/>
                </a:solidFill>
                <a:effectLst/>
                <a:uLnTx/>
                <a:uFillTx/>
                <a:latin typeface="Arial"/>
                <a:ea typeface="+mn-ea"/>
                <a:cs typeface="Arial"/>
              </a:rPr>
              <a:t>ve</a:t>
            </a:r>
            <a:r>
              <a:rPr kumimoji="0" lang="en-US" sz="700" b="0" i="0" u="none" strike="noStrike" kern="1200" cap="none" normalizeH="0" baseline="0" noProof="0" dirty="0">
                <a:ln>
                  <a:noFill/>
                </a:ln>
                <a:solidFill>
                  <a:srgbClr val="415465"/>
                </a:solidFill>
                <a:effectLst/>
                <a:uLnTx/>
                <a:uFillTx/>
                <a:latin typeface="Arial"/>
                <a:ea typeface="+mn-ea"/>
                <a:cs typeface="Arial"/>
              </a:rPr>
              <a:t> </a:t>
            </a:r>
            <a:r>
              <a:rPr kumimoji="0" lang="en-US" sz="700" b="0" i="0" u="none" strike="noStrike" kern="1200" cap="none" normalizeH="0" baseline="0" noProof="0" dirty="0" err="1">
                <a:ln>
                  <a:noFill/>
                </a:ln>
                <a:solidFill>
                  <a:srgbClr val="415465"/>
                </a:solidFill>
                <a:effectLst/>
                <a:uLnTx/>
                <a:uFillTx/>
                <a:latin typeface="Arial"/>
                <a:ea typeface="+mn-ea"/>
                <a:cs typeface="Arial"/>
              </a:rPr>
              <a:t>Hastalıkları</a:t>
            </a:r>
            <a:r>
              <a:rPr kumimoji="0" lang="en-US" sz="700" b="0" i="0" u="none" strike="noStrike" kern="1200" cap="none" normalizeH="0" baseline="0" noProof="0" dirty="0">
                <a:ln>
                  <a:noFill/>
                </a:ln>
                <a:solidFill>
                  <a:srgbClr val="415465"/>
                </a:solidFill>
                <a:effectLst/>
                <a:uLnTx/>
                <a:uFillTx/>
                <a:latin typeface="Arial"/>
                <a:ea typeface="+mn-ea"/>
                <a:cs typeface="Arial"/>
              </a:rPr>
              <a:t> </a:t>
            </a:r>
            <a:r>
              <a:rPr kumimoji="0" lang="en-US" sz="700" b="0" i="0" u="none" strike="noStrike" kern="1200" cap="none" normalizeH="0" baseline="0" noProof="0" dirty="0" err="1">
                <a:ln>
                  <a:noFill/>
                </a:ln>
                <a:solidFill>
                  <a:srgbClr val="415465"/>
                </a:solidFill>
                <a:effectLst/>
                <a:uLnTx/>
                <a:uFillTx/>
                <a:latin typeface="Arial"/>
                <a:ea typeface="+mn-ea"/>
                <a:cs typeface="Arial"/>
              </a:rPr>
              <a:t>Dergisi</a:t>
            </a:r>
            <a:r>
              <a:rPr kumimoji="0" lang="en-US" sz="700" b="0" i="0" u="none" strike="noStrike" kern="1200" cap="none" normalizeH="0" baseline="0" noProof="0" dirty="0">
                <a:ln>
                  <a:noFill/>
                </a:ln>
                <a:solidFill>
                  <a:srgbClr val="415465"/>
                </a:solidFill>
                <a:effectLst/>
                <a:uLnTx/>
                <a:uFillTx/>
                <a:latin typeface="Arial"/>
                <a:ea typeface="+mn-ea"/>
                <a:cs typeface="Arial"/>
              </a:rPr>
              <a:t> 2012; 55: 1-8.</a:t>
            </a:r>
            <a:r>
              <a:rPr lang="en-US" sz="700" dirty="0">
                <a:solidFill>
                  <a:prstClr val="black"/>
                </a:solidFill>
                <a:latin typeface="Arial"/>
                <a:cs typeface="Arial"/>
              </a:rPr>
              <a:t> </a:t>
            </a:r>
          </a:p>
        </p:txBody>
      </p:sp>
      <p:pic>
        <p:nvPicPr>
          <p:cNvPr id="6" name="Picture 5" descr="A black and blue logo&#10;&#10;AI-generated content may be incorrect.">
            <a:extLst>
              <a:ext uri="{FF2B5EF4-FFF2-40B4-BE49-F238E27FC236}">
                <a16:creationId xmlns:a16="http://schemas.microsoft.com/office/drawing/2014/main" id="{4495C56D-E30C-D85E-621E-82926C67F772}"/>
              </a:ext>
            </a:extLst>
          </p:cNvPr>
          <p:cNvPicPr>
            <a:picLocks noChangeAspect="1"/>
          </p:cNvPicPr>
          <p:nvPr/>
        </p:nvPicPr>
        <p:blipFill>
          <a:blip r:embed="rId3"/>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20728277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ECFF58-1CAF-4CDB-9699-386CDED03B46}"/>
              </a:ext>
            </a:extLst>
          </p:cNvPr>
          <p:cNvSpPr>
            <a:spLocks noGrp="1"/>
          </p:cNvSpPr>
          <p:nvPr>
            <p:ph type="title"/>
          </p:nvPr>
        </p:nvSpPr>
        <p:spPr/>
        <p:txBody>
          <a:bodyPr anchor="ctr"/>
          <a:lstStyle/>
          <a:p>
            <a:r>
              <a:rPr lang="en-US" sz="2400"/>
              <a:t>RSV </a:t>
            </a:r>
            <a:r>
              <a:rPr lang="en-US" sz="2400" err="1"/>
              <a:t>hastalığında</a:t>
            </a:r>
            <a:r>
              <a:rPr lang="en-US" sz="2400"/>
              <a:t> </a:t>
            </a:r>
            <a:r>
              <a:rPr lang="en-US" sz="2400" err="1"/>
              <a:t>yaş</a:t>
            </a:r>
            <a:r>
              <a:rPr lang="en-US" sz="2400"/>
              <a:t> </a:t>
            </a:r>
            <a:r>
              <a:rPr lang="en-US" sz="2400" err="1"/>
              <a:t>önemli</a:t>
            </a:r>
            <a:r>
              <a:rPr lang="en-US" sz="2400"/>
              <a:t> </a:t>
            </a:r>
            <a:r>
              <a:rPr lang="en-US" sz="2400" err="1"/>
              <a:t>bir</a:t>
            </a:r>
            <a:r>
              <a:rPr lang="en-US" sz="2400"/>
              <a:t> </a:t>
            </a:r>
            <a:r>
              <a:rPr lang="en-US" sz="2400" err="1"/>
              <a:t>faktördür</a:t>
            </a:r>
            <a:r>
              <a:rPr lang="en-US" sz="2400"/>
              <a:t> </a:t>
            </a:r>
            <a:r>
              <a:rPr lang="en-US" sz="2400" baseline="30000"/>
              <a:t>1</a:t>
            </a:r>
            <a:endParaRPr lang="en-US" sz="2400"/>
          </a:p>
        </p:txBody>
      </p:sp>
      <p:sp>
        <p:nvSpPr>
          <p:cNvPr id="3" name="Text Placeholder 2">
            <a:extLst>
              <a:ext uri="{FF2B5EF4-FFF2-40B4-BE49-F238E27FC236}">
                <a16:creationId xmlns:a16="http://schemas.microsoft.com/office/drawing/2014/main" id="{09CC34EF-5831-ACA3-DE56-BDE42305FC09}"/>
              </a:ext>
            </a:extLst>
          </p:cNvPr>
          <p:cNvSpPr>
            <a:spLocks noGrp="1"/>
          </p:cNvSpPr>
          <p:nvPr>
            <p:ph type="body" sz="quarter" idx="4294967295"/>
          </p:nvPr>
        </p:nvSpPr>
        <p:spPr>
          <a:xfrm>
            <a:off x="1478591" y="6328947"/>
            <a:ext cx="7864790" cy="358775"/>
          </a:xfrm>
        </p:spPr>
        <p:txBody>
          <a:bodyPr>
            <a:normAutofit fontScale="40000" lnSpcReduction="20000"/>
          </a:bodyPr>
          <a:lstStyle/>
          <a:p>
            <a:pPr marL="0" indent="0">
              <a:lnSpc>
                <a:spcPct val="120000"/>
              </a:lnSpc>
              <a:buNone/>
            </a:pPr>
            <a:r>
              <a:rPr lang="tr-TR"/>
              <a:t>KOAH=kronik obstrüktif akciğer hastalığı.</a:t>
            </a:r>
            <a:br>
              <a:rPr lang="en-US" b="1"/>
            </a:br>
            <a:r>
              <a:rPr lang="en-US" b="1"/>
              <a:t>1. </a:t>
            </a:r>
            <a:r>
              <a:rPr lang="en-US"/>
              <a:t>Openshaw PJM, et al. </a:t>
            </a:r>
            <a:r>
              <a:rPr lang="en-US" i="1"/>
              <a:t>Annu Rev Immunol</a:t>
            </a:r>
            <a:r>
              <a:rPr lang="en-US"/>
              <a:t>. 2017;35:501-532. </a:t>
            </a:r>
            <a:r>
              <a:rPr lang="en-US" b="1"/>
              <a:t>2. </a:t>
            </a:r>
            <a:r>
              <a:rPr lang="en-US"/>
              <a:t>Talbot HK, et al. </a:t>
            </a:r>
            <a:r>
              <a:rPr lang="en-US" i="1"/>
              <a:t>Infect Dis Clin </a:t>
            </a:r>
            <a:r>
              <a:rPr lang="en-US" i="1" err="1"/>
              <a:t>Pract</a:t>
            </a:r>
            <a:r>
              <a:rPr lang="en-US"/>
              <a:t>. 2016;24:295-302. </a:t>
            </a:r>
            <a:r>
              <a:rPr lang="en-US" b="1"/>
              <a:t>3. </a:t>
            </a:r>
            <a:r>
              <a:rPr lang="en-US"/>
              <a:t>Sharma G, et al. </a:t>
            </a:r>
            <a:r>
              <a:rPr lang="en-US" i="1"/>
              <a:t>Clin </a:t>
            </a:r>
            <a:r>
              <a:rPr lang="en-US" i="1" err="1"/>
              <a:t>Interv</a:t>
            </a:r>
            <a:r>
              <a:rPr lang="en-US" i="1"/>
              <a:t> Aging</a:t>
            </a:r>
            <a:r>
              <a:rPr lang="en-US"/>
              <a:t>. 2006;1:253-260. </a:t>
            </a:r>
            <a:r>
              <a:rPr lang="en-US" b="1"/>
              <a:t>4. </a:t>
            </a:r>
            <a:r>
              <a:rPr lang="en-US"/>
              <a:t>Crooke SN, et al. </a:t>
            </a:r>
            <a:r>
              <a:rPr lang="en-US" i="1" err="1"/>
              <a:t>Immun</a:t>
            </a:r>
            <a:r>
              <a:rPr lang="en-US" i="1"/>
              <a:t> Ageing</a:t>
            </a:r>
            <a:r>
              <a:rPr lang="en-US"/>
              <a:t>. 2019;16:25.</a:t>
            </a:r>
          </a:p>
        </p:txBody>
      </p:sp>
      <p:grpSp>
        <p:nvGrpSpPr>
          <p:cNvPr id="5" name="Group 4">
            <a:extLst>
              <a:ext uri="{FF2B5EF4-FFF2-40B4-BE49-F238E27FC236}">
                <a16:creationId xmlns:a16="http://schemas.microsoft.com/office/drawing/2014/main" id="{FF179800-FCFA-AF14-EB91-B4CC32CBB8E0}"/>
              </a:ext>
            </a:extLst>
          </p:cNvPr>
          <p:cNvGrpSpPr/>
          <p:nvPr/>
        </p:nvGrpSpPr>
        <p:grpSpPr>
          <a:xfrm>
            <a:off x="406399" y="1310583"/>
            <a:ext cx="11480801" cy="3219249"/>
            <a:chOff x="406399" y="1028700"/>
            <a:chExt cx="11480801" cy="3219249"/>
          </a:xfrm>
        </p:grpSpPr>
        <p:sp>
          <p:nvSpPr>
            <p:cNvPr id="220" name="Arrow: Pentagon 219">
              <a:extLst>
                <a:ext uri="{FF2B5EF4-FFF2-40B4-BE49-F238E27FC236}">
                  <a16:creationId xmlns:a16="http://schemas.microsoft.com/office/drawing/2014/main" id="{0CA5245A-D558-825B-D8AB-2DF90E461ECC}"/>
                </a:ext>
              </a:extLst>
            </p:cNvPr>
            <p:cNvSpPr/>
            <p:nvPr/>
          </p:nvSpPr>
          <p:spPr>
            <a:xfrm>
              <a:off x="406399" y="1991534"/>
              <a:ext cx="10658476" cy="123189"/>
            </a:xfrm>
            <a:prstGeom prst="homePlate">
              <a:avLst>
                <a:gd name="adj" fmla="val 62338"/>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ea typeface="+mn-ea"/>
                <a:cs typeface="+mn-cs"/>
              </a:endParaRPr>
            </a:p>
          </p:txBody>
        </p:sp>
        <p:sp>
          <p:nvSpPr>
            <p:cNvPr id="194" name="Freeform: Shape 193">
              <a:extLst>
                <a:ext uri="{FF2B5EF4-FFF2-40B4-BE49-F238E27FC236}">
                  <a16:creationId xmlns:a16="http://schemas.microsoft.com/office/drawing/2014/main" id="{E959B36A-8CCF-97B0-77D8-9F7022C2F7E9}"/>
                </a:ext>
              </a:extLst>
            </p:cNvPr>
            <p:cNvSpPr/>
            <p:nvPr/>
          </p:nvSpPr>
          <p:spPr>
            <a:xfrm>
              <a:off x="1292889" y="1763272"/>
              <a:ext cx="428606" cy="247582"/>
            </a:xfrm>
            <a:custGeom>
              <a:avLst/>
              <a:gdLst>
                <a:gd name="connsiteX0" fmla="*/ 584694 w 585671"/>
                <a:gd name="connsiteY0" fmla="*/ 298695 h 338310"/>
                <a:gd name="connsiteX1" fmla="*/ 581807 w 585671"/>
                <a:gd name="connsiteY1" fmla="*/ 297355 h 338310"/>
                <a:gd name="connsiteX2" fmla="*/ 581760 w 585671"/>
                <a:gd name="connsiteY2" fmla="*/ 297345 h 338310"/>
                <a:gd name="connsiteX3" fmla="*/ 581246 w 585671"/>
                <a:gd name="connsiteY3" fmla="*/ 296905 h 338310"/>
                <a:gd name="connsiteX4" fmla="*/ 578773 w 585671"/>
                <a:gd name="connsiteY4" fmla="*/ 294991 h 338310"/>
                <a:gd name="connsiteX5" fmla="*/ 577733 w 585671"/>
                <a:gd name="connsiteY5" fmla="*/ 294402 h 338310"/>
                <a:gd name="connsiteX6" fmla="*/ 577155 w 585671"/>
                <a:gd name="connsiteY6" fmla="*/ 294088 h 338310"/>
                <a:gd name="connsiteX7" fmla="*/ 576986 w 585671"/>
                <a:gd name="connsiteY7" fmla="*/ 293970 h 338310"/>
                <a:gd name="connsiteX8" fmla="*/ 576868 w 585671"/>
                <a:gd name="connsiteY8" fmla="*/ 293885 h 338310"/>
                <a:gd name="connsiteX9" fmla="*/ 575943 w 585671"/>
                <a:gd name="connsiteY9" fmla="*/ 292954 h 338310"/>
                <a:gd name="connsiteX10" fmla="*/ 575702 w 585671"/>
                <a:gd name="connsiteY10" fmla="*/ 292724 h 338310"/>
                <a:gd name="connsiteX11" fmla="*/ 575539 w 585671"/>
                <a:gd name="connsiteY11" fmla="*/ 292571 h 338310"/>
                <a:gd name="connsiteX12" fmla="*/ 573514 w 585671"/>
                <a:gd name="connsiteY12" fmla="*/ 291327 h 338310"/>
                <a:gd name="connsiteX13" fmla="*/ 572640 w 585671"/>
                <a:gd name="connsiteY13" fmla="*/ 290802 h 338310"/>
                <a:gd name="connsiteX14" fmla="*/ 572026 w 585671"/>
                <a:gd name="connsiteY14" fmla="*/ 290396 h 338310"/>
                <a:gd name="connsiteX15" fmla="*/ 570907 w 585671"/>
                <a:gd name="connsiteY15" fmla="*/ 289798 h 338310"/>
                <a:gd name="connsiteX16" fmla="*/ 569125 w 585671"/>
                <a:gd name="connsiteY16" fmla="*/ 288714 h 338310"/>
                <a:gd name="connsiteX17" fmla="*/ 565855 w 585671"/>
                <a:gd name="connsiteY17" fmla="*/ 287113 h 338310"/>
                <a:gd name="connsiteX18" fmla="*/ 564675 w 585671"/>
                <a:gd name="connsiteY18" fmla="*/ 286818 h 338310"/>
                <a:gd name="connsiteX19" fmla="*/ 561205 w 585671"/>
                <a:gd name="connsiteY19" fmla="*/ 286314 h 338310"/>
                <a:gd name="connsiteX20" fmla="*/ 560695 w 585671"/>
                <a:gd name="connsiteY20" fmla="*/ 286402 h 338310"/>
                <a:gd name="connsiteX21" fmla="*/ 559216 w 585671"/>
                <a:gd name="connsiteY21" fmla="*/ 286772 h 338310"/>
                <a:gd name="connsiteX22" fmla="*/ 559023 w 585671"/>
                <a:gd name="connsiteY22" fmla="*/ 286851 h 338310"/>
                <a:gd name="connsiteX23" fmla="*/ 559010 w 585671"/>
                <a:gd name="connsiteY23" fmla="*/ 286850 h 338310"/>
                <a:gd name="connsiteX24" fmla="*/ 556525 w 585671"/>
                <a:gd name="connsiteY24" fmla="*/ 286206 h 338310"/>
                <a:gd name="connsiteX25" fmla="*/ 556148 w 585671"/>
                <a:gd name="connsiteY25" fmla="*/ 286154 h 338310"/>
                <a:gd name="connsiteX26" fmla="*/ 554810 w 585671"/>
                <a:gd name="connsiteY26" fmla="*/ 285797 h 338310"/>
                <a:gd name="connsiteX27" fmla="*/ 554512 w 585671"/>
                <a:gd name="connsiteY27" fmla="*/ 285701 h 338310"/>
                <a:gd name="connsiteX28" fmla="*/ 553988 w 585671"/>
                <a:gd name="connsiteY28" fmla="*/ 285442 h 338310"/>
                <a:gd name="connsiteX29" fmla="*/ 552735 w 585671"/>
                <a:gd name="connsiteY29" fmla="*/ 283978 h 338310"/>
                <a:gd name="connsiteX30" fmla="*/ 552117 w 585671"/>
                <a:gd name="connsiteY30" fmla="*/ 283556 h 338310"/>
                <a:gd name="connsiteX31" fmla="*/ 551162 w 585671"/>
                <a:gd name="connsiteY31" fmla="*/ 282855 h 338310"/>
                <a:gd name="connsiteX32" fmla="*/ 550645 w 585671"/>
                <a:gd name="connsiteY32" fmla="*/ 282401 h 338310"/>
                <a:gd name="connsiteX33" fmla="*/ 549704 w 585671"/>
                <a:gd name="connsiteY33" fmla="*/ 281509 h 338310"/>
                <a:gd name="connsiteX34" fmla="*/ 545359 w 585671"/>
                <a:gd name="connsiteY34" fmla="*/ 278583 h 338310"/>
                <a:gd name="connsiteX35" fmla="*/ 544979 w 585671"/>
                <a:gd name="connsiteY35" fmla="*/ 278502 h 338310"/>
                <a:gd name="connsiteX36" fmla="*/ 543413 w 585671"/>
                <a:gd name="connsiteY36" fmla="*/ 278142 h 338310"/>
                <a:gd name="connsiteX37" fmla="*/ 541430 w 585671"/>
                <a:gd name="connsiteY37" fmla="*/ 276998 h 338310"/>
                <a:gd name="connsiteX38" fmla="*/ 540740 w 585671"/>
                <a:gd name="connsiteY38" fmla="*/ 276410 h 338310"/>
                <a:gd name="connsiteX39" fmla="*/ 539472 w 585671"/>
                <a:gd name="connsiteY39" fmla="*/ 275381 h 338310"/>
                <a:gd name="connsiteX40" fmla="*/ 535337 w 585671"/>
                <a:gd name="connsiteY40" fmla="*/ 273297 h 338310"/>
                <a:gd name="connsiteX41" fmla="*/ 534567 w 585671"/>
                <a:gd name="connsiteY41" fmla="*/ 272755 h 338310"/>
                <a:gd name="connsiteX42" fmla="*/ 532329 w 585671"/>
                <a:gd name="connsiteY42" fmla="*/ 268864 h 338310"/>
                <a:gd name="connsiteX43" fmla="*/ 531567 w 585671"/>
                <a:gd name="connsiteY43" fmla="*/ 268055 h 338310"/>
                <a:gd name="connsiteX44" fmla="*/ 529611 w 585671"/>
                <a:gd name="connsiteY44" fmla="*/ 266250 h 338310"/>
                <a:gd name="connsiteX45" fmla="*/ 528523 w 585671"/>
                <a:gd name="connsiteY45" fmla="*/ 265499 h 338310"/>
                <a:gd name="connsiteX46" fmla="*/ 525951 w 585671"/>
                <a:gd name="connsiteY46" fmla="*/ 263899 h 338310"/>
                <a:gd name="connsiteX47" fmla="*/ 523383 w 585671"/>
                <a:gd name="connsiteY47" fmla="*/ 261985 h 338310"/>
                <a:gd name="connsiteX48" fmla="*/ 522457 w 585671"/>
                <a:gd name="connsiteY48" fmla="*/ 260845 h 338310"/>
                <a:gd name="connsiteX49" fmla="*/ 522119 w 585671"/>
                <a:gd name="connsiteY49" fmla="*/ 260415 h 338310"/>
                <a:gd name="connsiteX50" fmla="*/ 519852 w 585671"/>
                <a:gd name="connsiteY50" fmla="*/ 257822 h 338310"/>
                <a:gd name="connsiteX51" fmla="*/ 517425 w 585671"/>
                <a:gd name="connsiteY51" fmla="*/ 255550 h 338310"/>
                <a:gd name="connsiteX52" fmla="*/ 509682 w 585671"/>
                <a:gd name="connsiteY52" fmla="*/ 249062 h 338310"/>
                <a:gd name="connsiteX53" fmla="*/ 508136 w 585671"/>
                <a:gd name="connsiteY53" fmla="*/ 247559 h 338310"/>
                <a:gd name="connsiteX54" fmla="*/ 507951 w 585671"/>
                <a:gd name="connsiteY54" fmla="*/ 247038 h 338310"/>
                <a:gd name="connsiteX55" fmla="*/ 507771 w 585671"/>
                <a:gd name="connsiteY55" fmla="*/ 246525 h 338310"/>
                <a:gd name="connsiteX56" fmla="*/ 507659 w 585671"/>
                <a:gd name="connsiteY56" fmla="*/ 246241 h 338310"/>
                <a:gd name="connsiteX57" fmla="*/ 507422 w 585671"/>
                <a:gd name="connsiteY57" fmla="*/ 245452 h 338310"/>
                <a:gd name="connsiteX58" fmla="*/ 506799 w 585671"/>
                <a:gd name="connsiteY58" fmla="*/ 243291 h 338310"/>
                <a:gd name="connsiteX59" fmla="*/ 506029 w 585671"/>
                <a:gd name="connsiteY59" fmla="*/ 242289 h 338310"/>
                <a:gd name="connsiteX60" fmla="*/ 505571 w 585671"/>
                <a:gd name="connsiteY60" fmla="*/ 241731 h 338310"/>
                <a:gd name="connsiteX61" fmla="*/ 505006 w 585671"/>
                <a:gd name="connsiteY61" fmla="*/ 241052 h 338310"/>
                <a:gd name="connsiteX62" fmla="*/ 504154 w 585671"/>
                <a:gd name="connsiteY62" fmla="*/ 239978 h 338310"/>
                <a:gd name="connsiteX63" fmla="*/ 503659 w 585671"/>
                <a:gd name="connsiteY63" fmla="*/ 239229 h 338310"/>
                <a:gd name="connsiteX64" fmla="*/ 502459 w 585671"/>
                <a:gd name="connsiteY64" fmla="*/ 237453 h 338310"/>
                <a:gd name="connsiteX65" fmla="*/ 500523 w 585671"/>
                <a:gd name="connsiteY65" fmla="*/ 234732 h 338310"/>
                <a:gd name="connsiteX66" fmla="*/ 498622 w 585671"/>
                <a:gd name="connsiteY66" fmla="*/ 232524 h 338310"/>
                <a:gd name="connsiteX67" fmla="*/ 492423 w 585671"/>
                <a:gd name="connsiteY67" fmla="*/ 228381 h 338310"/>
                <a:gd name="connsiteX68" fmla="*/ 492633 w 585671"/>
                <a:gd name="connsiteY68" fmla="*/ 227562 h 338310"/>
                <a:gd name="connsiteX69" fmla="*/ 493087 w 585671"/>
                <a:gd name="connsiteY69" fmla="*/ 225621 h 338310"/>
                <a:gd name="connsiteX70" fmla="*/ 493581 w 585671"/>
                <a:gd name="connsiteY70" fmla="*/ 223551 h 338310"/>
                <a:gd name="connsiteX71" fmla="*/ 496246 w 585671"/>
                <a:gd name="connsiteY71" fmla="*/ 207675 h 338310"/>
                <a:gd name="connsiteX72" fmla="*/ 496327 w 585671"/>
                <a:gd name="connsiteY72" fmla="*/ 205854 h 338310"/>
                <a:gd name="connsiteX73" fmla="*/ 496410 w 585671"/>
                <a:gd name="connsiteY73" fmla="*/ 201429 h 338310"/>
                <a:gd name="connsiteX74" fmla="*/ 495362 w 585671"/>
                <a:gd name="connsiteY74" fmla="*/ 195942 h 338310"/>
                <a:gd name="connsiteX75" fmla="*/ 494861 w 585671"/>
                <a:gd name="connsiteY75" fmla="*/ 194539 h 338310"/>
                <a:gd name="connsiteX76" fmla="*/ 493589 w 585671"/>
                <a:gd name="connsiteY76" fmla="*/ 191535 h 338310"/>
                <a:gd name="connsiteX77" fmla="*/ 492648 w 585671"/>
                <a:gd name="connsiteY77" fmla="*/ 189751 h 338310"/>
                <a:gd name="connsiteX78" fmla="*/ 492493 w 585671"/>
                <a:gd name="connsiteY78" fmla="*/ 189434 h 338310"/>
                <a:gd name="connsiteX79" fmla="*/ 488542 w 585671"/>
                <a:gd name="connsiteY79" fmla="*/ 184625 h 338310"/>
                <a:gd name="connsiteX80" fmla="*/ 487423 w 585671"/>
                <a:gd name="connsiteY80" fmla="*/ 183800 h 338310"/>
                <a:gd name="connsiteX81" fmla="*/ 497160 w 585671"/>
                <a:gd name="connsiteY81" fmla="*/ 175522 h 338310"/>
                <a:gd name="connsiteX82" fmla="*/ 498482 w 585671"/>
                <a:gd name="connsiteY82" fmla="*/ 173819 h 338310"/>
                <a:gd name="connsiteX83" fmla="*/ 502551 w 585671"/>
                <a:gd name="connsiteY83" fmla="*/ 168100 h 338310"/>
                <a:gd name="connsiteX84" fmla="*/ 503075 w 585671"/>
                <a:gd name="connsiteY84" fmla="*/ 168182 h 338310"/>
                <a:gd name="connsiteX85" fmla="*/ 504529 w 585671"/>
                <a:gd name="connsiteY85" fmla="*/ 168263 h 338310"/>
                <a:gd name="connsiteX86" fmla="*/ 505941 w 585671"/>
                <a:gd name="connsiteY86" fmla="*/ 168151 h 338310"/>
                <a:gd name="connsiteX87" fmla="*/ 510665 w 585671"/>
                <a:gd name="connsiteY87" fmla="*/ 164902 h 338310"/>
                <a:gd name="connsiteX88" fmla="*/ 511219 w 585671"/>
                <a:gd name="connsiteY88" fmla="*/ 160905 h 338310"/>
                <a:gd name="connsiteX89" fmla="*/ 512975 w 585671"/>
                <a:gd name="connsiteY89" fmla="*/ 158634 h 338310"/>
                <a:gd name="connsiteX90" fmla="*/ 513749 w 585671"/>
                <a:gd name="connsiteY90" fmla="*/ 157537 h 338310"/>
                <a:gd name="connsiteX91" fmla="*/ 514477 w 585671"/>
                <a:gd name="connsiteY91" fmla="*/ 156512 h 338310"/>
                <a:gd name="connsiteX92" fmla="*/ 516326 w 585671"/>
                <a:gd name="connsiteY92" fmla="*/ 154252 h 338310"/>
                <a:gd name="connsiteX93" fmla="*/ 520766 w 585671"/>
                <a:gd name="connsiteY93" fmla="*/ 147839 h 338310"/>
                <a:gd name="connsiteX94" fmla="*/ 521108 w 585671"/>
                <a:gd name="connsiteY94" fmla="*/ 147124 h 338310"/>
                <a:gd name="connsiteX95" fmla="*/ 523638 w 585671"/>
                <a:gd name="connsiteY95" fmla="*/ 142017 h 338310"/>
                <a:gd name="connsiteX96" fmla="*/ 525447 w 585671"/>
                <a:gd name="connsiteY96" fmla="*/ 134831 h 338310"/>
                <a:gd name="connsiteX97" fmla="*/ 525734 w 585671"/>
                <a:gd name="connsiteY97" fmla="*/ 130863 h 338310"/>
                <a:gd name="connsiteX98" fmla="*/ 526299 w 585671"/>
                <a:gd name="connsiteY98" fmla="*/ 125118 h 338310"/>
                <a:gd name="connsiteX99" fmla="*/ 526314 w 585671"/>
                <a:gd name="connsiteY99" fmla="*/ 124730 h 338310"/>
                <a:gd name="connsiteX100" fmla="*/ 525785 w 585671"/>
                <a:gd name="connsiteY100" fmla="*/ 121184 h 338310"/>
                <a:gd name="connsiteX101" fmla="*/ 523999 w 585671"/>
                <a:gd name="connsiteY101" fmla="*/ 118636 h 338310"/>
                <a:gd name="connsiteX102" fmla="*/ 522364 w 585671"/>
                <a:gd name="connsiteY102" fmla="*/ 117732 h 338310"/>
                <a:gd name="connsiteX103" fmla="*/ 522328 w 585671"/>
                <a:gd name="connsiteY103" fmla="*/ 117247 h 338310"/>
                <a:gd name="connsiteX104" fmla="*/ 522020 w 585671"/>
                <a:gd name="connsiteY104" fmla="*/ 115051 h 338310"/>
                <a:gd name="connsiteX105" fmla="*/ 521717 w 585671"/>
                <a:gd name="connsiteY105" fmla="*/ 112858 h 338310"/>
                <a:gd name="connsiteX106" fmla="*/ 522366 w 585671"/>
                <a:gd name="connsiteY106" fmla="*/ 106943 h 338310"/>
                <a:gd name="connsiteX107" fmla="*/ 522887 w 585671"/>
                <a:gd name="connsiteY107" fmla="*/ 109552 h 338310"/>
                <a:gd name="connsiteX108" fmla="*/ 523906 w 585671"/>
                <a:gd name="connsiteY108" fmla="*/ 106523 h 338310"/>
                <a:gd name="connsiteX109" fmla="*/ 523915 w 585671"/>
                <a:gd name="connsiteY109" fmla="*/ 100789 h 338310"/>
                <a:gd name="connsiteX110" fmla="*/ 522742 w 585671"/>
                <a:gd name="connsiteY110" fmla="*/ 97766 h 338310"/>
                <a:gd name="connsiteX111" fmla="*/ 520926 w 585671"/>
                <a:gd name="connsiteY111" fmla="*/ 90417 h 338310"/>
                <a:gd name="connsiteX112" fmla="*/ 521305 w 585671"/>
                <a:gd name="connsiteY112" fmla="*/ 86946 h 338310"/>
                <a:gd name="connsiteX113" fmla="*/ 521609 w 585671"/>
                <a:gd name="connsiteY113" fmla="*/ 84327 h 338310"/>
                <a:gd name="connsiteX114" fmla="*/ 521893 w 585671"/>
                <a:gd name="connsiteY114" fmla="*/ 85579 h 338310"/>
                <a:gd name="connsiteX115" fmla="*/ 522486 w 585671"/>
                <a:gd name="connsiteY115" fmla="*/ 88883 h 338310"/>
                <a:gd name="connsiteX116" fmla="*/ 523543 w 585671"/>
                <a:gd name="connsiteY116" fmla="*/ 85697 h 338310"/>
                <a:gd name="connsiteX117" fmla="*/ 524077 w 585671"/>
                <a:gd name="connsiteY117" fmla="*/ 80661 h 338310"/>
                <a:gd name="connsiteX118" fmla="*/ 523176 w 585671"/>
                <a:gd name="connsiteY118" fmla="*/ 75739 h 338310"/>
                <a:gd name="connsiteX119" fmla="*/ 523298 w 585671"/>
                <a:gd name="connsiteY119" fmla="*/ 75944 h 338310"/>
                <a:gd name="connsiteX120" fmla="*/ 525207 w 585671"/>
                <a:gd name="connsiteY120" fmla="*/ 79263 h 338310"/>
                <a:gd name="connsiteX121" fmla="*/ 524888 w 585671"/>
                <a:gd name="connsiteY121" fmla="*/ 75448 h 338310"/>
                <a:gd name="connsiteX122" fmla="*/ 521414 w 585671"/>
                <a:gd name="connsiteY122" fmla="*/ 66174 h 338310"/>
                <a:gd name="connsiteX123" fmla="*/ 520666 w 585671"/>
                <a:gd name="connsiteY123" fmla="*/ 64713 h 338310"/>
                <a:gd name="connsiteX124" fmla="*/ 522053 w 585671"/>
                <a:gd name="connsiteY124" fmla="*/ 61577 h 338310"/>
                <a:gd name="connsiteX125" fmla="*/ 520623 w 585671"/>
                <a:gd name="connsiteY125" fmla="*/ 53942 h 338310"/>
                <a:gd name="connsiteX126" fmla="*/ 517744 w 585671"/>
                <a:gd name="connsiteY126" fmla="*/ 49517 h 338310"/>
                <a:gd name="connsiteX127" fmla="*/ 514306 w 585671"/>
                <a:gd name="connsiteY127" fmla="*/ 44435 h 338310"/>
                <a:gd name="connsiteX128" fmla="*/ 511827 w 585671"/>
                <a:gd name="connsiteY128" fmla="*/ 40955 h 338310"/>
                <a:gd name="connsiteX129" fmla="*/ 508994 w 585671"/>
                <a:gd name="connsiteY129" fmla="*/ 37043 h 338310"/>
                <a:gd name="connsiteX130" fmla="*/ 508569 w 585671"/>
                <a:gd name="connsiteY130" fmla="*/ 35772 h 338310"/>
                <a:gd name="connsiteX131" fmla="*/ 508514 w 585671"/>
                <a:gd name="connsiteY131" fmla="*/ 35337 h 338310"/>
                <a:gd name="connsiteX132" fmla="*/ 505462 w 585671"/>
                <a:gd name="connsiteY132" fmla="*/ 28051 h 338310"/>
                <a:gd name="connsiteX133" fmla="*/ 503496 w 585671"/>
                <a:gd name="connsiteY133" fmla="*/ 25482 h 338310"/>
                <a:gd name="connsiteX134" fmla="*/ 503938 w 585671"/>
                <a:gd name="connsiteY134" fmla="*/ 28686 h 338310"/>
                <a:gd name="connsiteX135" fmla="*/ 503925 w 585671"/>
                <a:gd name="connsiteY135" fmla="*/ 30070 h 338310"/>
                <a:gd name="connsiteX136" fmla="*/ 500917 w 585671"/>
                <a:gd name="connsiteY136" fmla="*/ 27120 h 338310"/>
                <a:gd name="connsiteX137" fmla="*/ 499655 w 585671"/>
                <a:gd name="connsiteY137" fmla="*/ 26052 h 338310"/>
                <a:gd name="connsiteX138" fmla="*/ 497651 w 585671"/>
                <a:gd name="connsiteY138" fmla="*/ 24426 h 338310"/>
                <a:gd name="connsiteX139" fmla="*/ 495922 w 585671"/>
                <a:gd name="connsiteY139" fmla="*/ 23104 h 338310"/>
                <a:gd name="connsiteX140" fmla="*/ 492875 w 585671"/>
                <a:gd name="connsiteY140" fmla="*/ 17714 h 338310"/>
                <a:gd name="connsiteX141" fmla="*/ 492342 w 585671"/>
                <a:gd name="connsiteY141" fmla="*/ 16304 h 338310"/>
                <a:gd name="connsiteX142" fmla="*/ 491407 w 585671"/>
                <a:gd name="connsiteY142" fmla="*/ 17486 h 338310"/>
                <a:gd name="connsiteX143" fmla="*/ 490788 w 585671"/>
                <a:gd name="connsiteY143" fmla="*/ 18911 h 338310"/>
                <a:gd name="connsiteX144" fmla="*/ 490730 w 585671"/>
                <a:gd name="connsiteY144" fmla="*/ 19600 h 338310"/>
                <a:gd name="connsiteX145" fmla="*/ 488519 w 585671"/>
                <a:gd name="connsiteY145" fmla="*/ 17554 h 338310"/>
                <a:gd name="connsiteX146" fmla="*/ 479954 w 585671"/>
                <a:gd name="connsiteY146" fmla="*/ 13500 h 338310"/>
                <a:gd name="connsiteX147" fmla="*/ 476478 w 585671"/>
                <a:gd name="connsiteY147" fmla="*/ 10872 h 338310"/>
                <a:gd name="connsiteX148" fmla="*/ 472882 w 585671"/>
                <a:gd name="connsiteY148" fmla="*/ 5550 h 338310"/>
                <a:gd name="connsiteX149" fmla="*/ 471668 w 585671"/>
                <a:gd name="connsiteY149" fmla="*/ 3422 h 338310"/>
                <a:gd name="connsiteX150" fmla="*/ 471298 w 585671"/>
                <a:gd name="connsiteY150" fmla="*/ 5843 h 338310"/>
                <a:gd name="connsiteX151" fmla="*/ 471414 w 585671"/>
                <a:gd name="connsiteY151" fmla="*/ 9295 h 338310"/>
                <a:gd name="connsiteX152" fmla="*/ 468360 w 585671"/>
                <a:gd name="connsiteY152" fmla="*/ 8176 h 338310"/>
                <a:gd name="connsiteX153" fmla="*/ 466654 w 585671"/>
                <a:gd name="connsiteY153" fmla="*/ 7878 h 338310"/>
                <a:gd name="connsiteX154" fmla="*/ 461484 w 585671"/>
                <a:gd name="connsiteY154" fmla="*/ 6646 h 338310"/>
                <a:gd name="connsiteX155" fmla="*/ 455292 w 585671"/>
                <a:gd name="connsiteY155" fmla="*/ 1749 h 338310"/>
                <a:gd name="connsiteX156" fmla="*/ 454078 w 585671"/>
                <a:gd name="connsiteY156" fmla="*/ 0 h 338310"/>
                <a:gd name="connsiteX157" fmla="*/ 453748 w 585671"/>
                <a:gd name="connsiteY157" fmla="*/ 2104 h 338310"/>
                <a:gd name="connsiteX158" fmla="*/ 453888 w 585671"/>
                <a:gd name="connsiteY158" fmla="*/ 6529 h 338310"/>
                <a:gd name="connsiteX159" fmla="*/ 454319 w 585671"/>
                <a:gd name="connsiteY159" fmla="*/ 7577 h 338310"/>
                <a:gd name="connsiteX160" fmla="*/ 450121 w 585671"/>
                <a:gd name="connsiteY160" fmla="*/ 7599 h 338310"/>
                <a:gd name="connsiteX161" fmla="*/ 447828 w 585671"/>
                <a:gd name="connsiteY161" fmla="*/ 7847 h 338310"/>
                <a:gd name="connsiteX162" fmla="*/ 443330 w 585671"/>
                <a:gd name="connsiteY162" fmla="*/ 8161 h 338310"/>
                <a:gd name="connsiteX163" fmla="*/ 430296 w 585671"/>
                <a:gd name="connsiteY163" fmla="*/ 3645 h 338310"/>
                <a:gd name="connsiteX164" fmla="*/ 428578 w 585671"/>
                <a:gd name="connsiteY164" fmla="*/ 2542 h 338310"/>
                <a:gd name="connsiteX165" fmla="*/ 429000 w 585671"/>
                <a:gd name="connsiteY165" fmla="*/ 4539 h 338310"/>
                <a:gd name="connsiteX166" fmla="*/ 430478 w 585671"/>
                <a:gd name="connsiteY166" fmla="*/ 7719 h 338310"/>
                <a:gd name="connsiteX167" fmla="*/ 422680 w 585671"/>
                <a:gd name="connsiteY167" fmla="*/ 7574 h 338310"/>
                <a:gd name="connsiteX168" fmla="*/ 418064 w 585671"/>
                <a:gd name="connsiteY168" fmla="*/ 7233 h 338310"/>
                <a:gd name="connsiteX169" fmla="*/ 411327 w 585671"/>
                <a:gd name="connsiteY169" fmla="*/ 4655 h 338310"/>
                <a:gd name="connsiteX170" fmla="*/ 409637 w 585671"/>
                <a:gd name="connsiteY170" fmla="*/ 3835 h 338310"/>
                <a:gd name="connsiteX171" fmla="*/ 410130 w 585671"/>
                <a:gd name="connsiteY171" fmla="*/ 5647 h 338310"/>
                <a:gd name="connsiteX172" fmla="*/ 413334 w 585671"/>
                <a:gd name="connsiteY172" fmla="*/ 9988 h 338310"/>
                <a:gd name="connsiteX173" fmla="*/ 415604 w 585671"/>
                <a:gd name="connsiteY173" fmla="*/ 11286 h 338310"/>
                <a:gd name="connsiteX174" fmla="*/ 412800 w 585671"/>
                <a:gd name="connsiteY174" fmla="*/ 12888 h 338310"/>
                <a:gd name="connsiteX175" fmla="*/ 411296 w 585671"/>
                <a:gd name="connsiteY175" fmla="*/ 14231 h 338310"/>
                <a:gd name="connsiteX176" fmla="*/ 409583 w 585671"/>
                <a:gd name="connsiteY176" fmla="*/ 15705 h 338310"/>
                <a:gd name="connsiteX177" fmla="*/ 406450 w 585671"/>
                <a:gd name="connsiteY177" fmla="*/ 16137 h 338310"/>
                <a:gd name="connsiteX178" fmla="*/ 395860 w 585671"/>
                <a:gd name="connsiteY178" fmla="*/ 19765 h 338310"/>
                <a:gd name="connsiteX179" fmla="*/ 392448 w 585671"/>
                <a:gd name="connsiteY179" fmla="*/ 23433 h 338310"/>
                <a:gd name="connsiteX180" fmla="*/ 396882 w 585671"/>
                <a:gd name="connsiteY180" fmla="*/ 21101 h 338310"/>
                <a:gd name="connsiteX181" fmla="*/ 401326 w 585671"/>
                <a:gd name="connsiteY181" fmla="*/ 20318 h 338310"/>
                <a:gd name="connsiteX182" fmla="*/ 401334 w 585671"/>
                <a:gd name="connsiteY182" fmla="*/ 20330 h 338310"/>
                <a:gd name="connsiteX183" fmla="*/ 401334 w 585671"/>
                <a:gd name="connsiteY183" fmla="*/ 20330 h 338310"/>
                <a:gd name="connsiteX184" fmla="*/ 401149 w 585671"/>
                <a:gd name="connsiteY184" fmla="*/ 20520 h 338310"/>
                <a:gd name="connsiteX185" fmla="*/ 400629 w 585671"/>
                <a:gd name="connsiteY185" fmla="*/ 20769 h 338310"/>
                <a:gd name="connsiteX186" fmla="*/ 400351 w 585671"/>
                <a:gd name="connsiteY186" fmla="*/ 20887 h 338310"/>
                <a:gd name="connsiteX187" fmla="*/ 397503 w 585671"/>
                <a:gd name="connsiteY187" fmla="*/ 23541 h 338310"/>
                <a:gd name="connsiteX188" fmla="*/ 393217 w 585671"/>
                <a:gd name="connsiteY188" fmla="*/ 27538 h 338310"/>
                <a:gd name="connsiteX189" fmla="*/ 390600 w 585671"/>
                <a:gd name="connsiteY189" fmla="*/ 29505 h 338310"/>
                <a:gd name="connsiteX190" fmla="*/ 385435 w 585671"/>
                <a:gd name="connsiteY190" fmla="*/ 34607 h 338310"/>
                <a:gd name="connsiteX191" fmla="*/ 381837 w 585671"/>
                <a:gd name="connsiteY191" fmla="*/ 41115 h 338310"/>
                <a:gd name="connsiteX192" fmla="*/ 380430 w 585671"/>
                <a:gd name="connsiteY192" fmla="*/ 44487 h 338310"/>
                <a:gd name="connsiteX193" fmla="*/ 379127 w 585671"/>
                <a:gd name="connsiteY193" fmla="*/ 45806 h 338310"/>
                <a:gd name="connsiteX194" fmla="*/ 377894 w 585671"/>
                <a:gd name="connsiteY194" fmla="*/ 46218 h 338310"/>
                <a:gd name="connsiteX195" fmla="*/ 376911 w 585671"/>
                <a:gd name="connsiteY195" fmla="*/ 46521 h 338310"/>
                <a:gd name="connsiteX196" fmla="*/ 372450 w 585671"/>
                <a:gd name="connsiteY196" fmla="*/ 49932 h 338310"/>
                <a:gd name="connsiteX197" fmla="*/ 369675 w 585671"/>
                <a:gd name="connsiteY197" fmla="*/ 54522 h 338310"/>
                <a:gd name="connsiteX198" fmla="*/ 371152 w 585671"/>
                <a:gd name="connsiteY198" fmla="*/ 55374 h 338310"/>
                <a:gd name="connsiteX199" fmla="*/ 374795 w 585671"/>
                <a:gd name="connsiteY199" fmla="*/ 52735 h 338310"/>
                <a:gd name="connsiteX200" fmla="*/ 372645 w 585671"/>
                <a:gd name="connsiteY200" fmla="*/ 59185 h 338310"/>
                <a:gd name="connsiteX201" fmla="*/ 371703 w 585671"/>
                <a:gd name="connsiteY201" fmla="*/ 66607 h 338310"/>
                <a:gd name="connsiteX202" fmla="*/ 374292 w 585671"/>
                <a:gd name="connsiteY202" fmla="*/ 59588 h 338310"/>
                <a:gd name="connsiteX203" fmla="*/ 375814 w 585671"/>
                <a:gd name="connsiteY203" fmla="*/ 57416 h 338310"/>
                <a:gd name="connsiteX204" fmla="*/ 375856 w 585671"/>
                <a:gd name="connsiteY204" fmla="*/ 57383 h 338310"/>
                <a:gd name="connsiteX205" fmla="*/ 374901 w 585671"/>
                <a:gd name="connsiteY205" fmla="*/ 60486 h 338310"/>
                <a:gd name="connsiteX206" fmla="*/ 374295 w 585671"/>
                <a:gd name="connsiteY206" fmla="*/ 66691 h 338310"/>
                <a:gd name="connsiteX207" fmla="*/ 370005 w 585671"/>
                <a:gd name="connsiteY207" fmla="*/ 80294 h 338310"/>
                <a:gd name="connsiteX208" fmla="*/ 368535 w 585671"/>
                <a:gd name="connsiteY208" fmla="*/ 82096 h 338310"/>
                <a:gd name="connsiteX209" fmla="*/ 370822 w 585671"/>
                <a:gd name="connsiteY209" fmla="*/ 81672 h 338310"/>
                <a:gd name="connsiteX210" fmla="*/ 372709 w 585671"/>
                <a:gd name="connsiteY210" fmla="*/ 81120 h 338310"/>
                <a:gd name="connsiteX211" fmla="*/ 370581 w 585671"/>
                <a:gd name="connsiteY211" fmla="*/ 94655 h 338310"/>
                <a:gd name="connsiteX212" fmla="*/ 369138 w 585671"/>
                <a:gd name="connsiteY212" fmla="*/ 98284 h 338310"/>
                <a:gd name="connsiteX213" fmla="*/ 366639 w 585671"/>
                <a:gd name="connsiteY213" fmla="*/ 100012 h 338310"/>
                <a:gd name="connsiteX214" fmla="*/ 364312 w 585671"/>
                <a:gd name="connsiteY214" fmla="*/ 101303 h 338310"/>
                <a:gd name="connsiteX215" fmla="*/ 366956 w 585671"/>
                <a:gd name="connsiteY215" fmla="*/ 101605 h 338310"/>
                <a:gd name="connsiteX216" fmla="*/ 371555 w 585671"/>
                <a:gd name="connsiteY216" fmla="*/ 100723 h 338310"/>
                <a:gd name="connsiteX217" fmla="*/ 371921 w 585671"/>
                <a:gd name="connsiteY217" fmla="*/ 100516 h 338310"/>
                <a:gd name="connsiteX218" fmla="*/ 371511 w 585671"/>
                <a:gd name="connsiteY218" fmla="*/ 101380 h 338310"/>
                <a:gd name="connsiteX219" fmla="*/ 371177 w 585671"/>
                <a:gd name="connsiteY219" fmla="*/ 102071 h 338310"/>
                <a:gd name="connsiteX220" fmla="*/ 369210 w 585671"/>
                <a:gd name="connsiteY220" fmla="*/ 102102 h 338310"/>
                <a:gd name="connsiteX221" fmla="*/ 366132 w 585671"/>
                <a:gd name="connsiteY221" fmla="*/ 103447 h 338310"/>
                <a:gd name="connsiteX222" fmla="*/ 363948 w 585671"/>
                <a:gd name="connsiteY222" fmla="*/ 107212 h 338310"/>
                <a:gd name="connsiteX223" fmla="*/ 363130 w 585671"/>
                <a:gd name="connsiteY223" fmla="*/ 112483 h 338310"/>
                <a:gd name="connsiteX224" fmla="*/ 363747 w 585671"/>
                <a:gd name="connsiteY224" fmla="*/ 123858 h 338310"/>
                <a:gd name="connsiteX225" fmla="*/ 364173 w 585671"/>
                <a:gd name="connsiteY225" fmla="*/ 126098 h 338310"/>
                <a:gd name="connsiteX226" fmla="*/ 366255 w 585671"/>
                <a:gd name="connsiteY226" fmla="*/ 133698 h 338310"/>
                <a:gd name="connsiteX227" fmla="*/ 367728 w 585671"/>
                <a:gd name="connsiteY227" fmla="*/ 138683 h 338310"/>
                <a:gd name="connsiteX228" fmla="*/ 367839 w 585671"/>
                <a:gd name="connsiteY228" fmla="*/ 139190 h 338310"/>
                <a:gd name="connsiteX229" fmla="*/ 370353 w 585671"/>
                <a:gd name="connsiteY229" fmla="*/ 144135 h 338310"/>
                <a:gd name="connsiteX230" fmla="*/ 371496 w 585671"/>
                <a:gd name="connsiteY230" fmla="*/ 146331 h 338310"/>
                <a:gd name="connsiteX231" fmla="*/ 372762 w 585671"/>
                <a:gd name="connsiteY231" fmla="*/ 148515 h 338310"/>
                <a:gd name="connsiteX232" fmla="*/ 372984 w 585671"/>
                <a:gd name="connsiteY232" fmla="*/ 152465 h 338310"/>
                <a:gd name="connsiteX233" fmla="*/ 375896 w 585671"/>
                <a:gd name="connsiteY233" fmla="*/ 156598 h 338310"/>
                <a:gd name="connsiteX234" fmla="*/ 376298 w 585671"/>
                <a:gd name="connsiteY234" fmla="*/ 156787 h 338310"/>
                <a:gd name="connsiteX235" fmla="*/ 375966 w 585671"/>
                <a:gd name="connsiteY235" fmla="*/ 157104 h 338310"/>
                <a:gd name="connsiteX236" fmla="*/ 375740 w 585671"/>
                <a:gd name="connsiteY236" fmla="*/ 157224 h 338310"/>
                <a:gd name="connsiteX237" fmla="*/ 375554 w 585671"/>
                <a:gd name="connsiteY237" fmla="*/ 157316 h 338310"/>
                <a:gd name="connsiteX238" fmla="*/ 366750 w 585671"/>
                <a:gd name="connsiteY238" fmla="*/ 164827 h 338310"/>
                <a:gd name="connsiteX239" fmla="*/ 366467 w 585671"/>
                <a:gd name="connsiteY239" fmla="*/ 165152 h 338310"/>
                <a:gd name="connsiteX240" fmla="*/ 361847 w 585671"/>
                <a:gd name="connsiteY240" fmla="*/ 170566 h 338310"/>
                <a:gd name="connsiteX241" fmla="*/ 346408 w 585671"/>
                <a:gd name="connsiteY241" fmla="*/ 184341 h 338310"/>
                <a:gd name="connsiteX242" fmla="*/ 339628 w 585671"/>
                <a:gd name="connsiteY242" fmla="*/ 187431 h 338310"/>
                <a:gd name="connsiteX243" fmla="*/ 331205 w 585671"/>
                <a:gd name="connsiteY243" fmla="*/ 191003 h 338310"/>
                <a:gd name="connsiteX244" fmla="*/ 328448 w 585671"/>
                <a:gd name="connsiteY244" fmla="*/ 192424 h 338310"/>
                <a:gd name="connsiteX245" fmla="*/ 326473 w 585671"/>
                <a:gd name="connsiteY245" fmla="*/ 193471 h 338310"/>
                <a:gd name="connsiteX246" fmla="*/ 323800 w 585671"/>
                <a:gd name="connsiteY246" fmla="*/ 194830 h 338310"/>
                <a:gd name="connsiteX247" fmla="*/ 319511 w 585671"/>
                <a:gd name="connsiteY247" fmla="*/ 192783 h 338310"/>
                <a:gd name="connsiteX248" fmla="*/ 318352 w 585671"/>
                <a:gd name="connsiteY248" fmla="*/ 192375 h 338310"/>
                <a:gd name="connsiteX249" fmla="*/ 315783 w 585671"/>
                <a:gd name="connsiteY249" fmla="*/ 191435 h 338310"/>
                <a:gd name="connsiteX250" fmla="*/ 311585 w 585671"/>
                <a:gd name="connsiteY250" fmla="*/ 186904 h 338310"/>
                <a:gd name="connsiteX251" fmla="*/ 304378 w 585671"/>
                <a:gd name="connsiteY251" fmla="*/ 177652 h 338310"/>
                <a:gd name="connsiteX252" fmla="*/ 300148 w 585671"/>
                <a:gd name="connsiteY252" fmla="*/ 174715 h 338310"/>
                <a:gd name="connsiteX253" fmla="*/ 299703 w 585671"/>
                <a:gd name="connsiteY253" fmla="*/ 174277 h 338310"/>
                <a:gd name="connsiteX254" fmla="*/ 298948 w 585671"/>
                <a:gd name="connsiteY254" fmla="*/ 174067 h 338310"/>
                <a:gd name="connsiteX255" fmla="*/ 287394 w 585671"/>
                <a:gd name="connsiteY255" fmla="*/ 171119 h 338310"/>
                <a:gd name="connsiteX256" fmla="*/ 283542 w 585671"/>
                <a:gd name="connsiteY256" fmla="*/ 168779 h 338310"/>
                <a:gd name="connsiteX257" fmla="*/ 280920 w 585671"/>
                <a:gd name="connsiteY257" fmla="*/ 165171 h 338310"/>
                <a:gd name="connsiteX258" fmla="*/ 276712 w 585671"/>
                <a:gd name="connsiteY258" fmla="*/ 162919 h 338310"/>
                <a:gd name="connsiteX259" fmla="*/ 273988 w 585671"/>
                <a:gd name="connsiteY259" fmla="*/ 162550 h 338310"/>
                <a:gd name="connsiteX260" fmla="*/ 265468 w 585671"/>
                <a:gd name="connsiteY260" fmla="*/ 159953 h 338310"/>
                <a:gd name="connsiteX261" fmla="*/ 252136 w 585671"/>
                <a:gd name="connsiteY261" fmla="*/ 153460 h 338310"/>
                <a:gd name="connsiteX262" fmla="*/ 240841 w 585671"/>
                <a:gd name="connsiteY262" fmla="*/ 151871 h 338310"/>
                <a:gd name="connsiteX263" fmla="*/ 240313 w 585671"/>
                <a:gd name="connsiteY263" fmla="*/ 151870 h 338310"/>
                <a:gd name="connsiteX264" fmla="*/ 233087 w 585671"/>
                <a:gd name="connsiteY264" fmla="*/ 153159 h 338310"/>
                <a:gd name="connsiteX265" fmla="*/ 223931 w 585671"/>
                <a:gd name="connsiteY265" fmla="*/ 154242 h 338310"/>
                <a:gd name="connsiteX266" fmla="*/ 219846 w 585671"/>
                <a:gd name="connsiteY266" fmla="*/ 152691 h 338310"/>
                <a:gd name="connsiteX267" fmla="*/ 218322 w 585671"/>
                <a:gd name="connsiteY267" fmla="*/ 152268 h 338310"/>
                <a:gd name="connsiteX268" fmla="*/ 206277 w 585671"/>
                <a:gd name="connsiteY268" fmla="*/ 151313 h 338310"/>
                <a:gd name="connsiteX269" fmla="*/ 205598 w 585671"/>
                <a:gd name="connsiteY269" fmla="*/ 151421 h 338310"/>
                <a:gd name="connsiteX270" fmla="*/ 202619 w 585671"/>
                <a:gd name="connsiteY270" fmla="*/ 151621 h 338310"/>
                <a:gd name="connsiteX271" fmla="*/ 200542 w 585671"/>
                <a:gd name="connsiteY271" fmla="*/ 151182 h 338310"/>
                <a:gd name="connsiteX272" fmla="*/ 197039 w 585671"/>
                <a:gd name="connsiteY272" fmla="*/ 150613 h 338310"/>
                <a:gd name="connsiteX273" fmla="*/ 195488 w 585671"/>
                <a:gd name="connsiteY273" fmla="*/ 150648 h 338310"/>
                <a:gd name="connsiteX274" fmla="*/ 193177 w 585671"/>
                <a:gd name="connsiteY274" fmla="*/ 150665 h 338310"/>
                <a:gd name="connsiteX275" fmla="*/ 188208 w 585671"/>
                <a:gd name="connsiteY275" fmla="*/ 152576 h 338310"/>
                <a:gd name="connsiteX276" fmla="*/ 184219 w 585671"/>
                <a:gd name="connsiteY276" fmla="*/ 155465 h 338310"/>
                <a:gd name="connsiteX277" fmla="*/ 183088 w 585671"/>
                <a:gd name="connsiteY277" fmla="*/ 156132 h 338310"/>
                <a:gd name="connsiteX278" fmla="*/ 181743 w 585671"/>
                <a:gd name="connsiteY278" fmla="*/ 156109 h 338310"/>
                <a:gd name="connsiteX279" fmla="*/ 180136 w 585671"/>
                <a:gd name="connsiteY279" fmla="*/ 156060 h 338310"/>
                <a:gd name="connsiteX280" fmla="*/ 168040 w 585671"/>
                <a:gd name="connsiteY280" fmla="*/ 160374 h 338310"/>
                <a:gd name="connsiteX281" fmla="*/ 158681 w 585671"/>
                <a:gd name="connsiteY281" fmla="*/ 169954 h 338310"/>
                <a:gd name="connsiteX282" fmla="*/ 158237 w 585671"/>
                <a:gd name="connsiteY282" fmla="*/ 171137 h 338310"/>
                <a:gd name="connsiteX283" fmla="*/ 157554 w 585671"/>
                <a:gd name="connsiteY283" fmla="*/ 172824 h 338310"/>
                <a:gd name="connsiteX284" fmla="*/ 154735 w 585671"/>
                <a:gd name="connsiteY284" fmla="*/ 176179 h 338310"/>
                <a:gd name="connsiteX285" fmla="*/ 154043 w 585671"/>
                <a:gd name="connsiteY285" fmla="*/ 176859 h 338310"/>
                <a:gd name="connsiteX286" fmla="*/ 142859 w 585671"/>
                <a:gd name="connsiteY286" fmla="*/ 174168 h 338310"/>
                <a:gd name="connsiteX287" fmla="*/ 139312 w 585671"/>
                <a:gd name="connsiteY287" fmla="*/ 173252 h 338310"/>
                <a:gd name="connsiteX288" fmla="*/ 132863 w 585671"/>
                <a:gd name="connsiteY288" fmla="*/ 171364 h 338310"/>
                <a:gd name="connsiteX289" fmla="*/ 129780 w 585671"/>
                <a:gd name="connsiteY289" fmla="*/ 170581 h 338310"/>
                <a:gd name="connsiteX290" fmla="*/ 122903 w 585671"/>
                <a:gd name="connsiteY290" fmla="*/ 167120 h 338310"/>
                <a:gd name="connsiteX291" fmla="*/ 120758 w 585671"/>
                <a:gd name="connsiteY291" fmla="*/ 165444 h 338310"/>
                <a:gd name="connsiteX292" fmla="*/ 119255 w 585671"/>
                <a:gd name="connsiteY292" fmla="*/ 164235 h 338310"/>
                <a:gd name="connsiteX293" fmla="*/ 117446 w 585671"/>
                <a:gd name="connsiteY293" fmla="*/ 163099 h 338310"/>
                <a:gd name="connsiteX294" fmla="*/ 116385 w 585671"/>
                <a:gd name="connsiteY294" fmla="*/ 162475 h 338310"/>
                <a:gd name="connsiteX295" fmla="*/ 113613 w 585671"/>
                <a:gd name="connsiteY295" fmla="*/ 161484 h 338310"/>
                <a:gd name="connsiteX296" fmla="*/ 112665 w 585671"/>
                <a:gd name="connsiteY296" fmla="*/ 161183 h 338310"/>
                <a:gd name="connsiteX297" fmla="*/ 112585 w 585671"/>
                <a:gd name="connsiteY297" fmla="*/ 161115 h 338310"/>
                <a:gd name="connsiteX298" fmla="*/ 110922 w 585671"/>
                <a:gd name="connsiteY298" fmla="*/ 159290 h 338310"/>
                <a:gd name="connsiteX299" fmla="*/ 108835 w 585671"/>
                <a:gd name="connsiteY299" fmla="*/ 158950 h 338310"/>
                <a:gd name="connsiteX300" fmla="*/ 107029 w 585671"/>
                <a:gd name="connsiteY300" fmla="*/ 158275 h 338310"/>
                <a:gd name="connsiteX301" fmla="*/ 106144 w 585671"/>
                <a:gd name="connsiteY301" fmla="*/ 157527 h 338310"/>
                <a:gd name="connsiteX302" fmla="*/ 105422 w 585671"/>
                <a:gd name="connsiteY302" fmla="*/ 156925 h 338310"/>
                <a:gd name="connsiteX303" fmla="*/ 104895 w 585671"/>
                <a:gd name="connsiteY303" fmla="*/ 156474 h 338310"/>
                <a:gd name="connsiteX304" fmla="*/ 104351 w 585671"/>
                <a:gd name="connsiteY304" fmla="*/ 156007 h 338310"/>
                <a:gd name="connsiteX305" fmla="*/ 103047 w 585671"/>
                <a:gd name="connsiteY305" fmla="*/ 154768 h 338310"/>
                <a:gd name="connsiteX306" fmla="*/ 99141 w 585671"/>
                <a:gd name="connsiteY306" fmla="*/ 151576 h 338310"/>
                <a:gd name="connsiteX307" fmla="*/ 95649 w 585671"/>
                <a:gd name="connsiteY307" fmla="*/ 150013 h 338310"/>
                <a:gd name="connsiteX308" fmla="*/ 94871 w 585671"/>
                <a:gd name="connsiteY308" fmla="*/ 149740 h 338310"/>
                <a:gd name="connsiteX309" fmla="*/ 86923 w 585671"/>
                <a:gd name="connsiteY309" fmla="*/ 148889 h 338310"/>
                <a:gd name="connsiteX310" fmla="*/ 83727 w 585671"/>
                <a:gd name="connsiteY310" fmla="*/ 148951 h 338310"/>
                <a:gd name="connsiteX311" fmla="*/ 81827 w 585671"/>
                <a:gd name="connsiteY311" fmla="*/ 148970 h 338310"/>
                <a:gd name="connsiteX312" fmla="*/ 80298 w 585671"/>
                <a:gd name="connsiteY312" fmla="*/ 148889 h 338310"/>
                <a:gd name="connsiteX313" fmla="*/ 78736 w 585671"/>
                <a:gd name="connsiteY313" fmla="*/ 148807 h 338310"/>
                <a:gd name="connsiteX314" fmla="*/ 76918 w 585671"/>
                <a:gd name="connsiteY314" fmla="*/ 148847 h 338310"/>
                <a:gd name="connsiteX315" fmla="*/ 75648 w 585671"/>
                <a:gd name="connsiteY315" fmla="*/ 148894 h 338310"/>
                <a:gd name="connsiteX316" fmla="*/ 71592 w 585671"/>
                <a:gd name="connsiteY316" fmla="*/ 148573 h 338310"/>
                <a:gd name="connsiteX317" fmla="*/ 70552 w 585671"/>
                <a:gd name="connsiteY317" fmla="*/ 148454 h 338310"/>
                <a:gd name="connsiteX318" fmla="*/ 67592 w 585671"/>
                <a:gd name="connsiteY318" fmla="*/ 148181 h 338310"/>
                <a:gd name="connsiteX319" fmla="*/ 66551 w 585671"/>
                <a:gd name="connsiteY319" fmla="*/ 148093 h 338310"/>
                <a:gd name="connsiteX320" fmla="*/ 59037 w 585671"/>
                <a:gd name="connsiteY320" fmla="*/ 148490 h 338310"/>
                <a:gd name="connsiteX321" fmla="*/ 55750 w 585671"/>
                <a:gd name="connsiteY321" fmla="*/ 149449 h 338310"/>
                <a:gd name="connsiteX322" fmla="*/ 54110 w 585671"/>
                <a:gd name="connsiteY322" fmla="*/ 148798 h 338310"/>
                <a:gd name="connsiteX323" fmla="*/ 53446 w 585671"/>
                <a:gd name="connsiteY323" fmla="*/ 148607 h 338310"/>
                <a:gd name="connsiteX324" fmla="*/ 49299 w 585671"/>
                <a:gd name="connsiteY324" fmla="*/ 147781 h 338310"/>
                <a:gd name="connsiteX325" fmla="*/ 44320 w 585671"/>
                <a:gd name="connsiteY325" fmla="*/ 149596 h 338310"/>
                <a:gd name="connsiteX326" fmla="*/ 43066 w 585671"/>
                <a:gd name="connsiteY326" fmla="*/ 153039 h 338310"/>
                <a:gd name="connsiteX327" fmla="*/ 43872 w 585671"/>
                <a:gd name="connsiteY327" fmla="*/ 155749 h 338310"/>
                <a:gd name="connsiteX328" fmla="*/ 44131 w 585671"/>
                <a:gd name="connsiteY328" fmla="*/ 155995 h 338310"/>
                <a:gd name="connsiteX329" fmla="*/ 46160 w 585671"/>
                <a:gd name="connsiteY329" fmla="*/ 157444 h 338310"/>
                <a:gd name="connsiteX330" fmla="*/ 46577 w 585671"/>
                <a:gd name="connsiteY330" fmla="*/ 157638 h 338310"/>
                <a:gd name="connsiteX331" fmla="*/ 46749 w 585671"/>
                <a:gd name="connsiteY331" fmla="*/ 157717 h 338310"/>
                <a:gd name="connsiteX332" fmla="*/ 46355 w 585671"/>
                <a:gd name="connsiteY332" fmla="*/ 158334 h 338310"/>
                <a:gd name="connsiteX333" fmla="*/ 45237 w 585671"/>
                <a:gd name="connsiteY333" fmla="*/ 159000 h 338310"/>
                <a:gd name="connsiteX334" fmla="*/ 44842 w 585671"/>
                <a:gd name="connsiteY334" fmla="*/ 159209 h 338310"/>
                <a:gd name="connsiteX335" fmla="*/ 44735 w 585671"/>
                <a:gd name="connsiteY335" fmla="*/ 159193 h 338310"/>
                <a:gd name="connsiteX336" fmla="*/ 38980 w 585671"/>
                <a:gd name="connsiteY336" fmla="*/ 159411 h 338310"/>
                <a:gd name="connsiteX337" fmla="*/ 35585 w 585671"/>
                <a:gd name="connsiteY337" fmla="*/ 161745 h 338310"/>
                <a:gd name="connsiteX338" fmla="*/ 34667 w 585671"/>
                <a:gd name="connsiteY338" fmla="*/ 165212 h 338310"/>
                <a:gd name="connsiteX339" fmla="*/ 35768 w 585671"/>
                <a:gd name="connsiteY339" fmla="*/ 168250 h 338310"/>
                <a:gd name="connsiteX340" fmla="*/ 37575 w 585671"/>
                <a:gd name="connsiteY340" fmla="*/ 169827 h 338310"/>
                <a:gd name="connsiteX341" fmla="*/ 36761 w 585671"/>
                <a:gd name="connsiteY341" fmla="*/ 171651 h 338310"/>
                <a:gd name="connsiteX342" fmla="*/ 36607 w 585671"/>
                <a:gd name="connsiteY342" fmla="*/ 172834 h 338310"/>
                <a:gd name="connsiteX343" fmla="*/ 36582 w 585671"/>
                <a:gd name="connsiteY343" fmla="*/ 173169 h 338310"/>
                <a:gd name="connsiteX344" fmla="*/ 35833 w 585671"/>
                <a:gd name="connsiteY344" fmla="*/ 174338 h 338310"/>
                <a:gd name="connsiteX345" fmla="*/ 34545 w 585671"/>
                <a:gd name="connsiteY345" fmla="*/ 175511 h 338310"/>
                <a:gd name="connsiteX346" fmla="*/ 33974 w 585671"/>
                <a:gd name="connsiteY346" fmla="*/ 176083 h 338310"/>
                <a:gd name="connsiteX347" fmla="*/ 32555 w 585671"/>
                <a:gd name="connsiteY347" fmla="*/ 179697 h 338310"/>
                <a:gd name="connsiteX348" fmla="*/ 32564 w 585671"/>
                <a:gd name="connsiteY348" fmla="*/ 179918 h 338310"/>
                <a:gd name="connsiteX349" fmla="*/ 33024 w 585671"/>
                <a:gd name="connsiteY349" fmla="*/ 182132 h 338310"/>
                <a:gd name="connsiteX350" fmla="*/ 33899 w 585671"/>
                <a:gd name="connsiteY350" fmla="*/ 183263 h 338310"/>
                <a:gd name="connsiteX351" fmla="*/ 34253 w 585671"/>
                <a:gd name="connsiteY351" fmla="*/ 183820 h 338310"/>
                <a:gd name="connsiteX352" fmla="*/ 33739 w 585671"/>
                <a:gd name="connsiteY352" fmla="*/ 184765 h 338310"/>
                <a:gd name="connsiteX353" fmla="*/ 32983 w 585671"/>
                <a:gd name="connsiteY353" fmla="*/ 185146 h 338310"/>
                <a:gd name="connsiteX354" fmla="*/ 31717 w 585671"/>
                <a:gd name="connsiteY354" fmla="*/ 185856 h 338310"/>
                <a:gd name="connsiteX355" fmla="*/ 29407 w 585671"/>
                <a:gd name="connsiteY355" fmla="*/ 188681 h 338310"/>
                <a:gd name="connsiteX356" fmla="*/ 28944 w 585671"/>
                <a:gd name="connsiteY356" fmla="*/ 192215 h 338310"/>
                <a:gd name="connsiteX357" fmla="*/ 28946 w 585671"/>
                <a:gd name="connsiteY357" fmla="*/ 192839 h 338310"/>
                <a:gd name="connsiteX358" fmla="*/ 29917 w 585671"/>
                <a:gd name="connsiteY358" fmla="*/ 195888 h 338310"/>
                <a:gd name="connsiteX359" fmla="*/ 31303 w 585671"/>
                <a:gd name="connsiteY359" fmla="*/ 197267 h 338310"/>
                <a:gd name="connsiteX360" fmla="*/ 33593 w 585671"/>
                <a:gd name="connsiteY360" fmla="*/ 198366 h 338310"/>
                <a:gd name="connsiteX361" fmla="*/ 35925 w 585671"/>
                <a:gd name="connsiteY361" fmla="*/ 198606 h 338310"/>
                <a:gd name="connsiteX362" fmla="*/ 40887 w 585671"/>
                <a:gd name="connsiteY362" fmla="*/ 198213 h 338310"/>
                <a:gd name="connsiteX363" fmla="*/ 42579 w 585671"/>
                <a:gd name="connsiteY363" fmla="*/ 197679 h 338310"/>
                <a:gd name="connsiteX364" fmla="*/ 43704 w 585671"/>
                <a:gd name="connsiteY364" fmla="*/ 197478 h 338310"/>
                <a:gd name="connsiteX365" fmla="*/ 44839 w 585671"/>
                <a:gd name="connsiteY365" fmla="*/ 197323 h 338310"/>
                <a:gd name="connsiteX366" fmla="*/ 48833 w 585671"/>
                <a:gd name="connsiteY366" fmla="*/ 195118 h 338310"/>
                <a:gd name="connsiteX367" fmla="*/ 49091 w 585671"/>
                <a:gd name="connsiteY367" fmla="*/ 194851 h 338310"/>
                <a:gd name="connsiteX368" fmla="*/ 49406 w 585671"/>
                <a:gd name="connsiteY368" fmla="*/ 194549 h 338310"/>
                <a:gd name="connsiteX369" fmla="*/ 50222 w 585671"/>
                <a:gd name="connsiteY369" fmla="*/ 193982 h 338310"/>
                <a:gd name="connsiteX370" fmla="*/ 53064 w 585671"/>
                <a:gd name="connsiteY370" fmla="*/ 193584 h 338310"/>
                <a:gd name="connsiteX371" fmla="*/ 54814 w 585671"/>
                <a:gd name="connsiteY371" fmla="*/ 193659 h 338310"/>
                <a:gd name="connsiteX372" fmla="*/ 62787 w 585671"/>
                <a:gd name="connsiteY372" fmla="*/ 193882 h 338310"/>
                <a:gd name="connsiteX373" fmla="*/ 67501 w 585671"/>
                <a:gd name="connsiteY373" fmla="*/ 193771 h 338310"/>
                <a:gd name="connsiteX374" fmla="*/ 72333 w 585671"/>
                <a:gd name="connsiteY374" fmla="*/ 193661 h 338310"/>
                <a:gd name="connsiteX375" fmla="*/ 79971 w 585671"/>
                <a:gd name="connsiteY375" fmla="*/ 194398 h 338310"/>
                <a:gd name="connsiteX376" fmla="*/ 79667 w 585671"/>
                <a:gd name="connsiteY376" fmla="*/ 194411 h 338310"/>
                <a:gd name="connsiteX377" fmla="*/ 74834 w 585671"/>
                <a:gd name="connsiteY377" fmla="*/ 194663 h 338310"/>
                <a:gd name="connsiteX378" fmla="*/ 73639 w 585671"/>
                <a:gd name="connsiteY378" fmla="*/ 194800 h 338310"/>
                <a:gd name="connsiteX379" fmla="*/ 71470 w 585671"/>
                <a:gd name="connsiteY379" fmla="*/ 194946 h 338310"/>
                <a:gd name="connsiteX380" fmla="*/ 68788 w 585671"/>
                <a:gd name="connsiteY380" fmla="*/ 195054 h 338310"/>
                <a:gd name="connsiteX381" fmla="*/ 67088 w 585671"/>
                <a:gd name="connsiteY381" fmla="*/ 195218 h 338310"/>
                <a:gd name="connsiteX382" fmla="*/ 63151 w 585671"/>
                <a:gd name="connsiteY382" fmla="*/ 195521 h 338310"/>
                <a:gd name="connsiteX383" fmla="*/ 53005 w 585671"/>
                <a:gd name="connsiteY383" fmla="*/ 197057 h 338310"/>
                <a:gd name="connsiteX384" fmla="*/ 51582 w 585671"/>
                <a:gd name="connsiteY384" fmla="*/ 197421 h 338310"/>
                <a:gd name="connsiteX385" fmla="*/ 49107 w 585671"/>
                <a:gd name="connsiteY385" fmla="*/ 197997 h 338310"/>
                <a:gd name="connsiteX386" fmla="*/ 47696 w 585671"/>
                <a:gd name="connsiteY386" fmla="*/ 198250 h 338310"/>
                <a:gd name="connsiteX387" fmla="*/ 45402 w 585671"/>
                <a:gd name="connsiteY387" fmla="*/ 198633 h 338310"/>
                <a:gd name="connsiteX388" fmla="*/ 43368 w 585671"/>
                <a:gd name="connsiteY388" fmla="*/ 199162 h 338310"/>
                <a:gd name="connsiteX389" fmla="*/ 42426 w 585671"/>
                <a:gd name="connsiteY389" fmla="*/ 199482 h 338310"/>
                <a:gd name="connsiteX390" fmla="*/ 37219 w 585671"/>
                <a:gd name="connsiteY390" fmla="*/ 201408 h 338310"/>
                <a:gd name="connsiteX391" fmla="*/ 34665 w 585671"/>
                <a:gd name="connsiteY391" fmla="*/ 202397 h 338310"/>
                <a:gd name="connsiteX392" fmla="*/ 31943 w 585671"/>
                <a:gd name="connsiteY392" fmla="*/ 202976 h 338310"/>
                <a:gd name="connsiteX393" fmla="*/ 31851 w 585671"/>
                <a:gd name="connsiteY393" fmla="*/ 202991 h 338310"/>
                <a:gd name="connsiteX394" fmla="*/ 30305 w 585671"/>
                <a:gd name="connsiteY394" fmla="*/ 203339 h 338310"/>
                <a:gd name="connsiteX395" fmla="*/ 28400 w 585671"/>
                <a:gd name="connsiteY395" fmla="*/ 203806 h 338310"/>
                <a:gd name="connsiteX396" fmla="*/ 27194 w 585671"/>
                <a:gd name="connsiteY396" fmla="*/ 204039 h 338310"/>
                <a:gd name="connsiteX397" fmla="*/ 21570 w 585671"/>
                <a:gd name="connsiteY397" fmla="*/ 206509 h 338310"/>
                <a:gd name="connsiteX398" fmla="*/ 20696 w 585671"/>
                <a:gd name="connsiteY398" fmla="*/ 207242 h 338310"/>
                <a:gd name="connsiteX399" fmla="*/ 19653 w 585671"/>
                <a:gd name="connsiteY399" fmla="*/ 208106 h 338310"/>
                <a:gd name="connsiteX400" fmla="*/ 18157 w 585671"/>
                <a:gd name="connsiteY400" fmla="*/ 209302 h 338310"/>
                <a:gd name="connsiteX401" fmla="*/ 17245 w 585671"/>
                <a:gd name="connsiteY401" fmla="*/ 210039 h 338310"/>
                <a:gd name="connsiteX402" fmla="*/ 16624 w 585671"/>
                <a:gd name="connsiteY402" fmla="*/ 210557 h 338310"/>
                <a:gd name="connsiteX403" fmla="*/ 15401 w 585671"/>
                <a:gd name="connsiteY403" fmla="*/ 211499 h 338310"/>
                <a:gd name="connsiteX404" fmla="*/ 10825 w 585671"/>
                <a:gd name="connsiteY404" fmla="*/ 213591 h 338310"/>
                <a:gd name="connsiteX405" fmla="*/ 10454 w 585671"/>
                <a:gd name="connsiteY405" fmla="*/ 213708 h 338310"/>
                <a:gd name="connsiteX406" fmla="*/ 9127 w 585671"/>
                <a:gd name="connsiteY406" fmla="*/ 214147 h 338310"/>
                <a:gd name="connsiteX407" fmla="*/ 7627 w 585671"/>
                <a:gd name="connsiteY407" fmla="*/ 215016 h 338310"/>
                <a:gd name="connsiteX408" fmla="*/ 5598 w 585671"/>
                <a:gd name="connsiteY408" fmla="*/ 217906 h 338310"/>
                <a:gd name="connsiteX409" fmla="*/ 4993 w 585671"/>
                <a:gd name="connsiteY409" fmla="*/ 221145 h 338310"/>
                <a:gd name="connsiteX410" fmla="*/ 5847 w 585671"/>
                <a:gd name="connsiteY410" fmla="*/ 223462 h 338310"/>
                <a:gd name="connsiteX411" fmla="*/ 6816 w 585671"/>
                <a:gd name="connsiteY411" fmla="*/ 224306 h 338310"/>
                <a:gd name="connsiteX412" fmla="*/ 6096 w 585671"/>
                <a:gd name="connsiteY412" fmla="*/ 224568 h 338310"/>
                <a:gd name="connsiteX413" fmla="*/ 3996 w 585671"/>
                <a:gd name="connsiteY413" fmla="*/ 225769 h 338310"/>
                <a:gd name="connsiteX414" fmla="*/ 2513 w 585671"/>
                <a:gd name="connsiteY414" fmla="*/ 228032 h 338310"/>
                <a:gd name="connsiteX415" fmla="*/ 2322 w 585671"/>
                <a:gd name="connsiteY415" fmla="*/ 228520 h 338310"/>
                <a:gd name="connsiteX416" fmla="*/ 2229 w 585671"/>
                <a:gd name="connsiteY416" fmla="*/ 228759 h 338310"/>
                <a:gd name="connsiteX417" fmla="*/ 1770 w 585671"/>
                <a:gd name="connsiteY417" fmla="*/ 229257 h 338310"/>
                <a:gd name="connsiteX418" fmla="*/ 1831 w 585671"/>
                <a:gd name="connsiteY418" fmla="*/ 230374 h 338310"/>
                <a:gd name="connsiteX419" fmla="*/ 2267 w 585671"/>
                <a:gd name="connsiteY419" fmla="*/ 233461 h 338310"/>
                <a:gd name="connsiteX420" fmla="*/ 2723 w 585671"/>
                <a:gd name="connsiteY420" fmla="*/ 234206 h 338310"/>
                <a:gd name="connsiteX421" fmla="*/ 3681 w 585671"/>
                <a:gd name="connsiteY421" fmla="*/ 234894 h 338310"/>
                <a:gd name="connsiteX422" fmla="*/ 3821 w 585671"/>
                <a:gd name="connsiteY422" fmla="*/ 234938 h 338310"/>
                <a:gd name="connsiteX423" fmla="*/ 3155 w 585671"/>
                <a:gd name="connsiteY423" fmla="*/ 236123 h 338310"/>
                <a:gd name="connsiteX424" fmla="*/ 2715 w 585671"/>
                <a:gd name="connsiteY424" fmla="*/ 237507 h 338310"/>
                <a:gd name="connsiteX425" fmla="*/ 2592 w 585671"/>
                <a:gd name="connsiteY425" fmla="*/ 237736 h 338310"/>
                <a:gd name="connsiteX426" fmla="*/ 2601 w 585671"/>
                <a:gd name="connsiteY426" fmla="*/ 238407 h 338310"/>
                <a:gd name="connsiteX427" fmla="*/ 2759 w 585671"/>
                <a:gd name="connsiteY427" fmla="*/ 240486 h 338310"/>
                <a:gd name="connsiteX428" fmla="*/ 3809 w 585671"/>
                <a:gd name="connsiteY428" fmla="*/ 242197 h 338310"/>
                <a:gd name="connsiteX429" fmla="*/ 4333 w 585671"/>
                <a:gd name="connsiteY429" fmla="*/ 242840 h 338310"/>
                <a:gd name="connsiteX430" fmla="*/ 5075 w 585671"/>
                <a:gd name="connsiteY430" fmla="*/ 243027 h 338310"/>
                <a:gd name="connsiteX431" fmla="*/ 5294 w 585671"/>
                <a:gd name="connsiteY431" fmla="*/ 243133 h 338310"/>
                <a:gd name="connsiteX432" fmla="*/ 6290 w 585671"/>
                <a:gd name="connsiteY432" fmla="*/ 243560 h 338310"/>
                <a:gd name="connsiteX433" fmla="*/ 4999 w 585671"/>
                <a:gd name="connsiteY433" fmla="*/ 244167 h 338310"/>
                <a:gd name="connsiteX434" fmla="*/ 4252 w 585671"/>
                <a:gd name="connsiteY434" fmla="*/ 244545 h 338310"/>
                <a:gd name="connsiteX435" fmla="*/ 3417 w 585671"/>
                <a:gd name="connsiteY435" fmla="*/ 244767 h 338310"/>
                <a:gd name="connsiteX436" fmla="*/ 1648 w 585671"/>
                <a:gd name="connsiteY436" fmla="*/ 245496 h 338310"/>
                <a:gd name="connsiteX437" fmla="*/ 475 w 585671"/>
                <a:gd name="connsiteY437" fmla="*/ 247150 h 338310"/>
                <a:gd name="connsiteX438" fmla="*/ 30 w 585671"/>
                <a:gd name="connsiteY438" fmla="*/ 248826 h 338310"/>
                <a:gd name="connsiteX439" fmla="*/ 360 w 585671"/>
                <a:gd name="connsiteY439" fmla="*/ 251070 h 338310"/>
                <a:gd name="connsiteX440" fmla="*/ 781 w 585671"/>
                <a:gd name="connsiteY440" fmla="*/ 251927 h 338310"/>
                <a:gd name="connsiteX441" fmla="*/ 3310 w 585671"/>
                <a:gd name="connsiteY441" fmla="*/ 254139 h 338310"/>
                <a:gd name="connsiteX442" fmla="*/ 3452 w 585671"/>
                <a:gd name="connsiteY442" fmla="*/ 254196 h 338310"/>
                <a:gd name="connsiteX443" fmla="*/ 4108 w 585671"/>
                <a:gd name="connsiteY443" fmla="*/ 254615 h 338310"/>
                <a:gd name="connsiteX444" fmla="*/ 4297 w 585671"/>
                <a:gd name="connsiteY444" fmla="*/ 254630 h 338310"/>
                <a:gd name="connsiteX445" fmla="*/ 4993 w 585671"/>
                <a:gd name="connsiteY445" fmla="*/ 254666 h 338310"/>
                <a:gd name="connsiteX446" fmla="*/ 5121 w 585671"/>
                <a:gd name="connsiteY446" fmla="*/ 254656 h 338310"/>
                <a:gd name="connsiteX447" fmla="*/ 5110 w 585671"/>
                <a:gd name="connsiteY447" fmla="*/ 254666 h 338310"/>
                <a:gd name="connsiteX448" fmla="*/ 4935 w 585671"/>
                <a:gd name="connsiteY448" fmla="*/ 254817 h 338310"/>
                <a:gd name="connsiteX449" fmla="*/ 3289 w 585671"/>
                <a:gd name="connsiteY449" fmla="*/ 256708 h 338310"/>
                <a:gd name="connsiteX450" fmla="*/ 2655 w 585671"/>
                <a:gd name="connsiteY450" fmla="*/ 258204 h 338310"/>
                <a:gd name="connsiteX451" fmla="*/ 2452 w 585671"/>
                <a:gd name="connsiteY451" fmla="*/ 258796 h 338310"/>
                <a:gd name="connsiteX452" fmla="*/ 1960 w 585671"/>
                <a:gd name="connsiteY452" fmla="*/ 261017 h 338310"/>
                <a:gd name="connsiteX453" fmla="*/ 2495 w 585671"/>
                <a:gd name="connsiteY453" fmla="*/ 264136 h 338310"/>
                <a:gd name="connsiteX454" fmla="*/ 2832 w 585671"/>
                <a:gd name="connsiteY454" fmla="*/ 264833 h 338310"/>
                <a:gd name="connsiteX455" fmla="*/ 2850 w 585671"/>
                <a:gd name="connsiteY455" fmla="*/ 264869 h 338310"/>
                <a:gd name="connsiteX456" fmla="*/ 2880 w 585671"/>
                <a:gd name="connsiteY456" fmla="*/ 264952 h 338310"/>
                <a:gd name="connsiteX457" fmla="*/ 3118 w 585671"/>
                <a:gd name="connsiteY457" fmla="*/ 265531 h 338310"/>
                <a:gd name="connsiteX458" fmla="*/ 4005 w 585671"/>
                <a:gd name="connsiteY458" fmla="*/ 266763 h 338310"/>
                <a:gd name="connsiteX459" fmla="*/ 4573 w 585671"/>
                <a:gd name="connsiteY459" fmla="*/ 267213 h 338310"/>
                <a:gd name="connsiteX460" fmla="*/ 4715 w 585671"/>
                <a:gd name="connsiteY460" fmla="*/ 267314 h 338310"/>
                <a:gd name="connsiteX461" fmla="*/ 5332 w 585671"/>
                <a:gd name="connsiteY461" fmla="*/ 267661 h 338310"/>
                <a:gd name="connsiteX462" fmla="*/ 5788 w 585671"/>
                <a:gd name="connsiteY462" fmla="*/ 267902 h 338310"/>
                <a:gd name="connsiteX463" fmla="*/ 6153 w 585671"/>
                <a:gd name="connsiteY463" fmla="*/ 268091 h 338310"/>
                <a:gd name="connsiteX464" fmla="*/ 9709 w 585671"/>
                <a:gd name="connsiteY464" fmla="*/ 269060 h 338310"/>
                <a:gd name="connsiteX465" fmla="*/ 9767 w 585671"/>
                <a:gd name="connsiteY465" fmla="*/ 269062 h 338310"/>
                <a:gd name="connsiteX466" fmla="*/ 9825 w 585671"/>
                <a:gd name="connsiteY466" fmla="*/ 269056 h 338310"/>
                <a:gd name="connsiteX467" fmla="*/ 10900 w 585671"/>
                <a:gd name="connsiteY467" fmla="*/ 268964 h 338310"/>
                <a:gd name="connsiteX468" fmla="*/ 13939 w 585671"/>
                <a:gd name="connsiteY468" fmla="*/ 268611 h 338310"/>
                <a:gd name="connsiteX469" fmla="*/ 16530 w 585671"/>
                <a:gd name="connsiteY469" fmla="*/ 267539 h 338310"/>
                <a:gd name="connsiteX470" fmla="*/ 17172 w 585671"/>
                <a:gd name="connsiteY470" fmla="*/ 267256 h 338310"/>
                <a:gd name="connsiteX471" fmla="*/ 17849 w 585671"/>
                <a:gd name="connsiteY471" fmla="*/ 267108 h 338310"/>
                <a:gd name="connsiteX472" fmla="*/ 18808 w 585671"/>
                <a:gd name="connsiteY472" fmla="*/ 266918 h 338310"/>
                <a:gd name="connsiteX473" fmla="*/ 21228 w 585671"/>
                <a:gd name="connsiteY473" fmla="*/ 266273 h 338310"/>
                <a:gd name="connsiteX474" fmla="*/ 21982 w 585671"/>
                <a:gd name="connsiteY474" fmla="*/ 266023 h 338310"/>
                <a:gd name="connsiteX475" fmla="*/ 26304 w 585671"/>
                <a:gd name="connsiteY475" fmla="*/ 263535 h 338310"/>
                <a:gd name="connsiteX476" fmla="*/ 27045 w 585671"/>
                <a:gd name="connsiteY476" fmla="*/ 262946 h 338310"/>
                <a:gd name="connsiteX477" fmla="*/ 28822 w 585671"/>
                <a:gd name="connsiteY477" fmla="*/ 261646 h 338310"/>
                <a:gd name="connsiteX478" fmla="*/ 32311 w 585671"/>
                <a:gd name="connsiteY478" fmla="*/ 258749 h 338310"/>
                <a:gd name="connsiteX479" fmla="*/ 32424 w 585671"/>
                <a:gd name="connsiteY479" fmla="*/ 258600 h 338310"/>
                <a:gd name="connsiteX480" fmla="*/ 33598 w 585671"/>
                <a:gd name="connsiteY480" fmla="*/ 257455 h 338310"/>
                <a:gd name="connsiteX481" fmla="*/ 36928 w 585671"/>
                <a:gd name="connsiteY481" fmla="*/ 255316 h 338310"/>
                <a:gd name="connsiteX482" fmla="*/ 37019 w 585671"/>
                <a:gd name="connsiteY482" fmla="*/ 255195 h 338310"/>
                <a:gd name="connsiteX483" fmla="*/ 38222 w 585671"/>
                <a:gd name="connsiteY483" fmla="*/ 253996 h 338310"/>
                <a:gd name="connsiteX484" fmla="*/ 38659 w 585671"/>
                <a:gd name="connsiteY484" fmla="*/ 253802 h 338310"/>
                <a:gd name="connsiteX485" fmla="*/ 39469 w 585671"/>
                <a:gd name="connsiteY485" fmla="*/ 253517 h 338310"/>
                <a:gd name="connsiteX486" fmla="*/ 42989 w 585671"/>
                <a:gd name="connsiteY486" fmla="*/ 252449 h 338310"/>
                <a:gd name="connsiteX487" fmla="*/ 45832 w 585671"/>
                <a:gd name="connsiteY487" fmla="*/ 251080 h 338310"/>
                <a:gd name="connsiteX488" fmla="*/ 46786 w 585671"/>
                <a:gd name="connsiteY488" fmla="*/ 250615 h 338310"/>
                <a:gd name="connsiteX489" fmla="*/ 47956 w 585671"/>
                <a:gd name="connsiteY489" fmla="*/ 250042 h 338310"/>
                <a:gd name="connsiteX490" fmla="*/ 49213 w 585671"/>
                <a:gd name="connsiteY490" fmla="*/ 249464 h 338310"/>
                <a:gd name="connsiteX491" fmla="*/ 49359 w 585671"/>
                <a:gd name="connsiteY491" fmla="*/ 249401 h 338310"/>
                <a:gd name="connsiteX492" fmla="*/ 49774 w 585671"/>
                <a:gd name="connsiteY492" fmla="*/ 249212 h 338310"/>
                <a:gd name="connsiteX493" fmla="*/ 50444 w 585671"/>
                <a:gd name="connsiteY493" fmla="*/ 248926 h 338310"/>
                <a:gd name="connsiteX494" fmla="*/ 50478 w 585671"/>
                <a:gd name="connsiteY494" fmla="*/ 248965 h 338310"/>
                <a:gd name="connsiteX495" fmla="*/ 50601 w 585671"/>
                <a:gd name="connsiteY495" fmla="*/ 250418 h 338310"/>
                <a:gd name="connsiteX496" fmla="*/ 50875 w 585671"/>
                <a:gd name="connsiteY496" fmla="*/ 254341 h 338310"/>
                <a:gd name="connsiteX497" fmla="*/ 51104 w 585671"/>
                <a:gd name="connsiteY497" fmla="*/ 257364 h 338310"/>
                <a:gd name="connsiteX498" fmla="*/ 52101 w 585671"/>
                <a:gd name="connsiteY498" fmla="*/ 264832 h 338310"/>
                <a:gd name="connsiteX499" fmla="*/ 52842 w 585671"/>
                <a:gd name="connsiteY499" fmla="*/ 269673 h 338310"/>
                <a:gd name="connsiteX500" fmla="*/ 55099 w 585671"/>
                <a:gd name="connsiteY500" fmla="*/ 283902 h 338310"/>
                <a:gd name="connsiteX501" fmla="*/ 59863 w 585671"/>
                <a:gd name="connsiteY501" fmla="*/ 296210 h 338310"/>
                <a:gd name="connsiteX502" fmla="*/ 61335 w 585671"/>
                <a:gd name="connsiteY502" fmla="*/ 298726 h 338310"/>
                <a:gd name="connsiteX503" fmla="*/ 65063 w 585671"/>
                <a:gd name="connsiteY503" fmla="*/ 304267 h 338310"/>
                <a:gd name="connsiteX504" fmla="*/ 65232 w 585671"/>
                <a:gd name="connsiteY504" fmla="*/ 304448 h 338310"/>
                <a:gd name="connsiteX505" fmla="*/ 70379 w 585671"/>
                <a:gd name="connsiteY505" fmla="*/ 309657 h 338310"/>
                <a:gd name="connsiteX506" fmla="*/ 77021 w 585671"/>
                <a:gd name="connsiteY506" fmla="*/ 314056 h 338310"/>
                <a:gd name="connsiteX507" fmla="*/ 87006 w 585671"/>
                <a:gd name="connsiteY507" fmla="*/ 316643 h 338310"/>
                <a:gd name="connsiteX508" fmla="*/ 89025 w 585671"/>
                <a:gd name="connsiteY508" fmla="*/ 316703 h 338310"/>
                <a:gd name="connsiteX509" fmla="*/ 94683 w 585671"/>
                <a:gd name="connsiteY509" fmla="*/ 316426 h 338310"/>
                <a:gd name="connsiteX510" fmla="*/ 99846 w 585671"/>
                <a:gd name="connsiteY510" fmla="*/ 316158 h 338310"/>
                <a:gd name="connsiteX511" fmla="*/ 103410 w 585671"/>
                <a:gd name="connsiteY511" fmla="*/ 316066 h 338310"/>
                <a:gd name="connsiteX512" fmla="*/ 107459 w 585671"/>
                <a:gd name="connsiteY512" fmla="*/ 315971 h 338310"/>
                <a:gd name="connsiteX513" fmla="*/ 120027 w 585671"/>
                <a:gd name="connsiteY513" fmla="*/ 315978 h 338310"/>
                <a:gd name="connsiteX514" fmla="*/ 130379 w 585671"/>
                <a:gd name="connsiteY514" fmla="*/ 315985 h 338310"/>
                <a:gd name="connsiteX515" fmla="*/ 133012 w 585671"/>
                <a:gd name="connsiteY515" fmla="*/ 315985 h 338310"/>
                <a:gd name="connsiteX516" fmla="*/ 162382 w 585671"/>
                <a:gd name="connsiteY516" fmla="*/ 313372 h 338310"/>
                <a:gd name="connsiteX517" fmla="*/ 171293 w 585671"/>
                <a:gd name="connsiteY517" fmla="*/ 312223 h 338310"/>
                <a:gd name="connsiteX518" fmla="*/ 174103 w 585671"/>
                <a:gd name="connsiteY518" fmla="*/ 311910 h 338310"/>
                <a:gd name="connsiteX519" fmla="*/ 189293 w 585671"/>
                <a:gd name="connsiteY519" fmla="*/ 308241 h 338310"/>
                <a:gd name="connsiteX520" fmla="*/ 197191 w 585671"/>
                <a:gd name="connsiteY520" fmla="*/ 302545 h 338310"/>
                <a:gd name="connsiteX521" fmla="*/ 201342 w 585671"/>
                <a:gd name="connsiteY521" fmla="*/ 302997 h 338310"/>
                <a:gd name="connsiteX522" fmla="*/ 203583 w 585671"/>
                <a:gd name="connsiteY522" fmla="*/ 303042 h 338310"/>
                <a:gd name="connsiteX523" fmla="*/ 207863 w 585671"/>
                <a:gd name="connsiteY523" fmla="*/ 303492 h 338310"/>
                <a:gd name="connsiteX524" fmla="*/ 217176 w 585671"/>
                <a:gd name="connsiteY524" fmla="*/ 304751 h 338310"/>
                <a:gd name="connsiteX525" fmla="*/ 220143 w 585671"/>
                <a:gd name="connsiteY525" fmla="*/ 304848 h 338310"/>
                <a:gd name="connsiteX526" fmla="*/ 226732 w 585671"/>
                <a:gd name="connsiteY526" fmla="*/ 304392 h 338310"/>
                <a:gd name="connsiteX527" fmla="*/ 228727 w 585671"/>
                <a:gd name="connsiteY527" fmla="*/ 303923 h 338310"/>
                <a:gd name="connsiteX528" fmla="*/ 231904 w 585671"/>
                <a:gd name="connsiteY528" fmla="*/ 306413 h 338310"/>
                <a:gd name="connsiteX529" fmla="*/ 234862 w 585671"/>
                <a:gd name="connsiteY529" fmla="*/ 307537 h 338310"/>
                <a:gd name="connsiteX530" fmla="*/ 236024 w 585671"/>
                <a:gd name="connsiteY530" fmla="*/ 308027 h 338310"/>
                <a:gd name="connsiteX531" fmla="*/ 252516 w 585671"/>
                <a:gd name="connsiteY531" fmla="*/ 314416 h 338310"/>
                <a:gd name="connsiteX532" fmla="*/ 271683 w 585671"/>
                <a:gd name="connsiteY532" fmla="*/ 317999 h 338310"/>
                <a:gd name="connsiteX533" fmla="*/ 278219 w 585671"/>
                <a:gd name="connsiteY533" fmla="*/ 318031 h 338310"/>
                <a:gd name="connsiteX534" fmla="*/ 281207 w 585671"/>
                <a:gd name="connsiteY534" fmla="*/ 318046 h 338310"/>
                <a:gd name="connsiteX535" fmla="*/ 285699 w 585671"/>
                <a:gd name="connsiteY535" fmla="*/ 322942 h 338310"/>
                <a:gd name="connsiteX536" fmla="*/ 287295 w 585671"/>
                <a:gd name="connsiteY536" fmla="*/ 324371 h 338310"/>
                <a:gd name="connsiteX537" fmla="*/ 293261 w 585671"/>
                <a:gd name="connsiteY537" fmla="*/ 329020 h 338310"/>
                <a:gd name="connsiteX538" fmla="*/ 317035 w 585671"/>
                <a:gd name="connsiteY538" fmla="*/ 337438 h 338310"/>
                <a:gd name="connsiteX539" fmla="*/ 324277 w 585671"/>
                <a:gd name="connsiteY539" fmla="*/ 337873 h 338310"/>
                <a:gd name="connsiteX540" fmla="*/ 331577 w 585671"/>
                <a:gd name="connsiteY540" fmla="*/ 338311 h 338310"/>
                <a:gd name="connsiteX541" fmla="*/ 336347 w 585671"/>
                <a:gd name="connsiteY541" fmla="*/ 338293 h 338310"/>
                <a:gd name="connsiteX542" fmla="*/ 341432 w 585671"/>
                <a:gd name="connsiteY542" fmla="*/ 338270 h 338310"/>
                <a:gd name="connsiteX543" fmla="*/ 347507 w 585671"/>
                <a:gd name="connsiteY543" fmla="*/ 338139 h 338310"/>
                <a:gd name="connsiteX544" fmla="*/ 358047 w 585671"/>
                <a:gd name="connsiteY544" fmla="*/ 337939 h 338310"/>
                <a:gd name="connsiteX545" fmla="*/ 390418 w 585671"/>
                <a:gd name="connsiteY545" fmla="*/ 335042 h 338310"/>
                <a:gd name="connsiteX546" fmla="*/ 401161 w 585671"/>
                <a:gd name="connsiteY546" fmla="*/ 334074 h 338310"/>
                <a:gd name="connsiteX547" fmla="*/ 405617 w 585671"/>
                <a:gd name="connsiteY547" fmla="*/ 333388 h 338310"/>
                <a:gd name="connsiteX548" fmla="*/ 408516 w 585671"/>
                <a:gd name="connsiteY548" fmla="*/ 332818 h 338310"/>
                <a:gd name="connsiteX549" fmla="*/ 411772 w 585671"/>
                <a:gd name="connsiteY549" fmla="*/ 331282 h 338310"/>
                <a:gd name="connsiteX550" fmla="*/ 411995 w 585671"/>
                <a:gd name="connsiteY550" fmla="*/ 331135 h 338310"/>
                <a:gd name="connsiteX551" fmla="*/ 412820 w 585671"/>
                <a:gd name="connsiteY551" fmla="*/ 330366 h 338310"/>
                <a:gd name="connsiteX552" fmla="*/ 413953 w 585671"/>
                <a:gd name="connsiteY552" fmla="*/ 329667 h 338310"/>
                <a:gd name="connsiteX553" fmla="*/ 414015 w 585671"/>
                <a:gd name="connsiteY553" fmla="*/ 329668 h 338310"/>
                <a:gd name="connsiteX554" fmla="*/ 414077 w 585671"/>
                <a:gd name="connsiteY554" fmla="*/ 329660 h 338310"/>
                <a:gd name="connsiteX555" fmla="*/ 414189 w 585671"/>
                <a:gd name="connsiteY555" fmla="*/ 329651 h 338310"/>
                <a:gd name="connsiteX556" fmla="*/ 414848 w 585671"/>
                <a:gd name="connsiteY556" fmla="*/ 329989 h 338310"/>
                <a:gd name="connsiteX557" fmla="*/ 414867 w 585671"/>
                <a:gd name="connsiteY557" fmla="*/ 329989 h 338310"/>
                <a:gd name="connsiteX558" fmla="*/ 415321 w 585671"/>
                <a:gd name="connsiteY558" fmla="*/ 329961 h 338310"/>
                <a:gd name="connsiteX559" fmla="*/ 416488 w 585671"/>
                <a:gd name="connsiteY559" fmla="*/ 330222 h 338310"/>
                <a:gd name="connsiteX560" fmla="*/ 420080 w 585671"/>
                <a:gd name="connsiteY560" fmla="*/ 329982 h 338310"/>
                <a:gd name="connsiteX561" fmla="*/ 428946 w 585671"/>
                <a:gd name="connsiteY561" fmla="*/ 327154 h 338310"/>
                <a:gd name="connsiteX562" fmla="*/ 431276 w 585671"/>
                <a:gd name="connsiteY562" fmla="*/ 326277 h 338310"/>
                <a:gd name="connsiteX563" fmla="*/ 436353 w 585671"/>
                <a:gd name="connsiteY563" fmla="*/ 322605 h 338310"/>
                <a:gd name="connsiteX564" fmla="*/ 439057 w 585671"/>
                <a:gd name="connsiteY564" fmla="*/ 320904 h 338310"/>
                <a:gd name="connsiteX565" fmla="*/ 445045 w 585671"/>
                <a:gd name="connsiteY565" fmla="*/ 320192 h 338310"/>
                <a:gd name="connsiteX566" fmla="*/ 445824 w 585671"/>
                <a:gd name="connsiteY566" fmla="*/ 320231 h 338310"/>
                <a:gd name="connsiteX567" fmla="*/ 450811 w 585671"/>
                <a:gd name="connsiteY567" fmla="*/ 319504 h 338310"/>
                <a:gd name="connsiteX568" fmla="*/ 453839 w 585671"/>
                <a:gd name="connsiteY568" fmla="*/ 318196 h 338310"/>
                <a:gd name="connsiteX569" fmla="*/ 458243 w 585671"/>
                <a:gd name="connsiteY569" fmla="*/ 316198 h 338310"/>
                <a:gd name="connsiteX570" fmla="*/ 459892 w 585671"/>
                <a:gd name="connsiteY570" fmla="*/ 315174 h 338310"/>
                <a:gd name="connsiteX571" fmla="*/ 460666 w 585671"/>
                <a:gd name="connsiteY571" fmla="*/ 314755 h 338310"/>
                <a:gd name="connsiteX572" fmla="*/ 462901 w 585671"/>
                <a:gd name="connsiteY572" fmla="*/ 313841 h 338310"/>
                <a:gd name="connsiteX573" fmla="*/ 462982 w 585671"/>
                <a:gd name="connsiteY573" fmla="*/ 313850 h 338310"/>
                <a:gd name="connsiteX574" fmla="*/ 463491 w 585671"/>
                <a:gd name="connsiteY574" fmla="*/ 313673 h 338310"/>
                <a:gd name="connsiteX575" fmla="*/ 465864 w 585671"/>
                <a:gd name="connsiteY575" fmla="*/ 312723 h 338310"/>
                <a:gd name="connsiteX576" fmla="*/ 467764 w 585671"/>
                <a:gd name="connsiteY576" fmla="*/ 311760 h 338310"/>
                <a:gd name="connsiteX577" fmla="*/ 469075 w 585671"/>
                <a:gd name="connsiteY577" fmla="*/ 310778 h 338310"/>
                <a:gd name="connsiteX578" fmla="*/ 469770 w 585671"/>
                <a:gd name="connsiteY578" fmla="*/ 310199 h 338310"/>
                <a:gd name="connsiteX579" fmla="*/ 471296 w 585671"/>
                <a:gd name="connsiteY579" fmla="*/ 308421 h 338310"/>
                <a:gd name="connsiteX580" fmla="*/ 471712 w 585671"/>
                <a:gd name="connsiteY580" fmla="*/ 304422 h 338310"/>
                <a:gd name="connsiteX581" fmla="*/ 468973 w 585671"/>
                <a:gd name="connsiteY581" fmla="*/ 301156 h 338310"/>
                <a:gd name="connsiteX582" fmla="*/ 464977 w 585671"/>
                <a:gd name="connsiteY582" fmla="*/ 300733 h 338310"/>
                <a:gd name="connsiteX583" fmla="*/ 460383 w 585671"/>
                <a:gd name="connsiteY583" fmla="*/ 301549 h 338310"/>
                <a:gd name="connsiteX584" fmla="*/ 459571 w 585671"/>
                <a:gd name="connsiteY584" fmla="*/ 301757 h 338310"/>
                <a:gd name="connsiteX585" fmla="*/ 457978 w 585671"/>
                <a:gd name="connsiteY585" fmla="*/ 301731 h 338310"/>
                <a:gd name="connsiteX586" fmla="*/ 454747 w 585671"/>
                <a:gd name="connsiteY586" fmla="*/ 302133 h 338310"/>
                <a:gd name="connsiteX587" fmla="*/ 455363 w 585671"/>
                <a:gd name="connsiteY587" fmla="*/ 301275 h 338310"/>
                <a:gd name="connsiteX588" fmla="*/ 459391 w 585671"/>
                <a:gd name="connsiteY588" fmla="*/ 297066 h 338310"/>
                <a:gd name="connsiteX589" fmla="*/ 460901 w 585671"/>
                <a:gd name="connsiteY589" fmla="*/ 294286 h 338310"/>
                <a:gd name="connsiteX590" fmla="*/ 463107 w 585671"/>
                <a:gd name="connsiteY590" fmla="*/ 289172 h 338310"/>
                <a:gd name="connsiteX591" fmla="*/ 463875 w 585671"/>
                <a:gd name="connsiteY591" fmla="*/ 288193 h 338310"/>
                <a:gd name="connsiteX592" fmla="*/ 465341 w 585671"/>
                <a:gd name="connsiteY592" fmla="*/ 285241 h 338310"/>
                <a:gd name="connsiteX593" fmla="*/ 466234 w 585671"/>
                <a:gd name="connsiteY593" fmla="*/ 285634 h 338310"/>
                <a:gd name="connsiteX594" fmla="*/ 469562 w 585671"/>
                <a:gd name="connsiteY594" fmla="*/ 287136 h 338310"/>
                <a:gd name="connsiteX595" fmla="*/ 470001 w 585671"/>
                <a:gd name="connsiteY595" fmla="*/ 287331 h 338310"/>
                <a:gd name="connsiteX596" fmla="*/ 470695 w 585671"/>
                <a:gd name="connsiteY596" fmla="*/ 287686 h 338310"/>
                <a:gd name="connsiteX597" fmla="*/ 473354 w 585671"/>
                <a:gd name="connsiteY597" fmla="*/ 289073 h 338310"/>
                <a:gd name="connsiteX598" fmla="*/ 474100 w 585671"/>
                <a:gd name="connsiteY598" fmla="*/ 289382 h 338310"/>
                <a:gd name="connsiteX599" fmla="*/ 475622 w 585671"/>
                <a:gd name="connsiteY599" fmla="*/ 290027 h 338310"/>
                <a:gd name="connsiteX600" fmla="*/ 479444 w 585671"/>
                <a:gd name="connsiteY600" fmla="*/ 291763 h 338310"/>
                <a:gd name="connsiteX601" fmla="*/ 486646 w 585671"/>
                <a:gd name="connsiteY601" fmla="*/ 294285 h 338310"/>
                <a:gd name="connsiteX602" fmla="*/ 488461 w 585671"/>
                <a:gd name="connsiteY602" fmla="*/ 294864 h 338310"/>
                <a:gd name="connsiteX603" fmla="*/ 488557 w 585671"/>
                <a:gd name="connsiteY603" fmla="*/ 294903 h 338310"/>
                <a:gd name="connsiteX604" fmla="*/ 489102 w 585671"/>
                <a:gd name="connsiteY604" fmla="*/ 295175 h 338310"/>
                <a:gd name="connsiteX605" fmla="*/ 493312 w 585671"/>
                <a:gd name="connsiteY605" fmla="*/ 296959 h 338310"/>
                <a:gd name="connsiteX606" fmla="*/ 493952 w 585671"/>
                <a:gd name="connsiteY606" fmla="*/ 297110 h 338310"/>
                <a:gd name="connsiteX607" fmla="*/ 494926 w 585671"/>
                <a:gd name="connsiteY607" fmla="*/ 297389 h 338310"/>
                <a:gd name="connsiteX608" fmla="*/ 496001 w 585671"/>
                <a:gd name="connsiteY608" fmla="*/ 297863 h 338310"/>
                <a:gd name="connsiteX609" fmla="*/ 497711 w 585671"/>
                <a:gd name="connsiteY609" fmla="*/ 298625 h 338310"/>
                <a:gd name="connsiteX610" fmla="*/ 500737 w 585671"/>
                <a:gd name="connsiteY610" fmla="*/ 299490 h 338310"/>
                <a:gd name="connsiteX611" fmla="*/ 503112 w 585671"/>
                <a:gd name="connsiteY611" fmla="*/ 299604 h 338310"/>
                <a:gd name="connsiteX612" fmla="*/ 504552 w 585671"/>
                <a:gd name="connsiteY612" fmla="*/ 299462 h 338310"/>
                <a:gd name="connsiteX613" fmla="*/ 505192 w 585671"/>
                <a:gd name="connsiteY613" fmla="*/ 299487 h 338310"/>
                <a:gd name="connsiteX614" fmla="*/ 505508 w 585671"/>
                <a:gd name="connsiteY614" fmla="*/ 299825 h 338310"/>
                <a:gd name="connsiteX615" fmla="*/ 506064 w 585671"/>
                <a:gd name="connsiteY615" fmla="*/ 300573 h 338310"/>
                <a:gd name="connsiteX616" fmla="*/ 507232 w 585671"/>
                <a:gd name="connsiteY616" fmla="*/ 302131 h 338310"/>
                <a:gd name="connsiteX617" fmla="*/ 508680 w 585671"/>
                <a:gd name="connsiteY617" fmla="*/ 303826 h 338310"/>
                <a:gd name="connsiteX618" fmla="*/ 509507 w 585671"/>
                <a:gd name="connsiteY618" fmla="*/ 304678 h 338310"/>
                <a:gd name="connsiteX619" fmla="*/ 511111 w 585671"/>
                <a:gd name="connsiteY619" fmla="*/ 306253 h 338310"/>
                <a:gd name="connsiteX620" fmla="*/ 511696 w 585671"/>
                <a:gd name="connsiteY620" fmla="*/ 306833 h 338310"/>
                <a:gd name="connsiteX621" fmla="*/ 512294 w 585671"/>
                <a:gd name="connsiteY621" fmla="*/ 307432 h 338310"/>
                <a:gd name="connsiteX622" fmla="*/ 512494 w 585671"/>
                <a:gd name="connsiteY622" fmla="*/ 307804 h 338310"/>
                <a:gd name="connsiteX623" fmla="*/ 513191 w 585671"/>
                <a:gd name="connsiteY623" fmla="*/ 308745 h 338310"/>
                <a:gd name="connsiteX624" fmla="*/ 513395 w 585671"/>
                <a:gd name="connsiteY624" fmla="*/ 308955 h 338310"/>
                <a:gd name="connsiteX625" fmla="*/ 516468 w 585671"/>
                <a:gd name="connsiteY625" fmla="*/ 310928 h 338310"/>
                <a:gd name="connsiteX626" fmla="*/ 518589 w 585671"/>
                <a:gd name="connsiteY626" fmla="*/ 311253 h 338310"/>
                <a:gd name="connsiteX627" fmla="*/ 519113 w 585671"/>
                <a:gd name="connsiteY627" fmla="*/ 311211 h 338310"/>
                <a:gd name="connsiteX628" fmla="*/ 521017 w 585671"/>
                <a:gd name="connsiteY628" fmla="*/ 310969 h 338310"/>
                <a:gd name="connsiteX629" fmla="*/ 523393 w 585671"/>
                <a:gd name="connsiteY629" fmla="*/ 309604 h 338310"/>
                <a:gd name="connsiteX630" fmla="*/ 524482 w 585671"/>
                <a:gd name="connsiteY630" fmla="*/ 308103 h 338310"/>
                <a:gd name="connsiteX631" fmla="*/ 524691 w 585671"/>
                <a:gd name="connsiteY631" fmla="*/ 307516 h 338310"/>
                <a:gd name="connsiteX632" fmla="*/ 524773 w 585671"/>
                <a:gd name="connsiteY632" fmla="*/ 307251 h 338310"/>
                <a:gd name="connsiteX633" fmla="*/ 525034 w 585671"/>
                <a:gd name="connsiteY633" fmla="*/ 306355 h 338310"/>
                <a:gd name="connsiteX634" fmla="*/ 525142 w 585671"/>
                <a:gd name="connsiteY634" fmla="*/ 305909 h 338310"/>
                <a:gd name="connsiteX635" fmla="*/ 525455 w 585671"/>
                <a:gd name="connsiteY635" fmla="*/ 304529 h 338310"/>
                <a:gd name="connsiteX636" fmla="*/ 525500 w 585671"/>
                <a:gd name="connsiteY636" fmla="*/ 304238 h 338310"/>
                <a:gd name="connsiteX637" fmla="*/ 525577 w 585671"/>
                <a:gd name="connsiteY637" fmla="*/ 303003 h 338310"/>
                <a:gd name="connsiteX638" fmla="*/ 525316 w 585671"/>
                <a:gd name="connsiteY638" fmla="*/ 300970 h 338310"/>
                <a:gd name="connsiteX639" fmla="*/ 525020 w 585671"/>
                <a:gd name="connsiteY639" fmla="*/ 300057 h 338310"/>
                <a:gd name="connsiteX640" fmla="*/ 525828 w 585671"/>
                <a:gd name="connsiteY640" fmla="*/ 299949 h 338310"/>
                <a:gd name="connsiteX641" fmla="*/ 526076 w 585671"/>
                <a:gd name="connsiteY641" fmla="*/ 299890 h 338310"/>
                <a:gd name="connsiteX642" fmla="*/ 526095 w 585671"/>
                <a:gd name="connsiteY642" fmla="*/ 299869 h 338310"/>
                <a:gd name="connsiteX643" fmla="*/ 526177 w 585671"/>
                <a:gd name="connsiteY643" fmla="*/ 299971 h 338310"/>
                <a:gd name="connsiteX644" fmla="*/ 526260 w 585671"/>
                <a:gd name="connsiteY644" fmla="*/ 300028 h 338310"/>
                <a:gd name="connsiteX645" fmla="*/ 528180 w 585671"/>
                <a:gd name="connsiteY645" fmla="*/ 301413 h 338310"/>
                <a:gd name="connsiteX646" fmla="*/ 528388 w 585671"/>
                <a:gd name="connsiteY646" fmla="*/ 301553 h 338310"/>
                <a:gd name="connsiteX647" fmla="*/ 530326 w 585671"/>
                <a:gd name="connsiteY647" fmla="*/ 302128 h 338310"/>
                <a:gd name="connsiteX648" fmla="*/ 531091 w 585671"/>
                <a:gd name="connsiteY648" fmla="*/ 302578 h 338310"/>
                <a:gd name="connsiteX649" fmla="*/ 531462 w 585671"/>
                <a:gd name="connsiteY649" fmla="*/ 302804 h 338310"/>
                <a:gd name="connsiteX650" fmla="*/ 534348 w 585671"/>
                <a:gd name="connsiteY650" fmla="*/ 303718 h 338310"/>
                <a:gd name="connsiteX651" fmla="*/ 534993 w 585671"/>
                <a:gd name="connsiteY651" fmla="*/ 303822 h 338310"/>
                <a:gd name="connsiteX652" fmla="*/ 535486 w 585671"/>
                <a:gd name="connsiteY652" fmla="*/ 306463 h 338310"/>
                <a:gd name="connsiteX653" fmla="*/ 535832 w 585671"/>
                <a:gd name="connsiteY653" fmla="*/ 308142 h 338310"/>
                <a:gd name="connsiteX654" fmla="*/ 535849 w 585671"/>
                <a:gd name="connsiteY654" fmla="*/ 308609 h 338310"/>
                <a:gd name="connsiteX655" fmla="*/ 535860 w 585671"/>
                <a:gd name="connsiteY655" fmla="*/ 309130 h 338310"/>
                <a:gd name="connsiteX656" fmla="*/ 536695 w 585671"/>
                <a:gd name="connsiteY656" fmla="*/ 312667 h 338310"/>
                <a:gd name="connsiteX657" fmla="*/ 538484 w 585671"/>
                <a:gd name="connsiteY657" fmla="*/ 314294 h 338310"/>
                <a:gd name="connsiteX658" fmla="*/ 539150 w 585671"/>
                <a:gd name="connsiteY658" fmla="*/ 314603 h 338310"/>
                <a:gd name="connsiteX659" fmla="*/ 539493 w 585671"/>
                <a:gd name="connsiteY659" fmla="*/ 314756 h 338310"/>
                <a:gd name="connsiteX660" fmla="*/ 541765 w 585671"/>
                <a:gd name="connsiteY660" fmla="*/ 315262 h 338310"/>
                <a:gd name="connsiteX661" fmla="*/ 541788 w 585671"/>
                <a:gd name="connsiteY661" fmla="*/ 315262 h 338310"/>
                <a:gd name="connsiteX662" fmla="*/ 542632 w 585671"/>
                <a:gd name="connsiteY662" fmla="*/ 315288 h 338310"/>
                <a:gd name="connsiteX663" fmla="*/ 545418 w 585671"/>
                <a:gd name="connsiteY663" fmla="*/ 314962 h 338310"/>
                <a:gd name="connsiteX664" fmla="*/ 547212 w 585671"/>
                <a:gd name="connsiteY664" fmla="*/ 313545 h 338310"/>
                <a:gd name="connsiteX665" fmla="*/ 548066 w 585671"/>
                <a:gd name="connsiteY665" fmla="*/ 311034 h 338310"/>
                <a:gd name="connsiteX666" fmla="*/ 548120 w 585671"/>
                <a:gd name="connsiteY666" fmla="*/ 310581 h 338310"/>
                <a:gd name="connsiteX667" fmla="*/ 548231 w 585671"/>
                <a:gd name="connsiteY667" fmla="*/ 309579 h 338310"/>
                <a:gd name="connsiteX668" fmla="*/ 548466 w 585671"/>
                <a:gd name="connsiteY668" fmla="*/ 308654 h 338310"/>
                <a:gd name="connsiteX669" fmla="*/ 549004 w 585671"/>
                <a:gd name="connsiteY669" fmla="*/ 306156 h 338310"/>
                <a:gd name="connsiteX670" fmla="*/ 549067 w 585671"/>
                <a:gd name="connsiteY670" fmla="*/ 305454 h 338310"/>
                <a:gd name="connsiteX671" fmla="*/ 549327 w 585671"/>
                <a:gd name="connsiteY671" fmla="*/ 304597 h 338310"/>
                <a:gd name="connsiteX672" fmla="*/ 549406 w 585671"/>
                <a:gd name="connsiteY672" fmla="*/ 304592 h 338310"/>
                <a:gd name="connsiteX673" fmla="*/ 550477 w 585671"/>
                <a:gd name="connsiteY673" fmla="*/ 304597 h 338310"/>
                <a:gd name="connsiteX674" fmla="*/ 550639 w 585671"/>
                <a:gd name="connsiteY674" fmla="*/ 304582 h 338310"/>
                <a:gd name="connsiteX675" fmla="*/ 551294 w 585671"/>
                <a:gd name="connsiteY675" fmla="*/ 304524 h 338310"/>
                <a:gd name="connsiteX676" fmla="*/ 551439 w 585671"/>
                <a:gd name="connsiteY676" fmla="*/ 304518 h 338310"/>
                <a:gd name="connsiteX677" fmla="*/ 552890 w 585671"/>
                <a:gd name="connsiteY677" fmla="*/ 304174 h 338310"/>
                <a:gd name="connsiteX678" fmla="*/ 553876 w 585671"/>
                <a:gd name="connsiteY678" fmla="*/ 303845 h 338310"/>
                <a:gd name="connsiteX679" fmla="*/ 556205 w 585671"/>
                <a:gd name="connsiteY679" fmla="*/ 303995 h 338310"/>
                <a:gd name="connsiteX680" fmla="*/ 556634 w 585671"/>
                <a:gd name="connsiteY680" fmla="*/ 304150 h 338310"/>
                <a:gd name="connsiteX681" fmla="*/ 556664 w 585671"/>
                <a:gd name="connsiteY681" fmla="*/ 304161 h 338310"/>
                <a:gd name="connsiteX682" fmla="*/ 558037 w 585671"/>
                <a:gd name="connsiteY682" fmla="*/ 304596 h 338310"/>
                <a:gd name="connsiteX683" fmla="*/ 558508 w 585671"/>
                <a:gd name="connsiteY683" fmla="*/ 304728 h 338310"/>
                <a:gd name="connsiteX684" fmla="*/ 559004 w 585671"/>
                <a:gd name="connsiteY684" fmla="*/ 304982 h 338310"/>
                <a:gd name="connsiteX685" fmla="*/ 560573 w 585671"/>
                <a:gd name="connsiteY685" fmla="*/ 305913 h 338310"/>
                <a:gd name="connsiteX686" fmla="*/ 561097 w 585671"/>
                <a:gd name="connsiteY686" fmla="*/ 306185 h 338310"/>
                <a:gd name="connsiteX687" fmla="*/ 562646 w 585671"/>
                <a:gd name="connsiteY687" fmla="*/ 306974 h 338310"/>
                <a:gd name="connsiteX688" fmla="*/ 564070 w 585671"/>
                <a:gd name="connsiteY688" fmla="*/ 307938 h 338310"/>
                <a:gd name="connsiteX689" fmla="*/ 564558 w 585671"/>
                <a:gd name="connsiteY689" fmla="*/ 308611 h 338310"/>
                <a:gd name="connsiteX690" fmla="*/ 567312 w 585671"/>
                <a:gd name="connsiteY690" fmla="*/ 311067 h 338310"/>
                <a:gd name="connsiteX691" fmla="*/ 570370 w 585671"/>
                <a:gd name="connsiteY691" fmla="*/ 311558 h 338310"/>
                <a:gd name="connsiteX692" fmla="*/ 570963 w 585671"/>
                <a:gd name="connsiteY692" fmla="*/ 311545 h 338310"/>
                <a:gd name="connsiteX693" fmla="*/ 574409 w 585671"/>
                <a:gd name="connsiteY693" fmla="*/ 309797 h 338310"/>
                <a:gd name="connsiteX694" fmla="*/ 575116 w 585671"/>
                <a:gd name="connsiteY694" fmla="*/ 307537 h 338310"/>
                <a:gd name="connsiteX695" fmla="*/ 575040 w 585671"/>
                <a:gd name="connsiteY695" fmla="*/ 306146 h 338310"/>
                <a:gd name="connsiteX696" fmla="*/ 574979 w 585671"/>
                <a:gd name="connsiteY696" fmla="*/ 305898 h 338310"/>
                <a:gd name="connsiteX697" fmla="*/ 574903 w 585671"/>
                <a:gd name="connsiteY697" fmla="*/ 305570 h 338310"/>
                <a:gd name="connsiteX698" fmla="*/ 574208 w 585671"/>
                <a:gd name="connsiteY698" fmla="*/ 303653 h 338310"/>
                <a:gd name="connsiteX699" fmla="*/ 572635 w 585671"/>
                <a:gd name="connsiteY699" fmla="*/ 301900 h 338310"/>
                <a:gd name="connsiteX700" fmla="*/ 572239 w 585671"/>
                <a:gd name="connsiteY700" fmla="*/ 301561 h 338310"/>
                <a:gd name="connsiteX701" fmla="*/ 573298 w 585671"/>
                <a:gd name="connsiteY701" fmla="*/ 301598 h 338310"/>
                <a:gd name="connsiteX702" fmla="*/ 574265 w 585671"/>
                <a:gd name="connsiteY702" fmla="*/ 302131 h 338310"/>
                <a:gd name="connsiteX703" fmla="*/ 576352 w 585671"/>
                <a:gd name="connsiteY703" fmla="*/ 304142 h 338310"/>
                <a:gd name="connsiteX704" fmla="*/ 578803 w 585671"/>
                <a:gd name="connsiteY704" fmla="*/ 304720 h 338310"/>
                <a:gd name="connsiteX705" fmla="*/ 579080 w 585671"/>
                <a:gd name="connsiteY705" fmla="*/ 304722 h 338310"/>
                <a:gd name="connsiteX706" fmla="*/ 579373 w 585671"/>
                <a:gd name="connsiteY706" fmla="*/ 304722 h 338310"/>
                <a:gd name="connsiteX707" fmla="*/ 581577 w 585671"/>
                <a:gd name="connsiteY707" fmla="*/ 304749 h 338310"/>
                <a:gd name="connsiteX708" fmla="*/ 582169 w 585671"/>
                <a:gd name="connsiteY708" fmla="*/ 304723 h 338310"/>
                <a:gd name="connsiteX709" fmla="*/ 584462 w 585671"/>
                <a:gd name="connsiteY709" fmla="*/ 303967 h 338310"/>
                <a:gd name="connsiteX710" fmla="*/ 585595 w 585671"/>
                <a:gd name="connsiteY710" fmla="*/ 301777 h 338310"/>
                <a:gd name="connsiteX711" fmla="*/ 585593 w 585671"/>
                <a:gd name="connsiteY711" fmla="*/ 300177 h 338310"/>
                <a:gd name="connsiteX712" fmla="*/ 584694 w 585671"/>
                <a:gd name="connsiteY712" fmla="*/ 298695 h 338310"/>
                <a:gd name="connsiteX713" fmla="*/ 520420 w 585671"/>
                <a:gd name="connsiteY713" fmla="*/ 61200 h 338310"/>
                <a:gd name="connsiteX714" fmla="*/ 520344 w 585671"/>
                <a:gd name="connsiteY714" fmla="*/ 63262 h 338310"/>
                <a:gd name="connsiteX715" fmla="*/ 520150 w 585671"/>
                <a:gd name="connsiteY715" fmla="*/ 60997 h 338310"/>
                <a:gd name="connsiteX716" fmla="*/ 520096 w 585671"/>
                <a:gd name="connsiteY716" fmla="*/ 60141 h 338310"/>
                <a:gd name="connsiteX717" fmla="*/ 520420 w 585671"/>
                <a:gd name="connsiteY717" fmla="*/ 61200 h 338310"/>
                <a:gd name="connsiteX718" fmla="*/ 118658 w 585671"/>
                <a:gd name="connsiteY718" fmla="*/ 230589 h 338310"/>
                <a:gd name="connsiteX719" fmla="*/ 114671 w 585671"/>
                <a:gd name="connsiteY719" fmla="*/ 224517 h 338310"/>
                <a:gd name="connsiteX720" fmla="*/ 113873 w 585671"/>
                <a:gd name="connsiteY720" fmla="*/ 223510 h 338310"/>
                <a:gd name="connsiteX721" fmla="*/ 112694 w 585671"/>
                <a:gd name="connsiteY721" fmla="*/ 221976 h 338310"/>
                <a:gd name="connsiteX722" fmla="*/ 109808 w 585671"/>
                <a:gd name="connsiteY722" fmla="*/ 218836 h 338310"/>
                <a:gd name="connsiteX723" fmla="*/ 107584 w 585671"/>
                <a:gd name="connsiteY723" fmla="*/ 216676 h 338310"/>
                <a:gd name="connsiteX724" fmla="*/ 105915 w 585671"/>
                <a:gd name="connsiteY724" fmla="*/ 214986 h 338310"/>
                <a:gd name="connsiteX725" fmla="*/ 103681 w 585671"/>
                <a:gd name="connsiteY725" fmla="*/ 211814 h 338310"/>
                <a:gd name="connsiteX726" fmla="*/ 102372 w 585671"/>
                <a:gd name="connsiteY726" fmla="*/ 208951 h 338310"/>
                <a:gd name="connsiteX727" fmla="*/ 102013 w 585671"/>
                <a:gd name="connsiteY727" fmla="*/ 208348 h 338310"/>
                <a:gd name="connsiteX728" fmla="*/ 101277 w 585671"/>
                <a:gd name="connsiteY728" fmla="*/ 207152 h 338310"/>
                <a:gd name="connsiteX729" fmla="*/ 100427 w 585671"/>
                <a:gd name="connsiteY729" fmla="*/ 205326 h 338310"/>
                <a:gd name="connsiteX730" fmla="*/ 100292 w 585671"/>
                <a:gd name="connsiteY730" fmla="*/ 203601 h 338310"/>
                <a:gd name="connsiteX731" fmla="*/ 100589 w 585671"/>
                <a:gd name="connsiteY731" fmla="*/ 203817 h 338310"/>
                <a:gd name="connsiteX732" fmla="*/ 102226 w 585671"/>
                <a:gd name="connsiteY732" fmla="*/ 204905 h 338310"/>
                <a:gd name="connsiteX733" fmla="*/ 103664 w 585671"/>
                <a:gd name="connsiteY733" fmla="*/ 205853 h 338310"/>
                <a:gd name="connsiteX734" fmla="*/ 109317 w 585671"/>
                <a:gd name="connsiteY734" fmla="*/ 209464 h 338310"/>
                <a:gd name="connsiteX735" fmla="*/ 112178 w 585671"/>
                <a:gd name="connsiteY735" fmla="*/ 211165 h 338310"/>
                <a:gd name="connsiteX736" fmla="*/ 121085 w 585671"/>
                <a:gd name="connsiteY736" fmla="*/ 218629 h 338310"/>
                <a:gd name="connsiteX737" fmla="*/ 123592 w 585671"/>
                <a:gd name="connsiteY737" fmla="*/ 221303 h 338310"/>
                <a:gd name="connsiteX738" fmla="*/ 126707 w 585671"/>
                <a:gd name="connsiteY738" fmla="*/ 224667 h 338310"/>
                <a:gd name="connsiteX739" fmla="*/ 127067 w 585671"/>
                <a:gd name="connsiteY739" fmla="*/ 225062 h 338310"/>
                <a:gd name="connsiteX740" fmla="*/ 122905 w 585671"/>
                <a:gd name="connsiteY740" fmla="*/ 227659 h 338310"/>
                <a:gd name="connsiteX741" fmla="*/ 121773 w 585671"/>
                <a:gd name="connsiteY741" fmla="*/ 228388 h 338310"/>
                <a:gd name="connsiteX742" fmla="*/ 119401 w 585671"/>
                <a:gd name="connsiteY742" fmla="*/ 230068 h 338310"/>
                <a:gd name="connsiteX743" fmla="*/ 118658 w 585671"/>
                <a:gd name="connsiteY743" fmla="*/ 230589 h 33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Lst>
              <a:rect l="l" t="t" r="r" b="b"/>
              <a:pathLst>
                <a:path w="585671" h="338310">
                  <a:moveTo>
                    <a:pt x="584694" y="298695"/>
                  </a:moveTo>
                  <a:cubicBezTo>
                    <a:pt x="583940" y="298084"/>
                    <a:pt x="582967" y="297634"/>
                    <a:pt x="581807" y="297355"/>
                  </a:cubicBezTo>
                  <a:cubicBezTo>
                    <a:pt x="581792" y="297351"/>
                    <a:pt x="581777" y="297348"/>
                    <a:pt x="581760" y="297345"/>
                  </a:cubicBezTo>
                  <a:cubicBezTo>
                    <a:pt x="581590" y="297221"/>
                    <a:pt x="581407" y="297055"/>
                    <a:pt x="581246" y="296905"/>
                  </a:cubicBezTo>
                  <a:cubicBezTo>
                    <a:pt x="580478" y="296189"/>
                    <a:pt x="579638" y="295591"/>
                    <a:pt x="578773" y="294991"/>
                  </a:cubicBezTo>
                  <a:cubicBezTo>
                    <a:pt x="578474" y="294783"/>
                    <a:pt x="578140" y="294567"/>
                    <a:pt x="577733" y="294402"/>
                  </a:cubicBezTo>
                  <a:cubicBezTo>
                    <a:pt x="577493" y="294303"/>
                    <a:pt x="577304" y="294201"/>
                    <a:pt x="577155" y="294088"/>
                  </a:cubicBezTo>
                  <a:cubicBezTo>
                    <a:pt x="577100" y="294047"/>
                    <a:pt x="577043" y="294008"/>
                    <a:pt x="576986" y="293970"/>
                  </a:cubicBezTo>
                  <a:cubicBezTo>
                    <a:pt x="576946" y="293942"/>
                    <a:pt x="576903" y="293918"/>
                    <a:pt x="576868" y="293885"/>
                  </a:cubicBezTo>
                  <a:lnTo>
                    <a:pt x="575943" y="292954"/>
                  </a:lnTo>
                  <a:cubicBezTo>
                    <a:pt x="575868" y="292879"/>
                    <a:pt x="575784" y="292802"/>
                    <a:pt x="575702" y="292724"/>
                  </a:cubicBezTo>
                  <a:lnTo>
                    <a:pt x="575539" y="292571"/>
                  </a:lnTo>
                  <a:cubicBezTo>
                    <a:pt x="575032" y="292071"/>
                    <a:pt x="574312" y="291629"/>
                    <a:pt x="573514" y="291327"/>
                  </a:cubicBezTo>
                  <a:cubicBezTo>
                    <a:pt x="573248" y="291225"/>
                    <a:pt x="572939" y="291010"/>
                    <a:pt x="572640" y="290802"/>
                  </a:cubicBezTo>
                  <a:cubicBezTo>
                    <a:pt x="572434" y="290657"/>
                    <a:pt x="572229" y="290516"/>
                    <a:pt x="572026" y="290396"/>
                  </a:cubicBezTo>
                  <a:cubicBezTo>
                    <a:pt x="571661" y="290179"/>
                    <a:pt x="571283" y="289989"/>
                    <a:pt x="570907" y="289798"/>
                  </a:cubicBezTo>
                  <a:cubicBezTo>
                    <a:pt x="570251" y="289467"/>
                    <a:pt x="569631" y="289154"/>
                    <a:pt x="569125" y="288714"/>
                  </a:cubicBezTo>
                  <a:cubicBezTo>
                    <a:pt x="568411" y="288093"/>
                    <a:pt x="567264" y="287311"/>
                    <a:pt x="565855" y="287113"/>
                  </a:cubicBezTo>
                  <a:cubicBezTo>
                    <a:pt x="565439" y="287055"/>
                    <a:pt x="565020" y="286950"/>
                    <a:pt x="564675" y="286818"/>
                  </a:cubicBezTo>
                  <a:cubicBezTo>
                    <a:pt x="563712" y="286449"/>
                    <a:pt x="562447" y="286060"/>
                    <a:pt x="561205" y="286314"/>
                  </a:cubicBezTo>
                  <a:cubicBezTo>
                    <a:pt x="561039" y="286348"/>
                    <a:pt x="560868" y="286374"/>
                    <a:pt x="560695" y="286402"/>
                  </a:cubicBezTo>
                  <a:cubicBezTo>
                    <a:pt x="560231" y="286476"/>
                    <a:pt x="559705" y="286559"/>
                    <a:pt x="559216" y="286772"/>
                  </a:cubicBezTo>
                  <a:cubicBezTo>
                    <a:pt x="559162" y="286795"/>
                    <a:pt x="559083" y="286829"/>
                    <a:pt x="559023" y="286851"/>
                  </a:cubicBezTo>
                  <a:cubicBezTo>
                    <a:pt x="559018" y="286850"/>
                    <a:pt x="559014" y="286851"/>
                    <a:pt x="559010" y="286850"/>
                  </a:cubicBezTo>
                  <a:cubicBezTo>
                    <a:pt x="558199" y="286432"/>
                    <a:pt x="557348" y="286317"/>
                    <a:pt x="556525" y="286206"/>
                  </a:cubicBezTo>
                  <a:lnTo>
                    <a:pt x="556148" y="286154"/>
                  </a:lnTo>
                  <a:cubicBezTo>
                    <a:pt x="555724" y="286093"/>
                    <a:pt x="555259" y="285943"/>
                    <a:pt x="554810" y="285797"/>
                  </a:cubicBezTo>
                  <a:lnTo>
                    <a:pt x="554512" y="285701"/>
                  </a:lnTo>
                  <a:cubicBezTo>
                    <a:pt x="554059" y="285558"/>
                    <a:pt x="553991" y="285447"/>
                    <a:pt x="553988" y="285442"/>
                  </a:cubicBezTo>
                  <a:cubicBezTo>
                    <a:pt x="553681" y="284857"/>
                    <a:pt x="553247" y="284351"/>
                    <a:pt x="552735" y="283978"/>
                  </a:cubicBezTo>
                  <a:cubicBezTo>
                    <a:pt x="552539" y="283834"/>
                    <a:pt x="552329" y="283695"/>
                    <a:pt x="552117" y="283556"/>
                  </a:cubicBezTo>
                  <a:cubicBezTo>
                    <a:pt x="551762" y="283320"/>
                    <a:pt x="551426" y="283098"/>
                    <a:pt x="551162" y="282855"/>
                  </a:cubicBezTo>
                  <a:cubicBezTo>
                    <a:pt x="550998" y="282704"/>
                    <a:pt x="550823" y="282554"/>
                    <a:pt x="550645" y="282401"/>
                  </a:cubicBezTo>
                  <a:cubicBezTo>
                    <a:pt x="550305" y="282110"/>
                    <a:pt x="549954" y="281811"/>
                    <a:pt x="549704" y="281509"/>
                  </a:cubicBezTo>
                  <a:cubicBezTo>
                    <a:pt x="548354" y="279881"/>
                    <a:pt x="546931" y="278923"/>
                    <a:pt x="545359" y="278583"/>
                  </a:cubicBezTo>
                  <a:lnTo>
                    <a:pt x="544979" y="278502"/>
                  </a:lnTo>
                  <a:cubicBezTo>
                    <a:pt x="544459" y="278391"/>
                    <a:pt x="543905" y="278273"/>
                    <a:pt x="543413" y="278142"/>
                  </a:cubicBezTo>
                  <a:cubicBezTo>
                    <a:pt x="542846" y="277990"/>
                    <a:pt x="542198" y="277616"/>
                    <a:pt x="541430" y="276998"/>
                  </a:cubicBezTo>
                  <a:cubicBezTo>
                    <a:pt x="541194" y="276808"/>
                    <a:pt x="540967" y="276608"/>
                    <a:pt x="540740" y="276410"/>
                  </a:cubicBezTo>
                  <a:cubicBezTo>
                    <a:pt x="540345" y="276063"/>
                    <a:pt x="539935" y="275703"/>
                    <a:pt x="539472" y="275381"/>
                  </a:cubicBezTo>
                  <a:cubicBezTo>
                    <a:pt x="538277" y="274553"/>
                    <a:pt x="536874" y="273641"/>
                    <a:pt x="535337" y="273297"/>
                  </a:cubicBezTo>
                  <a:cubicBezTo>
                    <a:pt x="534978" y="273216"/>
                    <a:pt x="534661" y="272993"/>
                    <a:pt x="534567" y="272755"/>
                  </a:cubicBezTo>
                  <a:cubicBezTo>
                    <a:pt x="534055" y="271459"/>
                    <a:pt x="533475" y="269990"/>
                    <a:pt x="532329" y="268864"/>
                  </a:cubicBezTo>
                  <a:cubicBezTo>
                    <a:pt x="532067" y="268605"/>
                    <a:pt x="531817" y="268330"/>
                    <a:pt x="531567" y="268055"/>
                  </a:cubicBezTo>
                  <a:cubicBezTo>
                    <a:pt x="530986" y="267415"/>
                    <a:pt x="530385" y="266753"/>
                    <a:pt x="529611" y="266250"/>
                  </a:cubicBezTo>
                  <a:cubicBezTo>
                    <a:pt x="529247" y="266013"/>
                    <a:pt x="528886" y="265757"/>
                    <a:pt x="528523" y="265499"/>
                  </a:cubicBezTo>
                  <a:cubicBezTo>
                    <a:pt x="527712" y="264924"/>
                    <a:pt x="526874" y="264329"/>
                    <a:pt x="525951" y="263899"/>
                  </a:cubicBezTo>
                  <a:cubicBezTo>
                    <a:pt x="524900" y="263409"/>
                    <a:pt x="523987" y="262729"/>
                    <a:pt x="523383" y="261985"/>
                  </a:cubicBezTo>
                  <a:lnTo>
                    <a:pt x="522457" y="260845"/>
                  </a:lnTo>
                  <a:cubicBezTo>
                    <a:pt x="522342" y="260705"/>
                    <a:pt x="522224" y="260561"/>
                    <a:pt x="522119" y="260415"/>
                  </a:cubicBezTo>
                  <a:cubicBezTo>
                    <a:pt x="521352" y="259346"/>
                    <a:pt x="520674" y="258570"/>
                    <a:pt x="519852" y="257822"/>
                  </a:cubicBezTo>
                  <a:cubicBezTo>
                    <a:pt x="519037" y="257080"/>
                    <a:pt x="518233" y="256316"/>
                    <a:pt x="517425" y="255550"/>
                  </a:cubicBezTo>
                  <a:cubicBezTo>
                    <a:pt x="515013" y="253259"/>
                    <a:pt x="512518" y="250891"/>
                    <a:pt x="509682" y="249062"/>
                  </a:cubicBezTo>
                  <a:cubicBezTo>
                    <a:pt x="509017" y="248633"/>
                    <a:pt x="508368" y="248153"/>
                    <a:pt x="508136" y="247559"/>
                  </a:cubicBezTo>
                  <a:cubicBezTo>
                    <a:pt x="508068" y="247386"/>
                    <a:pt x="508009" y="247212"/>
                    <a:pt x="507951" y="247038"/>
                  </a:cubicBezTo>
                  <a:cubicBezTo>
                    <a:pt x="507893" y="246867"/>
                    <a:pt x="507834" y="246695"/>
                    <a:pt x="507771" y="246525"/>
                  </a:cubicBezTo>
                  <a:lnTo>
                    <a:pt x="507659" y="246241"/>
                  </a:lnTo>
                  <a:cubicBezTo>
                    <a:pt x="507538" y="245941"/>
                    <a:pt x="507434" y="245682"/>
                    <a:pt x="507422" y="245452"/>
                  </a:cubicBezTo>
                  <a:cubicBezTo>
                    <a:pt x="507389" y="244864"/>
                    <a:pt x="507290" y="244002"/>
                    <a:pt x="506799" y="243291"/>
                  </a:cubicBezTo>
                  <a:cubicBezTo>
                    <a:pt x="506469" y="242812"/>
                    <a:pt x="506265" y="242570"/>
                    <a:pt x="506029" y="242289"/>
                  </a:cubicBezTo>
                  <a:cubicBezTo>
                    <a:pt x="505901" y="242137"/>
                    <a:pt x="505758" y="241968"/>
                    <a:pt x="505571" y="241731"/>
                  </a:cubicBezTo>
                  <a:cubicBezTo>
                    <a:pt x="505394" y="241505"/>
                    <a:pt x="505201" y="241279"/>
                    <a:pt x="505006" y="241052"/>
                  </a:cubicBezTo>
                  <a:cubicBezTo>
                    <a:pt x="504689" y="240682"/>
                    <a:pt x="504390" y="240332"/>
                    <a:pt x="504154" y="239978"/>
                  </a:cubicBezTo>
                  <a:lnTo>
                    <a:pt x="503659" y="239229"/>
                  </a:lnTo>
                  <a:cubicBezTo>
                    <a:pt x="503264" y="238630"/>
                    <a:pt x="502865" y="238024"/>
                    <a:pt x="502459" y="237453"/>
                  </a:cubicBezTo>
                  <a:lnTo>
                    <a:pt x="500523" y="234732"/>
                  </a:lnTo>
                  <a:cubicBezTo>
                    <a:pt x="499981" y="233969"/>
                    <a:pt x="499288" y="233164"/>
                    <a:pt x="498622" y="232524"/>
                  </a:cubicBezTo>
                  <a:cubicBezTo>
                    <a:pt x="496694" y="230669"/>
                    <a:pt x="494354" y="229349"/>
                    <a:pt x="492423" y="228381"/>
                  </a:cubicBezTo>
                  <a:cubicBezTo>
                    <a:pt x="492493" y="228108"/>
                    <a:pt x="492559" y="227834"/>
                    <a:pt x="492633" y="227562"/>
                  </a:cubicBezTo>
                  <a:cubicBezTo>
                    <a:pt x="492812" y="226905"/>
                    <a:pt x="492950" y="226263"/>
                    <a:pt x="493087" y="225621"/>
                  </a:cubicBezTo>
                  <a:cubicBezTo>
                    <a:pt x="493239" y="224912"/>
                    <a:pt x="493382" y="224242"/>
                    <a:pt x="493581" y="223551"/>
                  </a:cubicBezTo>
                  <a:cubicBezTo>
                    <a:pt x="495205" y="217904"/>
                    <a:pt x="496077" y="212711"/>
                    <a:pt x="496246" y="207675"/>
                  </a:cubicBezTo>
                  <a:cubicBezTo>
                    <a:pt x="496267" y="207064"/>
                    <a:pt x="496297" y="206459"/>
                    <a:pt x="496327" y="205854"/>
                  </a:cubicBezTo>
                  <a:cubicBezTo>
                    <a:pt x="496400" y="204416"/>
                    <a:pt x="496474" y="202929"/>
                    <a:pt x="496410" y="201429"/>
                  </a:cubicBezTo>
                  <a:cubicBezTo>
                    <a:pt x="496318" y="199244"/>
                    <a:pt x="495984" y="197501"/>
                    <a:pt x="495362" y="195942"/>
                  </a:cubicBezTo>
                  <a:cubicBezTo>
                    <a:pt x="495179" y="195483"/>
                    <a:pt x="495020" y="195010"/>
                    <a:pt x="494861" y="194539"/>
                  </a:cubicBezTo>
                  <a:cubicBezTo>
                    <a:pt x="494522" y="193533"/>
                    <a:pt x="494170" y="192494"/>
                    <a:pt x="493589" y="191535"/>
                  </a:cubicBezTo>
                  <a:cubicBezTo>
                    <a:pt x="493250" y="190978"/>
                    <a:pt x="492945" y="190354"/>
                    <a:pt x="492648" y="189751"/>
                  </a:cubicBezTo>
                  <a:lnTo>
                    <a:pt x="492493" y="189434"/>
                  </a:lnTo>
                  <a:cubicBezTo>
                    <a:pt x="491583" y="187593"/>
                    <a:pt x="490180" y="185885"/>
                    <a:pt x="488542" y="184625"/>
                  </a:cubicBezTo>
                  <a:cubicBezTo>
                    <a:pt x="488158" y="184330"/>
                    <a:pt x="487790" y="184063"/>
                    <a:pt x="487423" y="183800"/>
                  </a:cubicBezTo>
                  <a:cubicBezTo>
                    <a:pt x="491338" y="181568"/>
                    <a:pt x="494673" y="178752"/>
                    <a:pt x="497160" y="175522"/>
                  </a:cubicBezTo>
                  <a:cubicBezTo>
                    <a:pt x="497630" y="174911"/>
                    <a:pt x="498068" y="174349"/>
                    <a:pt x="498482" y="173819"/>
                  </a:cubicBezTo>
                  <a:cubicBezTo>
                    <a:pt x="500124" y="171712"/>
                    <a:pt x="501382" y="170095"/>
                    <a:pt x="502551" y="168100"/>
                  </a:cubicBezTo>
                  <a:cubicBezTo>
                    <a:pt x="502724" y="168130"/>
                    <a:pt x="502894" y="168166"/>
                    <a:pt x="503075" y="168182"/>
                  </a:cubicBezTo>
                  <a:cubicBezTo>
                    <a:pt x="503524" y="168226"/>
                    <a:pt x="504017" y="168263"/>
                    <a:pt x="504529" y="168263"/>
                  </a:cubicBezTo>
                  <a:cubicBezTo>
                    <a:pt x="504989" y="168263"/>
                    <a:pt x="505466" y="168232"/>
                    <a:pt x="505941" y="168151"/>
                  </a:cubicBezTo>
                  <a:cubicBezTo>
                    <a:pt x="508009" y="167796"/>
                    <a:pt x="509775" y="166581"/>
                    <a:pt x="510665" y="164902"/>
                  </a:cubicBezTo>
                  <a:cubicBezTo>
                    <a:pt x="511335" y="163637"/>
                    <a:pt x="511525" y="162238"/>
                    <a:pt x="511219" y="160905"/>
                  </a:cubicBezTo>
                  <a:cubicBezTo>
                    <a:pt x="511900" y="160201"/>
                    <a:pt x="512445" y="159406"/>
                    <a:pt x="512975" y="158634"/>
                  </a:cubicBezTo>
                  <a:cubicBezTo>
                    <a:pt x="513228" y="158264"/>
                    <a:pt x="513481" y="157894"/>
                    <a:pt x="513749" y="157537"/>
                  </a:cubicBezTo>
                  <a:cubicBezTo>
                    <a:pt x="514000" y="157202"/>
                    <a:pt x="514239" y="156856"/>
                    <a:pt x="514477" y="156512"/>
                  </a:cubicBezTo>
                  <a:cubicBezTo>
                    <a:pt x="515061" y="155669"/>
                    <a:pt x="515614" y="154873"/>
                    <a:pt x="516326" y="154252"/>
                  </a:cubicBezTo>
                  <a:cubicBezTo>
                    <a:pt x="518395" y="152448"/>
                    <a:pt x="519683" y="150103"/>
                    <a:pt x="520766" y="147839"/>
                  </a:cubicBezTo>
                  <a:lnTo>
                    <a:pt x="521108" y="147124"/>
                  </a:lnTo>
                  <a:cubicBezTo>
                    <a:pt x="521919" y="145424"/>
                    <a:pt x="522758" y="143666"/>
                    <a:pt x="523638" y="142017"/>
                  </a:cubicBezTo>
                  <a:cubicBezTo>
                    <a:pt x="525000" y="139467"/>
                    <a:pt x="525609" y="137049"/>
                    <a:pt x="525447" y="134831"/>
                  </a:cubicBezTo>
                  <a:cubicBezTo>
                    <a:pt x="525353" y="133540"/>
                    <a:pt x="525454" y="132131"/>
                    <a:pt x="525734" y="130863"/>
                  </a:cubicBezTo>
                  <a:cubicBezTo>
                    <a:pt x="526152" y="128965"/>
                    <a:pt x="526227" y="127009"/>
                    <a:pt x="526299" y="125118"/>
                  </a:cubicBezTo>
                  <a:lnTo>
                    <a:pt x="526314" y="124730"/>
                  </a:lnTo>
                  <a:cubicBezTo>
                    <a:pt x="526360" y="123571"/>
                    <a:pt x="526201" y="122511"/>
                    <a:pt x="525785" y="121184"/>
                  </a:cubicBezTo>
                  <a:cubicBezTo>
                    <a:pt x="525421" y="120023"/>
                    <a:pt x="524632" y="119253"/>
                    <a:pt x="523999" y="118636"/>
                  </a:cubicBezTo>
                  <a:cubicBezTo>
                    <a:pt x="523588" y="118233"/>
                    <a:pt x="522798" y="117866"/>
                    <a:pt x="522364" y="117732"/>
                  </a:cubicBezTo>
                  <a:cubicBezTo>
                    <a:pt x="522351" y="117570"/>
                    <a:pt x="522339" y="117409"/>
                    <a:pt x="522328" y="117247"/>
                  </a:cubicBezTo>
                  <a:cubicBezTo>
                    <a:pt x="522279" y="116535"/>
                    <a:pt x="522228" y="115799"/>
                    <a:pt x="522020" y="115051"/>
                  </a:cubicBezTo>
                  <a:cubicBezTo>
                    <a:pt x="521801" y="114266"/>
                    <a:pt x="521596" y="113523"/>
                    <a:pt x="521717" y="112858"/>
                  </a:cubicBezTo>
                  <a:cubicBezTo>
                    <a:pt x="522056" y="111003"/>
                    <a:pt x="522349" y="108990"/>
                    <a:pt x="522366" y="106943"/>
                  </a:cubicBezTo>
                  <a:lnTo>
                    <a:pt x="522887" y="109552"/>
                  </a:lnTo>
                  <a:lnTo>
                    <a:pt x="523906" y="106523"/>
                  </a:lnTo>
                  <a:cubicBezTo>
                    <a:pt x="524531" y="104666"/>
                    <a:pt x="524534" y="102630"/>
                    <a:pt x="523915" y="100789"/>
                  </a:cubicBezTo>
                  <a:cubicBezTo>
                    <a:pt x="523569" y="99760"/>
                    <a:pt x="523148" y="98746"/>
                    <a:pt x="522742" y="97766"/>
                  </a:cubicBezTo>
                  <a:cubicBezTo>
                    <a:pt x="521708" y="95273"/>
                    <a:pt x="520732" y="92918"/>
                    <a:pt x="520926" y="90417"/>
                  </a:cubicBezTo>
                  <a:cubicBezTo>
                    <a:pt x="521017" y="89254"/>
                    <a:pt x="521163" y="88081"/>
                    <a:pt x="521305" y="86946"/>
                  </a:cubicBezTo>
                  <a:cubicBezTo>
                    <a:pt x="521413" y="86085"/>
                    <a:pt x="521522" y="85211"/>
                    <a:pt x="521609" y="84327"/>
                  </a:cubicBezTo>
                  <a:cubicBezTo>
                    <a:pt x="521722" y="84739"/>
                    <a:pt x="521818" y="85158"/>
                    <a:pt x="521893" y="85579"/>
                  </a:cubicBezTo>
                  <a:lnTo>
                    <a:pt x="522486" y="88883"/>
                  </a:lnTo>
                  <a:lnTo>
                    <a:pt x="523543" y="85697"/>
                  </a:lnTo>
                  <a:cubicBezTo>
                    <a:pt x="524042" y="84190"/>
                    <a:pt x="524227" y="82449"/>
                    <a:pt x="524077" y="80661"/>
                  </a:cubicBezTo>
                  <a:cubicBezTo>
                    <a:pt x="523941" y="79034"/>
                    <a:pt x="523643" y="77405"/>
                    <a:pt x="523176" y="75739"/>
                  </a:cubicBezTo>
                  <a:cubicBezTo>
                    <a:pt x="523218" y="75807"/>
                    <a:pt x="523259" y="75875"/>
                    <a:pt x="523298" y="75944"/>
                  </a:cubicBezTo>
                  <a:lnTo>
                    <a:pt x="525207" y="79263"/>
                  </a:lnTo>
                  <a:lnTo>
                    <a:pt x="524888" y="75448"/>
                  </a:lnTo>
                  <a:cubicBezTo>
                    <a:pt x="524598" y="71982"/>
                    <a:pt x="523396" y="68776"/>
                    <a:pt x="521414" y="66174"/>
                  </a:cubicBezTo>
                  <a:cubicBezTo>
                    <a:pt x="521078" y="65734"/>
                    <a:pt x="520840" y="65242"/>
                    <a:pt x="520666" y="64713"/>
                  </a:cubicBezTo>
                  <a:lnTo>
                    <a:pt x="522053" y="61577"/>
                  </a:lnTo>
                  <a:cubicBezTo>
                    <a:pt x="523150" y="59094"/>
                    <a:pt x="522549" y="55883"/>
                    <a:pt x="520623" y="53942"/>
                  </a:cubicBezTo>
                  <a:cubicBezTo>
                    <a:pt x="519409" y="52718"/>
                    <a:pt x="518600" y="51163"/>
                    <a:pt x="517744" y="49517"/>
                  </a:cubicBezTo>
                  <a:cubicBezTo>
                    <a:pt x="516813" y="47727"/>
                    <a:pt x="515849" y="45875"/>
                    <a:pt x="514306" y="44435"/>
                  </a:cubicBezTo>
                  <a:cubicBezTo>
                    <a:pt x="513298" y="43496"/>
                    <a:pt x="512583" y="42262"/>
                    <a:pt x="511827" y="40955"/>
                  </a:cubicBezTo>
                  <a:cubicBezTo>
                    <a:pt x="511032" y="39582"/>
                    <a:pt x="510210" y="38161"/>
                    <a:pt x="508994" y="37043"/>
                  </a:cubicBezTo>
                  <a:cubicBezTo>
                    <a:pt x="508697" y="36770"/>
                    <a:pt x="508647" y="36438"/>
                    <a:pt x="508569" y="35772"/>
                  </a:cubicBezTo>
                  <a:cubicBezTo>
                    <a:pt x="508552" y="35630"/>
                    <a:pt x="508535" y="35485"/>
                    <a:pt x="508514" y="35337"/>
                  </a:cubicBezTo>
                  <a:cubicBezTo>
                    <a:pt x="508141" y="32693"/>
                    <a:pt x="507085" y="30173"/>
                    <a:pt x="505462" y="28051"/>
                  </a:cubicBezTo>
                  <a:lnTo>
                    <a:pt x="503496" y="25482"/>
                  </a:lnTo>
                  <a:lnTo>
                    <a:pt x="503938" y="28686"/>
                  </a:lnTo>
                  <a:cubicBezTo>
                    <a:pt x="503999" y="29121"/>
                    <a:pt x="503991" y="29596"/>
                    <a:pt x="503925" y="30070"/>
                  </a:cubicBezTo>
                  <a:cubicBezTo>
                    <a:pt x="503116" y="28843"/>
                    <a:pt x="501956" y="27934"/>
                    <a:pt x="500917" y="27120"/>
                  </a:cubicBezTo>
                  <a:cubicBezTo>
                    <a:pt x="500495" y="26789"/>
                    <a:pt x="500077" y="26421"/>
                    <a:pt x="499655" y="26052"/>
                  </a:cubicBezTo>
                  <a:cubicBezTo>
                    <a:pt x="499014" y="25490"/>
                    <a:pt x="498351" y="24909"/>
                    <a:pt x="497651" y="24426"/>
                  </a:cubicBezTo>
                  <a:cubicBezTo>
                    <a:pt x="497055" y="24015"/>
                    <a:pt x="496439" y="23591"/>
                    <a:pt x="495922" y="23104"/>
                  </a:cubicBezTo>
                  <a:cubicBezTo>
                    <a:pt x="494472" y="21739"/>
                    <a:pt x="493654" y="19776"/>
                    <a:pt x="492875" y="17714"/>
                  </a:cubicBezTo>
                  <a:lnTo>
                    <a:pt x="492342" y="16304"/>
                  </a:lnTo>
                  <a:lnTo>
                    <a:pt x="491407" y="17486"/>
                  </a:lnTo>
                  <a:cubicBezTo>
                    <a:pt x="491050" y="17939"/>
                    <a:pt x="490842" y="18418"/>
                    <a:pt x="490788" y="18911"/>
                  </a:cubicBezTo>
                  <a:cubicBezTo>
                    <a:pt x="490763" y="19140"/>
                    <a:pt x="490744" y="19370"/>
                    <a:pt x="490730" y="19600"/>
                  </a:cubicBezTo>
                  <a:cubicBezTo>
                    <a:pt x="490024" y="18862"/>
                    <a:pt x="489292" y="18185"/>
                    <a:pt x="488519" y="17554"/>
                  </a:cubicBezTo>
                  <a:cubicBezTo>
                    <a:pt x="485986" y="15486"/>
                    <a:pt x="482781" y="14431"/>
                    <a:pt x="479954" y="13500"/>
                  </a:cubicBezTo>
                  <a:cubicBezTo>
                    <a:pt x="478684" y="13081"/>
                    <a:pt x="477547" y="12222"/>
                    <a:pt x="476478" y="10872"/>
                  </a:cubicBezTo>
                  <a:cubicBezTo>
                    <a:pt x="475150" y="9197"/>
                    <a:pt x="473941" y="7405"/>
                    <a:pt x="472882" y="5550"/>
                  </a:cubicBezTo>
                  <a:lnTo>
                    <a:pt x="471668" y="3422"/>
                  </a:lnTo>
                  <a:lnTo>
                    <a:pt x="471298" y="5843"/>
                  </a:lnTo>
                  <a:cubicBezTo>
                    <a:pt x="471127" y="6959"/>
                    <a:pt x="471171" y="8141"/>
                    <a:pt x="471414" y="9295"/>
                  </a:cubicBezTo>
                  <a:cubicBezTo>
                    <a:pt x="470442" y="8758"/>
                    <a:pt x="469399" y="8371"/>
                    <a:pt x="468360" y="8176"/>
                  </a:cubicBezTo>
                  <a:cubicBezTo>
                    <a:pt x="467794" y="8069"/>
                    <a:pt x="467224" y="7974"/>
                    <a:pt x="466654" y="7878"/>
                  </a:cubicBezTo>
                  <a:cubicBezTo>
                    <a:pt x="464831" y="7572"/>
                    <a:pt x="463109" y="7284"/>
                    <a:pt x="461484" y="6646"/>
                  </a:cubicBezTo>
                  <a:cubicBezTo>
                    <a:pt x="459007" y="5674"/>
                    <a:pt x="456808" y="3936"/>
                    <a:pt x="455292" y="1749"/>
                  </a:cubicBezTo>
                  <a:lnTo>
                    <a:pt x="454078" y="0"/>
                  </a:lnTo>
                  <a:lnTo>
                    <a:pt x="453748" y="2104"/>
                  </a:lnTo>
                  <a:cubicBezTo>
                    <a:pt x="453556" y="3332"/>
                    <a:pt x="453397" y="4943"/>
                    <a:pt x="453888" y="6529"/>
                  </a:cubicBezTo>
                  <a:cubicBezTo>
                    <a:pt x="454001" y="6896"/>
                    <a:pt x="454146" y="7248"/>
                    <a:pt x="454319" y="7577"/>
                  </a:cubicBezTo>
                  <a:cubicBezTo>
                    <a:pt x="452877" y="7421"/>
                    <a:pt x="451403" y="7491"/>
                    <a:pt x="450121" y="7599"/>
                  </a:cubicBezTo>
                  <a:cubicBezTo>
                    <a:pt x="449356" y="7662"/>
                    <a:pt x="448592" y="7755"/>
                    <a:pt x="447828" y="7847"/>
                  </a:cubicBezTo>
                  <a:cubicBezTo>
                    <a:pt x="446277" y="8033"/>
                    <a:pt x="444811" y="8208"/>
                    <a:pt x="443330" y="8161"/>
                  </a:cubicBezTo>
                  <a:cubicBezTo>
                    <a:pt x="438089" y="7979"/>
                    <a:pt x="433349" y="5605"/>
                    <a:pt x="430296" y="3645"/>
                  </a:cubicBezTo>
                  <a:lnTo>
                    <a:pt x="428578" y="2542"/>
                  </a:lnTo>
                  <a:lnTo>
                    <a:pt x="429000" y="4539"/>
                  </a:lnTo>
                  <a:cubicBezTo>
                    <a:pt x="429248" y="5709"/>
                    <a:pt x="429771" y="6815"/>
                    <a:pt x="430478" y="7719"/>
                  </a:cubicBezTo>
                  <a:lnTo>
                    <a:pt x="422680" y="7574"/>
                  </a:lnTo>
                  <a:cubicBezTo>
                    <a:pt x="421149" y="7547"/>
                    <a:pt x="419566" y="7518"/>
                    <a:pt x="418064" y="7233"/>
                  </a:cubicBezTo>
                  <a:cubicBezTo>
                    <a:pt x="415713" y="6785"/>
                    <a:pt x="413483" y="5702"/>
                    <a:pt x="411327" y="4655"/>
                  </a:cubicBezTo>
                  <a:lnTo>
                    <a:pt x="409637" y="3835"/>
                  </a:lnTo>
                  <a:lnTo>
                    <a:pt x="410130" y="5647"/>
                  </a:lnTo>
                  <a:cubicBezTo>
                    <a:pt x="410591" y="7335"/>
                    <a:pt x="411698" y="8836"/>
                    <a:pt x="413334" y="9988"/>
                  </a:cubicBezTo>
                  <a:cubicBezTo>
                    <a:pt x="414058" y="10499"/>
                    <a:pt x="414824" y="10916"/>
                    <a:pt x="415604" y="11286"/>
                  </a:cubicBezTo>
                  <a:cubicBezTo>
                    <a:pt x="414630" y="11674"/>
                    <a:pt x="413664" y="12220"/>
                    <a:pt x="412800" y="12888"/>
                  </a:cubicBezTo>
                  <a:cubicBezTo>
                    <a:pt x="412256" y="13308"/>
                    <a:pt x="411768" y="13777"/>
                    <a:pt x="411296" y="14231"/>
                  </a:cubicBezTo>
                  <a:cubicBezTo>
                    <a:pt x="410726" y="14778"/>
                    <a:pt x="410187" y="15296"/>
                    <a:pt x="409583" y="15705"/>
                  </a:cubicBezTo>
                  <a:cubicBezTo>
                    <a:pt x="408665" y="16327"/>
                    <a:pt x="407341" y="16699"/>
                    <a:pt x="406450" y="16137"/>
                  </a:cubicBezTo>
                  <a:cubicBezTo>
                    <a:pt x="403331" y="14163"/>
                    <a:pt x="398774" y="16632"/>
                    <a:pt x="395860" y="19765"/>
                  </a:cubicBezTo>
                  <a:lnTo>
                    <a:pt x="392448" y="23433"/>
                  </a:lnTo>
                  <a:lnTo>
                    <a:pt x="396882" y="21101"/>
                  </a:lnTo>
                  <a:cubicBezTo>
                    <a:pt x="398316" y="20346"/>
                    <a:pt x="399927" y="20065"/>
                    <a:pt x="401326" y="20318"/>
                  </a:cubicBezTo>
                  <a:cubicBezTo>
                    <a:pt x="401329" y="20325"/>
                    <a:pt x="401332" y="20330"/>
                    <a:pt x="401334" y="20330"/>
                  </a:cubicBezTo>
                  <a:lnTo>
                    <a:pt x="401334" y="20330"/>
                  </a:lnTo>
                  <a:cubicBezTo>
                    <a:pt x="401328" y="20356"/>
                    <a:pt x="401273" y="20438"/>
                    <a:pt x="401149" y="20520"/>
                  </a:cubicBezTo>
                  <a:cubicBezTo>
                    <a:pt x="401011" y="20611"/>
                    <a:pt x="400826" y="20687"/>
                    <a:pt x="400629" y="20769"/>
                  </a:cubicBezTo>
                  <a:lnTo>
                    <a:pt x="400351" y="20887"/>
                  </a:lnTo>
                  <a:cubicBezTo>
                    <a:pt x="399140" y="21429"/>
                    <a:pt x="398129" y="22371"/>
                    <a:pt x="397503" y="23541"/>
                  </a:cubicBezTo>
                  <a:cubicBezTo>
                    <a:pt x="396638" y="25161"/>
                    <a:pt x="394899" y="26369"/>
                    <a:pt x="393217" y="27538"/>
                  </a:cubicBezTo>
                  <a:cubicBezTo>
                    <a:pt x="392326" y="28158"/>
                    <a:pt x="391403" y="28798"/>
                    <a:pt x="390600" y="29505"/>
                  </a:cubicBezTo>
                  <a:cubicBezTo>
                    <a:pt x="388819" y="31072"/>
                    <a:pt x="386977" y="32691"/>
                    <a:pt x="385435" y="34607"/>
                  </a:cubicBezTo>
                  <a:cubicBezTo>
                    <a:pt x="383863" y="36559"/>
                    <a:pt x="382653" y="38750"/>
                    <a:pt x="381837" y="41115"/>
                  </a:cubicBezTo>
                  <a:cubicBezTo>
                    <a:pt x="381445" y="42255"/>
                    <a:pt x="380906" y="43459"/>
                    <a:pt x="380430" y="44487"/>
                  </a:cubicBezTo>
                  <a:cubicBezTo>
                    <a:pt x="380175" y="45038"/>
                    <a:pt x="379651" y="45568"/>
                    <a:pt x="379127" y="45806"/>
                  </a:cubicBezTo>
                  <a:cubicBezTo>
                    <a:pt x="378751" y="45976"/>
                    <a:pt x="378335" y="46094"/>
                    <a:pt x="377894" y="46218"/>
                  </a:cubicBezTo>
                  <a:cubicBezTo>
                    <a:pt x="377564" y="46312"/>
                    <a:pt x="377234" y="46406"/>
                    <a:pt x="376911" y="46521"/>
                  </a:cubicBezTo>
                  <a:cubicBezTo>
                    <a:pt x="375270" y="47110"/>
                    <a:pt x="373769" y="48258"/>
                    <a:pt x="372450" y="49932"/>
                  </a:cubicBezTo>
                  <a:cubicBezTo>
                    <a:pt x="371321" y="51365"/>
                    <a:pt x="370484" y="52970"/>
                    <a:pt x="369675" y="54522"/>
                  </a:cubicBezTo>
                  <a:lnTo>
                    <a:pt x="371152" y="55374"/>
                  </a:lnTo>
                  <a:cubicBezTo>
                    <a:pt x="371996" y="54045"/>
                    <a:pt x="373350" y="53092"/>
                    <a:pt x="374795" y="52735"/>
                  </a:cubicBezTo>
                  <a:cubicBezTo>
                    <a:pt x="373694" y="54591"/>
                    <a:pt x="372945" y="56822"/>
                    <a:pt x="372645" y="59185"/>
                  </a:cubicBezTo>
                  <a:lnTo>
                    <a:pt x="371703" y="66607"/>
                  </a:lnTo>
                  <a:lnTo>
                    <a:pt x="374292" y="59588"/>
                  </a:lnTo>
                  <a:cubicBezTo>
                    <a:pt x="374640" y="58645"/>
                    <a:pt x="375151" y="57915"/>
                    <a:pt x="375814" y="57416"/>
                  </a:cubicBezTo>
                  <a:cubicBezTo>
                    <a:pt x="375828" y="57405"/>
                    <a:pt x="375842" y="57394"/>
                    <a:pt x="375856" y="57383"/>
                  </a:cubicBezTo>
                  <a:cubicBezTo>
                    <a:pt x="375495" y="58416"/>
                    <a:pt x="375167" y="59477"/>
                    <a:pt x="374901" y="60486"/>
                  </a:cubicBezTo>
                  <a:cubicBezTo>
                    <a:pt x="374367" y="62512"/>
                    <a:pt x="374162" y="64599"/>
                    <a:pt x="374295" y="66691"/>
                  </a:cubicBezTo>
                  <a:cubicBezTo>
                    <a:pt x="374603" y="71537"/>
                    <a:pt x="372998" y="76623"/>
                    <a:pt x="370005" y="80294"/>
                  </a:cubicBezTo>
                  <a:lnTo>
                    <a:pt x="368535" y="82096"/>
                  </a:lnTo>
                  <a:lnTo>
                    <a:pt x="370822" y="81672"/>
                  </a:lnTo>
                  <a:cubicBezTo>
                    <a:pt x="371488" y="81548"/>
                    <a:pt x="372109" y="81368"/>
                    <a:pt x="372709" y="81120"/>
                  </a:cubicBezTo>
                  <a:cubicBezTo>
                    <a:pt x="371049" y="85543"/>
                    <a:pt x="370793" y="90522"/>
                    <a:pt x="370581" y="94655"/>
                  </a:cubicBezTo>
                  <a:cubicBezTo>
                    <a:pt x="370508" y="96066"/>
                    <a:pt x="369941" y="97491"/>
                    <a:pt x="369138" y="98284"/>
                  </a:cubicBezTo>
                  <a:cubicBezTo>
                    <a:pt x="368440" y="98973"/>
                    <a:pt x="367483" y="99544"/>
                    <a:pt x="366639" y="100012"/>
                  </a:cubicBezTo>
                  <a:lnTo>
                    <a:pt x="364312" y="101303"/>
                  </a:lnTo>
                  <a:lnTo>
                    <a:pt x="366956" y="101605"/>
                  </a:lnTo>
                  <a:cubicBezTo>
                    <a:pt x="368547" y="101789"/>
                    <a:pt x="370094" y="101491"/>
                    <a:pt x="371555" y="100723"/>
                  </a:cubicBezTo>
                  <a:cubicBezTo>
                    <a:pt x="371682" y="100656"/>
                    <a:pt x="371803" y="100587"/>
                    <a:pt x="371921" y="100516"/>
                  </a:cubicBezTo>
                  <a:cubicBezTo>
                    <a:pt x="371808" y="100809"/>
                    <a:pt x="371671" y="101100"/>
                    <a:pt x="371511" y="101380"/>
                  </a:cubicBezTo>
                  <a:cubicBezTo>
                    <a:pt x="371383" y="101605"/>
                    <a:pt x="371276" y="101837"/>
                    <a:pt x="371177" y="102071"/>
                  </a:cubicBezTo>
                  <a:cubicBezTo>
                    <a:pt x="370500" y="102011"/>
                    <a:pt x="369830" y="102049"/>
                    <a:pt x="369210" y="102102"/>
                  </a:cubicBezTo>
                  <a:cubicBezTo>
                    <a:pt x="368077" y="102197"/>
                    <a:pt x="366956" y="102687"/>
                    <a:pt x="366132" y="103447"/>
                  </a:cubicBezTo>
                  <a:cubicBezTo>
                    <a:pt x="365047" y="104449"/>
                    <a:pt x="364271" y="105786"/>
                    <a:pt x="363948" y="107212"/>
                  </a:cubicBezTo>
                  <a:cubicBezTo>
                    <a:pt x="363577" y="108845"/>
                    <a:pt x="363222" y="110614"/>
                    <a:pt x="363130" y="112483"/>
                  </a:cubicBezTo>
                  <a:cubicBezTo>
                    <a:pt x="362975" y="115629"/>
                    <a:pt x="362905" y="119764"/>
                    <a:pt x="363747" y="123858"/>
                  </a:cubicBezTo>
                  <a:cubicBezTo>
                    <a:pt x="363900" y="124605"/>
                    <a:pt x="364037" y="125353"/>
                    <a:pt x="364173" y="126098"/>
                  </a:cubicBezTo>
                  <a:cubicBezTo>
                    <a:pt x="364635" y="128627"/>
                    <a:pt x="365114" y="131242"/>
                    <a:pt x="366255" y="133698"/>
                  </a:cubicBezTo>
                  <a:cubicBezTo>
                    <a:pt x="366978" y="135252"/>
                    <a:pt x="367342" y="136919"/>
                    <a:pt x="367728" y="138683"/>
                  </a:cubicBezTo>
                  <a:lnTo>
                    <a:pt x="367839" y="139190"/>
                  </a:lnTo>
                  <a:cubicBezTo>
                    <a:pt x="368328" y="141413"/>
                    <a:pt x="369164" y="142730"/>
                    <a:pt x="370353" y="144135"/>
                  </a:cubicBezTo>
                  <a:cubicBezTo>
                    <a:pt x="370940" y="144828"/>
                    <a:pt x="371335" y="145587"/>
                    <a:pt x="371496" y="146331"/>
                  </a:cubicBezTo>
                  <a:cubicBezTo>
                    <a:pt x="371679" y="147179"/>
                    <a:pt x="372201" y="147878"/>
                    <a:pt x="372762" y="148515"/>
                  </a:cubicBezTo>
                  <a:cubicBezTo>
                    <a:pt x="372707" y="149744"/>
                    <a:pt x="372780" y="151040"/>
                    <a:pt x="372984" y="152465"/>
                  </a:cubicBezTo>
                  <a:cubicBezTo>
                    <a:pt x="373222" y="154133"/>
                    <a:pt x="374338" y="155717"/>
                    <a:pt x="375896" y="156598"/>
                  </a:cubicBezTo>
                  <a:cubicBezTo>
                    <a:pt x="376028" y="156673"/>
                    <a:pt x="376163" y="156729"/>
                    <a:pt x="376298" y="156787"/>
                  </a:cubicBezTo>
                  <a:cubicBezTo>
                    <a:pt x="376183" y="156894"/>
                    <a:pt x="376071" y="157001"/>
                    <a:pt x="375966" y="157104"/>
                  </a:cubicBezTo>
                  <a:cubicBezTo>
                    <a:pt x="375934" y="157132"/>
                    <a:pt x="375817" y="157187"/>
                    <a:pt x="375740" y="157224"/>
                  </a:cubicBezTo>
                  <a:lnTo>
                    <a:pt x="375554" y="157316"/>
                  </a:lnTo>
                  <a:cubicBezTo>
                    <a:pt x="371889" y="159234"/>
                    <a:pt x="369157" y="162059"/>
                    <a:pt x="366750" y="164827"/>
                  </a:cubicBezTo>
                  <a:lnTo>
                    <a:pt x="366467" y="165152"/>
                  </a:lnTo>
                  <a:cubicBezTo>
                    <a:pt x="364918" y="166932"/>
                    <a:pt x="363316" y="168773"/>
                    <a:pt x="361847" y="170566"/>
                  </a:cubicBezTo>
                  <a:cubicBezTo>
                    <a:pt x="357541" y="175821"/>
                    <a:pt x="352347" y="180456"/>
                    <a:pt x="346408" y="184341"/>
                  </a:cubicBezTo>
                  <a:cubicBezTo>
                    <a:pt x="344027" y="185900"/>
                    <a:pt x="341809" y="186910"/>
                    <a:pt x="339628" y="187431"/>
                  </a:cubicBezTo>
                  <a:cubicBezTo>
                    <a:pt x="336593" y="188156"/>
                    <a:pt x="333854" y="189604"/>
                    <a:pt x="331205" y="191003"/>
                  </a:cubicBezTo>
                  <a:cubicBezTo>
                    <a:pt x="330292" y="191485"/>
                    <a:pt x="329378" y="191968"/>
                    <a:pt x="328448" y="192424"/>
                  </a:cubicBezTo>
                  <a:cubicBezTo>
                    <a:pt x="327782" y="192751"/>
                    <a:pt x="327128" y="193110"/>
                    <a:pt x="326473" y="193471"/>
                  </a:cubicBezTo>
                  <a:cubicBezTo>
                    <a:pt x="325567" y="193970"/>
                    <a:pt x="324694" y="194443"/>
                    <a:pt x="323800" y="194830"/>
                  </a:cubicBezTo>
                  <a:cubicBezTo>
                    <a:pt x="322406" y="193999"/>
                    <a:pt x="320967" y="193305"/>
                    <a:pt x="319511" y="192783"/>
                  </a:cubicBezTo>
                  <a:cubicBezTo>
                    <a:pt x="319126" y="192644"/>
                    <a:pt x="318739" y="192510"/>
                    <a:pt x="318352" y="192375"/>
                  </a:cubicBezTo>
                  <a:cubicBezTo>
                    <a:pt x="317502" y="192079"/>
                    <a:pt x="316622" y="191773"/>
                    <a:pt x="315783" y="191435"/>
                  </a:cubicBezTo>
                  <a:cubicBezTo>
                    <a:pt x="313670" y="190584"/>
                    <a:pt x="312144" y="187982"/>
                    <a:pt x="311585" y="186904"/>
                  </a:cubicBezTo>
                  <a:cubicBezTo>
                    <a:pt x="309666" y="183193"/>
                    <a:pt x="307174" y="179994"/>
                    <a:pt x="304378" y="177652"/>
                  </a:cubicBezTo>
                  <a:cubicBezTo>
                    <a:pt x="303052" y="176541"/>
                    <a:pt x="301630" y="175561"/>
                    <a:pt x="300148" y="174715"/>
                  </a:cubicBezTo>
                  <a:cubicBezTo>
                    <a:pt x="300000" y="174567"/>
                    <a:pt x="299851" y="174421"/>
                    <a:pt x="299703" y="174277"/>
                  </a:cubicBezTo>
                  <a:cubicBezTo>
                    <a:pt x="299495" y="174075"/>
                    <a:pt x="299213" y="174016"/>
                    <a:pt x="298948" y="174067"/>
                  </a:cubicBezTo>
                  <a:cubicBezTo>
                    <a:pt x="295265" y="172190"/>
                    <a:pt x="291264" y="171145"/>
                    <a:pt x="287394" y="171119"/>
                  </a:cubicBezTo>
                  <a:cubicBezTo>
                    <a:pt x="286009" y="171110"/>
                    <a:pt x="284352" y="170104"/>
                    <a:pt x="283542" y="168779"/>
                  </a:cubicBezTo>
                  <a:cubicBezTo>
                    <a:pt x="282784" y="167540"/>
                    <a:pt x="282000" y="166259"/>
                    <a:pt x="280920" y="165171"/>
                  </a:cubicBezTo>
                  <a:cubicBezTo>
                    <a:pt x="279731" y="163974"/>
                    <a:pt x="278237" y="163174"/>
                    <a:pt x="276712" y="162919"/>
                  </a:cubicBezTo>
                  <a:cubicBezTo>
                    <a:pt x="275838" y="162772"/>
                    <a:pt x="274939" y="162664"/>
                    <a:pt x="273988" y="162550"/>
                  </a:cubicBezTo>
                  <a:cubicBezTo>
                    <a:pt x="270825" y="162168"/>
                    <a:pt x="267554" y="161774"/>
                    <a:pt x="265468" y="159953"/>
                  </a:cubicBezTo>
                  <a:cubicBezTo>
                    <a:pt x="261311" y="156321"/>
                    <a:pt x="255868" y="154508"/>
                    <a:pt x="252136" y="153460"/>
                  </a:cubicBezTo>
                  <a:cubicBezTo>
                    <a:pt x="248349" y="152397"/>
                    <a:pt x="244655" y="151877"/>
                    <a:pt x="240841" y="151871"/>
                  </a:cubicBezTo>
                  <a:lnTo>
                    <a:pt x="240313" y="151870"/>
                  </a:lnTo>
                  <a:cubicBezTo>
                    <a:pt x="237867" y="151857"/>
                    <a:pt x="235342" y="151847"/>
                    <a:pt x="233087" y="153159"/>
                  </a:cubicBezTo>
                  <a:cubicBezTo>
                    <a:pt x="230427" y="154704"/>
                    <a:pt x="226435" y="155917"/>
                    <a:pt x="223931" y="154242"/>
                  </a:cubicBezTo>
                  <a:cubicBezTo>
                    <a:pt x="222731" y="153441"/>
                    <a:pt x="221264" y="153059"/>
                    <a:pt x="219846" y="152691"/>
                  </a:cubicBezTo>
                  <a:cubicBezTo>
                    <a:pt x="219322" y="152554"/>
                    <a:pt x="218806" y="152421"/>
                    <a:pt x="218322" y="152268"/>
                  </a:cubicBezTo>
                  <a:cubicBezTo>
                    <a:pt x="214456" y="151042"/>
                    <a:pt x="210292" y="150713"/>
                    <a:pt x="206277" y="151313"/>
                  </a:cubicBezTo>
                  <a:cubicBezTo>
                    <a:pt x="206051" y="151347"/>
                    <a:pt x="205825" y="151384"/>
                    <a:pt x="205598" y="151421"/>
                  </a:cubicBezTo>
                  <a:cubicBezTo>
                    <a:pt x="204553" y="151591"/>
                    <a:pt x="203567" y="151752"/>
                    <a:pt x="202619" y="151621"/>
                  </a:cubicBezTo>
                  <a:cubicBezTo>
                    <a:pt x="201947" y="151528"/>
                    <a:pt x="201264" y="151360"/>
                    <a:pt x="200542" y="151182"/>
                  </a:cubicBezTo>
                  <a:cubicBezTo>
                    <a:pt x="199409" y="150902"/>
                    <a:pt x="198238" y="150613"/>
                    <a:pt x="197039" y="150613"/>
                  </a:cubicBezTo>
                  <a:cubicBezTo>
                    <a:pt x="196534" y="150613"/>
                    <a:pt x="196013" y="150630"/>
                    <a:pt x="195488" y="150648"/>
                  </a:cubicBezTo>
                  <a:cubicBezTo>
                    <a:pt x="194714" y="150673"/>
                    <a:pt x="193911" y="150698"/>
                    <a:pt x="193177" y="150665"/>
                  </a:cubicBezTo>
                  <a:cubicBezTo>
                    <a:pt x="191254" y="150583"/>
                    <a:pt x="189584" y="151580"/>
                    <a:pt x="188208" y="152576"/>
                  </a:cubicBezTo>
                  <a:lnTo>
                    <a:pt x="184219" y="155465"/>
                  </a:lnTo>
                  <a:cubicBezTo>
                    <a:pt x="183850" y="155733"/>
                    <a:pt x="183469" y="156009"/>
                    <a:pt x="183088" y="156132"/>
                  </a:cubicBezTo>
                  <a:cubicBezTo>
                    <a:pt x="182775" y="156231"/>
                    <a:pt x="182250" y="156170"/>
                    <a:pt x="181743" y="156109"/>
                  </a:cubicBezTo>
                  <a:cubicBezTo>
                    <a:pt x="181210" y="156045"/>
                    <a:pt x="180660" y="155980"/>
                    <a:pt x="180136" y="156060"/>
                  </a:cubicBezTo>
                  <a:cubicBezTo>
                    <a:pt x="175080" y="156841"/>
                    <a:pt x="171124" y="158251"/>
                    <a:pt x="168040" y="160374"/>
                  </a:cubicBezTo>
                  <a:cubicBezTo>
                    <a:pt x="164685" y="162683"/>
                    <a:pt x="160508" y="165559"/>
                    <a:pt x="158681" y="169954"/>
                  </a:cubicBezTo>
                  <a:cubicBezTo>
                    <a:pt x="158519" y="170342"/>
                    <a:pt x="158378" y="170739"/>
                    <a:pt x="158237" y="171137"/>
                  </a:cubicBezTo>
                  <a:cubicBezTo>
                    <a:pt x="158024" y="171735"/>
                    <a:pt x="157824" y="172301"/>
                    <a:pt x="157554" y="172824"/>
                  </a:cubicBezTo>
                  <a:cubicBezTo>
                    <a:pt x="156901" y="174087"/>
                    <a:pt x="155849" y="175103"/>
                    <a:pt x="154735" y="176179"/>
                  </a:cubicBezTo>
                  <a:cubicBezTo>
                    <a:pt x="154501" y="176404"/>
                    <a:pt x="154272" y="176631"/>
                    <a:pt x="154043" y="176859"/>
                  </a:cubicBezTo>
                  <a:cubicBezTo>
                    <a:pt x="150539" y="175830"/>
                    <a:pt x="146798" y="174929"/>
                    <a:pt x="142859" y="174168"/>
                  </a:cubicBezTo>
                  <a:cubicBezTo>
                    <a:pt x="141718" y="173947"/>
                    <a:pt x="140425" y="173698"/>
                    <a:pt x="139312" y="173252"/>
                  </a:cubicBezTo>
                  <a:cubicBezTo>
                    <a:pt x="137237" y="172422"/>
                    <a:pt x="135013" y="171884"/>
                    <a:pt x="132863" y="171364"/>
                  </a:cubicBezTo>
                  <a:cubicBezTo>
                    <a:pt x="131825" y="171113"/>
                    <a:pt x="130791" y="170862"/>
                    <a:pt x="129780" y="170581"/>
                  </a:cubicBezTo>
                  <a:cubicBezTo>
                    <a:pt x="127666" y="169993"/>
                    <a:pt x="125416" y="168862"/>
                    <a:pt x="122903" y="167120"/>
                  </a:cubicBezTo>
                  <a:cubicBezTo>
                    <a:pt x="122181" y="166621"/>
                    <a:pt x="121458" y="166023"/>
                    <a:pt x="120758" y="165444"/>
                  </a:cubicBezTo>
                  <a:cubicBezTo>
                    <a:pt x="120257" y="165031"/>
                    <a:pt x="119758" y="164619"/>
                    <a:pt x="119255" y="164235"/>
                  </a:cubicBezTo>
                  <a:cubicBezTo>
                    <a:pt x="118682" y="163798"/>
                    <a:pt x="118054" y="163443"/>
                    <a:pt x="117446" y="163099"/>
                  </a:cubicBezTo>
                  <a:cubicBezTo>
                    <a:pt x="117086" y="162896"/>
                    <a:pt x="116726" y="162693"/>
                    <a:pt x="116385" y="162475"/>
                  </a:cubicBezTo>
                  <a:cubicBezTo>
                    <a:pt x="115630" y="161992"/>
                    <a:pt x="114645" y="161641"/>
                    <a:pt x="113613" y="161484"/>
                  </a:cubicBezTo>
                  <a:cubicBezTo>
                    <a:pt x="113233" y="161428"/>
                    <a:pt x="112855" y="161351"/>
                    <a:pt x="112665" y="161183"/>
                  </a:cubicBezTo>
                  <a:cubicBezTo>
                    <a:pt x="112616" y="161140"/>
                    <a:pt x="112595" y="161108"/>
                    <a:pt x="112585" y="161115"/>
                  </a:cubicBezTo>
                  <a:cubicBezTo>
                    <a:pt x="112501" y="160378"/>
                    <a:pt x="111912" y="159731"/>
                    <a:pt x="110922" y="159290"/>
                  </a:cubicBezTo>
                  <a:cubicBezTo>
                    <a:pt x="110214" y="158976"/>
                    <a:pt x="109473" y="158857"/>
                    <a:pt x="108835" y="158950"/>
                  </a:cubicBezTo>
                  <a:cubicBezTo>
                    <a:pt x="108279" y="159033"/>
                    <a:pt x="107557" y="158761"/>
                    <a:pt x="107029" y="158275"/>
                  </a:cubicBezTo>
                  <a:cubicBezTo>
                    <a:pt x="106755" y="158023"/>
                    <a:pt x="106449" y="157775"/>
                    <a:pt x="106144" y="157527"/>
                  </a:cubicBezTo>
                  <a:cubicBezTo>
                    <a:pt x="105896" y="157327"/>
                    <a:pt x="105649" y="157127"/>
                    <a:pt x="105422" y="156925"/>
                  </a:cubicBezTo>
                  <a:cubicBezTo>
                    <a:pt x="105247" y="156767"/>
                    <a:pt x="105070" y="156621"/>
                    <a:pt x="104895" y="156474"/>
                  </a:cubicBezTo>
                  <a:cubicBezTo>
                    <a:pt x="104713" y="156322"/>
                    <a:pt x="104532" y="156172"/>
                    <a:pt x="104351" y="156007"/>
                  </a:cubicBezTo>
                  <a:cubicBezTo>
                    <a:pt x="103895" y="155592"/>
                    <a:pt x="103467" y="155176"/>
                    <a:pt x="103047" y="154768"/>
                  </a:cubicBezTo>
                  <a:cubicBezTo>
                    <a:pt x="101842" y="153598"/>
                    <a:pt x="100704" y="152491"/>
                    <a:pt x="99141" y="151576"/>
                  </a:cubicBezTo>
                  <a:cubicBezTo>
                    <a:pt x="97631" y="150692"/>
                    <a:pt x="96669" y="150362"/>
                    <a:pt x="95649" y="150013"/>
                  </a:cubicBezTo>
                  <a:cubicBezTo>
                    <a:pt x="95401" y="149928"/>
                    <a:pt x="95145" y="149840"/>
                    <a:pt x="94871" y="149740"/>
                  </a:cubicBezTo>
                  <a:cubicBezTo>
                    <a:pt x="92204" y="148774"/>
                    <a:pt x="88747" y="148794"/>
                    <a:pt x="86923" y="148889"/>
                  </a:cubicBezTo>
                  <a:cubicBezTo>
                    <a:pt x="85865" y="148945"/>
                    <a:pt x="84778" y="148948"/>
                    <a:pt x="83727" y="148951"/>
                  </a:cubicBezTo>
                  <a:cubicBezTo>
                    <a:pt x="83076" y="148954"/>
                    <a:pt x="82425" y="148955"/>
                    <a:pt x="81827" y="148970"/>
                  </a:cubicBezTo>
                  <a:cubicBezTo>
                    <a:pt x="81328" y="148949"/>
                    <a:pt x="80813" y="148919"/>
                    <a:pt x="80298" y="148889"/>
                  </a:cubicBezTo>
                  <a:cubicBezTo>
                    <a:pt x="79772" y="148857"/>
                    <a:pt x="79245" y="148826"/>
                    <a:pt x="78736" y="148807"/>
                  </a:cubicBezTo>
                  <a:cubicBezTo>
                    <a:pt x="78128" y="148782"/>
                    <a:pt x="77512" y="148815"/>
                    <a:pt x="76918" y="148847"/>
                  </a:cubicBezTo>
                  <a:cubicBezTo>
                    <a:pt x="76491" y="148870"/>
                    <a:pt x="76065" y="148894"/>
                    <a:pt x="75648" y="148894"/>
                  </a:cubicBezTo>
                  <a:cubicBezTo>
                    <a:pt x="74330" y="148894"/>
                    <a:pt x="72938" y="148731"/>
                    <a:pt x="71592" y="148573"/>
                  </a:cubicBezTo>
                  <a:lnTo>
                    <a:pt x="70552" y="148454"/>
                  </a:lnTo>
                  <a:cubicBezTo>
                    <a:pt x="69560" y="148346"/>
                    <a:pt x="68579" y="148263"/>
                    <a:pt x="67592" y="148181"/>
                  </a:cubicBezTo>
                  <a:lnTo>
                    <a:pt x="66551" y="148093"/>
                  </a:lnTo>
                  <a:cubicBezTo>
                    <a:pt x="63922" y="147867"/>
                    <a:pt x="61394" y="148001"/>
                    <a:pt x="59037" y="148490"/>
                  </a:cubicBezTo>
                  <a:cubicBezTo>
                    <a:pt x="57906" y="148725"/>
                    <a:pt x="56810" y="149092"/>
                    <a:pt x="55750" y="149449"/>
                  </a:cubicBezTo>
                  <a:cubicBezTo>
                    <a:pt x="55238" y="149201"/>
                    <a:pt x="54678" y="148959"/>
                    <a:pt x="54110" y="148798"/>
                  </a:cubicBezTo>
                  <a:lnTo>
                    <a:pt x="53446" y="148607"/>
                  </a:lnTo>
                  <a:cubicBezTo>
                    <a:pt x="52117" y="148219"/>
                    <a:pt x="50743" y="147819"/>
                    <a:pt x="49299" y="147781"/>
                  </a:cubicBezTo>
                  <a:cubicBezTo>
                    <a:pt x="47759" y="147752"/>
                    <a:pt x="45652" y="148024"/>
                    <a:pt x="44320" y="149596"/>
                  </a:cubicBezTo>
                  <a:cubicBezTo>
                    <a:pt x="43505" y="150559"/>
                    <a:pt x="43048" y="151786"/>
                    <a:pt x="43066" y="153039"/>
                  </a:cubicBezTo>
                  <a:cubicBezTo>
                    <a:pt x="43077" y="153872"/>
                    <a:pt x="43093" y="155014"/>
                    <a:pt x="43872" y="155749"/>
                  </a:cubicBezTo>
                  <a:lnTo>
                    <a:pt x="44131" y="155995"/>
                  </a:lnTo>
                  <a:cubicBezTo>
                    <a:pt x="44739" y="156575"/>
                    <a:pt x="45179" y="156995"/>
                    <a:pt x="46160" y="157444"/>
                  </a:cubicBezTo>
                  <a:lnTo>
                    <a:pt x="46577" y="157638"/>
                  </a:lnTo>
                  <a:cubicBezTo>
                    <a:pt x="46633" y="157665"/>
                    <a:pt x="46692" y="157691"/>
                    <a:pt x="46749" y="157717"/>
                  </a:cubicBezTo>
                  <a:cubicBezTo>
                    <a:pt x="46658" y="157983"/>
                    <a:pt x="46529" y="158190"/>
                    <a:pt x="46355" y="158334"/>
                  </a:cubicBezTo>
                  <a:cubicBezTo>
                    <a:pt x="46050" y="158589"/>
                    <a:pt x="45655" y="158789"/>
                    <a:pt x="45237" y="159000"/>
                  </a:cubicBezTo>
                  <a:cubicBezTo>
                    <a:pt x="45106" y="159066"/>
                    <a:pt x="44974" y="159139"/>
                    <a:pt x="44842" y="159209"/>
                  </a:cubicBezTo>
                  <a:cubicBezTo>
                    <a:pt x="44807" y="159203"/>
                    <a:pt x="44770" y="159200"/>
                    <a:pt x="44735" y="159193"/>
                  </a:cubicBezTo>
                  <a:cubicBezTo>
                    <a:pt x="42943" y="158882"/>
                    <a:pt x="40954" y="158959"/>
                    <a:pt x="38980" y="159411"/>
                  </a:cubicBezTo>
                  <a:cubicBezTo>
                    <a:pt x="37670" y="159713"/>
                    <a:pt x="36464" y="160542"/>
                    <a:pt x="35585" y="161745"/>
                  </a:cubicBezTo>
                  <a:cubicBezTo>
                    <a:pt x="34912" y="162667"/>
                    <a:pt x="34577" y="163930"/>
                    <a:pt x="34667" y="165212"/>
                  </a:cubicBezTo>
                  <a:cubicBezTo>
                    <a:pt x="34739" y="166252"/>
                    <a:pt x="35110" y="167274"/>
                    <a:pt x="35768" y="168250"/>
                  </a:cubicBezTo>
                  <a:cubicBezTo>
                    <a:pt x="36214" y="168912"/>
                    <a:pt x="36845" y="169449"/>
                    <a:pt x="37575" y="169827"/>
                  </a:cubicBezTo>
                  <a:cubicBezTo>
                    <a:pt x="37215" y="170338"/>
                    <a:pt x="36938" y="170935"/>
                    <a:pt x="36761" y="171651"/>
                  </a:cubicBezTo>
                  <a:cubicBezTo>
                    <a:pt x="36659" y="172060"/>
                    <a:pt x="36633" y="172454"/>
                    <a:pt x="36607" y="172834"/>
                  </a:cubicBezTo>
                  <a:lnTo>
                    <a:pt x="36582" y="173169"/>
                  </a:lnTo>
                  <a:cubicBezTo>
                    <a:pt x="36546" y="173587"/>
                    <a:pt x="36252" y="174046"/>
                    <a:pt x="35833" y="174338"/>
                  </a:cubicBezTo>
                  <a:cubicBezTo>
                    <a:pt x="35347" y="174677"/>
                    <a:pt x="34939" y="175100"/>
                    <a:pt x="34545" y="175511"/>
                  </a:cubicBezTo>
                  <a:cubicBezTo>
                    <a:pt x="34354" y="175708"/>
                    <a:pt x="34166" y="175905"/>
                    <a:pt x="33974" y="176083"/>
                  </a:cubicBezTo>
                  <a:cubicBezTo>
                    <a:pt x="33037" y="176948"/>
                    <a:pt x="32493" y="178333"/>
                    <a:pt x="32555" y="179697"/>
                  </a:cubicBezTo>
                  <a:lnTo>
                    <a:pt x="32564" y="179918"/>
                  </a:lnTo>
                  <a:cubicBezTo>
                    <a:pt x="32592" y="180616"/>
                    <a:pt x="32622" y="181405"/>
                    <a:pt x="33024" y="182132"/>
                  </a:cubicBezTo>
                  <a:cubicBezTo>
                    <a:pt x="33215" y="182477"/>
                    <a:pt x="33476" y="182950"/>
                    <a:pt x="33899" y="183263"/>
                  </a:cubicBezTo>
                  <a:cubicBezTo>
                    <a:pt x="34070" y="183390"/>
                    <a:pt x="34206" y="183604"/>
                    <a:pt x="34253" y="183820"/>
                  </a:cubicBezTo>
                  <a:cubicBezTo>
                    <a:pt x="34323" y="184144"/>
                    <a:pt x="34048" y="184540"/>
                    <a:pt x="33739" y="184765"/>
                  </a:cubicBezTo>
                  <a:cubicBezTo>
                    <a:pt x="33537" y="184912"/>
                    <a:pt x="33268" y="185026"/>
                    <a:pt x="32983" y="185146"/>
                  </a:cubicBezTo>
                  <a:cubicBezTo>
                    <a:pt x="32580" y="185317"/>
                    <a:pt x="32122" y="185511"/>
                    <a:pt x="31717" y="185856"/>
                  </a:cubicBezTo>
                  <a:cubicBezTo>
                    <a:pt x="30854" y="186591"/>
                    <a:pt x="29906" y="187501"/>
                    <a:pt x="29407" y="188681"/>
                  </a:cubicBezTo>
                  <a:cubicBezTo>
                    <a:pt x="28924" y="189825"/>
                    <a:pt x="28935" y="191095"/>
                    <a:pt x="28944" y="192215"/>
                  </a:cubicBezTo>
                  <a:cubicBezTo>
                    <a:pt x="28946" y="192425"/>
                    <a:pt x="28947" y="192633"/>
                    <a:pt x="28946" y="192839"/>
                  </a:cubicBezTo>
                  <a:cubicBezTo>
                    <a:pt x="28938" y="193937"/>
                    <a:pt x="29408" y="194953"/>
                    <a:pt x="29917" y="195888"/>
                  </a:cubicBezTo>
                  <a:cubicBezTo>
                    <a:pt x="30279" y="196553"/>
                    <a:pt x="30896" y="196983"/>
                    <a:pt x="31303" y="197267"/>
                  </a:cubicBezTo>
                  <a:cubicBezTo>
                    <a:pt x="31883" y="197673"/>
                    <a:pt x="32667" y="198164"/>
                    <a:pt x="33593" y="198366"/>
                  </a:cubicBezTo>
                  <a:cubicBezTo>
                    <a:pt x="34386" y="198538"/>
                    <a:pt x="35169" y="198573"/>
                    <a:pt x="35925" y="198606"/>
                  </a:cubicBezTo>
                  <a:cubicBezTo>
                    <a:pt x="37617" y="198678"/>
                    <a:pt x="39283" y="198548"/>
                    <a:pt x="40887" y="198213"/>
                  </a:cubicBezTo>
                  <a:cubicBezTo>
                    <a:pt x="41523" y="198080"/>
                    <a:pt x="42093" y="197900"/>
                    <a:pt x="42579" y="197679"/>
                  </a:cubicBezTo>
                  <a:cubicBezTo>
                    <a:pt x="42875" y="197544"/>
                    <a:pt x="43278" y="197512"/>
                    <a:pt x="43704" y="197478"/>
                  </a:cubicBezTo>
                  <a:cubicBezTo>
                    <a:pt x="44072" y="197449"/>
                    <a:pt x="44452" y="197420"/>
                    <a:pt x="44839" y="197323"/>
                  </a:cubicBezTo>
                  <a:cubicBezTo>
                    <a:pt x="46338" y="196952"/>
                    <a:pt x="47719" y="196191"/>
                    <a:pt x="48833" y="195118"/>
                  </a:cubicBezTo>
                  <a:cubicBezTo>
                    <a:pt x="48923" y="195032"/>
                    <a:pt x="49007" y="194942"/>
                    <a:pt x="49091" y="194851"/>
                  </a:cubicBezTo>
                  <a:cubicBezTo>
                    <a:pt x="49208" y="194725"/>
                    <a:pt x="49309" y="194616"/>
                    <a:pt x="49406" y="194549"/>
                  </a:cubicBezTo>
                  <a:lnTo>
                    <a:pt x="50222" y="193982"/>
                  </a:lnTo>
                  <a:cubicBezTo>
                    <a:pt x="50925" y="193496"/>
                    <a:pt x="52060" y="193543"/>
                    <a:pt x="53064" y="193584"/>
                  </a:cubicBezTo>
                  <a:lnTo>
                    <a:pt x="54814" y="193659"/>
                  </a:lnTo>
                  <a:cubicBezTo>
                    <a:pt x="57423" y="193771"/>
                    <a:pt x="60119" y="193884"/>
                    <a:pt x="62787" y="193882"/>
                  </a:cubicBezTo>
                  <a:cubicBezTo>
                    <a:pt x="64365" y="193878"/>
                    <a:pt x="65959" y="193823"/>
                    <a:pt x="67501" y="193771"/>
                  </a:cubicBezTo>
                  <a:cubicBezTo>
                    <a:pt x="69085" y="193717"/>
                    <a:pt x="70724" y="193661"/>
                    <a:pt x="72333" y="193661"/>
                  </a:cubicBezTo>
                  <a:cubicBezTo>
                    <a:pt x="74943" y="193661"/>
                    <a:pt x="77514" y="193917"/>
                    <a:pt x="79971" y="194398"/>
                  </a:cubicBezTo>
                  <a:cubicBezTo>
                    <a:pt x="79870" y="194402"/>
                    <a:pt x="79769" y="194406"/>
                    <a:pt x="79667" y="194411"/>
                  </a:cubicBezTo>
                  <a:cubicBezTo>
                    <a:pt x="78074" y="194473"/>
                    <a:pt x="76427" y="194537"/>
                    <a:pt x="74834" y="194663"/>
                  </a:cubicBezTo>
                  <a:cubicBezTo>
                    <a:pt x="74446" y="194694"/>
                    <a:pt x="74045" y="194746"/>
                    <a:pt x="73639" y="194800"/>
                  </a:cubicBezTo>
                  <a:cubicBezTo>
                    <a:pt x="72899" y="194898"/>
                    <a:pt x="72136" y="194999"/>
                    <a:pt x="71470" y="194946"/>
                  </a:cubicBezTo>
                  <a:cubicBezTo>
                    <a:pt x="70570" y="194874"/>
                    <a:pt x="69665" y="194965"/>
                    <a:pt x="68788" y="195054"/>
                  </a:cubicBezTo>
                  <a:lnTo>
                    <a:pt x="67088" y="195218"/>
                  </a:lnTo>
                  <a:cubicBezTo>
                    <a:pt x="65798" y="195343"/>
                    <a:pt x="64463" y="195471"/>
                    <a:pt x="63151" y="195521"/>
                  </a:cubicBezTo>
                  <a:cubicBezTo>
                    <a:pt x="60220" y="195632"/>
                    <a:pt x="56996" y="196120"/>
                    <a:pt x="53005" y="197057"/>
                  </a:cubicBezTo>
                  <a:cubicBezTo>
                    <a:pt x="52534" y="197168"/>
                    <a:pt x="52059" y="197294"/>
                    <a:pt x="51582" y="197421"/>
                  </a:cubicBezTo>
                  <a:cubicBezTo>
                    <a:pt x="50762" y="197638"/>
                    <a:pt x="49916" y="197864"/>
                    <a:pt x="49107" y="197997"/>
                  </a:cubicBezTo>
                  <a:cubicBezTo>
                    <a:pt x="48641" y="198074"/>
                    <a:pt x="48169" y="198162"/>
                    <a:pt x="47696" y="198250"/>
                  </a:cubicBezTo>
                  <a:cubicBezTo>
                    <a:pt x="46937" y="198393"/>
                    <a:pt x="46151" y="198541"/>
                    <a:pt x="45402" y="198633"/>
                  </a:cubicBezTo>
                  <a:cubicBezTo>
                    <a:pt x="44706" y="198718"/>
                    <a:pt x="43987" y="198950"/>
                    <a:pt x="43368" y="199162"/>
                  </a:cubicBezTo>
                  <a:lnTo>
                    <a:pt x="42426" y="199482"/>
                  </a:lnTo>
                  <a:cubicBezTo>
                    <a:pt x="40644" y="200085"/>
                    <a:pt x="38961" y="200656"/>
                    <a:pt x="37219" y="201408"/>
                  </a:cubicBezTo>
                  <a:cubicBezTo>
                    <a:pt x="36386" y="201767"/>
                    <a:pt x="35525" y="202139"/>
                    <a:pt x="34665" y="202397"/>
                  </a:cubicBezTo>
                  <a:cubicBezTo>
                    <a:pt x="33788" y="202658"/>
                    <a:pt x="32850" y="202819"/>
                    <a:pt x="31943" y="202976"/>
                  </a:cubicBezTo>
                  <a:lnTo>
                    <a:pt x="31851" y="202991"/>
                  </a:lnTo>
                  <a:cubicBezTo>
                    <a:pt x="31365" y="203074"/>
                    <a:pt x="30815" y="203168"/>
                    <a:pt x="30305" y="203339"/>
                  </a:cubicBezTo>
                  <a:cubicBezTo>
                    <a:pt x="29689" y="203545"/>
                    <a:pt x="29030" y="203706"/>
                    <a:pt x="28400" y="203806"/>
                  </a:cubicBezTo>
                  <a:cubicBezTo>
                    <a:pt x="28014" y="203868"/>
                    <a:pt x="27575" y="203947"/>
                    <a:pt x="27194" y="204039"/>
                  </a:cubicBezTo>
                  <a:cubicBezTo>
                    <a:pt x="25636" y="204414"/>
                    <a:pt x="23358" y="205078"/>
                    <a:pt x="21570" y="206509"/>
                  </a:cubicBezTo>
                  <a:cubicBezTo>
                    <a:pt x="21269" y="206751"/>
                    <a:pt x="20982" y="206997"/>
                    <a:pt x="20696" y="207242"/>
                  </a:cubicBezTo>
                  <a:cubicBezTo>
                    <a:pt x="20356" y="207534"/>
                    <a:pt x="20018" y="207826"/>
                    <a:pt x="19653" y="208106"/>
                  </a:cubicBezTo>
                  <a:cubicBezTo>
                    <a:pt x="19159" y="208485"/>
                    <a:pt x="18655" y="208896"/>
                    <a:pt x="18157" y="209302"/>
                  </a:cubicBezTo>
                  <a:cubicBezTo>
                    <a:pt x="17850" y="209552"/>
                    <a:pt x="17544" y="209801"/>
                    <a:pt x="17245" y="210039"/>
                  </a:cubicBezTo>
                  <a:cubicBezTo>
                    <a:pt x="17034" y="210207"/>
                    <a:pt x="16829" y="210382"/>
                    <a:pt x="16624" y="210557"/>
                  </a:cubicBezTo>
                  <a:cubicBezTo>
                    <a:pt x="16211" y="210908"/>
                    <a:pt x="15822" y="211241"/>
                    <a:pt x="15401" y="211499"/>
                  </a:cubicBezTo>
                  <a:cubicBezTo>
                    <a:pt x="13981" y="212370"/>
                    <a:pt x="12441" y="213074"/>
                    <a:pt x="10825" y="213591"/>
                  </a:cubicBezTo>
                  <a:lnTo>
                    <a:pt x="10454" y="213708"/>
                  </a:lnTo>
                  <a:cubicBezTo>
                    <a:pt x="10010" y="213849"/>
                    <a:pt x="9560" y="213992"/>
                    <a:pt x="9127" y="214147"/>
                  </a:cubicBezTo>
                  <a:cubicBezTo>
                    <a:pt x="8658" y="214315"/>
                    <a:pt x="8182" y="214591"/>
                    <a:pt x="7627" y="215016"/>
                  </a:cubicBezTo>
                  <a:cubicBezTo>
                    <a:pt x="6644" y="215771"/>
                    <a:pt x="6085" y="216857"/>
                    <a:pt x="5598" y="217906"/>
                  </a:cubicBezTo>
                  <a:cubicBezTo>
                    <a:pt x="5109" y="218956"/>
                    <a:pt x="5018" y="220083"/>
                    <a:pt x="4993" y="221145"/>
                  </a:cubicBezTo>
                  <a:cubicBezTo>
                    <a:pt x="4974" y="221891"/>
                    <a:pt x="5262" y="222671"/>
                    <a:pt x="5847" y="223462"/>
                  </a:cubicBezTo>
                  <a:cubicBezTo>
                    <a:pt x="6119" y="223830"/>
                    <a:pt x="6467" y="224100"/>
                    <a:pt x="6816" y="224306"/>
                  </a:cubicBezTo>
                  <a:lnTo>
                    <a:pt x="6096" y="224568"/>
                  </a:lnTo>
                  <a:cubicBezTo>
                    <a:pt x="5393" y="224825"/>
                    <a:pt x="4594" y="225168"/>
                    <a:pt x="3996" y="225769"/>
                  </a:cubicBezTo>
                  <a:cubicBezTo>
                    <a:pt x="3508" y="226259"/>
                    <a:pt x="2854" y="227049"/>
                    <a:pt x="2513" y="228032"/>
                  </a:cubicBezTo>
                  <a:cubicBezTo>
                    <a:pt x="2456" y="228195"/>
                    <a:pt x="2389" y="228357"/>
                    <a:pt x="2322" y="228520"/>
                  </a:cubicBezTo>
                  <a:cubicBezTo>
                    <a:pt x="2291" y="228595"/>
                    <a:pt x="2261" y="228680"/>
                    <a:pt x="2229" y="228759"/>
                  </a:cubicBezTo>
                  <a:cubicBezTo>
                    <a:pt x="2025" y="228953"/>
                    <a:pt x="1864" y="229139"/>
                    <a:pt x="1770" y="229257"/>
                  </a:cubicBezTo>
                  <a:cubicBezTo>
                    <a:pt x="1498" y="229595"/>
                    <a:pt x="1539" y="230069"/>
                    <a:pt x="1831" y="230374"/>
                  </a:cubicBezTo>
                  <a:cubicBezTo>
                    <a:pt x="1698" y="231455"/>
                    <a:pt x="1710" y="232543"/>
                    <a:pt x="2267" y="233461"/>
                  </a:cubicBezTo>
                  <a:lnTo>
                    <a:pt x="2723" y="234206"/>
                  </a:lnTo>
                  <a:cubicBezTo>
                    <a:pt x="3000" y="234664"/>
                    <a:pt x="3474" y="234825"/>
                    <a:pt x="3681" y="234894"/>
                  </a:cubicBezTo>
                  <a:cubicBezTo>
                    <a:pt x="3729" y="234909"/>
                    <a:pt x="3775" y="234924"/>
                    <a:pt x="3821" y="234938"/>
                  </a:cubicBezTo>
                  <a:cubicBezTo>
                    <a:pt x="3549" y="235306"/>
                    <a:pt x="3351" y="235716"/>
                    <a:pt x="3155" y="236123"/>
                  </a:cubicBezTo>
                  <a:cubicBezTo>
                    <a:pt x="2958" y="236529"/>
                    <a:pt x="2814" y="236987"/>
                    <a:pt x="2715" y="237507"/>
                  </a:cubicBezTo>
                  <a:cubicBezTo>
                    <a:pt x="2670" y="237579"/>
                    <a:pt x="2626" y="237653"/>
                    <a:pt x="2592" y="237736"/>
                  </a:cubicBezTo>
                  <a:cubicBezTo>
                    <a:pt x="2500" y="237959"/>
                    <a:pt x="2511" y="238200"/>
                    <a:pt x="2601" y="238407"/>
                  </a:cubicBezTo>
                  <a:cubicBezTo>
                    <a:pt x="2541" y="239182"/>
                    <a:pt x="2589" y="239883"/>
                    <a:pt x="2759" y="240486"/>
                  </a:cubicBezTo>
                  <a:cubicBezTo>
                    <a:pt x="2985" y="241281"/>
                    <a:pt x="3333" y="241836"/>
                    <a:pt x="3809" y="242197"/>
                  </a:cubicBezTo>
                  <a:cubicBezTo>
                    <a:pt x="3863" y="242479"/>
                    <a:pt x="4044" y="242731"/>
                    <a:pt x="4333" y="242840"/>
                  </a:cubicBezTo>
                  <a:cubicBezTo>
                    <a:pt x="4578" y="242932"/>
                    <a:pt x="4828" y="242991"/>
                    <a:pt x="5075" y="243027"/>
                  </a:cubicBezTo>
                  <a:cubicBezTo>
                    <a:pt x="5148" y="243063"/>
                    <a:pt x="5221" y="243096"/>
                    <a:pt x="5294" y="243133"/>
                  </a:cubicBezTo>
                  <a:cubicBezTo>
                    <a:pt x="5590" y="243281"/>
                    <a:pt x="5927" y="243450"/>
                    <a:pt x="6290" y="243560"/>
                  </a:cubicBezTo>
                  <a:cubicBezTo>
                    <a:pt x="5830" y="243724"/>
                    <a:pt x="5409" y="243948"/>
                    <a:pt x="4999" y="244167"/>
                  </a:cubicBezTo>
                  <a:cubicBezTo>
                    <a:pt x="4751" y="244299"/>
                    <a:pt x="4503" y="244433"/>
                    <a:pt x="4252" y="244545"/>
                  </a:cubicBezTo>
                  <a:cubicBezTo>
                    <a:pt x="4027" y="244645"/>
                    <a:pt x="3688" y="244717"/>
                    <a:pt x="3417" y="244767"/>
                  </a:cubicBezTo>
                  <a:cubicBezTo>
                    <a:pt x="2776" y="244888"/>
                    <a:pt x="2164" y="245141"/>
                    <a:pt x="1648" y="245496"/>
                  </a:cubicBezTo>
                  <a:cubicBezTo>
                    <a:pt x="977" y="245960"/>
                    <a:pt x="699" y="246619"/>
                    <a:pt x="475" y="247150"/>
                  </a:cubicBezTo>
                  <a:cubicBezTo>
                    <a:pt x="251" y="247679"/>
                    <a:pt x="94" y="248274"/>
                    <a:pt x="30" y="248826"/>
                  </a:cubicBezTo>
                  <a:cubicBezTo>
                    <a:pt x="-61" y="249612"/>
                    <a:pt x="57" y="250408"/>
                    <a:pt x="360" y="251070"/>
                  </a:cubicBezTo>
                  <a:cubicBezTo>
                    <a:pt x="501" y="251375"/>
                    <a:pt x="625" y="251630"/>
                    <a:pt x="781" y="251927"/>
                  </a:cubicBezTo>
                  <a:cubicBezTo>
                    <a:pt x="1416" y="253141"/>
                    <a:pt x="2638" y="253834"/>
                    <a:pt x="3310" y="254139"/>
                  </a:cubicBezTo>
                  <a:cubicBezTo>
                    <a:pt x="3357" y="254160"/>
                    <a:pt x="3405" y="254176"/>
                    <a:pt x="3452" y="254196"/>
                  </a:cubicBezTo>
                  <a:cubicBezTo>
                    <a:pt x="3591" y="254425"/>
                    <a:pt x="3821" y="254594"/>
                    <a:pt x="4108" y="254615"/>
                  </a:cubicBezTo>
                  <a:lnTo>
                    <a:pt x="4297" y="254630"/>
                  </a:lnTo>
                  <a:cubicBezTo>
                    <a:pt x="4511" y="254647"/>
                    <a:pt x="4747" y="254666"/>
                    <a:pt x="4993" y="254666"/>
                  </a:cubicBezTo>
                  <a:cubicBezTo>
                    <a:pt x="5035" y="254666"/>
                    <a:pt x="5079" y="254657"/>
                    <a:pt x="5121" y="254656"/>
                  </a:cubicBezTo>
                  <a:cubicBezTo>
                    <a:pt x="5118" y="254659"/>
                    <a:pt x="5114" y="254663"/>
                    <a:pt x="5110" y="254666"/>
                  </a:cubicBezTo>
                  <a:lnTo>
                    <a:pt x="4935" y="254817"/>
                  </a:lnTo>
                  <a:cubicBezTo>
                    <a:pt x="4300" y="255359"/>
                    <a:pt x="3732" y="256012"/>
                    <a:pt x="3289" y="256708"/>
                  </a:cubicBezTo>
                  <a:cubicBezTo>
                    <a:pt x="2982" y="257192"/>
                    <a:pt x="2808" y="257730"/>
                    <a:pt x="2655" y="258204"/>
                  </a:cubicBezTo>
                  <a:cubicBezTo>
                    <a:pt x="2590" y="258405"/>
                    <a:pt x="2526" y="258604"/>
                    <a:pt x="2452" y="258796"/>
                  </a:cubicBezTo>
                  <a:cubicBezTo>
                    <a:pt x="2181" y="259494"/>
                    <a:pt x="2020" y="260222"/>
                    <a:pt x="1960" y="261017"/>
                  </a:cubicBezTo>
                  <a:cubicBezTo>
                    <a:pt x="1895" y="261866"/>
                    <a:pt x="1936" y="263094"/>
                    <a:pt x="2495" y="264136"/>
                  </a:cubicBezTo>
                  <a:cubicBezTo>
                    <a:pt x="2612" y="264353"/>
                    <a:pt x="2721" y="264592"/>
                    <a:pt x="2832" y="264833"/>
                  </a:cubicBezTo>
                  <a:cubicBezTo>
                    <a:pt x="2838" y="264845"/>
                    <a:pt x="2844" y="264857"/>
                    <a:pt x="2850" y="264869"/>
                  </a:cubicBezTo>
                  <a:cubicBezTo>
                    <a:pt x="2859" y="264897"/>
                    <a:pt x="2870" y="264924"/>
                    <a:pt x="2880" y="264952"/>
                  </a:cubicBezTo>
                  <a:cubicBezTo>
                    <a:pt x="2951" y="265149"/>
                    <a:pt x="3024" y="265345"/>
                    <a:pt x="3118" y="265531"/>
                  </a:cubicBezTo>
                  <a:cubicBezTo>
                    <a:pt x="3369" y="266020"/>
                    <a:pt x="3667" y="266434"/>
                    <a:pt x="4005" y="266763"/>
                  </a:cubicBezTo>
                  <a:cubicBezTo>
                    <a:pt x="4169" y="266923"/>
                    <a:pt x="4376" y="267074"/>
                    <a:pt x="4573" y="267213"/>
                  </a:cubicBezTo>
                  <a:lnTo>
                    <a:pt x="4715" y="267314"/>
                  </a:lnTo>
                  <a:cubicBezTo>
                    <a:pt x="4912" y="267459"/>
                    <a:pt x="5117" y="267573"/>
                    <a:pt x="5332" y="267661"/>
                  </a:cubicBezTo>
                  <a:cubicBezTo>
                    <a:pt x="5485" y="267745"/>
                    <a:pt x="5639" y="267825"/>
                    <a:pt x="5788" y="267902"/>
                  </a:cubicBezTo>
                  <a:lnTo>
                    <a:pt x="6153" y="268091"/>
                  </a:lnTo>
                  <a:cubicBezTo>
                    <a:pt x="7234" y="268667"/>
                    <a:pt x="8497" y="269010"/>
                    <a:pt x="9709" y="269060"/>
                  </a:cubicBezTo>
                  <a:lnTo>
                    <a:pt x="9767" y="269062"/>
                  </a:lnTo>
                  <a:lnTo>
                    <a:pt x="9825" y="269056"/>
                  </a:lnTo>
                  <a:cubicBezTo>
                    <a:pt x="10180" y="269023"/>
                    <a:pt x="10539" y="268994"/>
                    <a:pt x="10900" y="268964"/>
                  </a:cubicBezTo>
                  <a:cubicBezTo>
                    <a:pt x="11899" y="268882"/>
                    <a:pt x="12933" y="268798"/>
                    <a:pt x="13939" y="268611"/>
                  </a:cubicBezTo>
                  <a:cubicBezTo>
                    <a:pt x="15058" y="268403"/>
                    <a:pt x="15881" y="268062"/>
                    <a:pt x="16530" y="267539"/>
                  </a:cubicBezTo>
                  <a:cubicBezTo>
                    <a:pt x="16695" y="267407"/>
                    <a:pt x="16934" y="267301"/>
                    <a:pt x="17172" y="267256"/>
                  </a:cubicBezTo>
                  <a:cubicBezTo>
                    <a:pt x="17391" y="267214"/>
                    <a:pt x="17619" y="267162"/>
                    <a:pt x="17849" y="267108"/>
                  </a:cubicBezTo>
                  <a:cubicBezTo>
                    <a:pt x="18171" y="267034"/>
                    <a:pt x="18498" y="266957"/>
                    <a:pt x="18808" y="266918"/>
                  </a:cubicBezTo>
                  <a:cubicBezTo>
                    <a:pt x="19650" y="266814"/>
                    <a:pt x="20452" y="266539"/>
                    <a:pt x="21228" y="266273"/>
                  </a:cubicBezTo>
                  <a:cubicBezTo>
                    <a:pt x="21482" y="266187"/>
                    <a:pt x="21733" y="266102"/>
                    <a:pt x="21982" y="266023"/>
                  </a:cubicBezTo>
                  <a:cubicBezTo>
                    <a:pt x="23591" y="265518"/>
                    <a:pt x="25010" y="264529"/>
                    <a:pt x="26304" y="263535"/>
                  </a:cubicBezTo>
                  <a:cubicBezTo>
                    <a:pt x="26550" y="263346"/>
                    <a:pt x="26797" y="263147"/>
                    <a:pt x="27045" y="262946"/>
                  </a:cubicBezTo>
                  <a:cubicBezTo>
                    <a:pt x="27624" y="262479"/>
                    <a:pt x="28223" y="261996"/>
                    <a:pt x="28822" y="261646"/>
                  </a:cubicBezTo>
                  <a:cubicBezTo>
                    <a:pt x="30379" y="260736"/>
                    <a:pt x="31520" y="259789"/>
                    <a:pt x="32311" y="258749"/>
                  </a:cubicBezTo>
                  <a:lnTo>
                    <a:pt x="32424" y="258600"/>
                  </a:lnTo>
                  <a:cubicBezTo>
                    <a:pt x="32781" y="258128"/>
                    <a:pt x="33186" y="257592"/>
                    <a:pt x="33598" y="257455"/>
                  </a:cubicBezTo>
                  <a:cubicBezTo>
                    <a:pt x="35113" y="256955"/>
                    <a:pt x="36234" y="256235"/>
                    <a:pt x="36928" y="255316"/>
                  </a:cubicBezTo>
                  <a:lnTo>
                    <a:pt x="37019" y="255195"/>
                  </a:lnTo>
                  <a:cubicBezTo>
                    <a:pt x="37381" y="254715"/>
                    <a:pt x="37791" y="254169"/>
                    <a:pt x="38222" y="253996"/>
                  </a:cubicBezTo>
                  <a:cubicBezTo>
                    <a:pt x="38364" y="253939"/>
                    <a:pt x="38510" y="253871"/>
                    <a:pt x="38659" y="253802"/>
                  </a:cubicBezTo>
                  <a:cubicBezTo>
                    <a:pt x="38956" y="253665"/>
                    <a:pt x="39263" y="253523"/>
                    <a:pt x="39469" y="253517"/>
                  </a:cubicBezTo>
                  <a:cubicBezTo>
                    <a:pt x="40756" y="253480"/>
                    <a:pt x="41943" y="252932"/>
                    <a:pt x="42989" y="252449"/>
                  </a:cubicBezTo>
                  <a:cubicBezTo>
                    <a:pt x="44084" y="251943"/>
                    <a:pt x="45041" y="251482"/>
                    <a:pt x="45832" y="251080"/>
                  </a:cubicBezTo>
                  <a:cubicBezTo>
                    <a:pt x="46134" y="250926"/>
                    <a:pt x="46459" y="250771"/>
                    <a:pt x="46786" y="250615"/>
                  </a:cubicBezTo>
                  <a:cubicBezTo>
                    <a:pt x="47186" y="250425"/>
                    <a:pt x="47587" y="250233"/>
                    <a:pt x="47956" y="250042"/>
                  </a:cubicBezTo>
                  <a:cubicBezTo>
                    <a:pt x="48330" y="249846"/>
                    <a:pt x="48807" y="249640"/>
                    <a:pt x="49213" y="249464"/>
                  </a:cubicBezTo>
                  <a:lnTo>
                    <a:pt x="49359" y="249401"/>
                  </a:lnTo>
                  <a:cubicBezTo>
                    <a:pt x="49498" y="249341"/>
                    <a:pt x="49636" y="249277"/>
                    <a:pt x="49774" y="249212"/>
                  </a:cubicBezTo>
                  <a:cubicBezTo>
                    <a:pt x="50008" y="249103"/>
                    <a:pt x="50229" y="249000"/>
                    <a:pt x="50444" y="248926"/>
                  </a:cubicBezTo>
                  <a:cubicBezTo>
                    <a:pt x="50455" y="248939"/>
                    <a:pt x="50467" y="248952"/>
                    <a:pt x="50478" y="248965"/>
                  </a:cubicBezTo>
                  <a:cubicBezTo>
                    <a:pt x="50556" y="249433"/>
                    <a:pt x="50580" y="249867"/>
                    <a:pt x="50601" y="250418"/>
                  </a:cubicBezTo>
                  <a:cubicBezTo>
                    <a:pt x="50651" y="251731"/>
                    <a:pt x="50765" y="253057"/>
                    <a:pt x="50875" y="254341"/>
                  </a:cubicBezTo>
                  <a:cubicBezTo>
                    <a:pt x="50961" y="255349"/>
                    <a:pt x="51048" y="256357"/>
                    <a:pt x="51104" y="257364"/>
                  </a:cubicBezTo>
                  <a:cubicBezTo>
                    <a:pt x="51238" y="259728"/>
                    <a:pt x="51677" y="262322"/>
                    <a:pt x="52101" y="264832"/>
                  </a:cubicBezTo>
                  <a:cubicBezTo>
                    <a:pt x="52389" y="266536"/>
                    <a:pt x="52662" y="268146"/>
                    <a:pt x="52842" y="269673"/>
                  </a:cubicBezTo>
                  <a:cubicBezTo>
                    <a:pt x="53459" y="274899"/>
                    <a:pt x="54079" y="279319"/>
                    <a:pt x="55099" y="283902"/>
                  </a:cubicBezTo>
                  <a:cubicBezTo>
                    <a:pt x="56196" y="288831"/>
                    <a:pt x="57754" y="292856"/>
                    <a:pt x="59863" y="296210"/>
                  </a:cubicBezTo>
                  <a:cubicBezTo>
                    <a:pt x="60374" y="297022"/>
                    <a:pt x="60863" y="297889"/>
                    <a:pt x="61335" y="298726"/>
                  </a:cubicBezTo>
                  <a:cubicBezTo>
                    <a:pt x="62413" y="300635"/>
                    <a:pt x="63527" y="302611"/>
                    <a:pt x="65063" y="304267"/>
                  </a:cubicBezTo>
                  <a:lnTo>
                    <a:pt x="65232" y="304448"/>
                  </a:lnTo>
                  <a:cubicBezTo>
                    <a:pt x="66824" y="306166"/>
                    <a:pt x="68630" y="308113"/>
                    <a:pt x="70379" y="309657"/>
                  </a:cubicBezTo>
                  <a:cubicBezTo>
                    <a:pt x="72359" y="311404"/>
                    <a:pt x="74594" y="312885"/>
                    <a:pt x="77021" y="314056"/>
                  </a:cubicBezTo>
                  <a:cubicBezTo>
                    <a:pt x="80081" y="315531"/>
                    <a:pt x="83534" y="316426"/>
                    <a:pt x="87006" y="316643"/>
                  </a:cubicBezTo>
                  <a:cubicBezTo>
                    <a:pt x="87676" y="316685"/>
                    <a:pt x="88350" y="316703"/>
                    <a:pt x="89025" y="316703"/>
                  </a:cubicBezTo>
                  <a:cubicBezTo>
                    <a:pt x="90918" y="316703"/>
                    <a:pt x="92824" y="316563"/>
                    <a:pt x="94683" y="316426"/>
                  </a:cubicBezTo>
                  <a:cubicBezTo>
                    <a:pt x="96387" y="316301"/>
                    <a:pt x="98150" y="316173"/>
                    <a:pt x="99846" y="316158"/>
                  </a:cubicBezTo>
                  <a:cubicBezTo>
                    <a:pt x="100964" y="316149"/>
                    <a:pt x="102184" y="316107"/>
                    <a:pt x="103410" y="316066"/>
                  </a:cubicBezTo>
                  <a:cubicBezTo>
                    <a:pt x="104781" y="316019"/>
                    <a:pt x="106199" y="315972"/>
                    <a:pt x="107459" y="315971"/>
                  </a:cubicBezTo>
                  <a:cubicBezTo>
                    <a:pt x="111598" y="315973"/>
                    <a:pt x="115813" y="315973"/>
                    <a:pt x="120027" y="315978"/>
                  </a:cubicBezTo>
                  <a:cubicBezTo>
                    <a:pt x="123493" y="315981"/>
                    <a:pt x="126958" y="315985"/>
                    <a:pt x="130379" y="315985"/>
                  </a:cubicBezTo>
                  <a:cubicBezTo>
                    <a:pt x="131259" y="315985"/>
                    <a:pt x="132138" y="315987"/>
                    <a:pt x="133012" y="315985"/>
                  </a:cubicBezTo>
                  <a:cubicBezTo>
                    <a:pt x="142766" y="315985"/>
                    <a:pt x="152736" y="314657"/>
                    <a:pt x="162382" y="313372"/>
                  </a:cubicBezTo>
                  <a:cubicBezTo>
                    <a:pt x="165366" y="312975"/>
                    <a:pt x="168340" y="312580"/>
                    <a:pt x="171293" y="312223"/>
                  </a:cubicBezTo>
                  <a:cubicBezTo>
                    <a:pt x="172218" y="312112"/>
                    <a:pt x="173157" y="312011"/>
                    <a:pt x="174103" y="311910"/>
                  </a:cubicBezTo>
                  <a:cubicBezTo>
                    <a:pt x="179323" y="311352"/>
                    <a:pt x="184720" y="310775"/>
                    <a:pt x="189293" y="308241"/>
                  </a:cubicBezTo>
                  <a:cubicBezTo>
                    <a:pt x="191898" y="306798"/>
                    <a:pt x="194548" y="304883"/>
                    <a:pt x="197191" y="302545"/>
                  </a:cubicBezTo>
                  <a:cubicBezTo>
                    <a:pt x="198579" y="302742"/>
                    <a:pt x="199964" y="302896"/>
                    <a:pt x="201342" y="302997"/>
                  </a:cubicBezTo>
                  <a:cubicBezTo>
                    <a:pt x="202075" y="303051"/>
                    <a:pt x="202842" y="303048"/>
                    <a:pt x="203583" y="303042"/>
                  </a:cubicBezTo>
                  <a:cubicBezTo>
                    <a:pt x="205068" y="303035"/>
                    <a:pt x="206612" y="303025"/>
                    <a:pt x="207863" y="303492"/>
                  </a:cubicBezTo>
                  <a:cubicBezTo>
                    <a:pt x="210434" y="304453"/>
                    <a:pt x="213390" y="304851"/>
                    <a:pt x="217176" y="304751"/>
                  </a:cubicBezTo>
                  <a:cubicBezTo>
                    <a:pt x="218130" y="304726"/>
                    <a:pt x="219108" y="304785"/>
                    <a:pt x="220143" y="304848"/>
                  </a:cubicBezTo>
                  <a:cubicBezTo>
                    <a:pt x="222342" y="304984"/>
                    <a:pt x="224615" y="305124"/>
                    <a:pt x="226732" y="304392"/>
                  </a:cubicBezTo>
                  <a:cubicBezTo>
                    <a:pt x="227384" y="304166"/>
                    <a:pt x="228077" y="304021"/>
                    <a:pt x="228727" y="303923"/>
                  </a:cubicBezTo>
                  <a:cubicBezTo>
                    <a:pt x="229539" y="304908"/>
                    <a:pt x="230576" y="305909"/>
                    <a:pt x="231904" y="306413"/>
                  </a:cubicBezTo>
                  <a:lnTo>
                    <a:pt x="234862" y="307537"/>
                  </a:lnTo>
                  <a:cubicBezTo>
                    <a:pt x="235197" y="307664"/>
                    <a:pt x="235631" y="307834"/>
                    <a:pt x="236024" y="308027"/>
                  </a:cubicBezTo>
                  <a:cubicBezTo>
                    <a:pt x="240622" y="310287"/>
                    <a:pt x="246016" y="312378"/>
                    <a:pt x="252516" y="314416"/>
                  </a:cubicBezTo>
                  <a:cubicBezTo>
                    <a:pt x="257757" y="316060"/>
                    <a:pt x="264673" y="317953"/>
                    <a:pt x="271683" y="317999"/>
                  </a:cubicBezTo>
                  <a:cubicBezTo>
                    <a:pt x="273864" y="318013"/>
                    <a:pt x="276041" y="318022"/>
                    <a:pt x="278219" y="318031"/>
                  </a:cubicBezTo>
                  <a:cubicBezTo>
                    <a:pt x="279214" y="318036"/>
                    <a:pt x="280211" y="318042"/>
                    <a:pt x="281207" y="318046"/>
                  </a:cubicBezTo>
                  <a:cubicBezTo>
                    <a:pt x="282396" y="319971"/>
                    <a:pt x="284068" y="321519"/>
                    <a:pt x="285699" y="322942"/>
                  </a:cubicBezTo>
                  <a:cubicBezTo>
                    <a:pt x="286237" y="323412"/>
                    <a:pt x="286767" y="323892"/>
                    <a:pt x="287295" y="324371"/>
                  </a:cubicBezTo>
                  <a:cubicBezTo>
                    <a:pt x="289129" y="326032"/>
                    <a:pt x="291025" y="327750"/>
                    <a:pt x="293261" y="329020"/>
                  </a:cubicBezTo>
                  <a:cubicBezTo>
                    <a:pt x="299631" y="332637"/>
                    <a:pt x="308090" y="336862"/>
                    <a:pt x="317035" y="337438"/>
                  </a:cubicBezTo>
                  <a:cubicBezTo>
                    <a:pt x="319447" y="337592"/>
                    <a:pt x="321862" y="337734"/>
                    <a:pt x="324277" y="337873"/>
                  </a:cubicBezTo>
                  <a:cubicBezTo>
                    <a:pt x="326688" y="338014"/>
                    <a:pt x="329099" y="338154"/>
                    <a:pt x="331577" y="338311"/>
                  </a:cubicBezTo>
                  <a:cubicBezTo>
                    <a:pt x="333150" y="338284"/>
                    <a:pt x="334748" y="338290"/>
                    <a:pt x="336347" y="338293"/>
                  </a:cubicBezTo>
                  <a:cubicBezTo>
                    <a:pt x="338051" y="338298"/>
                    <a:pt x="339755" y="338302"/>
                    <a:pt x="341432" y="338270"/>
                  </a:cubicBezTo>
                  <a:cubicBezTo>
                    <a:pt x="343441" y="338232"/>
                    <a:pt x="345472" y="338185"/>
                    <a:pt x="347507" y="338139"/>
                  </a:cubicBezTo>
                  <a:cubicBezTo>
                    <a:pt x="350979" y="338058"/>
                    <a:pt x="354570" y="337974"/>
                    <a:pt x="358047" y="337939"/>
                  </a:cubicBezTo>
                  <a:cubicBezTo>
                    <a:pt x="369247" y="337825"/>
                    <a:pt x="379836" y="336877"/>
                    <a:pt x="390418" y="335042"/>
                  </a:cubicBezTo>
                  <a:cubicBezTo>
                    <a:pt x="394037" y="334414"/>
                    <a:pt x="397751" y="334080"/>
                    <a:pt x="401161" y="334074"/>
                  </a:cubicBezTo>
                  <a:cubicBezTo>
                    <a:pt x="402714" y="334072"/>
                    <a:pt x="404189" y="333724"/>
                    <a:pt x="405617" y="333388"/>
                  </a:cubicBezTo>
                  <a:cubicBezTo>
                    <a:pt x="406611" y="333154"/>
                    <a:pt x="407550" y="332933"/>
                    <a:pt x="408516" y="332818"/>
                  </a:cubicBezTo>
                  <a:cubicBezTo>
                    <a:pt x="409731" y="332674"/>
                    <a:pt x="410888" y="332129"/>
                    <a:pt x="411772" y="331282"/>
                  </a:cubicBezTo>
                  <a:cubicBezTo>
                    <a:pt x="411812" y="331244"/>
                    <a:pt x="411909" y="331187"/>
                    <a:pt x="411995" y="331135"/>
                  </a:cubicBezTo>
                  <a:cubicBezTo>
                    <a:pt x="412249" y="330985"/>
                    <a:pt x="412598" y="330778"/>
                    <a:pt x="412820" y="330366"/>
                  </a:cubicBezTo>
                  <a:cubicBezTo>
                    <a:pt x="413044" y="329945"/>
                    <a:pt x="413513" y="329666"/>
                    <a:pt x="413953" y="329667"/>
                  </a:cubicBezTo>
                  <a:lnTo>
                    <a:pt x="414015" y="329668"/>
                  </a:lnTo>
                  <a:lnTo>
                    <a:pt x="414077" y="329660"/>
                  </a:lnTo>
                  <a:cubicBezTo>
                    <a:pt x="414120" y="329655"/>
                    <a:pt x="414151" y="329655"/>
                    <a:pt x="414189" y="329651"/>
                  </a:cubicBezTo>
                  <a:cubicBezTo>
                    <a:pt x="414345" y="329851"/>
                    <a:pt x="414576" y="329988"/>
                    <a:pt x="414848" y="329989"/>
                  </a:cubicBezTo>
                  <a:lnTo>
                    <a:pt x="414867" y="329989"/>
                  </a:lnTo>
                  <a:cubicBezTo>
                    <a:pt x="415019" y="329989"/>
                    <a:pt x="415171" y="329979"/>
                    <a:pt x="415321" y="329961"/>
                  </a:cubicBezTo>
                  <a:cubicBezTo>
                    <a:pt x="415688" y="330109"/>
                    <a:pt x="416091" y="330204"/>
                    <a:pt x="416488" y="330222"/>
                  </a:cubicBezTo>
                  <a:cubicBezTo>
                    <a:pt x="417807" y="330278"/>
                    <a:pt x="419015" y="330199"/>
                    <a:pt x="420080" y="329982"/>
                  </a:cubicBezTo>
                  <a:cubicBezTo>
                    <a:pt x="423171" y="329354"/>
                    <a:pt x="426106" y="328236"/>
                    <a:pt x="428946" y="327154"/>
                  </a:cubicBezTo>
                  <a:cubicBezTo>
                    <a:pt x="429720" y="326859"/>
                    <a:pt x="430495" y="326565"/>
                    <a:pt x="431276" y="326277"/>
                  </a:cubicBezTo>
                  <a:cubicBezTo>
                    <a:pt x="433254" y="325550"/>
                    <a:pt x="435009" y="324281"/>
                    <a:pt x="436353" y="322605"/>
                  </a:cubicBezTo>
                  <a:cubicBezTo>
                    <a:pt x="436961" y="321848"/>
                    <a:pt x="437819" y="321308"/>
                    <a:pt x="439057" y="320904"/>
                  </a:cubicBezTo>
                  <a:cubicBezTo>
                    <a:pt x="440725" y="320359"/>
                    <a:pt x="442853" y="320107"/>
                    <a:pt x="445045" y="320192"/>
                  </a:cubicBezTo>
                  <a:cubicBezTo>
                    <a:pt x="445301" y="320202"/>
                    <a:pt x="445560" y="320217"/>
                    <a:pt x="445824" y="320231"/>
                  </a:cubicBezTo>
                  <a:cubicBezTo>
                    <a:pt x="447449" y="320324"/>
                    <a:pt x="449290" y="320424"/>
                    <a:pt x="450811" y="319504"/>
                  </a:cubicBezTo>
                  <a:cubicBezTo>
                    <a:pt x="451831" y="318886"/>
                    <a:pt x="452831" y="318321"/>
                    <a:pt x="453839" y="318196"/>
                  </a:cubicBezTo>
                  <a:cubicBezTo>
                    <a:pt x="455539" y="317986"/>
                    <a:pt x="456913" y="317077"/>
                    <a:pt x="458243" y="316198"/>
                  </a:cubicBezTo>
                  <a:cubicBezTo>
                    <a:pt x="458806" y="315826"/>
                    <a:pt x="459338" y="315474"/>
                    <a:pt x="459892" y="315174"/>
                  </a:cubicBezTo>
                  <a:lnTo>
                    <a:pt x="460666" y="314755"/>
                  </a:lnTo>
                  <a:cubicBezTo>
                    <a:pt x="461356" y="314380"/>
                    <a:pt x="462135" y="314066"/>
                    <a:pt x="462901" y="313841"/>
                  </a:cubicBezTo>
                  <a:cubicBezTo>
                    <a:pt x="462928" y="313844"/>
                    <a:pt x="462955" y="313850"/>
                    <a:pt x="462982" y="313850"/>
                  </a:cubicBezTo>
                  <a:cubicBezTo>
                    <a:pt x="463167" y="313850"/>
                    <a:pt x="463344" y="313783"/>
                    <a:pt x="463491" y="313673"/>
                  </a:cubicBezTo>
                  <a:cubicBezTo>
                    <a:pt x="464397" y="313432"/>
                    <a:pt x="465231" y="313044"/>
                    <a:pt x="465864" y="312723"/>
                  </a:cubicBezTo>
                  <a:lnTo>
                    <a:pt x="467764" y="311760"/>
                  </a:lnTo>
                  <a:cubicBezTo>
                    <a:pt x="468281" y="311497"/>
                    <a:pt x="468703" y="311115"/>
                    <a:pt x="469075" y="310778"/>
                  </a:cubicBezTo>
                  <a:cubicBezTo>
                    <a:pt x="469314" y="310560"/>
                    <a:pt x="469541" y="310355"/>
                    <a:pt x="469770" y="310199"/>
                  </a:cubicBezTo>
                  <a:cubicBezTo>
                    <a:pt x="470437" y="309743"/>
                    <a:pt x="470965" y="309129"/>
                    <a:pt x="471296" y="308421"/>
                  </a:cubicBezTo>
                  <a:cubicBezTo>
                    <a:pt x="471900" y="307128"/>
                    <a:pt x="472056" y="305633"/>
                    <a:pt x="471712" y="304422"/>
                  </a:cubicBezTo>
                  <a:cubicBezTo>
                    <a:pt x="471271" y="302867"/>
                    <a:pt x="470247" y="301646"/>
                    <a:pt x="468973" y="301156"/>
                  </a:cubicBezTo>
                  <a:cubicBezTo>
                    <a:pt x="467657" y="300650"/>
                    <a:pt x="466296" y="300695"/>
                    <a:pt x="464977" y="300733"/>
                  </a:cubicBezTo>
                  <a:cubicBezTo>
                    <a:pt x="463095" y="300790"/>
                    <a:pt x="461636" y="301050"/>
                    <a:pt x="460383" y="301549"/>
                  </a:cubicBezTo>
                  <a:cubicBezTo>
                    <a:pt x="460032" y="301690"/>
                    <a:pt x="459794" y="301763"/>
                    <a:pt x="459571" y="301757"/>
                  </a:cubicBezTo>
                  <a:lnTo>
                    <a:pt x="457978" y="301731"/>
                  </a:lnTo>
                  <a:cubicBezTo>
                    <a:pt x="456947" y="301704"/>
                    <a:pt x="455789" y="301682"/>
                    <a:pt x="454747" y="302133"/>
                  </a:cubicBezTo>
                  <a:cubicBezTo>
                    <a:pt x="454916" y="301753"/>
                    <a:pt x="455116" y="301370"/>
                    <a:pt x="455363" y="301275"/>
                  </a:cubicBezTo>
                  <a:cubicBezTo>
                    <a:pt x="457234" y="300551"/>
                    <a:pt x="458814" y="298898"/>
                    <a:pt x="459391" y="297066"/>
                  </a:cubicBezTo>
                  <a:cubicBezTo>
                    <a:pt x="459698" y="296089"/>
                    <a:pt x="460257" y="295229"/>
                    <a:pt x="460901" y="294286"/>
                  </a:cubicBezTo>
                  <a:cubicBezTo>
                    <a:pt x="461968" y="292723"/>
                    <a:pt x="462607" y="290865"/>
                    <a:pt x="463107" y="289172"/>
                  </a:cubicBezTo>
                  <a:cubicBezTo>
                    <a:pt x="463377" y="288856"/>
                    <a:pt x="463637" y="288532"/>
                    <a:pt x="463875" y="288193"/>
                  </a:cubicBezTo>
                  <a:cubicBezTo>
                    <a:pt x="464507" y="287296"/>
                    <a:pt x="464970" y="286284"/>
                    <a:pt x="465341" y="285241"/>
                  </a:cubicBezTo>
                  <a:cubicBezTo>
                    <a:pt x="465639" y="285372"/>
                    <a:pt x="465935" y="285503"/>
                    <a:pt x="466234" y="285634"/>
                  </a:cubicBezTo>
                  <a:cubicBezTo>
                    <a:pt x="467338" y="286115"/>
                    <a:pt x="468479" y="286614"/>
                    <a:pt x="469562" y="287136"/>
                  </a:cubicBezTo>
                  <a:cubicBezTo>
                    <a:pt x="469702" y="287204"/>
                    <a:pt x="469851" y="287268"/>
                    <a:pt x="470001" y="287331"/>
                  </a:cubicBezTo>
                  <a:cubicBezTo>
                    <a:pt x="470271" y="287446"/>
                    <a:pt x="470527" y="287554"/>
                    <a:pt x="470695" y="287686"/>
                  </a:cubicBezTo>
                  <a:cubicBezTo>
                    <a:pt x="471517" y="288329"/>
                    <a:pt x="472451" y="288707"/>
                    <a:pt x="473354" y="289073"/>
                  </a:cubicBezTo>
                  <a:cubicBezTo>
                    <a:pt x="473605" y="289175"/>
                    <a:pt x="473854" y="289275"/>
                    <a:pt x="474100" y="289382"/>
                  </a:cubicBezTo>
                  <a:cubicBezTo>
                    <a:pt x="474605" y="289602"/>
                    <a:pt x="475113" y="289814"/>
                    <a:pt x="475622" y="290027"/>
                  </a:cubicBezTo>
                  <a:cubicBezTo>
                    <a:pt x="476898" y="290562"/>
                    <a:pt x="478218" y="291115"/>
                    <a:pt x="479444" y="291763"/>
                  </a:cubicBezTo>
                  <a:cubicBezTo>
                    <a:pt x="481753" y="292983"/>
                    <a:pt x="484353" y="293674"/>
                    <a:pt x="486646" y="294285"/>
                  </a:cubicBezTo>
                  <a:cubicBezTo>
                    <a:pt x="487304" y="294459"/>
                    <a:pt x="487908" y="294633"/>
                    <a:pt x="488461" y="294864"/>
                  </a:cubicBezTo>
                  <a:cubicBezTo>
                    <a:pt x="488492" y="294881"/>
                    <a:pt x="488524" y="294890"/>
                    <a:pt x="488557" y="294903"/>
                  </a:cubicBezTo>
                  <a:cubicBezTo>
                    <a:pt x="488745" y="294985"/>
                    <a:pt x="488927" y="295074"/>
                    <a:pt x="489102" y="295175"/>
                  </a:cubicBezTo>
                  <a:cubicBezTo>
                    <a:pt x="490496" y="295973"/>
                    <a:pt x="491912" y="296574"/>
                    <a:pt x="493312" y="296959"/>
                  </a:cubicBezTo>
                  <a:cubicBezTo>
                    <a:pt x="493526" y="297017"/>
                    <a:pt x="493740" y="297064"/>
                    <a:pt x="493952" y="297110"/>
                  </a:cubicBezTo>
                  <a:cubicBezTo>
                    <a:pt x="494304" y="297186"/>
                    <a:pt x="494637" y="297259"/>
                    <a:pt x="494926" y="297389"/>
                  </a:cubicBezTo>
                  <a:lnTo>
                    <a:pt x="496001" y="297863"/>
                  </a:lnTo>
                  <a:cubicBezTo>
                    <a:pt x="496575" y="298115"/>
                    <a:pt x="497153" y="298369"/>
                    <a:pt x="497711" y="298625"/>
                  </a:cubicBezTo>
                  <a:cubicBezTo>
                    <a:pt x="498740" y="299097"/>
                    <a:pt x="499869" y="299335"/>
                    <a:pt x="500737" y="299490"/>
                  </a:cubicBezTo>
                  <a:cubicBezTo>
                    <a:pt x="501528" y="299630"/>
                    <a:pt x="502349" y="299671"/>
                    <a:pt x="503112" y="299604"/>
                  </a:cubicBezTo>
                  <a:cubicBezTo>
                    <a:pt x="503595" y="299562"/>
                    <a:pt x="504071" y="299519"/>
                    <a:pt x="504552" y="299462"/>
                  </a:cubicBezTo>
                  <a:cubicBezTo>
                    <a:pt x="504750" y="299438"/>
                    <a:pt x="505032" y="299416"/>
                    <a:pt x="505192" y="299487"/>
                  </a:cubicBezTo>
                  <a:cubicBezTo>
                    <a:pt x="505286" y="299529"/>
                    <a:pt x="505452" y="299751"/>
                    <a:pt x="505508" y="299825"/>
                  </a:cubicBezTo>
                  <a:lnTo>
                    <a:pt x="506064" y="300573"/>
                  </a:lnTo>
                  <a:cubicBezTo>
                    <a:pt x="506451" y="301096"/>
                    <a:pt x="506841" y="301623"/>
                    <a:pt x="507232" y="302131"/>
                  </a:cubicBezTo>
                  <a:cubicBezTo>
                    <a:pt x="507652" y="302677"/>
                    <a:pt x="508152" y="303305"/>
                    <a:pt x="508680" y="303826"/>
                  </a:cubicBezTo>
                  <a:cubicBezTo>
                    <a:pt x="508963" y="304105"/>
                    <a:pt x="509235" y="304392"/>
                    <a:pt x="509507" y="304678"/>
                  </a:cubicBezTo>
                  <a:cubicBezTo>
                    <a:pt x="510009" y="305207"/>
                    <a:pt x="510529" y="305755"/>
                    <a:pt x="511111" y="306253"/>
                  </a:cubicBezTo>
                  <a:cubicBezTo>
                    <a:pt x="511318" y="306430"/>
                    <a:pt x="511506" y="306632"/>
                    <a:pt x="511696" y="306833"/>
                  </a:cubicBezTo>
                  <a:cubicBezTo>
                    <a:pt x="511891" y="307039"/>
                    <a:pt x="512087" y="307245"/>
                    <a:pt x="512294" y="307432"/>
                  </a:cubicBezTo>
                  <a:cubicBezTo>
                    <a:pt x="512376" y="307506"/>
                    <a:pt x="512462" y="307722"/>
                    <a:pt x="512494" y="307804"/>
                  </a:cubicBezTo>
                  <a:cubicBezTo>
                    <a:pt x="512662" y="308222"/>
                    <a:pt x="512955" y="308512"/>
                    <a:pt x="513191" y="308745"/>
                  </a:cubicBezTo>
                  <a:cubicBezTo>
                    <a:pt x="513261" y="308815"/>
                    <a:pt x="513332" y="308883"/>
                    <a:pt x="513395" y="308955"/>
                  </a:cubicBezTo>
                  <a:cubicBezTo>
                    <a:pt x="514110" y="309771"/>
                    <a:pt x="515116" y="310416"/>
                    <a:pt x="516468" y="310928"/>
                  </a:cubicBezTo>
                  <a:cubicBezTo>
                    <a:pt x="516968" y="311119"/>
                    <a:pt x="517745" y="311326"/>
                    <a:pt x="518589" y="311253"/>
                  </a:cubicBezTo>
                  <a:lnTo>
                    <a:pt x="519113" y="311211"/>
                  </a:lnTo>
                  <a:cubicBezTo>
                    <a:pt x="519734" y="311163"/>
                    <a:pt x="520377" y="311113"/>
                    <a:pt x="521017" y="310969"/>
                  </a:cubicBezTo>
                  <a:cubicBezTo>
                    <a:pt x="521856" y="310779"/>
                    <a:pt x="522678" y="310306"/>
                    <a:pt x="523393" y="309604"/>
                  </a:cubicBezTo>
                  <a:cubicBezTo>
                    <a:pt x="523813" y="309190"/>
                    <a:pt x="524190" y="308671"/>
                    <a:pt x="524482" y="308103"/>
                  </a:cubicBezTo>
                  <a:cubicBezTo>
                    <a:pt x="524567" y="307938"/>
                    <a:pt x="524627" y="307732"/>
                    <a:pt x="524691" y="307516"/>
                  </a:cubicBezTo>
                  <a:cubicBezTo>
                    <a:pt x="524721" y="307412"/>
                    <a:pt x="524748" y="307310"/>
                    <a:pt x="524773" y="307251"/>
                  </a:cubicBezTo>
                  <a:cubicBezTo>
                    <a:pt x="524936" y="306900"/>
                    <a:pt x="524990" y="306598"/>
                    <a:pt x="525034" y="306355"/>
                  </a:cubicBezTo>
                  <a:cubicBezTo>
                    <a:pt x="525063" y="306187"/>
                    <a:pt x="525087" y="306054"/>
                    <a:pt x="525142" y="305909"/>
                  </a:cubicBezTo>
                  <a:cubicBezTo>
                    <a:pt x="525318" y="305445"/>
                    <a:pt x="525391" y="304958"/>
                    <a:pt x="525455" y="304529"/>
                  </a:cubicBezTo>
                  <a:lnTo>
                    <a:pt x="525500" y="304238"/>
                  </a:lnTo>
                  <a:cubicBezTo>
                    <a:pt x="525566" y="303828"/>
                    <a:pt x="525575" y="303404"/>
                    <a:pt x="525577" y="303003"/>
                  </a:cubicBezTo>
                  <a:cubicBezTo>
                    <a:pt x="525582" y="302257"/>
                    <a:pt x="525448" y="301557"/>
                    <a:pt x="525316" y="300970"/>
                  </a:cubicBezTo>
                  <a:cubicBezTo>
                    <a:pt x="525245" y="300653"/>
                    <a:pt x="525141" y="300352"/>
                    <a:pt x="525020" y="300057"/>
                  </a:cubicBezTo>
                  <a:cubicBezTo>
                    <a:pt x="525293" y="300048"/>
                    <a:pt x="525564" y="300012"/>
                    <a:pt x="525828" y="299949"/>
                  </a:cubicBezTo>
                  <a:lnTo>
                    <a:pt x="526076" y="299890"/>
                  </a:lnTo>
                  <a:lnTo>
                    <a:pt x="526095" y="299869"/>
                  </a:lnTo>
                  <a:cubicBezTo>
                    <a:pt x="526124" y="299902"/>
                    <a:pt x="526146" y="299938"/>
                    <a:pt x="526177" y="299971"/>
                  </a:cubicBezTo>
                  <a:cubicBezTo>
                    <a:pt x="526201" y="299996"/>
                    <a:pt x="526234" y="300006"/>
                    <a:pt x="526260" y="300028"/>
                  </a:cubicBezTo>
                  <a:cubicBezTo>
                    <a:pt x="526693" y="300580"/>
                    <a:pt x="527306" y="301028"/>
                    <a:pt x="528180" y="301413"/>
                  </a:cubicBezTo>
                  <a:cubicBezTo>
                    <a:pt x="528248" y="301462"/>
                    <a:pt x="528316" y="301510"/>
                    <a:pt x="528388" y="301553"/>
                  </a:cubicBezTo>
                  <a:cubicBezTo>
                    <a:pt x="528947" y="301882"/>
                    <a:pt x="529594" y="302071"/>
                    <a:pt x="530326" y="302128"/>
                  </a:cubicBezTo>
                  <a:cubicBezTo>
                    <a:pt x="530582" y="302267"/>
                    <a:pt x="530839" y="302422"/>
                    <a:pt x="531091" y="302578"/>
                  </a:cubicBezTo>
                  <a:lnTo>
                    <a:pt x="531462" y="302804"/>
                  </a:lnTo>
                  <a:cubicBezTo>
                    <a:pt x="532369" y="303351"/>
                    <a:pt x="533420" y="303545"/>
                    <a:pt x="534348" y="303718"/>
                  </a:cubicBezTo>
                  <a:cubicBezTo>
                    <a:pt x="534562" y="303758"/>
                    <a:pt x="534778" y="303788"/>
                    <a:pt x="534993" y="303822"/>
                  </a:cubicBezTo>
                  <a:cubicBezTo>
                    <a:pt x="535033" y="304705"/>
                    <a:pt x="535164" y="305603"/>
                    <a:pt x="535486" y="306463"/>
                  </a:cubicBezTo>
                  <a:cubicBezTo>
                    <a:pt x="535716" y="307077"/>
                    <a:pt x="535832" y="307642"/>
                    <a:pt x="535832" y="308142"/>
                  </a:cubicBezTo>
                  <a:cubicBezTo>
                    <a:pt x="535832" y="308296"/>
                    <a:pt x="535841" y="308452"/>
                    <a:pt x="535849" y="308609"/>
                  </a:cubicBezTo>
                  <a:cubicBezTo>
                    <a:pt x="535860" y="308784"/>
                    <a:pt x="535872" y="308959"/>
                    <a:pt x="535860" y="309130"/>
                  </a:cubicBezTo>
                  <a:cubicBezTo>
                    <a:pt x="535768" y="310372"/>
                    <a:pt x="536072" y="311662"/>
                    <a:pt x="536695" y="312667"/>
                  </a:cubicBezTo>
                  <a:cubicBezTo>
                    <a:pt x="537115" y="313344"/>
                    <a:pt x="537750" y="313922"/>
                    <a:pt x="538484" y="314294"/>
                  </a:cubicBezTo>
                  <a:cubicBezTo>
                    <a:pt x="538699" y="314403"/>
                    <a:pt x="538925" y="314504"/>
                    <a:pt x="539150" y="314603"/>
                  </a:cubicBezTo>
                  <a:lnTo>
                    <a:pt x="539493" y="314756"/>
                  </a:lnTo>
                  <a:cubicBezTo>
                    <a:pt x="540206" y="315087"/>
                    <a:pt x="541009" y="315262"/>
                    <a:pt x="541765" y="315262"/>
                  </a:cubicBezTo>
                  <a:lnTo>
                    <a:pt x="541788" y="315262"/>
                  </a:lnTo>
                  <a:cubicBezTo>
                    <a:pt x="542073" y="315279"/>
                    <a:pt x="542354" y="315288"/>
                    <a:pt x="542632" y="315288"/>
                  </a:cubicBezTo>
                  <a:cubicBezTo>
                    <a:pt x="543613" y="315288"/>
                    <a:pt x="544547" y="315178"/>
                    <a:pt x="545418" y="314962"/>
                  </a:cubicBezTo>
                  <a:cubicBezTo>
                    <a:pt x="546159" y="314777"/>
                    <a:pt x="546813" y="314260"/>
                    <a:pt x="547212" y="313545"/>
                  </a:cubicBezTo>
                  <a:cubicBezTo>
                    <a:pt x="547686" y="312695"/>
                    <a:pt x="547974" y="311851"/>
                    <a:pt x="548066" y="311034"/>
                  </a:cubicBezTo>
                  <a:lnTo>
                    <a:pt x="548120" y="310581"/>
                  </a:lnTo>
                  <a:cubicBezTo>
                    <a:pt x="548160" y="310246"/>
                    <a:pt x="548201" y="309901"/>
                    <a:pt x="548231" y="309579"/>
                  </a:cubicBezTo>
                  <a:cubicBezTo>
                    <a:pt x="548255" y="309311"/>
                    <a:pt x="548330" y="309005"/>
                    <a:pt x="548466" y="308654"/>
                  </a:cubicBezTo>
                  <a:cubicBezTo>
                    <a:pt x="548756" y="307911"/>
                    <a:pt x="549084" y="307068"/>
                    <a:pt x="549004" y="306156"/>
                  </a:cubicBezTo>
                  <a:cubicBezTo>
                    <a:pt x="548981" y="305889"/>
                    <a:pt x="549001" y="305666"/>
                    <a:pt x="549067" y="305454"/>
                  </a:cubicBezTo>
                  <a:lnTo>
                    <a:pt x="549327" y="304597"/>
                  </a:lnTo>
                  <a:cubicBezTo>
                    <a:pt x="549352" y="304596"/>
                    <a:pt x="549378" y="304594"/>
                    <a:pt x="549406" y="304592"/>
                  </a:cubicBezTo>
                  <a:lnTo>
                    <a:pt x="550477" y="304597"/>
                  </a:lnTo>
                  <a:lnTo>
                    <a:pt x="550639" y="304582"/>
                  </a:lnTo>
                  <a:cubicBezTo>
                    <a:pt x="550851" y="304542"/>
                    <a:pt x="551057" y="304518"/>
                    <a:pt x="551294" y="304524"/>
                  </a:cubicBezTo>
                  <a:lnTo>
                    <a:pt x="551439" y="304518"/>
                  </a:lnTo>
                  <a:cubicBezTo>
                    <a:pt x="551871" y="304500"/>
                    <a:pt x="552409" y="304479"/>
                    <a:pt x="552890" y="304174"/>
                  </a:cubicBezTo>
                  <a:cubicBezTo>
                    <a:pt x="553130" y="304021"/>
                    <a:pt x="553442" y="303917"/>
                    <a:pt x="553876" y="303845"/>
                  </a:cubicBezTo>
                  <a:cubicBezTo>
                    <a:pt x="554692" y="303707"/>
                    <a:pt x="555520" y="303761"/>
                    <a:pt x="556205" y="303995"/>
                  </a:cubicBezTo>
                  <a:cubicBezTo>
                    <a:pt x="556344" y="304043"/>
                    <a:pt x="556489" y="304096"/>
                    <a:pt x="556634" y="304150"/>
                  </a:cubicBezTo>
                  <a:cubicBezTo>
                    <a:pt x="556644" y="304154"/>
                    <a:pt x="556654" y="304157"/>
                    <a:pt x="556664" y="304161"/>
                  </a:cubicBezTo>
                  <a:cubicBezTo>
                    <a:pt x="557061" y="304363"/>
                    <a:pt x="557522" y="304506"/>
                    <a:pt x="558037" y="304596"/>
                  </a:cubicBezTo>
                  <a:lnTo>
                    <a:pt x="558508" y="304728"/>
                  </a:lnTo>
                  <a:cubicBezTo>
                    <a:pt x="558670" y="304773"/>
                    <a:pt x="558841" y="304862"/>
                    <a:pt x="559004" y="304982"/>
                  </a:cubicBezTo>
                  <a:cubicBezTo>
                    <a:pt x="559493" y="305347"/>
                    <a:pt x="560026" y="305630"/>
                    <a:pt x="560573" y="305913"/>
                  </a:cubicBezTo>
                  <a:lnTo>
                    <a:pt x="561097" y="306185"/>
                  </a:lnTo>
                  <a:cubicBezTo>
                    <a:pt x="561611" y="306453"/>
                    <a:pt x="562121" y="306719"/>
                    <a:pt x="562646" y="306974"/>
                  </a:cubicBezTo>
                  <a:cubicBezTo>
                    <a:pt x="563068" y="307177"/>
                    <a:pt x="563674" y="307499"/>
                    <a:pt x="564070" y="307938"/>
                  </a:cubicBezTo>
                  <a:cubicBezTo>
                    <a:pt x="564262" y="308151"/>
                    <a:pt x="564418" y="308388"/>
                    <a:pt x="564558" y="308611"/>
                  </a:cubicBezTo>
                  <a:cubicBezTo>
                    <a:pt x="565220" y="309669"/>
                    <a:pt x="566198" y="310540"/>
                    <a:pt x="567312" y="311067"/>
                  </a:cubicBezTo>
                  <a:cubicBezTo>
                    <a:pt x="568195" y="311481"/>
                    <a:pt x="569225" y="311598"/>
                    <a:pt x="570370" y="311558"/>
                  </a:cubicBezTo>
                  <a:cubicBezTo>
                    <a:pt x="570571" y="311551"/>
                    <a:pt x="570777" y="311556"/>
                    <a:pt x="570963" y="311545"/>
                  </a:cubicBezTo>
                  <a:cubicBezTo>
                    <a:pt x="572382" y="311545"/>
                    <a:pt x="573735" y="310859"/>
                    <a:pt x="574409" y="309797"/>
                  </a:cubicBezTo>
                  <a:cubicBezTo>
                    <a:pt x="574825" y="309142"/>
                    <a:pt x="575070" y="308361"/>
                    <a:pt x="575116" y="307537"/>
                  </a:cubicBezTo>
                  <a:cubicBezTo>
                    <a:pt x="575140" y="307121"/>
                    <a:pt x="575150" y="306630"/>
                    <a:pt x="575040" y="306146"/>
                  </a:cubicBezTo>
                  <a:lnTo>
                    <a:pt x="574979" y="305898"/>
                  </a:lnTo>
                  <a:cubicBezTo>
                    <a:pt x="574950" y="305788"/>
                    <a:pt x="574920" y="305677"/>
                    <a:pt x="574903" y="305570"/>
                  </a:cubicBezTo>
                  <a:cubicBezTo>
                    <a:pt x="574811" y="304987"/>
                    <a:pt x="574649" y="304242"/>
                    <a:pt x="574208" y="303653"/>
                  </a:cubicBezTo>
                  <a:cubicBezTo>
                    <a:pt x="573758" y="303052"/>
                    <a:pt x="573214" y="302446"/>
                    <a:pt x="572635" y="301900"/>
                  </a:cubicBezTo>
                  <a:cubicBezTo>
                    <a:pt x="572505" y="301778"/>
                    <a:pt x="572373" y="301667"/>
                    <a:pt x="572239" y="301561"/>
                  </a:cubicBezTo>
                  <a:cubicBezTo>
                    <a:pt x="572579" y="301593"/>
                    <a:pt x="572933" y="301608"/>
                    <a:pt x="573298" y="301598"/>
                  </a:cubicBezTo>
                  <a:cubicBezTo>
                    <a:pt x="573740" y="301683"/>
                    <a:pt x="574123" y="301893"/>
                    <a:pt x="574265" y="302131"/>
                  </a:cubicBezTo>
                  <a:cubicBezTo>
                    <a:pt x="574783" y="303001"/>
                    <a:pt x="575505" y="303697"/>
                    <a:pt x="576352" y="304142"/>
                  </a:cubicBezTo>
                  <a:cubicBezTo>
                    <a:pt x="577039" y="304503"/>
                    <a:pt x="577871" y="304702"/>
                    <a:pt x="578803" y="304720"/>
                  </a:cubicBezTo>
                  <a:cubicBezTo>
                    <a:pt x="578900" y="304717"/>
                    <a:pt x="578989" y="304720"/>
                    <a:pt x="579080" y="304722"/>
                  </a:cubicBezTo>
                  <a:cubicBezTo>
                    <a:pt x="579205" y="304726"/>
                    <a:pt x="579328" y="304728"/>
                    <a:pt x="579373" y="304722"/>
                  </a:cubicBezTo>
                  <a:cubicBezTo>
                    <a:pt x="580512" y="304797"/>
                    <a:pt x="580780" y="304787"/>
                    <a:pt x="581577" y="304749"/>
                  </a:cubicBezTo>
                  <a:lnTo>
                    <a:pt x="582169" y="304723"/>
                  </a:lnTo>
                  <a:cubicBezTo>
                    <a:pt x="583018" y="304687"/>
                    <a:pt x="583876" y="304405"/>
                    <a:pt x="584462" y="303967"/>
                  </a:cubicBezTo>
                  <a:cubicBezTo>
                    <a:pt x="585153" y="303450"/>
                    <a:pt x="585499" y="302507"/>
                    <a:pt x="585595" y="301777"/>
                  </a:cubicBezTo>
                  <a:cubicBezTo>
                    <a:pt x="585659" y="301296"/>
                    <a:pt x="585731" y="300749"/>
                    <a:pt x="585593" y="300177"/>
                  </a:cubicBezTo>
                  <a:cubicBezTo>
                    <a:pt x="585444" y="299563"/>
                    <a:pt x="585134" y="299051"/>
                    <a:pt x="584694" y="298695"/>
                  </a:cubicBezTo>
                  <a:close/>
                  <a:moveTo>
                    <a:pt x="520420" y="61200"/>
                  </a:moveTo>
                  <a:lnTo>
                    <a:pt x="520344" y="63262"/>
                  </a:lnTo>
                  <a:cubicBezTo>
                    <a:pt x="520241" y="62540"/>
                    <a:pt x="520196" y="61777"/>
                    <a:pt x="520150" y="60997"/>
                  </a:cubicBezTo>
                  <a:cubicBezTo>
                    <a:pt x="520133" y="60714"/>
                    <a:pt x="520116" y="60428"/>
                    <a:pt x="520096" y="60141"/>
                  </a:cubicBezTo>
                  <a:cubicBezTo>
                    <a:pt x="520319" y="60493"/>
                    <a:pt x="520433" y="60861"/>
                    <a:pt x="520420" y="61200"/>
                  </a:cubicBezTo>
                  <a:close/>
                  <a:moveTo>
                    <a:pt x="118658" y="230589"/>
                  </a:moveTo>
                  <a:cubicBezTo>
                    <a:pt x="117592" y="228378"/>
                    <a:pt x="116109" y="226418"/>
                    <a:pt x="114671" y="224517"/>
                  </a:cubicBezTo>
                  <a:cubicBezTo>
                    <a:pt x="114420" y="224186"/>
                    <a:pt x="114148" y="223849"/>
                    <a:pt x="113873" y="223510"/>
                  </a:cubicBezTo>
                  <a:cubicBezTo>
                    <a:pt x="113461" y="223004"/>
                    <a:pt x="113036" y="222480"/>
                    <a:pt x="112694" y="221976"/>
                  </a:cubicBezTo>
                  <a:cubicBezTo>
                    <a:pt x="111875" y="220769"/>
                    <a:pt x="110904" y="219712"/>
                    <a:pt x="109808" y="218836"/>
                  </a:cubicBezTo>
                  <a:cubicBezTo>
                    <a:pt x="109031" y="218215"/>
                    <a:pt x="108329" y="217468"/>
                    <a:pt x="107584" y="216676"/>
                  </a:cubicBezTo>
                  <a:cubicBezTo>
                    <a:pt x="107050" y="216108"/>
                    <a:pt x="106496" y="215520"/>
                    <a:pt x="105915" y="214986"/>
                  </a:cubicBezTo>
                  <a:cubicBezTo>
                    <a:pt x="105007" y="214151"/>
                    <a:pt x="103932" y="213038"/>
                    <a:pt x="103681" y="211814"/>
                  </a:cubicBezTo>
                  <a:cubicBezTo>
                    <a:pt x="103461" y="210745"/>
                    <a:pt x="102908" y="209833"/>
                    <a:pt x="102372" y="208951"/>
                  </a:cubicBezTo>
                  <a:cubicBezTo>
                    <a:pt x="102250" y="208749"/>
                    <a:pt x="102129" y="208548"/>
                    <a:pt x="102013" y="208348"/>
                  </a:cubicBezTo>
                  <a:cubicBezTo>
                    <a:pt x="101750" y="207894"/>
                    <a:pt x="101572" y="207590"/>
                    <a:pt x="101277" y="207152"/>
                  </a:cubicBezTo>
                  <a:cubicBezTo>
                    <a:pt x="100878" y="206561"/>
                    <a:pt x="100426" y="205891"/>
                    <a:pt x="100427" y="205326"/>
                  </a:cubicBezTo>
                  <a:cubicBezTo>
                    <a:pt x="100427" y="204822"/>
                    <a:pt x="100402" y="204215"/>
                    <a:pt x="100292" y="203601"/>
                  </a:cubicBezTo>
                  <a:cubicBezTo>
                    <a:pt x="100389" y="203675"/>
                    <a:pt x="100493" y="203743"/>
                    <a:pt x="100589" y="203817"/>
                  </a:cubicBezTo>
                  <a:cubicBezTo>
                    <a:pt x="101123" y="204233"/>
                    <a:pt x="101684" y="204574"/>
                    <a:pt x="102226" y="204905"/>
                  </a:cubicBezTo>
                  <a:cubicBezTo>
                    <a:pt x="102736" y="205216"/>
                    <a:pt x="103217" y="205510"/>
                    <a:pt x="103664" y="205853"/>
                  </a:cubicBezTo>
                  <a:cubicBezTo>
                    <a:pt x="105454" y="207225"/>
                    <a:pt x="107418" y="208363"/>
                    <a:pt x="109317" y="209464"/>
                  </a:cubicBezTo>
                  <a:cubicBezTo>
                    <a:pt x="110278" y="210021"/>
                    <a:pt x="111239" y="210578"/>
                    <a:pt x="112178" y="211165"/>
                  </a:cubicBezTo>
                  <a:cubicBezTo>
                    <a:pt x="115451" y="213208"/>
                    <a:pt x="118531" y="215789"/>
                    <a:pt x="121085" y="218629"/>
                  </a:cubicBezTo>
                  <a:cubicBezTo>
                    <a:pt x="121889" y="219524"/>
                    <a:pt x="122740" y="220413"/>
                    <a:pt x="123592" y="221303"/>
                  </a:cubicBezTo>
                  <a:cubicBezTo>
                    <a:pt x="124642" y="222401"/>
                    <a:pt x="125728" y="223537"/>
                    <a:pt x="126707" y="224667"/>
                  </a:cubicBezTo>
                  <a:cubicBezTo>
                    <a:pt x="126823" y="224801"/>
                    <a:pt x="126949" y="224929"/>
                    <a:pt x="127067" y="225062"/>
                  </a:cubicBezTo>
                  <a:cubicBezTo>
                    <a:pt x="125645" y="225882"/>
                    <a:pt x="124242" y="226736"/>
                    <a:pt x="122905" y="227659"/>
                  </a:cubicBezTo>
                  <a:cubicBezTo>
                    <a:pt x="122546" y="227906"/>
                    <a:pt x="122162" y="228146"/>
                    <a:pt x="121773" y="228388"/>
                  </a:cubicBezTo>
                  <a:cubicBezTo>
                    <a:pt x="120957" y="228899"/>
                    <a:pt x="120114" y="229426"/>
                    <a:pt x="119401" y="230068"/>
                  </a:cubicBezTo>
                  <a:cubicBezTo>
                    <a:pt x="119174" y="230273"/>
                    <a:pt x="118925" y="230448"/>
                    <a:pt x="118658" y="230589"/>
                  </a:cubicBezTo>
                  <a:close/>
                </a:path>
              </a:pathLst>
            </a:custGeom>
            <a:solidFill>
              <a:schemeClr val="tx2"/>
            </a:solidFill>
            <a:ln w="0" cap="flat">
              <a:noFill/>
              <a:prstDash val="solid"/>
              <a:miter/>
            </a:ln>
            <a:effectLst>
              <a:outerShdw blurRad="76200" dir="18900000" sy="23000" kx="-1200000" algn="bl" rotWithShape="0">
                <a:prstClr val="black">
                  <a:alpha val="20000"/>
                </a:prstClr>
              </a:outerShdw>
            </a:effectLst>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195" name="Freeform: Shape 194">
              <a:extLst>
                <a:ext uri="{FF2B5EF4-FFF2-40B4-BE49-F238E27FC236}">
                  <a16:creationId xmlns:a16="http://schemas.microsoft.com/office/drawing/2014/main" id="{5711E295-5C46-DB17-4F9A-2D60C86D3002}"/>
                </a:ext>
              </a:extLst>
            </p:cNvPr>
            <p:cNvSpPr/>
            <p:nvPr/>
          </p:nvSpPr>
          <p:spPr>
            <a:xfrm>
              <a:off x="2955284" y="1655782"/>
              <a:ext cx="391415" cy="351478"/>
            </a:xfrm>
            <a:custGeom>
              <a:avLst/>
              <a:gdLst>
                <a:gd name="connsiteX0" fmla="*/ 532998 w 534853"/>
                <a:gd name="connsiteY0" fmla="*/ 449689 h 480280"/>
                <a:gd name="connsiteX1" fmla="*/ 530220 w 534853"/>
                <a:gd name="connsiteY1" fmla="*/ 449134 h 480280"/>
                <a:gd name="connsiteX2" fmla="*/ 526154 w 534853"/>
                <a:gd name="connsiteY2" fmla="*/ 447935 h 480280"/>
                <a:gd name="connsiteX3" fmla="*/ 522342 w 534853"/>
                <a:gd name="connsiteY3" fmla="*/ 445934 h 480280"/>
                <a:gd name="connsiteX4" fmla="*/ 520085 w 534853"/>
                <a:gd name="connsiteY4" fmla="*/ 445326 h 480280"/>
                <a:gd name="connsiteX5" fmla="*/ 518897 w 534853"/>
                <a:gd name="connsiteY5" fmla="*/ 444575 h 480280"/>
                <a:gd name="connsiteX6" fmla="*/ 515727 w 534853"/>
                <a:gd name="connsiteY6" fmla="*/ 443525 h 480280"/>
                <a:gd name="connsiteX7" fmla="*/ 508535 w 534853"/>
                <a:gd name="connsiteY7" fmla="*/ 441793 h 480280"/>
                <a:gd name="connsiteX8" fmla="*/ 504035 w 534853"/>
                <a:gd name="connsiteY8" fmla="*/ 441683 h 480280"/>
                <a:gd name="connsiteX9" fmla="*/ 501827 w 534853"/>
                <a:gd name="connsiteY9" fmla="*/ 440768 h 480280"/>
                <a:gd name="connsiteX10" fmla="*/ 495665 w 534853"/>
                <a:gd name="connsiteY10" fmla="*/ 440117 h 480280"/>
                <a:gd name="connsiteX11" fmla="*/ 492761 w 534853"/>
                <a:gd name="connsiteY11" fmla="*/ 440030 h 480280"/>
                <a:gd name="connsiteX12" fmla="*/ 489271 w 534853"/>
                <a:gd name="connsiteY12" fmla="*/ 439092 h 480280"/>
                <a:gd name="connsiteX13" fmla="*/ 487900 w 534853"/>
                <a:gd name="connsiteY13" fmla="*/ 437929 h 480280"/>
                <a:gd name="connsiteX14" fmla="*/ 486199 w 534853"/>
                <a:gd name="connsiteY14" fmla="*/ 437391 h 480280"/>
                <a:gd name="connsiteX15" fmla="*/ 482860 w 534853"/>
                <a:gd name="connsiteY15" fmla="*/ 437687 h 480280"/>
                <a:gd name="connsiteX16" fmla="*/ 481299 w 534853"/>
                <a:gd name="connsiteY16" fmla="*/ 437656 h 480280"/>
                <a:gd name="connsiteX17" fmla="*/ 480106 w 534853"/>
                <a:gd name="connsiteY17" fmla="*/ 436657 h 480280"/>
                <a:gd name="connsiteX18" fmla="*/ 478286 w 534853"/>
                <a:gd name="connsiteY18" fmla="*/ 433748 h 480280"/>
                <a:gd name="connsiteX19" fmla="*/ 474922 w 534853"/>
                <a:gd name="connsiteY19" fmla="*/ 432778 h 480280"/>
                <a:gd name="connsiteX20" fmla="*/ 472163 w 534853"/>
                <a:gd name="connsiteY20" fmla="*/ 432260 h 480280"/>
                <a:gd name="connsiteX21" fmla="*/ 470421 w 534853"/>
                <a:gd name="connsiteY21" fmla="*/ 430975 h 480280"/>
                <a:gd name="connsiteX22" fmla="*/ 469302 w 534853"/>
                <a:gd name="connsiteY22" fmla="*/ 430199 h 480280"/>
                <a:gd name="connsiteX23" fmla="*/ 464714 w 534853"/>
                <a:gd name="connsiteY23" fmla="*/ 426114 h 480280"/>
                <a:gd name="connsiteX24" fmla="*/ 463588 w 534853"/>
                <a:gd name="connsiteY24" fmla="*/ 425557 h 480280"/>
                <a:gd name="connsiteX25" fmla="*/ 463103 w 534853"/>
                <a:gd name="connsiteY25" fmla="*/ 425160 h 480280"/>
                <a:gd name="connsiteX26" fmla="*/ 463221 w 534853"/>
                <a:gd name="connsiteY26" fmla="*/ 425185 h 480280"/>
                <a:gd name="connsiteX27" fmla="*/ 463093 w 534853"/>
                <a:gd name="connsiteY27" fmla="*/ 425149 h 480280"/>
                <a:gd name="connsiteX28" fmla="*/ 462743 w 534853"/>
                <a:gd name="connsiteY28" fmla="*/ 424470 h 480280"/>
                <a:gd name="connsiteX29" fmla="*/ 461489 w 534853"/>
                <a:gd name="connsiteY29" fmla="*/ 417951 h 480280"/>
                <a:gd name="connsiteX30" fmla="*/ 456346 w 534853"/>
                <a:gd name="connsiteY30" fmla="*/ 407048 h 480280"/>
                <a:gd name="connsiteX31" fmla="*/ 453462 w 534853"/>
                <a:gd name="connsiteY31" fmla="*/ 392624 h 480280"/>
                <a:gd name="connsiteX32" fmla="*/ 450717 w 534853"/>
                <a:gd name="connsiteY32" fmla="*/ 375997 h 480280"/>
                <a:gd name="connsiteX33" fmla="*/ 448968 w 534853"/>
                <a:gd name="connsiteY33" fmla="*/ 366196 h 480280"/>
                <a:gd name="connsiteX34" fmla="*/ 445116 w 534853"/>
                <a:gd name="connsiteY34" fmla="*/ 352716 h 480280"/>
                <a:gd name="connsiteX35" fmla="*/ 440228 w 534853"/>
                <a:gd name="connsiteY35" fmla="*/ 342915 h 480280"/>
                <a:gd name="connsiteX36" fmla="*/ 436852 w 534853"/>
                <a:gd name="connsiteY36" fmla="*/ 335471 h 480280"/>
                <a:gd name="connsiteX37" fmla="*/ 435275 w 534853"/>
                <a:gd name="connsiteY37" fmla="*/ 329250 h 480280"/>
                <a:gd name="connsiteX38" fmla="*/ 434428 w 534853"/>
                <a:gd name="connsiteY38" fmla="*/ 320780 h 480280"/>
                <a:gd name="connsiteX39" fmla="*/ 431626 w 534853"/>
                <a:gd name="connsiteY39" fmla="*/ 312644 h 480280"/>
                <a:gd name="connsiteX40" fmla="*/ 430251 w 534853"/>
                <a:gd name="connsiteY40" fmla="*/ 305338 h 480280"/>
                <a:gd name="connsiteX41" fmla="*/ 424593 w 534853"/>
                <a:gd name="connsiteY41" fmla="*/ 288506 h 480280"/>
                <a:gd name="connsiteX42" fmla="*/ 423280 w 534853"/>
                <a:gd name="connsiteY42" fmla="*/ 275176 h 480280"/>
                <a:gd name="connsiteX43" fmla="*/ 422295 w 534853"/>
                <a:gd name="connsiteY43" fmla="*/ 250126 h 480280"/>
                <a:gd name="connsiteX44" fmla="*/ 420525 w 534853"/>
                <a:gd name="connsiteY44" fmla="*/ 243529 h 480280"/>
                <a:gd name="connsiteX45" fmla="*/ 413881 w 534853"/>
                <a:gd name="connsiteY45" fmla="*/ 230909 h 480280"/>
                <a:gd name="connsiteX46" fmla="*/ 405679 w 534853"/>
                <a:gd name="connsiteY46" fmla="*/ 221623 h 480280"/>
                <a:gd name="connsiteX47" fmla="*/ 404004 w 534853"/>
                <a:gd name="connsiteY47" fmla="*/ 220071 h 480280"/>
                <a:gd name="connsiteX48" fmla="*/ 399697 w 534853"/>
                <a:gd name="connsiteY48" fmla="*/ 215599 h 480280"/>
                <a:gd name="connsiteX49" fmla="*/ 399878 w 534853"/>
                <a:gd name="connsiteY49" fmla="*/ 214865 h 480280"/>
                <a:gd name="connsiteX50" fmla="*/ 402406 w 534853"/>
                <a:gd name="connsiteY50" fmla="*/ 212398 h 480280"/>
                <a:gd name="connsiteX51" fmla="*/ 405823 w 534853"/>
                <a:gd name="connsiteY51" fmla="*/ 210985 h 480280"/>
                <a:gd name="connsiteX52" fmla="*/ 408648 w 534853"/>
                <a:gd name="connsiteY52" fmla="*/ 209524 h 480280"/>
                <a:gd name="connsiteX53" fmla="*/ 413255 w 534853"/>
                <a:gd name="connsiteY53" fmla="*/ 208331 h 480280"/>
                <a:gd name="connsiteX54" fmla="*/ 420532 w 534853"/>
                <a:gd name="connsiteY54" fmla="*/ 209289 h 480280"/>
                <a:gd name="connsiteX55" fmla="*/ 426709 w 534853"/>
                <a:gd name="connsiteY55" fmla="*/ 208801 h 480280"/>
                <a:gd name="connsiteX56" fmla="*/ 432892 w 534853"/>
                <a:gd name="connsiteY56" fmla="*/ 206847 h 480280"/>
                <a:gd name="connsiteX57" fmla="*/ 440599 w 534853"/>
                <a:gd name="connsiteY57" fmla="*/ 205260 h 480280"/>
                <a:gd name="connsiteX58" fmla="*/ 448045 w 534853"/>
                <a:gd name="connsiteY58" fmla="*/ 203218 h 480280"/>
                <a:gd name="connsiteX59" fmla="*/ 451719 w 534853"/>
                <a:gd name="connsiteY59" fmla="*/ 200290 h 480280"/>
                <a:gd name="connsiteX60" fmla="*/ 453700 w 534853"/>
                <a:gd name="connsiteY60" fmla="*/ 196009 h 480280"/>
                <a:gd name="connsiteX61" fmla="*/ 454560 w 534853"/>
                <a:gd name="connsiteY61" fmla="*/ 192496 h 480280"/>
                <a:gd name="connsiteX62" fmla="*/ 455312 w 534853"/>
                <a:gd name="connsiteY62" fmla="*/ 190936 h 480280"/>
                <a:gd name="connsiteX63" fmla="*/ 456231 w 534853"/>
                <a:gd name="connsiteY63" fmla="*/ 190113 h 480280"/>
                <a:gd name="connsiteX64" fmla="*/ 457573 w 534853"/>
                <a:gd name="connsiteY64" fmla="*/ 188734 h 480280"/>
                <a:gd name="connsiteX65" fmla="*/ 462447 w 534853"/>
                <a:gd name="connsiteY65" fmla="*/ 181991 h 480280"/>
                <a:gd name="connsiteX66" fmla="*/ 466026 w 534853"/>
                <a:gd name="connsiteY66" fmla="*/ 174623 h 480280"/>
                <a:gd name="connsiteX67" fmla="*/ 468048 w 534853"/>
                <a:gd name="connsiteY67" fmla="*/ 166606 h 480280"/>
                <a:gd name="connsiteX68" fmla="*/ 470962 w 534853"/>
                <a:gd name="connsiteY68" fmla="*/ 159390 h 480280"/>
                <a:gd name="connsiteX69" fmla="*/ 472420 w 534853"/>
                <a:gd name="connsiteY69" fmla="*/ 149899 h 480280"/>
                <a:gd name="connsiteX70" fmla="*/ 469828 w 534853"/>
                <a:gd name="connsiteY70" fmla="*/ 136381 h 480280"/>
                <a:gd name="connsiteX71" fmla="*/ 469372 w 534853"/>
                <a:gd name="connsiteY71" fmla="*/ 135667 h 480280"/>
                <a:gd name="connsiteX72" fmla="*/ 468817 w 534853"/>
                <a:gd name="connsiteY72" fmla="*/ 134926 h 480280"/>
                <a:gd name="connsiteX73" fmla="*/ 468469 w 534853"/>
                <a:gd name="connsiteY73" fmla="*/ 134409 h 480280"/>
                <a:gd name="connsiteX74" fmla="*/ 467873 w 534853"/>
                <a:gd name="connsiteY74" fmla="*/ 132983 h 480280"/>
                <a:gd name="connsiteX75" fmla="*/ 468297 w 534853"/>
                <a:gd name="connsiteY75" fmla="*/ 131841 h 480280"/>
                <a:gd name="connsiteX76" fmla="*/ 468180 w 534853"/>
                <a:gd name="connsiteY76" fmla="*/ 132084 h 480280"/>
                <a:gd name="connsiteX77" fmla="*/ 468261 w 534853"/>
                <a:gd name="connsiteY77" fmla="*/ 131849 h 480280"/>
                <a:gd name="connsiteX78" fmla="*/ 469018 w 534853"/>
                <a:gd name="connsiteY78" fmla="*/ 130282 h 480280"/>
                <a:gd name="connsiteX79" fmla="*/ 469255 w 534853"/>
                <a:gd name="connsiteY79" fmla="*/ 124611 h 480280"/>
                <a:gd name="connsiteX80" fmla="*/ 466321 w 534853"/>
                <a:gd name="connsiteY80" fmla="*/ 121244 h 480280"/>
                <a:gd name="connsiteX81" fmla="*/ 461899 w 534853"/>
                <a:gd name="connsiteY81" fmla="*/ 118388 h 480280"/>
                <a:gd name="connsiteX82" fmla="*/ 461094 w 534853"/>
                <a:gd name="connsiteY82" fmla="*/ 117872 h 480280"/>
                <a:gd name="connsiteX83" fmla="*/ 460480 w 534853"/>
                <a:gd name="connsiteY83" fmla="*/ 117431 h 480280"/>
                <a:gd name="connsiteX84" fmla="*/ 461770 w 534853"/>
                <a:gd name="connsiteY84" fmla="*/ 118298 h 480280"/>
                <a:gd name="connsiteX85" fmla="*/ 457533 w 534853"/>
                <a:gd name="connsiteY85" fmla="*/ 107668 h 480280"/>
                <a:gd name="connsiteX86" fmla="*/ 457637 w 534853"/>
                <a:gd name="connsiteY86" fmla="*/ 107013 h 480280"/>
                <a:gd name="connsiteX87" fmla="*/ 457710 w 534853"/>
                <a:gd name="connsiteY87" fmla="*/ 107037 h 480280"/>
                <a:gd name="connsiteX88" fmla="*/ 457660 w 534853"/>
                <a:gd name="connsiteY88" fmla="*/ 106865 h 480280"/>
                <a:gd name="connsiteX89" fmla="*/ 457715 w 534853"/>
                <a:gd name="connsiteY89" fmla="*/ 102400 h 480280"/>
                <a:gd name="connsiteX90" fmla="*/ 458371 w 534853"/>
                <a:gd name="connsiteY90" fmla="*/ 100437 h 480280"/>
                <a:gd name="connsiteX91" fmla="*/ 457604 w 534853"/>
                <a:gd name="connsiteY91" fmla="*/ 101224 h 480280"/>
                <a:gd name="connsiteX92" fmla="*/ 456839 w 534853"/>
                <a:gd name="connsiteY92" fmla="*/ 95089 h 480280"/>
                <a:gd name="connsiteX93" fmla="*/ 457416 w 534853"/>
                <a:gd name="connsiteY93" fmla="*/ 85061 h 480280"/>
                <a:gd name="connsiteX94" fmla="*/ 458630 w 534853"/>
                <a:gd name="connsiteY94" fmla="*/ 80796 h 480280"/>
                <a:gd name="connsiteX95" fmla="*/ 458494 w 534853"/>
                <a:gd name="connsiteY95" fmla="*/ 78596 h 480280"/>
                <a:gd name="connsiteX96" fmla="*/ 459026 w 534853"/>
                <a:gd name="connsiteY96" fmla="*/ 69874 h 480280"/>
                <a:gd name="connsiteX97" fmla="*/ 460903 w 534853"/>
                <a:gd name="connsiteY97" fmla="*/ 74232 h 480280"/>
                <a:gd name="connsiteX98" fmla="*/ 460376 w 534853"/>
                <a:gd name="connsiteY98" fmla="*/ 78534 h 480280"/>
                <a:gd name="connsiteX99" fmla="*/ 462647 w 534853"/>
                <a:gd name="connsiteY99" fmla="*/ 74442 h 480280"/>
                <a:gd name="connsiteX100" fmla="*/ 462922 w 534853"/>
                <a:gd name="connsiteY100" fmla="*/ 69690 h 480280"/>
                <a:gd name="connsiteX101" fmla="*/ 460197 w 534853"/>
                <a:gd name="connsiteY101" fmla="*/ 63136 h 480280"/>
                <a:gd name="connsiteX102" fmla="*/ 455764 w 534853"/>
                <a:gd name="connsiteY102" fmla="*/ 55218 h 480280"/>
                <a:gd name="connsiteX103" fmla="*/ 458884 w 534853"/>
                <a:gd name="connsiteY103" fmla="*/ 56127 h 480280"/>
                <a:gd name="connsiteX104" fmla="*/ 459877 w 534853"/>
                <a:gd name="connsiteY104" fmla="*/ 57075 h 480280"/>
                <a:gd name="connsiteX105" fmla="*/ 461927 w 534853"/>
                <a:gd name="connsiteY105" fmla="*/ 59322 h 480280"/>
                <a:gd name="connsiteX106" fmla="*/ 456088 w 534853"/>
                <a:gd name="connsiteY106" fmla="*/ 50298 h 480280"/>
                <a:gd name="connsiteX107" fmla="*/ 451328 w 534853"/>
                <a:gd name="connsiteY107" fmla="*/ 46782 h 480280"/>
                <a:gd name="connsiteX108" fmla="*/ 445609 w 534853"/>
                <a:gd name="connsiteY108" fmla="*/ 43552 h 480280"/>
                <a:gd name="connsiteX109" fmla="*/ 453920 w 534853"/>
                <a:gd name="connsiteY109" fmla="*/ 38550 h 480280"/>
                <a:gd name="connsiteX110" fmla="*/ 447802 w 534853"/>
                <a:gd name="connsiteY110" fmla="*/ 38840 h 480280"/>
                <a:gd name="connsiteX111" fmla="*/ 442145 w 534853"/>
                <a:gd name="connsiteY111" fmla="*/ 35167 h 480280"/>
                <a:gd name="connsiteX112" fmla="*/ 436434 w 534853"/>
                <a:gd name="connsiteY112" fmla="*/ 29036 h 480280"/>
                <a:gd name="connsiteX113" fmla="*/ 424747 w 534853"/>
                <a:gd name="connsiteY113" fmla="*/ 21331 h 480280"/>
                <a:gd name="connsiteX114" fmla="*/ 410145 w 534853"/>
                <a:gd name="connsiteY114" fmla="*/ 15026 h 480280"/>
                <a:gd name="connsiteX115" fmla="*/ 384832 w 534853"/>
                <a:gd name="connsiteY115" fmla="*/ 9201 h 480280"/>
                <a:gd name="connsiteX116" fmla="*/ 398144 w 534853"/>
                <a:gd name="connsiteY116" fmla="*/ 8247 h 480280"/>
                <a:gd name="connsiteX117" fmla="*/ 390197 w 534853"/>
                <a:gd name="connsiteY117" fmla="*/ 4718 h 480280"/>
                <a:gd name="connsiteX118" fmla="*/ 375894 w 534853"/>
                <a:gd name="connsiteY118" fmla="*/ 5919 h 480280"/>
                <a:gd name="connsiteX119" fmla="*/ 370631 w 534853"/>
                <a:gd name="connsiteY119" fmla="*/ 5377 h 480280"/>
                <a:gd name="connsiteX120" fmla="*/ 365503 w 534853"/>
                <a:gd name="connsiteY120" fmla="*/ 6291 h 480280"/>
                <a:gd name="connsiteX121" fmla="*/ 358599 w 534853"/>
                <a:gd name="connsiteY121" fmla="*/ 7248 h 480280"/>
                <a:gd name="connsiteX122" fmla="*/ 351783 w 534853"/>
                <a:gd name="connsiteY122" fmla="*/ 7124 h 480280"/>
                <a:gd name="connsiteX123" fmla="*/ 345986 w 534853"/>
                <a:gd name="connsiteY123" fmla="*/ 10279 h 480280"/>
                <a:gd name="connsiteX124" fmla="*/ 337805 w 534853"/>
                <a:gd name="connsiteY124" fmla="*/ 14034 h 480280"/>
                <a:gd name="connsiteX125" fmla="*/ 339066 w 534853"/>
                <a:gd name="connsiteY125" fmla="*/ 11285 h 480280"/>
                <a:gd name="connsiteX126" fmla="*/ 341040 w 534853"/>
                <a:gd name="connsiteY126" fmla="*/ 8959 h 480280"/>
                <a:gd name="connsiteX127" fmla="*/ 341313 w 534853"/>
                <a:gd name="connsiteY127" fmla="*/ 4819 h 480280"/>
                <a:gd name="connsiteX128" fmla="*/ 341100 w 534853"/>
                <a:gd name="connsiteY128" fmla="*/ 0 h 480280"/>
                <a:gd name="connsiteX129" fmla="*/ 338810 w 534853"/>
                <a:gd name="connsiteY129" fmla="*/ 4239 h 480280"/>
                <a:gd name="connsiteX130" fmla="*/ 337183 w 534853"/>
                <a:gd name="connsiteY130" fmla="*/ 8503 h 480280"/>
                <a:gd name="connsiteX131" fmla="*/ 334992 w 534853"/>
                <a:gd name="connsiteY131" fmla="*/ 10417 h 480280"/>
                <a:gd name="connsiteX132" fmla="*/ 329852 w 534853"/>
                <a:gd name="connsiteY132" fmla="*/ 13640 h 480280"/>
                <a:gd name="connsiteX133" fmla="*/ 323929 w 534853"/>
                <a:gd name="connsiteY133" fmla="*/ 18810 h 480280"/>
                <a:gd name="connsiteX134" fmla="*/ 322832 w 534853"/>
                <a:gd name="connsiteY134" fmla="*/ 20837 h 480280"/>
                <a:gd name="connsiteX135" fmla="*/ 321518 w 534853"/>
                <a:gd name="connsiteY135" fmla="*/ 21631 h 480280"/>
                <a:gd name="connsiteX136" fmla="*/ 315299 w 534853"/>
                <a:gd name="connsiteY136" fmla="*/ 24478 h 480280"/>
                <a:gd name="connsiteX137" fmla="*/ 315573 w 534853"/>
                <a:gd name="connsiteY137" fmla="*/ 22409 h 480280"/>
                <a:gd name="connsiteX138" fmla="*/ 317098 w 534853"/>
                <a:gd name="connsiteY138" fmla="*/ 20796 h 480280"/>
                <a:gd name="connsiteX139" fmla="*/ 318548 w 534853"/>
                <a:gd name="connsiteY139" fmla="*/ 19121 h 480280"/>
                <a:gd name="connsiteX140" fmla="*/ 316198 w 534853"/>
                <a:gd name="connsiteY140" fmla="*/ 19561 h 480280"/>
                <a:gd name="connsiteX141" fmla="*/ 312052 w 534853"/>
                <a:gd name="connsiteY141" fmla="*/ 22740 h 480280"/>
                <a:gd name="connsiteX142" fmla="*/ 311012 w 534853"/>
                <a:gd name="connsiteY142" fmla="*/ 25389 h 480280"/>
                <a:gd name="connsiteX143" fmla="*/ 310163 w 534853"/>
                <a:gd name="connsiteY143" fmla="*/ 27537 h 480280"/>
                <a:gd name="connsiteX144" fmla="*/ 307908 w 534853"/>
                <a:gd name="connsiteY144" fmla="*/ 30834 h 480280"/>
                <a:gd name="connsiteX145" fmla="*/ 305676 w 534853"/>
                <a:gd name="connsiteY145" fmla="*/ 33646 h 480280"/>
                <a:gd name="connsiteX146" fmla="*/ 300409 w 534853"/>
                <a:gd name="connsiteY146" fmla="*/ 38238 h 480280"/>
                <a:gd name="connsiteX147" fmla="*/ 294979 w 534853"/>
                <a:gd name="connsiteY147" fmla="*/ 45884 h 480280"/>
                <a:gd name="connsiteX148" fmla="*/ 290514 w 534853"/>
                <a:gd name="connsiteY148" fmla="*/ 51143 h 480280"/>
                <a:gd name="connsiteX149" fmla="*/ 288121 w 534853"/>
                <a:gd name="connsiteY149" fmla="*/ 54093 h 480280"/>
                <a:gd name="connsiteX150" fmla="*/ 285193 w 534853"/>
                <a:gd name="connsiteY150" fmla="*/ 60160 h 480280"/>
                <a:gd name="connsiteX151" fmla="*/ 283968 w 534853"/>
                <a:gd name="connsiteY151" fmla="*/ 56364 h 480280"/>
                <a:gd name="connsiteX152" fmla="*/ 284678 w 534853"/>
                <a:gd name="connsiteY152" fmla="*/ 51823 h 480280"/>
                <a:gd name="connsiteX153" fmla="*/ 282094 w 534853"/>
                <a:gd name="connsiteY153" fmla="*/ 56523 h 480280"/>
                <a:gd name="connsiteX154" fmla="*/ 280909 w 534853"/>
                <a:gd name="connsiteY154" fmla="*/ 61706 h 480280"/>
                <a:gd name="connsiteX155" fmla="*/ 279568 w 534853"/>
                <a:gd name="connsiteY155" fmla="*/ 65507 h 480280"/>
                <a:gd name="connsiteX156" fmla="*/ 279318 w 534853"/>
                <a:gd name="connsiteY156" fmla="*/ 74675 h 480280"/>
                <a:gd name="connsiteX157" fmla="*/ 279015 w 534853"/>
                <a:gd name="connsiteY157" fmla="*/ 84224 h 480280"/>
                <a:gd name="connsiteX158" fmla="*/ 277951 w 534853"/>
                <a:gd name="connsiteY158" fmla="*/ 91937 h 480280"/>
                <a:gd name="connsiteX159" fmla="*/ 277726 w 534853"/>
                <a:gd name="connsiteY159" fmla="*/ 108388 h 480280"/>
                <a:gd name="connsiteX160" fmla="*/ 278523 w 534853"/>
                <a:gd name="connsiteY160" fmla="*/ 112721 h 480280"/>
                <a:gd name="connsiteX161" fmla="*/ 279565 w 534853"/>
                <a:gd name="connsiteY161" fmla="*/ 115427 h 480280"/>
                <a:gd name="connsiteX162" fmla="*/ 279283 w 534853"/>
                <a:gd name="connsiteY162" fmla="*/ 123065 h 480280"/>
                <a:gd name="connsiteX163" fmla="*/ 278111 w 534853"/>
                <a:gd name="connsiteY163" fmla="*/ 126528 h 480280"/>
                <a:gd name="connsiteX164" fmla="*/ 281234 w 534853"/>
                <a:gd name="connsiteY164" fmla="*/ 122739 h 480280"/>
                <a:gd name="connsiteX165" fmla="*/ 281613 w 534853"/>
                <a:gd name="connsiteY165" fmla="*/ 126475 h 480280"/>
                <a:gd name="connsiteX166" fmla="*/ 282297 w 534853"/>
                <a:gd name="connsiteY166" fmla="*/ 128936 h 480280"/>
                <a:gd name="connsiteX167" fmla="*/ 282431 w 534853"/>
                <a:gd name="connsiteY167" fmla="*/ 133834 h 480280"/>
                <a:gd name="connsiteX168" fmla="*/ 280144 w 534853"/>
                <a:gd name="connsiteY168" fmla="*/ 140608 h 480280"/>
                <a:gd name="connsiteX169" fmla="*/ 274156 w 534853"/>
                <a:gd name="connsiteY169" fmla="*/ 144312 h 480280"/>
                <a:gd name="connsiteX170" fmla="*/ 279773 w 534853"/>
                <a:gd name="connsiteY170" fmla="*/ 145435 h 480280"/>
                <a:gd name="connsiteX171" fmla="*/ 283853 w 534853"/>
                <a:gd name="connsiteY171" fmla="*/ 143430 h 480280"/>
                <a:gd name="connsiteX172" fmla="*/ 285889 w 534853"/>
                <a:gd name="connsiteY172" fmla="*/ 139452 h 480280"/>
                <a:gd name="connsiteX173" fmla="*/ 284655 w 534853"/>
                <a:gd name="connsiteY173" fmla="*/ 148976 h 480280"/>
                <a:gd name="connsiteX174" fmla="*/ 282958 w 534853"/>
                <a:gd name="connsiteY174" fmla="*/ 154724 h 480280"/>
                <a:gd name="connsiteX175" fmla="*/ 283033 w 534853"/>
                <a:gd name="connsiteY175" fmla="*/ 160207 h 480280"/>
                <a:gd name="connsiteX176" fmla="*/ 281609 w 534853"/>
                <a:gd name="connsiteY176" fmla="*/ 165412 h 480280"/>
                <a:gd name="connsiteX177" fmla="*/ 285001 w 534853"/>
                <a:gd name="connsiteY177" fmla="*/ 163997 h 480280"/>
                <a:gd name="connsiteX178" fmla="*/ 286386 w 534853"/>
                <a:gd name="connsiteY178" fmla="*/ 160594 h 480280"/>
                <a:gd name="connsiteX179" fmla="*/ 288112 w 534853"/>
                <a:gd name="connsiteY179" fmla="*/ 155742 h 480280"/>
                <a:gd name="connsiteX180" fmla="*/ 288771 w 534853"/>
                <a:gd name="connsiteY180" fmla="*/ 158139 h 480280"/>
                <a:gd name="connsiteX181" fmla="*/ 290437 w 534853"/>
                <a:gd name="connsiteY181" fmla="*/ 160083 h 480280"/>
                <a:gd name="connsiteX182" fmla="*/ 291612 w 534853"/>
                <a:gd name="connsiteY182" fmla="*/ 164197 h 480280"/>
                <a:gd name="connsiteX183" fmla="*/ 290524 w 534853"/>
                <a:gd name="connsiteY183" fmla="*/ 167525 h 480280"/>
                <a:gd name="connsiteX184" fmla="*/ 290874 w 534853"/>
                <a:gd name="connsiteY184" fmla="*/ 172602 h 480280"/>
                <a:gd name="connsiteX185" fmla="*/ 294088 w 534853"/>
                <a:gd name="connsiteY185" fmla="*/ 176546 h 480280"/>
                <a:gd name="connsiteX186" fmla="*/ 294332 w 534853"/>
                <a:gd name="connsiteY186" fmla="*/ 174350 h 480280"/>
                <a:gd name="connsiteX187" fmla="*/ 294026 w 534853"/>
                <a:gd name="connsiteY187" fmla="*/ 173746 h 480280"/>
                <a:gd name="connsiteX188" fmla="*/ 293945 w 534853"/>
                <a:gd name="connsiteY188" fmla="*/ 168861 h 480280"/>
                <a:gd name="connsiteX189" fmla="*/ 294680 w 534853"/>
                <a:gd name="connsiteY189" fmla="*/ 168040 h 480280"/>
                <a:gd name="connsiteX190" fmla="*/ 300593 w 534853"/>
                <a:gd name="connsiteY190" fmla="*/ 174711 h 480280"/>
                <a:gd name="connsiteX191" fmla="*/ 301895 w 534853"/>
                <a:gd name="connsiteY191" fmla="*/ 175884 h 480280"/>
                <a:gd name="connsiteX192" fmla="*/ 303360 w 534853"/>
                <a:gd name="connsiteY192" fmla="*/ 175736 h 480280"/>
                <a:gd name="connsiteX193" fmla="*/ 304719 w 534853"/>
                <a:gd name="connsiteY193" fmla="*/ 172282 h 480280"/>
                <a:gd name="connsiteX194" fmla="*/ 305699 w 534853"/>
                <a:gd name="connsiteY194" fmla="*/ 169363 h 480280"/>
                <a:gd name="connsiteX195" fmla="*/ 306334 w 534853"/>
                <a:gd name="connsiteY195" fmla="*/ 174756 h 480280"/>
                <a:gd name="connsiteX196" fmla="*/ 306384 w 534853"/>
                <a:gd name="connsiteY196" fmla="*/ 179315 h 480280"/>
                <a:gd name="connsiteX197" fmla="*/ 308781 w 534853"/>
                <a:gd name="connsiteY197" fmla="*/ 183067 h 480280"/>
                <a:gd name="connsiteX198" fmla="*/ 308996 w 534853"/>
                <a:gd name="connsiteY198" fmla="*/ 183224 h 480280"/>
                <a:gd name="connsiteX199" fmla="*/ 308830 w 534853"/>
                <a:gd name="connsiteY199" fmla="*/ 183259 h 480280"/>
                <a:gd name="connsiteX200" fmla="*/ 309068 w 534853"/>
                <a:gd name="connsiteY200" fmla="*/ 183336 h 480280"/>
                <a:gd name="connsiteX201" fmla="*/ 309127 w 534853"/>
                <a:gd name="connsiteY201" fmla="*/ 183573 h 480280"/>
                <a:gd name="connsiteX202" fmla="*/ 308870 w 534853"/>
                <a:gd name="connsiteY202" fmla="*/ 183900 h 480280"/>
                <a:gd name="connsiteX203" fmla="*/ 307081 w 534853"/>
                <a:gd name="connsiteY203" fmla="*/ 184748 h 480280"/>
                <a:gd name="connsiteX204" fmla="*/ 303367 w 534853"/>
                <a:gd name="connsiteY204" fmla="*/ 188293 h 480280"/>
                <a:gd name="connsiteX205" fmla="*/ 298560 w 534853"/>
                <a:gd name="connsiteY205" fmla="*/ 197548 h 480280"/>
                <a:gd name="connsiteX206" fmla="*/ 297000 w 534853"/>
                <a:gd name="connsiteY206" fmla="*/ 203021 h 480280"/>
                <a:gd name="connsiteX207" fmla="*/ 295215 w 534853"/>
                <a:gd name="connsiteY207" fmla="*/ 205212 h 480280"/>
                <a:gd name="connsiteX208" fmla="*/ 294760 w 534853"/>
                <a:gd name="connsiteY208" fmla="*/ 205418 h 480280"/>
                <a:gd name="connsiteX209" fmla="*/ 287132 w 534853"/>
                <a:gd name="connsiteY209" fmla="*/ 210793 h 480280"/>
                <a:gd name="connsiteX210" fmla="*/ 275794 w 534853"/>
                <a:gd name="connsiteY210" fmla="*/ 217139 h 480280"/>
                <a:gd name="connsiteX211" fmla="*/ 265636 w 534853"/>
                <a:gd name="connsiteY211" fmla="*/ 223977 h 480280"/>
                <a:gd name="connsiteX212" fmla="*/ 253350 w 534853"/>
                <a:gd name="connsiteY212" fmla="*/ 231502 h 480280"/>
                <a:gd name="connsiteX213" fmla="*/ 244482 w 534853"/>
                <a:gd name="connsiteY213" fmla="*/ 235812 h 480280"/>
                <a:gd name="connsiteX214" fmla="*/ 224840 w 534853"/>
                <a:gd name="connsiteY214" fmla="*/ 242661 h 480280"/>
                <a:gd name="connsiteX215" fmla="*/ 214285 w 534853"/>
                <a:gd name="connsiteY215" fmla="*/ 245196 h 480280"/>
                <a:gd name="connsiteX216" fmla="*/ 205536 w 534853"/>
                <a:gd name="connsiteY216" fmla="*/ 247626 h 480280"/>
                <a:gd name="connsiteX217" fmla="*/ 202061 w 534853"/>
                <a:gd name="connsiteY217" fmla="*/ 248750 h 480280"/>
                <a:gd name="connsiteX218" fmla="*/ 203748 w 534853"/>
                <a:gd name="connsiteY218" fmla="*/ 248084 h 480280"/>
                <a:gd name="connsiteX219" fmla="*/ 201556 w 534853"/>
                <a:gd name="connsiteY219" fmla="*/ 248920 h 480280"/>
                <a:gd name="connsiteX220" fmla="*/ 200238 w 534853"/>
                <a:gd name="connsiteY220" fmla="*/ 249379 h 480280"/>
                <a:gd name="connsiteX221" fmla="*/ 200030 w 534853"/>
                <a:gd name="connsiteY221" fmla="*/ 249192 h 480280"/>
                <a:gd name="connsiteX222" fmla="*/ 201207 w 534853"/>
                <a:gd name="connsiteY222" fmla="*/ 248893 h 480280"/>
                <a:gd name="connsiteX223" fmla="*/ 198768 w 534853"/>
                <a:gd name="connsiteY223" fmla="*/ 246513 h 480280"/>
                <a:gd name="connsiteX224" fmla="*/ 197734 w 534853"/>
                <a:gd name="connsiteY224" fmla="*/ 244890 h 480280"/>
                <a:gd name="connsiteX225" fmla="*/ 196284 w 534853"/>
                <a:gd name="connsiteY225" fmla="*/ 242290 h 480280"/>
                <a:gd name="connsiteX226" fmla="*/ 192565 w 534853"/>
                <a:gd name="connsiteY226" fmla="*/ 240923 h 480280"/>
                <a:gd name="connsiteX227" fmla="*/ 189269 w 534853"/>
                <a:gd name="connsiteY227" fmla="*/ 242194 h 480280"/>
                <a:gd name="connsiteX228" fmla="*/ 185788 w 534853"/>
                <a:gd name="connsiteY228" fmla="*/ 245273 h 480280"/>
                <a:gd name="connsiteX229" fmla="*/ 184499 w 534853"/>
                <a:gd name="connsiteY229" fmla="*/ 245870 h 480280"/>
                <a:gd name="connsiteX230" fmla="*/ 183113 w 534853"/>
                <a:gd name="connsiteY230" fmla="*/ 245323 h 480280"/>
                <a:gd name="connsiteX231" fmla="*/ 178375 w 534853"/>
                <a:gd name="connsiteY231" fmla="*/ 244566 h 480280"/>
                <a:gd name="connsiteX232" fmla="*/ 175520 w 534853"/>
                <a:gd name="connsiteY232" fmla="*/ 246196 h 480280"/>
                <a:gd name="connsiteX233" fmla="*/ 169463 w 534853"/>
                <a:gd name="connsiteY233" fmla="*/ 251965 h 480280"/>
                <a:gd name="connsiteX234" fmla="*/ 166289 w 534853"/>
                <a:gd name="connsiteY234" fmla="*/ 254321 h 480280"/>
                <a:gd name="connsiteX235" fmla="*/ 162684 w 534853"/>
                <a:gd name="connsiteY235" fmla="*/ 255827 h 480280"/>
                <a:gd name="connsiteX236" fmla="*/ 157976 w 534853"/>
                <a:gd name="connsiteY236" fmla="*/ 259894 h 480280"/>
                <a:gd name="connsiteX237" fmla="*/ 152246 w 534853"/>
                <a:gd name="connsiteY237" fmla="*/ 262340 h 480280"/>
                <a:gd name="connsiteX238" fmla="*/ 140577 w 534853"/>
                <a:gd name="connsiteY238" fmla="*/ 262350 h 480280"/>
                <a:gd name="connsiteX239" fmla="*/ 130018 w 534853"/>
                <a:gd name="connsiteY239" fmla="*/ 268231 h 480280"/>
                <a:gd name="connsiteX240" fmla="*/ 121838 w 534853"/>
                <a:gd name="connsiteY240" fmla="*/ 275321 h 480280"/>
                <a:gd name="connsiteX241" fmla="*/ 114407 w 534853"/>
                <a:gd name="connsiteY241" fmla="*/ 276857 h 480280"/>
                <a:gd name="connsiteX242" fmla="*/ 107255 w 534853"/>
                <a:gd name="connsiteY242" fmla="*/ 280001 h 480280"/>
                <a:gd name="connsiteX243" fmla="*/ 99069 w 534853"/>
                <a:gd name="connsiteY243" fmla="*/ 287101 h 480280"/>
                <a:gd name="connsiteX244" fmla="*/ 92778 w 534853"/>
                <a:gd name="connsiteY244" fmla="*/ 294262 h 480280"/>
                <a:gd name="connsiteX245" fmla="*/ 88848 w 534853"/>
                <a:gd name="connsiteY245" fmla="*/ 296750 h 480280"/>
                <a:gd name="connsiteX246" fmla="*/ 80350 w 534853"/>
                <a:gd name="connsiteY246" fmla="*/ 306809 h 480280"/>
                <a:gd name="connsiteX247" fmla="*/ 78290 w 534853"/>
                <a:gd name="connsiteY247" fmla="*/ 310001 h 480280"/>
                <a:gd name="connsiteX248" fmla="*/ 74623 w 534853"/>
                <a:gd name="connsiteY248" fmla="*/ 312308 h 480280"/>
                <a:gd name="connsiteX249" fmla="*/ 72310 w 534853"/>
                <a:gd name="connsiteY249" fmla="*/ 315968 h 480280"/>
                <a:gd name="connsiteX250" fmla="*/ 66922 w 534853"/>
                <a:gd name="connsiteY250" fmla="*/ 328692 h 480280"/>
                <a:gd name="connsiteX251" fmla="*/ 66153 w 534853"/>
                <a:gd name="connsiteY251" fmla="*/ 332288 h 480280"/>
                <a:gd name="connsiteX252" fmla="*/ 65769 w 534853"/>
                <a:gd name="connsiteY252" fmla="*/ 334209 h 480280"/>
                <a:gd name="connsiteX253" fmla="*/ 64545 w 534853"/>
                <a:gd name="connsiteY253" fmla="*/ 337391 h 480280"/>
                <a:gd name="connsiteX254" fmla="*/ 61706 w 534853"/>
                <a:gd name="connsiteY254" fmla="*/ 346798 h 480280"/>
                <a:gd name="connsiteX255" fmla="*/ 61526 w 534853"/>
                <a:gd name="connsiteY255" fmla="*/ 349683 h 480280"/>
                <a:gd name="connsiteX256" fmla="*/ 60353 w 534853"/>
                <a:gd name="connsiteY256" fmla="*/ 352185 h 480280"/>
                <a:gd name="connsiteX257" fmla="*/ 59046 w 534853"/>
                <a:gd name="connsiteY257" fmla="*/ 356710 h 480280"/>
                <a:gd name="connsiteX258" fmla="*/ 58041 w 534853"/>
                <a:gd name="connsiteY258" fmla="*/ 362451 h 480280"/>
                <a:gd name="connsiteX259" fmla="*/ 58609 w 534853"/>
                <a:gd name="connsiteY259" fmla="*/ 366199 h 480280"/>
                <a:gd name="connsiteX260" fmla="*/ 58309 w 534853"/>
                <a:gd name="connsiteY260" fmla="*/ 371495 h 480280"/>
                <a:gd name="connsiteX261" fmla="*/ 58405 w 534853"/>
                <a:gd name="connsiteY261" fmla="*/ 378985 h 480280"/>
                <a:gd name="connsiteX262" fmla="*/ 58650 w 534853"/>
                <a:gd name="connsiteY262" fmla="*/ 383598 h 480280"/>
                <a:gd name="connsiteX263" fmla="*/ 58536 w 534853"/>
                <a:gd name="connsiteY263" fmla="*/ 384929 h 480280"/>
                <a:gd name="connsiteX264" fmla="*/ 56476 w 534853"/>
                <a:gd name="connsiteY264" fmla="*/ 383462 h 480280"/>
                <a:gd name="connsiteX265" fmla="*/ 54133 w 534853"/>
                <a:gd name="connsiteY265" fmla="*/ 382785 h 480280"/>
                <a:gd name="connsiteX266" fmla="*/ 51115 w 534853"/>
                <a:gd name="connsiteY266" fmla="*/ 382496 h 480280"/>
                <a:gd name="connsiteX267" fmla="*/ 44584 w 534853"/>
                <a:gd name="connsiteY267" fmla="*/ 383472 h 480280"/>
                <a:gd name="connsiteX268" fmla="*/ 37426 w 534853"/>
                <a:gd name="connsiteY268" fmla="*/ 387506 h 480280"/>
                <a:gd name="connsiteX269" fmla="*/ 28101 w 534853"/>
                <a:gd name="connsiteY269" fmla="*/ 398447 h 480280"/>
                <a:gd name="connsiteX270" fmla="*/ 23103 w 534853"/>
                <a:gd name="connsiteY270" fmla="*/ 407069 h 480280"/>
                <a:gd name="connsiteX271" fmla="*/ 20596 w 534853"/>
                <a:gd name="connsiteY271" fmla="*/ 413686 h 480280"/>
                <a:gd name="connsiteX272" fmla="*/ 15984 w 534853"/>
                <a:gd name="connsiteY272" fmla="*/ 421374 h 480280"/>
                <a:gd name="connsiteX273" fmla="*/ 8258 w 534853"/>
                <a:gd name="connsiteY273" fmla="*/ 431163 h 480280"/>
                <a:gd name="connsiteX274" fmla="*/ 5392 w 534853"/>
                <a:gd name="connsiteY274" fmla="*/ 435243 h 480280"/>
                <a:gd name="connsiteX275" fmla="*/ 4713 w 534853"/>
                <a:gd name="connsiteY275" fmla="*/ 436173 h 480280"/>
                <a:gd name="connsiteX276" fmla="*/ 3713 w 534853"/>
                <a:gd name="connsiteY276" fmla="*/ 436953 h 480280"/>
                <a:gd name="connsiteX277" fmla="*/ 2801 w 534853"/>
                <a:gd name="connsiteY277" fmla="*/ 437884 h 480280"/>
                <a:gd name="connsiteX278" fmla="*/ 298 w 534853"/>
                <a:gd name="connsiteY278" fmla="*/ 441812 h 480280"/>
                <a:gd name="connsiteX279" fmla="*/ 1145 w 534853"/>
                <a:gd name="connsiteY279" fmla="*/ 447156 h 480280"/>
                <a:gd name="connsiteX280" fmla="*/ 1871 w 534853"/>
                <a:gd name="connsiteY280" fmla="*/ 448400 h 480280"/>
                <a:gd name="connsiteX281" fmla="*/ 2344 w 534853"/>
                <a:gd name="connsiteY281" fmla="*/ 449576 h 480280"/>
                <a:gd name="connsiteX282" fmla="*/ 4901 w 534853"/>
                <a:gd name="connsiteY282" fmla="*/ 451888 h 480280"/>
                <a:gd name="connsiteX283" fmla="*/ 6436 w 534853"/>
                <a:gd name="connsiteY283" fmla="*/ 452264 h 480280"/>
                <a:gd name="connsiteX284" fmla="*/ 7182 w 534853"/>
                <a:gd name="connsiteY284" fmla="*/ 452405 h 480280"/>
                <a:gd name="connsiteX285" fmla="*/ 7631 w 534853"/>
                <a:gd name="connsiteY285" fmla="*/ 452753 h 480280"/>
                <a:gd name="connsiteX286" fmla="*/ 10227 w 534853"/>
                <a:gd name="connsiteY286" fmla="*/ 454313 h 480280"/>
                <a:gd name="connsiteX287" fmla="*/ 13303 w 534853"/>
                <a:gd name="connsiteY287" fmla="*/ 455035 h 480280"/>
                <a:gd name="connsiteX288" fmla="*/ 22860 w 534853"/>
                <a:gd name="connsiteY288" fmla="*/ 455373 h 480280"/>
                <a:gd name="connsiteX289" fmla="*/ 34083 w 534853"/>
                <a:gd name="connsiteY289" fmla="*/ 455803 h 480280"/>
                <a:gd name="connsiteX290" fmla="*/ 44773 w 534853"/>
                <a:gd name="connsiteY290" fmla="*/ 455881 h 480280"/>
                <a:gd name="connsiteX291" fmla="*/ 45223 w 534853"/>
                <a:gd name="connsiteY291" fmla="*/ 455822 h 480280"/>
                <a:gd name="connsiteX292" fmla="*/ 47879 w 534853"/>
                <a:gd name="connsiteY292" fmla="*/ 455378 h 480280"/>
                <a:gd name="connsiteX293" fmla="*/ 50409 w 534853"/>
                <a:gd name="connsiteY293" fmla="*/ 454397 h 480280"/>
                <a:gd name="connsiteX294" fmla="*/ 54135 w 534853"/>
                <a:gd name="connsiteY294" fmla="*/ 453081 h 480280"/>
                <a:gd name="connsiteX295" fmla="*/ 55345 w 534853"/>
                <a:gd name="connsiteY295" fmla="*/ 452336 h 480280"/>
                <a:gd name="connsiteX296" fmla="*/ 59317 w 534853"/>
                <a:gd name="connsiteY296" fmla="*/ 449025 h 480280"/>
                <a:gd name="connsiteX297" fmla="*/ 60320 w 534853"/>
                <a:gd name="connsiteY297" fmla="*/ 448040 h 480280"/>
                <a:gd name="connsiteX298" fmla="*/ 61276 w 534853"/>
                <a:gd name="connsiteY298" fmla="*/ 447102 h 480280"/>
                <a:gd name="connsiteX299" fmla="*/ 61665 w 534853"/>
                <a:gd name="connsiteY299" fmla="*/ 446790 h 480280"/>
                <a:gd name="connsiteX300" fmla="*/ 62184 w 534853"/>
                <a:gd name="connsiteY300" fmla="*/ 446735 h 480280"/>
                <a:gd name="connsiteX301" fmla="*/ 69370 w 534853"/>
                <a:gd name="connsiteY301" fmla="*/ 450689 h 480280"/>
                <a:gd name="connsiteX302" fmla="*/ 77138 w 534853"/>
                <a:gd name="connsiteY302" fmla="*/ 454990 h 480280"/>
                <a:gd name="connsiteX303" fmla="*/ 110352 w 534853"/>
                <a:gd name="connsiteY303" fmla="*/ 463935 h 480280"/>
                <a:gd name="connsiteX304" fmla="*/ 119157 w 534853"/>
                <a:gd name="connsiteY304" fmla="*/ 465280 h 480280"/>
                <a:gd name="connsiteX305" fmla="*/ 133320 w 534853"/>
                <a:gd name="connsiteY305" fmla="*/ 467459 h 480280"/>
                <a:gd name="connsiteX306" fmla="*/ 142137 w 534853"/>
                <a:gd name="connsiteY306" fmla="*/ 468335 h 480280"/>
                <a:gd name="connsiteX307" fmla="*/ 160468 w 534853"/>
                <a:gd name="connsiteY307" fmla="*/ 469421 h 480280"/>
                <a:gd name="connsiteX308" fmla="*/ 175262 w 534853"/>
                <a:gd name="connsiteY308" fmla="*/ 470393 h 480280"/>
                <a:gd name="connsiteX309" fmla="*/ 190166 w 534853"/>
                <a:gd name="connsiteY309" fmla="*/ 470231 h 480280"/>
                <a:gd name="connsiteX310" fmla="*/ 199389 w 534853"/>
                <a:gd name="connsiteY310" fmla="*/ 469642 h 480280"/>
                <a:gd name="connsiteX311" fmla="*/ 204836 w 534853"/>
                <a:gd name="connsiteY311" fmla="*/ 468830 h 480280"/>
                <a:gd name="connsiteX312" fmla="*/ 210407 w 534853"/>
                <a:gd name="connsiteY312" fmla="*/ 467145 h 480280"/>
                <a:gd name="connsiteX313" fmla="*/ 222285 w 534853"/>
                <a:gd name="connsiteY313" fmla="*/ 461536 h 480280"/>
                <a:gd name="connsiteX314" fmla="*/ 230000 w 534853"/>
                <a:gd name="connsiteY314" fmla="*/ 454835 h 480280"/>
                <a:gd name="connsiteX315" fmla="*/ 233555 w 534853"/>
                <a:gd name="connsiteY315" fmla="*/ 449229 h 480280"/>
                <a:gd name="connsiteX316" fmla="*/ 235445 w 534853"/>
                <a:gd name="connsiteY316" fmla="*/ 443820 h 480280"/>
                <a:gd name="connsiteX317" fmla="*/ 235770 w 534853"/>
                <a:gd name="connsiteY317" fmla="*/ 442716 h 480280"/>
                <a:gd name="connsiteX318" fmla="*/ 239239 w 534853"/>
                <a:gd name="connsiteY318" fmla="*/ 442738 h 480280"/>
                <a:gd name="connsiteX319" fmla="*/ 243748 w 534853"/>
                <a:gd name="connsiteY319" fmla="*/ 442521 h 480280"/>
                <a:gd name="connsiteX320" fmla="*/ 248518 w 534853"/>
                <a:gd name="connsiteY320" fmla="*/ 442099 h 480280"/>
                <a:gd name="connsiteX321" fmla="*/ 252085 w 534853"/>
                <a:gd name="connsiteY321" fmla="*/ 442045 h 480280"/>
                <a:gd name="connsiteX322" fmla="*/ 259931 w 534853"/>
                <a:gd name="connsiteY322" fmla="*/ 441235 h 480280"/>
                <a:gd name="connsiteX323" fmla="*/ 264040 w 534853"/>
                <a:gd name="connsiteY323" fmla="*/ 440362 h 480280"/>
                <a:gd name="connsiteX324" fmla="*/ 268071 w 534853"/>
                <a:gd name="connsiteY324" fmla="*/ 438340 h 480280"/>
                <a:gd name="connsiteX325" fmla="*/ 271192 w 534853"/>
                <a:gd name="connsiteY325" fmla="*/ 435632 h 480280"/>
                <a:gd name="connsiteX326" fmla="*/ 274300 w 534853"/>
                <a:gd name="connsiteY326" fmla="*/ 432132 h 480280"/>
                <a:gd name="connsiteX327" fmla="*/ 279129 w 534853"/>
                <a:gd name="connsiteY327" fmla="*/ 419750 h 480280"/>
                <a:gd name="connsiteX328" fmla="*/ 278141 w 534853"/>
                <a:gd name="connsiteY328" fmla="*/ 401838 h 480280"/>
                <a:gd name="connsiteX329" fmla="*/ 277608 w 534853"/>
                <a:gd name="connsiteY329" fmla="*/ 399587 h 480280"/>
                <a:gd name="connsiteX330" fmla="*/ 278651 w 534853"/>
                <a:gd name="connsiteY330" fmla="*/ 399296 h 480280"/>
                <a:gd name="connsiteX331" fmla="*/ 285703 w 534853"/>
                <a:gd name="connsiteY331" fmla="*/ 397335 h 480280"/>
                <a:gd name="connsiteX332" fmla="*/ 299031 w 534853"/>
                <a:gd name="connsiteY332" fmla="*/ 393498 h 480280"/>
                <a:gd name="connsiteX333" fmla="*/ 301619 w 534853"/>
                <a:gd name="connsiteY333" fmla="*/ 392626 h 480280"/>
                <a:gd name="connsiteX334" fmla="*/ 307071 w 534853"/>
                <a:gd name="connsiteY334" fmla="*/ 389863 h 480280"/>
                <a:gd name="connsiteX335" fmla="*/ 309016 w 534853"/>
                <a:gd name="connsiteY335" fmla="*/ 398374 h 480280"/>
                <a:gd name="connsiteX336" fmla="*/ 311714 w 534853"/>
                <a:gd name="connsiteY336" fmla="*/ 406094 h 480280"/>
                <a:gd name="connsiteX337" fmla="*/ 314858 w 534853"/>
                <a:gd name="connsiteY337" fmla="*/ 416526 h 480280"/>
                <a:gd name="connsiteX338" fmla="*/ 328426 w 534853"/>
                <a:gd name="connsiteY338" fmla="*/ 448488 h 480280"/>
                <a:gd name="connsiteX339" fmla="*/ 335977 w 534853"/>
                <a:gd name="connsiteY339" fmla="*/ 459162 h 480280"/>
                <a:gd name="connsiteX340" fmla="*/ 343556 w 534853"/>
                <a:gd name="connsiteY340" fmla="*/ 467162 h 480280"/>
                <a:gd name="connsiteX341" fmla="*/ 345054 w 534853"/>
                <a:gd name="connsiteY341" fmla="*/ 467856 h 480280"/>
                <a:gd name="connsiteX342" fmla="*/ 346059 w 534853"/>
                <a:gd name="connsiteY342" fmla="*/ 468434 h 480280"/>
                <a:gd name="connsiteX343" fmla="*/ 347275 w 534853"/>
                <a:gd name="connsiteY343" fmla="*/ 470525 h 480280"/>
                <a:gd name="connsiteX344" fmla="*/ 349035 w 534853"/>
                <a:gd name="connsiteY344" fmla="*/ 473431 h 480280"/>
                <a:gd name="connsiteX345" fmla="*/ 351205 w 534853"/>
                <a:gd name="connsiteY345" fmla="*/ 474907 h 480280"/>
                <a:gd name="connsiteX346" fmla="*/ 352662 w 534853"/>
                <a:gd name="connsiteY346" fmla="*/ 475473 h 480280"/>
                <a:gd name="connsiteX347" fmla="*/ 363295 w 534853"/>
                <a:gd name="connsiteY347" fmla="*/ 476619 h 480280"/>
                <a:gd name="connsiteX348" fmla="*/ 370529 w 534853"/>
                <a:gd name="connsiteY348" fmla="*/ 477056 h 480280"/>
                <a:gd name="connsiteX349" fmla="*/ 381717 w 534853"/>
                <a:gd name="connsiteY349" fmla="*/ 477083 h 480280"/>
                <a:gd name="connsiteX350" fmla="*/ 389706 w 534853"/>
                <a:gd name="connsiteY350" fmla="*/ 477236 h 480280"/>
                <a:gd name="connsiteX351" fmla="*/ 399332 w 534853"/>
                <a:gd name="connsiteY351" fmla="*/ 476887 h 480280"/>
                <a:gd name="connsiteX352" fmla="*/ 402647 w 534853"/>
                <a:gd name="connsiteY352" fmla="*/ 476416 h 480280"/>
                <a:gd name="connsiteX353" fmla="*/ 412877 w 534853"/>
                <a:gd name="connsiteY353" fmla="*/ 478145 h 480280"/>
                <a:gd name="connsiteX354" fmla="*/ 417818 w 534853"/>
                <a:gd name="connsiteY354" fmla="*/ 478862 h 480280"/>
                <a:gd name="connsiteX355" fmla="*/ 422163 w 534853"/>
                <a:gd name="connsiteY355" fmla="*/ 479829 h 480280"/>
                <a:gd name="connsiteX356" fmla="*/ 428082 w 534853"/>
                <a:gd name="connsiteY356" fmla="*/ 480254 h 480280"/>
                <a:gd name="connsiteX357" fmla="*/ 430026 w 534853"/>
                <a:gd name="connsiteY357" fmla="*/ 480138 h 480280"/>
                <a:gd name="connsiteX358" fmla="*/ 432395 w 534853"/>
                <a:gd name="connsiteY358" fmla="*/ 479707 h 480280"/>
                <a:gd name="connsiteX359" fmla="*/ 433055 w 534853"/>
                <a:gd name="connsiteY359" fmla="*/ 479491 h 480280"/>
                <a:gd name="connsiteX360" fmla="*/ 433881 w 534853"/>
                <a:gd name="connsiteY360" fmla="*/ 479117 h 480280"/>
                <a:gd name="connsiteX361" fmla="*/ 434482 w 534853"/>
                <a:gd name="connsiteY361" fmla="*/ 478451 h 480280"/>
                <a:gd name="connsiteX362" fmla="*/ 434626 w 534853"/>
                <a:gd name="connsiteY362" fmla="*/ 477522 h 480280"/>
                <a:gd name="connsiteX363" fmla="*/ 434612 w 534853"/>
                <a:gd name="connsiteY363" fmla="*/ 476255 h 480280"/>
                <a:gd name="connsiteX364" fmla="*/ 434569 w 534853"/>
                <a:gd name="connsiteY364" fmla="*/ 475805 h 480280"/>
                <a:gd name="connsiteX365" fmla="*/ 434419 w 534853"/>
                <a:gd name="connsiteY365" fmla="*/ 475121 h 480280"/>
                <a:gd name="connsiteX366" fmla="*/ 434555 w 534853"/>
                <a:gd name="connsiteY366" fmla="*/ 474958 h 480280"/>
                <a:gd name="connsiteX367" fmla="*/ 435161 w 534853"/>
                <a:gd name="connsiteY367" fmla="*/ 474783 h 480280"/>
                <a:gd name="connsiteX368" fmla="*/ 439952 w 534853"/>
                <a:gd name="connsiteY368" fmla="*/ 475008 h 480280"/>
                <a:gd name="connsiteX369" fmla="*/ 444136 w 534853"/>
                <a:gd name="connsiteY369" fmla="*/ 475390 h 480280"/>
                <a:gd name="connsiteX370" fmla="*/ 448118 w 534853"/>
                <a:gd name="connsiteY370" fmla="*/ 475867 h 480280"/>
                <a:gd name="connsiteX371" fmla="*/ 450733 w 534853"/>
                <a:gd name="connsiteY371" fmla="*/ 475873 h 480280"/>
                <a:gd name="connsiteX372" fmla="*/ 454514 w 534853"/>
                <a:gd name="connsiteY372" fmla="*/ 473675 h 480280"/>
                <a:gd name="connsiteX373" fmla="*/ 455425 w 534853"/>
                <a:gd name="connsiteY373" fmla="*/ 469830 h 480280"/>
                <a:gd name="connsiteX374" fmla="*/ 455579 w 534853"/>
                <a:gd name="connsiteY374" fmla="*/ 469873 h 480280"/>
                <a:gd name="connsiteX375" fmla="*/ 455262 w 534853"/>
                <a:gd name="connsiteY375" fmla="*/ 469031 h 480280"/>
                <a:gd name="connsiteX376" fmla="*/ 453876 w 534853"/>
                <a:gd name="connsiteY376" fmla="*/ 467198 h 480280"/>
                <a:gd name="connsiteX377" fmla="*/ 451415 w 534853"/>
                <a:gd name="connsiteY377" fmla="*/ 466085 h 480280"/>
                <a:gd name="connsiteX378" fmla="*/ 450298 w 534853"/>
                <a:gd name="connsiteY378" fmla="*/ 465604 h 480280"/>
                <a:gd name="connsiteX379" fmla="*/ 449627 w 534853"/>
                <a:gd name="connsiteY379" fmla="*/ 465037 h 480280"/>
                <a:gd name="connsiteX380" fmla="*/ 448518 w 534853"/>
                <a:gd name="connsiteY380" fmla="*/ 464049 h 480280"/>
                <a:gd name="connsiteX381" fmla="*/ 443767 w 534853"/>
                <a:gd name="connsiteY381" fmla="*/ 461532 h 480280"/>
                <a:gd name="connsiteX382" fmla="*/ 441910 w 534853"/>
                <a:gd name="connsiteY382" fmla="*/ 461009 h 480280"/>
                <a:gd name="connsiteX383" fmla="*/ 440216 w 534853"/>
                <a:gd name="connsiteY383" fmla="*/ 460000 h 480280"/>
                <a:gd name="connsiteX384" fmla="*/ 432724 w 534853"/>
                <a:gd name="connsiteY384" fmla="*/ 457514 h 480280"/>
                <a:gd name="connsiteX385" fmla="*/ 424977 w 534853"/>
                <a:gd name="connsiteY385" fmla="*/ 455817 h 480280"/>
                <a:gd name="connsiteX386" fmla="*/ 420275 w 534853"/>
                <a:gd name="connsiteY386" fmla="*/ 453854 h 480280"/>
                <a:gd name="connsiteX387" fmla="*/ 415260 w 534853"/>
                <a:gd name="connsiteY387" fmla="*/ 453233 h 480280"/>
                <a:gd name="connsiteX388" fmla="*/ 410958 w 534853"/>
                <a:gd name="connsiteY388" fmla="*/ 453433 h 480280"/>
                <a:gd name="connsiteX389" fmla="*/ 408388 w 534853"/>
                <a:gd name="connsiteY389" fmla="*/ 453635 h 480280"/>
                <a:gd name="connsiteX390" fmla="*/ 405621 w 534853"/>
                <a:gd name="connsiteY390" fmla="*/ 452965 h 480280"/>
                <a:gd name="connsiteX391" fmla="*/ 404165 w 534853"/>
                <a:gd name="connsiteY391" fmla="*/ 452328 h 480280"/>
                <a:gd name="connsiteX392" fmla="*/ 401415 w 534853"/>
                <a:gd name="connsiteY392" fmla="*/ 450480 h 480280"/>
                <a:gd name="connsiteX393" fmla="*/ 400134 w 534853"/>
                <a:gd name="connsiteY393" fmla="*/ 449854 h 480280"/>
                <a:gd name="connsiteX394" fmla="*/ 398965 w 534853"/>
                <a:gd name="connsiteY394" fmla="*/ 449136 h 480280"/>
                <a:gd name="connsiteX395" fmla="*/ 396986 w 534853"/>
                <a:gd name="connsiteY395" fmla="*/ 448360 h 480280"/>
                <a:gd name="connsiteX396" fmla="*/ 395003 w 534853"/>
                <a:gd name="connsiteY396" fmla="*/ 448125 h 480280"/>
                <a:gd name="connsiteX397" fmla="*/ 393387 w 534853"/>
                <a:gd name="connsiteY397" fmla="*/ 447997 h 480280"/>
                <a:gd name="connsiteX398" fmla="*/ 392795 w 534853"/>
                <a:gd name="connsiteY398" fmla="*/ 447587 h 480280"/>
                <a:gd name="connsiteX399" fmla="*/ 390852 w 534853"/>
                <a:gd name="connsiteY399" fmla="*/ 446186 h 480280"/>
                <a:gd name="connsiteX400" fmla="*/ 387065 w 534853"/>
                <a:gd name="connsiteY400" fmla="*/ 444675 h 480280"/>
                <a:gd name="connsiteX401" fmla="*/ 385309 w 534853"/>
                <a:gd name="connsiteY401" fmla="*/ 444370 h 480280"/>
                <a:gd name="connsiteX402" fmla="*/ 384561 w 534853"/>
                <a:gd name="connsiteY402" fmla="*/ 443823 h 480280"/>
                <a:gd name="connsiteX403" fmla="*/ 381518 w 534853"/>
                <a:gd name="connsiteY403" fmla="*/ 440905 h 480280"/>
                <a:gd name="connsiteX404" fmla="*/ 379941 w 534853"/>
                <a:gd name="connsiteY404" fmla="*/ 440261 h 480280"/>
                <a:gd name="connsiteX405" fmla="*/ 377939 w 534853"/>
                <a:gd name="connsiteY405" fmla="*/ 440107 h 480280"/>
                <a:gd name="connsiteX406" fmla="*/ 377936 w 534853"/>
                <a:gd name="connsiteY406" fmla="*/ 440107 h 480280"/>
                <a:gd name="connsiteX407" fmla="*/ 377642 w 534853"/>
                <a:gd name="connsiteY407" fmla="*/ 439732 h 480280"/>
                <a:gd name="connsiteX408" fmla="*/ 377507 w 534853"/>
                <a:gd name="connsiteY408" fmla="*/ 439923 h 480280"/>
                <a:gd name="connsiteX409" fmla="*/ 377365 w 534853"/>
                <a:gd name="connsiteY409" fmla="*/ 439718 h 480280"/>
                <a:gd name="connsiteX410" fmla="*/ 377115 w 534853"/>
                <a:gd name="connsiteY410" fmla="*/ 439355 h 480280"/>
                <a:gd name="connsiteX411" fmla="*/ 376790 w 534853"/>
                <a:gd name="connsiteY411" fmla="*/ 437805 h 480280"/>
                <a:gd name="connsiteX412" fmla="*/ 376579 w 534853"/>
                <a:gd name="connsiteY412" fmla="*/ 435697 h 480280"/>
                <a:gd name="connsiteX413" fmla="*/ 374348 w 534853"/>
                <a:gd name="connsiteY413" fmla="*/ 431312 h 480280"/>
                <a:gd name="connsiteX414" fmla="*/ 370235 w 534853"/>
                <a:gd name="connsiteY414" fmla="*/ 427161 h 480280"/>
                <a:gd name="connsiteX415" fmla="*/ 369251 w 534853"/>
                <a:gd name="connsiteY415" fmla="*/ 424025 h 480280"/>
                <a:gd name="connsiteX416" fmla="*/ 368438 w 534853"/>
                <a:gd name="connsiteY416" fmla="*/ 415158 h 480280"/>
                <a:gd name="connsiteX417" fmla="*/ 367949 w 534853"/>
                <a:gd name="connsiteY417" fmla="*/ 406648 h 480280"/>
                <a:gd name="connsiteX418" fmla="*/ 367566 w 534853"/>
                <a:gd name="connsiteY418" fmla="*/ 394925 h 480280"/>
                <a:gd name="connsiteX419" fmla="*/ 366276 w 534853"/>
                <a:gd name="connsiteY419" fmla="*/ 365496 h 480280"/>
                <a:gd name="connsiteX420" fmla="*/ 364332 w 534853"/>
                <a:gd name="connsiteY420" fmla="*/ 358411 h 480280"/>
                <a:gd name="connsiteX421" fmla="*/ 361070 w 534853"/>
                <a:gd name="connsiteY421" fmla="*/ 351765 h 480280"/>
                <a:gd name="connsiteX422" fmla="*/ 360254 w 534853"/>
                <a:gd name="connsiteY422" fmla="*/ 349793 h 480280"/>
                <a:gd name="connsiteX423" fmla="*/ 360356 w 534853"/>
                <a:gd name="connsiteY423" fmla="*/ 347937 h 480280"/>
                <a:gd name="connsiteX424" fmla="*/ 361800 w 534853"/>
                <a:gd name="connsiteY424" fmla="*/ 342045 h 480280"/>
                <a:gd name="connsiteX425" fmla="*/ 361959 w 534853"/>
                <a:gd name="connsiteY425" fmla="*/ 340902 h 480280"/>
                <a:gd name="connsiteX426" fmla="*/ 363521 w 534853"/>
                <a:gd name="connsiteY426" fmla="*/ 339862 h 480280"/>
                <a:gd name="connsiteX427" fmla="*/ 369295 w 534853"/>
                <a:gd name="connsiteY427" fmla="*/ 336620 h 480280"/>
                <a:gd name="connsiteX428" fmla="*/ 377021 w 534853"/>
                <a:gd name="connsiteY428" fmla="*/ 333167 h 480280"/>
                <a:gd name="connsiteX429" fmla="*/ 379547 w 534853"/>
                <a:gd name="connsiteY429" fmla="*/ 332227 h 480280"/>
                <a:gd name="connsiteX430" fmla="*/ 379982 w 534853"/>
                <a:gd name="connsiteY430" fmla="*/ 331990 h 480280"/>
                <a:gd name="connsiteX431" fmla="*/ 379745 w 534853"/>
                <a:gd name="connsiteY431" fmla="*/ 335168 h 480280"/>
                <a:gd name="connsiteX432" fmla="*/ 382178 w 534853"/>
                <a:gd name="connsiteY432" fmla="*/ 345854 h 480280"/>
                <a:gd name="connsiteX433" fmla="*/ 386856 w 534853"/>
                <a:gd name="connsiteY433" fmla="*/ 357745 h 480280"/>
                <a:gd name="connsiteX434" fmla="*/ 395089 w 534853"/>
                <a:gd name="connsiteY434" fmla="*/ 382160 h 480280"/>
                <a:gd name="connsiteX435" fmla="*/ 406048 w 534853"/>
                <a:gd name="connsiteY435" fmla="*/ 411963 h 480280"/>
                <a:gd name="connsiteX436" fmla="*/ 410330 w 534853"/>
                <a:gd name="connsiteY436" fmla="*/ 420016 h 480280"/>
                <a:gd name="connsiteX437" fmla="*/ 415594 w 534853"/>
                <a:gd name="connsiteY437" fmla="*/ 430357 h 480280"/>
                <a:gd name="connsiteX438" fmla="*/ 418218 w 534853"/>
                <a:gd name="connsiteY438" fmla="*/ 434902 h 480280"/>
                <a:gd name="connsiteX439" fmla="*/ 420345 w 534853"/>
                <a:gd name="connsiteY439" fmla="*/ 437930 h 480280"/>
                <a:gd name="connsiteX440" fmla="*/ 422624 w 534853"/>
                <a:gd name="connsiteY440" fmla="*/ 439482 h 480280"/>
                <a:gd name="connsiteX441" fmla="*/ 424649 w 534853"/>
                <a:gd name="connsiteY441" fmla="*/ 441329 h 480280"/>
                <a:gd name="connsiteX442" fmla="*/ 425909 w 534853"/>
                <a:gd name="connsiteY442" fmla="*/ 443088 h 480280"/>
                <a:gd name="connsiteX443" fmla="*/ 428374 w 534853"/>
                <a:gd name="connsiteY443" fmla="*/ 444682 h 480280"/>
                <a:gd name="connsiteX444" fmla="*/ 429792 w 534853"/>
                <a:gd name="connsiteY444" fmla="*/ 445265 h 480280"/>
                <a:gd name="connsiteX445" fmla="*/ 431813 w 534853"/>
                <a:gd name="connsiteY445" fmla="*/ 446607 h 480280"/>
                <a:gd name="connsiteX446" fmla="*/ 433956 w 534853"/>
                <a:gd name="connsiteY446" fmla="*/ 450946 h 480280"/>
                <a:gd name="connsiteX447" fmla="*/ 437145 w 534853"/>
                <a:gd name="connsiteY447" fmla="*/ 453540 h 480280"/>
                <a:gd name="connsiteX448" fmla="*/ 438610 w 534853"/>
                <a:gd name="connsiteY448" fmla="*/ 453532 h 480280"/>
                <a:gd name="connsiteX449" fmla="*/ 439373 w 534853"/>
                <a:gd name="connsiteY449" fmla="*/ 453347 h 480280"/>
                <a:gd name="connsiteX450" fmla="*/ 443590 w 534853"/>
                <a:gd name="connsiteY450" fmla="*/ 455415 h 480280"/>
                <a:gd name="connsiteX451" fmla="*/ 445649 w 534853"/>
                <a:gd name="connsiteY451" fmla="*/ 455272 h 480280"/>
                <a:gd name="connsiteX452" fmla="*/ 446334 w 534853"/>
                <a:gd name="connsiteY452" fmla="*/ 456469 h 480280"/>
                <a:gd name="connsiteX453" fmla="*/ 449414 w 534853"/>
                <a:gd name="connsiteY453" fmla="*/ 460013 h 480280"/>
                <a:gd name="connsiteX454" fmla="*/ 452962 w 534853"/>
                <a:gd name="connsiteY454" fmla="*/ 461730 h 480280"/>
                <a:gd name="connsiteX455" fmla="*/ 458302 w 534853"/>
                <a:gd name="connsiteY455" fmla="*/ 462261 h 480280"/>
                <a:gd name="connsiteX456" fmla="*/ 460583 w 534853"/>
                <a:gd name="connsiteY456" fmla="*/ 461889 h 480280"/>
                <a:gd name="connsiteX457" fmla="*/ 462031 w 534853"/>
                <a:gd name="connsiteY457" fmla="*/ 460870 h 480280"/>
                <a:gd name="connsiteX458" fmla="*/ 463856 w 534853"/>
                <a:gd name="connsiteY458" fmla="*/ 457107 h 480280"/>
                <a:gd name="connsiteX459" fmla="*/ 463946 w 534853"/>
                <a:gd name="connsiteY459" fmla="*/ 456059 h 480280"/>
                <a:gd name="connsiteX460" fmla="*/ 466386 w 534853"/>
                <a:gd name="connsiteY460" fmla="*/ 455570 h 480280"/>
                <a:gd name="connsiteX461" fmla="*/ 467397 w 534853"/>
                <a:gd name="connsiteY461" fmla="*/ 455257 h 480280"/>
                <a:gd name="connsiteX462" fmla="*/ 468414 w 534853"/>
                <a:gd name="connsiteY462" fmla="*/ 455420 h 480280"/>
                <a:gd name="connsiteX463" fmla="*/ 469935 w 534853"/>
                <a:gd name="connsiteY463" fmla="*/ 456447 h 480280"/>
                <a:gd name="connsiteX464" fmla="*/ 473391 w 534853"/>
                <a:gd name="connsiteY464" fmla="*/ 457759 h 480280"/>
                <a:gd name="connsiteX465" fmla="*/ 479788 w 534853"/>
                <a:gd name="connsiteY465" fmla="*/ 457847 h 480280"/>
                <a:gd name="connsiteX466" fmla="*/ 481258 w 534853"/>
                <a:gd name="connsiteY466" fmla="*/ 457933 h 480280"/>
                <a:gd name="connsiteX467" fmla="*/ 483045 w 534853"/>
                <a:gd name="connsiteY467" fmla="*/ 458426 h 480280"/>
                <a:gd name="connsiteX468" fmla="*/ 489734 w 534853"/>
                <a:gd name="connsiteY468" fmla="*/ 459051 h 480280"/>
                <a:gd name="connsiteX469" fmla="*/ 492304 w 534853"/>
                <a:gd name="connsiteY469" fmla="*/ 458865 h 480280"/>
                <a:gd name="connsiteX470" fmla="*/ 495428 w 534853"/>
                <a:gd name="connsiteY470" fmla="*/ 459063 h 480280"/>
                <a:gd name="connsiteX471" fmla="*/ 499527 w 534853"/>
                <a:gd name="connsiteY471" fmla="*/ 459767 h 480280"/>
                <a:gd name="connsiteX472" fmla="*/ 502262 w 534853"/>
                <a:gd name="connsiteY472" fmla="*/ 460047 h 480280"/>
                <a:gd name="connsiteX473" fmla="*/ 503533 w 534853"/>
                <a:gd name="connsiteY473" fmla="*/ 460329 h 480280"/>
                <a:gd name="connsiteX474" fmla="*/ 507768 w 534853"/>
                <a:gd name="connsiteY474" fmla="*/ 461701 h 480280"/>
                <a:gd name="connsiteX475" fmla="*/ 510011 w 534853"/>
                <a:gd name="connsiteY475" fmla="*/ 462025 h 480280"/>
                <a:gd name="connsiteX476" fmla="*/ 515763 w 534853"/>
                <a:gd name="connsiteY476" fmla="*/ 462373 h 480280"/>
                <a:gd name="connsiteX477" fmla="*/ 517855 w 534853"/>
                <a:gd name="connsiteY477" fmla="*/ 461096 h 480280"/>
                <a:gd name="connsiteX478" fmla="*/ 518072 w 534853"/>
                <a:gd name="connsiteY478" fmla="*/ 459593 h 480280"/>
                <a:gd name="connsiteX479" fmla="*/ 518111 w 534853"/>
                <a:gd name="connsiteY479" fmla="*/ 459612 h 480280"/>
                <a:gd name="connsiteX480" fmla="*/ 518062 w 534853"/>
                <a:gd name="connsiteY480" fmla="*/ 459184 h 480280"/>
                <a:gd name="connsiteX481" fmla="*/ 517968 w 534853"/>
                <a:gd name="connsiteY481" fmla="*/ 458500 h 480280"/>
                <a:gd name="connsiteX482" fmla="*/ 520165 w 534853"/>
                <a:gd name="connsiteY482" fmla="*/ 459184 h 480280"/>
                <a:gd name="connsiteX483" fmla="*/ 523042 w 534853"/>
                <a:gd name="connsiteY483" fmla="*/ 459462 h 480280"/>
                <a:gd name="connsiteX484" fmla="*/ 527549 w 534853"/>
                <a:gd name="connsiteY484" fmla="*/ 459338 h 480280"/>
                <a:gd name="connsiteX485" fmla="*/ 529846 w 534853"/>
                <a:gd name="connsiteY485" fmla="*/ 459273 h 480280"/>
                <a:gd name="connsiteX486" fmla="*/ 531919 w 534853"/>
                <a:gd name="connsiteY486" fmla="*/ 459008 h 480280"/>
                <a:gd name="connsiteX487" fmla="*/ 533110 w 534853"/>
                <a:gd name="connsiteY487" fmla="*/ 457904 h 480280"/>
                <a:gd name="connsiteX488" fmla="*/ 533238 w 534853"/>
                <a:gd name="connsiteY488" fmla="*/ 455735 h 480280"/>
                <a:gd name="connsiteX489" fmla="*/ 534323 w 534853"/>
                <a:gd name="connsiteY489" fmla="*/ 454955 h 480280"/>
                <a:gd name="connsiteX490" fmla="*/ 534854 w 534853"/>
                <a:gd name="connsiteY490" fmla="*/ 452842 h 480280"/>
                <a:gd name="connsiteX491" fmla="*/ 532998 w 534853"/>
                <a:gd name="connsiteY491" fmla="*/ 449689 h 480280"/>
                <a:gd name="connsiteX492" fmla="*/ 399728 w 534853"/>
                <a:gd name="connsiteY492" fmla="*/ 215114 h 480280"/>
                <a:gd name="connsiteX493" fmla="*/ 399845 w 534853"/>
                <a:gd name="connsiteY493" fmla="*/ 214921 h 480280"/>
                <a:gd name="connsiteX494" fmla="*/ 399728 w 534853"/>
                <a:gd name="connsiteY494" fmla="*/ 215114 h 480280"/>
                <a:gd name="connsiteX495" fmla="*/ 296899 w 534853"/>
                <a:gd name="connsiteY495" fmla="*/ 203410 h 480280"/>
                <a:gd name="connsiteX496" fmla="*/ 296640 w 534853"/>
                <a:gd name="connsiteY496" fmla="*/ 203978 h 480280"/>
                <a:gd name="connsiteX497" fmla="*/ 296929 w 534853"/>
                <a:gd name="connsiteY497" fmla="*/ 203294 h 480280"/>
                <a:gd name="connsiteX498" fmla="*/ 296899 w 534853"/>
                <a:gd name="connsiteY498" fmla="*/ 203410 h 48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Lst>
              <a:rect l="l" t="t" r="r" b="b"/>
              <a:pathLst>
                <a:path w="534853" h="480280">
                  <a:moveTo>
                    <a:pt x="532998" y="449689"/>
                  </a:moveTo>
                  <a:cubicBezTo>
                    <a:pt x="532151" y="449267"/>
                    <a:pt x="531160" y="449018"/>
                    <a:pt x="530220" y="449134"/>
                  </a:cubicBezTo>
                  <a:cubicBezTo>
                    <a:pt x="528790" y="449311"/>
                    <a:pt x="527389" y="448676"/>
                    <a:pt x="526154" y="447935"/>
                  </a:cubicBezTo>
                  <a:cubicBezTo>
                    <a:pt x="524919" y="447193"/>
                    <a:pt x="523730" y="446319"/>
                    <a:pt x="522342" y="445934"/>
                  </a:cubicBezTo>
                  <a:cubicBezTo>
                    <a:pt x="521590" y="445725"/>
                    <a:pt x="520789" y="445664"/>
                    <a:pt x="520085" y="445326"/>
                  </a:cubicBezTo>
                  <a:cubicBezTo>
                    <a:pt x="519663" y="445123"/>
                    <a:pt x="519292" y="444828"/>
                    <a:pt x="518897" y="444575"/>
                  </a:cubicBezTo>
                  <a:cubicBezTo>
                    <a:pt x="517977" y="443986"/>
                    <a:pt x="516689" y="444043"/>
                    <a:pt x="515727" y="443525"/>
                  </a:cubicBezTo>
                  <a:cubicBezTo>
                    <a:pt x="513531" y="442344"/>
                    <a:pt x="511028" y="441741"/>
                    <a:pt x="508535" y="441793"/>
                  </a:cubicBezTo>
                  <a:cubicBezTo>
                    <a:pt x="507027" y="441825"/>
                    <a:pt x="505486" y="442088"/>
                    <a:pt x="504035" y="441683"/>
                  </a:cubicBezTo>
                  <a:cubicBezTo>
                    <a:pt x="503267" y="441468"/>
                    <a:pt x="502563" y="441077"/>
                    <a:pt x="501827" y="440768"/>
                  </a:cubicBezTo>
                  <a:cubicBezTo>
                    <a:pt x="499909" y="439966"/>
                    <a:pt x="497734" y="440323"/>
                    <a:pt x="495665" y="440117"/>
                  </a:cubicBezTo>
                  <a:cubicBezTo>
                    <a:pt x="494686" y="440020"/>
                    <a:pt x="493740" y="440127"/>
                    <a:pt x="492761" y="440030"/>
                  </a:cubicBezTo>
                  <a:cubicBezTo>
                    <a:pt x="491447" y="439899"/>
                    <a:pt x="490256" y="439972"/>
                    <a:pt x="489271" y="439092"/>
                  </a:cubicBezTo>
                  <a:cubicBezTo>
                    <a:pt x="488862" y="438727"/>
                    <a:pt x="488306" y="438299"/>
                    <a:pt x="487900" y="437929"/>
                  </a:cubicBezTo>
                  <a:cubicBezTo>
                    <a:pt x="487494" y="437560"/>
                    <a:pt x="486748" y="437389"/>
                    <a:pt x="486199" y="437391"/>
                  </a:cubicBezTo>
                  <a:cubicBezTo>
                    <a:pt x="484928" y="437397"/>
                    <a:pt x="484060" y="437268"/>
                    <a:pt x="482860" y="437687"/>
                  </a:cubicBezTo>
                  <a:cubicBezTo>
                    <a:pt x="482358" y="437863"/>
                    <a:pt x="481793" y="437851"/>
                    <a:pt x="481299" y="437656"/>
                  </a:cubicBezTo>
                  <a:cubicBezTo>
                    <a:pt x="480804" y="437461"/>
                    <a:pt x="480204" y="437180"/>
                    <a:pt x="480106" y="436657"/>
                  </a:cubicBezTo>
                  <a:cubicBezTo>
                    <a:pt x="479891" y="435506"/>
                    <a:pt x="479227" y="434445"/>
                    <a:pt x="478286" y="433748"/>
                  </a:cubicBezTo>
                  <a:cubicBezTo>
                    <a:pt x="477346" y="433051"/>
                    <a:pt x="476085" y="432645"/>
                    <a:pt x="474922" y="432778"/>
                  </a:cubicBezTo>
                  <a:cubicBezTo>
                    <a:pt x="473978" y="432885"/>
                    <a:pt x="473003" y="432702"/>
                    <a:pt x="472163" y="432260"/>
                  </a:cubicBezTo>
                  <a:cubicBezTo>
                    <a:pt x="471523" y="431923"/>
                    <a:pt x="470969" y="431447"/>
                    <a:pt x="470421" y="430975"/>
                  </a:cubicBezTo>
                  <a:cubicBezTo>
                    <a:pt x="470072" y="430674"/>
                    <a:pt x="469537" y="430596"/>
                    <a:pt x="469302" y="430199"/>
                  </a:cubicBezTo>
                  <a:cubicBezTo>
                    <a:pt x="468244" y="428407"/>
                    <a:pt x="466617" y="426957"/>
                    <a:pt x="464714" y="426114"/>
                  </a:cubicBezTo>
                  <a:cubicBezTo>
                    <a:pt x="464330" y="425945"/>
                    <a:pt x="463933" y="425796"/>
                    <a:pt x="463588" y="425557"/>
                  </a:cubicBezTo>
                  <a:cubicBezTo>
                    <a:pt x="463440" y="425455"/>
                    <a:pt x="463261" y="425316"/>
                    <a:pt x="463103" y="425160"/>
                  </a:cubicBezTo>
                  <a:lnTo>
                    <a:pt x="463221" y="425185"/>
                  </a:lnTo>
                  <a:cubicBezTo>
                    <a:pt x="463178" y="425173"/>
                    <a:pt x="463136" y="425161"/>
                    <a:pt x="463093" y="425149"/>
                  </a:cubicBezTo>
                  <a:cubicBezTo>
                    <a:pt x="462888" y="424943"/>
                    <a:pt x="462726" y="424705"/>
                    <a:pt x="462743" y="424470"/>
                  </a:cubicBezTo>
                  <a:cubicBezTo>
                    <a:pt x="462905" y="422262"/>
                    <a:pt x="462667" y="419826"/>
                    <a:pt x="461489" y="417951"/>
                  </a:cubicBezTo>
                  <a:cubicBezTo>
                    <a:pt x="459336" y="414524"/>
                    <a:pt x="457611" y="410892"/>
                    <a:pt x="456346" y="407048"/>
                  </a:cubicBezTo>
                  <a:cubicBezTo>
                    <a:pt x="454799" y="402344"/>
                    <a:pt x="454269" y="397509"/>
                    <a:pt x="453462" y="392624"/>
                  </a:cubicBezTo>
                  <a:cubicBezTo>
                    <a:pt x="452547" y="387082"/>
                    <a:pt x="451632" y="381540"/>
                    <a:pt x="450717" y="375997"/>
                  </a:cubicBezTo>
                  <a:cubicBezTo>
                    <a:pt x="450176" y="372723"/>
                    <a:pt x="449635" y="369447"/>
                    <a:pt x="448968" y="366196"/>
                  </a:cubicBezTo>
                  <a:cubicBezTo>
                    <a:pt x="448031" y="361630"/>
                    <a:pt x="447196" y="356887"/>
                    <a:pt x="445116" y="352716"/>
                  </a:cubicBezTo>
                  <a:cubicBezTo>
                    <a:pt x="443487" y="349449"/>
                    <a:pt x="441858" y="346182"/>
                    <a:pt x="440228" y="342915"/>
                  </a:cubicBezTo>
                  <a:cubicBezTo>
                    <a:pt x="439012" y="340476"/>
                    <a:pt x="437792" y="338030"/>
                    <a:pt x="436852" y="335471"/>
                  </a:cubicBezTo>
                  <a:cubicBezTo>
                    <a:pt x="436111" y="333452"/>
                    <a:pt x="434841" y="331356"/>
                    <a:pt x="435275" y="329250"/>
                  </a:cubicBezTo>
                  <a:cubicBezTo>
                    <a:pt x="435855" y="326440"/>
                    <a:pt x="435301" y="323514"/>
                    <a:pt x="434428" y="320780"/>
                  </a:cubicBezTo>
                  <a:cubicBezTo>
                    <a:pt x="433555" y="318047"/>
                    <a:pt x="432366" y="315417"/>
                    <a:pt x="431626" y="312644"/>
                  </a:cubicBezTo>
                  <a:cubicBezTo>
                    <a:pt x="430986" y="310249"/>
                    <a:pt x="430691" y="307778"/>
                    <a:pt x="430251" y="305338"/>
                  </a:cubicBezTo>
                  <a:cubicBezTo>
                    <a:pt x="429206" y="299533"/>
                    <a:pt x="426424" y="294112"/>
                    <a:pt x="424593" y="288506"/>
                  </a:cubicBezTo>
                  <a:cubicBezTo>
                    <a:pt x="423203" y="284247"/>
                    <a:pt x="422400" y="279569"/>
                    <a:pt x="423280" y="275176"/>
                  </a:cubicBezTo>
                  <a:cubicBezTo>
                    <a:pt x="424939" y="266902"/>
                    <a:pt x="423411" y="258491"/>
                    <a:pt x="422295" y="250126"/>
                  </a:cubicBezTo>
                  <a:cubicBezTo>
                    <a:pt x="422041" y="248221"/>
                    <a:pt x="421086" y="245368"/>
                    <a:pt x="420525" y="243529"/>
                  </a:cubicBezTo>
                  <a:cubicBezTo>
                    <a:pt x="418980" y="238468"/>
                    <a:pt x="416527" y="235492"/>
                    <a:pt x="413881" y="230909"/>
                  </a:cubicBezTo>
                  <a:cubicBezTo>
                    <a:pt x="411808" y="227318"/>
                    <a:pt x="408720" y="224442"/>
                    <a:pt x="405679" y="221623"/>
                  </a:cubicBezTo>
                  <a:cubicBezTo>
                    <a:pt x="405121" y="221106"/>
                    <a:pt x="404562" y="220588"/>
                    <a:pt x="404004" y="220071"/>
                  </a:cubicBezTo>
                  <a:cubicBezTo>
                    <a:pt x="402466" y="218645"/>
                    <a:pt x="400872" y="217325"/>
                    <a:pt x="399697" y="215599"/>
                  </a:cubicBezTo>
                  <a:lnTo>
                    <a:pt x="399878" y="214865"/>
                  </a:lnTo>
                  <a:cubicBezTo>
                    <a:pt x="400507" y="213854"/>
                    <a:pt x="401372" y="212990"/>
                    <a:pt x="402406" y="212398"/>
                  </a:cubicBezTo>
                  <a:cubicBezTo>
                    <a:pt x="403476" y="211784"/>
                    <a:pt x="404682" y="211456"/>
                    <a:pt x="405823" y="210985"/>
                  </a:cubicBezTo>
                  <a:cubicBezTo>
                    <a:pt x="406807" y="210579"/>
                    <a:pt x="407813" y="210183"/>
                    <a:pt x="408648" y="209524"/>
                  </a:cubicBezTo>
                  <a:cubicBezTo>
                    <a:pt x="409927" y="208515"/>
                    <a:pt x="411650" y="208050"/>
                    <a:pt x="413255" y="208331"/>
                  </a:cubicBezTo>
                  <a:cubicBezTo>
                    <a:pt x="415666" y="208753"/>
                    <a:pt x="418086" y="209176"/>
                    <a:pt x="420532" y="209289"/>
                  </a:cubicBezTo>
                  <a:cubicBezTo>
                    <a:pt x="422601" y="209384"/>
                    <a:pt x="424688" y="209255"/>
                    <a:pt x="426709" y="208801"/>
                  </a:cubicBezTo>
                  <a:cubicBezTo>
                    <a:pt x="428744" y="208344"/>
                    <a:pt x="431071" y="207864"/>
                    <a:pt x="432892" y="206847"/>
                  </a:cubicBezTo>
                  <a:cubicBezTo>
                    <a:pt x="435202" y="205555"/>
                    <a:pt x="437959" y="205441"/>
                    <a:pt x="440599" y="205260"/>
                  </a:cubicBezTo>
                  <a:cubicBezTo>
                    <a:pt x="443239" y="205078"/>
                    <a:pt x="445556" y="204118"/>
                    <a:pt x="448045" y="203218"/>
                  </a:cubicBezTo>
                  <a:cubicBezTo>
                    <a:pt x="449541" y="202677"/>
                    <a:pt x="450796" y="201584"/>
                    <a:pt x="451719" y="200290"/>
                  </a:cubicBezTo>
                  <a:cubicBezTo>
                    <a:pt x="452642" y="198994"/>
                    <a:pt x="453281" y="197544"/>
                    <a:pt x="453700" y="196009"/>
                  </a:cubicBezTo>
                  <a:cubicBezTo>
                    <a:pt x="454017" y="194846"/>
                    <a:pt x="454213" y="193651"/>
                    <a:pt x="454560" y="192496"/>
                  </a:cubicBezTo>
                  <a:cubicBezTo>
                    <a:pt x="454727" y="191939"/>
                    <a:pt x="454936" y="191380"/>
                    <a:pt x="455312" y="190936"/>
                  </a:cubicBezTo>
                  <a:cubicBezTo>
                    <a:pt x="455578" y="190622"/>
                    <a:pt x="455916" y="190379"/>
                    <a:pt x="456231" y="190113"/>
                  </a:cubicBezTo>
                  <a:cubicBezTo>
                    <a:pt x="456716" y="189705"/>
                    <a:pt x="457203" y="189249"/>
                    <a:pt x="457573" y="188734"/>
                  </a:cubicBezTo>
                  <a:cubicBezTo>
                    <a:pt x="459485" y="186075"/>
                    <a:pt x="460250" y="184420"/>
                    <a:pt x="462447" y="181991"/>
                  </a:cubicBezTo>
                  <a:cubicBezTo>
                    <a:pt x="464296" y="179946"/>
                    <a:pt x="465318" y="177287"/>
                    <a:pt x="466026" y="174623"/>
                  </a:cubicBezTo>
                  <a:cubicBezTo>
                    <a:pt x="466734" y="171958"/>
                    <a:pt x="467168" y="169219"/>
                    <a:pt x="468048" y="166606"/>
                  </a:cubicBezTo>
                  <a:cubicBezTo>
                    <a:pt x="468876" y="164147"/>
                    <a:pt x="470087" y="161833"/>
                    <a:pt x="470962" y="159390"/>
                  </a:cubicBezTo>
                  <a:cubicBezTo>
                    <a:pt x="471838" y="156947"/>
                    <a:pt x="472140" y="152479"/>
                    <a:pt x="472420" y="149899"/>
                  </a:cubicBezTo>
                  <a:cubicBezTo>
                    <a:pt x="472925" y="145251"/>
                    <a:pt x="472303" y="140348"/>
                    <a:pt x="469828" y="136381"/>
                  </a:cubicBezTo>
                  <a:cubicBezTo>
                    <a:pt x="469662" y="136116"/>
                    <a:pt x="469560" y="135918"/>
                    <a:pt x="469372" y="135667"/>
                  </a:cubicBezTo>
                  <a:cubicBezTo>
                    <a:pt x="469187" y="135420"/>
                    <a:pt x="469002" y="135173"/>
                    <a:pt x="468817" y="134926"/>
                  </a:cubicBezTo>
                  <a:cubicBezTo>
                    <a:pt x="468687" y="134752"/>
                    <a:pt x="468601" y="134582"/>
                    <a:pt x="468469" y="134409"/>
                  </a:cubicBezTo>
                  <a:cubicBezTo>
                    <a:pt x="468155" y="133996"/>
                    <a:pt x="467724" y="133475"/>
                    <a:pt x="467873" y="132983"/>
                  </a:cubicBezTo>
                  <a:cubicBezTo>
                    <a:pt x="468078" y="132627"/>
                    <a:pt x="468234" y="132246"/>
                    <a:pt x="468297" y="131841"/>
                  </a:cubicBezTo>
                  <a:lnTo>
                    <a:pt x="468180" y="132084"/>
                  </a:lnTo>
                  <a:cubicBezTo>
                    <a:pt x="468207" y="132006"/>
                    <a:pt x="468234" y="131927"/>
                    <a:pt x="468261" y="131849"/>
                  </a:cubicBezTo>
                  <a:cubicBezTo>
                    <a:pt x="468421" y="131384"/>
                    <a:pt x="468841" y="130741"/>
                    <a:pt x="469018" y="130282"/>
                  </a:cubicBezTo>
                  <a:cubicBezTo>
                    <a:pt x="469741" y="128402"/>
                    <a:pt x="469799" y="126551"/>
                    <a:pt x="469255" y="124611"/>
                  </a:cubicBezTo>
                  <a:cubicBezTo>
                    <a:pt x="468987" y="123656"/>
                    <a:pt x="467201" y="121915"/>
                    <a:pt x="466321" y="121244"/>
                  </a:cubicBezTo>
                  <a:cubicBezTo>
                    <a:pt x="464856" y="120125"/>
                    <a:pt x="463450" y="119383"/>
                    <a:pt x="461899" y="118388"/>
                  </a:cubicBezTo>
                  <a:cubicBezTo>
                    <a:pt x="461631" y="118216"/>
                    <a:pt x="461363" y="118044"/>
                    <a:pt x="461094" y="117872"/>
                  </a:cubicBezTo>
                  <a:cubicBezTo>
                    <a:pt x="460882" y="117736"/>
                    <a:pt x="460663" y="117598"/>
                    <a:pt x="460480" y="117431"/>
                  </a:cubicBezTo>
                  <a:cubicBezTo>
                    <a:pt x="460849" y="117678"/>
                    <a:pt x="461266" y="117954"/>
                    <a:pt x="461770" y="118298"/>
                  </a:cubicBezTo>
                  <a:lnTo>
                    <a:pt x="457533" y="107668"/>
                  </a:lnTo>
                  <a:cubicBezTo>
                    <a:pt x="457573" y="107450"/>
                    <a:pt x="457606" y="107232"/>
                    <a:pt x="457637" y="107013"/>
                  </a:cubicBezTo>
                  <a:lnTo>
                    <a:pt x="457710" y="107037"/>
                  </a:lnTo>
                  <a:cubicBezTo>
                    <a:pt x="457704" y="106990"/>
                    <a:pt x="457681" y="106927"/>
                    <a:pt x="457660" y="106865"/>
                  </a:cubicBezTo>
                  <a:cubicBezTo>
                    <a:pt x="457854" y="105386"/>
                    <a:pt x="457834" y="103896"/>
                    <a:pt x="457715" y="102400"/>
                  </a:cubicBezTo>
                  <a:cubicBezTo>
                    <a:pt x="458126" y="101836"/>
                    <a:pt x="458342" y="101138"/>
                    <a:pt x="458371" y="100437"/>
                  </a:cubicBezTo>
                  <a:lnTo>
                    <a:pt x="457604" y="101224"/>
                  </a:lnTo>
                  <a:cubicBezTo>
                    <a:pt x="457382" y="99187"/>
                    <a:pt x="457032" y="97138"/>
                    <a:pt x="456839" y="95089"/>
                  </a:cubicBezTo>
                  <a:cubicBezTo>
                    <a:pt x="456451" y="90972"/>
                    <a:pt x="457111" y="88693"/>
                    <a:pt x="457416" y="85061"/>
                  </a:cubicBezTo>
                  <a:cubicBezTo>
                    <a:pt x="458131" y="83772"/>
                    <a:pt x="458594" y="82267"/>
                    <a:pt x="458630" y="80796"/>
                  </a:cubicBezTo>
                  <a:cubicBezTo>
                    <a:pt x="458648" y="80061"/>
                    <a:pt x="458527" y="79330"/>
                    <a:pt x="458494" y="78596"/>
                  </a:cubicBezTo>
                  <a:cubicBezTo>
                    <a:pt x="458364" y="75673"/>
                    <a:pt x="459637" y="72736"/>
                    <a:pt x="459026" y="69874"/>
                  </a:cubicBezTo>
                  <a:cubicBezTo>
                    <a:pt x="460135" y="71063"/>
                    <a:pt x="460904" y="72606"/>
                    <a:pt x="460903" y="74232"/>
                  </a:cubicBezTo>
                  <a:cubicBezTo>
                    <a:pt x="460902" y="75668"/>
                    <a:pt x="460892" y="77194"/>
                    <a:pt x="460376" y="78534"/>
                  </a:cubicBezTo>
                  <a:cubicBezTo>
                    <a:pt x="461581" y="77469"/>
                    <a:pt x="462389" y="76028"/>
                    <a:pt x="462647" y="74442"/>
                  </a:cubicBezTo>
                  <a:cubicBezTo>
                    <a:pt x="462901" y="72886"/>
                    <a:pt x="463185" y="71243"/>
                    <a:pt x="462922" y="69690"/>
                  </a:cubicBezTo>
                  <a:cubicBezTo>
                    <a:pt x="462525" y="67345"/>
                    <a:pt x="461352" y="65215"/>
                    <a:pt x="460197" y="63136"/>
                  </a:cubicBezTo>
                  <a:cubicBezTo>
                    <a:pt x="458727" y="60491"/>
                    <a:pt x="457890" y="57373"/>
                    <a:pt x="455764" y="55218"/>
                  </a:cubicBezTo>
                  <a:cubicBezTo>
                    <a:pt x="456839" y="55366"/>
                    <a:pt x="458004" y="55492"/>
                    <a:pt x="458884" y="56127"/>
                  </a:cubicBezTo>
                  <a:cubicBezTo>
                    <a:pt x="459256" y="56395"/>
                    <a:pt x="459568" y="56736"/>
                    <a:pt x="459877" y="57075"/>
                  </a:cubicBezTo>
                  <a:cubicBezTo>
                    <a:pt x="460560" y="57824"/>
                    <a:pt x="461244" y="58573"/>
                    <a:pt x="461927" y="59322"/>
                  </a:cubicBezTo>
                  <a:cubicBezTo>
                    <a:pt x="461546" y="55553"/>
                    <a:pt x="459439" y="52064"/>
                    <a:pt x="456088" y="50298"/>
                  </a:cubicBezTo>
                  <a:cubicBezTo>
                    <a:pt x="454363" y="49389"/>
                    <a:pt x="453026" y="47741"/>
                    <a:pt x="451328" y="46782"/>
                  </a:cubicBezTo>
                  <a:cubicBezTo>
                    <a:pt x="449421" y="45705"/>
                    <a:pt x="447515" y="44629"/>
                    <a:pt x="445609" y="43552"/>
                  </a:cubicBezTo>
                  <a:cubicBezTo>
                    <a:pt x="448997" y="43817"/>
                    <a:pt x="452441" y="41610"/>
                    <a:pt x="453920" y="38550"/>
                  </a:cubicBezTo>
                  <a:cubicBezTo>
                    <a:pt x="451985" y="39203"/>
                    <a:pt x="449790" y="39306"/>
                    <a:pt x="447802" y="38840"/>
                  </a:cubicBezTo>
                  <a:cubicBezTo>
                    <a:pt x="445582" y="38320"/>
                    <a:pt x="443736" y="36801"/>
                    <a:pt x="442145" y="35167"/>
                  </a:cubicBezTo>
                  <a:cubicBezTo>
                    <a:pt x="440188" y="33158"/>
                    <a:pt x="438807" y="30532"/>
                    <a:pt x="436434" y="29036"/>
                  </a:cubicBezTo>
                  <a:cubicBezTo>
                    <a:pt x="432547" y="26584"/>
                    <a:pt x="428966" y="23154"/>
                    <a:pt x="424747" y="21331"/>
                  </a:cubicBezTo>
                  <a:cubicBezTo>
                    <a:pt x="419879" y="19230"/>
                    <a:pt x="415012" y="17128"/>
                    <a:pt x="410145" y="15026"/>
                  </a:cubicBezTo>
                  <a:cubicBezTo>
                    <a:pt x="402182" y="11587"/>
                    <a:pt x="393269" y="11210"/>
                    <a:pt x="384832" y="9201"/>
                  </a:cubicBezTo>
                  <a:cubicBezTo>
                    <a:pt x="389206" y="7930"/>
                    <a:pt x="393651" y="7502"/>
                    <a:pt x="398144" y="8247"/>
                  </a:cubicBezTo>
                  <a:cubicBezTo>
                    <a:pt x="395716" y="6587"/>
                    <a:pt x="393054" y="5415"/>
                    <a:pt x="390197" y="4718"/>
                  </a:cubicBezTo>
                  <a:cubicBezTo>
                    <a:pt x="385568" y="3587"/>
                    <a:pt x="380658" y="6015"/>
                    <a:pt x="375894" y="5919"/>
                  </a:cubicBezTo>
                  <a:cubicBezTo>
                    <a:pt x="374130" y="5884"/>
                    <a:pt x="372391" y="5507"/>
                    <a:pt x="370631" y="5377"/>
                  </a:cubicBezTo>
                  <a:cubicBezTo>
                    <a:pt x="368872" y="5246"/>
                    <a:pt x="367017" y="5386"/>
                    <a:pt x="365503" y="6291"/>
                  </a:cubicBezTo>
                  <a:cubicBezTo>
                    <a:pt x="363551" y="7459"/>
                    <a:pt x="360873" y="7314"/>
                    <a:pt x="358599" y="7248"/>
                  </a:cubicBezTo>
                  <a:cubicBezTo>
                    <a:pt x="356324" y="7182"/>
                    <a:pt x="354043" y="6859"/>
                    <a:pt x="351783" y="7124"/>
                  </a:cubicBezTo>
                  <a:cubicBezTo>
                    <a:pt x="349523" y="7389"/>
                    <a:pt x="347203" y="8357"/>
                    <a:pt x="345986" y="10279"/>
                  </a:cubicBezTo>
                  <a:cubicBezTo>
                    <a:pt x="344330" y="12891"/>
                    <a:pt x="340875" y="13666"/>
                    <a:pt x="337805" y="14034"/>
                  </a:cubicBezTo>
                  <a:cubicBezTo>
                    <a:pt x="337968" y="13028"/>
                    <a:pt x="338371" y="12031"/>
                    <a:pt x="339066" y="11285"/>
                  </a:cubicBezTo>
                  <a:cubicBezTo>
                    <a:pt x="339762" y="10540"/>
                    <a:pt x="340535" y="9845"/>
                    <a:pt x="341040" y="8959"/>
                  </a:cubicBezTo>
                  <a:cubicBezTo>
                    <a:pt x="341749" y="7716"/>
                    <a:pt x="341852" y="6145"/>
                    <a:pt x="341313" y="4819"/>
                  </a:cubicBezTo>
                  <a:cubicBezTo>
                    <a:pt x="340702" y="3318"/>
                    <a:pt x="341142" y="1620"/>
                    <a:pt x="341100" y="0"/>
                  </a:cubicBezTo>
                  <a:cubicBezTo>
                    <a:pt x="339986" y="1185"/>
                    <a:pt x="339157" y="2650"/>
                    <a:pt x="338810" y="4239"/>
                  </a:cubicBezTo>
                  <a:cubicBezTo>
                    <a:pt x="338494" y="5685"/>
                    <a:pt x="337939" y="7231"/>
                    <a:pt x="337183" y="8503"/>
                  </a:cubicBezTo>
                  <a:cubicBezTo>
                    <a:pt x="336683" y="9345"/>
                    <a:pt x="335822" y="9897"/>
                    <a:pt x="334992" y="10417"/>
                  </a:cubicBezTo>
                  <a:cubicBezTo>
                    <a:pt x="333279" y="11491"/>
                    <a:pt x="331566" y="12565"/>
                    <a:pt x="329852" y="13640"/>
                  </a:cubicBezTo>
                  <a:cubicBezTo>
                    <a:pt x="327537" y="15092"/>
                    <a:pt x="325019" y="16303"/>
                    <a:pt x="323929" y="18810"/>
                  </a:cubicBezTo>
                  <a:cubicBezTo>
                    <a:pt x="323621" y="19520"/>
                    <a:pt x="323386" y="20297"/>
                    <a:pt x="322832" y="20837"/>
                  </a:cubicBezTo>
                  <a:cubicBezTo>
                    <a:pt x="322464" y="21196"/>
                    <a:pt x="321986" y="21417"/>
                    <a:pt x="321518" y="21631"/>
                  </a:cubicBezTo>
                  <a:cubicBezTo>
                    <a:pt x="319445" y="22580"/>
                    <a:pt x="317372" y="23529"/>
                    <a:pt x="315299" y="24478"/>
                  </a:cubicBezTo>
                  <a:cubicBezTo>
                    <a:pt x="315051" y="23777"/>
                    <a:pt x="315174" y="23035"/>
                    <a:pt x="315573" y="22409"/>
                  </a:cubicBezTo>
                  <a:cubicBezTo>
                    <a:pt x="315972" y="21783"/>
                    <a:pt x="316545" y="21291"/>
                    <a:pt x="317098" y="20796"/>
                  </a:cubicBezTo>
                  <a:cubicBezTo>
                    <a:pt x="317652" y="20301"/>
                    <a:pt x="318205" y="19780"/>
                    <a:pt x="318548" y="19121"/>
                  </a:cubicBezTo>
                  <a:cubicBezTo>
                    <a:pt x="317776" y="19247"/>
                    <a:pt x="316970" y="19435"/>
                    <a:pt x="316198" y="19561"/>
                  </a:cubicBezTo>
                  <a:cubicBezTo>
                    <a:pt x="314445" y="19846"/>
                    <a:pt x="312935" y="21199"/>
                    <a:pt x="312052" y="22740"/>
                  </a:cubicBezTo>
                  <a:cubicBezTo>
                    <a:pt x="311585" y="23556"/>
                    <a:pt x="311323" y="24501"/>
                    <a:pt x="311012" y="25389"/>
                  </a:cubicBezTo>
                  <a:cubicBezTo>
                    <a:pt x="310759" y="26117"/>
                    <a:pt x="310504" y="26846"/>
                    <a:pt x="310163" y="27537"/>
                  </a:cubicBezTo>
                  <a:cubicBezTo>
                    <a:pt x="309573" y="28733"/>
                    <a:pt x="308737" y="29788"/>
                    <a:pt x="307908" y="30834"/>
                  </a:cubicBezTo>
                  <a:cubicBezTo>
                    <a:pt x="307164" y="31771"/>
                    <a:pt x="306420" y="32709"/>
                    <a:pt x="305676" y="33646"/>
                  </a:cubicBezTo>
                  <a:cubicBezTo>
                    <a:pt x="304230" y="35469"/>
                    <a:pt x="301981" y="36523"/>
                    <a:pt x="300409" y="38238"/>
                  </a:cubicBezTo>
                  <a:cubicBezTo>
                    <a:pt x="298293" y="40545"/>
                    <a:pt x="296630" y="43223"/>
                    <a:pt x="294979" y="45884"/>
                  </a:cubicBezTo>
                  <a:cubicBezTo>
                    <a:pt x="293795" y="47793"/>
                    <a:pt x="292001" y="49459"/>
                    <a:pt x="290514" y="51143"/>
                  </a:cubicBezTo>
                  <a:cubicBezTo>
                    <a:pt x="289676" y="52093"/>
                    <a:pt x="288835" y="53046"/>
                    <a:pt x="288121" y="54093"/>
                  </a:cubicBezTo>
                  <a:cubicBezTo>
                    <a:pt x="286854" y="55953"/>
                    <a:pt x="286018" y="58067"/>
                    <a:pt x="285193" y="60160"/>
                  </a:cubicBezTo>
                  <a:cubicBezTo>
                    <a:pt x="284639" y="58975"/>
                    <a:pt x="284090" y="57666"/>
                    <a:pt x="283968" y="56364"/>
                  </a:cubicBezTo>
                  <a:cubicBezTo>
                    <a:pt x="283824" y="54830"/>
                    <a:pt x="284253" y="53305"/>
                    <a:pt x="284678" y="51823"/>
                  </a:cubicBezTo>
                  <a:cubicBezTo>
                    <a:pt x="283026" y="52758"/>
                    <a:pt x="282006" y="54627"/>
                    <a:pt x="282094" y="56523"/>
                  </a:cubicBezTo>
                  <a:cubicBezTo>
                    <a:pt x="282175" y="58238"/>
                    <a:pt x="281472" y="60085"/>
                    <a:pt x="280909" y="61706"/>
                  </a:cubicBezTo>
                  <a:cubicBezTo>
                    <a:pt x="280468" y="62976"/>
                    <a:pt x="279919" y="64210"/>
                    <a:pt x="279568" y="65507"/>
                  </a:cubicBezTo>
                  <a:cubicBezTo>
                    <a:pt x="278765" y="68475"/>
                    <a:pt x="279038" y="71614"/>
                    <a:pt x="279318" y="74675"/>
                  </a:cubicBezTo>
                  <a:cubicBezTo>
                    <a:pt x="279605" y="77819"/>
                    <a:pt x="279439" y="81095"/>
                    <a:pt x="279015" y="84224"/>
                  </a:cubicBezTo>
                  <a:cubicBezTo>
                    <a:pt x="278666" y="86797"/>
                    <a:pt x="278080" y="89343"/>
                    <a:pt x="277951" y="91937"/>
                  </a:cubicBezTo>
                  <a:cubicBezTo>
                    <a:pt x="277682" y="97357"/>
                    <a:pt x="277264" y="102980"/>
                    <a:pt x="277726" y="108388"/>
                  </a:cubicBezTo>
                  <a:cubicBezTo>
                    <a:pt x="277848" y="109817"/>
                    <a:pt x="278007" y="111381"/>
                    <a:pt x="278523" y="112721"/>
                  </a:cubicBezTo>
                  <a:cubicBezTo>
                    <a:pt x="278870" y="113623"/>
                    <a:pt x="279218" y="114525"/>
                    <a:pt x="279565" y="115427"/>
                  </a:cubicBezTo>
                  <a:cubicBezTo>
                    <a:pt x="280462" y="117758"/>
                    <a:pt x="279770" y="120615"/>
                    <a:pt x="279283" y="123065"/>
                  </a:cubicBezTo>
                  <a:cubicBezTo>
                    <a:pt x="279044" y="124263"/>
                    <a:pt x="278649" y="125430"/>
                    <a:pt x="278111" y="126528"/>
                  </a:cubicBezTo>
                  <a:cubicBezTo>
                    <a:pt x="279632" y="125754"/>
                    <a:pt x="280679" y="124354"/>
                    <a:pt x="281234" y="122739"/>
                  </a:cubicBezTo>
                  <a:cubicBezTo>
                    <a:pt x="281132" y="124003"/>
                    <a:pt x="281304" y="125245"/>
                    <a:pt x="281613" y="126475"/>
                  </a:cubicBezTo>
                  <a:cubicBezTo>
                    <a:pt x="281820" y="127301"/>
                    <a:pt x="282118" y="128103"/>
                    <a:pt x="282297" y="128936"/>
                  </a:cubicBezTo>
                  <a:cubicBezTo>
                    <a:pt x="282642" y="130538"/>
                    <a:pt x="282537" y="132198"/>
                    <a:pt x="282431" y="133834"/>
                  </a:cubicBezTo>
                  <a:cubicBezTo>
                    <a:pt x="282276" y="136224"/>
                    <a:pt x="281629" y="138729"/>
                    <a:pt x="280144" y="140608"/>
                  </a:cubicBezTo>
                  <a:cubicBezTo>
                    <a:pt x="278658" y="142486"/>
                    <a:pt x="276500" y="143821"/>
                    <a:pt x="274156" y="144312"/>
                  </a:cubicBezTo>
                  <a:cubicBezTo>
                    <a:pt x="275814" y="145385"/>
                    <a:pt x="277845" y="145862"/>
                    <a:pt x="279773" y="145435"/>
                  </a:cubicBezTo>
                  <a:cubicBezTo>
                    <a:pt x="281253" y="145107"/>
                    <a:pt x="282770" y="144491"/>
                    <a:pt x="283853" y="143430"/>
                  </a:cubicBezTo>
                  <a:cubicBezTo>
                    <a:pt x="284935" y="142369"/>
                    <a:pt x="285662" y="140951"/>
                    <a:pt x="285889" y="139452"/>
                  </a:cubicBezTo>
                  <a:cubicBezTo>
                    <a:pt x="286805" y="142620"/>
                    <a:pt x="286286" y="146109"/>
                    <a:pt x="284655" y="148976"/>
                  </a:cubicBezTo>
                  <a:cubicBezTo>
                    <a:pt x="283661" y="150724"/>
                    <a:pt x="283104" y="152718"/>
                    <a:pt x="282958" y="154724"/>
                  </a:cubicBezTo>
                  <a:cubicBezTo>
                    <a:pt x="282825" y="156548"/>
                    <a:pt x="283058" y="158378"/>
                    <a:pt x="283033" y="160207"/>
                  </a:cubicBezTo>
                  <a:cubicBezTo>
                    <a:pt x="283009" y="162036"/>
                    <a:pt x="282694" y="163940"/>
                    <a:pt x="281609" y="165412"/>
                  </a:cubicBezTo>
                  <a:cubicBezTo>
                    <a:pt x="282866" y="165428"/>
                    <a:pt x="284111" y="164887"/>
                    <a:pt x="285001" y="163997"/>
                  </a:cubicBezTo>
                  <a:cubicBezTo>
                    <a:pt x="285890" y="163108"/>
                    <a:pt x="286402" y="161851"/>
                    <a:pt x="286386" y="160594"/>
                  </a:cubicBezTo>
                  <a:cubicBezTo>
                    <a:pt x="286365" y="158897"/>
                    <a:pt x="287202" y="157174"/>
                    <a:pt x="288112" y="155742"/>
                  </a:cubicBezTo>
                  <a:cubicBezTo>
                    <a:pt x="287739" y="156510"/>
                    <a:pt x="288291" y="157433"/>
                    <a:pt x="288771" y="158139"/>
                  </a:cubicBezTo>
                  <a:cubicBezTo>
                    <a:pt x="289251" y="158846"/>
                    <a:pt x="289917" y="159406"/>
                    <a:pt x="290437" y="160083"/>
                  </a:cubicBezTo>
                  <a:cubicBezTo>
                    <a:pt x="291326" y="161242"/>
                    <a:pt x="291754" y="162744"/>
                    <a:pt x="291612" y="164197"/>
                  </a:cubicBezTo>
                  <a:cubicBezTo>
                    <a:pt x="291499" y="165357"/>
                    <a:pt x="290800" y="166392"/>
                    <a:pt x="290524" y="167525"/>
                  </a:cubicBezTo>
                  <a:cubicBezTo>
                    <a:pt x="290117" y="169200"/>
                    <a:pt x="290241" y="170999"/>
                    <a:pt x="290874" y="172602"/>
                  </a:cubicBezTo>
                  <a:cubicBezTo>
                    <a:pt x="291507" y="174204"/>
                    <a:pt x="292646" y="175602"/>
                    <a:pt x="294088" y="176546"/>
                  </a:cubicBezTo>
                  <a:cubicBezTo>
                    <a:pt x="294357" y="175853"/>
                    <a:pt x="294532" y="175066"/>
                    <a:pt x="294332" y="174350"/>
                  </a:cubicBezTo>
                  <a:cubicBezTo>
                    <a:pt x="294271" y="174131"/>
                    <a:pt x="294167" y="173925"/>
                    <a:pt x="294026" y="173746"/>
                  </a:cubicBezTo>
                  <a:cubicBezTo>
                    <a:pt x="293020" y="172462"/>
                    <a:pt x="293417" y="170405"/>
                    <a:pt x="293945" y="168861"/>
                  </a:cubicBezTo>
                  <a:cubicBezTo>
                    <a:pt x="294058" y="168530"/>
                    <a:pt x="294333" y="168005"/>
                    <a:pt x="294680" y="168040"/>
                  </a:cubicBezTo>
                  <a:cubicBezTo>
                    <a:pt x="296910" y="169975"/>
                    <a:pt x="298924" y="172276"/>
                    <a:pt x="300593" y="174711"/>
                  </a:cubicBezTo>
                  <a:cubicBezTo>
                    <a:pt x="300930" y="175204"/>
                    <a:pt x="301317" y="175733"/>
                    <a:pt x="301895" y="175884"/>
                  </a:cubicBezTo>
                  <a:cubicBezTo>
                    <a:pt x="302344" y="176001"/>
                    <a:pt x="302917" y="175873"/>
                    <a:pt x="303360" y="175736"/>
                  </a:cubicBezTo>
                  <a:cubicBezTo>
                    <a:pt x="304188" y="174778"/>
                    <a:pt x="304616" y="173545"/>
                    <a:pt x="304719" y="172282"/>
                  </a:cubicBezTo>
                  <a:cubicBezTo>
                    <a:pt x="304800" y="171283"/>
                    <a:pt x="305075" y="170120"/>
                    <a:pt x="305699" y="169363"/>
                  </a:cubicBezTo>
                  <a:cubicBezTo>
                    <a:pt x="306697" y="170859"/>
                    <a:pt x="306560" y="172900"/>
                    <a:pt x="306334" y="174756"/>
                  </a:cubicBezTo>
                  <a:cubicBezTo>
                    <a:pt x="306149" y="176274"/>
                    <a:pt x="306086" y="177815"/>
                    <a:pt x="306384" y="179315"/>
                  </a:cubicBezTo>
                  <a:cubicBezTo>
                    <a:pt x="306682" y="180814"/>
                    <a:pt x="307466" y="182286"/>
                    <a:pt x="308781" y="183067"/>
                  </a:cubicBezTo>
                  <a:cubicBezTo>
                    <a:pt x="308869" y="183119"/>
                    <a:pt x="308935" y="183154"/>
                    <a:pt x="308996" y="183224"/>
                  </a:cubicBezTo>
                  <a:cubicBezTo>
                    <a:pt x="308941" y="183237"/>
                    <a:pt x="308885" y="183246"/>
                    <a:pt x="308830" y="183259"/>
                  </a:cubicBezTo>
                  <a:lnTo>
                    <a:pt x="309068" y="183336"/>
                  </a:lnTo>
                  <a:cubicBezTo>
                    <a:pt x="309106" y="183410"/>
                    <a:pt x="309133" y="183490"/>
                    <a:pt x="309127" y="183573"/>
                  </a:cubicBezTo>
                  <a:cubicBezTo>
                    <a:pt x="309115" y="183720"/>
                    <a:pt x="309010" y="183854"/>
                    <a:pt x="308870" y="183900"/>
                  </a:cubicBezTo>
                  <a:cubicBezTo>
                    <a:pt x="308242" y="184107"/>
                    <a:pt x="307623" y="184368"/>
                    <a:pt x="307081" y="184748"/>
                  </a:cubicBezTo>
                  <a:cubicBezTo>
                    <a:pt x="305667" y="185738"/>
                    <a:pt x="304320" y="186853"/>
                    <a:pt x="303367" y="188293"/>
                  </a:cubicBezTo>
                  <a:cubicBezTo>
                    <a:pt x="301432" y="191215"/>
                    <a:pt x="299883" y="194303"/>
                    <a:pt x="298560" y="197548"/>
                  </a:cubicBezTo>
                  <a:cubicBezTo>
                    <a:pt x="297844" y="199304"/>
                    <a:pt x="297486" y="201186"/>
                    <a:pt x="297000" y="203021"/>
                  </a:cubicBezTo>
                  <a:lnTo>
                    <a:pt x="295215" y="205212"/>
                  </a:lnTo>
                  <a:cubicBezTo>
                    <a:pt x="295065" y="205283"/>
                    <a:pt x="294913" y="205352"/>
                    <a:pt x="294760" y="205418"/>
                  </a:cubicBezTo>
                  <a:cubicBezTo>
                    <a:pt x="291908" y="206652"/>
                    <a:pt x="289557" y="208849"/>
                    <a:pt x="287132" y="210793"/>
                  </a:cubicBezTo>
                  <a:cubicBezTo>
                    <a:pt x="283712" y="213536"/>
                    <a:pt x="279959" y="215771"/>
                    <a:pt x="275794" y="217139"/>
                  </a:cubicBezTo>
                  <a:cubicBezTo>
                    <a:pt x="271843" y="218437"/>
                    <a:pt x="268725" y="221193"/>
                    <a:pt x="265636" y="223977"/>
                  </a:cubicBezTo>
                  <a:cubicBezTo>
                    <a:pt x="262096" y="227167"/>
                    <a:pt x="257600" y="229346"/>
                    <a:pt x="253350" y="231502"/>
                  </a:cubicBezTo>
                  <a:cubicBezTo>
                    <a:pt x="250418" y="232989"/>
                    <a:pt x="247485" y="234476"/>
                    <a:pt x="244482" y="235812"/>
                  </a:cubicBezTo>
                  <a:cubicBezTo>
                    <a:pt x="237796" y="238786"/>
                    <a:pt x="232023" y="241264"/>
                    <a:pt x="224840" y="242661"/>
                  </a:cubicBezTo>
                  <a:cubicBezTo>
                    <a:pt x="221569" y="243298"/>
                    <a:pt x="217543" y="244498"/>
                    <a:pt x="214285" y="245196"/>
                  </a:cubicBezTo>
                  <a:cubicBezTo>
                    <a:pt x="211481" y="245797"/>
                    <a:pt x="208269" y="246761"/>
                    <a:pt x="205536" y="247626"/>
                  </a:cubicBezTo>
                  <a:cubicBezTo>
                    <a:pt x="204245" y="248034"/>
                    <a:pt x="203148" y="248385"/>
                    <a:pt x="202061" y="248750"/>
                  </a:cubicBezTo>
                  <a:lnTo>
                    <a:pt x="203748" y="248084"/>
                  </a:lnTo>
                  <a:cubicBezTo>
                    <a:pt x="203020" y="248353"/>
                    <a:pt x="202288" y="248636"/>
                    <a:pt x="201556" y="248920"/>
                  </a:cubicBezTo>
                  <a:cubicBezTo>
                    <a:pt x="201124" y="249067"/>
                    <a:pt x="200687" y="249220"/>
                    <a:pt x="200238" y="249379"/>
                  </a:cubicBezTo>
                  <a:cubicBezTo>
                    <a:pt x="200169" y="249317"/>
                    <a:pt x="200099" y="249255"/>
                    <a:pt x="200030" y="249192"/>
                  </a:cubicBezTo>
                  <a:cubicBezTo>
                    <a:pt x="200411" y="249081"/>
                    <a:pt x="200826" y="249004"/>
                    <a:pt x="201207" y="248893"/>
                  </a:cubicBezTo>
                  <a:cubicBezTo>
                    <a:pt x="200348" y="248148"/>
                    <a:pt x="199533" y="247353"/>
                    <a:pt x="198768" y="246513"/>
                  </a:cubicBezTo>
                  <a:cubicBezTo>
                    <a:pt x="198346" y="246051"/>
                    <a:pt x="197866" y="245501"/>
                    <a:pt x="197734" y="244890"/>
                  </a:cubicBezTo>
                  <a:cubicBezTo>
                    <a:pt x="197519" y="243900"/>
                    <a:pt x="196981" y="243025"/>
                    <a:pt x="196284" y="242290"/>
                  </a:cubicBezTo>
                  <a:cubicBezTo>
                    <a:pt x="195342" y="241297"/>
                    <a:pt x="193925" y="240777"/>
                    <a:pt x="192565" y="240923"/>
                  </a:cubicBezTo>
                  <a:cubicBezTo>
                    <a:pt x="191398" y="241049"/>
                    <a:pt x="190146" y="241414"/>
                    <a:pt x="189269" y="242194"/>
                  </a:cubicBezTo>
                  <a:cubicBezTo>
                    <a:pt x="188110" y="243224"/>
                    <a:pt x="186812" y="244110"/>
                    <a:pt x="185788" y="245273"/>
                  </a:cubicBezTo>
                  <a:cubicBezTo>
                    <a:pt x="185465" y="245638"/>
                    <a:pt x="184986" y="245860"/>
                    <a:pt x="184499" y="245870"/>
                  </a:cubicBezTo>
                  <a:cubicBezTo>
                    <a:pt x="184011" y="245880"/>
                    <a:pt x="183533" y="245570"/>
                    <a:pt x="183113" y="245323"/>
                  </a:cubicBezTo>
                  <a:cubicBezTo>
                    <a:pt x="181738" y="244515"/>
                    <a:pt x="179933" y="244225"/>
                    <a:pt x="178375" y="244566"/>
                  </a:cubicBezTo>
                  <a:cubicBezTo>
                    <a:pt x="177307" y="244800"/>
                    <a:pt x="176312" y="245441"/>
                    <a:pt x="175520" y="246196"/>
                  </a:cubicBezTo>
                  <a:cubicBezTo>
                    <a:pt x="173501" y="248118"/>
                    <a:pt x="171482" y="250042"/>
                    <a:pt x="169463" y="251965"/>
                  </a:cubicBezTo>
                  <a:cubicBezTo>
                    <a:pt x="168503" y="252879"/>
                    <a:pt x="167514" y="253813"/>
                    <a:pt x="166289" y="254321"/>
                  </a:cubicBezTo>
                  <a:cubicBezTo>
                    <a:pt x="165112" y="254811"/>
                    <a:pt x="163736" y="255106"/>
                    <a:pt x="162684" y="255827"/>
                  </a:cubicBezTo>
                  <a:cubicBezTo>
                    <a:pt x="160973" y="257002"/>
                    <a:pt x="159590" y="258590"/>
                    <a:pt x="157976" y="259894"/>
                  </a:cubicBezTo>
                  <a:cubicBezTo>
                    <a:pt x="156361" y="261199"/>
                    <a:pt x="154273" y="262781"/>
                    <a:pt x="152246" y="262340"/>
                  </a:cubicBezTo>
                  <a:cubicBezTo>
                    <a:pt x="148430" y="261509"/>
                    <a:pt x="144346" y="261329"/>
                    <a:pt x="140577" y="262350"/>
                  </a:cubicBezTo>
                  <a:cubicBezTo>
                    <a:pt x="136650" y="263414"/>
                    <a:pt x="132990" y="265453"/>
                    <a:pt x="130018" y="268231"/>
                  </a:cubicBezTo>
                  <a:cubicBezTo>
                    <a:pt x="127366" y="270711"/>
                    <a:pt x="125152" y="273839"/>
                    <a:pt x="121838" y="275321"/>
                  </a:cubicBezTo>
                  <a:cubicBezTo>
                    <a:pt x="119521" y="276358"/>
                    <a:pt x="116916" y="276468"/>
                    <a:pt x="114407" y="276857"/>
                  </a:cubicBezTo>
                  <a:cubicBezTo>
                    <a:pt x="111899" y="277247"/>
                    <a:pt x="109493" y="278803"/>
                    <a:pt x="107255" y="280001"/>
                  </a:cubicBezTo>
                  <a:cubicBezTo>
                    <a:pt x="104044" y="281719"/>
                    <a:pt x="101224" y="284164"/>
                    <a:pt x="99069" y="287101"/>
                  </a:cubicBezTo>
                  <a:cubicBezTo>
                    <a:pt x="97169" y="289690"/>
                    <a:pt x="95633" y="292789"/>
                    <a:pt x="92778" y="294262"/>
                  </a:cubicBezTo>
                  <a:cubicBezTo>
                    <a:pt x="91349" y="294999"/>
                    <a:pt x="90122" y="295769"/>
                    <a:pt x="88848" y="296750"/>
                  </a:cubicBezTo>
                  <a:cubicBezTo>
                    <a:pt x="85344" y="299449"/>
                    <a:pt x="82425" y="302904"/>
                    <a:pt x="80350" y="306809"/>
                  </a:cubicBezTo>
                  <a:cubicBezTo>
                    <a:pt x="79753" y="307933"/>
                    <a:pt x="79206" y="309118"/>
                    <a:pt x="78290" y="310001"/>
                  </a:cubicBezTo>
                  <a:cubicBezTo>
                    <a:pt x="77247" y="311005"/>
                    <a:pt x="75834" y="311513"/>
                    <a:pt x="74623" y="312308"/>
                  </a:cubicBezTo>
                  <a:cubicBezTo>
                    <a:pt x="73413" y="313103"/>
                    <a:pt x="72064" y="314541"/>
                    <a:pt x="72310" y="315968"/>
                  </a:cubicBezTo>
                  <a:cubicBezTo>
                    <a:pt x="69788" y="319848"/>
                    <a:pt x="68011" y="324194"/>
                    <a:pt x="66922" y="328692"/>
                  </a:cubicBezTo>
                  <a:cubicBezTo>
                    <a:pt x="66634" y="329884"/>
                    <a:pt x="66394" y="331086"/>
                    <a:pt x="66153" y="332288"/>
                  </a:cubicBezTo>
                  <a:cubicBezTo>
                    <a:pt x="66025" y="332928"/>
                    <a:pt x="65897" y="333568"/>
                    <a:pt x="65769" y="334209"/>
                  </a:cubicBezTo>
                  <a:cubicBezTo>
                    <a:pt x="65548" y="335314"/>
                    <a:pt x="65169" y="336451"/>
                    <a:pt x="64545" y="337391"/>
                  </a:cubicBezTo>
                  <a:cubicBezTo>
                    <a:pt x="62709" y="340160"/>
                    <a:pt x="61709" y="343476"/>
                    <a:pt x="61706" y="346798"/>
                  </a:cubicBezTo>
                  <a:cubicBezTo>
                    <a:pt x="61705" y="347765"/>
                    <a:pt x="61784" y="348752"/>
                    <a:pt x="61526" y="349683"/>
                  </a:cubicBezTo>
                  <a:cubicBezTo>
                    <a:pt x="61279" y="350573"/>
                    <a:pt x="60742" y="351349"/>
                    <a:pt x="60353" y="352185"/>
                  </a:cubicBezTo>
                  <a:cubicBezTo>
                    <a:pt x="59692" y="353607"/>
                    <a:pt x="59703" y="355286"/>
                    <a:pt x="59046" y="356710"/>
                  </a:cubicBezTo>
                  <a:cubicBezTo>
                    <a:pt x="58223" y="358494"/>
                    <a:pt x="57873" y="360494"/>
                    <a:pt x="58041" y="362451"/>
                  </a:cubicBezTo>
                  <a:cubicBezTo>
                    <a:pt x="58150" y="363711"/>
                    <a:pt x="58466" y="364943"/>
                    <a:pt x="58609" y="366199"/>
                  </a:cubicBezTo>
                  <a:cubicBezTo>
                    <a:pt x="58818" y="368024"/>
                    <a:pt x="58615" y="369684"/>
                    <a:pt x="58309" y="371495"/>
                  </a:cubicBezTo>
                  <a:cubicBezTo>
                    <a:pt x="57889" y="373970"/>
                    <a:pt x="57922" y="376522"/>
                    <a:pt x="58405" y="378985"/>
                  </a:cubicBezTo>
                  <a:cubicBezTo>
                    <a:pt x="58702" y="380500"/>
                    <a:pt x="58793" y="382061"/>
                    <a:pt x="58650" y="383598"/>
                  </a:cubicBezTo>
                  <a:cubicBezTo>
                    <a:pt x="58609" y="384040"/>
                    <a:pt x="58568" y="384484"/>
                    <a:pt x="58536" y="384929"/>
                  </a:cubicBezTo>
                  <a:cubicBezTo>
                    <a:pt x="57956" y="384323"/>
                    <a:pt x="57216" y="383851"/>
                    <a:pt x="56476" y="383462"/>
                  </a:cubicBezTo>
                  <a:cubicBezTo>
                    <a:pt x="55742" y="383076"/>
                    <a:pt x="54957" y="382868"/>
                    <a:pt x="54133" y="382785"/>
                  </a:cubicBezTo>
                  <a:cubicBezTo>
                    <a:pt x="53160" y="382687"/>
                    <a:pt x="52087" y="382602"/>
                    <a:pt x="51115" y="382496"/>
                  </a:cubicBezTo>
                  <a:cubicBezTo>
                    <a:pt x="48897" y="382253"/>
                    <a:pt x="46644" y="382615"/>
                    <a:pt x="44584" y="383472"/>
                  </a:cubicBezTo>
                  <a:cubicBezTo>
                    <a:pt x="42063" y="384520"/>
                    <a:pt x="39565" y="385810"/>
                    <a:pt x="37426" y="387506"/>
                  </a:cubicBezTo>
                  <a:cubicBezTo>
                    <a:pt x="33636" y="390511"/>
                    <a:pt x="31030" y="394599"/>
                    <a:pt x="28101" y="398447"/>
                  </a:cubicBezTo>
                  <a:cubicBezTo>
                    <a:pt x="26083" y="401097"/>
                    <a:pt x="24400" y="404001"/>
                    <a:pt x="23103" y="407069"/>
                  </a:cubicBezTo>
                  <a:cubicBezTo>
                    <a:pt x="22190" y="409231"/>
                    <a:pt x="21804" y="411674"/>
                    <a:pt x="20596" y="413686"/>
                  </a:cubicBezTo>
                  <a:cubicBezTo>
                    <a:pt x="19051" y="416262"/>
                    <a:pt x="17753" y="418947"/>
                    <a:pt x="15984" y="421374"/>
                  </a:cubicBezTo>
                  <a:cubicBezTo>
                    <a:pt x="13535" y="424734"/>
                    <a:pt x="11023" y="428058"/>
                    <a:pt x="8258" y="431163"/>
                  </a:cubicBezTo>
                  <a:cubicBezTo>
                    <a:pt x="7145" y="432413"/>
                    <a:pt x="6129" y="433741"/>
                    <a:pt x="5392" y="435243"/>
                  </a:cubicBezTo>
                  <a:cubicBezTo>
                    <a:pt x="5222" y="435589"/>
                    <a:pt x="4991" y="435906"/>
                    <a:pt x="4713" y="436173"/>
                  </a:cubicBezTo>
                  <a:cubicBezTo>
                    <a:pt x="4408" y="436466"/>
                    <a:pt x="4051" y="436699"/>
                    <a:pt x="3713" y="436953"/>
                  </a:cubicBezTo>
                  <a:cubicBezTo>
                    <a:pt x="3375" y="437208"/>
                    <a:pt x="3127" y="437614"/>
                    <a:pt x="2801" y="437884"/>
                  </a:cubicBezTo>
                  <a:cubicBezTo>
                    <a:pt x="1591" y="438886"/>
                    <a:pt x="729" y="440302"/>
                    <a:pt x="298" y="441812"/>
                  </a:cubicBezTo>
                  <a:cubicBezTo>
                    <a:pt x="-209" y="443584"/>
                    <a:pt x="-157" y="445852"/>
                    <a:pt x="1145" y="447156"/>
                  </a:cubicBezTo>
                  <a:cubicBezTo>
                    <a:pt x="1488" y="447500"/>
                    <a:pt x="1741" y="447932"/>
                    <a:pt x="1871" y="448400"/>
                  </a:cubicBezTo>
                  <a:cubicBezTo>
                    <a:pt x="1984" y="448803"/>
                    <a:pt x="2175" y="449192"/>
                    <a:pt x="2344" y="449576"/>
                  </a:cubicBezTo>
                  <a:cubicBezTo>
                    <a:pt x="2811" y="450634"/>
                    <a:pt x="3825" y="451465"/>
                    <a:pt x="4901" y="451888"/>
                  </a:cubicBezTo>
                  <a:cubicBezTo>
                    <a:pt x="5388" y="452080"/>
                    <a:pt x="5914" y="452224"/>
                    <a:pt x="6436" y="452264"/>
                  </a:cubicBezTo>
                  <a:cubicBezTo>
                    <a:pt x="6689" y="452284"/>
                    <a:pt x="6948" y="452305"/>
                    <a:pt x="7182" y="452405"/>
                  </a:cubicBezTo>
                  <a:cubicBezTo>
                    <a:pt x="7361" y="452481"/>
                    <a:pt x="7485" y="452623"/>
                    <a:pt x="7631" y="452753"/>
                  </a:cubicBezTo>
                  <a:cubicBezTo>
                    <a:pt x="8382" y="453421"/>
                    <a:pt x="9286" y="453958"/>
                    <a:pt x="10227" y="454313"/>
                  </a:cubicBezTo>
                  <a:cubicBezTo>
                    <a:pt x="11225" y="454689"/>
                    <a:pt x="12244" y="454906"/>
                    <a:pt x="13303" y="455035"/>
                  </a:cubicBezTo>
                  <a:cubicBezTo>
                    <a:pt x="16478" y="455421"/>
                    <a:pt x="19663" y="455479"/>
                    <a:pt x="22860" y="455373"/>
                  </a:cubicBezTo>
                  <a:cubicBezTo>
                    <a:pt x="26591" y="455248"/>
                    <a:pt x="30387" y="455280"/>
                    <a:pt x="34083" y="455803"/>
                  </a:cubicBezTo>
                  <a:cubicBezTo>
                    <a:pt x="37614" y="456303"/>
                    <a:pt x="41237" y="456342"/>
                    <a:pt x="44773" y="455881"/>
                  </a:cubicBezTo>
                  <a:cubicBezTo>
                    <a:pt x="44923" y="455861"/>
                    <a:pt x="45073" y="455841"/>
                    <a:pt x="45223" y="455822"/>
                  </a:cubicBezTo>
                  <a:cubicBezTo>
                    <a:pt x="46114" y="455706"/>
                    <a:pt x="47006" y="455589"/>
                    <a:pt x="47879" y="455378"/>
                  </a:cubicBezTo>
                  <a:cubicBezTo>
                    <a:pt x="48752" y="455166"/>
                    <a:pt x="49541" y="454629"/>
                    <a:pt x="50409" y="454397"/>
                  </a:cubicBezTo>
                  <a:cubicBezTo>
                    <a:pt x="51684" y="454057"/>
                    <a:pt x="52974" y="453711"/>
                    <a:pt x="54135" y="453081"/>
                  </a:cubicBezTo>
                  <a:cubicBezTo>
                    <a:pt x="54544" y="452858"/>
                    <a:pt x="54922" y="452531"/>
                    <a:pt x="55345" y="452336"/>
                  </a:cubicBezTo>
                  <a:cubicBezTo>
                    <a:pt x="56931" y="451610"/>
                    <a:pt x="58317" y="450453"/>
                    <a:pt x="59317" y="449025"/>
                  </a:cubicBezTo>
                  <a:cubicBezTo>
                    <a:pt x="59592" y="448631"/>
                    <a:pt x="59977" y="448377"/>
                    <a:pt x="60320" y="448040"/>
                  </a:cubicBezTo>
                  <a:cubicBezTo>
                    <a:pt x="60639" y="447728"/>
                    <a:pt x="60957" y="447415"/>
                    <a:pt x="61276" y="447102"/>
                  </a:cubicBezTo>
                  <a:cubicBezTo>
                    <a:pt x="61395" y="446985"/>
                    <a:pt x="61517" y="446867"/>
                    <a:pt x="61665" y="446790"/>
                  </a:cubicBezTo>
                  <a:cubicBezTo>
                    <a:pt x="61813" y="446713"/>
                    <a:pt x="62031" y="446669"/>
                    <a:pt x="62184" y="446735"/>
                  </a:cubicBezTo>
                  <a:cubicBezTo>
                    <a:pt x="64692" y="447833"/>
                    <a:pt x="67101" y="449158"/>
                    <a:pt x="69370" y="450689"/>
                  </a:cubicBezTo>
                  <a:cubicBezTo>
                    <a:pt x="71845" y="452360"/>
                    <a:pt x="74428" y="453737"/>
                    <a:pt x="77138" y="454990"/>
                  </a:cubicBezTo>
                  <a:cubicBezTo>
                    <a:pt x="87561" y="459805"/>
                    <a:pt x="98991" y="462272"/>
                    <a:pt x="110352" y="463935"/>
                  </a:cubicBezTo>
                  <a:cubicBezTo>
                    <a:pt x="113314" y="464368"/>
                    <a:pt x="116256" y="464539"/>
                    <a:pt x="119157" y="465280"/>
                  </a:cubicBezTo>
                  <a:cubicBezTo>
                    <a:pt x="124498" y="466643"/>
                    <a:pt x="128711" y="466495"/>
                    <a:pt x="133320" y="467459"/>
                  </a:cubicBezTo>
                  <a:cubicBezTo>
                    <a:pt x="136195" y="468060"/>
                    <a:pt x="139201" y="468269"/>
                    <a:pt x="142137" y="468335"/>
                  </a:cubicBezTo>
                  <a:cubicBezTo>
                    <a:pt x="148211" y="468471"/>
                    <a:pt x="154444" y="468633"/>
                    <a:pt x="160468" y="469421"/>
                  </a:cubicBezTo>
                  <a:cubicBezTo>
                    <a:pt x="165372" y="470063"/>
                    <a:pt x="170343" y="469874"/>
                    <a:pt x="175262" y="470393"/>
                  </a:cubicBezTo>
                  <a:cubicBezTo>
                    <a:pt x="180259" y="470921"/>
                    <a:pt x="185141" y="470308"/>
                    <a:pt x="190166" y="470231"/>
                  </a:cubicBezTo>
                  <a:cubicBezTo>
                    <a:pt x="193874" y="470174"/>
                    <a:pt x="196223" y="469871"/>
                    <a:pt x="199389" y="469642"/>
                  </a:cubicBezTo>
                  <a:cubicBezTo>
                    <a:pt x="201231" y="469697"/>
                    <a:pt x="203058" y="469316"/>
                    <a:pt x="204836" y="468830"/>
                  </a:cubicBezTo>
                  <a:cubicBezTo>
                    <a:pt x="206681" y="468326"/>
                    <a:pt x="208581" y="467719"/>
                    <a:pt x="210407" y="467145"/>
                  </a:cubicBezTo>
                  <a:cubicBezTo>
                    <a:pt x="214532" y="465848"/>
                    <a:pt x="218474" y="463580"/>
                    <a:pt x="222285" y="461536"/>
                  </a:cubicBezTo>
                  <a:cubicBezTo>
                    <a:pt x="225295" y="459921"/>
                    <a:pt x="227843" y="457112"/>
                    <a:pt x="230000" y="454835"/>
                  </a:cubicBezTo>
                  <a:cubicBezTo>
                    <a:pt x="231554" y="453194"/>
                    <a:pt x="232810" y="451362"/>
                    <a:pt x="233555" y="449229"/>
                  </a:cubicBezTo>
                  <a:cubicBezTo>
                    <a:pt x="234185" y="447426"/>
                    <a:pt x="234815" y="445623"/>
                    <a:pt x="235445" y="443820"/>
                  </a:cubicBezTo>
                  <a:cubicBezTo>
                    <a:pt x="235573" y="443454"/>
                    <a:pt x="235677" y="443086"/>
                    <a:pt x="235770" y="442716"/>
                  </a:cubicBezTo>
                  <a:cubicBezTo>
                    <a:pt x="236928" y="442768"/>
                    <a:pt x="238086" y="442785"/>
                    <a:pt x="239239" y="442738"/>
                  </a:cubicBezTo>
                  <a:cubicBezTo>
                    <a:pt x="240750" y="442676"/>
                    <a:pt x="242243" y="442674"/>
                    <a:pt x="243748" y="442521"/>
                  </a:cubicBezTo>
                  <a:cubicBezTo>
                    <a:pt x="245345" y="442358"/>
                    <a:pt x="246914" y="442137"/>
                    <a:pt x="248518" y="442099"/>
                  </a:cubicBezTo>
                  <a:cubicBezTo>
                    <a:pt x="249684" y="442072"/>
                    <a:pt x="250920" y="442073"/>
                    <a:pt x="252085" y="442045"/>
                  </a:cubicBezTo>
                  <a:cubicBezTo>
                    <a:pt x="254720" y="442235"/>
                    <a:pt x="257297" y="441441"/>
                    <a:pt x="259931" y="441235"/>
                  </a:cubicBezTo>
                  <a:cubicBezTo>
                    <a:pt x="261341" y="441125"/>
                    <a:pt x="262696" y="440803"/>
                    <a:pt x="264040" y="440362"/>
                  </a:cubicBezTo>
                  <a:cubicBezTo>
                    <a:pt x="265472" y="439893"/>
                    <a:pt x="266705" y="438976"/>
                    <a:pt x="268071" y="438340"/>
                  </a:cubicBezTo>
                  <a:cubicBezTo>
                    <a:pt x="269330" y="437754"/>
                    <a:pt x="270280" y="436678"/>
                    <a:pt x="271192" y="435632"/>
                  </a:cubicBezTo>
                  <a:cubicBezTo>
                    <a:pt x="272232" y="434437"/>
                    <a:pt x="273328" y="433383"/>
                    <a:pt x="274300" y="432132"/>
                  </a:cubicBezTo>
                  <a:cubicBezTo>
                    <a:pt x="277040" y="428607"/>
                    <a:pt x="278734" y="424197"/>
                    <a:pt x="279129" y="419750"/>
                  </a:cubicBezTo>
                  <a:cubicBezTo>
                    <a:pt x="279656" y="413816"/>
                    <a:pt x="279514" y="407636"/>
                    <a:pt x="278141" y="401838"/>
                  </a:cubicBezTo>
                  <a:cubicBezTo>
                    <a:pt x="277964" y="401088"/>
                    <a:pt x="277786" y="400338"/>
                    <a:pt x="277608" y="399587"/>
                  </a:cubicBezTo>
                  <a:cubicBezTo>
                    <a:pt x="277958" y="399499"/>
                    <a:pt x="278306" y="399404"/>
                    <a:pt x="278651" y="399296"/>
                  </a:cubicBezTo>
                  <a:cubicBezTo>
                    <a:pt x="280988" y="398567"/>
                    <a:pt x="283256" y="397413"/>
                    <a:pt x="285703" y="397335"/>
                  </a:cubicBezTo>
                  <a:cubicBezTo>
                    <a:pt x="290353" y="397187"/>
                    <a:pt x="294754" y="395328"/>
                    <a:pt x="299031" y="393498"/>
                  </a:cubicBezTo>
                  <a:cubicBezTo>
                    <a:pt x="299861" y="393142"/>
                    <a:pt x="300770" y="392935"/>
                    <a:pt x="301619" y="392626"/>
                  </a:cubicBezTo>
                  <a:cubicBezTo>
                    <a:pt x="303544" y="391927"/>
                    <a:pt x="305322" y="390926"/>
                    <a:pt x="307071" y="389863"/>
                  </a:cubicBezTo>
                  <a:cubicBezTo>
                    <a:pt x="307548" y="392569"/>
                    <a:pt x="308371" y="395607"/>
                    <a:pt x="309016" y="398374"/>
                  </a:cubicBezTo>
                  <a:cubicBezTo>
                    <a:pt x="309692" y="401275"/>
                    <a:pt x="310778" y="403267"/>
                    <a:pt x="311714" y="406094"/>
                  </a:cubicBezTo>
                  <a:cubicBezTo>
                    <a:pt x="312852" y="409534"/>
                    <a:pt x="313840" y="413049"/>
                    <a:pt x="314858" y="416526"/>
                  </a:cubicBezTo>
                  <a:cubicBezTo>
                    <a:pt x="318111" y="427627"/>
                    <a:pt x="321746" y="439044"/>
                    <a:pt x="328426" y="448488"/>
                  </a:cubicBezTo>
                  <a:cubicBezTo>
                    <a:pt x="330943" y="452046"/>
                    <a:pt x="333460" y="455604"/>
                    <a:pt x="335977" y="459162"/>
                  </a:cubicBezTo>
                  <a:cubicBezTo>
                    <a:pt x="338099" y="462162"/>
                    <a:pt x="340222" y="465617"/>
                    <a:pt x="343556" y="467162"/>
                  </a:cubicBezTo>
                  <a:cubicBezTo>
                    <a:pt x="344055" y="467393"/>
                    <a:pt x="344554" y="467624"/>
                    <a:pt x="345054" y="467856"/>
                  </a:cubicBezTo>
                  <a:cubicBezTo>
                    <a:pt x="345406" y="468019"/>
                    <a:pt x="345762" y="468185"/>
                    <a:pt x="346059" y="468434"/>
                  </a:cubicBezTo>
                  <a:cubicBezTo>
                    <a:pt x="346675" y="468952"/>
                    <a:pt x="346984" y="469775"/>
                    <a:pt x="347275" y="470525"/>
                  </a:cubicBezTo>
                  <a:cubicBezTo>
                    <a:pt x="347678" y="471561"/>
                    <a:pt x="348164" y="472739"/>
                    <a:pt x="349035" y="473431"/>
                  </a:cubicBezTo>
                  <a:cubicBezTo>
                    <a:pt x="349721" y="473975"/>
                    <a:pt x="350447" y="474469"/>
                    <a:pt x="351205" y="474907"/>
                  </a:cubicBezTo>
                  <a:cubicBezTo>
                    <a:pt x="351638" y="475157"/>
                    <a:pt x="352177" y="475345"/>
                    <a:pt x="352662" y="475473"/>
                  </a:cubicBezTo>
                  <a:cubicBezTo>
                    <a:pt x="356117" y="476380"/>
                    <a:pt x="359724" y="476502"/>
                    <a:pt x="363295" y="476619"/>
                  </a:cubicBezTo>
                  <a:cubicBezTo>
                    <a:pt x="365681" y="476697"/>
                    <a:pt x="368148" y="476892"/>
                    <a:pt x="370529" y="477056"/>
                  </a:cubicBezTo>
                  <a:cubicBezTo>
                    <a:pt x="374252" y="477311"/>
                    <a:pt x="377992" y="477321"/>
                    <a:pt x="381717" y="477083"/>
                  </a:cubicBezTo>
                  <a:cubicBezTo>
                    <a:pt x="384354" y="476915"/>
                    <a:pt x="387065" y="477160"/>
                    <a:pt x="389706" y="477236"/>
                  </a:cubicBezTo>
                  <a:cubicBezTo>
                    <a:pt x="393347" y="477341"/>
                    <a:pt x="395800" y="477778"/>
                    <a:pt x="399332" y="476887"/>
                  </a:cubicBezTo>
                  <a:cubicBezTo>
                    <a:pt x="400424" y="476612"/>
                    <a:pt x="401536" y="476228"/>
                    <a:pt x="402647" y="476416"/>
                  </a:cubicBezTo>
                  <a:cubicBezTo>
                    <a:pt x="406057" y="476992"/>
                    <a:pt x="409467" y="477569"/>
                    <a:pt x="412877" y="478145"/>
                  </a:cubicBezTo>
                  <a:cubicBezTo>
                    <a:pt x="414549" y="478428"/>
                    <a:pt x="416193" y="478376"/>
                    <a:pt x="417818" y="478862"/>
                  </a:cubicBezTo>
                  <a:cubicBezTo>
                    <a:pt x="419241" y="479287"/>
                    <a:pt x="420693" y="479620"/>
                    <a:pt x="422163" y="479829"/>
                  </a:cubicBezTo>
                  <a:cubicBezTo>
                    <a:pt x="424144" y="480111"/>
                    <a:pt x="426085" y="480365"/>
                    <a:pt x="428082" y="480254"/>
                  </a:cubicBezTo>
                  <a:cubicBezTo>
                    <a:pt x="428829" y="480212"/>
                    <a:pt x="429283" y="480226"/>
                    <a:pt x="430026" y="480138"/>
                  </a:cubicBezTo>
                  <a:cubicBezTo>
                    <a:pt x="431326" y="480099"/>
                    <a:pt x="431507" y="479947"/>
                    <a:pt x="432395" y="479707"/>
                  </a:cubicBezTo>
                  <a:cubicBezTo>
                    <a:pt x="432671" y="479632"/>
                    <a:pt x="432784" y="479583"/>
                    <a:pt x="433055" y="479491"/>
                  </a:cubicBezTo>
                  <a:cubicBezTo>
                    <a:pt x="433342" y="479393"/>
                    <a:pt x="433627" y="479282"/>
                    <a:pt x="433881" y="479117"/>
                  </a:cubicBezTo>
                  <a:cubicBezTo>
                    <a:pt x="434135" y="478951"/>
                    <a:pt x="434358" y="478727"/>
                    <a:pt x="434482" y="478451"/>
                  </a:cubicBezTo>
                  <a:cubicBezTo>
                    <a:pt x="434611" y="478163"/>
                    <a:pt x="434626" y="477838"/>
                    <a:pt x="434626" y="477522"/>
                  </a:cubicBezTo>
                  <a:cubicBezTo>
                    <a:pt x="434625" y="477095"/>
                    <a:pt x="434698" y="476660"/>
                    <a:pt x="434612" y="476255"/>
                  </a:cubicBezTo>
                  <a:cubicBezTo>
                    <a:pt x="434598" y="476105"/>
                    <a:pt x="434578" y="475955"/>
                    <a:pt x="434569" y="475805"/>
                  </a:cubicBezTo>
                  <a:cubicBezTo>
                    <a:pt x="434555" y="475566"/>
                    <a:pt x="434497" y="475344"/>
                    <a:pt x="434419" y="475121"/>
                  </a:cubicBezTo>
                  <a:cubicBezTo>
                    <a:pt x="434458" y="475062"/>
                    <a:pt x="434504" y="475006"/>
                    <a:pt x="434555" y="474958"/>
                  </a:cubicBezTo>
                  <a:cubicBezTo>
                    <a:pt x="434713" y="474809"/>
                    <a:pt x="434947" y="474750"/>
                    <a:pt x="435161" y="474783"/>
                  </a:cubicBezTo>
                  <a:cubicBezTo>
                    <a:pt x="436501" y="474750"/>
                    <a:pt x="438613" y="475040"/>
                    <a:pt x="439952" y="475008"/>
                  </a:cubicBezTo>
                  <a:cubicBezTo>
                    <a:pt x="441775" y="474965"/>
                    <a:pt x="442314" y="475340"/>
                    <a:pt x="444136" y="475390"/>
                  </a:cubicBezTo>
                  <a:cubicBezTo>
                    <a:pt x="445188" y="475419"/>
                    <a:pt x="447067" y="475807"/>
                    <a:pt x="448118" y="475867"/>
                  </a:cubicBezTo>
                  <a:cubicBezTo>
                    <a:pt x="449254" y="475932"/>
                    <a:pt x="449460" y="475886"/>
                    <a:pt x="450733" y="475873"/>
                  </a:cubicBezTo>
                  <a:cubicBezTo>
                    <a:pt x="452250" y="475845"/>
                    <a:pt x="453669" y="474934"/>
                    <a:pt x="454514" y="473675"/>
                  </a:cubicBezTo>
                  <a:cubicBezTo>
                    <a:pt x="455264" y="472557"/>
                    <a:pt x="455544" y="471171"/>
                    <a:pt x="455425" y="469830"/>
                  </a:cubicBezTo>
                  <a:lnTo>
                    <a:pt x="455579" y="469873"/>
                  </a:lnTo>
                  <a:cubicBezTo>
                    <a:pt x="455524" y="469576"/>
                    <a:pt x="455411" y="469293"/>
                    <a:pt x="455262" y="469031"/>
                  </a:cubicBezTo>
                  <a:cubicBezTo>
                    <a:pt x="455011" y="468300"/>
                    <a:pt x="454505" y="467655"/>
                    <a:pt x="453876" y="467198"/>
                  </a:cubicBezTo>
                  <a:cubicBezTo>
                    <a:pt x="453145" y="466666"/>
                    <a:pt x="452272" y="466372"/>
                    <a:pt x="451415" y="466085"/>
                  </a:cubicBezTo>
                  <a:cubicBezTo>
                    <a:pt x="451029" y="465957"/>
                    <a:pt x="450639" y="465826"/>
                    <a:pt x="450298" y="465604"/>
                  </a:cubicBezTo>
                  <a:cubicBezTo>
                    <a:pt x="450052" y="465443"/>
                    <a:pt x="449839" y="465240"/>
                    <a:pt x="449627" y="465037"/>
                  </a:cubicBezTo>
                  <a:cubicBezTo>
                    <a:pt x="449279" y="464705"/>
                    <a:pt x="448907" y="464333"/>
                    <a:pt x="448518" y="464049"/>
                  </a:cubicBezTo>
                  <a:cubicBezTo>
                    <a:pt x="446647" y="462684"/>
                    <a:pt x="446015" y="462392"/>
                    <a:pt x="443767" y="461532"/>
                  </a:cubicBezTo>
                  <a:cubicBezTo>
                    <a:pt x="443166" y="461303"/>
                    <a:pt x="442518" y="461220"/>
                    <a:pt x="441910" y="461009"/>
                  </a:cubicBezTo>
                  <a:cubicBezTo>
                    <a:pt x="441302" y="460798"/>
                    <a:pt x="440762" y="460340"/>
                    <a:pt x="440216" y="460000"/>
                  </a:cubicBezTo>
                  <a:cubicBezTo>
                    <a:pt x="437966" y="458604"/>
                    <a:pt x="435330" y="457980"/>
                    <a:pt x="432724" y="457514"/>
                  </a:cubicBezTo>
                  <a:cubicBezTo>
                    <a:pt x="430118" y="457048"/>
                    <a:pt x="427467" y="456715"/>
                    <a:pt x="424977" y="455817"/>
                  </a:cubicBezTo>
                  <a:cubicBezTo>
                    <a:pt x="423379" y="455241"/>
                    <a:pt x="421869" y="454440"/>
                    <a:pt x="420275" y="453854"/>
                  </a:cubicBezTo>
                  <a:cubicBezTo>
                    <a:pt x="418680" y="453268"/>
                    <a:pt x="416957" y="453289"/>
                    <a:pt x="415260" y="453233"/>
                  </a:cubicBezTo>
                  <a:cubicBezTo>
                    <a:pt x="413823" y="453187"/>
                    <a:pt x="412383" y="453254"/>
                    <a:pt x="410958" y="453433"/>
                  </a:cubicBezTo>
                  <a:cubicBezTo>
                    <a:pt x="410104" y="453541"/>
                    <a:pt x="409247" y="453689"/>
                    <a:pt x="408388" y="453635"/>
                  </a:cubicBezTo>
                  <a:cubicBezTo>
                    <a:pt x="407438" y="453575"/>
                    <a:pt x="406523" y="453269"/>
                    <a:pt x="405621" y="452965"/>
                  </a:cubicBezTo>
                  <a:cubicBezTo>
                    <a:pt x="405135" y="452802"/>
                    <a:pt x="404557" y="452658"/>
                    <a:pt x="404165" y="452328"/>
                  </a:cubicBezTo>
                  <a:cubicBezTo>
                    <a:pt x="403317" y="451617"/>
                    <a:pt x="402394" y="450996"/>
                    <a:pt x="401415" y="450480"/>
                  </a:cubicBezTo>
                  <a:cubicBezTo>
                    <a:pt x="400994" y="450258"/>
                    <a:pt x="400564" y="450056"/>
                    <a:pt x="400134" y="449854"/>
                  </a:cubicBezTo>
                  <a:cubicBezTo>
                    <a:pt x="399608" y="449607"/>
                    <a:pt x="399490" y="449383"/>
                    <a:pt x="398965" y="449136"/>
                  </a:cubicBezTo>
                  <a:cubicBezTo>
                    <a:pt x="398337" y="448840"/>
                    <a:pt x="398259" y="448754"/>
                    <a:pt x="396986" y="448360"/>
                  </a:cubicBezTo>
                  <a:cubicBezTo>
                    <a:pt x="396463" y="448199"/>
                    <a:pt x="395549" y="448079"/>
                    <a:pt x="395003" y="448125"/>
                  </a:cubicBezTo>
                  <a:cubicBezTo>
                    <a:pt x="394458" y="448171"/>
                    <a:pt x="393882" y="448231"/>
                    <a:pt x="393387" y="447997"/>
                  </a:cubicBezTo>
                  <a:cubicBezTo>
                    <a:pt x="393169" y="447894"/>
                    <a:pt x="392981" y="447740"/>
                    <a:pt x="392795" y="447587"/>
                  </a:cubicBezTo>
                  <a:cubicBezTo>
                    <a:pt x="392192" y="447093"/>
                    <a:pt x="391462" y="446671"/>
                    <a:pt x="390852" y="446186"/>
                  </a:cubicBezTo>
                  <a:cubicBezTo>
                    <a:pt x="389773" y="445327"/>
                    <a:pt x="388439" y="444794"/>
                    <a:pt x="387065" y="444675"/>
                  </a:cubicBezTo>
                  <a:cubicBezTo>
                    <a:pt x="386469" y="444623"/>
                    <a:pt x="385843" y="444641"/>
                    <a:pt x="385309" y="444370"/>
                  </a:cubicBezTo>
                  <a:cubicBezTo>
                    <a:pt x="385039" y="444233"/>
                    <a:pt x="384751" y="444058"/>
                    <a:pt x="384561" y="443823"/>
                  </a:cubicBezTo>
                  <a:cubicBezTo>
                    <a:pt x="383671" y="442724"/>
                    <a:pt x="382746" y="441604"/>
                    <a:pt x="381518" y="440905"/>
                  </a:cubicBezTo>
                  <a:cubicBezTo>
                    <a:pt x="381011" y="440616"/>
                    <a:pt x="380505" y="440410"/>
                    <a:pt x="379941" y="440261"/>
                  </a:cubicBezTo>
                  <a:cubicBezTo>
                    <a:pt x="379285" y="440087"/>
                    <a:pt x="378587" y="439905"/>
                    <a:pt x="377939" y="440107"/>
                  </a:cubicBezTo>
                  <a:cubicBezTo>
                    <a:pt x="377938" y="440107"/>
                    <a:pt x="377937" y="440107"/>
                    <a:pt x="377936" y="440107"/>
                  </a:cubicBezTo>
                  <a:cubicBezTo>
                    <a:pt x="377852" y="439971"/>
                    <a:pt x="377758" y="439842"/>
                    <a:pt x="377642" y="439732"/>
                  </a:cubicBezTo>
                  <a:lnTo>
                    <a:pt x="377507" y="439923"/>
                  </a:lnTo>
                  <a:cubicBezTo>
                    <a:pt x="377454" y="439858"/>
                    <a:pt x="377407" y="439789"/>
                    <a:pt x="377365" y="439718"/>
                  </a:cubicBezTo>
                  <a:cubicBezTo>
                    <a:pt x="377292" y="439597"/>
                    <a:pt x="377175" y="439484"/>
                    <a:pt x="377115" y="439355"/>
                  </a:cubicBezTo>
                  <a:cubicBezTo>
                    <a:pt x="376888" y="438861"/>
                    <a:pt x="376747" y="438347"/>
                    <a:pt x="376790" y="437805"/>
                  </a:cubicBezTo>
                  <a:cubicBezTo>
                    <a:pt x="376846" y="437107"/>
                    <a:pt x="376715" y="436384"/>
                    <a:pt x="376579" y="435697"/>
                  </a:cubicBezTo>
                  <a:cubicBezTo>
                    <a:pt x="376257" y="434077"/>
                    <a:pt x="375277" y="432678"/>
                    <a:pt x="374348" y="431312"/>
                  </a:cubicBezTo>
                  <a:cubicBezTo>
                    <a:pt x="373335" y="429823"/>
                    <a:pt x="371415" y="428812"/>
                    <a:pt x="370235" y="427161"/>
                  </a:cubicBezTo>
                  <a:cubicBezTo>
                    <a:pt x="369561" y="426219"/>
                    <a:pt x="369137" y="425176"/>
                    <a:pt x="369251" y="424025"/>
                  </a:cubicBezTo>
                  <a:cubicBezTo>
                    <a:pt x="369543" y="421063"/>
                    <a:pt x="368823" y="418109"/>
                    <a:pt x="368438" y="415158"/>
                  </a:cubicBezTo>
                  <a:cubicBezTo>
                    <a:pt x="368071" y="412339"/>
                    <a:pt x="368010" y="409490"/>
                    <a:pt x="367949" y="406648"/>
                  </a:cubicBezTo>
                  <a:cubicBezTo>
                    <a:pt x="367865" y="402718"/>
                    <a:pt x="367475" y="398856"/>
                    <a:pt x="367566" y="394925"/>
                  </a:cubicBezTo>
                  <a:cubicBezTo>
                    <a:pt x="367796" y="385075"/>
                    <a:pt x="367282" y="375297"/>
                    <a:pt x="366276" y="365496"/>
                  </a:cubicBezTo>
                  <a:cubicBezTo>
                    <a:pt x="366025" y="363051"/>
                    <a:pt x="365289" y="360675"/>
                    <a:pt x="364332" y="358411"/>
                  </a:cubicBezTo>
                  <a:cubicBezTo>
                    <a:pt x="363374" y="356148"/>
                    <a:pt x="362618" y="353675"/>
                    <a:pt x="361070" y="351765"/>
                  </a:cubicBezTo>
                  <a:cubicBezTo>
                    <a:pt x="360616" y="351205"/>
                    <a:pt x="360328" y="350511"/>
                    <a:pt x="360254" y="349793"/>
                  </a:cubicBezTo>
                  <a:cubicBezTo>
                    <a:pt x="360189" y="349169"/>
                    <a:pt x="360092" y="348506"/>
                    <a:pt x="360356" y="347937"/>
                  </a:cubicBezTo>
                  <a:cubicBezTo>
                    <a:pt x="361464" y="345546"/>
                    <a:pt x="361434" y="344654"/>
                    <a:pt x="361800" y="342045"/>
                  </a:cubicBezTo>
                  <a:cubicBezTo>
                    <a:pt x="361853" y="341664"/>
                    <a:pt x="361906" y="341283"/>
                    <a:pt x="361959" y="340902"/>
                  </a:cubicBezTo>
                  <a:cubicBezTo>
                    <a:pt x="362451" y="340515"/>
                    <a:pt x="362965" y="340158"/>
                    <a:pt x="363521" y="339862"/>
                  </a:cubicBezTo>
                  <a:cubicBezTo>
                    <a:pt x="365474" y="338823"/>
                    <a:pt x="367275" y="337521"/>
                    <a:pt x="369295" y="336620"/>
                  </a:cubicBezTo>
                  <a:cubicBezTo>
                    <a:pt x="371866" y="335473"/>
                    <a:pt x="374230" y="333543"/>
                    <a:pt x="377021" y="333167"/>
                  </a:cubicBezTo>
                  <a:cubicBezTo>
                    <a:pt x="377914" y="333046"/>
                    <a:pt x="378785" y="332715"/>
                    <a:pt x="379547" y="332227"/>
                  </a:cubicBezTo>
                  <a:cubicBezTo>
                    <a:pt x="379693" y="332151"/>
                    <a:pt x="379838" y="332072"/>
                    <a:pt x="379982" y="331990"/>
                  </a:cubicBezTo>
                  <a:cubicBezTo>
                    <a:pt x="379758" y="333053"/>
                    <a:pt x="379647" y="334084"/>
                    <a:pt x="379745" y="335168"/>
                  </a:cubicBezTo>
                  <a:cubicBezTo>
                    <a:pt x="380070" y="338780"/>
                    <a:pt x="380260" y="342775"/>
                    <a:pt x="382178" y="345854"/>
                  </a:cubicBezTo>
                  <a:cubicBezTo>
                    <a:pt x="384440" y="349486"/>
                    <a:pt x="385184" y="353807"/>
                    <a:pt x="386856" y="357745"/>
                  </a:cubicBezTo>
                  <a:cubicBezTo>
                    <a:pt x="390198" y="365615"/>
                    <a:pt x="392934" y="373886"/>
                    <a:pt x="395089" y="382160"/>
                  </a:cubicBezTo>
                  <a:cubicBezTo>
                    <a:pt x="397749" y="392376"/>
                    <a:pt x="400942" y="402722"/>
                    <a:pt x="406048" y="411963"/>
                  </a:cubicBezTo>
                  <a:cubicBezTo>
                    <a:pt x="407517" y="414622"/>
                    <a:pt x="408635" y="417495"/>
                    <a:pt x="410330" y="420016"/>
                  </a:cubicBezTo>
                  <a:cubicBezTo>
                    <a:pt x="412475" y="423206"/>
                    <a:pt x="413725" y="426998"/>
                    <a:pt x="415594" y="430357"/>
                  </a:cubicBezTo>
                  <a:cubicBezTo>
                    <a:pt x="416433" y="431866"/>
                    <a:pt x="417618" y="433283"/>
                    <a:pt x="418218" y="434902"/>
                  </a:cubicBezTo>
                  <a:cubicBezTo>
                    <a:pt x="418652" y="436072"/>
                    <a:pt x="419392" y="437126"/>
                    <a:pt x="420345" y="437930"/>
                  </a:cubicBezTo>
                  <a:cubicBezTo>
                    <a:pt x="421048" y="438523"/>
                    <a:pt x="421856" y="438976"/>
                    <a:pt x="422624" y="439482"/>
                  </a:cubicBezTo>
                  <a:cubicBezTo>
                    <a:pt x="423393" y="439987"/>
                    <a:pt x="424140" y="440563"/>
                    <a:pt x="424649" y="441329"/>
                  </a:cubicBezTo>
                  <a:cubicBezTo>
                    <a:pt x="425043" y="441924"/>
                    <a:pt x="425380" y="442607"/>
                    <a:pt x="425909" y="443088"/>
                  </a:cubicBezTo>
                  <a:cubicBezTo>
                    <a:pt x="426635" y="443749"/>
                    <a:pt x="427472" y="444291"/>
                    <a:pt x="428374" y="444682"/>
                  </a:cubicBezTo>
                  <a:cubicBezTo>
                    <a:pt x="428843" y="444886"/>
                    <a:pt x="429329" y="445049"/>
                    <a:pt x="429792" y="445265"/>
                  </a:cubicBezTo>
                  <a:cubicBezTo>
                    <a:pt x="430534" y="445611"/>
                    <a:pt x="431210" y="446052"/>
                    <a:pt x="431813" y="446607"/>
                  </a:cubicBezTo>
                  <a:cubicBezTo>
                    <a:pt x="433021" y="447720"/>
                    <a:pt x="433431" y="449388"/>
                    <a:pt x="433956" y="450946"/>
                  </a:cubicBezTo>
                  <a:cubicBezTo>
                    <a:pt x="434409" y="452294"/>
                    <a:pt x="435725" y="453450"/>
                    <a:pt x="437145" y="453540"/>
                  </a:cubicBezTo>
                  <a:cubicBezTo>
                    <a:pt x="437633" y="453572"/>
                    <a:pt x="438126" y="453603"/>
                    <a:pt x="438610" y="453532"/>
                  </a:cubicBezTo>
                  <a:cubicBezTo>
                    <a:pt x="438863" y="453495"/>
                    <a:pt x="439134" y="453438"/>
                    <a:pt x="439373" y="453347"/>
                  </a:cubicBezTo>
                  <a:cubicBezTo>
                    <a:pt x="440650" y="454288"/>
                    <a:pt x="442012" y="455262"/>
                    <a:pt x="443590" y="455415"/>
                  </a:cubicBezTo>
                  <a:cubicBezTo>
                    <a:pt x="444277" y="455482"/>
                    <a:pt x="444967" y="455385"/>
                    <a:pt x="445649" y="455272"/>
                  </a:cubicBezTo>
                  <a:cubicBezTo>
                    <a:pt x="445917" y="455651"/>
                    <a:pt x="446152" y="456058"/>
                    <a:pt x="446334" y="456469"/>
                  </a:cubicBezTo>
                  <a:cubicBezTo>
                    <a:pt x="446973" y="457912"/>
                    <a:pt x="448185" y="459023"/>
                    <a:pt x="449414" y="460013"/>
                  </a:cubicBezTo>
                  <a:cubicBezTo>
                    <a:pt x="450427" y="460828"/>
                    <a:pt x="451706" y="461393"/>
                    <a:pt x="452962" y="461730"/>
                  </a:cubicBezTo>
                  <a:cubicBezTo>
                    <a:pt x="454689" y="462194"/>
                    <a:pt x="456513" y="462292"/>
                    <a:pt x="458302" y="462261"/>
                  </a:cubicBezTo>
                  <a:cubicBezTo>
                    <a:pt x="459079" y="462247"/>
                    <a:pt x="459884" y="462227"/>
                    <a:pt x="460583" y="461889"/>
                  </a:cubicBezTo>
                  <a:cubicBezTo>
                    <a:pt x="461110" y="461634"/>
                    <a:pt x="461595" y="461261"/>
                    <a:pt x="462031" y="460870"/>
                  </a:cubicBezTo>
                  <a:cubicBezTo>
                    <a:pt x="463082" y="459926"/>
                    <a:pt x="463637" y="458503"/>
                    <a:pt x="463856" y="457107"/>
                  </a:cubicBezTo>
                  <a:cubicBezTo>
                    <a:pt x="463909" y="456772"/>
                    <a:pt x="463933" y="456414"/>
                    <a:pt x="463946" y="456059"/>
                  </a:cubicBezTo>
                  <a:cubicBezTo>
                    <a:pt x="464778" y="456026"/>
                    <a:pt x="465606" y="455863"/>
                    <a:pt x="466386" y="455570"/>
                  </a:cubicBezTo>
                  <a:cubicBezTo>
                    <a:pt x="466718" y="455446"/>
                    <a:pt x="467045" y="455298"/>
                    <a:pt x="467397" y="455257"/>
                  </a:cubicBezTo>
                  <a:cubicBezTo>
                    <a:pt x="467732" y="455217"/>
                    <a:pt x="468160" y="455196"/>
                    <a:pt x="468414" y="455420"/>
                  </a:cubicBezTo>
                  <a:cubicBezTo>
                    <a:pt x="468866" y="455819"/>
                    <a:pt x="469453" y="456083"/>
                    <a:pt x="469935" y="456447"/>
                  </a:cubicBezTo>
                  <a:cubicBezTo>
                    <a:pt x="470934" y="457201"/>
                    <a:pt x="472152" y="457577"/>
                    <a:pt x="473391" y="457759"/>
                  </a:cubicBezTo>
                  <a:cubicBezTo>
                    <a:pt x="475505" y="458068"/>
                    <a:pt x="477655" y="457958"/>
                    <a:pt x="479788" y="457847"/>
                  </a:cubicBezTo>
                  <a:cubicBezTo>
                    <a:pt x="480282" y="457821"/>
                    <a:pt x="480763" y="457959"/>
                    <a:pt x="481258" y="457933"/>
                  </a:cubicBezTo>
                  <a:cubicBezTo>
                    <a:pt x="481856" y="458098"/>
                    <a:pt x="482445" y="458269"/>
                    <a:pt x="483045" y="458426"/>
                  </a:cubicBezTo>
                  <a:cubicBezTo>
                    <a:pt x="486148" y="459237"/>
                    <a:pt x="486359" y="459260"/>
                    <a:pt x="489734" y="459051"/>
                  </a:cubicBezTo>
                  <a:cubicBezTo>
                    <a:pt x="490556" y="459000"/>
                    <a:pt x="491486" y="458968"/>
                    <a:pt x="492304" y="458865"/>
                  </a:cubicBezTo>
                  <a:cubicBezTo>
                    <a:pt x="493121" y="458764"/>
                    <a:pt x="494098" y="458818"/>
                    <a:pt x="495428" y="459063"/>
                  </a:cubicBezTo>
                  <a:cubicBezTo>
                    <a:pt x="496909" y="459335"/>
                    <a:pt x="498038" y="459541"/>
                    <a:pt x="499527" y="459767"/>
                  </a:cubicBezTo>
                  <a:cubicBezTo>
                    <a:pt x="500433" y="459906"/>
                    <a:pt x="501348" y="459976"/>
                    <a:pt x="502262" y="460047"/>
                  </a:cubicBezTo>
                  <a:cubicBezTo>
                    <a:pt x="502680" y="460079"/>
                    <a:pt x="503178" y="460106"/>
                    <a:pt x="503533" y="460329"/>
                  </a:cubicBezTo>
                  <a:cubicBezTo>
                    <a:pt x="504803" y="461126"/>
                    <a:pt x="506272" y="461602"/>
                    <a:pt x="507768" y="461701"/>
                  </a:cubicBezTo>
                  <a:cubicBezTo>
                    <a:pt x="508413" y="461743"/>
                    <a:pt x="509405" y="461804"/>
                    <a:pt x="510011" y="462025"/>
                  </a:cubicBezTo>
                  <a:cubicBezTo>
                    <a:pt x="511944" y="462731"/>
                    <a:pt x="513635" y="462720"/>
                    <a:pt x="515763" y="462373"/>
                  </a:cubicBezTo>
                  <a:cubicBezTo>
                    <a:pt x="516609" y="462234"/>
                    <a:pt x="517585" y="461909"/>
                    <a:pt x="517855" y="461096"/>
                  </a:cubicBezTo>
                  <a:cubicBezTo>
                    <a:pt x="518012" y="460622"/>
                    <a:pt x="518074" y="460107"/>
                    <a:pt x="518072" y="459593"/>
                  </a:cubicBezTo>
                  <a:lnTo>
                    <a:pt x="518111" y="459612"/>
                  </a:lnTo>
                  <a:cubicBezTo>
                    <a:pt x="518110" y="459491"/>
                    <a:pt x="518089" y="459338"/>
                    <a:pt x="518062" y="459184"/>
                  </a:cubicBezTo>
                  <a:cubicBezTo>
                    <a:pt x="518044" y="458952"/>
                    <a:pt x="518013" y="458723"/>
                    <a:pt x="517968" y="458500"/>
                  </a:cubicBezTo>
                  <a:cubicBezTo>
                    <a:pt x="518559" y="459008"/>
                    <a:pt x="519389" y="459107"/>
                    <a:pt x="520165" y="459184"/>
                  </a:cubicBezTo>
                  <a:cubicBezTo>
                    <a:pt x="521130" y="459280"/>
                    <a:pt x="522076" y="459370"/>
                    <a:pt x="523042" y="459462"/>
                  </a:cubicBezTo>
                  <a:cubicBezTo>
                    <a:pt x="524542" y="459603"/>
                    <a:pt x="526059" y="459562"/>
                    <a:pt x="527549" y="459338"/>
                  </a:cubicBezTo>
                  <a:cubicBezTo>
                    <a:pt x="528300" y="459225"/>
                    <a:pt x="529088" y="459232"/>
                    <a:pt x="529846" y="459273"/>
                  </a:cubicBezTo>
                  <a:cubicBezTo>
                    <a:pt x="530551" y="459311"/>
                    <a:pt x="531296" y="459340"/>
                    <a:pt x="531919" y="459008"/>
                  </a:cubicBezTo>
                  <a:cubicBezTo>
                    <a:pt x="532397" y="458753"/>
                    <a:pt x="532874" y="458392"/>
                    <a:pt x="533110" y="457904"/>
                  </a:cubicBezTo>
                  <a:cubicBezTo>
                    <a:pt x="533435" y="457235"/>
                    <a:pt x="533455" y="456446"/>
                    <a:pt x="533238" y="455735"/>
                  </a:cubicBezTo>
                  <a:cubicBezTo>
                    <a:pt x="533627" y="455513"/>
                    <a:pt x="534022" y="455285"/>
                    <a:pt x="534323" y="454955"/>
                  </a:cubicBezTo>
                  <a:cubicBezTo>
                    <a:pt x="534828" y="454400"/>
                    <a:pt x="534858" y="453592"/>
                    <a:pt x="534854" y="452842"/>
                  </a:cubicBezTo>
                  <a:cubicBezTo>
                    <a:pt x="534847" y="451561"/>
                    <a:pt x="534145" y="450260"/>
                    <a:pt x="532998" y="449689"/>
                  </a:cubicBezTo>
                  <a:close/>
                  <a:moveTo>
                    <a:pt x="399728" y="215114"/>
                  </a:moveTo>
                  <a:cubicBezTo>
                    <a:pt x="399765" y="215049"/>
                    <a:pt x="399805" y="214985"/>
                    <a:pt x="399845" y="214921"/>
                  </a:cubicBezTo>
                  <a:cubicBezTo>
                    <a:pt x="399815" y="214991"/>
                    <a:pt x="399779" y="215056"/>
                    <a:pt x="399728" y="215114"/>
                  </a:cubicBezTo>
                  <a:close/>
                  <a:moveTo>
                    <a:pt x="296899" y="203410"/>
                  </a:moveTo>
                  <a:cubicBezTo>
                    <a:pt x="296844" y="203611"/>
                    <a:pt x="296749" y="203799"/>
                    <a:pt x="296640" y="203978"/>
                  </a:cubicBezTo>
                  <a:cubicBezTo>
                    <a:pt x="296718" y="203748"/>
                    <a:pt x="296830" y="203521"/>
                    <a:pt x="296929" y="203294"/>
                  </a:cubicBezTo>
                  <a:cubicBezTo>
                    <a:pt x="296919" y="203333"/>
                    <a:pt x="296910" y="203372"/>
                    <a:pt x="296899" y="203410"/>
                  </a:cubicBezTo>
                  <a:close/>
                </a:path>
              </a:pathLst>
            </a:custGeom>
            <a:solidFill>
              <a:schemeClr val="tx2"/>
            </a:solidFill>
            <a:ln w="0" cap="flat">
              <a:noFill/>
              <a:prstDash val="solid"/>
              <a:miter/>
            </a:ln>
            <a:effectLst>
              <a:outerShdw blurRad="76200" dir="18900000" sy="23000" kx="-1200000" algn="bl" rotWithShape="0">
                <a:prstClr val="black">
                  <a:alpha val="20000"/>
                </a:prstClr>
              </a:outerShdw>
            </a:effectLst>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196" name="Freeform: Shape 195">
              <a:extLst>
                <a:ext uri="{FF2B5EF4-FFF2-40B4-BE49-F238E27FC236}">
                  <a16:creationId xmlns:a16="http://schemas.microsoft.com/office/drawing/2014/main" id="{2DC986A1-CF8D-2EEB-642C-579C23439346}"/>
                </a:ext>
              </a:extLst>
            </p:cNvPr>
            <p:cNvSpPr/>
            <p:nvPr/>
          </p:nvSpPr>
          <p:spPr>
            <a:xfrm>
              <a:off x="6241755" y="1118103"/>
              <a:ext cx="404881" cy="876394"/>
            </a:xfrm>
            <a:custGeom>
              <a:avLst/>
              <a:gdLst>
                <a:gd name="connsiteX0" fmla="*/ 551404 w 553253"/>
                <a:gd name="connsiteY0" fmla="*/ 1163168 h 1197555"/>
                <a:gd name="connsiteX1" fmla="*/ 547809 w 553253"/>
                <a:gd name="connsiteY1" fmla="*/ 1161424 h 1197555"/>
                <a:gd name="connsiteX2" fmla="*/ 535966 w 553253"/>
                <a:gd name="connsiteY2" fmla="*/ 1147374 h 1197555"/>
                <a:gd name="connsiteX3" fmla="*/ 526559 w 553253"/>
                <a:gd name="connsiteY3" fmla="*/ 1145321 h 1197555"/>
                <a:gd name="connsiteX4" fmla="*/ 513237 w 553253"/>
                <a:gd name="connsiteY4" fmla="*/ 1143479 h 1197555"/>
                <a:gd name="connsiteX5" fmla="*/ 459692 w 553253"/>
                <a:gd name="connsiteY5" fmla="*/ 1122744 h 1197555"/>
                <a:gd name="connsiteX6" fmla="*/ 455255 w 553253"/>
                <a:gd name="connsiteY6" fmla="*/ 1113350 h 1197555"/>
                <a:gd name="connsiteX7" fmla="*/ 448983 w 553253"/>
                <a:gd name="connsiteY7" fmla="*/ 1108464 h 1197555"/>
                <a:gd name="connsiteX8" fmla="*/ 445768 w 553253"/>
                <a:gd name="connsiteY8" fmla="*/ 1100838 h 1197555"/>
                <a:gd name="connsiteX9" fmla="*/ 450534 w 553253"/>
                <a:gd name="connsiteY9" fmla="*/ 1076698 h 1197555"/>
                <a:gd name="connsiteX10" fmla="*/ 440116 w 553253"/>
                <a:gd name="connsiteY10" fmla="*/ 1057373 h 1197555"/>
                <a:gd name="connsiteX11" fmla="*/ 442028 w 553253"/>
                <a:gd name="connsiteY11" fmla="*/ 1040905 h 1197555"/>
                <a:gd name="connsiteX12" fmla="*/ 448301 w 553253"/>
                <a:gd name="connsiteY12" fmla="*/ 1025441 h 1197555"/>
                <a:gd name="connsiteX13" fmla="*/ 448988 w 553253"/>
                <a:gd name="connsiteY13" fmla="*/ 982098 h 1197555"/>
                <a:gd name="connsiteX14" fmla="*/ 448433 w 553253"/>
                <a:gd name="connsiteY14" fmla="*/ 914822 h 1197555"/>
                <a:gd name="connsiteX15" fmla="*/ 438174 w 553253"/>
                <a:gd name="connsiteY15" fmla="*/ 821247 h 1197555"/>
                <a:gd name="connsiteX16" fmla="*/ 415112 w 553253"/>
                <a:gd name="connsiteY16" fmla="*/ 716626 h 1197555"/>
                <a:gd name="connsiteX17" fmla="*/ 403893 w 553253"/>
                <a:gd name="connsiteY17" fmla="*/ 665801 h 1197555"/>
                <a:gd name="connsiteX18" fmla="*/ 404575 w 553253"/>
                <a:gd name="connsiteY18" fmla="*/ 639994 h 1197555"/>
                <a:gd name="connsiteX19" fmla="*/ 406383 w 553253"/>
                <a:gd name="connsiteY19" fmla="*/ 607740 h 1197555"/>
                <a:gd name="connsiteX20" fmla="*/ 406383 w 553253"/>
                <a:gd name="connsiteY20" fmla="*/ 607740 h 1197555"/>
                <a:gd name="connsiteX21" fmla="*/ 420571 w 553253"/>
                <a:gd name="connsiteY21" fmla="*/ 619480 h 1197555"/>
                <a:gd name="connsiteX22" fmla="*/ 435272 w 553253"/>
                <a:gd name="connsiteY22" fmla="*/ 637027 h 1197555"/>
                <a:gd name="connsiteX23" fmla="*/ 440282 w 553253"/>
                <a:gd name="connsiteY23" fmla="*/ 643556 h 1197555"/>
                <a:gd name="connsiteX24" fmla="*/ 445577 w 553253"/>
                <a:gd name="connsiteY24" fmla="*/ 649621 h 1197555"/>
                <a:gd name="connsiteX25" fmla="*/ 452100 w 553253"/>
                <a:gd name="connsiteY25" fmla="*/ 652645 h 1197555"/>
                <a:gd name="connsiteX26" fmla="*/ 459351 w 553253"/>
                <a:gd name="connsiteY26" fmla="*/ 659178 h 1197555"/>
                <a:gd name="connsiteX27" fmla="*/ 468382 w 553253"/>
                <a:gd name="connsiteY27" fmla="*/ 665660 h 1197555"/>
                <a:gd name="connsiteX28" fmla="*/ 475854 w 553253"/>
                <a:gd name="connsiteY28" fmla="*/ 667060 h 1197555"/>
                <a:gd name="connsiteX29" fmla="*/ 482822 w 553253"/>
                <a:gd name="connsiteY29" fmla="*/ 663837 h 1197555"/>
                <a:gd name="connsiteX30" fmla="*/ 487088 w 553253"/>
                <a:gd name="connsiteY30" fmla="*/ 661582 h 1197555"/>
                <a:gd name="connsiteX31" fmla="*/ 502841 w 553253"/>
                <a:gd name="connsiteY31" fmla="*/ 656659 h 1197555"/>
                <a:gd name="connsiteX32" fmla="*/ 505353 w 553253"/>
                <a:gd name="connsiteY32" fmla="*/ 655469 h 1197555"/>
                <a:gd name="connsiteX33" fmla="*/ 506719 w 553253"/>
                <a:gd name="connsiteY33" fmla="*/ 654712 h 1197555"/>
                <a:gd name="connsiteX34" fmla="*/ 508589 w 553253"/>
                <a:gd name="connsiteY34" fmla="*/ 651092 h 1197555"/>
                <a:gd name="connsiteX35" fmla="*/ 514018 w 553253"/>
                <a:gd name="connsiteY35" fmla="*/ 649891 h 1197555"/>
                <a:gd name="connsiteX36" fmla="*/ 517644 w 553253"/>
                <a:gd name="connsiteY36" fmla="*/ 646119 h 1197555"/>
                <a:gd name="connsiteX37" fmla="*/ 521060 w 553253"/>
                <a:gd name="connsiteY37" fmla="*/ 642383 h 1197555"/>
                <a:gd name="connsiteX38" fmla="*/ 521418 w 553253"/>
                <a:gd name="connsiteY38" fmla="*/ 636853 h 1197555"/>
                <a:gd name="connsiteX39" fmla="*/ 525353 w 553253"/>
                <a:gd name="connsiteY39" fmla="*/ 631712 h 1197555"/>
                <a:gd name="connsiteX40" fmla="*/ 524024 w 553253"/>
                <a:gd name="connsiteY40" fmla="*/ 628107 h 1197555"/>
                <a:gd name="connsiteX41" fmla="*/ 519196 w 553253"/>
                <a:gd name="connsiteY41" fmla="*/ 627613 h 1197555"/>
                <a:gd name="connsiteX42" fmla="*/ 514353 w 553253"/>
                <a:gd name="connsiteY42" fmla="*/ 629021 h 1197555"/>
                <a:gd name="connsiteX43" fmla="*/ 506366 w 553253"/>
                <a:gd name="connsiteY43" fmla="*/ 625807 h 1197555"/>
                <a:gd name="connsiteX44" fmla="*/ 491859 w 553253"/>
                <a:gd name="connsiteY44" fmla="*/ 613058 h 1197555"/>
                <a:gd name="connsiteX45" fmla="*/ 503418 w 553253"/>
                <a:gd name="connsiteY45" fmla="*/ 619621 h 1197555"/>
                <a:gd name="connsiteX46" fmla="*/ 510923 w 553253"/>
                <a:gd name="connsiteY46" fmla="*/ 622330 h 1197555"/>
                <a:gd name="connsiteX47" fmla="*/ 514956 w 553253"/>
                <a:gd name="connsiteY47" fmla="*/ 621775 h 1197555"/>
                <a:gd name="connsiteX48" fmla="*/ 517660 w 553253"/>
                <a:gd name="connsiteY48" fmla="*/ 618860 h 1197555"/>
                <a:gd name="connsiteX49" fmla="*/ 515299 w 553253"/>
                <a:gd name="connsiteY49" fmla="*/ 613243 h 1197555"/>
                <a:gd name="connsiteX50" fmla="*/ 509675 w 553253"/>
                <a:gd name="connsiteY50" fmla="*/ 608926 h 1197555"/>
                <a:gd name="connsiteX51" fmla="*/ 503842 w 553253"/>
                <a:gd name="connsiteY51" fmla="*/ 603624 h 1197555"/>
                <a:gd name="connsiteX52" fmla="*/ 488996 w 553253"/>
                <a:gd name="connsiteY52" fmla="*/ 590801 h 1197555"/>
                <a:gd name="connsiteX53" fmla="*/ 471937 w 553253"/>
                <a:gd name="connsiteY53" fmla="*/ 581641 h 1197555"/>
                <a:gd name="connsiteX54" fmla="*/ 432299 w 553253"/>
                <a:gd name="connsiteY54" fmla="*/ 572799 h 1197555"/>
                <a:gd name="connsiteX55" fmla="*/ 410076 w 553253"/>
                <a:gd name="connsiteY55" fmla="*/ 562930 h 1197555"/>
                <a:gd name="connsiteX56" fmla="*/ 409226 w 553253"/>
                <a:gd name="connsiteY56" fmla="*/ 537967 h 1197555"/>
                <a:gd name="connsiteX57" fmla="*/ 410588 w 553253"/>
                <a:gd name="connsiteY57" fmla="*/ 434352 h 1197555"/>
                <a:gd name="connsiteX58" fmla="*/ 398995 w 553253"/>
                <a:gd name="connsiteY58" fmla="*/ 351679 h 1197555"/>
                <a:gd name="connsiteX59" fmla="*/ 396897 w 553253"/>
                <a:gd name="connsiteY59" fmla="*/ 310889 h 1197555"/>
                <a:gd name="connsiteX60" fmla="*/ 399734 w 553253"/>
                <a:gd name="connsiteY60" fmla="*/ 288302 h 1197555"/>
                <a:gd name="connsiteX61" fmla="*/ 381210 w 553253"/>
                <a:gd name="connsiteY61" fmla="*/ 258360 h 1197555"/>
                <a:gd name="connsiteX62" fmla="*/ 352600 w 553253"/>
                <a:gd name="connsiteY62" fmla="*/ 226441 h 1197555"/>
                <a:gd name="connsiteX63" fmla="*/ 360373 w 553253"/>
                <a:gd name="connsiteY63" fmla="*/ 209921 h 1197555"/>
                <a:gd name="connsiteX64" fmla="*/ 365342 w 553253"/>
                <a:gd name="connsiteY64" fmla="*/ 202364 h 1197555"/>
                <a:gd name="connsiteX65" fmla="*/ 374311 w 553253"/>
                <a:gd name="connsiteY65" fmla="*/ 197243 h 1197555"/>
                <a:gd name="connsiteX66" fmla="*/ 387713 w 553253"/>
                <a:gd name="connsiteY66" fmla="*/ 193763 h 1197555"/>
                <a:gd name="connsiteX67" fmla="*/ 399277 w 553253"/>
                <a:gd name="connsiteY67" fmla="*/ 186229 h 1197555"/>
                <a:gd name="connsiteX68" fmla="*/ 399946 w 553253"/>
                <a:gd name="connsiteY68" fmla="*/ 174214 h 1197555"/>
                <a:gd name="connsiteX69" fmla="*/ 398210 w 553253"/>
                <a:gd name="connsiteY69" fmla="*/ 170159 h 1197555"/>
                <a:gd name="connsiteX70" fmla="*/ 399138 w 553253"/>
                <a:gd name="connsiteY70" fmla="*/ 164005 h 1197555"/>
                <a:gd name="connsiteX71" fmla="*/ 400632 w 553253"/>
                <a:gd name="connsiteY71" fmla="*/ 157930 h 1197555"/>
                <a:gd name="connsiteX72" fmla="*/ 397900 w 553253"/>
                <a:gd name="connsiteY72" fmla="*/ 152802 h 1197555"/>
                <a:gd name="connsiteX73" fmla="*/ 401185 w 553253"/>
                <a:gd name="connsiteY73" fmla="*/ 150384 h 1197555"/>
                <a:gd name="connsiteX74" fmla="*/ 402264 w 553253"/>
                <a:gd name="connsiteY74" fmla="*/ 146320 h 1197555"/>
                <a:gd name="connsiteX75" fmla="*/ 401471 w 553253"/>
                <a:gd name="connsiteY75" fmla="*/ 143979 h 1197555"/>
                <a:gd name="connsiteX76" fmla="*/ 401536 w 553253"/>
                <a:gd name="connsiteY76" fmla="*/ 135701 h 1197555"/>
                <a:gd name="connsiteX77" fmla="*/ 407907 w 553253"/>
                <a:gd name="connsiteY77" fmla="*/ 132402 h 1197555"/>
                <a:gd name="connsiteX78" fmla="*/ 413316 w 553253"/>
                <a:gd name="connsiteY78" fmla="*/ 127641 h 1197555"/>
                <a:gd name="connsiteX79" fmla="*/ 412729 w 553253"/>
                <a:gd name="connsiteY79" fmla="*/ 120654 h 1197555"/>
                <a:gd name="connsiteX80" fmla="*/ 400826 w 553253"/>
                <a:gd name="connsiteY80" fmla="*/ 106799 h 1197555"/>
                <a:gd name="connsiteX81" fmla="*/ 393915 w 553253"/>
                <a:gd name="connsiteY81" fmla="*/ 88599 h 1197555"/>
                <a:gd name="connsiteX82" fmla="*/ 392809 w 553253"/>
                <a:gd name="connsiteY82" fmla="*/ 71832 h 1197555"/>
                <a:gd name="connsiteX83" fmla="*/ 378113 w 553253"/>
                <a:gd name="connsiteY83" fmla="*/ 37239 h 1197555"/>
                <a:gd name="connsiteX84" fmla="*/ 382556 w 553253"/>
                <a:gd name="connsiteY84" fmla="*/ 36407 h 1197555"/>
                <a:gd name="connsiteX85" fmla="*/ 383723 w 553253"/>
                <a:gd name="connsiteY85" fmla="*/ 29989 h 1197555"/>
                <a:gd name="connsiteX86" fmla="*/ 380297 w 553253"/>
                <a:gd name="connsiteY86" fmla="*/ 24348 h 1197555"/>
                <a:gd name="connsiteX87" fmla="*/ 384332 w 553253"/>
                <a:gd name="connsiteY87" fmla="*/ 25683 h 1197555"/>
                <a:gd name="connsiteX88" fmla="*/ 379920 w 553253"/>
                <a:gd name="connsiteY88" fmla="*/ 17430 h 1197555"/>
                <a:gd name="connsiteX89" fmla="*/ 371960 w 553253"/>
                <a:gd name="connsiteY89" fmla="*/ 12249 h 1197555"/>
                <a:gd name="connsiteX90" fmla="*/ 376034 w 553253"/>
                <a:gd name="connsiteY90" fmla="*/ 10818 h 1197555"/>
                <a:gd name="connsiteX91" fmla="*/ 361431 w 553253"/>
                <a:gd name="connsiteY91" fmla="*/ 7447 h 1197555"/>
                <a:gd name="connsiteX92" fmla="*/ 364603 w 553253"/>
                <a:gd name="connsiteY92" fmla="*/ 2493 h 1197555"/>
                <a:gd name="connsiteX93" fmla="*/ 360100 w 553253"/>
                <a:gd name="connsiteY93" fmla="*/ 4099 h 1197555"/>
                <a:gd name="connsiteX94" fmla="*/ 330366 w 553253"/>
                <a:gd name="connsiteY94" fmla="*/ 4921 h 1197555"/>
                <a:gd name="connsiteX95" fmla="*/ 332968 w 553253"/>
                <a:gd name="connsiteY95" fmla="*/ 0 h 1197555"/>
                <a:gd name="connsiteX96" fmla="*/ 317417 w 553253"/>
                <a:gd name="connsiteY96" fmla="*/ 6782 h 1197555"/>
                <a:gd name="connsiteX97" fmla="*/ 319547 w 553253"/>
                <a:gd name="connsiteY97" fmla="*/ 2217 h 1197555"/>
                <a:gd name="connsiteX98" fmla="*/ 306553 w 553253"/>
                <a:gd name="connsiteY98" fmla="*/ 6743 h 1197555"/>
                <a:gd name="connsiteX99" fmla="*/ 279348 w 553253"/>
                <a:gd name="connsiteY99" fmla="*/ 13207 h 1197555"/>
                <a:gd name="connsiteX100" fmla="*/ 281124 w 553253"/>
                <a:gd name="connsiteY100" fmla="*/ 8047 h 1197555"/>
                <a:gd name="connsiteX101" fmla="*/ 271560 w 553253"/>
                <a:gd name="connsiteY101" fmla="*/ 14359 h 1197555"/>
                <a:gd name="connsiteX102" fmla="*/ 254619 w 553253"/>
                <a:gd name="connsiteY102" fmla="*/ 28176 h 1197555"/>
                <a:gd name="connsiteX103" fmla="*/ 248114 w 553253"/>
                <a:gd name="connsiteY103" fmla="*/ 49521 h 1197555"/>
                <a:gd name="connsiteX104" fmla="*/ 237201 w 553253"/>
                <a:gd name="connsiteY104" fmla="*/ 65144 h 1197555"/>
                <a:gd name="connsiteX105" fmla="*/ 237339 w 553253"/>
                <a:gd name="connsiteY105" fmla="*/ 83301 h 1197555"/>
                <a:gd name="connsiteX106" fmla="*/ 262414 w 553253"/>
                <a:gd name="connsiteY106" fmla="*/ 148611 h 1197555"/>
                <a:gd name="connsiteX107" fmla="*/ 265076 w 553253"/>
                <a:gd name="connsiteY107" fmla="*/ 152394 h 1197555"/>
                <a:gd name="connsiteX108" fmla="*/ 280317 w 553253"/>
                <a:gd name="connsiteY108" fmla="*/ 179707 h 1197555"/>
                <a:gd name="connsiteX109" fmla="*/ 272232 w 553253"/>
                <a:gd name="connsiteY109" fmla="*/ 201177 h 1197555"/>
                <a:gd name="connsiteX110" fmla="*/ 266084 w 553253"/>
                <a:gd name="connsiteY110" fmla="*/ 205737 h 1197555"/>
                <a:gd name="connsiteX111" fmla="*/ 262251 w 553253"/>
                <a:gd name="connsiteY111" fmla="*/ 209063 h 1197555"/>
                <a:gd name="connsiteX112" fmla="*/ 257481 w 553253"/>
                <a:gd name="connsiteY112" fmla="*/ 218796 h 1197555"/>
                <a:gd name="connsiteX113" fmla="*/ 247829 w 553253"/>
                <a:gd name="connsiteY113" fmla="*/ 232556 h 1197555"/>
                <a:gd name="connsiteX114" fmla="*/ 212455 w 553253"/>
                <a:gd name="connsiteY114" fmla="*/ 340720 h 1197555"/>
                <a:gd name="connsiteX115" fmla="*/ 208991 w 553253"/>
                <a:gd name="connsiteY115" fmla="*/ 436183 h 1197555"/>
                <a:gd name="connsiteX116" fmla="*/ 204250 w 553253"/>
                <a:gd name="connsiteY116" fmla="*/ 515762 h 1197555"/>
                <a:gd name="connsiteX117" fmla="*/ 183317 w 553253"/>
                <a:gd name="connsiteY117" fmla="*/ 584378 h 1197555"/>
                <a:gd name="connsiteX118" fmla="*/ 180801 w 553253"/>
                <a:gd name="connsiteY118" fmla="*/ 606913 h 1197555"/>
                <a:gd name="connsiteX119" fmla="*/ 195354 w 553253"/>
                <a:gd name="connsiteY119" fmla="*/ 622549 h 1197555"/>
                <a:gd name="connsiteX120" fmla="*/ 212754 w 553253"/>
                <a:gd name="connsiteY120" fmla="*/ 671254 h 1197555"/>
                <a:gd name="connsiteX121" fmla="*/ 222330 w 553253"/>
                <a:gd name="connsiteY121" fmla="*/ 689321 h 1197555"/>
                <a:gd name="connsiteX122" fmla="*/ 234342 w 553253"/>
                <a:gd name="connsiteY122" fmla="*/ 732601 h 1197555"/>
                <a:gd name="connsiteX123" fmla="*/ 239132 w 553253"/>
                <a:gd name="connsiteY123" fmla="*/ 792745 h 1197555"/>
                <a:gd name="connsiteX124" fmla="*/ 238420 w 553253"/>
                <a:gd name="connsiteY124" fmla="*/ 804777 h 1197555"/>
                <a:gd name="connsiteX125" fmla="*/ 231878 w 553253"/>
                <a:gd name="connsiteY125" fmla="*/ 827180 h 1197555"/>
                <a:gd name="connsiteX126" fmla="*/ 222344 w 553253"/>
                <a:gd name="connsiteY126" fmla="*/ 833345 h 1197555"/>
                <a:gd name="connsiteX127" fmla="*/ 181827 w 553253"/>
                <a:gd name="connsiteY127" fmla="*/ 865541 h 1197555"/>
                <a:gd name="connsiteX128" fmla="*/ 108272 w 553253"/>
                <a:gd name="connsiteY128" fmla="*/ 939979 h 1197555"/>
                <a:gd name="connsiteX129" fmla="*/ 91867 w 553253"/>
                <a:gd name="connsiteY129" fmla="*/ 947349 h 1197555"/>
                <a:gd name="connsiteX130" fmla="*/ 81480 w 553253"/>
                <a:gd name="connsiteY130" fmla="*/ 956034 h 1197555"/>
                <a:gd name="connsiteX131" fmla="*/ 60886 w 553253"/>
                <a:gd name="connsiteY131" fmla="*/ 962312 h 1197555"/>
                <a:gd name="connsiteX132" fmla="*/ 45566 w 553253"/>
                <a:gd name="connsiteY132" fmla="*/ 969399 h 1197555"/>
                <a:gd name="connsiteX133" fmla="*/ 38109 w 553253"/>
                <a:gd name="connsiteY133" fmla="*/ 974910 h 1197555"/>
                <a:gd name="connsiteX134" fmla="*/ 35596 w 553253"/>
                <a:gd name="connsiteY134" fmla="*/ 984243 h 1197555"/>
                <a:gd name="connsiteX135" fmla="*/ 20092 w 553253"/>
                <a:gd name="connsiteY135" fmla="*/ 990887 h 1197555"/>
                <a:gd name="connsiteX136" fmla="*/ 17697 w 553253"/>
                <a:gd name="connsiteY136" fmla="*/ 991946 h 1197555"/>
                <a:gd name="connsiteX137" fmla="*/ 15614 w 553253"/>
                <a:gd name="connsiteY137" fmla="*/ 991279 h 1197555"/>
                <a:gd name="connsiteX138" fmla="*/ 6382 w 553253"/>
                <a:gd name="connsiteY138" fmla="*/ 992317 h 1197555"/>
                <a:gd name="connsiteX139" fmla="*/ 645 w 553253"/>
                <a:gd name="connsiteY139" fmla="*/ 997460 h 1197555"/>
                <a:gd name="connsiteX140" fmla="*/ 979 w 553253"/>
                <a:gd name="connsiteY140" fmla="*/ 1005689 h 1197555"/>
                <a:gd name="connsiteX141" fmla="*/ 15430 w 553253"/>
                <a:gd name="connsiteY141" fmla="*/ 1054817 h 1197555"/>
                <a:gd name="connsiteX142" fmla="*/ 34203 w 553253"/>
                <a:gd name="connsiteY142" fmla="*/ 1117898 h 1197555"/>
                <a:gd name="connsiteX143" fmla="*/ 76112 w 553253"/>
                <a:gd name="connsiteY143" fmla="*/ 1173435 h 1197555"/>
                <a:gd name="connsiteX144" fmla="*/ 84015 w 553253"/>
                <a:gd name="connsiteY144" fmla="*/ 1179267 h 1197555"/>
                <a:gd name="connsiteX145" fmla="*/ 87088 w 553253"/>
                <a:gd name="connsiteY145" fmla="*/ 1180826 h 1197555"/>
                <a:gd name="connsiteX146" fmla="*/ 92003 w 553253"/>
                <a:gd name="connsiteY146" fmla="*/ 1178380 h 1197555"/>
                <a:gd name="connsiteX147" fmla="*/ 94855 w 553253"/>
                <a:gd name="connsiteY147" fmla="*/ 1175414 h 1197555"/>
                <a:gd name="connsiteX148" fmla="*/ 96690 w 553253"/>
                <a:gd name="connsiteY148" fmla="*/ 1172753 h 1197555"/>
                <a:gd name="connsiteX149" fmla="*/ 96938 w 553253"/>
                <a:gd name="connsiteY149" fmla="*/ 1169093 h 1197555"/>
                <a:gd name="connsiteX150" fmla="*/ 99225 w 553253"/>
                <a:gd name="connsiteY150" fmla="*/ 1157234 h 1197555"/>
                <a:gd name="connsiteX151" fmla="*/ 94372 w 553253"/>
                <a:gd name="connsiteY151" fmla="*/ 1145820 h 1197555"/>
                <a:gd name="connsiteX152" fmla="*/ 89379 w 553253"/>
                <a:gd name="connsiteY152" fmla="*/ 1134218 h 1197555"/>
                <a:gd name="connsiteX153" fmla="*/ 89820 w 553253"/>
                <a:gd name="connsiteY153" fmla="*/ 1125307 h 1197555"/>
                <a:gd name="connsiteX154" fmla="*/ 87831 w 553253"/>
                <a:gd name="connsiteY154" fmla="*/ 1120841 h 1197555"/>
                <a:gd name="connsiteX155" fmla="*/ 86399 w 553253"/>
                <a:gd name="connsiteY155" fmla="*/ 1113040 h 1197555"/>
                <a:gd name="connsiteX156" fmla="*/ 87658 w 553253"/>
                <a:gd name="connsiteY156" fmla="*/ 1076536 h 1197555"/>
                <a:gd name="connsiteX157" fmla="*/ 88946 w 553253"/>
                <a:gd name="connsiteY157" fmla="*/ 1075045 h 1197555"/>
                <a:gd name="connsiteX158" fmla="*/ 106202 w 553253"/>
                <a:gd name="connsiteY158" fmla="*/ 1055499 h 1197555"/>
                <a:gd name="connsiteX159" fmla="*/ 108962 w 553253"/>
                <a:gd name="connsiteY159" fmla="*/ 1049997 h 1197555"/>
                <a:gd name="connsiteX160" fmla="*/ 113989 w 553253"/>
                <a:gd name="connsiteY160" fmla="*/ 1044860 h 1197555"/>
                <a:gd name="connsiteX161" fmla="*/ 195129 w 553253"/>
                <a:gd name="connsiteY161" fmla="*/ 999445 h 1197555"/>
                <a:gd name="connsiteX162" fmla="*/ 282189 w 553253"/>
                <a:gd name="connsiteY162" fmla="*/ 912746 h 1197555"/>
                <a:gd name="connsiteX163" fmla="*/ 296432 w 553253"/>
                <a:gd name="connsiteY163" fmla="*/ 900713 h 1197555"/>
                <a:gd name="connsiteX164" fmla="*/ 312179 w 553253"/>
                <a:gd name="connsiteY164" fmla="*/ 889445 h 1197555"/>
                <a:gd name="connsiteX165" fmla="*/ 323571 w 553253"/>
                <a:gd name="connsiteY165" fmla="*/ 855982 h 1197555"/>
                <a:gd name="connsiteX166" fmla="*/ 337207 w 553253"/>
                <a:gd name="connsiteY166" fmla="*/ 889046 h 1197555"/>
                <a:gd name="connsiteX167" fmla="*/ 343379 w 553253"/>
                <a:gd name="connsiteY167" fmla="*/ 917384 h 1197555"/>
                <a:gd name="connsiteX168" fmla="*/ 342431 w 553253"/>
                <a:gd name="connsiteY168" fmla="*/ 942157 h 1197555"/>
                <a:gd name="connsiteX169" fmla="*/ 354519 w 553253"/>
                <a:gd name="connsiteY169" fmla="*/ 994690 h 1197555"/>
                <a:gd name="connsiteX170" fmla="*/ 354740 w 553253"/>
                <a:gd name="connsiteY170" fmla="*/ 1042028 h 1197555"/>
                <a:gd name="connsiteX171" fmla="*/ 349447 w 553253"/>
                <a:gd name="connsiteY171" fmla="*/ 1061498 h 1197555"/>
                <a:gd name="connsiteX172" fmla="*/ 354965 w 553253"/>
                <a:gd name="connsiteY172" fmla="*/ 1089235 h 1197555"/>
                <a:gd name="connsiteX173" fmla="*/ 351128 w 553253"/>
                <a:gd name="connsiteY173" fmla="*/ 1126900 h 1197555"/>
                <a:gd name="connsiteX174" fmla="*/ 351092 w 553253"/>
                <a:gd name="connsiteY174" fmla="*/ 1131128 h 1197555"/>
                <a:gd name="connsiteX175" fmla="*/ 352639 w 553253"/>
                <a:gd name="connsiteY175" fmla="*/ 1133066 h 1197555"/>
                <a:gd name="connsiteX176" fmla="*/ 359177 w 553253"/>
                <a:gd name="connsiteY176" fmla="*/ 1137244 h 1197555"/>
                <a:gd name="connsiteX177" fmla="*/ 357072 w 553253"/>
                <a:gd name="connsiteY177" fmla="*/ 1170497 h 1197555"/>
                <a:gd name="connsiteX178" fmla="*/ 354555 w 553253"/>
                <a:gd name="connsiteY178" fmla="*/ 1172134 h 1197555"/>
                <a:gd name="connsiteX179" fmla="*/ 353729 w 553253"/>
                <a:gd name="connsiteY179" fmla="*/ 1175279 h 1197555"/>
                <a:gd name="connsiteX180" fmla="*/ 353714 w 553253"/>
                <a:gd name="connsiteY180" fmla="*/ 1183876 h 1197555"/>
                <a:gd name="connsiteX181" fmla="*/ 354941 w 553253"/>
                <a:gd name="connsiteY181" fmla="*/ 1188558 h 1197555"/>
                <a:gd name="connsiteX182" fmla="*/ 362613 w 553253"/>
                <a:gd name="connsiteY182" fmla="*/ 1192650 h 1197555"/>
                <a:gd name="connsiteX183" fmla="*/ 381049 w 553253"/>
                <a:gd name="connsiteY183" fmla="*/ 1194064 h 1197555"/>
                <a:gd name="connsiteX184" fmla="*/ 439535 w 553253"/>
                <a:gd name="connsiteY184" fmla="*/ 1197518 h 1197555"/>
                <a:gd name="connsiteX185" fmla="*/ 463066 w 553253"/>
                <a:gd name="connsiteY185" fmla="*/ 1197463 h 1197555"/>
                <a:gd name="connsiteX186" fmla="*/ 508881 w 553253"/>
                <a:gd name="connsiteY186" fmla="*/ 1194042 h 1197555"/>
                <a:gd name="connsiteX187" fmla="*/ 545830 w 553253"/>
                <a:gd name="connsiteY187" fmla="*/ 1182282 h 1197555"/>
                <a:gd name="connsiteX188" fmla="*/ 550269 w 553253"/>
                <a:gd name="connsiteY188" fmla="*/ 1180270 h 1197555"/>
                <a:gd name="connsiteX189" fmla="*/ 552543 w 553253"/>
                <a:gd name="connsiteY189" fmla="*/ 1178414 h 1197555"/>
                <a:gd name="connsiteX190" fmla="*/ 553189 w 553253"/>
                <a:gd name="connsiteY190" fmla="*/ 1175579 h 1197555"/>
                <a:gd name="connsiteX191" fmla="*/ 552919 w 553253"/>
                <a:gd name="connsiteY191" fmla="*/ 1167824 h 1197555"/>
                <a:gd name="connsiteX192" fmla="*/ 551404 w 553253"/>
                <a:gd name="connsiteY192" fmla="*/ 1163168 h 11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553253" h="1197555">
                  <a:moveTo>
                    <a:pt x="551404" y="1163168"/>
                  </a:moveTo>
                  <a:cubicBezTo>
                    <a:pt x="550430" y="1161884"/>
                    <a:pt x="549113" y="1160562"/>
                    <a:pt x="547809" y="1161424"/>
                  </a:cubicBezTo>
                  <a:cubicBezTo>
                    <a:pt x="546129" y="1155074"/>
                    <a:pt x="541607" y="1149709"/>
                    <a:pt x="535966" y="1147374"/>
                  </a:cubicBezTo>
                  <a:cubicBezTo>
                    <a:pt x="532967" y="1146133"/>
                    <a:pt x="529744" y="1145722"/>
                    <a:pt x="526559" y="1145321"/>
                  </a:cubicBezTo>
                  <a:cubicBezTo>
                    <a:pt x="521724" y="1144712"/>
                    <a:pt x="517992" y="1144618"/>
                    <a:pt x="513237" y="1143479"/>
                  </a:cubicBezTo>
                  <a:cubicBezTo>
                    <a:pt x="494576" y="1139005"/>
                    <a:pt x="476954" y="1131710"/>
                    <a:pt x="459692" y="1122744"/>
                  </a:cubicBezTo>
                  <a:cubicBezTo>
                    <a:pt x="459352" y="1119153"/>
                    <a:pt x="457733" y="1115726"/>
                    <a:pt x="455255" y="1113350"/>
                  </a:cubicBezTo>
                  <a:cubicBezTo>
                    <a:pt x="453323" y="1111497"/>
                    <a:pt x="450934" y="1110294"/>
                    <a:pt x="448983" y="1108464"/>
                  </a:cubicBezTo>
                  <a:cubicBezTo>
                    <a:pt x="447032" y="1106635"/>
                    <a:pt x="444599" y="1103343"/>
                    <a:pt x="445768" y="1100838"/>
                  </a:cubicBezTo>
                  <a:cubicBezTo>
                    <a:pt x="449283" y="1093305"/>
                    <a:pt x="452890" y="1084755"/>
                    <a:pt x="450534" y="1076698"/>
                  </a:cubicBezTo>
                  <a:cubicBezTo>
                    <a:pt x="448439" y="1069532"/>
                    <a:pt x="442040" y="1064596"/>
                    <a:pt x="440116" y="1057373"/>
                  </a:cubicBezTo>
                  <a:cubicBezTo>
                    <a:pt x="438672" y="1051952"/>
                    <a:pt x="440002" y="1046096"/>
                    <a:pt x="442028" y="1040905"/>
                  </a:cubicBezTo>
                  <a:cubicBezTo>
                    <a:pt x="444053" y="1035714"/>
                    <a:pt x="446775" y="1030834"/>
                    <a:pt x="448301" y="1025441"/>
                  </a:cubicBezTo>
                  <a:cubicBezTo>
                    <a:pt x="452336" y="1011179"/>
                    <a:pt x="449646" y="997014"/>
                    <a:pt x="448988" y="982098"/>
                  </a:cubicBezTo>
                  <a:cubicBezTo>
                    <a:pt x="448007" y="959865"/>
                    <a:pt x="449694" y="937038"/>
                    <a:pt x="448433" y="914822"/>
                  </a:cubicBezTo>
                  <a:cubicBezTo>
                    <a:pt x="446700" y="884292"/>
                    <a:pt x="443533" y="851266"/>
                    <a:pt x="438174" y="821247"/>
                  </a:cubicBezTo>
                  <a:cubicBezTo>
                    <a:pt x="431962" y="786459"/>
                    <a:pt x="422621" y="751105"/>
                    <a:pt x="415112" y="716626"/>
                  </a:cubicBezTo>
                  <a:cubicBezTo>
                    <a:pt x="411457" y="699843"/>
                    <a:pt x="403559" y="683053"/>
                    <a:pt x="403893" y="665801"/>
                  </a:cubicBezTo>
                  <a:cubicBezTo>
                    <a:pt x="404058" y="657228"/>
                    <a:pt x="402545" y="648275"/>
                    <a:pt x="404575" y="639994"/>
                  </a:cubicBezTo>
                  <a:cubicBezTo>
                    <a:pt x="407143" y="629519"/>
                    <a:pt x="402806" y="617854"/>
                    <a:pt x="406383" y="607740"/>
                  </a:cubicBezTo>
                  <a:cubicBezTo>
                    <a:pt x="406383" y="607740"/>
                    <a:pt x="406383" y="607740"/>
                    <a:pt x="406383" y="607740"/>
                  </a:cubicBezTo>
                  <a:cubicBezTo>
                    <a:pt x="411871" y="611036"/>
                    <a:pt x="416840" y="614825"/>
                    <a:pt x="420571" y="619480"/>
                  </a:cubicBezTo>
                  <a:cubicBezTo>
                    <a:pt x="425353" y="625444"/>
                    <a:pt x="430618" y="630963"/>
                    <a:pt x="435272" y="637027"/>
                  </a:cubicBezTo>
                  <a:cubicBezTo>
                    <a:pt x="436942" y="639203"/>
                    <a:pt x="438612" y="641380"/>
                    <a:pt x="440282" y="643556"/>
                  </a:cubicBezTo>
                  <a:cubicBezTo>
                    <a:pt x="441919" y="645688"/>
                    <a:pt x="443569" y="647835"/>
                    <a:pt x="445577" y="649621"/>
                  </a:cubicBezTo>
                  <a:cubicBezTo>
                    <a:pt x="447585" y="651408"/>
                    <a:pt x="449447" y="652217"/>
                    <a:pt x="452100" y="652645"/>
                  </a:cubicBezTo>
                  <a:cubicBezTo>
                    <a:pt x="454517" y="654823"/>
                    <a:pt x="456934" y="657000"/>
                    <a:pt x="459351" y="659178"/>
                  </a:cubicBezTo>
                  <a:cubicBezTo>
                    <a:pt x="462054" y="661614"/>
                    <a:pt x="465200" y="663894"/>
                    <a:pt x="468382" y="665660"/>
                  </a:cubicBezTo>
                  <a:cubicBezTo>
                    <a:pt x="470636" y="666912"/>
                    <a:pt x="473300" y="667411"/>
                    <a:pt x="475854" y="667060"/>
                  </a:cubicBezTo>
                  <a:cubicBezTo>
                    <a:pt x="478407" y="666710"/>
                    <a:pt x="480711" y="665315"/>
                    <a:pt x="482822" y="663837"/>
                  </a:cubicBezTo>
                  <a:cubicBezTo>
                    <a:pt x="484084" y="662953"/>
                    <a:pt x="485826" y="662466"/>
                    <a:pt x="487088" y="661582"/>
                  </a:cubicBezTo>
                  <a:cubicBezTo>
                    <a:pt x="492735" y="661543"/>
                    <a:pt x="497737" y="659076"/>
                    <a:pt x="502841" y="656659"/>
                  </a:cubicBezTo>
                  <a:lnTo>
                    <a:pt x="505353" y="655469"/>
                  </a:lnTo>
                  <a:cubicBezTo>
                    <a:pt x="505825" y="655246"/>
                    <a:pt x="506299" y="655021"/>
                    <a:pt x="506719" y="654712"/>
                  </a:cubicBezTo>
                  <a:cubicBezTo>
                    <a:pt x="507745" y="653955"/>
                    <a:pt x="508600" y="652368"/>
                    <a:pt x="508589" y="651092"/>
                  </a:cubicBezTo>
                  <a:cubicBezTo>
                    <a:pt x="510459" y="651472"/>
                    <a:pt x="512483" y="651024"/>
                    <a:pt x="514018" y="649891"/>
                  </a:cubicBezTo>
                  <a:cubicBezTo>
                    <a:pt x="515424" y="648853"/>
                    <a:pt x="516379" y="647324"/>
                    <a:pt x="517644" y="646119"/>
                  </a:cubicBezTo>
                  <a:cubicBezTo>
                    <a:pt x="518879" y="644941"/>
                    <a:pt x="520475" y="643986"/>
                    <a:pt x="521060" y="642383"/>
                  </a:cubicBezTo>
                  <a:cubicBezTo>
                    <a:pt x="521573" y="640979"/>
                    <a:pt x="521821" y="638293"/>
                    <a:pt x="521418" y="636853"/>
                  </a:cubicBezTo>
                  <a:cubicBezTo>
                    <a:pt x="523569" y="636089"/>
                    <a:pt x="525177" y="633988"/>
                    <a:pt x="525353" y="631712"/>
                  </a:cubicBezTo>
                  <a:cubicBezTo>
                    <a:pt x="525455" y="630385"/>
                    <a:pt x="525050" y="628956"/>
                    <a:pt x="524024" y="628107"/>
                  </a:cubicBezTo>
                  <a:cubicBezTo>
                    <a:pt x="522726" y="627032"/>
                    <a:pt x="520813" y="627136"/>
                    <a:pt x="519196" y="627613"/>
                  </a:cubicBezTo>
                  <a:cubicBezTo>
                    <a:pt x="517579" y="628091"/>
                    <a:pt x="516033" y="628884"/>
                    <a:pt x="514353" y="629021"/>
                  </a:cubicBezTo>
                  <a:cubicBezTo>
                    <a:pt x="511431" y="629259"/>
                    <a:pt x="508765" y="627494"/>
                    <a:pt x="506366" y="625807"/>
                  </a:cubicBezTo>
                  <a:cubicBezTo>
                    <a:pt x="501261" y="622216"/>
                    <a:pt x="495852" y="617855"/>
                    <a:pt x="491859" y="613058"/>
                  </a:cubicBezTo>
                  <a:cubicBezTo>
                    <a:pt x="495420" y="615567"/>
                    <a:pt x="499878" y="617083"/>
                    <a:pt x="503418" y="619621"/>
                  </a:cubicBezTo>
                  <a:cubicBezTo>
                    <a:pt x="505607" y="621190"/>
                    <a:pt x="508236" y="622139"/>
                    <a:pt x="510923" y="622330"/>
                  </a:cubicBezTo>
                  <a:cubicBezTo>
                    <a:pt x="512290" y="622428"/>
                    <a:pt x="513700" y="622325"/>
                    <a:pt x="514956" y="621775"/>
                  </a:cubicBezTo>
                  <a:cubicBezTo>
                    <a:pt x="516212" y="621226"/>
                    <a:pt x="517296" y="620181"/>
                    <a:pt x="517660" y="618860"/>
                  </a:cubicBezTo>
                  <a:cubicBezTo>
                    <a:pt x="518230" y="616790"/>
                    <a:pt x="516937" y="614630"/>
                    <a:pt x="515299" y="613243"/>
                  </a:cubicBezTo>
                  <a:cubicBezTo>
                    <a:pt x="513661" y="611856"/>
                    <a:pt x="511278" y="610354"/>
                    <a:pt x="509675" y="608926"/>
                  </a:cubicBezTo>
                  <a:cubicBezTo>
                    <a:pt x="507706" y="607171"/>
                    <a:pt x="505994" y="605147"/>
                    <a:pt x="503842" y="603624"/>
                  </a:cubicBezTo>
                  <a:cubicBezTo>
                    <a:pt x="498501" y="599844"/>
                    <a:pt x="493973" y="595048"/>
                    <a:pt x="488996" y="590801"/>
                  </a:cubicBezTo>
                  <a:cubicBezTo>
                    <a:pt x="484018" y="586555"/>
                    <a:pt x="478387" y="582737"/>
                    <a:pt x="471937" y="581641"/>
                  </a:cubicBezTo>
                  <a:cubicBezTo>
                    <a:pt x="458883" y="579421"/>
                    <a:pt x="444313" y="578366"/>
                    <a:pt x="432299" y="572799"/>
                  </a:cubicBezTo>
                  <a:cubicBezTo>
                    <a:pt x="424958" y="569396"/>
                    <a:pt x="417223" y="566627"/>
                    <a:pt x="410076" y="562930"/>
                  </a:cubicBezTo>
                  <a:cubicBezTo>
                    <a:pt x="409339" y="554545"/>
                    <a:pt x="408673" y="546082"/>
                    <a:pt x="409226" y="537967"/>
                  </a:cubicBezTo>
                  <a:cubicBezTo>
                    <a:pt x="411587" y="503295"/>
                    <a:pt x="414414" y="468867"/>
                    <a:pt x="410588" y="434352"/>
                  </a:cubicBezTo>
                  <a:cubicBezTo>
                    <a:pt x="407473" y="406254"/>
                    <a:pt x="398826" y="379983"/>
                    <a:pt x="398995" y="351679"/>
                  </a:cubicBezTo>
                  <a:cubicBezTo>
                    <a:pt x="399076" y="338332"/>
                    <a:pt x="393540" y="323719"/>
                    <a:pt x="396897" y="310889"/>
                  </a:cubicBezTo>
                  <a:cubicBezTo>
                    <a:pt x="398823" y="303524"/>
                    <a:pt x="400769" y="295880"/>
                    <a:pt x="399734" y="288302"/>
                  </a:cubicBezTo>
                  <a:cubicBezTo>
                    <a:pt x="398056" y="276029"/>
                    <a:pt x="389769" y="266480"/>
                    <a:pt x="381210" y="258360"/>
                  </a:cubicBezTo>
                  <a:cubicBezTo>
                    <a:pt x="370875" y="248553"/>
                    <a:pt x="361380" y="237926"/>
                    <a:pt x="352600" y="226441"/>
                  </a:cubicBezTo>
                  <a:cubicBezTo>
                    <a:pt x="355116" y="220892"/>
                    <a:pt x="357634" y="215341"/>
                    <a:pt x="360373" y="209921"/>
                  </a:cubicBezTo>
                  <a:cubicBezTo>
                    <a:pt x="361752" y="207191"/>
                    <a:pt x="363223" y="204446"/>
                    <a:pt x="365342" y="202364"/>
                  </a:cubicBezTo>
                  <a:cubicBezTo>
                    <a:pt x="367906" y="199845"/>
                    <a:pt x="371126" y="198675"/>
                    <a:pt x="374311" y="197243"/>
                  </a:cubicBezTo>
                  <a:cubicBezTo>
                    <a:pt x="378565" y="195329"/>
                    <a:pt x="383235" y="194914"/>
                    <a:pt x="387713" y="193763"/>
                  </a:cubicBezTo>
                  <a:cubicBezTo>
                    <a:pt x="392190" y="192612"/>
                    <a:pt x="396784" y="190466"/>
                    <a:pt x="399277" y="186229"/>
                  </a:cubicBezTo>
                  <a:cubicBezTo>
                    <a:pt x="401349" y="182705"/>
                    <a:pt x="401612" y="177988"/>
                    <a:pt x="399946" y="174214"/>
                  </a:cubicBezTo>
                  <a:cubicBezTo>
                    <a:pt x="399351" y="172866"/>
                    <a:pt x="398524" y="171616"/>
                    <a:pt x="398210" y="170159"/>
                  </a:cubicBezTo>
                  <a:cubicBezTo>
                    <a:pt x="397768" y="168101"/>
                    <a:pt x="398413" y="165963"/>
                    <a:pt x="399138" y="164005"/>
                  </a:cubicBezTo>
                  <a:cubicBezTo>
                    <a:pt x="399863" y="162046"/>
                    <a:pt x="400693" y="160043"/>
                    <a:pt x="400632" y="157930"/>
                  </a:cubicBezTo>
                  <a:cubicBezTo>
                    <a:pt x="400570" y="155817"/>
                    <a:pt x="399821" y="152985"/>
                    <a:pt x="397900" y="152802"/>
                  </a:cubicBezTo>
                  <a:cubicBezTo>
                    <a:pt x="399135" y="152254"/>
                    <a:pt x="400325" y="151499"/>
                    <a:pt x="401185" y="150384"/>
                  </a:cubicBezTo>
                  <a:cubicBezTo>
                    <a:pt x="402046" y="149268"/>
                    <a:pt x="402539" y="147749"/>
                    <a:pt x="402264" y="146320"/>
                  </a:cubicBezTo>
                  <a:cubicBezTo>
                    <a:pt x="402108" y="145504"/>
                    <a:pt x="401719" y="144767"/>
                    <a:pt x="401471" y="143979"/>
                  </a:cubicBezTo>
                  <a:cubicBezTo>
                    <a:pt x="400730" y="141619"/>
                    <a:pt x="400962" y="138115"/>
                    <a:pt x="401536" y="135701"/>
                  </a:cubicBezTo>
                  <a:cubicBezTo>
                    <a:pt x="403495" y="134273"/>
                    <a:pt x="405767" y="133471"/>
                    <a:pt x="407907" y="132402"/>
                  </a:cubicBezTo>
                  <a:cubicBezTo>
                    <a:pt x="410047" y="131333"/>
                    <a:pt x="412162" y="129888"/>
                    <a:pt x="413316" y="127641"/>
                  </a:cubicBezTo>
                  <a:cubicBezTo>
                    <a:pt x="414470" y="125393"/>
                    <a:pt x="414310" y="122564"/>
                    <a:pt x="412729" y="120654"/>
                  </a:cubicBezTo>
                  <a:cubicBezTo>
                    <a:pt x="408838" y="115955"/>
                    <a:pt x="404437" y="111761"/>
                    <a:pt x="400826" y="106799"/>
                  </a:cubicBezTo>
                  <a:cubicBezTo>
                    <a:pt x="397215" y="101838"/>
                    <a:pt x="393716" y="94943"/>
                    <a:pt x="393915" y="88599"/>
                  </a:cubicBezTo>
                  <a:cubicBezTo>
                    <a:pt x="394088" y="83074"/>
                    <a:pt x="394223" y="77138"/>
                    <a:pt x="392809" y="71832"/>
                  </a:cubicBezTo>
                  <a:cubicBezTo>
                    <a:pt x="389544" y="59575"/>
                    <a:pt x="384570" y="47866"/>
                    <a:pt x="378113" y="37239"/>
                  </a:cubicBezTo>
                  <a:cubicBezTo>
                    <a:pt x="379274" y="37146"/>
                    <a:pt x="381750" y="37327"/>
                    <a:pt x="382556" y="36407"/>
                  </a:cubicBezTo>
                  <a:cubicBezTo>
                    <a:pt x="384001" y="34760"/>
                    <a:pt x="384304" y="32183"/>
                    <a:pt x="383723" y="29989"/>
                  </a:cubicBezTo>
                  <a:cubicBezTo>
                    <a:pt x="383142" y="27794"/>
                    <a:pt x="381798" y="25933"/>
                    <a:pt x="380297" y="24348"/>
                  </a:cubicBezTo>
                  <a:cubicBezTo>
                    <a:pt x="381736" y="24239"/>
                    <a:pt x="383249" y="24639"/>
                    <a:pt x="384332" y="25683"/>
                  </a:cubicBezTo>
                  <a:cubicBezTo>
                    <a:pt x="383237" y="22712"/>
                    <a:pt x="381858" y="19829"/>
                    <a:pt x="379920" y="17430"/>
                  </a:cubicBezTo>
                  <a:cubicBezTo>
                    <a:pt x="377981" y="15032"/>
                    <a:pt x="374816" y="12926"/>
                    <a:pt x="371960" y="12249"/>
                  </a:cubicBezTo>
                  <a:cubicBezTo>
                    <a:pt x="373048" y="11371"/>
                    <a:pt x="374683" y="10786"/>
                    <a:pt x="376034" y="10818"/>
                  </a:cubicBezTo>
                  <a:cubicBezTo>
                    <a:pt x="372045" y="7008"/>
                    <a:pt x="366366" y="5359"/>
                    <a:pt x="361431" y="7447"/>
                  </a:cubicBezTo>
                  <a:cubicBezTo>
                    <a:pt x="362553" y="5940"/>
                    <a:pt x="363804" y="4229"/>
                    <a:pt x="364603" y="2493"/>
                  </a:cubicBezTo>
                  <a:cubicBezTo>
                    <a:pt x="362981" y="2857"/>
                    <a:pt x="361671" y="3525"/>
                    <a:pt x="360100" y="4099"/>
                  </a:cubicBezTo>
                  <a:cubicBezTo>
                    <a:pt x="350676" y="7539"/>
                    <a:pt x="339941" y="2024"/>
                    <a:pt x="330366" y="4921"/>
                  </a:cubicBezTo>
                  <a:cubicBezTo>
                    <a:pt x="331010" y="3177"/>
                    <a:pt x="331977" y="1537"/>
                    <a:pt x="332968" y="0"/>
                  </a:cubicBezTo>
                  <a:cubicBezTo>
                    <a:pt x="327606" y="1381"/>
                    <a:pt x="321889" y="3256"/>
                    <a:pt x="317417" y="6782"/>
                  </a:cubicBezTo>
                  <a:cubicBezTo>
                    <a:pt x="318322" y="5605"/>
                    <a:pt x="319192" y="3707"/>
                    <a:pt x="319547" y="2217"/>
                  </a:cubicBezTo>
                  <a:cubicBezTo>
                    <a:pt x="315516" y="4244"/>
                    <a:pt x="310987" y="6704"/>
                    <a:pt x="306553" y="6743"/>
                  </a:cubicBezTo>
                  <a:cubicBezTo>
                    <a:pt x="297215" y="6827"/>
                    <a:pt x="287662" y="8543"/>
                    <a:pt x="279348" y="13207"/>
                  </a:cubicBezTo>
                  <a:cubicBezTo>
                    <a:pt x="280180" y="11655"/>
                    <a:pt x="280624" y="9762"/>
                    <a:pt x="281124" y="8047"/>
                  </a:cubicBezTo>
                  <a:cubicBezTo>
                    <a:pt x="278272" y="10298"/>
                    <a:pt x="274681" y="12588"/>
                    <a:pt x="271560" y="14359"/>
                  </a:cubicBezTo>
                  <a:cubicBezTo>
                    <a:pt x="265268" y="17930"/>
                    <a:pt x="259173" y="22225"/>
                    <a:pt x="254619" y="28176"/>
                  </a:cubicBezTo>
                  <a:cubicBezTo>
                    <a:pt x="250064" y="34126"/>
                    <a:pt x="247243" y="41811"/>
                    <a:pt x="248114" y="49521"/>
                  </a:cubicBezTo>
                  <a:cubicBezTo>
                    <a:pt x="242980" y="53140"/>
                    <a:pt x="239050" y="58766"/>
                    <a:pt x="237201" y="65144"/>
                  </a:cubicBezTo>
                  <a:cubicBezTo>
                    <a:pt x="235352" y="71522"/>
                    <a:pt x="236645" y="76652"/>
                    <a:pt x="237339" y="83301"/>
                  </a:cubicBezTo>
                  <a:cubicBezTo>
                    <a:pt x="239826" y="107113"/>
                    <a:pt x="253420" y="126766"/>
                    <a:pt x="262414" y="148611"/>
                  </a:cubicBezTo>
                  <a:cubicBezTo>
                    <a:pt x="263015" y="150070"/>
                    <a:pt x="264073" y="151231"/>
                    <a:pt x="265076" y="152394"/>
                  </a:cubicBezTo>
                  <a:cubicBezTo>
                    <a:pt x="271432" y="159761"/>
                    <a:pt x="280964" y="169591"/>
                    <a:pt x="280317" y="179707"/>
                  </a:cubicBezTo>
                  <a:cubicBezTo>
                    <a:pt x="279790" y="187937"/>
                    <a:pt x="278465" y="196555"/>
                    <a:pt x="272232" y="201177"/>
                  </a:cubicBezTo>
                  <a:cubicBezTo>
                    <a:pt x="270183" y="202697"/>
                    <a:pt x="268133" y="204216"/>
                    <a:pt x="266084" y="205737"/>
                  </a:cubicBezTo>
                  <a:cubicBezTo>
                    <a:pt x="264731" y="206740"/>
                    <a:pt x="263366" y="207755"/>
                    <a:pt x="262251" y="209063"/>
                  </a:cubicBezTo>
                  <a:cubicBezTo>
                    <a:pt x="259945" y="211767"/>
                    <a:pt x="258919" y="215447"/>
                    <a:pt x="257481" y="218796"/>
                  </a:cubicBezTo>
                  <a:cubicBezTo>
                    <a:pt x="254863" y="224891"/>
                    <a:pt x="252057" y="227667"/>
                    <a:pt x="247829" y="232556"/>
                  </a:cubicBezTo>
                  <a:cubicBezTo>
                    <a:pt x="222455" y="261898"/>
                    <a:pt x="214559" y="300349"/>
                    <a:pt x="212455" y="340720"/>
                  </a:cubicBezTo>
                  <a:cubicBezTo>
                    <a:pt x="210783" y="372799"/>
                    <a:pt x="211834" y="404203"/>
                    <a:pt x="208991" y="436183"/>
                  </a:cubicBezTo>
                  <a:cubicBezTo>
                    <a:pt x="206695" y="462023"/>
                    <a:pt x="208734" y="490269"/>
                    <a:pt x="204250" y="515762"/>
                  </a:cubicBezTo>
                  <a:cubicBezTo>
                    <a:pt x="200037" y="539708"/>
                    <a:pt x="189427" y="560928"/>
                    <a:pt x="183317" y="584378"/>
                  </a:cubicBezTo>
                  <a:cubicBezTo>
                    <a:pt x="181400" y="591731"/>
                    <a:pt x="179374" y="599427"/>
                    <a:pt x="180801" y="606913"/>
                  </a:cubicBezTo>
                  <a:cubicBezTo>
                    <a:pt x="182227" y="614399"/>
                    <a:pt x="188451" y="623641"/>
                    <a:pt x="195354" y="622549"/>
                  </a:cubicBezTo>
                  <a:cubicBezTo>
                    <a:pt x="194634" y="640903"/>
                    <a:pt x="203677" y="655813"/>
                    <a:pt x="212754" y="671254"/>
                  </a:cubicBezTo>
                  <a:cubicBezTo>
                    <a:pt x="216078" y="676911"/>
                    <a:pt x="221815" y="682615"/>
                    <a:pt x="222330" y="689321"/>
                  </a:cubicBezTo>
                  <a:cubicBezTo>
                    <a:pt x="223479" y="704270"/>
                    <a:pt x="233019" y="717670"/>
                    <a:pt x="234342" y="732601"/>
                  </a:cubicBezTo>
                  <a:cubicBezTo>
                    <a:pt x="236070" y="752113"/>
                    <a:pt x="240291" y="773183"/>
                    <a:pt x="239132" y="792745"/>
                  </a:cubicBezTo>
                  <a:cubicBezTo>
                    <a:pt x="238895" y="796755"/>
                    <a:pt x="238657" y="800766"/>
                    <a:pt x="238420" y="804777"/>
                  </a:cubicBezTo>
                  <a:cubicBezTo>
                    <a:pt x="237945" y="812794"/>
                    <a:pt x="237151" y="821602"/>
                    <a:pt x="231878" y="827180"/>
                  </a:cubicBezTo>
                  <a:cubicBezTo>
                    <a:pt x="229210" y="830003"/>
                    <a:pt x="225703" y="831622"/>
                    <a:pt x="222344" y="833345"/>
                  </a:cubicBezTo>
                  <a:cubicBezTo>
                    <a:pt x="206300" y="841577"/>
                    <a:pt x="195156" y="852747"/>
                    <a:pt x="181827" y="865541"/>
                  </a:cubicBezTo>
                  <a:cubicBezTo>
                    <a:pt x="156769" y="889592"/>
                    <a:pt x="141221" y="934669"/>
                    <a:pt x="108272" y="939979"/>
                  </a:cubicBezTo>
                  <a:cubicBezTo>
                    <a:pt x="102368" y="940930"/>
                    <a:pt x="96684" y="943484"/>
                    <a:pt x="91867" y="947349"/>
                  </a:cubicBezTo>
                  <a:cubicBezTo>
                    <a:pt x="88350" y="950172"/>
                    <a:pt x="85278" y="953686"/>
                    <a:pt x="81480" y="956034"/>
                  </a:cubicBezTo>
                  <a:cubicBezTo>
                    <a:pt x="75249" y="959886"/>
                    <a:pt x="67775" y="960200"/>
                    <a:pt x="60886" y="962312"/>
                  </a:cubicBezTo>
                  <a:cubicBezTo>
                    <a:pt x="55539" y="963951"/>
                    <a:pt x="50534" y="966683"/>
                    <a:pt x="45566" y="969399"/>
                  </a:cubicBezTo>
                  <a:cubicBezTo>
                    <a:pt x="42865" y="970876"/>
                    <a:pt x="40090" y="972413"/>
                    <a:pt x="38109" y="974910"/>
                  </a:cubicBezTo>
                  <a:cubicBezTo>
                    <a:pt x="36128" y="977407"/>
                    <a:pt x="34254" y="981278"/>
                    <a:pt x="35596" y="984243"/>
                  </a:cubicBezTo>
                  <a:cubicBezTo>
                    <a:pt x="30109" y="985364"/>
                    <a:pt x="24819" y="987632"/>
                    <a:pt x="20092" y="990887"/>
                  </a:cubicBezTo>
                  <a:cubicBezTo>
                    <a:pt x="19352" y="991396"/>
                    <a:pt x="18570" y="991948"/>
                    <a:pt x="17697" y="991946"/>
                  </a:cubicBezTo>
                  <a:cubicBezTo>
                    <a:pt x="16969" y="991945"/>
                    <a:pt x="16297" y="991556"/>
                    <a:pt x="15614" y="991279"/>
                  </a:cubicBezTo>
                  <a:cubicBezTo>
                    <a:pt x="12642" y="990071"/>
                    <a:pt x="9303" y="990964"/>
                    <a:pt x="6382" y="992317"/>
                  </a:cubicBezTo>
                  <a:cubicBezTo>
                    <a:pt x="4051" y="993396"/>
                    <a:pt x="1685" y="994930"/>
                    <a:pt x="645" y="997460"/>
                  </a:cubicBezTo>
                  <a:cubicBezTo>
                    <a:pt x="-541" y="1000343"/>
                    <a:pt x="112" y="1002672"/>
                    <a:pt x="979" y="1005689"/>
                  </a:cubicBezTo>
                  <a:cubicBezTo>
                    <a:pt x="6009" y="1023187"/>
                    <a:pt x="12071" y="1036843"/>
                    <a:pt x="15430" y="1054817"/>
                  </a:cubicBezTo>
                  <a:cubicBezTo>
                    <a:pt x="19431" y="1076227"/>
                    <a:pt x="26700" y="1097651"/>
                    <a:pt x="34203" y="1117898"/>
                  </a:cubicBezTo>
                  <a:cubicBezTo>
                    <a:pt x="42455" y="1140165"/>
                    <a:pt x="57928" y="1160015"/>
                    <a:pt x="76112" y="1173435"/>
                  </a:cubicBezTo>
                  <a:cubicBezTo>
                    <a:pt x="78746" y="1175379"/>
                    <a:pt x="81381" y="1177323"/>
                    <a:pt x="84015" y="1179267"/>
                  </a:cubicBezTo>
                  <a:cubicBezTo>
                    <a:pt x="84961" y="1179965"/>
                    <a:pt x="85955" y="1180684"/>
                    <a:pt x="87088" y="1180826"/>
                  </a:cubicBezTo>
                  <a:cubicBezTo>
                    <a:pt x="88931" y="1181055"/>
                    <a:pt x="90609" y="1179722"/>
                    <a:pt x="92003" y="1178380"/>
                  </a:cubicBezTo>
                  <a:cubicBezTo>
                    <a:pt x="92988" y="1177432"/>
                    <a:pt x="93939" y="1176442"/>
                    <a:pt x="94855" y="1175414"/>
                  </a:cubicBezTo>
                  <a:cubicBezTo>
                    <a:pt x="95567" y="1174614"/>
                    <a:pt x="96269" y="1173772"/>
                    <a:pt x="96690" y="1172753"/>
                  </a:cubicBezTo>
                  <a:cubicBezTo>
                    <a:pt x="97111" y="1171735"/>
                    <a:pt x="97425" y="1170075"/>
                    <a:pt x="96938" y="1169093"/>
                  </a:cubicBezTo>
                  <a:cubicBezTo>
                    <a:pt x="99604" y="1166058"/>
                    <a:pt x="100103" y="1161337"/>
                    <a:pt x="99225" y="1157234"/>
                  </a:cubicBezTo>
                  <a:cubicBezTo>
                    <a:pt x="98346" y="1153131"/>
                    <a:pt x="96297" y="1149468"/>
                    <a:pt x="94372" y="1145820"/>
                  </a:cubicBezTo>
                  <a:cubicBezTo>
                    <a:pt x="92447" y="1142172"/>
                    <a:pt x="88467" y="1138312"/>
                    <a:pt x="89379" y="1134218"/>
                  </a:cubicBezTo>
                  <a:cubicBezTo>
                    <a:pt x="90033" y="1131288"/>
                    <a:pt x="90681" y="1128171"/>
                    <a:pt x="89820" y="1125307"/>
                  </a:cubicBezTo>
                  <a:cubicBezTo>
                    <a:pt x="89346" y="1123732"/>
                    <a:pt x="88446" y="1122356"/>
                    <a:pt x="87831" y="1120841"/>
                  </a:cubicBezTo>
                  <a:cubicBezTo>
                    <a:pt x="86794" y="1118284"/>
                    <a:pt x="86484" y="1115836"/>
                    <a:pt x="86399" y="1113040"/>
                  </a:cubicBezTo>
                  <a:cubicBezTo>
                    <a:pt x="86025" y="1100855"/>
                    <a:pt x="86671" y="1088679"/>
                    <a:pt x="87658" y="1076536"/>
                  </a:cubicBezTo>
                  <a:cubicBezTo>
                    <a:pt x="87716" y="1075823"/>
                    <a:pt x="88372" y="1075384"/>
                    <a:pt x="88946" y="1075045"/>
                  </a:cubicBezTo>
                  <a:cubicBezTo>
                    <a:pt x="96344" y="1070678"/>
                    <a:pt x="102462" y="1063749"/>
                    <a:pt x="106202" y="1055499"/>
                  </a:cubicBezTo>
                  <a:cubicBezTo>
                    <a:pt x="107053" y="1053621"/>
                    <a:pt x="107795" y="1051658"/>
                    <a:pt x="108962" y="1049997"/>
                  </a:cubicBezTo>
                  <a:cubicBezTo>
                    <a:pt x="110196" y="1048241"/>
                    <a:pt x="112020" y="1045365"/>
                    <a:pt x="113989" y="1044860"/>
                  </a:cubicBezTo>
                  <a:cubicBezTo>
                    <a:pt x="144074" y="1037142"/>
                    <a:pt x="171182" y="1020853"/>
                    <a:pt x="195129" y="999445"/>
                  </a:cubicBezTo>
                  <a:cubicBezTo>
                    <a:pt x="225727" y="972092"/>
                    <a:pt x="252259" y="940975"/>
                    <a:pt x="282189" y="912746"/>
                  </a:cubicBezTo>
                  <a:cubicBezTo>
                    <a:pt x="286737" y="908456"/>
                    <a:pt x="291347" y="904203"/>
                    <a:pt x="296432" y="900713"/>
                  </a:cubicBezTo>
                  <a:cubicBezTo>
                    <a:pt x="301758" y="897057"/>
                    <a:pt x="307639" y="894208"/>
                    <a:pt x="312179" y="889445"/>
                  </a:cubicBezTo>
                  <a:cubicBezTo>
                    <a:pt x="320213" y="881017"/>
                    <a:pt x="321513" y="867963"/>
                    <a:pt x="323571" y="855982"/>
                  </a:cubicBezTo>
                  <a:cubicBezTo>
                    <a:pt x="328769" y="866661"/>
                    <a:pt x="333327" y="877714"/>
                    <a:pt x="337207" y="889046"/>
                  </a:cubicBezTo>
                  <a:cubicBezTo>
                    <a:pt x="340334" y="898179"/>
                    <a:pt x="343044" y="907636"/>
                    <a:pt x="343379" y="917384"/>
                  </a:cubicBezTo>
                  <a:cubicBezTo>
                    <a:pt x="343663" y="925647"/>
                    <a:pt x="342231" y="933890"/>
                    <a:pt x="342431" y="942157"/>
                  </a:cubicBezTo>
                  <a:cubicBezTo>
                    <a:pt x="342860" y="959801"/>
                    <a:pt x="352084" y="977242"/>
                    <a:pt x="354519" y="994690"/>
                  </a:cubicBezTo>
                  <a:cubicBezTo>
                    <a:pt x="356715" y="1010424"/>
                    <a:pt x="358878" y="1026771"/>
                    <a:pt x="354740" y="1042028"/>
                  </a:cubicBezTo>
                  <a:cubicBezTo>
                    <a:pt x="352975" y="1048534"/>
                    <a:pt x="350081" y="1054746"/>
                    <a:pt x="349447" y="1061498"/>
                  </a:cubicBezTo>
                  <a:cubicBezTo>
                    <a:pt x="348593" y="1070581"/>
                    <a:pt x="354979" y="1080104"/>
                    <a:pt x="354965" y="1089235"/>
                  </a:cubicBezTo>
                  <a:cubicBezTo>
                    <a:pt x="354946" y="1101894"/>
                    <a:pt x="353657" y="1114549"/>
                    <a:pt x="351128" y="1126900"/>
                  </a:cubicBezTo>
                  <a:cubicBezTo>
                    <a:pt x="350841" y="1128302"/>
                    <a:pt x="350547" y="1129822"/>
                    <a:pt x="351092" y="1131128"/>
                  </a:cubicBezTo>
                  <a:cubicBezTo>
                    <a:pt x="351420" y="1131916"/>
                    <a:pt x="352020" y="1132527"/>
                    <a:pt x="352639" y="1133066"/>
                  </a:cubicBezTo>
                  <a:cubicBezTo>
                    <a:pt x="354488" y="1134676"/>
                    <a:pt x="356886" y="1136615"/>
                    <a:pt x="359177" y="1137244"/>
                  </a:cubicBezTo>
                  <a:cubicBezTo>
                    <a:pt x="356468" y="1147701"/>
                    <a:pt x="355834" y="1159711"/>
                    <a:pt x="357072" y="1170497"/>
                  </a:cubicBezTo>
                  <a:cubicBezTo>
                    <a:pt x="356068" y="1170596"/>
                    <a:pt x="355116" y="1171215"/>
                    <a:pt x="354555" y="1172134"/>
                  </a:cubicBezTo>
                  <a:cubicBezTo>
                    <a:pt x="353996" y="1173049"/>
                    <a:pt x="353836" y="1174183"/>
                    <a:pt x="353729" y="1175279"/>
                  </a:cubicBezTo>
                  <a:cubicBezTo>
                    <a:pt x="353453" y="1178134"/>
                    <a:pt x="353448" y="1181020"/>
                    <a:pt x="353714" y="1183876"/>
                  </a:cubicBezTo>
                  <a:cubicBezTo>
                    <a:pt x="353866" y="1185508"/>
                    <a:pt x="354125" y="1187184"/>
                    <a:pt x="354941" y="1188558"/>
                  </a:cubicBezTo>
                  <a:cubicBezTo>
                    <a:pt x="356593" y="1191342"/>
                    <a:pt x="359594" y="1192379"/>
                    <a:pt x="362613" y="1192650"/>
                  </a:cubicBezTo>
                  <a:cubicBezTo>
                    <a:pt x="368602" y="1193187"/>
                    <a:pt x="375068" y="1193419"/>
                    <a:pt x="381049" y="1194064"/>
                  </a:cubicBezTo>
                  <a:cubicBezTo>
                    <a:pt x="400485" y="1196157"/>
                    <a:pt x="420006" y="1197310"/>
                    <a:pt x="439535" y="1197518"/>
                  </a:cubicBezTo>
                  <a:cubicBezTo>
                    <a:pt x="447379" y="1197601"/>
                    <a:pt x="455223" y="1197532"/>
                    <a:pt x="463066" y="1197463"/>
                  </a:cubicBezTo>
                  <a:cubicBezTo>
                    <a:pt x="478395" y="1197328"/>
                    <a:pt x="493822" y="1197184"/>
                    <a:pt x="508881" y="1194042"/>
                  </a:cubicBezTo>
                  <a:cubicBezTo>
                    <a:pt x="521721" y="1191363"/>
                    <a:pt x="533494" y="1187017"/>
                    <a:pt x="545830" y="1182282"/>
                  </a:cubicBezTo>
                  <a:cubicBezTo>
                    <a:pt x="547342" y="1181701"/>
                    <a:pt x="548825" y="1181030"/>
                    <a:pt x="550269" y="1180270"/>
                  </a:cubicBezTo>
                  <a:cubicBezTo>
                    <a:pt x="551132" y="1179815"/>
                    <a:pt x="552020" y="1179293"/>
                    <a:pt x="552543" y="1178414"/>
                  </a:cubicBezTo>
                  <a:cubicBezTo>
                    <a:pt x="553034" y="1177589"/>
                    <a:pt x="553135" y="1176563"/>
                    <a:pt x="553189" y="1175579"/>
                  </a:cubicBezTo>
                  <a:cubicBezTo>
                    <a:pt x="553331" y="1172993"/>
                    <a:pt x="553240" y="1170391"/>
                    <a:pt x="552919" y="1167824"/>
                  </a:cubicBezTo>
                  <a:cubicBezTo>
                    <a:pt x="552712" y="1166169"/>
                    <a:pt x="552378" y="1164452"/>
                    <a:pt x="551404" y="1163168"/>
                  </a:cubicBezTo>
                  <a:close/>
                </a:path>
              </a:pathLst>
            </a:custGeom>
            <a:solidFill>
              <a:schemeClr val="tx2"/>
            </a:solidFill>
            <a:ln w="0" cap="flat">
              <a:noFill/>
              <a:prstDash val="solid"/>
              <a:miter/>
            </a:ln>
            <a:effectLst>
              <a:outerShdw blurRad="76200" dir="18900000" sy="23000" kx="-1200000" algn="bl" rotWithShape="0">
                <a:prstClr val="black">
                  <a:alpha val="20000"/>
                </a:prstClr>
              </a:outerShdw>
            </a:effectLst>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197" name="Freeform: Shape 196">
              <a:extLst>
                <a:ext uri="{FF2B5EF4-FFF2-40B4-BE49-F238E27FC236}">
                  <a16:creationId xmlns:a16="http://schemas.microsoft.com/office/drawing/2014/main" id="{18C3C1DC-D158-B9C1-203C-47AF07D44DEE}"/>
                </a:ext>
              </a:extLst>
            </p:cNvPr>
            <p:cNvSpPr/>
            <p:nvPr/>
          </p:nvSpPr>
          <p:spPr>
            <a:xfrm>
              <a:off x="4706958" y="1260227"/>
              <a:ext cx="297581" cy="733705"/>
            </a:xfrm>
            <a:custGeom>
              <a:avLst/>
              <a:gdLst>
                <a:gd name="connsiteX0" fmla="*/ 398089 w 406631"/>
                <a:gd name="connsiteY0" fmla="*/ 933712 h 1002577"/>
                <a:gd name="connsiteX1" fmla="*/ 381424 w 406631"/>
                <a:gd name="connsiteY1" fmla="*/ 932504 h 1002577"/>
                <a:gd name="connsiteX2" fmla="*/ 367931 w 406631"/>
                <a:gd name="connsiteY2" fmla="*/ 935389 h 1002577"/>
                <a:gd name="connsiteX3" fmla="*/ 356056 w 406631"/>
                <a:gd name="connsiteY3" fmla="*/ 932754 h 1002577"/>
                <a:gd name="connsiteX4" fmla="*/ 325325 w 406631"/>
                <a:gd name="connsiteY4" fmla="*/ 926892 h 1002577"/>
                <a:gd name="connsiteX5" fmla="*/ 308526 w 406631"/>
                <a:gd name="connsiteY5" fmla="*/ 922932 h 1002577"/>
                <a:gd name="connsiteX6" fmla="*/ 294460 w 406631"/>
                <a:gd name="connsiteY6" fmla="*/ 912879 h 1002577"/>
                <a:gd name="connsiteX7" fmla="*/ 288780 w 406631"/>
                <a:gd name="connsiteY7" fmla="*/ 898114 h 1002577"/>
                <a:gd name="connsiteX8" fmla="*/ 286913 w 406631"/>
                <a:gd name="connsiteY8" fmla="*/ 894722 h 1002577"/>
                <a:gd name="connsiteX9" fmla="*/ 283718 w 406631"/>
                <a:gd name="connsiteY9" fmla="*/ 893914 h 1002577"/>
                <a:gd name="connsiteX10" fmla="*/ 280089 w 406631"/>
                <a:gd name="connsiteY10" fmla="*/ 843806 h 1002577"/>
                <a:gd name="connsiteX11" fmla="*/ 277796 w 406631"/>
                <a:gd name="connsiteY11" fmla="*/ 791323 h 1002577"/>
                <a:gd name="connsiteX12" fmla="*/ 279197 w 406631"/>
                <a:gd name="connsiteY12" fmla="*/ 761498 h 1002577"/>
                <a:gd name="connsiteX13" fmla="*/ 288177 w 406631"/>
                <a:gd name="connsiteY13" fmla="*/ 736378 h 1002577"/>
                <a:gd name="connsiteX14" fmla="*/ 292442 w 406631"/>
                <a:gd name="connsiteY14" fmla="*/ 731698 h 1002577"/>
                <a:gd name="connsiteX15" fmla="*/ 292821 w 406631"/>
                <a:gd name="connsiteY15" fmla="*/ 725125 h 1002577"/>
                <a:gd name="connsiteX16" fmla="*/ 292509 w 406631"/>
                <a:gd name="connsiteY16" fmla="*/ 719595 h 1002577"/>
                <a:gd name="connsiteX17" fmla="*/ 291941 w 406631"/>
                <a:gd name="connsiteY17" fmla="*/ 716513 h 1002577"/>
                <a:gd name="connsiteX18" fmla="*/ 289570 w 406631"/>
                <a:gd name="connsiteY18" fmla="*/ 714952 h 1002577"/>
                <a:gd name="connsiteX19" fmla="*/ 278758 w 406631"/>
                <a:gd name="connsiteY19" fmla="*/ 658375 h 1002577"/>
                <a:gd name="connsiteX20" fmla="*/ 274587 w 406631"/>
                <a:gd name="connsiteY20" fmla="*/ 638697 h 1002577"/>
                <a:gd name="connsiteX21" fmla="*/ 268675 w 406631"/>
                <a:gd name="connsiteY21" fmla="*/ 622239 h 1002577"/>
                <a:gd name="connsiteX22" fmla="*/ 267183 w 406631"/>
                <a:gd name="connsiteY22" fmla="*/ 586936 h 1002577"/>
                <a:gd name="connsiteX23" fmla="*/ 266450 w 406631"/>
                <a:gd name="connsiteY23" fmla="*/ 581985 h 1002577"/>
                <a:gd name="connsiteX24" fmla="*/ 273358 w 406631"/>
                <a:gd name="connsiteY24" fmla="*/ 579318 h 1002577"/>
                <a:gd name="connsiteX25" fmla="*/ 288071 w 406631"/>
                <a:gd name="connsiteY25" fmla="*/ 571206 h 1002577"/>
                <a:gd name="connsiteX26" fmla="*/ 299187 w 406631"/>
                <a:gd name="connsiteY26" fmla="*/ 557501 h 1002577"/>
                <a:gd name="connsiteX27" fmla="*/ 300518 w 406631"/>
                <a:gd name="connsiteY27" fmla="*/ 547648 h 1002577"/>
                <a:gd name="connsiteX28" fmla="*/ 314472 w 406631"/>
                <a:gd name="connsiteY28" fmla="*/ 560124 h 1002577"/>
                <a:gd name="connsiteX29" fmla="*/ 325342 w 406631"/>
                <a:gd name="connsiteY29" fmla="*/ 570314 h 1002577"/>
                <a:gd name="connsiteX30" fmla="*/ 329015 w 406631"/>
                <a:gd name="connsiteY30" fmla="*/ 573652 h 1002577"/>
                <a:gd name="connsiteX31" fmla="*/ 332130 w 406631"/>
                <a:gd name="connsiteY31" fmla="*/ 575409 h 1002577"/>
                <a:gd name="connsiteX32" fmla="*/ 340618 w 406631"/>
                <a:gd name="connsiteY32" fmla="*/ 574414 h 1002577"/>
                <a:gd name="connsiteX33" fmla="*/ 341951 w 406631"/>
                <a:gd name="connsiteY33" fmla="*/ 570290 h 1002577"/>
                <a:gd name="connsiteX34" fmla="*/ 339525 w 406631"/>
                <a:gd name="connsiteY34" fmla="*/ 566699 h 1002577"/>
                <a:gd name="connsiteX35" fmla="*/ 338118 w 406631"/>
                <a:gd name="connsiteY35" fmla="*/ 565952 h 1002577"/>
                <a:gd name="connsiteX36" fmla="*/ 336524 w 406631"/>
                <a:gd name="connsiteY36" fmla="*/ 564359 h 1002577"/>
                <a:gd name="connsiteX37" fmla="*/ 333119 w 406631"/>
                <a:gd name="connsiteY37" fmla="*/ 560455 h 1002577"/>
                <a:gd name="connsiteX38" fmla="*/ 329570 w 406631"/>
                <a:gd name="connsiteY38" fmla="*/ 555544 h 1002577"/>
                <a:gd name="connsiteX39" fmla="*/ 329012 w 406631"/>
                <a:gd name="connsiteY39" fmla="*/ 553897 h 1002577"/>
                <a:gd name="connsiteX40" fmla="*/ 329156 w 406631"/>
                <a:gd name="connsiteY40" fmla="*/ 553680 h 1002577"/>
                <a:gd name="connsiteX41" fmla="*/ 329516 w 406631"/>
                <a:gd name="connsiteY41" fmla="*/ 553723 h 1002577"/>
                <a:gd name="connsiteX42" fmla="*/ 333545 w 406631"/>
                <a:gd name="connsiteY42" fmla="*/ 556649 h 1002577"/>
                <a:gd name="connsiteX43" fmla="*/ 344188 w 406631"/>
                <a:gd name="connsiteY43" fmla="*/ 564712 h 1002577"/>
                <a:gd name="connsiteX44" fmla="*/ 346743 w 406631"/>
                <a:gd name="connsiteY44" fmla="*/ 565800 h 1002577"/>
                <a:gd name="connsiteX45" fmla="*/ 352500 w 406631"/>
                <a:gd name="connsiteY45" fmla="*/ 565643 h 1002577"/>
                <a:gd name="connsiteX46" fmla="*/ 355792 w 406631"/>
                <a:gd name="connsiteY46" fmla="*/ 561071 h 1002577"/>
                <a:gd name="connsiteX47" fmla="*/ 355640 w 406631"/>
                <a:gd name="connsiteY47" fmla="*/ 559174 h 1002577"/>
                <a:gd name="connsiteX48" fmla="*/ 354261 w 406631"/>
                <a:gd name="connsiteY48" fmla="*/ 553827 h 1002577"/>
                <a:gd name="connsiteX49" fmla="*/ 361431 w 406631"/>
                <a:gd name="connsiteY49" fmla="*/ 553768 h 1002577"/>
                <a:gd name="connsiteX50" fmla="*/ 364643 w 406631"/>
                <a:gd name="connsiteY50" fmla="*/ 547358 h 1002577"/>
                <a:gd name="connsiteX51" fmla="*/ 361238 w 406631"/>
                <a:gd name="connsiteY51" fmla="*/ 540121 h 1002577"/>
                <a:gd name="connsiteX52" fmla="*/ 364973 w 406631"/>
                <a:gd name="connsiteY52" fmla="*/ 541268 h 1002577"/>
                <a:gd name="connsiteX53" fmla="*/ 371145 w 406631"/>
                <a:gd name="connsiteY53" fmla="*/ 539197 h 1002577"/>
                <a:gd name="connsiteX54" fmla="*/ 372121 w 406631"/>
                <a:gd name="connsiteY54" fmla="*/ 533102 h 1002577"/>
                <a:gd name="connsiteX55" fmla="*/ 368534 w 406631"/>
                <a:gd name="connsiteY55" fmla="*/ 527079 h 1002577"/>
                <a:gd name="connsiteX56" fmla="*/ 367092 w 406631"/>
                <a:gd name="connsiteY56" fmla="*/ 519724 h 1002577"/>
                <a:gd name="connsiteX57" fmla="*/ 364797 w 406631"/>
                <a:gd name="connsiteY57" fmla="*/ 516525 h 1002577"/>
                <a:gd name="connsiteX58" fmla="*/ 364298 w 406631"/>
                <a:gd name="connsiteY58" fmla="*/ 514935 h 1002577"/>
                <a:gd name="connsiteX59" fmla="*/ 361446 w 406631"/>
                <a:gd name="connsiteY59" fmla="*/ 509700 h 1002577"/>
                <a:gd name="connsiteX60" fmla="*/ 350797 w 406631"/>
                <a:gd name="connsiteY60" fmla="*/ 501635 h 1002577"/>
                <a:gd name="connsiteX61" fmla="*/ 336416 w 406631"/>
                <a:gd name="connsiteY61" fmla="*/ 493963 h 1002577"/>
                <a:gd name="connsiteX62" fmla="*/ 331012 w 406631"/>
                <a:gd name="connsiteY62" fmla="*/ 487132 h 1002577"/>
                <a:gd name="connsiteX63" fmla="*/ 318287 w 406631"/>
                <a:gd name="connsiteY63" fmla="*/ 476329 h 1002577"/>
                <a:gd name="connsiteX64" fmla="*/ 304076 w 406631"/>
                <a:gd name="connsiteY64" fmla="*/ 465510 h 1002577"/>
                <a:gd name="connsiteX65" fmla="*/ 291059 w 406631"/>
                <a:gd name="connsiteY65" fmla="*/ 456274 h 1002577"/>
                <a:gd name="connsiteX66" fmla="*/ 285671 w 406631"/>
                <a:gd name="connsiteY66" fmla="*/ 448470 h 1002577"/>
                <a:gd name="connsiteX67" fmla="*/ 278772 w 406631"/>
                <a:gd name="connsiteY67" fmla="*/ 398993 h 1002577"/>
                <a:gd name="connsiteX68" fmla="*/ 255015 w 406631"/>
                <a:gd name="connsiteY68" fmla="*/ 290587 h 1002577"/>
                <a:gd name="connsiteX69" fmla="*/ 236417 w 406631"/>
                <a:gd name="connsiteY69" fmla="*/ 239978 h 1002577"/>
                <a:gd name="connsiteX70" fmla="*/ 232518 w 406631"/>
                <a:gd name="connsiteY70" fmla="*/ 227279 h 1002577"/>
                <a:gd name="connsiteX71" fmla="*/ 229548 w 406631"/>
                <a:gd name="connsiteY71" fmla="*/ 219938 h 1002577"/>
                <a:gd name="connsiteX72" fmla="*/ 220445 w 406631"/>
                <a:gd name="connsiteY72" fmla="*/ 211757 h 1002577"/>
                <a:gd name="connsiteX73" fmla="*/ 216859 w 406631"/>
                <a:gd name="connsiteY73" fmla="*/ 206485 h 1002577"/>
                <a:gd name="connsiteX74" fmla="*/ 216011 w 406631"/>
                <a:gd name="connsiteY74" fmla="*/ 204300 h 1002577"/>
                <a:gd name="connsiteX75" fmla="*/ 217670 w 406631"/>
                <a:gd name="connsiteY75" fmla="*/ 202695 h 1002577"/>
                <a:gd name="connsiteX76" fmla="*/ 229203 w 406631"/>
                <a:gd name="connsiteY76" fmla="*/ 204003 h 1002577"/>
                <a:gd name="connsiteX77" fmla="*/ 243112 w 406631"/>
                <a:gd name="connsiteY77" fmla="*/ 203346 h 1002577"/>
                <a:gd name="connsiteX78" fmla="*/ 250972 w 406631"/>
                <a:gd name="connsiteY78" fmla="*/ 199438 h 1002577"/>
                <a:gd name="connsiteX79" fmla="*/ 253035 w 406631"/>
                <a:gd name="connsiteY79" fmla="*/ 189061 h 1002577"/>
                <a:gd name="connsiteX80" fmla="*/ 256626 w 406631"/>
                <a:gd name="connsiteY80" fmla="*/ 182346 h 1002577"/>
                <a:gd name="connsiteX81" fmla="*/ 259413 w 406631"/>
                <a:gd name="connsiteY81" fmla="*/ 180088 h 1002577"/>
                <a:gd name="connsiteX82" fmla="*/ 260366 w 406631"/>
                <a:gd name="connsiteY82" fmla="*/ 176714 h 1002577"/>
                <a:gd name="connsiteX83" fmla="*/ 258254 w 406631"/>
                <a:gd name="connsiteY83" fmla="*/ 172477 h 1002577"/>
                <a:gd name="connsiteX84" fmla="*/ 261579 w 406631"/>
                <a:gd name="connsiteY84" fmla="*/ 171256 h 1002577"/>
                <a:gd name="connsiteX85" fmla="*/ 263744 w 406631"/>
                <a:gd name="connsiteY85" fmla="*/ 168561 h 1002577"/>
                <a:gd name="connsiteX86" fmla="*/ 263401 w 406631"/>
                <a:gd name="connsiteY86" fmla="*/ 164011 h 1002577"/>
                <a:gd name="connsiteX87" fmla="*/ 265959 w 406631"/>
                <a:gd name="connsiteY87" fmla="*/ 153078 h 1002577"/>
                <a:gd name="connsiteX88" fmla="*/ 275720 w 406631"/>
                <a:gd name="connsiteY88" fmla="*/ 153208 h 1002577"/>
                <a:gd name="connsiteX89" fmla="*/ 279156 w 406631"/>
                <a:gd name="connsiteY89" fmla="*/ 151539 h 1002577"/>
                <a:gd name="connsiteX90" fmla="*/ 279612 w 406631"/>
                <a:gd name="connsiteY90" fmla="*/ 146534 h 1002577"/>
                <a:gd name="connsiteX91" fmla="*/ 273393 w 406631"/>
                <a:gd name="connsiteY91" fmla="*/ 130381 h 1002577"/>
                <a:gd name="connsiteX92" fmla="*/ 273745 w 406631"/>
                <a:gd name="connsiteY92" fmla="*/ 113610 h 1002577"/>
                <a:gd name="connsiteX93" fmla="*/ 277254 w 406631"/>
                <a:gd name="connsiteY93" fmla="*/ 108836 h 1002577"/>
                <a:gd name="connsiteX94" fmla="*/ 280117 w 406631"/>
                <a:gd name="connsiteY94" fmla="*/ 95732 h 1002577"/>
                <a:gd name="connsiteX95" fmla="*/ 274791 w 406631"/>
                <a:gd name="connsiteY95" fmla="*/ 54906 h 1002577"/>
                <a:gd name="connsiteX96" fmla="*/ 284495 w 406631"/>
                <a:gd name="connsiteY96" fmla="*/ 59640 h 1002577"/>
                <a:gd name="connsiteX97" fmla="*/ 273647 w 406631"/>
                <a:gd name="connsiteY97" fmla="*/ 39167 h 1002577"/>
                <a:gd name="connsiteX98" fmla="*/ 278617 w 406631"/>
                <a:gd name="connsiteY98" fmla="*/ 36011 h 1002577"/>
                <a:gd name="connsiteX99" fmla="*/ 262248 w 406631"/>
                <a:gd name="connsiteY99" fmla="*/ 28753 h 1002577"/>
                <a:gd name="connsiteX100" fmla="*/ 241854 w 406631"/>
                <a:gd name="connsiteY100" fmla="*/ 16999 h 1002577"/>
                <a:gd name="connsiteX101" fmla="*/ 231046 w 406631"/>
                <a:gd name="connsiteY101" fmla="*/ 13607 h 1002577"/>
                <a:gd name="connsiteX102" fmla="*/ 239408 w 406631"/>
                <a:gd name="connsiteY102" fmla="*/ 12719 h 1002577"/>
                <a:gd name="connsiteX103" fmla="*/ 229941 w 406631"/>
                <a:gd name="connsiteY103" fmla="*/ 7749 h 1002577"/>
                <a:gd name="connsiteX104" fmla="*/ 221066 w 406631"/>
                <a:gd name="connsiteY104" fmla="*/ 5441 h 1002577"/>
                <a:gd name="connsiteX105" fmla="*/ 209430 w 406631"/>
                <a:gd name="connsiteY105" fmla="*/ 4771 h 1002577"/>
                <a:gd name="connsiteX106" fmla="*/ 214597 w 406631"/>
                <a:gd name="connsiteY106" fmla="*/ 1260 h 1002577"/>
                <a:gd name="connsiteX107" fmla="*/ 201067 w 406631"/>
                <a:gd name="connsiteY107" fmla="*/ 510 h 1002577"/>
                <a:gd name="connsiteX108" fmla="*/ 191127 w 406631"/>
                <a:gd name="connsiteY108" fmla="*/ 2167 h 1002577"/>
                <a:gd name="connsiteX109" fmla="*/ 181956 w 406631"/>
                <a:gd name="connsiteY109" fmla="*/ 3252 h 1002577"/>
                <a:gd name="connsiteX110" fmla="*/ 158703 w 406631"/>
                <a:gd name="connsiteY110" fmla="*/ 6388 h 1002577"/>
                <a:gd name="connsiteX111" fmla="*/ 148821 w 406631"/>
                <a:gd name="connsiteY111" fmla="*/ 11891 h 1002577"/>
                <a:gd name="connsiteX112" fmla="*/ 140538 w 406631"/>
                <a:gd name="connsiteY112" fmla="*/ 17334 h 1002577"/>
                <a:gd name="connsiteX113" fmla="*/ 131564 w 406631"/>
                <a:gd name="connsiteY113" fmla="*/ 25598 h 1002577"/>
                <a:gd name="connsiteX114" fmla="*/ 121071 w 406631"/>
                <a:gd name="connsiteY114" fmla="*/ 48516 h 1002577"/>
                <a:gd name="connsiteX115" fmla="*/ 119336 w 406631"/>
                <a:gd name="connsiteY115" fmla="*/ 57707 h 1002577"/>
                <a:gd name="connsiteX116" fmla="*/ 115707 w 406631"/>
                <a:gd name="connsiteY116" fmla="*/ 65754 h 1002577"/>
                <a:gd name="connsiteX117" fmla="*/ 115391 w 406631"/>
                <a:gd name="connsiteY117" fmla="*/ 88395 h 1002577"/>
                <a:gd name="connsiteX118" fmla="*/ 123287 w 406631"/>
                <a:gd name="connsiteY118" fmla="*/ 123057 h 1002577"/>
                <a:gd name="connsiteX119" fmla="*/ 130974 w 406631"/>
                <a:gd name="connsiteY119" fmla="*/ 138719 h 1002577"/>
                <a:gd name="connsiteX120" fmla="*/ 134643 w 406631"/>
                <a:gd name="connsiteY120" fmla="*/ 170905 h 1002577"/>
                <a:gd name="connsiteX121" fmla="*/ 130806 w 406631"/>
                <a:gd name="connsiteY121" fmla="*/ 178501 h 1002577"/>
                <a:gd name="connsiteX122" fmla="*/ 127176 w 406631"/>
                <a:gd name="connsiteY122" fmla="*/ 180401 h 1002577"/>
                <a:gd name="connsiteX123" fmla="*/ 123873 w 406631"/>
                <a:gd name="connsiteY123" fmla="*/ 185563 h 1002577"/>
                <a:gd name="connsiteX124" fmla="*/ 118808 w 406631"/>
                <a:gd name="connsiteY124" fmla="*/ 200581 h 1002577"/>
                <a:gd name="connsiteX125" fmla="*/ 118398 w 406631"/>
                <a:gd name="connsiteY125" fmla="*/ 203357 h 1002577"/>
                <a:gd name="connsiteX126" fmla="*/ 122583 w 406631"/>
                <a:gd name="connsiteY126" fmla="*/ 207494 h 1002577"/>
                <a:gd name="connsiteX127" fmla="*/ 115188 w 406631"/>
                <a:gd name="connsiteY127" fmla="*/ 217909 h 1002577"/>
                <a:gd name="connsiteX128" fmla="*/ 106342 w 406631"/>
                <a:gd name="connsiteY128" fmla="*/ 231411 h 1002577"/>
                <a:gd name="connsiteX129" fmla="*/ 81690 w 406631"/>
                <a:gd name="connsiteY129" fmla="*/ 285373 h 1002577"/>
                <a:gd name="connsiteX130" fmla="*/ 85894 w 406631"/>
                <a:gd name="connsiteY130" fmla="*/ 365955 h 1002577"/>
                <a:gd name="connsiteX131" fmla="*/ 77817 w 406631"/>
                <a:gd name="connsiteY131" fmla="*/ 489458 h 1002577"/>
                <a:gd name="connsiteX132" fmla="*/ 83848 w 406631"/>
                <a:gd name="connsiteY132" fmla="*/ 560506 h 1002577"/>
                <a:gd name="connsiteX133" fmla="*/ 87777 w 406631"/>
                <a:gd name="connsiteY133" fmla="*/ 584040 h 1002577"/>
                <a:gd name="connsiteX134" fmla="*/ 95058 w 406631"/>
                <a:gd name="connsiteY134" fmla="*/ 596989 h 1002577"/>
                <a:gd name="connsiteX135" fmla="*/ 106428 w 406631"/>
                <a:gd name="connsiteY135" fmla="*/ 596233 h 1002577"/>
                <a:gd name="connsiteX136" fmla="*/ 116420 w 406631"/>
                <a:gd name="connsiteY136" fmla="*/ 604910 h 1002577"/>
                <a:gd name="connsiteX137" fmla="*/ 119115 w 406631"/>
                <a:gd name="connsiteY137" fmla="*/ 608190 h 1002577"/>
                <a:gd name="connsiteX138" fmla="*/ 119044 w 406631"/>
                <a:gd name="connsiteY138" fmla="*/ 613270 h 1002577"/>
                <a:gd name="connsiteX139" fmla="*/ 119068 w 406631"/>
                <a:gd name="connsiteY139" fmla="*/ 620672 h 1002577"/>
                <a:gd name="connsiteX140" fmla="*/ 128176 w 406631"/>
                <a:gd name="connsiteY140" fmla="*/ 670682 h 1002577"/>
                <a:gd name="connsiteX141" fmla="*/ 132388 w 406631"/>
                <a:gd name="connsiteY141" fmla="*/ 692232 h 1002577"/>
                <a:gd name="connsiteX142" fmla="*/ 131495 w 406631"/>
                <a:gd name="connsiteY142" fmla="*/ 706623 h 1002577"/>
                <a:gd name="connsiteX143" fmla="*/ 134105 w 406631"/>
                <a:gd name="connsiteY143" fmla="*/ 712599 h 1002577"/>
                <a:gd name="connsiteX144" fmla="*/ 134806 w 406631"/>
                <a:gd name="connsiteY144" fmla="*/ 717852 h 1002577"/>
                <a:gd name="connsiteX145" fmla="*/ 128583 w 406631"/>
                <a:gd name="connsiteY145" fmla="*/ 725557 h 1002577"/>
                <a:gd name="connsiteX146" fmla="*/ 125700 w 406631"/>
                <a:gd name="connsiteY146" fmla="*/ 730399 h 1002577"/>
                <a:gd name="connsiteX147" fmla="*/ 127314 w 406631"/>
                <a:gd name="connsiteY147" fmla="*/ 735417 h 1002577"/>
                <a:gd name="connsiteX148" fmla="*/ 116463 w 406631"/>
                <a:gd name="connsiteY148" fmla="*/ 747473 h 1002577"/>
                <a:gd name="connsiteX149" fmla="*/ 72299 w 406631"/>
                <a:gd name="connsiteY149" fmla="*/ 813297 h 1002577"/>
                <a:gd name="connsiteX150" fmla="*/ 52387 w 406631"/>
                <a:gd name="connsiteY150" fmla="*/ 857270 h 1002577"/>
                <a:gd name="connsiteX151" fmla="*/ 48787 w 406631"/>
                <a:gd name="connsiteY151" fmla="*/ 859527 h 1002577"/>
                <a:gd name="connsiteX152" fmla="*/ 43457 w 406631"/>
                <a:gd name="connsiteY152" fmla="*/ 867968 h 1002577"/>
                <a:gd name="connsiteX153" fmla="*/ 33619 w 406631"/>
                <a:gd name="connsiteY153" fmla="*/ 886007 h 1002577"/>
                <a:gd name="connsiteX154" fmla="*/ 16794 w 406631"/>
                <a:gd name="connsiteY154" fmla="*/ 903034 h 1002577"/>
                <a:gd name="connsiteX155" fmla="*/ 6436 w 406631"/>
                <a:gd name="connsiteY155" fmla="*/ 921194 h 1002577"/>
                <a:gd name="connsiteX156" fmla="*/ 3870 w 406631"/>
                <a:gd name="connsiteY156" fmla="*/ 922344 h 1002577"/>
                <a:gd name="connsiteX157" fmla="*/ 2311 w 406631"/>
                <a:gd name="connsiteY157" fmla="*/ 924268 h 1002577"/>
                <a:gd name="connsiteX158" fmla="*/ 407 w 406631"/>
                <a:gd name="connsiteY158" fmla="*/ 936631 h 1002577"/>
                <a:gd name="connsiteX159" fmla="*/ 3487 w 406631"/>
                <a:gd name="connsiteY159" fmla="*/ 942448 h 1002577"/>
                <a:gd name="connsiteX160" fmla="*/ 23471 w 406631"/>
                <a:gd name="connsiteY160" fmla="*/ 960622 h 1002577"/>
                <a:gd name="connsiteX161" fmla="*/ 60645 w 406631"/>
                <a:gd name="connsiteY161" fmla="*/ 985180 h 1002577"/>
                <a:gd name="connsiteX162" fmla="*/ 86111 w 406631"/>
                <a:gd name="connsiteY162" fmla="*/ 999029 h 1002577"/>
                <a:gd name="connsiteX163" fmla="*/ 108777 w 406631"/>
                <a:gd name="connsiteY163" fmla="*/ 1002574 h 1002577"/>
                <a:gd name="connsiteX164" fmla="*/ 155288 w 406631"/>
                <a:gd name="connsiteY164" fmla="*/ 998068 h 1002577"/>
                <a:gd name="connsiteX165" fmla="*/ 158883 w 406631"/>
                <a:gd name="connsiteY165" fmla="*/ 996343 h 1002577"/>
                <a:gd name="connsiteX166" fmla="*/ 158894 w 406631"/>
                <a:gd name="connsiteY166" fmla="*/ 996369 h 1002577"/>
                <a:gd name="connsiteX167" fmla="*/ 159249 w 406631"/>
                <a:gd name="connsiteY167" fmla="*/ 996321 h 1002577"/>
                <a:gd name="connsiteX168" fmla="*/ 161861 w 406631"/>
                <a:gd name="connsiteY168" fmla="*/ 994801 h 1002577"/>
                <a:gd name="connsiteX169" fmla="*/ 164821 w 406631"/>
                <a:gd name="connsiteY169" fmla="*/ 992801 h 1002577"/>
                <a:gd name="connsiteX170" fmla="*/ 167876 w 406631"/>
                <a:gd name="connsiteY170" fmla="*/ 987607 h 1002577"/>
                <a:gd name="connsiteX171" fmla="*/ 167659 w 406631"/>
                <a:gd name="connsiteY171" fmla="*/ 978568 h 1002577"/>
                <a:gd name="connsiteX172" fmla="*/ 165262 w 406631"/>
                <a:gd name="connsiteY172" fmla="*/ 971534 h 1002577"/>
                <a:gd name="connsiteX173" fmla="*/ 144529 w 406631"/>
                <a:gd name="connsiteY173" fmla="*/ 963311 h 1002577"/>
                <a:gd name="connsiteX174" fmla="*/ 138967 w 406631"/>
                <a:gd name="connsiteY174" fmla="*/ 957676 h 1002577"/>
                <a:gd name="connsiteX175" fmla="*/ 130932 w 406631"/>
                <a:gd name="connsiteY175" fmla="*/ 954691 h 1002577"/>
                <a:gd name="connsiteX176" fmla="*/ 124867 w 406631"/>
                <a:gd name="connsiteY176" fmla="*/ 950393 h 1002577"/>
                <a:gd name="connsiteX177" fmla="*/ 109561 w 406631"/>
                <a:gd name="connsiteY177" fmla="*/ 932640 h 1002577"/>
                <a:gd name="connsiteX178" fmla="*/ 103252 w 406631"/>
                <a:gd name="connsiteY178" fmla="*/ 921819 h 1002577"/>
                <a:gd name="connsiteX179" fmla="*/ 100636 w 406631"/>
                <a:gd name="connsiteY179" fmla="*/ 917728 h 1002577"/>
                <a:gd name="connsiteX180" fmla="*/ 100308 w 406631"/>
                <a:gd name="connsiteY180" fmla="*/ 905746 h 1002577"/>
                <a:gd name="connsiteX181" fmla="*/ 100952 w 406631"/>
                <a:gd name="connsiteY181" fmla="*/ 896778 h 1002577"/>
                <a:gd name="connsiteX182" fmla="*/ 101875 w 406631"/>
                <a:gd name="connsiteY182" fmla="*/ 891501 h 1002577"/>
                <a:gd name="connsiteX183" fmla="*/ 99833 w 406631"/>
                <a:gd name="connsiteY183" fmla="*/ 886865 h 1002577"/>
                <a:gd name="connsiteX184" fmla="*/ 112873 w 406631"/>
                <a:gd name="connsiteY184" fmla="*/ 864162 h 1002577"/>
                <a:gd name="connsiteX185" fmla="*/ 160737 w 406631"/>
                <a:gd name="connsiteY185" fmla="*/ 790513 h 1002577"/>
                <a:gd name="connsiteX186" fmla="*/ 174849 w 406631"/>
                <a:gd name="connsiteY186" fmla="*/ 774355 h 1002577"/>
                <a:gd name="connsiteX187" fmla="*/ 181481 w 406631"/>
                <a:gd name="connsiteY187" fmla="*/ 770763 h 1002577"/>
                <a:gd name="connsiteX188" fmla="*/ 187510 w 406631"/>
                <a:gd name="connsiteY188" fmla="*/ 766979 h 1002577"/>
                <a:gd name="connsiteX189" fmla="*/ 195148 w 406631"/>
                <a:gd name="connsiteY189" fmla="*/ 757617 h 1002577"/>
                <a:gd name="connsiteX190" fmla="*/ 202063 w 406631"/>
                <a:gd name="connsiteY190" fmla="*/ 757180 h 1002577"/>
                <a:gd name="connsiteX191" fmla="*/ 207619 w 406631"/>
                <a:gd name="connsiteY191" fmla="*/ 754690 h 1002577"/>
                <a:gd name="connsiteX192" fmla="*/ 211099 w 406631"/>
                <a:gd name="connsiteY192" fmla="*/ 747128 h 1002577"/>
                <a:gd name="connsiteX193" fmla="*/ 214322 w 406631"/>
                <a:gd name="connsiteY193" fmla="*/ 740504 h 1002577"/>
                <a:gd name="connsiteX194" fmla="*/ 217762 w 406631"/>
                <a:gd name="connsiteY194" fmla="*/ 754300 h 1002577"/>
                <a:gd name="connsiteX195" fmla="*/ 218713 w 406631"/>
                <a:gd name="connsiteY195" fmla="*/ 759236 h 1002577"/>
                <a:gd name="connsiteX196" fmla="*/ 217946 w 406631"/>
                <a:gd name="connsiteY196" fmla="*/ 768077 h 1002577"/>
                <a:gd name="connsiteX197" fmla="*/ 214562 w 406631"/>
                <a:gd name="connsiteY197" fmla="*/ 780867 h 1002577"/>
                <a:gd name="connsiteX198" fmla="*/ 219943 w 406631"/>
                <a:gd name="connsiteY198" fmla="*/ 850273 h 1002577"/>
                <a:gd name="connsiteX199" fmla="*/ 228596 w 406631"/>
                <a:gd name="connsiteY199" fmla="*/ 902501 h 1002577"/>
                <a:gd name="connsiteX200" fmla="*/ 226559 w 406631"/>
                <a:gd name="connsiteY200" fmla="*/ 908531 h 1002577"/>
                <a:gd name="connsiteX201" fmla="*/ 228669 w 406631"/>
                <a:gd name="connsiteY201" fmla="*/ 923141 h 1002577"/>
                <a:gd name="connsiteX202" fmla="*/ 228806 w 406631"/>
                <a:gd name="connsiteY202" fmla="*/ 927089 h 1002577"/>
                <a:gd name="connsiteX203" fmla="*/ 227932 w 406631"/>
                <a:gd name="connsiteY203" fmla="*/ 930120 h 1002577"/>
                <a:gd name="connsiteX204" fmla="*/ 228203 w 406631"/>
                <a:gd name="connsiteY204" fmla="*/ 936300 h 1002577"/>
                <a:gd name="connsiteX205" fmla="*/ 227596 w 406631"/>
                <a:gd name="connsiteY205" fmla="*/ 941570 h 1002577"/>
                <a:gd name="connsiteX206" fmla="*/ 223896 w 406631"/>
                <a:gd name="connsiteY206" fmla="*/ 955362 h 1002577"/>
                <a:gd name="connsiteX207" fmla="*/ 224565 w 406631"/>
                <a:gd name="connsiteY207" fmla="*/ 969754 h 1002577"/>
                <a:gd name="connsiteX208" fmla="*/ 221836 w 406631"/>
                <a:gd name="connsiteY208" fmla="*/ 974743 h 1002577"/>
                <a:gd name="connsiteX209" fmla="*/ 222745 w 406631"/>
                <a:gd name="connsiteY209" fmla="*/ 980569 h 1002577"/>
                <a:gd name="connsiteX210" fmla="*/ 223980 w 406631"/>
                <a:gd name="connsiteY210" fmla="*/ 985135 h 1002577"/>
                <a:gd name="connsiteX211" fmla="*/ 227374 w 406631"/>
                <a:gd name="connsiteY211" fmla="*/ 990042 h 1002577"/>
                <a:gd name="connsiteX212" fmla="*/ 239211 w 406631"/>
                <a:gd name="connsiteY212" fmla="*/ 992771 h 1002577"/>
                <a:gd name="connsiteX213" fmla="*/ 244669 w 406631"/>
                <a:gd name="connsiteY213" fmla="*/ 993088 h 1002577"/>
                <a:gd name="connsiteX214" fmla="*/ 255457 w 406631"/>
                <a:gd name="connsiteY214" fmla="*/ 992193 h 1002577"/>
                <a:gd name="connsiteX215" fmla="*/ 314589 w 406631"/>
                <a:gd name="connsiteY215" fmla="*/ 987818 h 1002577"/>
                <a:gd name="connsiteX216" fmla="*/ 345766 w 406631"/>
                <a:gd name="connsiteY216" fmla="*/ 985222 h 1002577"/>
                <a:gd name="connsiteX217" fmla="*/ 388496 w 406631"/>
                <a:gd name="connsiteY217" fmla="*/ 968144 h 1002577"/>
                <a:gd name="connsiteX218" fmla="*/ 403538 w 406631"/>
                <a:gd name="connsiteY218" fmla="*/ 955464 h 1002577"/>
                <a:gd name="connsiteX219" fmla="*/ 406341 w 406631"/>
                <a:gd name="connsiteY219" fmla="*/ 949498 h 1002577"/>
                <a:gd name="connsiteX220" fmla="*/ 406465 w 406631"/>
                <a:gd name="connsiteY220" fmla="*/ 944824 h 1002577"/>
                <a:gd name="connsiteX221" fmla="*/ 398089 w 406631"/>
                <a:gd name="connsiteY221" fmla="*/ 933712 h 100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Lst>
              <a:rect l="l" t="t" r="r" b="b"/>
              <a:pathLst>
                <a:path w="406631" h="1002577">
                  <a:moveTo>
                    <a:pt x="398089" y="933712"/>
                  </a:moveTo>
                  <a:cubicBezTo>
                    <a:pt x="393100" y="930997"/>
                    <a:pt x="387020" y="931528"/>
                    <a:pt x="381424" y="932504"/>
                  </a:cubicBezTo>
                  <a:cubicBezTo>
                    <a:pt x="377068" y="933264"/>
                    <a:pt x="372186" y="934184"/>
                    <a:pt x="367931" y="935389"/>
                  </a:cubicBezTo>
                  <a:cubicBezTo>
                    <a:pt x="364012" y="933953"/>
                    <a:pt x="360218" y="933063"/>
                    <a:pt x="356056" y="932754"/>
                  </a:cubicBezTo>
                  <a:cubicBezTo>
                    <a:pt x="345647" y="931979"/>
                    <a:pt x="335553" y="928974"/>
                    <a:pt x="325325" y="926892"/>
                  </a:cubicBezTo>
                  <a:cubicBezTo>
                    <a:pt x="319682" y="925744"/>
                    <a:pt x="313950" y="924866"/>
                    <a:pt x="308526" y="922932"/>
                  </a:cubicBezTo>
                  <a:cubicBezTo>
                    <a:pt x="303102" y="920997"/>
                    <a:pt x="297262" y="917910"/>
                    <a:pt x="294460" y="912879"/>
                  </a:cubicBezTo>
                  <a:cubicBezTo>
                    <a:pt x="291890" y="908265"/>
                    <a:pt x="290505" y="903106"/>
                    <a:pt x="288780" y="898114"/>
                  </a:cubicBezTo>
                  <a:cubicBezTo>
                    <a:pt x="288354" y="896881"/>
                    <a:pt x="287874" y="895605"/>
                    <a:pt x="286913" y="894722"/>
                  </a:cubicBezTo>
                  <a:cubicBezTo>
                    <a:pt x="285953" y="893839"/>
                    <a:pt x="284740" y="893105"/>
                    <a:pt x="283718" y="893914"/>
                  </a:cubicBezTo>
                  <a:cubicBezTo>
                    <a:pt x="279504" y="877499"/>
                    <a:pt x="279499" y="860562"/>
                    <a:pt x="280089" y="843806"/>
                  </a:cubicBezTo>
                  <a:cubicBezTo>
                    <a:pt x="280706" y="826289"/>
                    <a:pt x="280236" y="808697"/>
                    <a:pt x="277796" y="791323"/>
                  </a:cubicBezTo>
                  <a:cubicBezTo>
                    <a:pt x="276400" y="781381"/>
                    <a:pt x="274445" y="770342"/>
                    <a:pt x="279197" y="761498"/>
                  </a:cubicBezTo>
                  <a:cubicBezTo>
                    <a:pt x="283270" y="753918"/>
                    <a:pt x="287352" y="744943"/>
                    <a:pt x="288177" y="736378"/>
                  </a:cubicBezTo>
                  <a:cubicBezTo>
                    <a:pt x="290308" y="735807"/>
                    <a:pt x="291822" y="733815"/>
                    <a:pt x="292442" y="731698"/>
                  </a:cubicBezTo>
                  <a:cubicBezTo>
                    <a:pt x="293063" y="729581"/>
                    <a:pt x="292944" y="727327"/>
                    <a:pt x="292821" y="725125"/>
                  </a:cubicBezTo>
                  <a:cubicBezTo>
                    <a:pt x="292717" y="723281"/>
                    <a:pt x="292613" y="721438"/>
                    <a:pt x="292509" y="719595"/>
                  </a:cubicBezTo>
                  <a:cubicBezTo>
                    <a:pt x="292450" y="718545"/>
                    <a:pt x="292384" y="717466"/>
                    <a:pt x="291941" y="716513"/>
                  </a:cubicBezTo>
                  <a:cubicBezTo>
                    <a:pt x="291497" y="715560"/>
                    <a:pt x="290622" y="714950"/>
                    <a:pt x="289570" y="714952"/>
                  </a:cubicBezTo>
                  <a:cubicBezTo>
                    <a:pt x="288618" y="695713"/>
                    <a:pt x="280735" y="677535"/>
                    <a:pt x="278758" y="658375"/>
                  </a:cubicBezTo>
                  <a:cubicBezTo>
                    <a:pt x="278067" y="651675"/>
                    <a:pt x="277341" y="644843"/>
                    <a:pt x="274587" y="638697"/>
                  </a:cubicBezTo>
                  <a:cubicBezTo>
                    <a:pt x="272056" y="633049"/>
                    <a:pt x="268778" y="628427"/>
                    <a:pt x="268675" y="622239"/>
                  </a:cubicBezTo>
                  <a:cubicBezTo>
                    <a:pt x="268477" y="610511"/>
                    <a:pt x="268446" y="598597"/>
                    <a:pt x="267183" y="586936"/>
                  </a:cubicBezTo>
                  <a:cubicBezTo>
                    <a:pt x="266993" y="585187"/>
                    <a:pt x="266741" y="583561"/>
                    <a:pt x="266450" y="581985"/>
                  </a:cubicBezTo>
                  <a:cubicBezTo>
                    <a:pt x="268857" y="581012"/>
                    <a:pt x="271236" y="580092"/>
                    <a:pt x="273358" y="579318"/>
                  </a:cubicBezTo>
                  <a:cubicBezTo>
                    <a:pt x="278655" y="577385"/>
                    <a:pt x="283550" y="574574"/>
                    <a:pt x="288071" y="571206"/>
                  </a:cubicBezTo>
                  <a:cubicBezTo>
                    <a:pt x="292861" y="567637"/>
                    <a:pt x="297256" y="563153"/>
                    <a:pt x="299187" y="557501"/>
                  </a:cubicBezTo>
                  <a:cubicBezTo>
                    <a:pt x="300266" y="554345"/>
                    <a:pt x="300518" y="551000"/>
                    <a:pt x="300518" y="547648"/>
                  </a:cubicBezTo>
                  <a:cubicBezTo>
                    <a:pt x="305008" y="551981"/>
                    <a:pt x="309569" y="556093"/>
                    <a:pt x="314472" y="560124"/>
                  </a:cubicBezTo>
                  <a:cubicBezTo>
                    <a:pt x="318184" y="563176"/>
                    <a:pt x="322086" y="566779"/>
                    <a:pt x="325342" y="570314"/>
                  </a:cubicBezTo>
                  <a:cubicBezTo>
                    <a:pt x="326465" y="571532"/>
                    <a:pt x="327695" y="572651"/>
                    <a:pt x="329015" y="573652"/>
                  </a:cubicBezTo>
                  <a:cubicBezTo>
                    <a:pt x="329969" y="574377"/>
                    <a:pt x="330987" y="575048"/>
                    <a:pt x="332130" y="575409"/>
                  </a:cubicBezTo>
                  <a:cubicBezTo>
                    <a:pt x="334785" y="576247"/>
                    <a:pt x="338688" y="576422"/>
                    <a:pt x="340618" y="574414"/>
                  </a:cubicBezTo>
                  <a:cubicBezTo>
                    <a:pt x="341655" y="573336"/>
                    <a:pt x="342160" y="571771"/>
                    <a:pt x="341951" y="570290"/>
                  </a:cubicBezTo>
                  <a:cubicBezTo>
                    <a:pt x="341741" y="568810"/>
                    <a:pt x="340820" y="567447"/>
                    <a:pt x="339525" y="566699"/>
                  </a:cubicBezTo>
                  <a:cubicBezTo>
                    <a:pt x="339065" y="566433"/>
                    <a:pt x="338563" y="566242"/>
                    <a:pt x="338118" y="565952"/>
                  </a:cubicBezTo>
                  <a:cubicBezTo>
                    <a:pt x="337485" y="565541"/>
                    <a:pt x="336994" y="564949"/>
                    <a:pt x="336524" y="564359"/>
                  </a:cubicBezTo>
                  <a:cubicBezTo>
                    <a:pt x="335422" y="562977"/>
                    <a:pt x="334155" y="561888"/>
                    <a:pt x="333119" y="560455"/>
                  </a:cubicBezTo>
                  <a:cubicBezTo>
                    <a:pt x="331936" y="558818"/>
                    <a:pt x="330753" y="557181"/>
                    <a:pt x="329570" y="555544"/>
                  </a:cubicBezTo>
                  <a:cubicBezTo>
                    <a:pt x="329217" y="555057"/>
                    <a:pt x="328847" y="554475"/>
                    <a:pt x="329012" y="553897"/>
                  </a:cubicBezTo>
                  <a:cubicBezTo>
                    <a:pt x="329037" y="553811"/>
                    <a:pt x="329078" y="553723"/>
                    <a:pt x="329156" y="553680"/>
                  </a:cubicBezTo>
                  <a:cubicBezTo>
                    <a:pt x="329266" y="553619"/>
                    <a:pt x="329402" y="553670"/>
                    <a:pt x="329516" y="553723"/>
                  </a:cubicBezTo>
                  <a:cubicBezTo>
                    <a:pt x="331039" y="554433"/>
                    <a:pt x="332364" y="555453"/>
                    <a:pt x="333545" y="556649"/>
                  </a:cubicBezTo>
                  <a:cubicBezTo>
                    <a:pt x="336532" y="559673"/>
                    <a:pt x="340241" y="563135"/>
                    <a:pt x="344188" y="564712"/>
                  </a:cubicBezTo>
                  <a:cubicBezTo>
                    <a:pt x="345048" y="565056"/>
                    <a:pt x="345870" y="565493"/>
                    <a:pt x="346743" y="565800"/>
                  </a:cubicBezTo>
                  <a:cubicBezTo>
                    <a:pt x="348601" y="566454"/>
                    <a:pt x="350718" y="566483"/>
                    <a:pt x="352500" y="565643"/>
                  </a:cubicBezTo>
                  <a:cubicBezTo>
                    <a:pt x="354281" y="564804"/>
                    <a:pt x="355654" y="563035"/>
                    <a:pt x="355792" y="561071"/>
                  </a:cubicBezTo>
                  <a:cubicBezTo>
                    <a:pt x="355836" y="560436"/>
                    <a:pt x="355757" y="559799"/>
                    <a:pt x="355640" y="559174"/>
                  </a:cubicBezTo>
                  <a:cubicBezTo>
                    <a:pt x="355336" y="557554"/>
                    <a:pt x="355056" y="555270"/>
                    <a:pt x="354261" y="553827"/>
                  </a:cubicBezTo>
                  <a:cubicBezTo>
                    <a:pt x="356416" y="555121"/>
                    <a:pt x="359296" y="555098"/>
                    <a:pt x="361431" y="553768"/>
                  </a:cubicBezTo>
                  <a:cubicBezTo>
                    <a:pt x="363565" y="552438"/>
                    <a:pt x="364855" y="549863"/>
                    <a:pt x="364643" y="547358"/>
                  </a:cubicBezTo>
                  <a:cubicBezTo>
                    <a:pt x="364419" y="544711"/>
                    <a:pt x="362968" y="542136"/>
                    <a:pt x="361238" y="540121"/>
                  </a:cubicBezTo>
                  <a:cubicBezTo>
                    <a:pt x="362396" y="540734"/>
                    <a:pt x="363671" y="541125"/>
                    <a:pt x="364973" y="541268"/>
                  </a:cubicBezTo>
                  <a:cubicBezTo>
                    <a:pt x="367218" y="541513"/>
                    <a:pt x="369680" y="540916"/>
                    <a:pt x="371145" y="539197"/>
                  </a:cubicBezTo>
                  <a:cubicBezTo>
                    <a:pt x="372541" y="537561"/>
                    <a:pt x="372794" y="535144"/>
                    <a:pt x="372121" y="533102"/>
                  </a:cubicBezTo>
                  <a:cubicBezTo>
                    <a:pt x="371447" y="531060"/>
                    <a:pt x="370257" y="528367"/>
                    <a:pt x="368534" y="527079"/>
                  </a:cubicBezTo>
                  <a:cubicBezTo>
                    <a:pt x="369144" y="524574"/>
                    <a:pt x="368603" y="521813"/>
                    <a:pt x="367092" y="519724"/>
                  </a:cubicBezTo>
                  <a:cubicBezTo>
                    <a:pt x="366320" y="518657"/>
                    <a:pt x="365302" y="517741"/>
                    <a:pt x="364797" y="516525"/>
                  </a:cubicBezTo>
                  <a:cubicBezTo>
                    <a:pt x="364584" y="516012"/>
                    <a:pt x="364471" y="515463"/>
                    <a:pt x="364298" y="514935"/>
                  </a:cubicBezTo>
                  <a:cubicBezTo>
                    <a:pt x="363757" y="513281"/>
                    <a:pt x="362594" y="511008"/>
                    <a:pt x="361446" y="509700"/>
                  </a:cubicBezTo>
                  <a:cubicBezTo>
                    <a:pt x="358527" y="506371"/>
                    <a:pt x="354586" y="503926"/>
                    <a:pt x="350797" y="501635"/>
                  </a:cubicBezTo>
                  <a:cubicBezTo>
                    <a:pt x="346335" y="498938"/>
                    <a:pt x="341306" y="495770"/>
                    <a:pt x="336416" y="493963"/>
                  </a:cubicBezTo>
                  <a:cubicBezTo>
                    <a:pt x="336231" y="490959"/>
                    <a:pt x="333464" y="488876"/>
                    <a:pt x="331012" y="487132"/>
                  </a:cubicBezTo>
                  <a:cubicBezTo>
                    <a:pt x="326301" y="483780"/>
                    <a:pt x="322995" y="479684"/>
                    <a:pt x="318287" y="476329"/>
                  </a:cubicBezTo>
                  <a:cubicBezTo>
                    <a:pt x="313333" y="472798"/>
                    <a:pt x="308680" y="469486"/>
                    <a:pt x="304076" y="465510"/>
                  </a:cubicBezTo>
                  <a:cubicBezTo>
                    <a:pt x="300040" y="462024"/>
                    <a:pt x="294764" y="460109"/>
                    <a:pt x="291059" y="456274"/>
                  </a:cubicBezTo>
                  <a:cubicBezTo>
                    <a:pt x="288869" y="454007"/>
                    <a:pt x="287332" y="451175"/>
                    <a:pt x="285671" y="448470"/>
                  </a:cubicBezTo>
                  <a:cubicBezTo>
                    <a:pt x="282913" y="432092"/>
                    <a:pt x="280742" y="415656"/>
                    <a:pt x="278772" y="398993"/>
                  </a:cubicBezTo>
                  <a:cubicBezTo>
                    <a:pt x="274479" y="362678"/>
                    <a:pt x="266316" y="325365"/>
                    <a:pt x="255015" y="290587"/>
                  </a:cubicBezTo>
                  <a:cubicBezTo>
                    <a:pt x="249518" y="273671"/>
                    <a:pt x="241638" y="256981"/>
                    <a:pt x="236417" y="239978"/>
                  </a:cubicBezTo>
                  <a:cubicBezTo>
                    <a:pt x="235117" y="235745"/>
                    <a:pt x="233817" y="231512"/>
                    <a:pt x="232518" y="227279"/>
                  </a:cubicBezTo>
                  <a:cubicBezTo>
                    <a:pt x="231740" y="224748"/>
                    <a:pt x="230949" y="222185"/>
                    <a:pt x="229548" y="219938"/>
                  </a:cubicBezTo>
                  <a:cubicBezTo>
                    <a:pt x="227426" y="216534"/>
                    <a:pt x="222701" y="215073"/>
                    <a:pt x="220445" y="211757"/>
                  </a:cubicBezTo>
                  <a:cubicBezTo>
                    <a:pt x="219250" y="210000"/>
                    <a:pt x="218055" y="208243"/>
                    <a:pt x="216859" y="206485"/>
                  </a:cubicBezTo>
                  <a:cubicBezTo>
                    <a:pt x="216411" y="205826"/>
                    <a:pt x="215942" y="205095"/>
                    <a:pt x="216011" y="204300"/>
                  </a:cubicBezTo>
                  <a:cubicBezTo>
                    <a:pt x="216099" y="203274"/>
                    <a:pt x="216643" y="202609"/>
                    <a:pt x="217670" y="202695"/>
                  </a:cubicBezTo>
                  <a:cubicBezTo>
                    <a:pt x="222933" y="203135"/>
                    <a:pt x="224800" y="203786"/>
                    <a:pt x="229203" y="204003"/>
                  </a:cubicBezTo>
                  <a:cubicBezTo>
                    <a:pt x="235767" y="204328"/>
                    <a:pt x="239093" y="204127"/>
                    <a:pt x="243112" y="203346"/>
                  </a:cubicBezTo>
                  <a:cubicBezTo>
                    <a:pt x="246046" y="202777"/>
                    <a:pt x="249098" y="201766"/>
                    <a:pt x="250972" y="199438"/>
                  </a:cubicBezTo>
                  <a:cubicBezTo>
                    <a:pt x="253232" y="196631"/>
                    <a:pt x="253120" y="192663"/>
                    <a:pt x="253035" y="189061"/>
                  </a:cubicBezTo>
                  <a:cubicBezTo>
                    <a:pt x="252980" y="186720"/>
                    <a:pt x="254594" y="183509"/>
                    <a:pt x="256626" y="182346"/>
                  </a:cubicBezTo>
                  <a:cubicBezTo>
                    <a:pt x="257671" y="181748"/>
                    <a:pt x="258679" y="181043"/>
                    <a:pt x="259413" y="180088"/>
                  </a:cubicBezTo>
                  <a:cubicBezTo>
                    <a:pt x="260147" y="179135"/>
                    <a:pt x="260581" y="177899"/>
                    <a:pt x="260366" y="176714"/>
                  </a:cubicBezTo>
                  <a:cubicBezTo>
                    <a:pt x="260112" y="175318"/>
                    <a:pt x="259274" y="173463"/>
                    <a:pt x="258254" y="172477"/>
                  </a:cubicBezTo>
                  <a:cubicBezTo>
                    <a:pt x="259399" y="172174"/>
                    <a:pt x="260559" y="171860"/>
                    <a:pt x="261579" y="171256"/>
                  </a:cubicBezTo>
                  <a:cubicBezTo>
                    <a:pt x="262599" y="170653"/>
                    <a:pt x="263478" y="169716"/>
                    <a:pt x="263744" y="168561"/>
                  </a:cubicBezTo>
                  <a:cubicBezTo>
                    <a:pt x="264106" y="166993"/>
                    <a:pt x="263481" y="165618"/>
                    <a:pt x="263401" y="164011"/>
                  </a:cubicBezTo>
                  <a:cubicBezTo>
                    <a:pt x="263231" y="160604"/>
                    <a:pt x="264231" y="156018"/>
                    <a:pt x="265959" y="153078"/>
                  </a:cubicBezTo>
                  <a:cubicBezTo>
                    <a:pt x="269159" y="153786"/>
                    <a:pt x="272503" y="153830"/>
                    <a:pt x="275720" y="153208"/>
                  </a:cubicBezTo>
                  <a:cubicBezTo>
                    <a:pt x="276997" y="152960"/>
                    <a:pt x="278343" y="152554"/>
                    <a:pt x="279156" y="151539"/>
                  </a:cubicBezTo>
                  <a:cubicBezTo>
                    <a:pt x="280244" y="150183"/>
                    <a:pt x="280029" y="148221"/>
                    <a:pt x="279612" y="146534"/>
                  </a:cubicBezTo>
                  <a:cubicBezTo>
                    <a:pt x="278228" y="140927"/>
                    <a:pt x="275280" y="135839"/>
                    <a:pt x="273393" y="130381"/>
                  </a:cubicBezTo>
                  <a:cubicBezTo>
                    <a:pt x="271506" y="124922"/>
                    <a:pt x="270791" y="118573"/>
                    <a:pt x="273745" y="113610"/>
                  </a:cubicBezTo>
                  <a:cubicBezTo>
                    <a:pt x="274756" y="111912"/>
                    <a:pt x="276144" y="110471"/>
                    <a:pt x="277254" y="108836"/>
                  </a:cubicBezTo>
                  <a:cubicBezTo>
                    <a:pt x="279677" y="105264"/>
                    <a:pt x="280188" y="100048"/>
                    <a:pt x="280117" y="95732"/>
                  </a:cubicBezTo>
                  <a:cubicBezTo>
                    <a:pt x="279865" y="80544"/>
                    <a:pt x="278729" y="68764"/>
                    <a:pt x="274791" y="54906"/>
                  </a:cubicBezTo>
                  <a:cubicBezTo>
                    <a:pt x="276448" y="53604"/>
                    <a:pt x="283939" y="56909"/>
                    <a:pt x="284495" y="59640"/>
                  </a:cubicBezTo>
                  <a:cubicBezTo>
                    <a:pt x="285875" y="51264"/>
                    <a:pt x="281270" y="42902"/>
                    <a:pt x="273647" y="39167"/>
                  </a:cubicBezTo>
                  <a:cubicBezTo>
                    <a:pt x="275115" y="38747"/>
                    <a:pt x="277538" y="37090"/>
                    <a:pt x="278617" y="36011"/>
                  </a:cubicBezTo>
                  <a:cubicBezTo>
                    <a:pt x="272758" y="36040"/>
                    <a:pt x="266056" y="33207"/>
                    <a:pt x="262248" y="28753"/>
                  </a:cubicBezTo>
                  <a:cubicBezTo>
                    <a:pt x="257332" y="23007"/>
                    <a:pt x="249144" y="19007"/>
                    <a:pt x="241854" y="16999"/>
                  </a:cubicBezTo>
                  <a:cubicBezTo>
                    <a:pt x="238890" y="16182"/>
                    <a:pt x="233613" y="15297"/>
                    <a:pt x="231046" y="13607"/>
                  </a:cubicBezTo>
                  <a:cubicBezTo>
                    <a:pt x="233011" y="13301"/>
                    <a:pt x="237547" y="12018"/>
                    <a:pt x="239408" y="12719"/>
                  </a:cubicBezTo>
                  <a:cubicBezTo>
                    <a:pt x="237100" y="10679"/>
                    <a:pt x="232764" y="8984"/>
                    <a:pt x="229941" y="7749"/>
                  </a:cubicBezTo>
                  <a:cubicBezTo>
                    <a:pt x="226651" y="6309"/>
                    <a:pt x="224565" y="6252"/>
                    <a:pt x="221066" y="5441"/>
                  </a:cubicBezTo>
                  <a:cubicBezTo>
                    <a:pt x="217567" y="4631"/>
                    <a:pt x="212838" y="3636"/>
                    <a:pt x="209430" y="4771"/>
                  </a:cubicBezTo>
                  <a:cubicBezTo>
                    <a:pt x="210588" y="3167"/>
                    <a:pt x="212806" y="2101"/>
                    <a:pt x="214597" y="1260"/>
                  </a:cubicBezTo>
                  <a:cubicBezTo>
                    <a:pt x="209430" y="195"/>
                    <a:pt x="205929" y="-542"/>
                    <a:pt x="201067" y="510"/>
                  </a:cubicBezTo>
                  <a:cubicBezTo>
                    <a:pt x="198306" y="1108"/>
                    <a:pt x="193951" y="2094"/>
                    <a:pt x="191127" y="2167"/>
                  </a:cubicBezTo>
                  <a:cubicBezTo>
                    <a:pt x="188500" y="2236"/>
                    <a:pt x="184569" y="3532"/>
                    <a:pt x="181956" y="3252"/>
                  </a:cubicBezTo>
                  <a:cubicBezTo>
                    <a:pt x="172980" y="2289"/>
                    <a:pt x="167315" y="3684"/>
                    <a:pt x="158703" y="6388"/>
                  </a:cubicBezTo>
                  <a:cubicBezTo>
                    <a:pt x="155000" y="7551"/>
                    <a:pt x="152479" y="8804"/>
                    <a:pt x="148821" y="11891"/>
                  </a:cubicBezTo>
                  <a:cubicBezTo>
                    <a:pt x="146944" y="13474"/>
                    <a:pt x="142003" y="16104"/>
                    <a:pt x="140538" y="17334"/>
                  </a:cubicBezTo>
                  <a:cubicBezTo>
                    <a:pt x="136952" y="20344"/>
                    <a:pt x="134802" y="22217"/>
                    <a:pt x="131564" y="25598"/>
                  </a:cubicBezTo>
                  <a:cubicBezTo>
                    <a:pt x="125069" y="32379"/>
                    <a:pt x="122011" y="39173"/>
                    <a:pt x="121071" y="48516"/>
                  </a:cubicBezTo>
                  <a:cubicBezTo>
                    <a:pt x="120821" y="51003"/>
                    <a:pt x="119957" y="55286"/>
                    <a:pt x="119336" y="57707"/>
                  </a:cubicBezTo>
                  <a:cubicBezTo>
                    <a:pt x="118567" y="60704"/>
                    <a:pt x="116939" y="62916"/>
                    <a:pt x="115707" y="65754"/>
                  </a:cubicBezTo>
                  <a:cubicBezTo>
                    <a:pt x="112657" y="72776"/>
                    <a:pt x="114628" y="80777"/>
                    <a:pt x="115391" y="88395"/>
                  </a:cubicBezTo>
                  <a:cubicBezTo>
                    <a:pt x="116598" y="100444"/>
                    <a:pt x="120231" y="111340"/>
                    <a:pt x="123287" y="123057"/>
                  </a:cubicBezTo>
                  <a:cubicBezTo>
                    <a:pt x="124781" y="128786"/>
                    <a:pt x="129435" y="133002"/>
                    <a:pt x="130974" y="138719"/>
                  </a:cubicBezTo>
                  <a:cubicBezTo>
                    <a:pt x="133791" y="149185"/>
                    <a:pt x="135033" y="160074"/>
                    <a:pt x="134643" y="170905"/>
                  </a:cubicBezTo>
                  <a:cubicBezTo>
                    <a:pt x="132560" y="172962"/>
                    <a:pt x="132950" y="176509"/>
                    <a:pt x="130806" y="178501"/>
                  </a:cubicBezTo>
                  <a:cubicBezTo>
                    <a:pt x="129801" y="179435"/>
                    <a:pt x="128336" y="179668"/>
                    <a:pt x="127176" y="180401"/>
                  </a:cubicBezTo>
                  <a:cubicBezTo>
                    <a:pt x="125415" y="181514"/>
                    <a:pt x="124582" y="183605"/>
                    <a:pt x="123873" y="185563"/>
                  </a:cubicBezTo>
                  <a:cubicBezTo>
                    <a:pt x="122076" y="190531"/>
                    <a:pt x="120387" y="195539"/>
                    <a:pt x="118808" y="200581"/>
                  </a:cubicBezTo>
                  <a:cubicBezTo>
                    <a:pt x="118525" y="201482"/>
                    <a:pt x="118243" y="202425"/>
                    <a:pt x="118398" y="203357"/>
                  </a:cubicBezTo>
                  <a:cubicBezTo>
                    <a:pt x="118729" y="205363"/>
                    <a:pt x="120717" y="206685"/>
                    <a:pt x="122583" y="207494"/>
                  </a:cubicBezTo>
                  <a:cubicBezTo>
                    <a:pt x="118901" y="209752"/>
                    <a:pt x="117131" y="214051"/>
                    <a:pt x="115188" y="217909"/>
                  </a:cubicBezTo>
                  <a:cubicBezTo>
                    <a:pt x="112639" y="222968"/>
                    <a:pt x="110843" y="227971"/>
                    <a:pt x="106342" y="231411"/>
                  </a:cubicBezTo>
                  <a:cubicBezTo>
                    <a:pt x="89266" y="244461"/>
                    <a:pt x="81422" y="263883"/>
                    <a:pt x="81690" y="285373"/>
                  </a:cubicBezTo>
                  <a:cubicBezTo>
                    <a:pt x="82037" y="313217"/>
                    <a:pt x="83697" y="338195"/>
                    <a:pt x="85894" y="365955"/>
                  </a:cubicBezTo>
                  <a:cubicBezTo>
                    <a:pt x="89190" y="407607"/>
                    <a:pt x="75904" y="447720"/>
                    <a:pt x="77817" y="489458"/>
                  </a:cubicBezTo>
                  <a:cubicBezTo>
                    <a:pt x="78919" y="513473"/>
                    <a:pt x="80668" y="536677"/>
                    <a:pt x="83848" y="560506"/>
                  </a:cubicBezTo>
                  <a:cubicBezTo>
                    <a:pt x="84900" y="568391"/>
                    <a:pt x="86210" y="576242"/>
                    <a:pt x="87777" y="584040"/>
                  </a:cubicBezTo>
                  <a:cubicBezTo>
                    <a:pt x="88823" y="589247"/>
                    <a:pt x="90451" y="594345"/>
                    <a:pt x="95058" y="596989"/>
                  </a:cubicBezTo>
                  <a:cubicBezTo>
                    <a:pt x="98837" y="595948"/>
                    <a:pt x="102520" y="595923"/>
                    <a:pt x="106428" y="596233"/>
                  </a:cubicBezTo>
                  <a:cubicBezTo>
                    <a:pt x="109759" y="599125"/>
                    <a:pt x="113089" y="602017"/>
                    <a:pt x="116420" y="604910"/>
                  </a:cubicBezTo>
                  <a:cubicBezTo>
                    <a:pt x="117501" y="605848"/>
                    <a:pt x="118624" y="606846"/>
                    <a:pt x="119115" y="608190"/>
                  </a:cubicBezTo>
                  <a:cubicBezTo>
                    <a:pt x="119704" y="609799"/>
                    <a:pt x="119279" y="611573"/>
                    <a:pt x="119044" y="613270"/>
                  </a:cubicBezTo>
                  <a:cubicBezTo>
                    <a:pt x="118615" y="616358"/>
                    <a:pt x="118709" y="617575"/>
                    <a:pt x="119068" y="620672"/>
                  </a:cubicBezTo>
                  <a:cubicBezTo>
                    <a:pt x="121033" y="637635"/>
                    <a:pt x="122216" y="654679"/>
                    <a:pt x="128176" y="670682"/>
                  </a:cubicBezTo>
                  <a:cubicBezTo>
                    <a:pt x="130754" y="677604"/>
                    <a:pt x="133126" y="684883"/>
                    <a:pt x="132388" y="692232"/>
                  </a:cubicBezTo>
                  <a:cubicBezTo>
                    <a:pt x="131903" y="697057"/>
                    <a:pt x="130096" y="701979"/>
                    <a:pt x="131495" y="706623"/>
                  </a:cubicBezTo>
                  <a:cubicBezTo>
                    <a:pt x="132123" y="708706"/>
                    <a:pt x="133361" y="710555"/>
                    <a:pt x="134105" y="712599"/>
                  </a:cubicBezTo>
                  <a:cubicBezTo>
                    <a:pt x="134849" y="714644"/>
                    <a:pt x="136173" y="716160"/>
                    <a:pt x="134806" y="717852"/>
                  </a:cubicBezTo>
                  <a:cubicBezTo>
                    <a:pt x="132731" y="720420"/>
                    <a:pt x="130657" y="722989"/>
                    <a:pt x="128583" y="725557"/>
                  </a:cubicBezTo>
                  <a:cubicBezTo>
                    <a:pt x="127393" y="727030"/>
                    <a:pt x="126171" y="728565"/>
                    <a:pt x="125700" y="730399"/>
                  </a:cubicBezTo>
                  <a:cubicBezTo>
                    <a:pt x="125228" y="732233"/>
                    <a:pt x="125689" y="734446"/>
                    <a:pt x="127314" y="735417"/>
                  </a:cubicBezTo>
                  <a:cubicBezTo>
                    <a:pt x="125208" y="740648"/>
                    <a:pt x="121057" y="744204"/>
                    <a:pt x="116463" y="747473"/>
                  </a:cubicBezTo>
                  <a:cubicBezTo>
                    <a:pt x="94632" y="763011"/>
                    <a:pt x="84696" y="789541"/>
                    <a:pt x="72299" y="813297"/>
                  </a:cubicBezTo>
                  <a:cubicBezTo>
                    <a:pt x="64937" y="827406"/>
                    <a:pt x="58053" y="842398"/>
                    <a:pt x="52387" y="857270"/>
                  </a:cubicBezTo>
                  <a:cubicBezTo>
                    <a:pt x="51065" y="857800"/>
                    <a:pt x="49840" y="858568"/>
                    <a:pt x="48787" y="859527"/>
                  </a:cubicBezTo>
                  <a:cubicBezTo>
                    <a:pt x="46244" y="861844"/>
                    <a:pt x="44567" y="864711"/>
                    <a:pt x="43457" y="867968"/>
                  </a:cubicBezTo>
                  <a:cubicBezTo>
                    <a:pt x="41348" y="874152"/>
                    <a:pt x="38417" y="881572"/>
                    <a:pt x="33619" y="886007"/>
                  </a:cubicBezTo>
                  <a:cubicBezTo>
                    <a:pt x="27434" y="891723"/>
                    <a:pt x="21943" y="896370"/>
                    <a:pt x="16794" y="903034"/>
                  </a:cubicBezTo>
                  <a:cubicBezTo>
                    <a:pt x="12628" y="908426"/>
                    <a:pt x="8844" y="914819"/>
                    <a:pt x="6436" y="921194"/>
                  </a:cubicBezTo>
                  <a:cubicBezTo>
                    <a:pt x="5654" y="921714"/>
                    <a:pt x="4656" y="921828"/>
                    <a:pt x="3870" y="922344"/>
                  </a:cubicBezTo>
                  <a:cubicBezTo>
                    <a:pt x="3173" y="922802"/>
                    <a:pt x="2707" y="923533"/>
                    <a:pt x="2311" y="924268"/>
                  </a:cubicBezTo>
                  <a:cubicBezTo>
                    <a:pt x="275" y="928042"/>
                    <a:pt x="-572" y="932456"/>
                    <a:pt x="407" y="936631"/>
                  </a:cubicBezTo>
                  <a:cubicBezTo>
                    <a:pt x="912" y="938784"/>
                    <a:pt x="2147" y="940690"/>
                    <a:pt x="3487" y="942448"/>
                  </a:cubicBezTo>
                  <a:cubicBezTo>
                    <a:pt x="8928" y="949591"/>
                    <a:pt x="15999" y="955643"/>
                    <a:pt x="23471" y="960622"/>
                  </a:cubicBezTo>
                  <a:cubicBezTo>
                    <a:pt x="35884" y="968893"/>
                    <a:pt x="47603" y="977940"/>
                    <a:pt x="60645" y="985180"/>
                  </a:cubicBezTo>
                  <a:cubicBezTo>
                    <a:pt x="69046" y="989843"/>
                    <a:pt x="77556" y="994655"/>
                    <a:pt x="86111" y="999029"/>
                  </a:cubicBezTo>
                  <a:cubicBezTo>
                    <a:pt x="92989" y="1002545"/>
                    <a:pt x="101052" y="1002598"/>
                    <a:pt x="108777" y="1002574"/>
                  </a:cubicBezTo>
                  <a:cubicBezTo>
                    <a:pt x="124408" y="1002526"/>
                    <a:pt x="140282" y="1002444"/>
                    <a:pt x="155288" y="998068"/>
                  </a:cubicBezTo>
                  <a:cubicBezTo>
                    <a:pt x="156389" y="997747"/>
                    <a:pt x="158090" y="997221"/>
                    <a:pt x="158883" y="996343"/>
                  </a:cubicBezTo>
                  <a:cubicBezTo>
                    <a:pt x="158888" y="996351"/>
                    <a:pt x="158886" y="996362"/>
                    <a:pt x="158894" y="996369"/>
                  </a:cubicBezTo>
                  <a:cubicBezTo>
                    <a:pt x="158994" y="996447"/>
                    <a:pt x="159139" y="996385"/>
                    <a:pt x="159249" y="996321"/>
                  </a:cubicBezTo>
                  <a:cubicBezTo>
                    <a:pt x="160120" y="995814"/>
                    <a:pt x="160991" y="995307"/>
                    <a:pt x="161861" y="994801"/>
                  </a:cubicBezTo>
                  <a:cubicBezTo>
                    <a:pt x="162893" y="994201"/>
                    <a:pt x="163931" y="993595"/>
                    <a:pt x="164821" y="992801"/>
                  </a:cubicBezTo>
                  <a:cubicBezTo>
                    <a:pt x="166340" y="991444"/>
                    <a:pt x="167648" y="989632"/>
                    <a:pt x="167876" y="987607"/>
                  </a:cubicBezTo>
                  <a:cubicBezTo>
                    <a:pt x="168214" y="984607"/>
                    <a:pt x="167936" y="981575"/>
                    <a:pt x="167659" y="978568"/>
                  </a:cubicBezTo>
                  <a:cubicBezTo>
                    <a:pt x="167419" y="975974"/>
                    <a:pt x="167432" y="972975"/>
                    <a:pt x="165262" y="971534"/>
                  </a:cubicBezTo>
                  <a:cubicBezTo>
                    <a:pt x="158883" y="967297"/>
                    <a:pt x="152154" y="964022"/>
                    <a:pt x="144529" y="963311"/>
                  </a:cubicBezTo>
                  <a:cubicBezTo>
                    <a:pt x="143630" y="960759"/>
                    <a:pt x="141387" y="958887"/>
                    <a:pt x="138967" y="957676"/>
                  </a:cubicBezTo>
                  <a:cubicBezTo>
                    <a:pt x="136547" y="956466"/>
                    <a:pt x="133285" y="956029"/>
                    <a:pt x="130932" y="954691"/>
                  </a:cubicBezTo>
                  <a:cubicBezTo>
                    <a:pt x="128746" y="953448"/>
                    <a:pt x="126542" y="952269"/>
                    <a:pt x="124867" y="950393"/>
                  </a:cubicBezTo>
                  <a:cubicBezTo>
                    <a:pt x="119664" y="944565"/>
                    <a:pt x="112805" y="939747"/>
                    <a:pt x="109561" y="932640"/>
                  </a:cubicBezTo>
                  <a:cubicBezTo>
                    <a:pt x="107824" y="928835"/>
                    <a:pt x="105708" y="925204"/>
                    <a:pt x="103252" y="921819"/>
                  </a:cubicBezTo>
                  <a:cubicBezTo>
                    <a:pt x="102300" y="920506"/>
                    <a:pt x="101287" y="919214"/>
                    <a:pt x="100636" y="917728"/>
                  </a:cubicBezTo>
                  <a:cubicBezTo>
                    <a:pt x="98999" y="913996"/>
                    <a:pt x="100662" y="909806"/>
                    <a:pt x="100308" y="905746"/>
                  </a:cubicBezTo>
                  <a:cubicBezTo>
                    <a:pt x="100046" y="902748"/>
                    <a:pt x="100264" y="899709"/>
                    <a:pt x="100952" y="896778"/>
                  </a:cubicBezTo>
                  <a:cubicBezTo>
                    <a:pt x="101361" y="895034"/>
                    <a:pt x="101939" y="893292"/>
                    <a:pt x="101875" y="891501"/>
                  </a:cubicBezTo>
                  <a:cubicBezTo>
                    <a:pt x="101810" y="889710"/>
                    <a:pt x="101512" y="887491"/>
                    <a:pt x="99833" y="886865"/>
                  </a:cubicBezTo>
                  <a:cubicBezTo>
                    <a:pt x="103667" y="878830"/>
                    <a:pt x="108287" y="871793"/>
                    <a:pt x="112873" y="864162"/>
                  </a:cubicBezTo>
                  <a:cubicBezTo>
                    <a:pt x="128035" y="838931"/>
                    <a:pt x="146682" y="816377"/>
                    <a:pt x="160737" y="790513"/>
                  </a:cubicBezTo>
                  <a:cubicBezTo>
                    <a:pt x="164218" y="784108"/>
                    <a:pt x="168439" y="777827"/>
                    <a:pt x="174849" y="774355"/>
                  </a:cubicBezTo>
                  <a:cubicBezTo>
                    <a:pt x="177060" y="773157"/>
                    <a:pt x="179270" y="771960"/>
                    <a:pt x="181481" y="770763"/>
                  </a:cubicBezTo>
                  <a:cubicBezTo>
                    <a:pt x="183570" y="769631"/>
                    <a:pt x="185675" y="768489"/>
                    <a:pt x="187510" y="766979"/>
                  </a:cubicBezTo>
                  <a:cubicBezTo>
                    <a:pt x="190552" y="764477"/>
                    <a:pt x="193041" y="760945"/>
                    <a:pt x="195148" y="757617"/>
                  </a:cubicBezTo>
                  <a:cubicBezTo>
                    <a:pt x="196703" y="757938"/>
                    <a:pt x="200514" y="757529"/>
                    <a:pt x="202063" y="757180"/>
                  </a:cubicBezTo>
                  <a:cubicBezTo>
                    <a:pt x="204075" y="756727"/>
                    <a:pt x="206216" y="756201"/>
                    <a:pt x="207619" y="754690"/>
                  </a:cubicBezTo>
                  <a:cubicBezTo>
                    <a:pt x="209265" y="752915"/>
                    <a:pt x="209673" y="749084"/>
                    <a:pt x="211099" y="747128"/>
                  </a:cubicBezTo>
                  <a:cubicBezTo>
                    <a:pt x="212705" y="744927"/>
                    <a:pt x="213499" y="742827"/>
                    <a:pt x="214322" y="740504"/>
                  </a:cubicBezTo>
                  <a:cubicBezTo>
                    <a:pt x="215617" y="745078"/>
                    <a:pt x="216860" y="749568"/>
                    <a:pt x="217762" y="754300"/>
                  </a:cubicBezTo>
                  <a:cubicBezTo>
                    <a:pt x="218082" y="755975"/>
                    <a:pt x="218655" y="757532"/>
                    <a:pt x="218713" y="759236"/>
                  </a:cubicBezTo>
                  <a:cubicBezTo>
                    <a:pt x="218818" y="762347"/>
                    <a:pt x="218727" y="765063"/>
                    <a:pt x="217946" y="768077"/>
                  </a:cubicBezTo>
                  <a:cubicBezTo>
                    <a:pt x="216792" y="772532"/>
                    <a:pt x="215616" y="776386"/>
                    <a:pt x="214562" y="780867"/>
                  </a:cubicBezTo>
                  <a:cubicBezTo>
                    <a:pt x="208945" y="804732"/>
                    <a:pt x="214063" y="826471"/>
                    <a:pt x="219943" y="850273"/>
                  </a:cubicBezTo>
                  <a:cubicBezTo>
                    <a:pt x="224107" y="867128"/>
                    <a:pt x="226391" y="885280"/>
                    <a:pt x="228596" y="902501"/>
                  </a:cubicBezTo>
                  <a:cubicBezTo>
                    <a:pt x="227446" y="904466"/>
                    <a:pt x="226234" y="906278"/>
                    <a:pt x="226559" y="908531"/>
                  </a:cubicBezTo>
                  <a:cubicBezTo>
                    <a:pt x="227263" y="913401"/>
                    <a:pt x="227966" y="918271"/>
                    <a:pt x="228669" y="923141"/>
                  </a:cubicBezTo>
                  <a:cubicBezTo>
                    <a:pt x="228858" y="924451"/>
                    <a:pt x="229047" y="925788"/>
                    <a:pt x="228806" y="927089"/>
                  </a:cubicBezTo>
                  <a:cubicBezTo>
                    <a:pt x="228614" y="928124"/>
                    <a:pt x="228157" y="929092"/>
                    <a:pt x="227932" y="930120"/>
                  </a:cubicBezTo>
                  <a:cubicBezTo>
                    <a:pt x="227487" y="932145"/>
                    <a:pt x="227961" y="934241"/>
                    <a:pt x="228203" y="936300"/>
                  </a:cubicBezTo>
                  <a:cubicBezTo>
                    <a:pt x="228445" y="938360"/>
                    <a:pt x="228274" y="939611"/>
                    <a:pt x="227596" y="941570"/>
                  </a:cubicBezTo>
                  <a:cubicBezTo>
                    <a:pt x="226037" y="946075"/>
                    <a:pt x="224581" y="950644"/>
                    <a:pt x="223896" y="955362"/>
                  </a:cubicBezTo>
                  <a:cubicBezTo>
                    <a:pt x="223210" y="960080"/>
                    <a:pt x="223046" y="965236"/>
                    <a:pt x="224565" y="969754"/>
                  </a:cubicBezTo>
                  <a:cubicBezTo>
                    <a:pt x="222854" y="970739"/>
                    <a:pt x="221962" y="972772"/>
                    <a:pt x="221836" y="974743"/>
                  </a:cubicBezTo>
                  <a:cubicBezTo>
                    <a:pt x="221709" y="976714"/>
                    <a:pt x="222229" y="978663"/>
                    <a:pt x="222745" y="980569"/>
                  </a:cubicBezTo>
                  <a:cubicBezTo>
                    <a:pt x="223157" y="982091"/>
                    <a:pt x="223569" y="983613"/>
                    <a:pt x="223980" y="985135"/>
                  </a:cubicBezTo>
                  <a:cubicBezTo>
                    <a:pt x="224464" y="986923"/>
                    <a:pt x="225670" y="989317"/>
                    <a:pt x="227374" y="990042"/>
                  </a:cubicBezTo>
                  <a:cubicBezTo>
                    <a:pt x="231114" y="991635"/>
                    <a:pt x="235169" y="992349"/>
                    <a:pt x="239211" y="992771"/>
                  </a:cubicBezTo>
                  <a:cubicBezTo>
                    <a:pt x="241024" y="992961"/>
                    <a:pt x="242846" y="993095"/>
                    <a:pt x="244669" y="993088"/>
                  </a:cubicBezTo>
                  <a:cubicBezTo>
                    <a:pt x="248238" y="993074"/>
                    <a:pt x="251930" y="992745"/>
                    <a:pt x="255457" y="992193"/>
                  </a:cubicBezTo>
                  <a:cubicBezTo>
                    <a:pt x="275273" y="991217"/>
                    <a:pt x="294859" y="989904"/>
                    <a:pt x="314589" y="987818"/>
                  </a:cubicBezTo>
                  <a:cubicBezTo>
                    <a:pt x="325247" y="987777"/>
                    <a:pt x="335359" y="987523"/>
                    <a:pt x="345766" y="985222"/>
                  </a:cubicBezTo>
                  <a:cubicBezTo>
                    <a:pt x="360394" y="981988"/>
                    <a:pt x="376006" y="976417"/>
                    <a:pt x="388496" y="968144"/>
                  </a:cubicBezTo>
                  <a:cubicBezTo>
                    <a:pt x="393923" y="964550"/>
                    <a:pt x="400107" y="960994"/>
                    <a:pt x="403538" y="955464"/>
                  </a:cubicBezTo>
                  <a:cubicBezTo>
                    <a:pt x="404703" y="953587"/>
                    <a:pt x="405889" y="951660"/>
                    <a:pt x="406341" y="949498"/>
                  </a:cubicBezTo>
                  <a:cubicBezTo>
                    <a:pt x="406620" y="948167"/>
                    <a:pt x="406766" y="946150"/>
                    <a:pt x="406465" y="944824"/>
                  </a:cubicBezTo>
                  <a:cubicBezTo>
                    <a:pt x="405387" y="940086"/>
                    <a:pt x="402356" y="936034"/>
                    <a:pt x="398089" y="933712"/>
                  </a:cubicBezTo>
                  <a:close/>
                </a:path>
              </a:pathLst>
            </a:custGeom>
            <a:solidFill>
              <a:schemeClr val="tx2"/>
            </a:solidFill>
            <a:ln w="0" cap="flat">
              <a:noFill/>
              <a:prstDash val="solid"/>
              <a:miter/>
            </a:ln>
            <a:effectLst>
              <a:outerShdw blurRad="76200" dir="18900000" sy="23000" kx="-1200000" algn="bl" rotWithShape="0">
                <a:prstClr val="black">
                  <a:alpha val="20000"/>
                </a:prstClr>
              </a:outerShdw>
            </a:effectLst>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198" name="Freeform: Shape 197">
              <a:extLst>
                <a:ext uri="{FF2B5EF4-FFF2-40B4-BE49-F238E27FC236}">
                  <a16:creationId xmlns:a16="http://schemas.microsoft.com/office/drawing/2014/main" id="{FF850CF7-1157-0F80-3D1E-2B323E086B6A}"/>
                </a:ext>
              </a:extLst>
            </p:cNvPr>
            <p:cNvSpPr/>
            <p:nvPr/>
          </p:nvSpPr>
          <p:spPr>
            <a:xfrm>
              <a:off x="7906721" y="1028700"/>
              <a:ext cx="420332" cy="965514"/>
            </a:xfrm>
            <a:custGeom>
              <a:avLst/>
              <a:gdLst>
                <a:gd name="connsiteX0" fmla="*/ 573457 w 574366"/>
                <a:gd name="connsiteY0" fmla="*/ 1214117 h 1319334"/>
                <a:gd name="connsiteX1" fmla="*/ 571889 w 574366"/>
                <a:gd name="connsiteY1" fmla="*/ 1212245 h 1319334"/>
                <a:gd name="connsiteX2" fmla="*/ 569076 w 574366"/>
                <a:gd name="connsiteY2" fmla="*/ 1210998 h 1319334"/>
                <a:gd name="connsiteX3" fmla="*/ 568393 w 574366"/>
                <a:gd name="connsiteY3" fmla="*/ 1211037 h 1319334"/>
                <a:gd name="connsiteX4" fmla="*/ 568106 w 574366"/>
                <a:gd name="connsiteY4" fmla="*/ 1211051 h 1319334"/>
                <a:gd name="connsiteX5" fmla="*/ 568095 w 574366"/>
                <a:gd name="connsiteY5" fmla="*/ 1210748 h 1319334"/>
                <a:gd name="connsiteX6" fmla="*/ 568052 w 574366"/>
                <a:gd name="connsiteY6" fmla="*/ 1210000 h 1319334"/>
                <a:gd name="connsiteX7" fmla="*/ 563556 w 574366"/>
                <a:gd name="connsiteY7" fmla="*/ 1202086 h 1319334"/>
                <a:gd name="connsiteX8" fmla="*/ 556005 w 574366"/>
                <a:gd name="connsiteY8" fmla="*/ 1199752 h 1319334"/>
                <a:gd name="connsiteX9" fmla="*/ 554730 w 574366"/>
                <a:gd name="connsiteY9" fmla="*/ 1199753 h 1319334"/>
                <a:gd name="connsiteX10" fmla="*/ 536768 w 574366"/>
                <a:gd name="connsiteY10" fmla="*/ 1202557 h 1319334"/>
                <a:gd name="connsiteX11" fmla="*/ 532733 w 574366"/>
                <a:gd name="connsiteY11" fmla="*/ 1204531 h 1319334"/>
                <a:gd name="connsiteX12" fmla="*/ 523401 w 574366"/>
                <a:gd name="connsiteY12" fmla="*/ 1209710 h 1319334"/>
                <a:gd name="connsiteX13" fmla="*/ 517508 w 574366"/>
                <a:gd name="connsiteY13" fmla="*/ 1211149 h 1319334"/>
                <a:gd name="connsiteX14" fmla="*/ 507355 w 574366"/>
                <a:gd name="connsiteY14" fmla="*/ 1211706 h 1319334"/>
                <a:gd name="connsiteX15" fmla="*/ 506531 w 574366"/>
                <a:gd name="connsiteY15" fmla="*/ 1211814 h 1319334"/>
                <a:gd name="connsiteX16" fmla="*/ 505644 w 574366"/>
                <a:gd name="connsiteY16" fmla="*/ 1211927 h 1319334"/>
                <a:gd name="connsiteX17" fmla="*/ 494047 w 574366"/>
                <a:gd name="connsiteY17" fmla="*/ 1208512 h 1319334"/>
                <a:gd name="connsiteX18" fmla="*/ 489242 w 574366"/>
                <a:gd name="connsiteY18" fmla="*/ 1206510 h 1319334"/>
                <a:gd name="connsiteX19" fmla="*/ 480159 w 574366"/>
                <a:gd name="connsiteY19" fmla="*/ 1202209 h 1319334"/>
                <a:gd name="connsiteX20" fmla="*/ 469164 w 574366"/>
                <a:gd name="connsiteY20" fmla="*/ 1196952 h 1319334"/>
                <a:gd name="connsiteX21" fmla="*/ 465257 w 574366"/>
                <a:gd name="connsiteY21" fmla="*/ 1195969 h 1319334"/>
                <a:gd name="connsiteX22" fmla="*/ 461823 w 574366"/>
                <a:gd name="connsiteY22" fmla="*/ 1195106 h 1319334"/>
                <a:gd name="connsiteX23" fmla="*/ 461155 w 574366"/>
                <a:gd name="connsiteY23" fmla="*/ 1191062 h 1319334"/>
                <a:gd name="connsiteX24" fmla="*/ 460484 w 574366"/>
                <a:gd name="connsiteY24" fmla="*/ 1189906 h 1319334"/>
                <a:gd name="connsiteX25" fmla="*/ 457509 w 574366"/>
                <a:gd name="connsiteY25" fmla="*/ 1185101 h 1319334"/>
                <a:gd name="connsiteX26" fmla="*/ 455237 w 574366"/>
                <a:gd name="connsiteY26" fmla="*/ 1181795 h 1319334"/>
                <a:gd name="connsiteX27" fmla="*/ 452475 w 574366"/>
                <a:gd name="connsiteY27" fmla="*/ 1177796 h 1319334"/>
                <a:gd name="connsiteX28" fmla="*/ 448891 w 574366"/>
                <a:gd name="connsiteY28" fmla="*/ 1172215 h 1319334"/>
                <a:gd name="connsiteX29" fmla="*/ 448468 w 574366"/>
                <a:gd name="connsiteY29" fmla="*/ 1171438 h 1319334"/>
                <a:gd name="connsiteX30" fmla="*/ 445266 w 574366"/>
                <a:gd name="connsiteY30" fmla="*/ 1162833 h 1319334"/>
                <a:gd name="connsiteX31" fmla="*/ 445220 w 574366"/>
                <a:gd name="connsiteY31" fmla="*/ 1156149 h 1319334"/>
                <a:gd name="connsiteX32" fmla="*/ 445240 w 574366"/>
                <a:gd name="connsiteY32" fmla="*/ 1154555 h 1319334"/>
                <a:gd name="connsiteX33" fmla="*/ 443320 w 574366"/>
                <a:gd name="connsiteY33" fmla="*/ 1145725 h 1319334"/>
                <a:gd name="connsiteX34" fmla="*/ 442427 w 574366"/>
                <a:gd name="connsiteY34" fmla="*/ 1142973 h 1319334"/>
                <a:gd name="connsiteX35" fmla="*/ 440848 w 574366"/>
                <a:gd name="connsiteY35" fmla="*/ 1137551 h 1319334"/>
                <a:gd name="connsiteX36" fmla="*/ 437362 w 574366"/>
                <a:gd name="connsiteY36" fmla="*/ 1126081 h 1319334"/>
                <a:gd name="connsiteX37" fmla="*/ 435324 w 574366"/>
                <a:gd name="connsiteY37" fmla="*/ 1120259 h 1319334"/>
                <a:gd name="connsiteX38" fmla="*/ 432512 w 574366"/>
                <a:gd name="connsiteY38" fmla="*/ 1112076 h 1319334"/>
                <a:gd name="connsiteX39" fmla="*/ 429989 w 574366"/>
                <a:gd name="connsiteY39" fmla="*/ 1104083 h 1319334"/>
                <a:gd name="connsiteX40" fmla="*/ 421231 w 574366"/>
                <a:gd name="connsiteY40" fmla="*/ 1077917 h 1319334"/>
                <a:gd name="connsiteX41" fmla="*/ 417781 w 574366"/>
                <a:gd name="connsiteY41" fmla="*/ 1067818 h 1319334"/>
                <a:gd name="connsiteX42" fmla="*/ 409715 w 574366"/>
                <a:gd name="connsiteY42" fmla="*/ 1047599 h 1319334"/>
                <a:gd name="connsiteX43" fmla="*/ 397969 w 574366"/>
                <a:gd name="connsiteY43" fmla="*/ 1023200 h 1319334"/>
                <a:gd name="connsiteX44" fmla="*/ 386326 w 574366"/>
                <a:gd name="connsiteY44" fmla="*/ 992550 h 1319334"/>
                <a:gd name="connsiteX45" fmla="*/ 380060 w 574366"/>
                <a:gd name="connsiteY45" fmla="*/ 976615 h 1319334"/>
                <a:gd name="connsiteX46" fmla="*/ 379758 w 574366"/>
                <a:gd name="connsiteY46" fmla="*/ 976585 h 1319334"/>
                <a:gd name="connsiteX47" fmla="*/ 377299 w 574366"/>
                <a:gd name="connsiteY47" fmla="*/ 970360 h 1319334"/>
                <a:gd name="connsiteX48" fmla="*/ 373276 w 574366"/>
                <a:gd name="connsiteY48" fmla="*/ 958362 h 1319334"/>
                <a:gd name="connsiteX49" fmla="*/ 369720 w 574366"/>
                <a:gd name="connsiteY49" fmla="*/ 950926 h 1319334"/>
                <a:gd name="connsiteX50" fmla="*/ 367104 w 574366"/>
                <a:gd name="connsiteY50" fmla="*/ 946802 h 1319334"/>
                <a:gd name="connsiteX51" fmla="*/ 367415 w 574366"/>
                <a:gd name="connsiteY51" fmla="*/ 945619 h 1319334"/>
                <a:gd name="connsiteX52" fmla="*/ 368154 w 574366"/>
                <a:gd name="connsiteY52" fmla="*/ 943670 h 1319334"/>
                <a:gd name="connsiteX53" fmla="*/ 370848 w 574366"/>
                <a:gd name="connsiteY53" fmla="*/ 936266 h 1319334"/>
                <a:gd name="connsiteX54" fmla="*/ 370641 w 574366"/>
                <a:gd name="connsiteY54" fmla="*/ 931994 h 1319334"/>
                <a:gd name="connsiteX55" fmla="*/ 370519 w 574366"/>
                <a:gd name="connsiteY55" fmla="*/ 929782 h 1319334"/>
                <a:gd name="connsiteX56" fmla="*/ 361557 w 574366"/>
                <a:gd name="connsiteY56" fmla="*/ 903023 h 1319334"/>
                <a:gd name="connsiteX57" fmla="*/ 356912 w 574366"/>
                <a:gd name="connsiteY57" fmla="*/ 893099 h 1319334"/>
                <a:gd name="connsiteX58" fmla="*/ 355713 w 574366"/>
                <a:gd name="connsiteY58" fmla="*/ 890419 h 1319334"/>
                <a:gd name="connsiteX59" fmla="*/ 353328 w 574366"/>
                <a:gd name="connsiteY59" fmla="*/ 884340 h 1319334"/>
                <a:gd name="connsiteX60" fmla="*/ 352611 w 574366"/>
                <a:gd name="connsiteY60" fmla="*/ 880929 h 1319334"/>
                <a:gd name="connsiteX61" fmla="*/ 350474 w 574366"/>
                <a:gd name="connsiteY61" fmla="*/ 873834 h 1319334"/>
                <a:gd name="connsiteX62" fmla="*/ 339010 w 574366"/>
                <a:gd name="connsiteY62" fmla="*/ 857970 h 1319334"/>
                <a:gd name="connsiteX63" fmla="*/ 334054 w 574366"/>
                <a:gd name="connsiteY63" fmla="*/ 838884 h 1319334"/>
                <a:gd name="connsiteX64" fmla="*/ 331872 w 574366"/>
                <a:gd name="connsiteY64" fmla="*/ 818588 h 1319334"/>
                <a:gd name="connsiteX65" fmla="*/ 329443 w 574366"/>
                <a:gd name="connsiteY65" fmla="*/ 804729 h 1319334"/>
                <a:gd name="connsiteX66" fmla="*/ 327664 w 574366"/>
                <a:gd name="connsiteY66" fmla="*/ 792148 h 1319334"/>
                <a:gd name="connsiteX67" fmla="*/ 326056 w 574366"/>
                <a:gd name="connsiteY67" fmla="*/ 788315 h 1319334"/>
                <a:gd name="connsiteX68" fmla="*/ 323643 w 574366"/>
                <a:gd name="connsiteY68" fmla="*/ 782020 h 1319334"/>
                <a:gd name="connsiteX69" fmla="*/ 322818 w 574366"/>
                <a:gd name="connsiteY69" fmla="*/ 760710 h 1319334"/>
                <a:gd name="connsiteX70" fmla="*/ 323647 w 574366"/>
                <a:gd name="connsiteY70" fmla="*/ 747093 h 1319334"/>
                <a:gd name="connsiteX71" fmla="*/ 323642 w 574366"/>
                <a:gd name="connsiteY71" fmla="*/ 746602 h 1319334"/>
                <a:gd name="connsiteX72" fmla="*/ 318426 w 574366"/>
                <a:gd name="connsiteY72" fmla="*/ 725152 h 1319334"/>
                <a:gd name="connsiteX73" fmla="*/ 317932 w 574366"/>
                <a:gd name="connsiteY73" fmla="*/ 724362 h 1319334"/>
                <a:gd name="connsiteX74" fmla="*/ 311569 w 574366"/>
                <a:gd name="connsiteY74" fmla="*/ 708529 h 1319334"/>
                <a:gd name="connsiteX75" fmla="*/ 308115 w 574366"/>
                <a:gd name="connsiteY75" fmla="*/ 693625 h 1319334"/>
                <a:gd name="connsiteX76" fmla="*/ 306403 w 574366"/>
                <a:gd name="connsiteY76" fmla="*/ 684305 h 1319334"/>
                <a:gd name="connsiteX77" fmla="*/ 307709 w 574366"/>
                <a:gd name="connsiteY77" fmla="*/ 665851 h 1319334"/>
                <a:gd name="connsiteX78" fmla="*/ 309939 w 574366"/>
                <a:gd name="connsiteY78" fmla="*/ 666390 h 1319334"/>
                <a:gd name="connsiteX79" fmla="*/ 314714 w 574366"/>
                <a:gd name="connsiteY79" fmla="*/ 667940 h 1319334"/>
                <a:gd name="connsiteX80" fmla="*/ 315616 w 574366"/>
                <a:gd name="connsiteY80" fmla="*/ 668441 h 1319334"/>
                <a:gd name="connsiteX81" fmla="*/ 318154 w 574366"/>
                <a:gd name="connsiteY81" fmla="*/ 669989 h 1319334"/>
                <a:gd name="connsiteX82" fmla="*/ 319519 w 574366"/>
                <a:gd name="connsiteY82" fmla="*/ 671039 h 1319334"/>
                <a:gd name="connsiteX83" fmla="*/ 321750 w 574366"/>
                <a:gd name="connsiteY83" fmla="*/ 672727 h 1319334"/>
                <a:gd name="connsiteX84" fmla="*/ 334411 w 574366"/>
                <a:gd name="connsiteY84" fmla="*/ 678229 h 1319334"/>
                <a:gd name="connsiteX85" fmla="*/ 338358 w 574366"/>
                <a:gd name="connsiteY85" fmla="*/ 682693 h 1319334"/>
                <a:gd name="connsiteX86" fmla="*/ 342279 w 574366"/>
                <a:gd name="connsiteY86" fmla="*/ 685915 h 1319334"/>
                <a:gd name="connsiteX87" fmla="*/ 350328 w 574366"/>
                <a:gd name="connsiteY87" fmla="*/ 692076 h 1319334"/>
                <a:gd name="connsiteX88" fmla="*/ 359401 w 574366"/>
                <a:gd name="connsiteY88" fmla="*/ 701174 h 1319334"/>
                <a:gd name="connsiteX89" fmla="*/ 361197 w 574366"/>
                <a:gd name="connsiteY89" fmla="*/ 702890 h 1319334"/>
                <a:gd name="connsiteX90" fmla="*/ 362145 w 574366"/>
                <a:gd name="connsiteY90" fmla="*/ 703325 h 1319334"/>
                <a:gd name="connsiteX91" fmla="*/ 363417 w 574366"/>
                <a:gd name="connsiteY91" fmla="*/ 703010 h 1319334"/>
                <a:gd name="connsiteX92" fmla="*/ 363897 w 574366"/>
                <a:gd name="connsiteY92" fmla="*/ 702581 h 1319334"/>
                <a:gd name="connsiteX93" fmla="*/ 364134 w 574366"/>
                <a:gd name="connsiteY93" fmla="*/ 702372 h 1319334"/>
                <a:gd name="connsiteX94" fmla="*/ 365618 w 574366"/>
                <a:gd name="connsiteY94" fmla="*/ 703896 h 1319334"/>
                <a:gd name="connsiteX95" fmla="*/ 366360 w 574366"/>
                <a:gd name="connsiteY95" fmla="*/ 704705 h 1319334"/>
                <a:gd name="connsiteX96" fmla="*/ 367478 w 574366"/>
                <a:gd name="connsiteY96" fmla="*/ 705855 h 1319334"/>
                <a:gd name="connsiteX97" fmla="*/ 372366 w 574366"/>
                <a:gd name="connsiteY97" fmla="*/ 711895 h 1319334"/>
                <a:gd name="connsiteX98" fmla="*/ 374553 w 574366"/>
                <a:gd name="connsiteY98" fmla="*/ 716538 h 1319334"/>
                <a:gd name="connsiteX99" fmla="*/ 383419 w 574366"/>
                <a:gd name="connsiteY99" fmla="*/ 730757 h 1319334"/>
                <a:gd name="connsiteX100" fmla="*/ 401318 w 574366"/>
                <a:gd name="connsiteY100" fmla="*/ 750793 h 1319334"/>
                <a:gd name="connsiteX101" fmla="*/ 407589 w 574366"/>
                <a:gd name="connsiteY101" fmla="*/ 757395 h 1319334"/>
                <a:gd name="connsiteX102" fmla="*/ 411057 w 574366"/>
                <a:gd name="connsiteY102" fmla="*/ 761775 h 1319334"/>
                <a:gd name="connsiteX103" fmla="*/ 412252 w 574366"/>
                <a:gd name="connsiteY103" fmla="*/ 763351 h 1319334"/>
                <a:gd name="connsiteX104" fmla="*/ 414886 w 574366"/>
                <a:gd name="connsiteY104" fmla="*/ 766529 h 1319334"/>
                <a:gd name="connsiteX105" fmla="*/ 419956 w 574366"/>
                <a:gd name="connsiteY105" fmla="*/ 769375 h 1319334"/>
                <a:gd name="connsiteX106" fmla="*/ 426138 w 574366"/>
                <a:gd name="connsiteY106" fmla="*/ 768460 h 1319334"/>
                <a:gd name="connsiteX107" fmla="*/ 428520 w 574366"/>
                <a:gd name="connsiteY107" fmla="*/ 765698 h 1319334"/>
                <a:gd name="connsiteX108" fmla="*/ 428817 w 574366"/>
                <a:gd name="connsiteY108" fmla="*/ 762973 h 1319334"/>
                <a:gd name="connsiteX109" fmla="*/ 429357 w 574366"/>
                <a:gd name="connsiteY109" fmla="*/ 763726 h 1319334"/>
                <a:gd name="connsiteX110" fmla="*/ 432703 w 574366"/>
                <a:gd name="connsiteY110" fmla="*/ 767667 h 1319334"/>
                <a:gd name="connsiteX111" fmla="*/ 436240 w 574366"/>
                <a:gd name="connsiteY111" fmla="*/ 769804 h 1319334"/>
                <a:gd name="connsiteX112" fmla="*/ 442757 w 574366"/>
                <a:gd name="connsiteY112" fmla="*/ 770197 h 1319334"/>
                <a:gd name="connsiteX113" fmla="*/ 446909 w 574366"/>
                <a:gd name="connsiteY113" fmla="*/ 767942 h 1319334"/>
                <a:gd name="connsiteX114" fmla="*/ 448798 w 574366"/>
                <a:gd name="connsiteY114" fmla="*/ 764875 h 1319334"/>
                <a:gd name="connsiteX115" fmla="*/ 454923 w 574366"/>
                <a:gd name="connsiteY115" fmla="*/ 766002 h 1319334"/>
                <a:gd name="connsiteX116" fmla="*/ 460495 w 574366"/>
                <a:gd name="connsiteY116" fmla="*/ 764574 h 1319334"/>
                <a:gd name="connsiteX117" fmla="*/ 463799 w 574366"/>
                <a:gd name="connsiteY117" fmla="*/ 760355 h 1319334"/>
                <a:gd name="connsiteX118" fmla="*/ 463921 w 574366"/>
                <a:gd name="connsiteY118" fmla="*/ 756300 h 1319334"/>
                <a:gd name="connsiteX119" fmla="*/ 464801 w 574366"/>
                <a:gd name="connsiteY119" fmla="*/ 755929 h 1319334"/>
                <a:gd name="connsiteX120" fmla="*/ 466620 w 574366"/>
                <a:gd name="connsiteY120" fmla="*/ 755183 h 1319334"/>
                <a:gd name="connsiteX121" fmla="*/ 469676 w 574366"/>
                <a:gd name="connsiteY121" fmla="*/ 753144 h 1319334"/>
                <a:gd name="connsiteX122" fmla="*/ 470571 w 574366"/>
                <a:gd name="connsiteY122" fmla="*/ 752403 h 1319334"/>
                <a:gd name="connsiteX123" fmla="*/ 473598 w 574366"/>
                <a:gd name="connsiteY123" fmla="*/ 748023 h 1319334"/>
                <a:gd name="connsiteX124" fmla="*/ 473227 w 574366"/>
                <a:gd name="connsiteY124" fmla="*/ 738242 h 1319334"/>
                <a:gd name="connsiteX125" fmla="*/ 467871 w 574366"/>
                <a:gd name="connsiteY125" fmla="*/ 727670 h 1319334"/>
                <a:gd name="connsiteX126" fmla="*/ 465635 w 574366"/>
                <a:gd name="connsiteY126" fmla="*/ 723903 h 1319334"/>
                <a:gd name="connsiteX127" fmla="*/ 464876 w 574366"/>
                <a:gd name="connsiteY127" fmla="*/ 722490 h 1319334"/>
                <a:gd name="connsiteX128" fmla="*/ 463024 w 574366"/>
                <a:gd name="connsiteY128" fmla="*/ 719387 h 1319334"/>
                <a:gd name="connsiteX129" fmla="*/ 460459 w 574366"/>
                <a:gd name="connsiteY129" fmla="*/ 715437 h 1319334"/>
                <a:gd name="connsiteX130" fmla="*/ 454257 w 574366"/>
                <a:gd name="connsiteY130" fmla="*/ 707762 h 1319334"/>
                <a:gd name="connsiteX131" fmla="*/ 446637 w 574366"/>
                <a:gd name="connsiteY131" fmla="*/ 700653 h 1319334"/>
                <a:gd name="connsiteX132" fmla="*/ 440120 w 574366"/>
                <a:gd name="connsiteY132" fmla="*/ 693563 h 1319334"/>
                <a:gd name="connsiteX133" fmla="*/ 435848 w 574366"/>
                <a:gd name="connsiteY133" fmla="*/ 690499 h 1319334"/>
                <a:gd name="connsiteX134" fmla="*/ 428400 w 574366"/>
                <a:gd name="connsiteY134" fmla="*/ 685117 h 1319334"/>
                <a:gd name="connsiteX135" fmla="*/ 425406 w 574366"/>
                <a:gd name="connsiteY135" fmla="*/ 682840 h 1319334"/>
                <a:gd name="connsiteX136" fmla="*/ 417626 w 574366"/>
                <a:gd name="connsiteY136" fmla="*/ 677330 h 1319334"/>
                <a:gd name="connsiteX137" fmla="*/ 413269 w 574366"/>
                <a:gd name="connsiteY137" fmla="*/ 675322 h 1319334"/>
                <a:gd name="connsiteX138" fmla="*/ 409964 w 574366"/>
                <a:gd name="connsiteY138" fmla="*/ 673881 h 1319334"/>
                <a:gd name="connsiteX139" fmla="*/ 404722 w 574366"/>
                <a:gd name="connsiteY139" fmla="*/ 671759 h 1319334"/>
                <a:gd name="connsiteX140" fmla="*/ 404134 w 574366"/>
                <a:gd name="connsiteY140" fmla="*/ 671552 h 1319334"/>
                <a:gd name="connsiteX141" fmla="*/ 397564 w 574366"/>
                <a:gd name="connsiteY141" fmla="*/ 667285 h 1319334"/>
                <a:gd name="connsiteX142" fmla="*/ 397833 w 574366"/>
                <a:gd name="connsiteY142" fmla="*/ 665989 h 1319334"/>
                <a:gd name="connsiteX143" fmla="*/ 398302 w 574366"/>
                <a:gd name="connsiteY143" fmla="*/ 663920 h 1319334"/>
                <a:gd name="connsiteX144" fmla="*/ 397841 w 574366"/>
                <a:gd name="connsiteY144" fmla="*/ 661981 h 1319334"/>
                <a:gd name="connsiteX145" fmla="*/ 395831 w 574366"/>
                <a:gd name="connsiteY145" fmla="*/ 659824 h 1319334"/>
                <a:gd name="connsiteX146" fmla="*/ 391258 w 574366"/>
                <a:gd name="connsiteY146" fmla="*/ 655029 h 1319334"/>
                <a:gd name="connsiteX147" fmla="*/ 387566 w 574366"/>
                <a:gd name="connsiteY147" fmla="*/ 651538 h 1319334"/>
                <a:gd name="connsiteX148" fmla="*/ 380502 w 574366"/>
                <a:gd name="connsiteY148" fmla="*/ 644439 h 1319334"/>
                <a:gd name="connsiteX149" fmla="*/ 377681 w 574366"/>
                <a:gd name="connsiteY149" fmla="*/ 640820 h 1319334"/>
                <a:gd name="connsiteX150" fmla="*/ 372029 w 574366"/>
                <a:gd name="connsiteY150" fmla="*/ 634229 h 1319334"/>
                <a:gd name="connsiteX151" fmla="*/ 368529 w 574366"/>
                <a:gd name="connsiteY151" fmla="*/ 631334 h 1319334"/>
                <a:gd name="connsiteX152" fmla="*/ 362152 w 574366"/>
                <a:gd name="connsiteY152" fmla="*/ 625475 h 1319334"/>
                <a:gd name="connsiteX153" fmla="*/ 361448 w 574366"/>
                <a:gd name="connsiteY153" fmla="*/ 624618 h 1319334"/>
                <a:gd name="connsiteX154" fmla="*/ 357084 w 574366"/>
                <a:gd name="connsiteY154" fmla="*/ 617469 h 1319334"/>
                <a:gd name="connsiteX155" fmla="*/ 356908 w 574366"/>
                <a:gd name="connsiteY155" fmla="*/ 616743 h 1319334"/>
                <a:gd name="connsiteX156" fmla="*/ 354232 w 574366"/>
                <a:gd name="connsiteY156" fmla="*/ 610063 h 1319334"/>
                <a:gd name="connsiteX157" fmla="*/ 351529 w 574366"/>
                <a:gd name="connsiteY157" fmla="*/ 606121 h 1319334"/>
                <a:gd name="connsiteX158" fmla="*/ 349181 w 574366"/>
                <a:gd name="connsiteY158" fmla="*/ 602623 h 1319334"/>
                <a:gd name="connsiteX159" fmla="*/ 346505 w 574366"/>
                <a:gd name="connsiteY159" fmla="*/ 598983 h 1319334"/>
                <a:gd name="connsiteX160" fmla="*/ 344580 w 574366"/>
                <a:gd name="connsiteY160" fmla="*/ 596340 h 1319334"/>
                <a:gd name="connsiteX161" fmla="*/ 333752 w 574366"/>
                <a:gd name="connsiteY161" fmla="*/ 587027 h 1319334"/>
                <a:gd name="connsiteX162" fmla="*/ 333635 w 574366"/>
                <a:gd name="connsiteY162" fmla="*/ 586502 h 1319334"/>
                <a:gd name="connsiteX163" fmla="*/ 333455 w 574366"/>
                <a:gd name="connsiteY163" fmla="*/ 585354 h 1319334"/>
                <a:gd name="connsiteX164" fmla="*/ 336391 w 574366"/>
                <a:gd name="connsiteY164" fmla="*/ 560502 h 1319334"/>
                <a:gd name="connsiteX165" fmla="*/ 337351 w 574366"/>
                <a:gd name="connsiteY165" fmla="*/ 554741 h 1319334"/>
                <a:gd name="connsiteX166" fmla="*/ 338988 w 574366"/>
                <a:gd name="connsiteY166" fmla="*/ 545936 h 1319334"/>
                <a:gd name="connsiteX167" fmla="*/ 341550 w 574366"/>
                <a:gd name="connsiteY167" fmla="*/ 529393 h 1319334"/>
                <a:gd name="connsiteX168" fmla="*/ 338812 w 574366"/>
                <a:gd name="connsiteY168" fmla="*/ 483452 h 1319334"/>
                <a:gd name="connsiteX169" fmla="*/ 328880 w 574366"/>
                <a:gd name="connsiteY169" fmla="*/ 450715 h 1319334"/>
                <a:gd name="connsiteX170" fmla="*/ 324839 w 574366"/>
                <a:gd name="connsiteY170" fmla="*/ 440165 h 1319334"/>
                <a:gd name="connsiteX171" fmla="*/ 323036 w 574366"/>
                <a:gd name="connsiteY171" fmla="*/ 435298 h 1319334"/>
                <a:gd name="connsiteX172" fmla="*/ 317734 w 574366"/>
                <a:gd name="connsiteY172" fmla="*/ 419350 h 1319334"/>
                <a:gd name="connsiteX173" fmla="*/ 315263 w 574366"/>
                <a:gd name="connsiteY173" fmla="*/ 406213 h 1319334"/>
                <a:gd name="connsiteX174" fmla="*/ 313440 w 574366"/>
                <a:gd name="connsiteY174" fmla="*/ 398018 h 1319334"/>
                <a:gd name="connsiteX175" fmla="*/ 311985 w 574366"/>
                <a:gd name="connsiteY175" fmla="*/ 392010 h 1319334"/>
                <a:gd name="connsiteX176" fmla="*/ 306892 w 574366"/>
                <a:gd name="connsiteY176" fmla="*/ 375986 h 1319334"/>
                <a:gd name="connsiteX177" fmla="*/ 303154 w 574366"/>
                <a:gd name="connsiteY177" fmla="*/ 365388 h 1319334"/>
                <a:gd name="connsiteX178" fmla="*/ 294813 w 574366"/>
                <a:gd name="connsiteY178" fmla="*/ 345373 h 1319334"/>
                <a:gd name="connsiteX179" fmla="*/ 294372 w 574366"/>
                <a:gd name="connsiteY179" fmla="*/ 344456 h 1319334"/>
                <a:gd name="connsiteX180" fmla="*/ 286437 w 574366"/>
                <a:gd name="connsiteY180" fmla="*/ 323332 h 1319334"/>
                <a:gd name="connsiteX181" fmla="*/ 285484 w 574366"/>
                <a:gd name="connsiteY181" fmla="*/ 319885 h 1319334"/>
                <a:gd name="connsiteX182" fmla="*/ 283876 w 574366"/>
                <a:gd name="connsiteY182" fmla="*/ 312089 h 1319334"/>
                <a:gd name="connsiteX183" fmla="*/ 282563 w 574366"/>
                <a:gd name="connsiteY183" fmla="*/ 305909 h 1319334"/>
                <a:gd name="connsiteX184" fmla="*/ 282244 w 574366"/>
                <a:gd name="connsiteY184" fmla="*/ 304887 h 1319334"/>
                <a:gd name="connsiteX185" fmla="*/ 280715 w 574366"/>
                <a:gd name="connsiteY185" fmla="*/ 290225 h 1319334"/>
                <a:gd name="connsiteX186" fmla="*/ 280848 w 574366"/>
                <a:gd name="connsiteY186" fmla="*/ 284620 h 1319334"/>
                <a:gd name="connsiteX187" fmla="*/ 280847 w 574366"/>
                <a:gd name="connsiteY187" fmla="*/ 281657 h 1319334"/>
                <a:gd name="connsiteX188" fmla="*/ 280929 w 574366"/>
                <a:gd name="connsiteY188" fmla="*/ 278808 h 1319334"/>
                <a:gd name="connsiteX189" fmla="*/ 280964 w 574366"/>
                <a:gd name="connsiteY189" fmla="*/ 272174 h 1319334"/>
                <a:gd name="connsiteX190" fmla="*/ 279983 w 574366"/>
                <a:gd name="connsiteY190" fmla="*/ 267352 h 1319334"/>
                <a:gd name="connsiteX191" fmla="*/ 279739 w 574366"/>
                <a:gd name="connsiteY191" fmla="*/ 262955 h 1319334"/>
                <a:gd name="connsiteX192" fmla="*/ 280076 w 574366"/>
                <a:gd name="connsiteY192" fmla="*/ 260453 h 1319334"/>
                <a:gd name="connsiteX193" fmla="*/ 280159 w 574366"/>
                <a:gd name="connsiteY193" fmla="*/ 259344 h 1319334"/>
                <a:gd name="connsiteX194" fmla="*/ 280116 w 574366"/>
                <a:gd name="connsiteY194" fmla="*/ 256924 h 1319334"/>
                <a:gd name="connsiteX195" fmla="*/ 280514 w 574366"/>
                <a:gd name="connsiteY195" fmla="*/ 253446 h 1319334"/>
                <a:gd name="connsiteX196" fmla="*/ 280522 w 574366"/>
                <a:gd name="connsiteY196" fmla="*/ 246639 h 1319334"/>
                <a:gd name="connsiteX197" fmla="*/ 270704 w 574366"/>
                <a:gd name="connsiteY197" fmla="*/ 236561 h 1319334"/>
                <a:gd name="connsiteX198" fmla="*/ 280148 w 574366"/>
                <a:gd name="connsiteY198" fmla="*/ 228553 h 1319334"/>
                <a:gd name="connsiteX199" fmla="*/ 286109 w 574366"/>
                <a:gd name="connsiteY199" fmla="*/ 222659 h 1319334"/>
                <a:gd name="connsiteX200" fmla="*/ 290864 w 574366"/>
                <a:gd name="connsiteY200" fmla="*/ 217670 h 1319334"/>
                <a:gd name="connsiteX201" fmla="*/ 293367 w 574366"/>
                <a:gd name="connsiteY201" fmla="*/ 215573 h 1319334"/>
                <a:gd name="connsiteX202" fmla="*/ 299401 w 574366"/>
                <a:gd name="connsiteY202" fmla="*/ 211141 h 1319334"/>
                <a:gd name="connsiteX203" fmla="*/ 306945 w 574366"/>
                <a:gd name="connsiteY203" fmla="*/ 209174 h 1319334"/>
                <a:gd name="connsiteX204" fmla="*/ 308916 w 574366"/>
                <a:gd name="connsiteY204" fmla="*/ 209118 h 1319334"/>
                <a:gd name="connsiteX205" fmla="*/ 312529 w 574366"/>
                <a:gd name="connsiteY205" fmla="*/ 208875 h 1319334"/>
                <a:gd name="connsiteX206" fmla="*/ 317267 w 574366"/>
                <a:gd name="connsiteY206" fmla="*/ 207453 h 1319334"/>
                <a:gd name="connsiteX207" fmla="*/ 321218 w 574366"/>
                <a:gd name="connsiteY207" fmla="*/ 203757 h 1319334"/>
                <a:gd name="connsiteX208" fmla="*/ 322379 w 574366"/>
                <a:gd name="connsiteY208" fmla="*/ 198420 h 1319334"/>
                <a:gd name="connsiteX209" fmla="*/ 321236 w 574366"/>
                <a:gd name="connsiteY209" fmla="*/ 190450 h 1319334"/>
                <a:gd name="connsiteX210" fmla="*/ 320984 w 574366"/>
                <a:gd name="connsiteY210" fmla="*/ 189796 h 1319334"/>
                <a:gd name="connsiteX211" fmla="*/ 319491 w 574366"/>
                <a:gd name="connsiteY211" fmla="*/ 184001 h 1319334"/>
                <a:gd name="connsiteX212" fmla="*/ 319491 w 574366"/>
                <a:gd name="connsiteY212" fmla="*/ 183682 h 1319334"/>
                <a:gd name="connsiteX213" fmla="*/ 320488 w 574366"/>
                <a:gd name="connsiteY213" fmla="*/ 178923 h 1319334"/>
                <a:gd name="connsiteX214" fmla="*/ 322582 w 574366"/>
                <a:gd name="connsiteY214" fmla="*/ 174866 h 1319334"/>
                <a:gd name="connsiteX215" fmla="*/ 321775 w 574366"/>
                <a:gd name="connsiteY215" fmla="*/ 171370 h 1319334"/>
                <a:gd name="connsiteX216" fmla="*/ 318433 w 574366"/>
                <a:gd name="connsiteY216" fmla="*/ 169364 h 1319334"/>
                <a:gd name="connsiteX217" fmla="*/ 316526 w 574366"/>
                <a:gd name="connsiteY217" fmla="*/ 169060 h 1319334"/>
                <a:gd name="connsiteX218" fmla="*/ 316560 w 574366"/>
                <a:gd name="connsiteY218" fmla="*/ 169034 h 1319334"/>
                <a:gd name="connsiteX219" fmla="*/ 317870 w 574366"/>
                <a:gd name="connsiteY219" fmla="*/ 168030 h 1319334"/>
                <a:gd name="connsiteX220" fmla="*/ 318675 w 574366"/>
                <a:gd name="connsiteY220" fmla="*/ 167334 h 1319334"/>
                <a:gd name="connsiteX221" fmla="*/ 319978 w 574366"/>
                <a:gd name="connsiteY221" fmla="*/ 166255 h 1319334"/>
                <a:gd name="connsiteX222" fmla="*/ 321557 w 574366"/>
                <a:gd name="connsiteY222" fmla="*/ 163960 h 1319334"/>
                <a:gd name="connsiteX223" fmla="*/ 321337 w 574366"/>
                <a:gd name="connsiteY223" fmla="*/ 161061 h 1319334"/>
                <a:gd name="connsiteX224" fmla="*/ 320953 w 574366"/>
                <a:gd name="connsiteY224" fmla="*/ 160014 h 1319334"/>
                <a:gd name="connsiteX225" fmla="*/ 320210 w 574366"/>
                <a:gd name="connsiteY225" fmla="*/ 157698 h 1319334"/>
                <a:gd name="connsiteX226" fmla="*/ 320040 w 574366"/>
                <a:gd name="connsiteY226" fmla="*/ 153051 h 1319334"/>
                <a:gd name="connsiteX227" fmla="*/ 322625 w 574366"/>
                <a:gd name="connsiteY227" fmla="*/ 150349 h 1319334"/>
                <a:gd name="connsiteX228" fmla="*/ 324596 w 574366"/>
                <a:gd name="connsiteY228" fmla="*/ 150030 h 1319334"/>
                <a:gd name="connsiteX229" fmla="*/ 331278 w 574366"/>
                <a:gd name="connsiteY229" fmla="*/ 148408 h 1319334"/>
                <a:gd name="connsiteX230" fmla="*/ 335649 w 574366"/>
                <a:gd name="connsiteY230" fmla="*/ 142176 h 1319334"/>
                <a:gd name="connsiteX231" fmla="*/ 332840 w 574366"/>
                <a:gd name="connsiteY231" fmla="*/ 135026 h 1319334"/>
                <a:gd name="connsiteX232" fmla="*/ 327095 w 574366"/>
                <a:gd name="connsiteY232" fmla="*/ 128208 h 1319334"/>
                <a:gd name="connsiteX233" fmla="*/ 326201 w 574366"/>
                <a:gd name="connsiteY233" fmla="*/ 127126 h 1319334"/>
                <a:gd name="connsiteX234" fmla="*/ 323718 w 574366"/>
                <a:gd name="connsiteY234" fmla="*/ 124057 h 1319334"/>
                <a:gd name="connsiteX235" fmla="*/ 322087 w 574366"/>
                <a:gd name="connsiteY235" fmla="*/ 122096 h 1319334"/>
                <a:gd name="connsiteX236" fmla="*/ 319601 w 574366"/>
                <a:gd name="connsiteY236" fmla="*/ 118931 h 1319334"/>
                <a:gd name="connsiteX237" fmla="*/ 317370 w 574366"/>
                <a:gd name="connsiteY237" fmla="*/ 112537 h 1319334"/>
                <a:gd name="connsiteX238" fmla="*/ 317932 w 574366"/>
                <a:gd name="connsiteY238" fmla="*/ 108081 h 1319334"/>
                <a:gd name="connsiteX239" fmla="*/ 318431 w 574366"/>
                <a:gd name="connsiteY239" fmla="*/ 106497 h 1319334"/>
                <a:gd name="connsiteX240" fmla="*/ 319773 w 574366"/>
                <a:gd name="connsiteY240" fmla="*/ 100994 h 1319334"/>
                <a:gd name="connsiteX241" fmla="*/ 317091 w 574366"/>
                <a:gd name="connsiteY241" fmla="*/ 92668 h 1319334"/>
                <a:gd name="connsiteX242" fmla="*/ 316743 w 574366"/>
                <a:gd name="connsiteY242" fmla="*/ 92007 h 1319334"/>
                <a:gd name="connsiteX243" fmla="*/ 314741 w 574366"/>
                <a:gd name="connsiteY243" fmla="*/ 88188 h 1319334"/>
                <a:gd name="connsiteX244" fmla="*/ 308552 w 574366"/>
                <a:gd name="connsiteY244" fmla="*/ 76058 h 1319334"/>
                <a:gd name="connsiteX245" fmla="*/ 305111 w 574366"/>
                <a:gd name="connsiteY245" fmla="*/ 68680 h 1319334"/>
                <a:gd name="connsiteX246" fmla="*/ 303725 w 574366"/>
                <a:gd name="connsiteY246" fmla="*/ 65671 h 1319334"/>
                <a:gd name="connsiteX247" fmla="*/ 292858 w 574366"/>
                <a:gd name="connsiteY247" fmla="*/ 49329 h 1319334"/>
                <a:gd name="connsiteX248" fmla="*/ 279756 w 574366"/>
                <a:gd name="connsiteY248" fmla="*/ 39377 h 1319334"/>
                <a:gd name="connsiteX249" fmla="*/ 286414 w 574366"/>
                <a:gd name="connsiteY249" fmla="*/ 31385 h 1319334"/>
                <a:gd name="connsiteX250" fmla="*/ 282227 w 574366"/>
                <a:gd name="connsiteY250" fmla="*/ 13605 h 1319334"/>
                <a:gd name="connsiteX251" fmla="*/ 266181 w 574366"/>
                <a:gd name="connsiteY251" fmla="*/ 4793 h 1319334"/>
                <a:gd name="connsiteX252" fmla="*/ 262971 w 574366"/>
                <a:gd name="connsiteY252" fmla="*/ 4512 h 1319334"/>
                <a:gd name="connsiteX253" fmla="*/ 265997 w 574366"/>
                <a:gd name="connsiteY253" fmla="*/ 5619 h 1319334"/>
                <a:gd name="connsiteX254" fmla="*/ 271997 w 574366"/>
                <a:gd name="connsiteY254" fmla="*/ 10151 h 1319334"/>
                <a:gd name="connsiteX255" fmla="*/ 274315 w 574366"/>
                <a:gd name="connsiteY255" fmla="*/ 15665 h 1319334"/>
                <a:gd name="connsiteX256" fmla="*/ 264108 w 574366"/>
                <a:gd name="connsiteY256" fmla="*/ 11649 h 1319334"/>
                <a:gd name="connsiteX257" fmla="*/ 256534 w 574366"/>
                <a:gd name="connsiteY257" fmla="*/ 8390 h 1319334"/>
                <a:gd name="connsiteX258" fmla="*/ 252488 w 574366"/>
                <a:gd name="connsiteY258" fmla="*/ 1199 h 1319334"/>
                <a:gd name="connsiteX259" fmla="*/ 252259 w 574366"/>
                <a:gd name="connsiteY259" fmla="*/ 0 h 1319334"/>
                <a:gd name="connsiteX260" fmla="*/ 251691 w 574366"/>
                <a:gd name="connsiteY260" fmla="*/ 1081 h 1319334"/>
                <a:gd name="connsiteX261" fmla="*/ 250557 w 574366"/>
                <a:gd name="connsiteY261" fmla="*/ 8070 h 1319334"/>
                <a:gd name="connsiteX262" fmla="*/ 252955 w 574366"/>
                <a:gd name="connsiteY262" fmla="*/ 13043 h 1319334"/>
                <a:gd name="connsiteX263" fmla="*/ 238125 w 574366"/>
                <a:gd name="connsiteY263" fmla="*/ 2287 h 1319334"/>
                <a:gd name="connsiteX264" fmla="*/ 237532 w 574366"/>
                <a:gd name="connsiteY264" fmla="*/ 1410 h 1319334"/>
                <a:gd name="connsiteX265" fmla="*/ 237351 w 574366"/>
                <a:gd name="connsiteY265" fmla="*/ 2453 h 1319334"/>
                <a:gd name="connsiteX266" fmla="*/ 239298 w 574366"/>
                <a:gd name="connsiteY266" fmla="*/ 11394 h 1319334"/>
                <a:gd name="connsiteX267" fmla="*/ 207972 w 574366"/>
                <a:gd name="connsiteY267" fmla="*/ 8092 h 1319334"/>
                <a:gd name="connsiteX268" fmla="*/ 208168 w 574366"/>
                <a:gd name="connsiteY268" fmla="*/ 8920 h 1319334"/>
                <a:gd name="connsiteX269" fmla="*/ 222470 w 574366"/>
                <a:gd name="connsiteY269" fmla="*/ 11881 h 1319334"/>
                <a:gd name="connsiteX270" fmla="*/ 180384 w 574366"/>
                <a:gd name="connsiteY270" fmla="*/ 28976 h 1319334"/>
                <a:gd name="connsiteX271" fmla="*/ 167248 w 574366"/>
                <a:gd name="connsiteY271" fmla="*/ 37065 h 1319334"/>
                <a:gd name="connsiteX272" fmla="*/ 149699 w 574366"/>
                <a:gd name="connsiteY272" fmla="*/ 40938 h 1319334"/>
                <a:gd name="connsiteX273" fmla="*/ 148170 w 574366"/>
                <a:gd name="connsiteY273" fmla="*/ 41087 h 1319334"/>
                <a:gd name="connsiteX274" fmla="*/ 149557 w 574366"/>
                <a:gd name="connsiteY274" fmla="*/ 41747 h 1319334"/>
                <a:gd name="connsiteX275" fmla="*/ 164372 w 574366"/>
                <a:gd name="connsiteY275" fmla="*/ 44193 h 1319334"/>
                <a:gd name="connsiteX276" fmla="*/ 150745 w 574366"/>
                <a:gd name="connsiteY276" fmla="*/ 69584 h 1319334"/>
                <a:gd name="connsiteX277" fmla="*/ 151586 w 574366"/>
                <a:gd name="connsiteY277" fmla="*/ 69700 h 1319334"/>
                <a:gd name="connsiteX278" fmla="*/ 156356 w 574366"/>
                <a:gd name="connsiteY278" fmla="*/ 63091 h 1319334"/>
                <a:gd name="connsiteX279" fmla="*/ 154255 w 574366"/>
                <a:gd name="connsiteY279" fmla="*/ 67511 h 1319334"/>
                <a:gd name="connsiteX280" fmla="*/ 151546 w 574366"/>
                <a:gd name="connsiteY280" fmla="*/ 73197 h 1319334"/>
                <a:gd name="connsiteX281" fmla="*/ 149727 w 574366"/>
                <a:gd name="connsiteY281" fmla="*/ 82654 h 1319334"/>
                <a:gd name="connsiteX282" fmla="*/ 149627 w 574366"/>
                <a:gd name="connsiteY282" fmla="*/ 84407 h 1319334"/>
                <a:gd name="connsiteX283" fmla="*/ 149440 w 574366"/>
                <a:gd name="connsiteY283" fmla="*/ 87287 h 1319334"/>
                <a:gd name="connsiteX284" fmla="*/ 150452 w 574366"/>
                <a:gd name="connsiteY284" fmla="*/ 84585 h 1319334"/>
                <a:gd name="connsiteX285" fmla="*/ 155294 w 574366"/>
                <a:gd name="connsiteY285" fmla="*/ 78267 h 1319334"/>
                <a:gd name="connsiteX286" fmla="*/ 152685 w 574366"/>
                <a:gd name="connsiteY286" fmla="*/ 92866 h 1319334"/>
                <a:gd name="connsiteX287" fmla="*/ 151350 w 574366"/>
                <a:gd name="connsiteY287" fmla="*/ 115336 h 1319334"/>
                <a:gd name="connsiteX288" fmla="*/ 151440 w 574366"/>
                <a:gd name="connsiteY288" fmla="*/ 116677 h 1319334"/>
                <a:gd name="connsiteX289" fmla="*/ 155788 w 574366"/>
                <a:gd name="connsiteY289" fmla="*/ 132525 h 1319334"/>
                <a:gd name="connsiteX290" fmla="*/ 156349 w 574366"/>
                <a:gd name="connsiteY290" fmla="*/ 133975 h 1319334"/>
                <a:gd name="connsiteX291" fmla="*/ 159205 w 574366"/>
                <a:gd name="connsiteY291" fmla="*/ 141852 h 1319334"/>
                <a:gd name="connsiteX292" fmla="*/ 161661 w 574366"/>
                <a:gd name="connsiteY292" fmla="*/ 148677 h 1319334"/>
                <a:gd name="connsiteX293" fmla="*/ 162285 w 574366"/>
                <a:gd name="connsiteY293" fmla="*/ 150448 h 1319334"/>
                <a:gd name="connsiteX294" fmla="*/ 164625 w 574366"/>
                <a:gd name="connsiteY294" fmla="*/ 155631 h 1319334"/>
                <a:gd name="connsiteX295" fmla="*/ 167425 w 574366"/>
                <a:gd name="connsiteY295" fmla="*/ 159010 h 1319334"/>
                <a:gd name="connsiteX296" fmla="*/ 168931 w 574366"/>
                <a:gd name="connsiteY296" fmla="*/ 160738 h 1319334"/>
                <a:gd name="connsiteX297" fmla="*/ 171370 w 574366"/>
                <a:gd name="connsiteY297" fmla="*/ 167861 h 1319334"/>
                <a:gd name="connsiteX298" fmla="*/ 176337 w 574366"/>
                <a:gd name="connsiteY298" fmla="*/ 176331 h 1319334"/>
                <a:gd name="connsiteX299" fmla="*/ 176692 w 574366"/>
                <a:gd name="connsiteY299" fmla="*/ 176714 h 1319334"/>
                <a:gd name="connsiteX300" fmla="*/ 176604 w 574366"/>
                <a:gd name="connsiteY300" fmla="*/ 176709 h 1319334"/>
                <a:gd name="connsiteX301" fmla="*/ 175359 w 574366"/>
                <a:gd name="connsiteY301" fmla="*/ 177478 h 1319334"/>
                <a:gd name="connsiteX302" fmla="*/ 174864 w 574366"/>
                <a:gd name="connsiteY302" fmla="*/ 178620 h 1319334"/>
                <a:gd name="connsiteX303" fmla="*/ 174414 w 574366"/>
                <a:gd name="connsiteY303" fmla="*/ 180058 h 1319334"/>
                <a:gd name="connsiteX304" fmla="*/ 170592 w 574366"/>
                <a:gd name="connsiteY304" fmla="*/ 187465 h 1319334"/>
                <a:gd name="connsiteX305" fmla="*/ 170417 w 574366"/>
                <a:gd name="connsiteY305" fmla="*/ 187742 h 1319334"/>
                <a:gd name="connsiteX306" fmla="*/ 168658 w 574366"/>
                <a:gd name="connsiteY306" fmla="*/ 191176 h 1319334"/>
                <a:gd name="connsiteX307" fmla="*/ 168290 w 574366"/>
                <a:gd name="connsiteY307" fmla="*/ 191969 h 1319334"/>
                <a:gd name="connsiteX308" fmla="*/ 166660 w 574366"/>
                <a:gd name="connsiteY308" fmla="*/ 196952 h 1319334"/>
                <a:gd name="connsiteX309" fmla="*/ 166139 w 574366"/>
                <a:gd name="connsiteY309" fmla="*/ 202190 h 1319334"/>
                <a:gd name="connsiteX310" fmla="*/ 164874 w 574366"/>
                <a:gd name="connsiteY310" fmla="*/ 203714 h 1319334"/>
                <a:gd name="connsiteX311" fmla="*/ 163472 w 574366"/>
                <a:gd name="connsiteY311" fmla="*/ 205409 h 1319334"/>
                <a:gd name="connsiteX312" fmla="*/ 157715 w 574366"/>
                <a:gd name="connsiteY312" fmla="*/ 210700 h 1319334"/>
                <a:gd name="connsiteX313" fmla="*/ 154944 w 574366"/>
                <a:gd name="connsiteY313" fmla="*/ 212977 h 1319334"/>
                <a:gd name="connsiteX314" fmla="*/ 147173 w 574366"/>
                <a:gd name="connsiteY314" fmla="*/ 222147 h 1319334"/>
                <a:gd name="connsiteX315" fmla="*/ 145538 w 574366"/>
                <a:gd name="connsiteY315" fmla="*/ 224393 h 1319334"/>
                <a:gd name="connsiteX316" fmla="*/ 141085 w 574366"/>
                <a:gd name="connsiteY316" fmla="*/ 230783 h 1319334"/>
                <a:gd name="connsiteX317" fmla="*/ 139263 w 574366"/>
                <a:gd name="connsiteY317" fmla="*/ 233465 h 1319334"/>
                <a:gd name="connsiteX318" fmla="*/ 132366 w 574366"/>
                <a:gd name="connsiteY318" fmla="*/ 244946 h 1319334"/>
                <a:gd name="connsiteX319" fmla="*/ 124635 w 574366"/>
                <a:gd name="connsiteY319" fmla="*/ 257609 h 1319334"/>
                <a:gd name="connsiteX320" fmla="*/ 117244 w 574366"/>
                <a:gd name="connsiteY320" fmla="*/ 271712 h 1319334"/>
                <a:gd name="connsiteX321" fmla="*/ 114083 w 574366"/>
                <a:gd name="connsiteY321" fmla="*/ 278642 h 1319334"/>
                <a:gd name="connsiteX322" fmla="*/ 108821 w 574366"/>
                <a:gd name="connsiteY322" fmla="*/ 292912 h 1319334"/>
                <a:gd name="connsiteX323" fmla="*/ 106342 w 574366"/>
                <a:gd name="connsiteY323" fmla="*/ 300510 h 1319334"/>
                <a:gd name="connsiteX324" fmla="*/ 104822 w 574366"/>
                <a:gd name="connsiteY324" fmla="*/ 305310 h 1319334"/>
                <a:gd name="connsiteX325" fmla="*/ 102737 w 574366"/>
                <a:gd name="connsiteY325" fmla="*/ 311588 h 1319334"/>
                <a:gd name="connsiteX326" fmla="*/ 100472 w 574366"/>
                <a:gd name="connsiteY326" fmla="*/ 320566 h 1319334"/>
                <a:gd name="connsiteX327" fmla="*/ 99314 w 574366"/>
                <a:gd name="connsiteY327" fmla="*/ 326201 h 1319334"/>
                <a:gd name="connsiteX328" fmla="*/ 95086 w 574366"/>
                <a:gd name="connsiteY328" fmla="*/ 340355 h 1319334"/>
                <a:gd name="connsiteX329" fmla="*/ 93622 w 574366"/>
                <a:gd name="connsiteY329" fmla="*/ 346497 h 1319334"/>
                <a:gd name="connsiteX330" fmla="*/ 93263 w 574366"/>
                <a:gd name="connsiteY330" fmla="*/ 348306 h 1319334"/>
                <a:gd name="connsiteX331" fmla="*/ 92148 w 574366"/>
                <a:gd name="connsiteY331" fmla="*/ 364676 h 1319334"/>
                <a:gd name="connsiteX332" fmla="*/ 92143 w 574366"/>
                <a:gd name="connsiteY332" fmla="*/ 367511 h 1319334"/>
                <a:gd name="connsiteX333" fmla="*/ 92024 w 574366"/>
                <a:gd name="connsiteY333" fmla="*/ 388107 h 1319334"/>
                <a:gd name="connsiteX334" fmla="*/ 91625 w 574366"/>
                <a:gd name="connsiteY334" fmla="*/ 402974 h 1319334"/>
                <a:gd name="connsiteX335" fmla="*/ 91528 w 574366"/>
                <a:gd name="connsiteY335" fmla="*/ 405037 h 1319334"/>
                <a:gd name="connsiteX336" fmla="*/ 91373 w 574366"/>
                <a:gd name="connsiteY336" fmla="*/ 410213 h 1319334"/>
                <a:gd name="connsiteX337" fmla="*/ 90718 w 574366"/>
                <a:gd name="connsiteY337" fmla="*/ 415152 h 1319334"/>
                <a:gd name="connsiteX338" fmla="*/ 90315 w 574366"/>
                <a:gd name="connsiteY338" fmla="*/ 417291 h 1319334"/>
                <a:gd name="connsiteX339" fmla="*/ 89975 w 574366"/>
                <a:gd name="connsiteY339" fmla="*/ 419253 h 1319334"/>
                <a:gd name="connsiteX340" fmla="*/ 89291 w 574366"/>
                <a:gd name="connsiteY340" fmla="*/ 427108 h 1319334"/>
                <a:gd name="connsiteX341" fmla="*/ 90808 w 574366"/>
                <a:gd name="connsiteY341" fmla="*/ 436228 h 1319334"/>
                <a:gd name="connsiteX342" fmla="*/ 91613 w 574366"/>
                <a:gd name="connsiteY342" fmla="*/ 440380 h 1319334"/>
                <a:gd name="connsiteX343" fmla="*/ 96725 w 574366"/>
                <a:gd name="connsiteY343" fmla="*/ 455919 h 1319334"/>
                <a:gd name="connsiteX344" fmla="*/ 99891 w 574366"/>
                <a:gd name="connsiteY344" fmla="*/ 464180 h 1319334"/>
                <a:gd name="connsiteX345" fmla="*/ 101655 w 574366"/>
                <a:gd name="connsiteY345" fmla="*/ 500729 h 1319334"/>
                <a:gd name="connsiteX346" fmla="*/ 103342 w 574366"/>
                <a:gd name="connsiteY346" fmla="*/ 508870 h 1319334"/>
                <a:gd name="connsiteX347" fmla="*/ 104417 w 574366"/>
                <a:gd name="connsiteY347" fmla="*/ 513417 h 1319334"/>
                <a:gd name="connsiteX348" fmla="*/ 104868 w 574366"/>
                <a:gd name="connsiteY348" fmla="*/ 524869 h 1319334"/>
                <a:gd name="connsiteX349" fmla="*/ 104749 w 574366"/>
                <a:gd name="connsiteY349" fmla="*/ 530346 h 1319334"/>
                <a:gd name="connsiteX350" fmla="*/ 107284 w 574366"/>
                <a:gd name="connsiteY350" fmla="*/ 550178 h 1319334"/>
                <a:gd name="connsiteX351" fmla="*/ 113334 w 574366"/>
                <a:gd name="connsiteY351" fmla="*/ 561590 h 1319334"/>
                <a:gd name="connsiteX352" fmla="*/ 120283 w 574366"/>
                <a:gd name="connsiteY352" fmla="*/ 568773 h 1319334"/>
                <a:gd name="connsiteX353" fmla="*/ 119570 w 574366"/>
                <a:gd name="connsiteY353" fmla="*/ 569002 h 1319334"/>
                <a:gd name="connsiteX354" fmla="*/ 118105 w 574366"/>
                <a:gd name="connsiteY354" fmla="*/ 569485 h 1319334"/>
                <a:gd name="connsiteX355" fmla="*/ 116551 w 574366"/>
                <a:gd name="connsiteY355" fmla="*/ 570473 h 1319334"/>
                <a:gd name="connsiteX356" fmla="*/ 116666 w 574366"/>
                <a:gd name="connsiteY356" fmla="*/ 577436 h 1319334"/>
                <a:gd name="connsiteX357" fmla="*/ 116720 w 574366"/>
                <a:gd name="connsiteY357" fmla="*/ 577619 h 1319334"/>
                <a:gd name="connsiteX358" fmla="*/ 116611 w 574366"/>
                <a:gd name="connsiteY358" fmla="*/ 584125 h 1319334"/>
                <a:gd name="connsiteX359" fmla="*/ 114267 w 574366"/>
                <a:gd name="connsiteY359" fmla="*/ 587508 h 1319334"/>
                <a:gd name="connsiteX360" fmla="*/ 113378 w 574366"/>
                <a:gd name="connsiteY360" fmla="*/ 588401 h 1319334"/>
                <a:gd name="connsiteX361" fmla="*/ 110085 w 574366"/>
                <a:gd name="connsiteY361" fmla="*/ 595030 h 1319334"/>
                <a:gd name="connsiteX362" fmla="*/ 106416 w 574366"/>
                <a:gd name="connsiteY362" fmla="*/ 601166 h 1319334"/>
                <a:gd name="connsiteX363" fmla="*/ 102382 w 574366"/>
                <a:gd name="connsiteY363" fmla="*/ 610264 h 1319334"/>
                <a:gd name="connsiteX364" fmla="*/ 101160 w 574366"/>
                <a:gd name="connsiteY364" fmla="*/ 614700 h 1319334"/>
                <a:gd name="connsiteX365" fmla="*/ 99326 w 574366"/>
                <a:gd name="connsiteY365" fmla="*/ 623320 h 1319334"/>
                <a:gd name="connsiteX366" fmla="*/ 94568 w 574366"/>
                <a:gd name="connsiteY366" fmla="*/ 637102 h 1319334"/>
                <a:gd name="connsiteX367" fmla="*/ 92001 w 574366"/>
                <a:gd name="connsiteY367" fmla="*/ 656173 h 1319334"/>
                <a:gd name="connsiteX368" fmla="*/ 93715 w 574366"/>
                <a:gd name="connsiteY368" fmla="*/ 665923 h 1319334"/>
                <a:gd name="connsiteX369" fmla="*/ 95153 w 574366"/>
                <a:gd name="connsiteY369" fmla="*/ 674929 h 1319334"/>
                <a:gd name="connsiteX370" fmla="*/ 95870 w 574366"/>
                <a:gd name="connsiteY370" fmla="*/ 680839 h 1319334"/>
                <a:gd name="connsiteX371" fmla="*/ 99234 w 574366"/>
                <a:gd name="connsiteY371" fmla="*/ 691401 h 1319334"/>
                <a:gd name="connsiteX372" fmla="*/ 101355 w 574366"/>
                <a:gd name="connsiteY372" fmla="*/ 696743 h 1319334"/>
                <a:gd name="connsiteX373" fmla="*/ 104658 w 574366"/>
                <a:gd name="connsiteY373" fmla="*/ 715819 h 1319334"/>
                <a:gd name="connsiteX374" fmla="*/ 107205 w 574366"/>
                <a:gd name="connsiteY374" fmla="*/ 721665 h 1319334"/>
                <a:gd name="connsiteX375" fmla="*/ 109129 w 574366"/>
                <a:gd name="connsiteY375" fmla="*/ 725945 h 1319334"/>
                <a:gd name="connsiteX376" fmla="*/ 115297 w 574366"/>
                <a:gd name="connsiteY376" fmla="*/ 734111 h 1319334"/>
                <a:gd name="connsiteX377" fmla="*/ 117634 w 574366"/>
                <a:gd name="connsiteY377" fmla="*/ 736857 h 1319334"/>
                <a:gd name="connsiteX378" fmla="*/ 118476 w 574366"/>
                <a:gd name="connsiteY378" fmla="*/ 738102 h 1319334"/>
                <a:gd name="connsiteX379" fmla="*/ 117968 w 574366"/>
                <a:gd name="connsiteY379" fmla="*/ 744710 h 1319334"/>
                <a:gd name="connsiteX380" fmla="*/ 117443 w 574366"/>
                <a:gd name="connsiteY380" fmla="*/ 751529 h 1319334"/>
                <a:gd name="connsiteX381" fmla="*/ 115790 w 574366"/>
                <a:gd name="connsiteY381" fmla="*/ 758131 h 1319334"/>
                <a:gd name="connsiteX382" fmla="*/ 114828 w 574366"/>
                <a:gd name="connsiteY382" fmla="*/ 761193 h 1319334"/>
                <a:gd name="connsiteX383" fmla="*/ 109546 w 574366"/>
                <a:gd name="connsiteY383" fmla="*/ 776818 h 1319334"/>
                <a:gd name="connsiteX384" fmla="*/ 106672 w 574366"/>
                <a:gd name="connsiteY384" fmla="*/ 784765 h 1319334"/>
                <a:gd name="connsiteX385" fmla="*/ 101276 w 574366"/>
                <a:gd name="connsiteY385" fmla="*/ 815911 h 1319334"/>
                <a:gd name="connsiteX386" fmla="*/ 100534 w 574366"/>
                <a:gd name="connsiteY386" fmla="*/ 823510 h 1319334"/>
                <a:gd name="connsiteX387" fmla="*/ 89673 w 574366"/>
                <a:gd name="connsiteY387" fmla="*/ 868412 h 1319334"/>
                <a:gd name="connsiteX388" fmla="*/ 88290 w 574366"/>
                <a:gd name="connsiteY388" fmla="*/ 872830 h 1319334"/>
                <a:gd name="connsiteX389" fmla="*/ 80158 w 574366"/>
                <a:gd name="connsiteY389" fmla="*/ 907762 h 1319334"/>
                <a:gd name="connsiteX390" fmla="*/ 65760 w 574366"/>
                <a:gd name="connsiteY390" fmla="*/ 956874 h 1319334"/>
                <a:gd name="connsiteX391" fmla="*/ 57456 w 574366"/>
                <a:gd name="connsiteY391" fmla="*/ 980382 h 1319334"/>
                <a:gd name="connsiteX392" fmla="*/ 53275 w 574366"/>
                <a:gd name="connsiteY392" fmla="*/ 990131 h 1319334"/>
                <a:gd name="connsiteX393" fmla="*/ 51479 w 574366"/>
                <a:gd name="connsiteY393" fmla="*/ 996616 h 1319334"/>
                <a:gd name="connsiteX394" fmla="*/ 48496 w 574366"/>
                <a:gd name="connsiteY394" fmla="*/ 1008432 h 1319334"/>
                <a:gd name="connsiteX395" fmla="*/ 42923 w 574366"/>
                <a:gd name="connsiteY395" fmla="*/ 1027583 h 1319334"/>
                <a:gd name="connsiteX396" fmla="*/ 40472 w 574366"/>
                <a:gd name="connsiteY396" fmla="*/ 1036956 h 1319334"/>
                <a:gd name="connsiteX397" fmla="*/ 37300 w 574366"/>
                <a:gd name="connsiteY397" fmla="*/ 1047326 h 1319334"/>
                <a:gd name="connsiteX398" fmla="*/ 30571 w 574366"/>
                <a:gd name="connsiteY398" fmla="*/ 1075112 h 1319334"/>
                <a:gd name="connsiteX399" fmla="*/ 23363 w 574366"/>
                <a:gd name="connsiteY399" fmla="*/ 1106779 h 1319334"/>
                <a:gd name="connsiteX400" fmla="*/ 19261 w 574366"/>
                <a:gd name="connsiteY400" fmla="*/ 1121386 h 1319334"/>
                <a:gd name="connsiteX401" fmla="*/ 15451 w 574366"/>
                <a:gd name="connsiteY401" fmla="*/ 1140151 h 1319334"/>
                <a:gd name="connsiteX402" fmla="*/ 14482 w 574366"/>
                <a:gd name="connsiteY402" fmla="*/ 1145482 h 1319334"/>
                <a:gd name="connsiteX403" fmla="*/ 9050 w 574366"/>
                <a:gd name="connsiteY403" fmla="*/ 1161812 h 1319334"/>
                <a:gd name="connsiteX404" fmla="*/ 3019 w 574366"/>
                <a:gd name="connsiteY404" fmla="*/ 1190541 h 1319334"/>
                <a:gd name="connsiteX405" fmla="*/ 1962 w 574366"/>
                <a:gd name="connsiteY405" fmla="*/ 1197627 h 1319334"/>
                <a:gd name="connsiteX406" fmla="*/ 847 w 574366"/>
                <a:gd name="connsiteY406" fmla="*/ 1205042 h 1319334"/>
                <a:gd name="connsiteX407" fmla="*/ 392 w 574366"/>
                <a:gd name="connsiteY407" fmla="*/ 1208991 h 1319334"/>
                <a:gd name="connsiteX408" fmla="*/ 958 w 574366"/>
                <a:gd name="connsiteY408" fmla="*/ 1213430 h 1319334"/>
                <a:gd name="connsiteX409" fmla="*/ 2582 w 574366"/>
                <a:gd name="connsiteY409" fmla="*/ 1214887 h 1319334"/>
                <a:gd name="connsiteX410" fmla="*/ 4168 w 574366"/>
                <a:gd name="connsiteY410" fmla="*/ 1215993 h 1319334"/>
                <a:gd name="connsiteX411" fmla="*/ 6926 w 574366"/>
                <a:gd name="connsiteY411" fmla="*/ 1218935 h 1319334"/>
                <a:gd name="connsiteX412" fmla="*/ 11263 w 574366"/>
                <a:gd name="connsiteY412" fmla="*/ 1225051 h 1319334"/>
                <a:gd name="connsiteX413" fmla="*/ 8303 w 574366"/>
                <a:gd name="connsiteY413" fmla="*/ 1232909 h 1319334"/>
                <a:gd name="connsiteX414" fmla="*/ 7651 w 574366"/>
                <a:gd name="connsiteY414" fmla="*/ 1234965 h 1319334"/>
                <a:gd name="connsiteX415" fmla="*/ 6658 w 574366"/>
                <a:gd name="connsiteY415" fmla="*/ 1237836 h 1319334"/>
                <a:gd name="connsiteX416" fmla="*/ 3225 w 574366"/>
                <a:gd name="connsiteY416" fmla="*/ 1251907 h 1319334"/>
                <a:gd name="connsiteX417" fmla="*/ 3107 w 574366"/>
                <a:gd name="connsiteY417" fmla="*/ 1252752 h 1319334"/>
                <a:gd name="connsiteX418" fmla="*/ 3926 w 574366"/>
                <a:gd name="connsiteY418" fmla="*/ 1266944 h 1319334"/>
                <a:gd name="connsiteX419" fmla="*/ 3566 w 574366"/>
                <a:gd name="connsiteY419" fmla="*/ 1267458 h 1319334"/>
                <a:gd name="connsiteX420" fmla="*/ 2839 w 574366"/>
                <a:gd name="connsiteY420" fmla="*/ 1268360 h 1319334"/>
                <a:gd name="connsiteX421" fmla="*/ 1225 w 574366"/>
                <a:gd name="connsiteY421" fmla="*/ 1271052 h 1319334"/>
                <a:gd name="connsiteX422" fmla="*/ 171 w 574366"/>
                <a:gd name="connsiteY422" fmla="*/ 1276852 h 1319334"/>
                <a:gd name="connsiteX423" fmla="*/ 1990 w 574366"/>
                <a:gd name="connsiteY423" fmla="*/ 1285269 h 1319334"/>
                <a:gd name="connsiteX424" fmla="*/ 11990 w 574366"/>
                <a:gd name="connsiteY424" fmla="*/ 1292546 h 1319334"/>
                <a:gd name="connsiteX425" fmla="*/ 20904 w 574366"/>
                <a:gd name="connsiteY425" fmla="*/ 1295200 h 1319334"/>
                <a:gd name="connsiteX426" fmla="*/ 27182 w 574366"/>
                <a:gd name="connsiteY426" fmla="*/ 1297020 h 1319334"/>
                <a:gd name="connsiteX427" fmla="*/ 35637 w 574366"/>
                <a:gd name="connsiteY427" fmla="*/ 1299401 h 1319334"/>
                <a:gd name="connsiteX428" fmla="*/ 44183 w 574366"/>
                <a:gd name="connsiteY428" fmla="*/ 1301612 h 1319334"/>
                <a:gd name="connsiteX429" fmla="*/ 49414 w 574366"/>
                <a:gd name="connsiteY429" fmla="*/ 1302985 h 1319334"/>
                <a:gd name="connsiteX430" fmla="*/ 61296 w 574366"/>
                <a:gd name="connsiteY430" fmla="*/ 1306224 h 1319334"/>
                <a:gd name="connsiteX431" fmla="*/ 69567 w 574366"/>
                <a:gd name="connsiteY431" fmla="*/ 1308512 h 1319334"/>
                <a:gd name="connsiteX432" fmla="*/ 80726 w 574366"/>
                <a:gd name="connsiteY432" fmla="*/ 1311275 h 1319334"/>
                <a:gd name="connsiteX433" fmla="*/ 82422 w 574366"/>
                <a:gd name="connsiteY433" fmla="*/ 1311676 h 1319334"/>
                <a:gd name="connsiteX434" fmla="*/ 88424 w 574366"/>
                <a:gd name="connsiteY434" fmla="*/ 1313154 h 1319334"/>
                <a:gd name="connsiteX435" fmla="*/ 104095 w 574366"/>
                <a:gd name="connsiteY435" fmla="*/ 1316609 h 1319334"/>
                <a:gd name="connsiteX436" fmla="*/ 130949 w 574366"/>
                <a:gd name="connsiteY436" fmla="*/ 1319276 h 1319334"/>
                <a:gd name="connsiteX437" fmla="*/ 137162 w 574366"/>
                <a:gd name="connsiteY437" fmla="*/ 1319305 h 1319334"/>
                <a:gd name="connsiteX438" fmla="*/ 143882 w 574366"/>
                <a:gd name="connsiteY438" fmla="*/ 1319334 h 1319334"/>
                <a:gd name="connsiteX439" fmla="*/ 160972 w 574366"/>
                <a:gd name="connsiteY439" fmla="*/ 1318825 h 1319334"/>
                <a:gd name="connsiteX440" fmla="*/ 180879 w 574366"/>
                <a:gd name="connsiteY440" fmla="*/ 1314961 h 1319334"/>
                <a:gd name="connsiteX441" fmla="*/ 195329 w 574366"/>
                <a:gd name="connsiteY441" fmla="*/ 1306100 h 1319334"/>
                <a:gd name="connsiteX442" fmla="*/ 195397 w 574366"/>
                <a:gd name="connsiteY442" fmla="*/ 1306027 h 1319334"/>
                <a:gd name="connsiteX443" fmla="*/ 198315 w 574366"/>
                <a:gd name="connsiteY443" fmla="*/ 1301278 h 1319334"/>
                <a:gd name="connsiteX444" fmla="*/ 198363 w 574366"/>
                <a:gd name="connsiteY444" fmla="*/ 1297629 h 1319334"/>
                <a:gd name="connsiteX445" fmla="*/ 197486 w 574366"/>
                <a:gd name="connsiteY445" fmla="*/ 1294457 h 1319334"/>
                <a:gd name="connsiteX446" fmla="*/ 197701 w 574366"/>
                <a:gd name="connsiteY446" fmla="*/ 1293330 h 1319334"/>
                <a:gd name="connsiteX447" fmla="*/ 195876 w 574366"/>
                <a:gd name="connsiteY447" fmla="*/ 1284466 h 1319334"/>
                <a:gd name="connsiteX448" fmla="*/ 185397 w 574366"/>
                <a:gd name="connsiteY448" fmla="*/ 1276815 h 1319334"/>
                <a:gd name="connsiteX449" fmla="*/ 173751 w 574366"/>
                <a:gd name="connsiteY449" fmla="*/ 1273953 h 1319334"/>
                <a:gd name="connsiteX450" fmla="*/ 173160 w 574366"/>
                <a:gd name="connsiteY450" fmla="*/ 1273832 h 1319334"/>
                <a:gd name="connsiteX451" fmla="*/ 170619 w 574366"/>
                <a:gd name="connsiteY451" fmla="*/ 1273350 h 1319334"/>
                <a:gd name="connsiteX452" fmla="*/ 160312 w 574366"/>
                <a:gd name="connsiteY452" fmla="*/ 1270237 h 1319334"/>
                <a:gd name="connsiteX453" fmla="*/ 157384 w 574366"/>
                <a:gd name="connsiteY453" fmla="*/ 1268728 h 1319334"/>
                <a:gd name="connsiteX454" fmla="*/ 152795 w 574366"/>
                <a:gd name="connsiteY454" fmla="*/ 1266086 h 1319334"/>
                <a:gd name="connsiteX455" fmla="*/ 143648 w 574366"/>
                <a:gd name="connsiteY455" fmla="*/ 1260531 h 1319334"/>
                <a:gd name="connsiteX456" fmla="*/ 138331 w 574366"/>
                <a:gd name="connsiteY456" fmla="*/ 1257502 h 1319334"/>
                <a:gd name="connsiteX457" fmla="*/ 129498 w 574366"/>
                <a:gd name="connsiteY457" fmla="*/ 1249520 h 1319334"/>
                <a:gd name="connsiteX458" fmla="*/ 123628 w 574366"/>
                <a:gd name="connsiteY458" fmla="*/ 1242636 h 1319334"/>
                <a:gd name="connsiteX459" fmla="*/ 121266 w 574366"/>
                <a:gd name="connsiteY459" fmla="*/ 1240867 h 1319334"/>
                <a:gd name="connsiteX460" fmla="*/ 117560 w 574366"/>
                <a:gd name="connsiteY460" fmla="*/ 1237810 h 1319334"/>
                <a:gd name="connsiteX461" fmla="*/ 115359 w 574366"/>
                <a:gd name="connsiteY461" fmla="*/ 1235245 h 1319334"/>
                <a:gd name="connsiteX462" fmla="*/ 113443 w 574366"/>
                <a:gd name="connsiteY462" fmla="*/ 1233002 h 1319334"/>
                <a:gd name="connsiteX463" fmla="*/ 113726 w 574366"/>
                <a:gd name="connsiteY463" fmla="*/ 1232765 h 1319334"/>
                <a:gd name="connsiteX464" fmla="*/ 114817 w 574366"/>
                <a:gd name="connsiteY464" fmla="*/ 1231924 h 1319334"/>
                <a:gd name="connsiteX465" fmla="*/ 115714 w 574366"/>
                <a:gd name="connsiteY465" fmla="*/ 1230347 h 1319334"/>
                <a:gd name="connsiteX466" fmla="*/ 115533 w 574366"/>
                <a:gd name="connsiteY466" fmla="*/ 1228684 h 1319334"/>
                <a:gd name="connsiteX467" fmla="*/ 114821 w 574366"/>
                <a:gd name="connsiteY467" fmla="*/ 1225820 h 1319334"/>
                <a:gd name="connsiteX468" fmla="*/ 113377 w 574366"/>
                <a:gd name="connsiteY468" fmla="*/ 1219601 h 1319334"/>
                <a:gd name="connsiteX469" fmla="*/ 113017 w 574366"/>
                <a:gd name="connsiteY469" fmla="*/ 1217771 h 1319334"/>
                <a:gd name="connsiteX470" fmla="*/ 113024 w 574366"/>
                <a:gd name="connsiteY470" fmla="*/ 1208163 h 1319334"/>
                <a:gd name="connsiteX471" fmla="*/ 114440 w 574366"/>
                <a:gd name="connsiteY471" fmla="*/ 1191601 h 1319334"/>
                <a:gd name="connsiteX472" fmla="*/ 124040 w 574366"/>
                <a:gd name="connsiteY472" fmla="*/ 1167085 h 1319334"/>
                <a:gd name="connsiteX473" fmla="*/ 124328 w 574366"/>
                <a:gd name="connsiteY473" fmla="*/ 1162113 h 1319334"/>
                <a:gd name="connsiteX474" fmla="*/ 125667 w 574366"/>
                <a:gd name="connsiteY474" fmla="*/ 1149338 h 1319334"/>
                <a:gd name="connsiteX475" fmla="*/ 131180 w 574366"/>
                <a:gd name="connsiteY475" fmla="*/ 1122759 h 1319334"/>
                <a:gd name="connsiteX476" fmla="*/ 131990 w 574366"/>
                <a:gd name="connsiteY476" fmla="*/ 1118672 h 1319334"/>
                <a:gd name="connsiteX477" fmla="*/ 134309 w 574366"/>
                <a:gd name="connsiteY477" fmla="*/ 1103667 h 1319334"/>
                <a:gd name="connsiteX478" fmla="*/ 139717 w 574366"/>
                <a:gd name="connsiteY478" fmla="*/ 1077095 h 1319334"/>
                <a:gd name="connsiteX479" fmla="*/ 141293 w 574366"/>
                <a:gd name="connsiteY479" fmla="*/ 1073038 h 1319334"/>
                <a:gd name="connsiteX480" fmla="*/ 144432 w 574366"/>
                <a:gd name="connsiteY480" fmla="*/ 1062978 h 1319334"/>
                <a:gd name="connsiteX481" fmla="*/ 144818 w 574366"/>
                <a:gd name="connsiteY481" fmla="*/ 1059361 h 1319334"/>
                <a:gd name="connsiteX482" fmla="*/ 145806 w 574366"/>
                <a:gd name="connsiteY482" fmla="*/ 1052266 h 1319334"/>
                <a:gd name="connsiteX483" fmla="*/ 146115 w 574366"/>
                <a:gd name="connsiteY483" fmla="*/ 1050817 h 1319334"/>
                <a:gd name="connsiteX484" fmla="*/ 148301 w 574366"/>
                <a:gd name="connsiteY484" fmla="*/ 1045045 h 1319334"/>
                <a:gd name="connsiteX485" fmla="*/ 156449 w 574366"/>
                <a:gd name="connsiteY485" fmla="*/ 1037807 h 1319334"/>
                <a:gd name="connsiteX486" fmla="*/ 168102 w 574366"/>
                <a:gd name="connsiteY486" fmla="*/ 1025971 h 1319334"/>
                <a:gd name="connsiteX487" fmla="*/ 172107 w 574366"/>
                <a:gd name="connsiteY487" fmla="*/ 1021352 h 1319334"/>
                <a:gd name="connsiteX488" fmla="*/ 181764 w 574366"/>
                <a:gd name="connsiteY488" fmla="*/ 1000706 h 1319334"/>
                <a:gd name="connsiteX489" fmla="*/ 185456 w 574366"/>
                <a:gd name="connsiteY489" fmla="*/ 987171 h 1319334"/>
                <a:gd name="connsiteX490" fmla="*/ 185557 w 574366"/>
                <a:gd name="connsiteY490" fmla="*/ 986894 h 1319334"/>
                <a:gd name="connsiteX491" fmla="*/ 187331 w 574366"/>
                <a:gd name="connsiteY491" fmla="*/ 981689 h 1319334"/>
                <a:gd name="connsiteX492" fmla="*/ 190317 w 574366"/>
                <a:gd name="connsiteY492" fmla="*/ 973322 h 1319334"/>
                <a:gd name="connsiteX493" fmla="*/ 199235 w 574366"/>
                <a:gd name="connsiteY493" fmla="*/ 937450 h 1319334"/>
                <a:gd name="connsiteX494" fmla="*/ 203192 w 574366"/>
                <a:gd name="connsiteY494" fmla="*/ 919445 h 1319334"/>
                <a:gd name="connsiteX495" fmla="*/ 206245 w 574366"/>
                <a:gd name="connsiteY495" fmla="*/ 909840 h 1319334"/>
                <a:gd name="connsiteX496" fmla="*/ 209879 w 574366"/>
                <a:gd name="connsiteY496" fmla="*/ 895808 h 1319334"/>
                <a:gd name="connsiteX497" fmla="*/ 213227 w 574366"/>
                <a:gd name="connsiteY497" fmla="*/ 882864 h 1319334"/>
                <a:gd name="connsiteX498" fmla="*/ 213667 w 574366"/>
                <a:gd name="connsiteY498" fmla="*/ 883808 h 1319334"/>
                <a:gd name="connsiteX499" fmla="*/ 228252 w 574366"/>
                <a:gd name="connsiteY499" fmla="*/ 915851 h 1319334"/>
                <a:gd name="connsiteX500" fmla="*/ 241848 w 574366"/>
                <a:gd name="connsiteY500" fmla="*/ 947366 h 1319334"/>
                <a:gd name="connsiteX501" fmla="*/ 245071 w 574366"/>
                <a:gd name="connsiteY501" fmla="*/ 952949 h 1319334"/>
                <a:gd name="connsiteX502" fmla="*/ 246101 w 574366"/>
                <a:gd name="connsiteY502" fmla="*/ 954503 h 1319334"/>
                <a:gd name="connsiteX503" fmla="*/ 249326 w 574366"/>
                <a:gd name="connsiteY503" fmla="*/ 960501 h 1319334"/>
                <a:gd name="connsiteX504" fmla="*/ 250997 w 574366"/>
                <a:gd name="connsiteY504" fmla="*/ 963827 h 1319334"/>
                <a:gd name="connsiteX505" fmla="*/ 253223 w 574366"/>
                <a:gd name="connsiteY505" fmla="*/ 967993 h 1319334"/>
                <a:gd name="connsiteX506" fmla="*/ 269233 w 574366"/>
                <a:gd name="connsiteY506" fmla="*/ 1001646 h 1319334"/>
                <a:gd name="connsiteX507" fmla="*/ 271204 w 574366"/>
                <a:gd name="connsiteY507" fmla="*/ 1007454 h 1319334"/>
                <a:gd name="connsiteX508" fmla="*/ 275973 w 574366"/>
                <a:gd name="connsiteY508" fmla="*/ 1019951 h 1319334"/>
                <a:gd name="connsiteX509" fmla="*/ 279120 w 574366"/>
                <a:gd name="connsiteY509" fmla="*/ 1026377 h 1319334"/>
                <a:gd name="connsiteX510" fmla="*/ 281665 w 574366"/>
                <a:gd name="connsiteY510" fmla="*/ 1031598 h 1319334"/>
                <a:gd name="connsiteX511" fmla="*/ 288683 w 574366"/>
                <a:gd name="connsiteY511" fmla="*/ 1045138 h 1319334"/>
                <a:gd name="connsiteX512" fmla="*/ 300599 w 574366"/>
                <a:gd name="connsiteY512" fmla="*/ 1069146 h 1319334"/>
                <a:gd name="connsiteX513" fmla="*/ 302827 w 574366"/>
                <a:gd name="connsiteY513" fmla="*/ 1074378 h 1319334"/>
                <a:gd name="connsiteX514" fmla="*/ 324221 w 574366"/>
                <a:gd name="connsiteY514" fmla="*/ 1113931 h 1319334"/>
                <a:gd name="connsiteX515" fmla="*/ 334391 w 574366"/>
                <a:gd name="connsiteY515" fmla="*/ 1132070 h 1319334"/>
                <a:gd name="connsiteX516" fmla="*/ 338902 w 574366"/>
                <a:gd name="connsiteY516" fmla="*/ 1143514 h 1319334"/>
                <a:gd name="connsiteX517" fmla="*/ 344413 w 574366"/>
                <a:gd name="connsiteY517" fmla="*/ 1157827 h 1319334"/>
                <a:gd name="connsiteX518" fmla="*/ 357599 w 574366"/>
                <a:gd name="connsiteY518" fmla="*/ 1183088 h 1319334"/>
                <a:gd name="connsiteX519" fmla="*/ 357842 w 574366"/>
                <a:gd name="connsiteY519" fmla="*/ 1183422 h 1319334"/>
                <a:gd name="connsiteX520" fmla="*/ 361482 w 574366"/>
                <a:gd name="connsiteY520" fmla="*/ 1191866 h 1319334"/>
                <a:gd name="connsiteX521" fmla="*/ 362344 w 574366"/>
                <a:gd name="connsiteY521" fmla="*/ 1202369 h 1319334"/>
                <a:gd name="connsiteX522" fmla="*/ 367686 w 574366"/>
                <a:gd name="connsiteY522" fmla="*/ 1211173 h 1319334"/>
                <a:gd name="connsiteX523" fmla="*/ 368392 w 574366"/>
                <a:gd name="connsiteY523" fmla="*/ 1212195 h 1319334"/>
                <a:gd name="connsiteX524" fmla="*/ 369471 w 574366"/>
                <a:gd name="connsiteY524" fmla="*/ 1213792 h 1319334"/>
                <a:gd name="connsiteX525" fmla="*/ 370499 w 574366"/>
                <a:gd name="connsiteY525" fmla="*/ 1215311 h 1319334"/>
                <a:gd name="connsiteX526" fmla="*/ 370887 w 574366"/>
                <a:gd name="connsiteY526" fmla="*/ 1219761 h 1319334"/>
                <a:gd name="connsiteX527" fmla="*/ 371113 w 574366"/>
                <a:gd name="connsiteY527" fmla="*/ 1225817 h 1319334"/>
                <a:gd name="connsiteX528" fmla="*/ 373509 w 574366"/>
                <a:gd name="connsiteY528" fmla="*/ 1231611 h 1319334"/>
                <a:gd name="connsiteX529" fmla="*/ 374278 w 574366"/>
                <a:gd name="connsiteY529" fmla="*/ 1231697 h 1319334"/>
                <a:gd name="connsiteX530" fmla="*/ 374576 w 574366"/>
                <a:gd name="connsiteY530" fmla="*/ 1231717 h 1319334"/>
                <a:gd name="connsiteX531" fmla="*/ 374497 w 574366"/>
                <a:gd name="connsiteY531" fmla="*/ 1237764 h 1319334"/>
                <a:gd name="connsiteX532" fmla="*/ 374421 w 574366"/>
                <a:gd name="connsiteY532" fmla="*/ 1244240 h 1319334"/>
                <a:gd name="connsiteX533" fmla="*/ 374431 w 574366"/>
                <a:gd name="connsiteY533" fmla="*/ 1245356 h 1319334"/>
                <a:gd name="connsiteX534" fmla="*/ 374691 w 574366"/>
                <a:gd name="connsiteY534" fmla="*/ 1254654 h 1319334"/>
                <a:gd name="connsiteX535" fmla="*/ 374891 w 574366"/>
                <a:gd name="connsiteY535" fmla="*/ 1257446 h 1319334"/>
                <a:gd name="connsiteX536" fmla="*/ 375243 w 574366"/>
                <a:gd name="connsiteY536" fmla="*/ 1262927 h 1319334"/>
                <a:gd name="connsiteX537" fmla="*/ 382438 w 574366"/>
                <a:gd name="connsiteY537" fmla="*/ 1281537 h 1319334"/>
                <a:gd name="connsiteX538" fmla="*/ 381520 w 574366"/>
                <a:gd name="connsiteY538" fmla="*/ 1285536 h 1319334"/>
                <a:gd name="connsiteX539" fmla="*/ 382012 w 574366"/>
                <a:gd name="connsiteY539" fmla="*/ 1287458 h 1319334"/>
                <a:gd name="connsiteX540" fmla="*/ 382751 w 574366"/>
                <a:gd name="connsiteY540" fmla="*/ 1290897 h 1319334"/>
                <a:gd name="connsiteX541" fmla="*/ 383277 w 574366"/>
                <a:gd name="connsiteY541" fmla="*/ 1293539 h 1319334"/>
                <a:gd name="connsiteX542" fmla="*/ 383441 w 574366"/>
                <a:gd name="connsiteY542" fmla="*/ 1294200 h 1319334"/>
                <a:gd name="connsiteX543" fmla="*/ 384463 w 574366"/>
                <a:gd name="connsiteY543" fmla="*/ 1297256 h 1319334"/>
                <a:gd name="connsiteX544" fmla="*/ 386959 w 574366"/>
                <a:gd name="connsiteY544" fmla="*/ 1299570 h 1319334"/>
                <a:gd name="connsiteX545" fmla="*/ 389428 w 574366"/>
                <a:gd name="connsiteY545" fmla="*/ 1299792 h 1319334"/>
                <a:gd name="connsiteX546" fmla="*/ 395062 w 574366"/>
                <a:gd name="connsiteY546" fmla="*/ 1299037 h 1319334"/>
                <a:gd name="connsiteX547" fmla="*/ 406295 w 574366"/>
                <a:gd name="connsiteY547" fmla="*/ 1297060 h 1319334"/>
                <a:gd name="connsiteX548" fmla="*/ 412560 w 574366"/>
                <a:gd name="connsiteY548" fmla="*/ 1295319 h 1319334"/>
                <a:gd name="connsiteX549" fmla="*/ 426995 w 574366"/>
                <a:gd name="connsiteY549" fmla="*/ 1290770 h 1319334"/>
                <a:gd name="connsiteX550" fmla="*/ 444467 w 574366"/>
                <a:gd name="connsiteY550" fmla="*/ 1283799 h 1319334"/>
                <a:gd name="connsiteX551" fmla="*/ 453758 w 574366"/>
                <a:gd name="connsiteY551" fmla="*/ 1280033 h 1319334"/>
                <a:gd name="connsiteX552" fmla="*/ 467397 w 574366"/>
                <a:gd name="connsiteY552" fmla="*/ 1274736 h 1319334"/>
                <a:gd name="connsiteX553" fmla="*/ 512486 w 574366"/>
                <a:gd name="connsiteY553" fmla="*/ 1257059 h 1319334"/>
                <a:gd name="connsiteX554" fmla="*/ 518035 w 574366"/>
                <a:gd name="connsiteY554" fmla="*/ 1254304 h 1319334"/>
                <a:gd name="connsiteX555" fmla="*/ 532275 w 574366"/>
                <a:gd name="connsiteY555" fmla="*/ 1246856 h 1319334"/>
                <a:gd name="connsiteX556" fmla="*/ 538998 w 574366"/>
                <a:gd name="connsiteY556" fmla="*/ 1242935 h 1319334"/>
                <a:gd name="connsiteX557" fmla="*/ 547120 w 574366"/>
                <a:gd name="connsiteY557" fmla="*/ 1238188 h 1319334"/>
                <a:gd name="connsiteX558" fmla="*/ 563860 w 574366"/>
                <a:gd name="connsiteY558" fmla="*/ 1226889 h 1319334"/>
                <a:gd name="connsiteX559" fmla="*/ 567142 w 574366"/>
                <a:gd name="connsiteY559" fmla="*/ 1224197 h 1319334"/>
                <a:gd name="connsiteX560" fmla="*/ 572304 w 574366"/>
                <a:gd name="connsiteY560" fmla="*/ 1220220 h 1319334"/>
                <a:gd name="connsiteX561" fmla="*/ 574197 w 574366"/>
                <a:gd name="connsiteY561" fmla="*/ 1217720 h 1319334"/>
                <a:gd name="connsiteX562" fmla="*/ 573740 w 574366"/>
                <a:gd name="connsiteY562" fmla="*/ 1214469 h 1319334"/>
                <a:gd name="connsiteX563" fmla="*/ 573457 w 574366"/>
                <a:gd name="connsiteY563" fmla="*/ 1214117 h 131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Lst>
              <a:rect l="l" t="t" r="r" b="b"/>
              <a:pathLst>
                <a:path w="574366" h="1319334">
                  <a:moveTo>
                    <a:pt x="573457" y="1214117"/>
                  </a:moveTo>
                  <a:cubicBezTo>
                    <a:pt x="572948" y="1213480"/>
                    <a:pt x="572423" y="1212821"/>
                    <a:pt x="571889" y="1212245"/>
                  </a:cubicBezTo>
                  <a:cubicBezTo>
                    <a:pt x="571239" y="1211539"/>
                    <a:pt x="570212" y="1211073"/>
                    <a:pt x="569076" y="1210998"/>
                  </a:cubicBezTo>
                  <a:cubicBezTo>
                    <a:pt x="568858" y="1211016"/>
                    <a:pt x="568625" y="1211027"/>
                    <a:pt x="568393" y="1211037"/>
                  </a:cubicBezTo>
                  <a:cubicBezTo>
                    <a:pt x="568297" y="1211042"/>
                    <a:pt x="568201" y="1211046"/>
                    <a:pt x="568106" y="1211051"/>
                  </a:cubicBezTo>
                  <a:cubicBezTo>
                    <a:pt x="568102" y="1210949"/>
                    <a:pt x="568099" y="1210848"/>
                    <a:pt x="568095" y="1210748"/>
                  </a:cubicBezTo>
                  <a:cubicBezTo>
                    <a:pt x="568088" y="1210501"/>
                    <a:pt x="568079" y="1210254"/>
                    <a:pt x="568052" y="1210000"/>
                  </a:cubicBezTo>
                  <a:cubicBezTo>
                    <a:pt x="567707" y="1206724"/>
                    <a:pt x="566026" y="1203765"/>
                    <a:pt x="563556" y="1202086"/>
                  </a:cubicBezTo>
                  <a:cubicBezTo>
                    <a:pt x="561345" y="1200583"/>
                    <a:pt x="558664" y="1199754"/>
                    <a:pt x="556005" y="1199752"/>
                  </a:cubicBezTo>
                  <a:lnTo>
                    <a:pt x="554730" y="1199753"/>
                  </a:lnTo>
                  <a:cubicBezTo>
                    <a:pt x="548563" y="1199755"/>
                    <a:pt x="542184" y="1199757"/>
                    <a:pt x="536768" y="1202557"/>
                  </a:cubicBezTo>
                  <a:cubicBezTo>
                    <a:pt x="535440" y="1203244"/>
                    <a:pt x="534064" y="1203899"/>
                    <a:pt x="532733" y="1204531"/>
                  </a:cubicBezTo>
                  <a:cubicBezTo>
                    <a:pt x="529569" y="1206036"/>
                    <a:pt x="526296" y="1207593"/>
                    <a:pt x="523401" y="1209710"/>
                  </a:cubicBezTo>
                  <a:cubicBezTo>
                    <a:pt x="521577" y="1211043"/>
                    <a:pt x="519268" y="1211608"/>
                    <a:pt x="517508" y="1211149"/>
                  </a:cubicBezTo>
                  <a:cubicBezTo>
                    <a:pt x="514207" y="1210286"/>
                    <a:pt x="510681" y="1210952"/>
                    <a:pt x="507355" y="1211706"/>
                  </a:cubicBezTo>
                  <a:cubicBezTo>
                    <a:pt x="507052" y="1211775"/>
                    <a:pt x="506799" y="1211794"/>
                    <a:pt x="506531" y="1211814"/>
                  </a:cubicBezTo>
                  <a:cubicBezTo>
                    <a:pt x="506260" y="1211834"/>
                    <a:pt x="505980" y="1211855"/>
                    <a:pt x="505644" y="1211927"/>
                  </a:cubicBezTo>
                  <a:cubicBezTo>
                    <a:pt x="501451" y="1211670"/>
                    <a:pt x="497593" y="1210134"/>
                    <a:pt x="494047" y="1208512"/>
                  </a:cubicBezTo>
                  <a:cubicBezTo>
                    <a:pt x="492485" y="1207797"/>
                    <a:pt x="490836" y="1207142"/>
                    <a:pt x="489242" y="1206510"/>
                  </a:cubicBezTo>
                  <a:cubicBezTo>
                    <a:pt x="486137" y="1205276"/>
                    <a:pt x="482926" y="1204001"/>
                    <a:pt x="480159" y="1202209"/>
                  </a:cubicBezTo>
                  <a:cubicBezTo>
                    <a:pt x="476421" y="1199788"/>
                    <a:pt x="473120" y="1197968"/>
                    <a:pt x="469164" y="1196952"/>
                  </a:cubicBezTo>
                  <a:cubicBezTo>
                    <a:pt x="467862" y="1196618"/>
                    <a:pt x="466559" y="1196294"/>
                    <a:pt x="465257" y="1195969"/>
                  </a:cubicBezTo>
                  <a:cubicBezTo>
                    <a:pt x="464112" y="1195684"/>
                    <a:pt x="462969" y="1195398"/>
                    <a:pt x="461823" y="1195106"/>
                  </a:cubicBezTo>
                  <a:cubicBezTo>
                    <a:pt x="462031" y="1193654"/>
                    <a:pt x="461785" y="1192137"/>
                    <a:pt x="461155" y="1191062"/>
                  </a:cubicBezTo>
                  <a:lnTo>
                    <a:pt x="460484" y="1189906"/>
                  </a:lnTo>
                  <a:cubicBezTo>
                    <a:pt x="459560" y="1188310"/>
                    <a:pt x="458605" y="1186660"/>
                    <a:pt x="457509" y="1185101"/>
                  </a:cubicBezTo>
                  <a:cubicBezTo>
                    <a:pt x="456753" y="1184026"/>
                    <a:pt x="455996" y="1182912"/>
                    <a:pt x="455237" y="1181795"/>
                  </a:cubicBezTo>
                  <a:cubicBezTo>
                    <a:pt x="454318" y="1180443"/>
                    <a:pt x="453397" y="1179088"/>
                    <a:pt x="452475" y="1177796"/>
                  </a:cubicBezTo>
                  <a:cubicBezTo>
                    <a:pt x="451070" y="1175827"/>
                    <a:pt x="449923" y="1174125"/>
                    <a:pt x="448891" y="1172215"/>
                  </a:cubicBezTo>
                  <a:lnTo>
                    <a:pt x="448468" y="1171438"/>
                  </a:lnTo>
                  <a:cubicBezTo>
                    <a:pt x="446963" y="1168678"/>
                    <a:pt x="445406" y="1165825"/>
                    <a:pt x="445266" y="1162833"/>
                  </a:cubicBezTo>
                  <a:cubicBezTo>
                    <a:pt x="445157" y="1160528"/>
                    <a:pt x="445189" y="1158400"/>
                    <a:pt x="445220" y="1156149"/>
                  </a:cubicBezTo>
                  <a:lnTo>
                    <a:pt x="445240" y="1154555"/>
                  </a:lnTo>
                  <a:cubicBezTo>
                    <a:pt x="445274" y="1151525"/>
                    <a:pt x="444280" y="1148577"/>
                    <a:pt x="443320" y="1145725"/>
                  </a:cubicBezTo>
                  <a:cubicBezTo>
                    <a:pt x="443009" y="1144805"/>
                    <a:pt x="442702" y="1143889"/>
                    <a:pt x="442427" y="1142973"/>
                  </a:cubicBezTo>
                  <a:cubicBezTo>
                    <a:pt x="441896" y="1141192"/>
                    <a:pt x="441373" y="1139376"/>
                    <a:pt x="440848" y="1137551"/>
                  </a:cubicBezTo>
                  <a:cubicBezTo>
                    <a:pt x="439752" y="1133741"/>
                    <a:pt x="438619" y="1129801"/>
                    <a:pt x="437362" y="1126081"/>
                  </a:cubicBezTo>
                  <a:cubicBezTo>
                    <a:pt x="436693" y="1124100"/>
                    <a:pt x="436007" y="1122175"/>
                    <a:pt x="435324" y="1120259"/>
                  </a:cubicBezTo>
                  <a:cubicBezTo>
                    <a:pt x="434381" y="1117613"/>
                    <a:pt x="433406" y="1114878"/>
                    <a:pt x="432512" y="1112076"/>
                  </a:cubicBezTo>
                  <a:cubicBezTo>
                    <a:pt x="431661" y="1109414"/>
                    <a:pt x="430825" y="1106748"/>
                    <a:pt x="429989" y="1104083"/>
                  </a:cubicBezTo>
                  <a:cubicBezTo>
                    <a:pt x="427283" y="1095455"/>
                    <a:pt x="424486" y="1086534"/>
                    <a:pt x="421231" y="1077917"/>
                  </a:cubicBezTo>
                  <a:cubicBezTo>
                    <a:pt x="419979" y="1074603"/>
                    <a:pt x="418861" y="1071154"/>
                    <a:pt x="417781" y="1067818"/>
                  </a:cubicBezTo>
                  <a:cubicBezTo>
                    <a:pt x="415570" y="1060994"/>
                    <a:pt x="413284" y="1053939"/>
                    <a:pt x="409715" y="1047599"/>
                  </a:cubicBezTo>
                  <a:cubicBezTo>
                    <a:pt x="405842" y="1040722"/>
                    <a:pt x="401417" y="1032444"/>
                    <a:pt x="397969" y="1023200"/>
                  </a:cubicBezTo>
                  <a:cubicBezTo>
                    <a:pt x="394232" y="1013183"/>
                    <a:pt x="390368" y="1002825"/>
                    <a:pt x="386326" y="992550"/>
                  </a:cubicBezTo>
                  <a:lnTo>
                    <a:pt x="380060" y="976615"/>
                  </a:lnTo>
                  <a:lnTo>
                    <a:pt x="379758" y="976585"/>
                  </a:lnTo>
                  <a:cubicBezTo>
                    <a:pt x="379007" y="974454"/>
                    <a:pt x="378140" y="972374"/>
                    <a:pt x="377299" y="970360"/>
                  </a:cubicBezTo>
                  <a:cubicBezTo>
                    <a:pt x="375632" y="966360"/>
                    <a:pt x="374056" y="962583"/>
                    <a:pt x="373276" y="958362"/>
                  </a:cubicBezTo>
                  <a:cubicBezTo>
                    <a:pt x="372766" y="955602"/>
                    <a:pt x="371944" y="952558"/>
                    <a:pt x="369720" y="950926"/>
                  </a:cubicBezTo>
                  <a:cubicBezTo>
                    <a:pt x="368753" y="950217"/>
                    <a:pt x="366563" y="948395"/>
                    <a:pt x="367104" y="946802"/>
                  </a:cubicBezTo>
                  <a:cubicBezTo>
                    <a:pt x="367239" y="946406"/>
                    <a:pt x="367329" y="946006"/>
                    <a:pt x="367415" y="945619"/>
                  </a:cubicBezTo>
                  <a:cubicBezTo>
                    <a:pt x="367576" y="944896"/>
                    <a:pt x="367728" y="944214"/>
                    <a:pt x="368154" y="943670"/>
                  </a:cubicBezTo>
                  <a:cubicBezTo>
                    <a:pt x="369934" y="941390"/>
                    <a:pt x="370916" y="938692"/>
                    <a:pt x="370848" y="936266"/>
                  </a:cubicBezTo>
                  <a:cubicBezTo>
                    <a:pt x="370809" y="934885"/>
                    <a:pt x="370724" y="933416"/>
                    <a:pt x="370641" y="931994"/>
                  </a:cubicBezTo>
                  <a:cubicBezTo>
                    <a:pt x="370598" y="931245"/>
                    <a:pt x="370555" y="930501"/>
                    <a:pt x="370519" y="929782"/>
                  </a:cubicBezTo>
                  <a:cubicBezTo>
                    <a:pt x="370049" y="920287"/>
                    <a:pt x="365732" y="911511"/>
                    <a:pt x="361557" y="903023"/>
                  </a:cubicBezTo>
                  <a:cubicBezTo>
                    <a:pt x="359962" y="899782"/>
                    <a:pt x="358313" y="896430"/>
                    <a:pt x="356912" y="893099"/>
                  </a:cubicBezTo>
                  <a:cubicBezTo>
                    <a:pt x="356532" y="892196"/>
                    <a:pt x="356122" y="891307"/>
                    <a:pt x="355713" y="890419"/>
                  </a:cubicBezTo>
                  <a:cubicBezTo>
                    <a:pt x="354814" y="888467"/>
                    <a:pt x="353883" y="886448"/>
                    <a:pt x="353328" y="884340"/>
                  </a:cubicBezTo>
                  <a:cubicBezTo>
                    <a:pt x="353037" y="883235"/>
                    <a:pt x="352820" y="882062"/>
                    <a:pt x="352611" y="880929"/>
                  </a:cubicBezTo>
                  <a:cubicBezTo>
                    <a:pt x="352163" y="878506"/>
                    <a:pt x="351700" y="876001"/>
                    <a:pt x="350474" y="873834"/>
                  </a:cubicBezTo>
                  <a:cubicBezTo>
                    <a:pt x="347297" y="868223"/>
                    <a:pt x="343230" y="862596"/>
                    <a:pt x="339010" y="857970"/>
                  </a:cubicBezTo>
                  <a:cubicBezTo>
                    <a:pt x="339488" y="851609"/>
                    <a:pt x="337732" y="844844"/>
                    <a:pt x="334054" y="838884"/>
                  </a:cubicBezTo>
                  <a:cubicBezTo>
                    <a:pt x="334675" y="832692"/>
                    <a:pt x="334970" y="824827"/>
                    <a:pt x="331872" y="818588"/>
                  </a:cubicBezTo>
                  <a:cubicBezTo>
                    <a:pt x="329739" y="814295"/>
                    <a:pt x="329589" y="809432"/>
                    <a:pt x="329443" y="804729"/>
                  </a:cubicBezTo>
                  <a:cubicBezTo>
                    <a:pt x="329313" y="800527"/>
                    <a:pt x="329178" y="796182"/>
                    <a:pt x="327664" y="792148"/>
                  </a:cubicBezTo>
                  <a:cubicBezTo>
                    <a:pt x="327186" y="790873"/>
                    <a:pt x="326611" y="789572"/>
                    <a:pt x="326056" y="788315"/>
                  </a:cubicBezTo>
                  <a:cubicBezTo>
                    <a:pt x="325147" y="786257"/>
                    <a:pt x="324207" y="784129"/>
                    <a:pt x="323643" y="782020"/>
                  </a:cubicBezTo>
                  <a:cubicBezTo>
                    <a:pt x="321729" y="774849"/>
                    <a:pt x="321436" y="767281"/>
                    <a:pt x="322818" y="760710"/>
                  </a:cubicBezTo>
                  <a:cubicBezTo>
                    <a:pt x="323743" y="756311"/>
                    <a:pt x="323694" y="751625"/>
                    <a:pt x="323647" y="747093"/>
                  </a:cubicBezTo>
                  <a:lnTo>
                    <a:pt x="323642" y="746602"/>
                  </a:lnTo>
                  <a:cubicBezTo>
                    <a:pt x="323550" y="737654"/>
                    <a:pt x="321844" y="730638"/>
                    <a:pt x="318426" y="725152"/>
                  </a:cubicBezTo>
                  <a:lnTo>
                    <a:pt x="317932" y="724362"/>
                  </a:lnTo>
                  <a:cubicBezTo>
                    <a:pt x="314928" y="719559"/>
                    <a:pt x="311524" y="714115"/>
                    <a:pt x="311569" y="708529"/>
                  </a:cubicBezTo>
                  <a:cubicBezTo>
                    <a:pt x="311615" y="702777"/>
                    <a:pt x="310387" y="697485"/>
                    <a:pt x="308115" y="693625"/>
                  </a:cubicBezTo>
                  <a:cubicBezTo>
                    <a:pt x="306342" y="690613"/>
                    <a:pt x="305733" y="687303"/>
                    <a:pt x="306403" y="684305"/>
                  </a:cubicBezTo>
                  <a:cubicBezTo>
                    <a:pt x="307666" y="678647"/>
                    <a:pt x="308095" y="672604"/>
                    <a:pt x="307709" y="665851"/>
                  </a:cubicBezTo>
                  <a:cubicBezTo>
                    <a:pt x="308442" y="666057"/>
                    <a:pt x="309200" y="666226"/>
                    <a:pt x="309939" y="666390"/>
                  </a:cubicBezTo>
                  <a:cubicBezTo>
                    <a:pt x="311595" y="666759"/>
                    <a:pt x="313307" y="667139"/>
                    <a:pt x="314714" y="667940"/>
                  </a:cubicBezTo>
                  <a:cubicBezTo>
                    <a:pt x="315011" y="668109"/>
                    <a:pt x="315314" y="668274"/>
                    <a:pt x="315616" y="668441"/>
                  </a:cubicBezTo>
                  <a:cubicBezTo>
                    <a:pt x="316481" y="668915"/>
                    <a:pt x="317377" y="669405"/>
                    <a:pt x="318154" y="669989"/>
                  </a:cubicBezTo>
                  <a:cubicBezTo>
                    <a:pt x="318600" y="670326"/>
                    <a:pt x="319059" y="670681"/>
                    <a:pt x="319519" y="671039"/>
                  </a:cubicBezTo>
                  <a:cubicBezTo>
                    <a:pt x="320263" y="671616"/>
                    <a:pt x="321016" y="672201"/>
                    <a:pt x="321750" y="672727"/>
                  </a:cubicBezTo>
                  <a:cubicBezTo>
                    <a:pt x="325563" y="675461"/>
                    <a:pt x="329824" y="677312"/>
                    <a:pt x="334411" y="678229"/>
                  </a:cubicBezTo>
                  <a:cubicBezTo>
                    <a:pt x="335505" y="679998"/>
                    <a:pt x="336832" y="681499"/>
                    <a:pt x="338358" y="682693"/>
                  </a:cubicBezTo>
                  <a:cubicBezTo>
                    <a:pt x="339679" y="683727"/>
                    <a:pt x="341001" y="684839"/>
                    <a:pt x="342279" y="685915"/>
                  </a:cubicBezTo>
                  <a:cubicBezTo>
                    <a:pt x="344835" y="688065"/>
                    <a:pt x="347478" y="690288"/>
                    <a:pt x="350328" y="692076"/>
                  </a:cubicBezTo>
                  <a:cubicBezTo>
                    <a:pt x="354174" y="694488"/>
                    <a:pt x="357197" y="698205"/>
                    <a:pt x="359401" y="701174"/>
                  </a:cubicBezTo>
                  <a:cubicBezTo>
                    <a:pt x="359896" y="701843"/>
                    <a:pt x="360501" y="702421"/>
                    <a:pt x="361197" y="702890"/>
                  </a:cubicBezTo>
                  <a:cubicBezTo>
                    <a:pt x="361457" y="703064"/>
                    <a:pt x="361772" y="703253"/>
                    <a:pt x="362145" y="703325"/>
                  </a:cubicBezTo>
                  <a:cubicBezTo>
                    <a:pt x="362514" y="703394"/>
                    <a:pt x="363070" y="703325"/>
                    <a:pt x="363417" y="703010"/>
                  </a:cubicBezTo>
                  <a:cubicBezTo>
                    <a:pt x="363567" y="702873"/>
                    <a:pt x="363732" y="702727"/>
                    <a:pt x="363897" y="702581"/>
                  </a:cubicBezTo>
                  <a:cubicBezTo>
                    <a:pt x="363977" y="702512"/>
                    <a:pt x="364056" y="702441"/>
                    <a:pt x="364134" y="702372"/>
                  </a:cubicBezTo>
                  <a:cubicBezTo>
                    <a:pt x="364662" y="702836"/>
                    <a:pt x="365147" y="703373"/>
                    <a:pt x="365618" y="703896"/>
                  </a:cubicBezTo>
                  <a:cubicBezTo>
                    <a:pt x="365863" y="704169"/>
                    <a:pt x="366108" y="704441"/>
                    <a:pt x="366360" y="704705"/>
                  </a:cubicBezTo>
                  <a:cubicBezTo>
                    <a:pt x="366728" y="705090"/>
                    <a:pt x="367103" y="705472"/>
                    <a:pt x="367478" y="705855"/>
                  </a:cubicBezTo>
                  <a:cubicBezTo>
                    <a:pt x="369281" y="707699"/>
                    <a:pt x="371146" y="709606"/>
                    <a:pt x="372366" y="711895"/>
                  </a:cubicBezTo>
                  <a:cubicBezTo>
                    <a:pt x="373172" y="713406"/>
                    <a:pt x="373946" y="714898"/>
                    <a:pt x="374553" y="716538"/>
                  </a:cubicBezTo>
                  <a:cubicBezTo>
                    <a:pt x="376483" y="721747"/>
                    <a:pt x="379848" y="726237"/>
                    <a:pt x="383419" y="730757"/>
                  </a:cubicBezTo>
                  <a:cubicBezTo>
                    <a:pt x="388864" y="737649"/>
                    <a:pt x="394494" y="744775"/>
                    <a:pt x="401318" y="750793"/>
                  </a:cubicBezTo>
                  <a:cubicBezTo>
                    <a:pt x="403673" y="752869"/>
                    <a:pt x="405783" y="755091"/>
                    <a:pt x="407589" y="757395"/>
                  </a:cubicBezTo>
                  <a:cubicBezTo>
                    <a:pt x="408724" y="758844"/>
                    <a:pt x="409907" y="760339"/>
                    <a:pt x="411057" y="761775"/>
                  </a:cubicBezTo>
                  <a:cubicBezTo>
                    <a:pt x="411473" y="762294"/>
                    <a:pt x="411864" y="762824"/>
                    <a:pt x="412252" y="763351"/>
                  </a:cubicBezTo>
                  <a:cubicBezTo>
                    <a:pt x="413049" y="764432"/>
                    <a:pt x="413873" y="765550"/>
                    <a:pt x="414886" y="766529"/>
                  </a:cubicBezTo>
                  <a:cubicBezTo>
                    <a:pt x="415981" y="767584"/>
                    <a:pt x="417750" y="768935"/>
                    <a:pt x="419956" y="769375"/>
                  </a:cubicBezTo>
                  <a:cubicBezTo>
                    <a:pt x="422126" y="769808"/>
                    <a:pt x="424322" y="769484"/>
                    <a:pt x="426138" y="768460"/>
                  </a:cubicBezTo>
                  <a:cubicBezTo>
                    <a:pt x="427048" y="767946"/>
                    <a:pt x="428153" y="766951"/>
                    <a:pt x="428520" y="765698"/>
                  </a:cubicBezTo>
                  <a:cubicBezTo>
                    <a:pt x="428766" y="764860"/>
                    <a:pt x="428865" y="763927"/>
                    <a:pt x="428817" y="762973"/>
                  </a:cubicBezTo>
                  <a:cubicBezTo>
                    <a:pt x="428999" y="763225"/>
                    <a:pt x="429180" y="763476"/>
                    <a:pt x="429357" y="763726"/>
                  </a:cubicBezTo>
                  <a:cubicBezTo>
                    <a:pt x="430346" y="765116"/>
                    <a:pt x="431368" y="766553"/>
                    <a:pt x="432703" y="767667"/>
                  </a:cubicBezTo>
                  <a:cubicBezTo>
                    <a:pt x="434004" y="768754"/>
                    <a:pt x="435129" y="769433"/>
                    <a:pt x="436240" y="769804"/>
                  </a:cubicBezTo>
                  <a:cubicBezTo>
                    <a:pt x="438363" y="770511"/>
                    <a:pt x="440554" y="770644"/>
                    <a:pt x="442757" y="770197"/>
                  </a:cubicBezTo>
                  <a:cubicBezTo>
                    <a:pt x="444303" y="769883"/>
                    <a:pt x="445817" y="769061"/>
                    <a:pt x="446909" y="767942"/>
                  </a:cubicBezTo>
                  <a:cubicBezTo>
                    <a:pt x="447764" y="767065"/>
                    <a:pt x="448437" y="765969"/>
                    <a:pt x="448798" y="764875"/>
                  </a:cubicBezTo>
                  <a:cubicBezTo>
                    <a:pt x="451127" y="765759"/>
                    <a:pt x="453134" y="766129"/>
                    <a:pt x="454923" y="766002"/>
                  </a:cubicBezTo>
                  <a:cubicBezTo>
                    <a:pt x="456857" y="765865"/>
                    <a:pt x="458871" y="765599"/>
                    <a:pt x="460495" y="764574"/>
                  </a:cubicBezTo>
                  <a:cubicBezTo>
                    <a:pt x="461376" y="764019"/>
                    <a:pt x="463460" y="762498"/>
                    <a:pt x="463799" y="760355"/>
                  </a:cubicBezTo>
                  <a:cubicBezTo>
                    <a:pt x="464011" y="759011"/>
                    <a:pt x="464052" y="757648"/>
                    <a:pt x="463921" y="756300"/>
                  </a:cubicBezTo>
                  <a:cubicBezTo>
                    <a:pt x="464212" y="756179"/>
                    <a:pt x="464505" y="756054"/>
                    <a:pt x="464801" y="755929"/>
                  </a:cubicBezTo>
                  <a:cubicBezTo>
                    <a:pt x="465408" y="755672"/>
                    <a:pt x="466019" y="755413"/>
                    <a:pt x="466620" y="755183"/>
                  </a:cubicBezTo>
                  <a:cubicBezTo>
                    <a:pt x="467810" y="754728"/>
                    <a:pt x="468758" y="753923"/>
                    <a:pt x="469676" y="753144"/>
                  </a:cubicBezTo>
                  <a:cubicBezTo>
                    <a:pt x="469969" y="752894"/>
                    <a:pt x="470265" y="752644"/>
                    <a:pt x="470571" y="752403"/>
                  </a:cubicBezTo>
                  <a:cubicBezTo>
                    <a:pt x="472045" y="751239"/>
                    <a:pt x="473150" y="749642"/>
                    <a:pt x="473598" y="748023"/>
                  </a:cubicBezTo>
                  <a:cubicBezTo>
                    <a:pt x="474424" y="745035"/>
                    <a:pt x="474292" y="741562"/>
                    <a:pt x="473227" y="738242"/>
                  </a:cubicBezTo>
                  <a:cubicBezTo>
                    <a:pt x="472025" y="734501"/>
                    <a:pt x="469913" y="731028"/>
                    <a:pt x="467871" y="727670"/>
                  </a:cubicBezTo>
                  <a:cubicBezTo>
                    <a:pt x="467119" y="726435"/>
                    <a:pt x="466344" y="725159"/>
                    <a:pt x="465635" y="723903"/>
                  </a:cubicBezTo>
                  <a:cubicBezTo>
                    <a:pt x="465365" y="723424"/>
                    <a:pt x="465119" y="722954"/>
                    <a:pt x="464876" y="722490"/>
                  </a:cubicBezTo>
                  <a:cubicBezTo>
                    <a:pt x="464315" y="721417"/>
                    <a:pt x="463785" y="720404"/>
                    <a:pt x="463024" y="719387"/>
                  </a:cubicBezTo>
                  <a:cubicBezTo>
                    <a:pt x="462122" y="718180"/>
                    <a:pt x="461314" y="716848"/>
                    <a:pt x="460459" y="715437"/>
                  </a:cubicBezTo>
                  <a:cubicBezTo>
                    <a:pt x="458717" y="712566"/>
                    <a:pt x="456917" y="709598"/>
                    <a:pt x="454257" y="707762"/>
                  </a:cubicBezTo>
                  <a:cubicBezTo>
                    <a:pt x="451867" y="706112"/>
                    <a:pt x="448604" y="703540"/>
                    <a:pt x="446637" y="700653"/>
                  </a:cubicBezTo>
                  <a:cubicBezTo>
                    <a:pt x="444488" y="697497"/>
                    <a:pt x="442356" y="695179"/>
                    <a:pt x="440120" y="693563"/>
                  </a:cubicBezTo>
                  <a:cubicBezTo>
                    <a:pt x="438721" y="692552"/>
                    <a:pt x="437288" y="691528"/>
                    <a:pt x="435848" y="690499"/>
                  </a:cubicBezTo>
                  <a:cubicBezTo>
                    <a:pt x="433373" y="688730"/>
                    <a:pt x="430813" y="686902"/>
                    <a:pt x="428400" y="685117"/>
                  </a:cubicBezTo>
                  <a:cubicBezTo>
                    <a:pt x="427405" y="684381"/>
                    <a:pt x="426408" y="683613"/>
                    <a:pt x="425406" y="682840"/>
                  </a:cubicBezTo>
                  <a:cubicBezTo>
                    <a:pt x="422905" y="680915"/>
                    <a:pt x="420320" y="678922"/>
                    <a:pt x="417626" y="677330"/>
                  </a:cubicBezTo>
                  <a:cubicBezTo>
                    <a:pt x="416270" y="676528"/>
                    <a:pt x="414745" y="675915"/>
                    <a:pt x="413269" y="675322"/>
                  </a:cubicBezTo>
                  <a:cubicBezTo>
                    <a:pt x="412156" y="674875"/>
                    <a:pt x="411005" y="674413"/>
                    <a:pt x="409964" y="673881"/>
                  </a:cubicBezTo>
                  <a:cubicBezTo>
                    <a:pt x="408194" y="672979"/>
                    <a:pt x="406507" y="672386"/>
                    <a:pt x="404722" y="671759"/>
                  </a:cubicBezTo>
                  <a:lnTo>
                    <a:pt x="404134" y="671552"/>
                  </a:lnTo>
                  <a:cubicBezTo>
                    <a:pt x="401851" y="670747"/>
                    <a:pt x="399584" y="669274"/>
                    <a:pt x="397564" y="667285"/>
                  </a:cubicBezTo>
                  <a:cubicBezTo>
                    <a:pt x="397662" y="666859"/>
                    <a:pt x="397748" y="666424"/>
                    <a:pt x="397833" y="665989"/>
                  </a:cubicBezTo>
                  <a:cubicBezTo>
                    <a:pt x="397968" y="665298"/>
                    <a:pt x="398109" y="664583"/>
                    <a:pt x="398302" y="663920"/>
                  </a:cubicBezTo>
                  <a:cubicBezTo>
                    <a:pt x="398492" y="663269"/>
                    <a:pt x="398302" y="662471"/>
                    <a:pt x="397841" y="661981"/>
                  </a:cubicBezTo>
                  <a:cubicBezTo>
                    <a:pt x="397173" y="661272"/>
                    <a:pt x="396504" y="660550"/>
                    <a:pt x="395831" y="659824"/>
                  </a:cubicBezTo>
                  <a:cubicBezTo>
                    <a:pt x="394347" y="658220"/>
                    <a:pt x="392813" y="656562"/>
                    <a:pt x="391258" y="655029"/>
                  </a:cubicBezTo>
                  <a:cubicBezTo>
                    <a:pt x="390058" y="653846"/>
                    <a:pt x="388791" y="652673"/>
                    <a:pt x="387566" y="651538"/>
                  </a:cubicBezTo>
                  <a:cubicBezTo>
                    <a:pt x="385140" y="649292"/>
                    <a:pt x="382631" y="646969"/>
                    <a:pt x="380502" y="644439"/>
                  </a:cubicBezTo>
                  <a:cubicBezTo>
                    <a:pt x="379527" y="643282"/>
                    <a:pt x="378589" y="642031"/>
                    <a:pt x="377681" y="640820"/>
                  </a:cubicBezTo>
                  <a:cubicBezTo>
                    <a:pt x="375960" y="638525"/>
                    <a:pt x="374182" y="636152"/>
                    <a:pt x="372029" y="634229"/>
                  </a:cubicBezTo>
                  <a:cubicBezTo>
                    <a:pt x="370900" y="633222"/>
                    <a:pt x="369694" y="632262"/>
                    <a:pt x="368529" y="631334"/>
                  </a:cubicBezTo>
                  <a:cubicBezTo>
                    <a:pt x="366285" y="629549"/>
                    <a:pt x="363966" y="627703"/>
                    <a:pt x="362152" y="625475"/>
                  </a:cubicBezTo>
                  <a:lnTo>
                    <a:pt x="361448" y="624618"/>
                  </a:lnTo>
                  <a:cubicBezTo>
                    <a:pt x="359624" y="622408"/>
                    <a:pt x="357738" y="620124"/>
                    <a:pt x="357084" y="617469"/>
                  </a:cubicBezTo>
                  <a:lnTo>
                    <a:pt x="356908" y="616743"/>
                  </a:lnTo>
                  <a:cubicBezTo>
                    <a:pt x="356337" y="614377"/>
                    <a:pt x="355747" y="611929"/>
                    <a:pt x="354232" y="610063"/>
                  </a:cubicBezTo>
                  <a:cubicBezTo>
                    <a:pt x="353238" y="608839"/>
                    <a:pt x="352369" y="607458"/>
                    <a:pt x="351529" y="606121"/>
                  </a:cubicBezTo>
                  <a:cubicBezTo>
                    <a:pt x="350794" y="604950"/>
                    <a:pt x="350032" y="603739"/>
                    <a:pt x="349181" y="602623"/>
                  </a:cubicBezTo>
                  <a:cubicBezTo>
                    <a:pt x="348269" y="601427"/>
                    <a:pt x="347373" y="600184"/>
                    <a:pt x="346505" y="598983"/>
                  </a:cubicBezTo>
                  <a:cubicBezTo>
                    <a:pt x="345868" y="598099"/>
                    <a:pt x="345230" y="597215"/>
                    <a:pt x="344580" y="596340"/>
                  </a:cubicBezTo>
                  <a:cubicBezTo>
                    <a:pt x="340613" y="590995"/>
                    <a:pt x="334858" y="587641"/>
                    <a:pt x="333752" y="587027"/>
                  </a:cubicBezTo>
                  <a:cubicBezTo>
                    <a:pt x="333718" y="586854"/>
                    <a:pt x="333677" y="586679"/>
                    <a:pt x="333635" y="586502"/>
                  </a:cubicBezTo>
                  <a:cubicBezTo>
                    <a:pt x="333544" y="586111"/>
                    <a:pt x="333449" y="585706"/>
                    <a:pt x="333455" y="585354"/>
                  </a:cubicBezTo>
                  <a:cubicBezTo>
                    <a:pt x="333576" y="577122"/>
                    <a:pt x="335007" y="568673"/>
                    <a:pt x="336391" y="560502"/>
                  </a:cubicBezTo>
                  <a:cubicBezTo>
                    <a:pt x="336718" y="558573"/>
                    <a:pt x="337044" y="556651"/>
                    <a:pt x="337351" y="554741"/>
                  </a:cubicBezTo>
                  <a:cubicBezTo>
                    <a:pt x="337824" y="551800"/>
                    <a:pt x="338416" y="548819"/>
                    <a:pt x="338988" y="545936"/>
                  </a:cubicBezTo>
                  <a:cubicBezTo>
                    <a:pt x="340059" y="540546"/>
                    <a:pt x="341165" y="534973"/>
                    <a:pt x="341550" y="529393"/>
                  </a:cubicBezTo>
                  <a:cubicBezTo>
                    <a:pt x="342613" y="514009"/>
                    <a:pt x="340862" y="498884"/>
                    <a:pt x="338812" y="483452"/>
                  </a:cubicBezTo>
                  <a:cubicBezTo>
                    <a:pt x="337314" y="472171"/>
                    <a:pt x="333027" y="461263"/>
                    <a:pt x="328880" y="450715"/>
                  </a:cubicBezTo>
                  <a:cubicBezTo>
                    <a:pt x="327522" y="447257"/>
                    <a:pt x="326115" y="443680"/>
                    <a:pt x="324839" y="440165"/>
                  </a:cubicBezTo>
                  <a:cubicBezTo>
                    <a:pt x="324239" y="438511"/>
                    <a:pt x="323633" y="436896"/>
                    <a:pt x="323036" y="435298"/>
                  </a:cubicBezTo>
                  <a:cubicBezTo>
                    <a:pt x="321046" y="429982"/>
                    <a:pt x="319167" y="424961"/>
                    <a:pt x="317734" y="419350"/>
                  </a:cubicBezTo>
                  <a:cubicBezTo>
                    <a:pt x="316749" y="415495"/>
                    <a:pt x="315964" y="411320"/>
                    <a:pt x="315263" y="406213"/>
                  </a:cubicBezTo>
                  <a:cubicBezTo>
                    <a:pt x="314881" y="403431"/>
                    <a:pt x="314148" y="400679"/>
                    <a:pt x="313440" y="398018"/>
                  </a:cubicBezTo>
                  <a:cubicBezTo>
                    <a:pt x="312918" y="396056"/>
                    <a:pt x="312377" y="394026"/>
                    <a:pt x="311985" y="392010"/>
                  </a:cubicBezTo>
                  <a:cubicBezTo>
                    <a:pt x="310922" y="386542"/>
                    <a:pt x="308873" y="381175"/>
                    <a:pt x="306892" y="375986"/>
                  </a:cubicBezTo>
                  <a:cubicBezTo>
                    <a:pt x="305569" y="372522"/>
                    <a:pt x="304202" y="368941"/>
                    <a:pt x="303154" y="365388"/>
                  </a:cubicBezTo>
                  <a:cubicBezTo>
                    <a:pt x="301111" y="358470"/>
                    <a:pt x="297909" y="351812"/>
                    <a:pt x="294813" y="345373"/>
                  </a:cubicBezTo>
                  <a:lnTo>
                    <a:pt x="294372" y="344456"/>
                  </a:lnTo>
                  <a:cubicBezTo>
                    <a:pt x="290527" y="336453"/>
                    <a:pt x="287931" y="329543"/>
                    <a:pt x="286437" y="323332"/>
                  </a:cubicBezTo>
                  <a:cubicBezTo>
                    <a:pt x="286163" y="322195"/>
                    <a:pt x="285818" y="321021"/>
                    <a:pt x="285484" y="319885"/>
                  </a:cubicBezTo>
                  <a:cubicBezTo>
                    <a:pt x="284727" y="317314"/>
                    <a:pt x="283946" y="314656"/>
                    <a:pt x="283876" y="312089"/>
                  </a:cubicBezTo>
                  <a:cubicBezTo>
                    <a:pt x="283814" y="309878"/>
                    <a:pt x="283207" y="307950"/>
                    <a:pt x="282563" y="305909"/>
                  </a:cubicBezTo>
                  <a:lnTo>
                    <a:pt x="282244" y="304887"/>
                  </a:lnTo>
                  <a:cubicBezTo>
                    <a:pt x="280802" y="300188"/>
                    <a:pt x="280273" y="295118"/>
                    <a:pt x="280715" y="290225"/>
                  </a:cubicBezTo>
                  <a:cubicBezTo>
                    <a:pt x="280885" y="288359"/>
                    <a:pt x="280866" y="286458"/>
                    <a:pt x="280848" y="284620"/>
                  </a:cubicBezTo>
                  <a:cubicBezTo>
                    <a:pt x="280838" y="283631"/>
                    <a:pt x="280829" y="282643"/>
                    <a:pt x="280847" y="281657"/>
                  </a:cubicBezTo>
                  <a:cubicBezTo>
                    <a:pt x="280865" y="280686"/>
                    <a:pt x="280897" y="279742"/>
                    <a:pt x="280929" y="278808"/>
                  </a:cubicBezTo>
                  <a:cubicBezTo>
                    <a:pt x="281006" y="276577"/>
                    <a:pt x="281078" y="274469"/>
                    <a:pt x="280964" y="272174"/>
                  </a:cubicBezTo>
                  <a:cubicBezTo>
                    <a:pt x="280878" y="270461"/>
                    <a:pt x="280528" y="268749"/>
                    <a:pt x="279983" y="267352"/>
                  </a:cubicBezTo>
                  <a:cubicBezTo>
                    <a:pt x="279438" y="265966"/>
                    <a:pt x="279346" y="264322"/>
                    <a:pt x="279739" y="262955"/>
                  </a:cubicBezTo>
                  <a:cubicBezTo>
                    <a:pt x="279974" y="262130"/>
                    <a:pt x="280025" y="261277"/>
                    <a:pt x="280076" y="260453"/>
                  </a:cubicBezTo>
                  <a:cubicBezTo>
                    <a:pt x="280098" y="260082"/>
                    <a:pt x="280120" y="259711"/>
                    <a:pt x="280159" y="259344"/>
                  </a:cubicBezTo>
                  <a:cubicBezTo>
                    <a:pt x="280250" y="258494"/>
                    <a:pt x="280182" y="257696"/>
                    <a:pt x="280116" y="256924"/>
                  </a:cubicBezTo>
                  <a:cubicBezTo>
                    <a:pt x="280007" y="255650"/>
                    <a:pt x="279913" y="254549"/>
                    <a:pt x="280514" y="253446"/>
                  </a:cubicBezTo>
                  <a:cubicBezTo>
                    <a:pt x="281540" y="251567"/>
                    <a:pt x="281981" y="248635"/>
                    <a:pt x="280522" y="246639"/>
                  </a:cubicBezTo>
                  <a:cubicBezTo>
                    <a:pt x="278015" y="243208"/>
                    <a:pt x="274713" y="239819"/>
                    <a:pt x="270704" y="236561"/>
                  </a:cubicBezTo>
                  <a:cubicBezTo>
                    <a:pt x="273863" y="233301"/>
                    <a:pt x="277122" y="230538"/>
                    <a:pt x="280148" y="228553"/>
                  </a:cubicBezTo>
                  <a:cubicBezTo>
                    <a:pt x="282471" y="227029"/>
                    <a:pt x="284321" y="224807"/>
                    <a:pt x="286109" y="222659"/>
                  </a:cubicBezTo>
                  <a:cubicBezTo>
                    <a:pt x="287583" y="220888"/>
                    <a:pt x="289107" y="219058"/>
                    <a:pt x="290864" y="217670"/>
                  </a:cubicBezTo>
                  <a:cubicBezTo>
                    <a:pt x="291714" y="216998"/>
                    <a:pt x="292555" y="216274"/>
                    <a:pt x="293367" y="215573"/>
                  </a:cubicBezTo>
                  <a:cubicBezTo>
                    <a:pt x="295253" y="213947"/>
                    <a:pt x="297202" y="212266"/>
                    <a:pt x="299401" y="211141"/>
                  </a:cubicBezTo>
                  <a:cubicBezTo>
                    <a:pt x="301661" y="209985"/>
                    <a:pt x="304058" y="209360"/>
                    <a:pt x="306945" y="209174"/>
                  </a:cubicBezTo>
                  <a:cubicBezTo>
                    <a:pt x="307594" y="209133"/>
                    <a:pt x="308254" y="209125"/>
                    <a:pt x="308916" y="209118"/>
                  </a:cubicBezTo>
                  <a:cubicBezTo>
                    <a:pt x="310109" y="209104"/>
                    <a:pt x="311342" y="209091"/>
                    <a:pt x="312529" y="208875"/>
                  </a:cubicBezTo>
                  <a:cubicBezTo>
                    <a:pt x="314279" y="208556"/>
                    <a:pt x="315683" y="208207"/>
                    <a:pt x="317267" y="207453"/>
                  </a:cubicBezTo>
                  <a:cubicBezTo>
                    <a:pt x="318921" y="206667"/>
                    <a:pt x="320325" y="205354"/>
                    <a:pt x="321218" y="203757"/>
                  </a:cubicBezTo>
                  <a:cubicBezTo>
                    <a:pt x="322148" y="202095"/>
                    <a:pt x="322327" y="200031"/>
                    <a:pt x="322379" y="198420"/>
                  </a:cubicBezTo>
                  <a:cubicBezTo>
                    <a:pt x="322482" y="195244"/>
                    <a:pt x="322130" y="192787"/>
                    <a:pt x="321236" y="190450"/>
                  </a:cubicBezTo>
                  <a:lnTo>
                    <a:pt x="320984" y="189796"/>
                  </a:lnTo>
                  <a:cubicBezTo>
                    <a:pt x="320247" y="187897"/>
                    <a:pt x="319485" y="185934"/>
                    <a:pt x="319491" y="184001"/>
                  </a:cubicBezTo>
                  <a:lnTo>
                    <a:pt x="319491" y="183682"/>
                  </a:lnTo>
                  <a:cubicBezTo>
                    <a:pt x="319491" y="182006"/>
                    <a:pt x="319492" y="180107"/>
                    <a:pt x="320488" y="178923"/>
                  </a:cubicBezTo>
                  <a:cubicBezTo>
                    <a:pt x="321270" y="177994"/>
                    <a:pt x="322267" y="176536"/>
                    <a:pt x="322582" y="174866"/>
                  </a:cubicBezTo>
                  <a:cubicBezTo>
                    <a:pt x="322858" y="173411"/>
                    <a:pt x="322578" y="172201"/>
                    <a:pt x="321775" y="171370"/>
                  </a:cubicBezTo>
                  <a:cubicBezTo>
                    <a:pt x="320744" y="170306"/>
                    <a:pt x="319588" y="169612"/>
                    <a:pt x="318433" y="169364"/>
                  </a:cubicBezTo>
                  <a:cubicBezTo>
                    <a:pt x="317743" y="169217"/>
                    <a:pt x="317118" y="169117"/>
                    <a:pt x="316526" y="169060"/>
                  </a:cubicBezTo>
                  <a:cubicBezTo>
                    <a:pt x="316537" y="169052"/>
                    <a:pt x="316548" y="169043"/>
                    <a:pt x="316560" y="169034"/>
                  </a:cubicBezTo>
                  <a:cubicBezTo>
                    <a:pt x="317010" y="168700"/>
                    <a:pt x="317465" y="168362"/>
                    <a:pt x="317870" y="168030"/>
                  </a:cubicBezTo>
                  <a:cubicBezTo>
                    <a:pt x="318134" y="167815"/>
                    <a:pt x="318403" y="167576"/>
                    <a:pt x="318675" y="167334"/>
                  </a:cubicBezTo>
                  <a:cubicBezTo>
                    <a:pt x="319103" y="166953"/>
                    <a:pt x="319547" y="166559"/>
                    <a:pt x="319978" y="166255"/>
                  </a:cubicBezTo>
                  <a:cubicBezTo>
                    <a:pt x="320747" y="165710"/>
                    <a:pt x="321323" y="164874"/>
                    <a:pt x="321557" y="163960"/>
                  </a:cubicBezTo>
                  <a:cubicBezTo>
                    <a:pt x="321766" y="163149"/>
                    <a:pt x="321683" y="162065"/>
                    <a:pt x="321337" y="161061"/>
                  </a:cubicBezTo>
                  <a:cubicBezTo>
                    <a:pt x="321218" y="160713"/>
                    <a:pt x="321085" y="160364"/>
                    <a:pt x="320953" y="160014"/>
                  </a:cubicBezTo>
                  <a:cubicBezTo>
                    <a:pt x="320665" y="159255"/>
                    <a:pt x="320369" y="158471"/>
                    <a:pt x="320210" y="157698"/>
                  </a:cubicBezTo>
                  <a:cubicBezTo>
                    <a:pt x="319820" y="155807"/>
                    <a:pt x="319765" y="154331"/>
                    <a:pt x="320040" y="153051"/>
                  </a:cubicBezTo>
                  <a:cubicBezTo>
                    <a:pt x="320328" y="151700"/>
                    <a:pt x="321415" y="150564"/>
                    <a:pt x="322625" y="150349"/>
                  </a:cubicBezTo>
                  <a:cubicBezTo>
                    <a:pt x="323277" y="150233"/>
                    <a:pt x="323935" y="150131"/>
                    <a:pt x="324596" y="150030"/>
                  </a:cubicBezTo>
                  <a:cubicBezTo>
                    <a:pt x="326835" y="149684"/>
                    <a:pt x="329149" y="149326"/>
                    <a:pt x="331278" y="148408"/>
                  </a:cubicBezTo>
                  <a:cubicBezTo>
                    <a:pt x="333842" y="147303"/>
                    <a:pt x="335680" y="144682"/>
                    <a:pt x="335649" y="142176"/>
                  </a:cubicBezTo>
                  <a:cubicBezTo>
                    <a:pt x="335617" y="139552"/>
                    <a:pt x="334672" y="137145"/>
                    <a:pt x="332840" y="135026"/>
                  </a:cubicBezTo>
                  <a:cubicBezTo>
                    <a:pt x="330883" y="132759"/>
                    <a:pt x="328895" y="130402"/>
                    <a:pt x="327095" y="128208"/>
                  </a:cubicBezTo>
                  <a:lnTo>
                    <a:pt x="326201" y="127126"/>
                  </a:lnTo>
                  <a:cubicBezTo>
                    <a:pt x="325345" y="126090"/>
                    <a:pt x="324536" y="125112"/>
                    <a:pt x="323718" y="124057"/>
                  </a:cubicBezTo>
                  <a:cubicBezTo>
                    <a:pt x="323191" y="123379"/>
                    <a:pt x="322630" y="122726"/>
                    <a:pt x="322087" y="122096"/>
                  </a:cubicBezTo>
                  <a:cubicBezTo>
                    <a:pt x="321226" y="121094"/>
                    <a:pt x="320336" y="120058"/>
                    <a:pt x="319601" y="118931"/>
                  </a:cubicBezTo>
                  <a:cubicBezTo>
                    <a:pt x="318374" y="117042"/>
                    <a:pt x="317664" y="115011"/>
                    <a:pt x="317370" y="112537"/>
                  </a:cubicBezTo>
                  <a:cubicBezTo>
                    <a:pt x="317169" y="110853"/>
                    <a:pt x="317448" y="109730"/>
                    <a:pt x="317932" y="108081"/>
                  </a:cubicBezTo>
                  <a:cubicBezTo>
                    <a:pt x="318074" y="107600"/>
                    <a:pt x="318248" y="107063"/>
                    <a:pt x="318431" y="106497"/>
                  </a:cubicBezTo>
                  <a:cubicBezTo>
                    <a:pt x="319019" y="104676"/>
                    <a:pt x="319686" y="102613"/>
                    <a:pt x="319773" y="100994"/>
                  </a:cubicBezTo>
                  <a:cubicBezTo>
                    <a:pt x="319931" y="98068"/>
                    <a:pt x="318422" y="95200"/>
                    <a:pt x="317091" y="92668"/>
                  </a:cubicBezTo>
                  <a:lnTo>
                    <a:pt x="316743" y="92007"/>
                  </a:lnTo>
                  <a:cubicBezTo>
                    <a:pt x="316079" y="90731"/>
                    <a:pt x="315410" y="89459"/>
                    <a:pt x="314741" y="88188"/>
                  </a:cubicBezTo>
                  <a:cubicBezTo>
                    <a:pt x="312665" y="84239"/>
                    <a:pt x="310518" y="80155"/>
                    <a:pt x="308552" y="76058"/>
                  </a:cubicBezTo>
                  <a:cubicBezTo>
                    <a:pt x="307405" y="73668"/>
                    <a:pt x="306239" y="71132"/>
                    <a:pt x="305111" y="68680"/>
                  </a:cubicBezTo>
                  <a:cubicBezTo>
                    <a:pt x="304645" y="67665"/>
                    <a:pt x="304182" y="66658"/>
                    <a:pt x="303725" y="65671"/>
                  </a:cubicBezTo>
                  <a:cubicBezTo>
                    <a:pt x="301323" y="60489"/>
                    <a:pt x="297918" y="53948"/>
                    <a:pt x="292858" y="49329"/>
                  </a:cubicBezTo>
                  <a:cubicBezTo>
                    <a:pt x="288810" y="45634"/>
                    <a:pt x="284405" y="42288"/>
                    <a:pt x="279756" y="39377"/>
                  </a:cubicBezTo>
                  <a:cubicBezTo>
                    <a:pt x="283175" y="37975"/>
                    <a:pt x="285801" y="34860"/>
                    <a:pt x="286414" y="31385"/>
                  </a:cubicBezTo>
                  <a:cubicBezTo>
                    <a:pt x="287520" y="25115"/>
                    <a:pt x="285953" y="18468"/>
                    <a:pt x="282227" y="13605"/>
                  </a:cubicBezTo>
                  <a:cubicBezTo>
                    <a:pt x="278417" y="8634"/>
                    <a:pt x="272420" y="5340"/>
                    <a:pt x="266181" y="4793"/>
                  </a:cubicBezTo>
                  <a:lnTo>
                    <a:pt x="262971" y="4512"/>
                  </a:lnTo>
                  <a:lnTo>
                    <a:pt x="265997" y="5619"/>
                  </a:lnTo>
                  <a:cubicBezTo>
                    <a:pt x="268267" y="6449"/>
                    <a:pt x="270509" y="8143"/>
                    <a:pt x="271997" y="10151"/>
                  </a:cubicBezTo>
                  <a:cubicBezTo>
                    <a:pt x="273188" y="11761"/>
                    <a:pt x="273992" y="13681"/>
                    <a:pt x="274315" y="15665"/>
                  </a:cubicBezTo>
                  <a:cubicBezTo>
                    <a:pt x="271706" y="12983"/>
                    <a:pt x="268003" y="11498"/>
                    <a:pt x="264108" y="11649"/>
                  </a:cubicBezTo>
                  <a:cubicBezTo>
                    <a:pt x="260798" y="11783"/>
                    <a:pt x="257943" y="9662"/>
                    <a:pt x="256534" y="8390"/>
                  </a:cubicBezTo>
                  <a:cubicBezTo>
                    <a:pt x="254450" y="6511"/>
                    <a:pt x="253012" y="3957"/>
                    <a:pt x="252488" y="1199"/>
                  </a:cubicBezTo>
                  <a:lnTo>
                    <a:pt x="252259" y="0"/>
                  </a:lnTo>
                  <a:lnTo>
                    <a:pt x="251691" y="1081"/>
                  </a:lnTo>
                  <a:cubicBezTo>
                    <a:pt x="250501" y="3344"/>
                    <a:pt x="250110" y="5761"/>
                    <a:pt x="250557" y="8070"/>
                  </a:cubicBezTo>
                  <a:cubicBezTo>
                    <a:pt x="250912" y="9908"/>
                    <a:pt x="251748" y="11627"/>
                    <a:pt x="252955" y="13043"/>
                  </a:cubicBezTo>
                  <a:cubicBezTo>
                    <a:pt x="246669" y="10982"/>
                    <a:pt x="241444" y="7205"/>
                    <a:pt x="238125" y="2287"/>
                  </a:cubicBezTo>
                  <a:lnTo>
                    <a:pt x="237532" y="1410"/>
                  </a:lnTo>
                  <a:lnTo>
                    <a:pt x="237351" y="2453"/>
                  </a:lnTo>
                  <a:cubicBezTo>
                    <a:pt x="236814" y="5544"/>
                    <a:pt x="237579" y="8859"/>
                    <a:pt x="239298" y="11394"/>
                  </a:cubicBezTo>
                  <a:cubicBezTo>
                    <a:pt x="229762" y="6093"/>
                    <a:pt x="218496" y="4876"/>
                    <a:pt x="207972" y="8092"/>
                  </a:cubicBezTo>
                  <a:lnTo>
                    <a:pt x="208168" y="8920"/>
                  </a:lnTo>
                  <a:cubicBezTo>
                    <a:pt x="212890" y="8112"/>
                    <a:pt x="218260" y="9242"/>
                    <a:pt x="222470" y="11881"/>
                  </a:cubicBezTo>
                  <a:cubicBezTo>
                    <a:pt x="207070" y="13094"/>
                    <a:pt x="192171" y="19138"/>
                    <a:pt x="180384" y="28976"/>
                  </a:cubicBezTo>
                  <a:cubicBezTo>
                    <a:pt x="176284" y="32398"/>
                    <a:pt x="171619" y="35271"/>
                    <a:pt x="167248" y="37065"/>
                  </a:cubicBezTo>
                  <a:cubicBezTo>
                    <a:pt x="162544" y="38995"/>
                    <a:pt x="156968" y="40226"/>
                    <a:pt x="149699" y="40938"/>
                  </a:cubicBezTo>
                  <a:lnTo>
                    <a:pt x="148170" y="41087"/>
                  </a:lnTo>
                  <a:lnTo>
                    <a:pt x="149557" y="41747"/>
                  </a:lnTo>
                  <a:cubicBezTo>
                    <a:pt x="153931" y="43830"/>
                    <a:pt x="159028" y="44665"/>
                    <a:pt x="164372" y="44193"/>
                  </a:cubicBezTo>
                  <a:cubicBezTo>
                    <a:pt x="156535" y="50238"/>
                    <a:pt x="151239" y="60031"/>
                    <a:pt x="150745" y="69584"/>
                  </a:cubicBezTo>
                  <a:lnTo>
                    <a:pt x="151586" y="69700"/>
                  </a:lnTo>
                  <a:cubicBezTo>
                    <a:pt x="152160" y="67167"/>
                    <a:pt x="153834" y="64860"/>
                    <a:pt x="156356" y="63091"/>
                  </a:cubicBezTo>
                  <a:cubicBezTo>
                    <a:pt x="155647" y="64575"/>
                    <a:pt x="154950" y="66043"/>
                    <a:pt x="154255" y="67511"/>
                  </a:cubicBezTo>
                  <a:cubicBezTo>
                    <a:pt x="153361" y="69395"/>
                    <a:pt x="152468" y="71279"/>
                    <a:pt x="151546" y="73197"/>
                  </a:cubicBezTo>
                  <a:cubicBezTo>
                    <a:pt x="150065" y="76278"/>
                    <a:pt x="149901" y="79375"/>
                    <a:pt x="149727" y="82654"/>
                  </a:cubicBezTo>
                  <a:cubicBezTo>
                    <a:pt x="149697" y="83231"/>
                    <a:pt x="149665" y="83816"/>
                    <a:pt x="149627" y="84407"/>
                  </a:cubicBezTo>
                  <a:lnTo>
                    <a:pt x="149440" y="87287"/>
                  </a:lnTo>
                  <a:lnTo>
                    <a:pt x="150452" y="84585"/>
                  </a:lnTo>
                  <a:cubicBezTo>
                    <a:pt x="151389" y="82085"/>
                    <a:pt x="153016" y="79963"/>
                    <a:pt x="155294" y="78267"/>
                  </a:cubicBezTo>
                  <a:cubicBezTo>
                    <a:pt x="155061" y="83504"/>
                    <a:pt x="154184" y="88411"/>
                    <a:pt x="152685" y="92866"/>
                  </a:cubicBezTo>
                  <a:cubicBezTo>
                    <a:pt x="150305" y="99935"/>
                    <a:pt x="150836" y="107764"/>
                    <a:pt x="151350" y="115336"/>
                  </a:cubicBezTo>
                  <a:lnTo>
                    <a:pt x="151440" y="116677"/>
                  </a:lnTo>
                  <a:cubicBezTo>
                    <a:pt x="151812" y="122298"/>
                    <a:pt x="153744" y="127266"/>
                    <a:pt x="155788" y="132525"/>
                  </a:cubicBezTo>
                  <a:lnTo>
                    <a:pt x="156349" y="133975"/>
                  </a:lnTo>
                  <a:cubicBezTo>
                    <a:pt x="157336" y="136534"/>
                    <a:pt x="158286" y="139237"/>
                    <a:pt x="159205" y="141852"/>
                  </a:cubicBezTo>
                  <a:cubicBezTo>
                    <a:pt x="160000" y="144112"/>
                    <a:pt x="160821" y="146448"/>
                    <a:pt x="161661" y="148677"/>
                  </a:cubicBezTo>
                  <a:cubicBezTo>
                    <a:pt x="161880" y="149258"/>
                    <a:pt x="162081" y="149852"/>
                    <a:pt x="162285" y="150448"/>
                  </a:cubicBezTo>
                  <a:cubicBezTo>
                    <a:pt x="162890" y="152230"/>
                    <a:pt x="163517" y="154073"/>
                    <a:pt x="164625" y="155631"/>
                  </a:cubicBezTo>
                  <a:cubicBezTo>
                    <a:pt x="165447" y="156786"/>
                    <a:pt x="166453" y="157917"/>
                    <a:pt x="167425" y="159010"/>
                  </a:cubicBezTo>
                  <a:cubicBezTo>
                    <a:pt x="167942" y="159592"/>
                    <a:pt x="168455" y="160168"/>
                    <a:pt x="168931" y="160738"/>
                  </a:cubicBezTo>
                  <a:cubicBezTo>
                    <a:pt x="170379" y="162470"/>
                    <a:pt x="171382" y="165400"/>
                    <a:pt x="171370" y="167861"/>
                  </a:cubicBezTo>
                  <a:cubicBezTo>
                    <a:pt x="171356" y="170959"/>
                    <a:pt x="174118" y="173937"/>
                    <a:pt x="176337" y="176331"/>
                  </a:cubicBezTo>
                  <a:cubicBezTo>
                    <a:pt x="176457" y="176459"/>
                    <a:pt x="176575" y="176587"/>
                    <a:pt x="176692" y="176714"/>
                  </a:cubicBezTo>
                  <a:cubicBezTo>
                    <a:pt x="176662" y="176713"/>
                    <a:pt x="176633" y="176711"/>
                    <a:pt x="176604" y="176709"/>
                  </a:cubicBezTo>
                  <a:cubicBezTo>
                    <a:pt x="176155" y="176709"/>
                    <a:pt x="175727" y="176949"/>
                    <a:pt x="175359" y="177478"/>
                  </a:cubicBezTo>
                  <a:cubicBezTo>
                    <a:pt x="175108" y="177842"/>
                    <a:pt x="174978" y="178255"/>
                    <a:pt x="174864" y="178620"/>
                  </a:cubicBezTo>
                  <a:lnTo>
                    <a:pt x="174414" y="180058"/>
                  </a:lnTo>
                  <a:cubicBezTo>
                    <a:pt x="173590" y="182692"/>
                    <a:pt x="172067" y="185118"/>
                    <a:pt x="170592" y="187465"/>
                  </a:cubicBezTo>
                  <a:lnTo>
                    <a:pt x="170417" y="187742"/>
                  </a:lnTo>
                  <a:cubicBezTo>
                    <a:pt x="169754" y="188801"/>
                    <a:pt x="169197" y="190008"/>
                    <a:pt x="168658" y="191176"/>
                  </a:cubicBezTo>
                  <a:lnTo>
                    <a:pt x="168290" y="191969"/>
                  </a:lnTo>
                  <a:cubicBezTo>
                    <a:pt x="167629" y="193377"/>
                    <a:pt x="167065" y="195100"/>
                    <a:pt x="166660" y="196952"/>
                  </a:cubicBezTo>
                  <a:cubicBezTo>
                    <a:pt x="166311" y="198547"/>
                    <a:pt x="165979" y="200408"/>
                    <a:pt x="166139" y="202190"/>
                  </a:cubicBezTo>
                  <a:cubicBezTo>
                    <a:pt x="165724" y="202697"/>
                    <a:pt x="165299" y="203206"/>
                    <a:pt x="164874" y="203714"/>
                  </a:cubicBezTo>
                  <a:cubicBezTo>
                    <a:pt x="164401" y="204280"/>
                    <a:pt x="163929" y="204846"/>
                    <a:pt x="163472" y="205409"/>
                  </a:cubicBezTo>
                  <a:cubicBezTo>
                    <a:pt x="161850" y="207399"/>
                    <a:pt x="159747" y="209078"/>
                    <a:pt x="157715" y="210700"/>
                  </a:cubicBezTo>
                  <a:cubicBezTo>
                    <a:pt x="156792" y="211436"/>
                    <a:pt x="155838" y="212197"/>
                    <a:pt x="154944" y="212977"/>
                  </a:cubicBezTo>
                  <a:cubicBezTo>
                    <a:pt x="151848" y="215673"/>
                    <a:pt x="149578" y="218818"/>
                    <a:pt x="147173" y="222147"/>
                  </a:cubicBezTo>
                  <a:cubicBezTo>
                    <a:pt x="146634" y="222893"/>
                    <a:pt x="146093" y="223644"/>
                    <a:pt x="145538" y="224393"/>
                  </a:cubicBezTo>
                  <a:cubicBezTo>
                    <a:pt x="144006" y="226463"/>
                    <a:pt x="142521" y="228659"/>
                    <a:pt x="141085" y="230783"/>
                  </a:cubicBezTo>
                  <a:cubicBezTo>
                    <a:pt x="140478" y="231683"/>
                    <a:pt x="139871" y="232579"/>
                    <a:pt x="139263" y="233465"/>
                  </a:cubicBezTo>
                  <a:cubicBezTo>
                    <a:pt x="136735" y="237146"/>
                    <a:pt x="134515" y="241112"/>
                    <a:pt x="132366" y="244946"/>
                  </a:cubicBezTo>
                  <a:cubicBezTo>
                    <a:pt x="129982" y="249203"/>
                    <a:pt x="127517" y="253605"/>
                    <a:pt x="124635" y="257609"/>
                  </a:cubicBezTo>
                  <a:cubicBezTo>
                    <a:pt x="121504" y="261955"/>
                    <a:pt x="119339" y="266915"/>
                    <a:pt x="117244" y="271712"/>
                  </a:cubicBezTo>
                  <a:cubicBezTo>
                    <a:pt x="116243" y="274002"/>
                    <a:pt x="115209" y="276370"/>
                    <a:pt x="114083" y="278642"/>
                  </a:cubicBezTo>
                  <a:cubicBezTo>
                    <a:pt x="111845" y="283157"/>
                    <a:pt x="110308" y="288116"/>
                    <a:pt x="108821" y="292912"/>
                  </a:cubicBezTo>
                  <a:cubicBezTo>
                    <a:pt x="108042" y="295428"/>
                    <a:pt x="107235" y="298027"/>
                    <a:pt x="106342" y="300510"/>
                  </a:cubicBezTo>
                  <a:cubicBezTo>
                    <a:pt x="105787" y="302058"/>
                    <a:pt x="105297" y="303712"/>
                    <a:pt x="104822" y="305310"/>
                  </a:cubicBezTo>
                  <a:cubicBezTo>
                    <a:pt x="104196" y="307422"/>
                    <a:pt x="103549" y="309605"/>
                    <a:pt x="102737" y="311588"/>
                  </a:cubicBezTo>
                  <a:cubicBezTo>
                    <a:pt x="101541" y="314511"/>
                    <a:pt x="100998" y="317589"/>
                    <a:pt x="100472" y="320566"/>
                  </a:cubicBezTo>
                  <a:cubicBezTo>
                    <a:pt x="100145" y="322419"/>
                    <a:pt x="99806" y="324334"/>
                    <a:pt x="99314" y="326201"/>
                  </a:cubicBezTo>
                  <a:cubicBezTo>
                    <a:pt x="98181" y="330493"/>
                    <a:pt x="96798" y="335122"/>
                    <a:pt x="95086" y="340355"/>
                  </a:cubicBezTo>
                  <a:cubicBezTo>
                    <a:pt x="94428" y="342367"/>
                    <a:pt x="94019" y="344466"/>
                    <a:pt x="93622" y="346497"/>
                  </a:cubicBezTo>
                  <a:cubicBezTo>
                    <a:pt x="93505" y="347100"/>
                    <a:pt x="93386" y="347704"/>
                    <a:pt x="93263" y="348306"/>
                  </a:cubicBezTo>
                  <a:cubicBezTo>
                    <a:pt x="92143" y="353742"/>
                    <a:pt x="92146" y="359300"/>
                    <a:pt x="92148" y="364676"/>
                  </a:cubicBezTo>
                  <a:cubicBezTo>
                    <a:pt x="92148" y="365621"/>
                    <a:pt x="92148" y="366566"/>
                    <a:pt x="92143" y="367511"/>
                  </a:cubicBezTo>
                  <a:lnTo>
                    <a:pt x="92024" y="388107"/>
                  </a:lnTo>
                  <a:cubicBezTo>
                    <a:pt x="91994" y="393295"/>
                    <a:pt x="91805" y="398534"/>
                    <a:pt x="91625" y="402974"/>
                  </a:cubicBezTo>
                  <a:cubicBezTo>
                    <a:pt x="91597" y="403661"/>
                    <a:pt x="91563" y="404348"/>
                    <a:pt x="91528" y="405037"/>
                  </a:cubicBezTo>
                  <a:cubicBezTo>
                    <a:pt x="91441" y="406735"/>
                    <a:pt x="91352" y="408490"/>
                    <a:pt x="91373" y="410213"/>
                  </a:cubicBezTo>
                  <a:cubicBezTo>
                    <a:pt x="91393" y="411796"/>
                    <a:pt x="91050" y="413502"/>
                    <a:pt x="90718" y="415152"/>
                  </a:cubicBezTo>
                  <a:cubicBezTo>
                    <a:pt x="90573" y="415877"/>
                    <a:pt x="90428" y="416594"/>
                    <a:pt x="90315" y="417291"/>
                  </a:cubicBezTo>
                  <a:cubicBezTo>
                    <a:pt x="90210" y="417943"/>
                    <a:pt x="90093" y="418597"/>
                    <a:pt x="89975" y="419253"/>
                  </a:cubicBezTo>
                  <a:cubicBezTo>
                    <a:pt x="89514" y="421818"/>
                    <a:pt x="89037" y="424470"/>
                    <a:pt x="89291" y="427108"/>
                  </a:cubicBezTo>
                  <a:cubicBezTo>
                    <a:pt x="89582" y="430136"/>
                    <a:pt x="90205" y="433233"/>
                    <a:pt x="90808" y="436228"/>
                  </a:cubicBezTo>
                  <a:cubicBezTo>
                    <a:pt x="91089" y="437622"/>
                    <a:pt x="91368" y="439008"/>
                    <a:pt x="91613" y="440380"/>
                  </a:cubicBezTo>
                  <a:cubicBezTo>
                    <a:pt x="92558" y="445673"/>
                    <a:pt x="94676" y="450881"/>
                    <a:pt x="96725" y="455919"/>
                  </a:cubicBezTo>
                  <a:cubicBezTo>
                    <a:pt x="97828" y="458630"/>
                    <a:pt x="98967" y="461434"/>
                    <a:pt x="99891" y="464180"/>
                  </a:cubicBezTo>
                  <a:cubicBezTo>
                    <a:pt x="99856" y="465458"/>
                    <a:pt x="99446" y="482132"/>
                    <a:pt x="101655" y="500729"/>
                  </a:cubicBezTo>
                  <a:cubicBezTo>
                    <a:pt x="101971" y="503391"/>
                    <a:pt x="102669" y="506176"/>
                    <a:pt x="103342" y="508870"/>
                  </a:cubicBezTo>
                  <a:cubicBezTo>
                    <a:pt x="103721" y="510379"/>
                    <a:pt x="104112" y="511939"/>
                    <a:pt x="104417" y="513417"/>
                  </a:cubicBezTo>
                  <a:cubicBezTo>
                    <a:pt x="105176" y="517088"/>
                    <a:pt x="105020" y="521044"/>
                    <a:pt x="104868" y="524869"/>
                  </a:cubicBezTo>
                  <a:cubicBezTo>
                    <a:pt x="104796" y="526676"/>
                    <a:pt x="104723" y="528544"/>
                    <a:pt x="104749" y="530346"/>
                  </a:cubicBezTo>
                  <a:cubicBezTo>
                    <a:pt x="104845" y="537219"/>
                    <a:pt x="105112" y="543907"/>
                    <a:pt x="107284" y="550178"/>
                  </a:cubicBezTo>
                  <a:cubicBezTo>
                    <a:pt x="108798" y="554542"/>
                    <a:pt x="110833" y="558382"/>
                    <a:pt x="113334" y="561590"/>
                  </a:cubicBezTo>
                  <a:cubicBezTo>
                    <a:pt x="115442" y="564295"/>
                    <a:pt x="117834" y="566765"/>
                    <a:pt x="120283" y="568773"/>
                  </a:cubicBezTo>
                  <a:cubicBezTo>
                    <a:pt x="120047" y="568851"/>
                    <a:pt x="119809" y="568927"/>
                    <a:pt x="119570" y="569002"/>
                  </a:cubicBezTo>
                  <a:cubicBezTo>
                    <a:pt x="119075" y="569160"/>
                    <a:pt x="118578" y="569317"/>
                    <a:pt x="118105" y="569485"/>
                  </a:cubicBezTo>
                  <a:cubicBezTo>
                    <a:pt x="117615" y="569658"/>
                    <a:pt x="116943" y="569895"/>
                    <a:pt x="116551" y="570473"/>
                  </a:cubicBezTo>
                  <a:cubicBezTo>
                    <a:pt x="115187" y="572480"/>
                    <a:pt x="116007" y="575228"/>
                    <a:pt x="116666" y="577436"/>
                  </a:cubicBezTo>
                  <a:lnTo>
                    <a:pt x="116720" y="577619"/>
                  </a:lnTo>
                  <a:cubicBezTo>
                    <a:pt x="117366" y="579785"/>
                    <a:pt x="117053" y="581847"/>
                    <a:pt x="116611" y="584125"/>
                  </a:cubicBezTo>
                  <a:cubicBezTo>
                    <a:pt x="116351" y="585469"/>
                    <a:pt x="115338" y="586460"/>
                    <a:pt x="114267" y="587508"/>
                  </a:cubicBezTo>
                  <a:cubicBezTo>
                    <a:pt x="113965" y="587803"/>
                    <a:pt x="113663" y="588097"/>
                    <a:pt x="113378" y="588401"/>
                  </a:cubicBezTo>
                  <a:cubicBezTo>
                    <a:pt x="111470" y="590433"/>
                    <a:pt x="110534" y="593128"/>
                    <a:pt x="110085" y="595030"/>
                  </a:cubicBezTo>
                  <a:cubicBezTo>
                    <a:pt x="109592" y="597117"/>
                    <a:pt x="108221" y="599411"/>
                    <a:pt x="106416" y="601166"/>
                  </a:cubicBezTo>
                  <a:cubicBezTo>
                    <a:pt x="103965" y="603550"/>
                    <a:pt x="103161" y="606964"/>
                    <a:pt x="102382" y="610264"/>
                  </a:cubicBezTo>
                  <a:cubicBezTo>
                    <a:pt x="102031" y="611753"/>
                    <a:pt x="101668" y="613293"/>
                    <a:pt x="101160" y="614700"/>
                  </a:cubicBezTo>
                  <a:cubicBezTo>
                    <a:pt x="100302" y="617072"/>
                    <a:pt x="99703" y="619891"/>
                    <a:pt x="99326" y="623320"/>
                  </a:cubicBezTo>
                  <a:cubicBezTo>
                    <a:pt x="98797" y="628136"/>
                    <a:pt x="96647" y="632694"/>
                    <a:pt x="94568" y="637102"/>
                  </a:cubicBezTo>
                  <a:cubicBezTo>
                    <a:pt x="92113" y="642306"/>
                    <a:pt x="91250" y="648722"/>
                    <a:pt x="92001" y="656173"/>
                  </a:cubicBezTo>
                  <a:cubicBezTo>
                    <a:pt x="92307" y="659215"/>
                    <a:pt x="92867" y="662404"/>
                    <a:pt x="93715" y="665923"/>
                  </a:cubicBezTo>
                  <a:cubicBezTo>
                    <a:pt x="94430" y="668893"/>
                    <a:pt x="94781" y="671825"/>
                    <a:pt x="95153" y="674929"/>
                  </a:cubicBezTo>
                  <a:lnTo>
                    <a:pt x="95870" y="680839"/>
                  </a:lnTo>
                  <a:cubicBezTo>
                    <a:pt x="96326" y="684584"/>
                    <a:pt x="97804" y="688050"/>
                    <a:pt x="99234" y="691401"/>
                  </a:cubicBezTo>
                  <a:cubicBezTo>
                    <a:pt x="99973" y="693135"/>
                    <a:pt x="100738" y="694928"/>
                    <a:pt x="101355" y="696743"/>
                  </a:cubicBezTo>
                  <a:cubicBezTo>
                    <a:pt x="101404" y="697675"/>
                    <a:pt x="102032" y="708875"/>
                    <a:pt x="104658" y="715819"/>
                  </a:cubicBezTo>
                  <a:cubicBezTo>
                    <a:pt x="105418" y="717829"/>
                    <a:pt x="106327" y="719779"/>
                    <a:pt x="107205" y="721665"/>
                  </a:cubicBezTo>
                  <a:cubicBezTo>
                    <a:pt x="107853" y="723056"/>
                    <a:pt x="108523" y="724495"/>
                    <a:pt x="109129" y="725945"/>
                  </a:cubicBezTo>
                  <a:cubicBezTo>
                    <a:pt x="110705" y="729726"/>
                    <a:pt x="112780" y="732474"/>
                    <a:pt x="115297" y="734111"/>
                  </a:cubicBezTo>
                  <a:cubicBezTo>
                    <a:pt x="116262" y="734739"/>
                    <a:pt x="116960" y="735816"/>
                    <a:pt x="117634" y="736857"/>
                  </a:cubicBezTo>
                  <a:cubicBezTo>
                    <a:pt x="117904" y="737274"/>
                    <a:pt x="118182" y="737702"/>
                    <a:pt x="118476" y="738102"/>
                  </a:cubicBezTo>
                  <a:cubicBezTo>
                    <a:pt x="118292" y="740290"/>
                    <a:pt x="118131" y="742500"/>
                    <a:pt x="117968" y="744710"/>
                  </a:cubicBezTo>
                  <a:cubicBezTo>
                    <a:pt x="117800" y="746991"/>
                    <a:pt x="117632" y="749272"/>
                    <a:pt x="117443" y="751529"/>
                  </a:cubicBezTo>
                  <a:cubicBezTo>
                    <a:pt x="117259" y="753706"/>
                    <a:pt x="116512" y="755956"/>
                    <a:pt x="115790" y="758131"/>
                  </a:cubicBezTo>
                  <a:cubicBezTo>
                    <a:pt x="115454" y="759140"/>
                    <a:pt x="115107" y="760184"/>
                    <a:pt x="114828" y="761193"/>
                  </a:cubicBezTo>
                  <a:cubicBezTo>
                    <a:pt x="113340" y="766564"/>
                    <a:pt x="111412" y="771777"/>
                    <a:pt x="109546" y="776818"/>
                  </a:cubicBezTo>
                  <a:cubicBezTo>
                    <a:pt x="108590" y="779402"/>
                    <a:pt x="107602" y="782075"/>
                    <a:pt x="106672" y="784765"/>
                  </a:cubicBezTo>
                  <a:cubicBezTo>
                    <a:pt x="103247" y="794680"/>
                    <a:pt x="102244" y="805473"/>
                    <a:pt x="101276" y="815911"/>
                  </a:cubicBezTo>
                  <a:cubicBezTo>
                    <a:pt x="101039" y="818457"/>
                    <a:pt x="100803" y="820995"/>
                    <a:pt x="100534" y="823510"/>
                  </a:cubicBezTo>
                  <a:cubicBezTo>
                    <a:pt x="98866" y="839111"/>
                    <a:pt x="94400" y="853344"/>
                    <a:pt x="89673" y="868412"/>
                  </a:cubicBezTo>
                  <a:cubicBezTo>
                    <a:pt x="89213" y="869879"/>
                    <a:pt x="88751" y="871351"/>
                    <a:pt x="88290" y="872830"/>
                  </a:cubicBezTo>
                  <a:cubicBezTo>
                    <a:pt x="84354" y="885461"/>
                    <a:pt x="81693" y="896888"/>
                    <a:pt x="80158" y="907762"/>
                  </a:cubicBezTo>
                  <a:cubicBezTo>
                    <a:pt x="77788" y="924540"/>
                    <a:pt x="71674" y="940978"/>
                    <a:pt x="65760" y="956874"/>
                  </a:cubicBezTo>
                  <a:cubicBezTo>
                    <a:pt x="62898" y="964566"/>
                    <a:pt x="59938" y="972520"/>
                    <a:pt x="57456" y="980382"/>
                  </a:cubicBezTo>
                  <a:cubicBezTo>
                    <a:pt x="56205" y="984344"/>
                    <a:pt x="54877" y="987442"/>
                    <a:pt x="53275" y="990131"/>
                  </a:cubicBezTo>
                  <a:cubicBezTo>
                    <a:pt x="52233" y="991881"/>
                    <a:pt x="51595" y="994184"/>
                    <a:pt x="51479" y="996616"/>
                  </a:cubicBezTo>
                  <a:cubicBezTo>
                    <a:pt x="51284" y="1000651"/>
                    <a:pt x="49837" y="1004831"/>
                    <a:pt x="48496" y="1008432"/>
                  </a:cubicBezTo>
                  <a:cubicBezTo>
                    <a:pt x="46203" y="1014590"/>
                    <a:pt x="44536" y="1021196"/>
                    <a:pt x="42923" y="1027583"/>
                  </a:cubicBezTo>
                  <a:cubicBezTo>
                    <a:pt x="42143" y="1030679"/>
                    <a:pt x="41334" y="1033879"/>
                    <a:pt x="40472" y="1036956"/>
                  </a:cubicBezTo>
                  <a:cubicBezTo>
                    <a:pt x="39608" y="1040037"/>
                    <a:pt x="38452" y="1043816"/>
                    <a:pt x="37300" y="1047326"/>
                  </a:cubicBezTo>
                  <a:cubicBezTo>
                    <a:pt x="34379" y="1056224"/>
                    <a:pt x="31452" y="1065698"/>
                    <a:pt x="30571" y="1075112"/>
                  </a:cubicBezTo>
                  <a:cubicBezTo>
                    <a:pt x="29571" y="1085792"/>
                    <a:pt x="26415" y="1096461"/>
                    <a:pt x="23363" y="1106779"/>
                  </a:cubicBezTo>
                  <a:cubicBezTo>
                    <a:pt x="21947" y="1111568"/>
                    <a:pt x="20482" y="1116521"/>
                    <a:pt x="19261" y="1121386"/>
                  </a:cubicBezTo>
                  <a:cubicBezTo>
                    <a:pt x="17720" y="1127533"/>
                    <a:pt x="16566" y="1133948"/>
                    <a:pt x="15451" y="1140151"/>
                  </a:cubicBezTo>
                  <a:cubicBezTo>
                    <a:pt x="15130" y="1141935"/>
                    <a:pt x="14809" y="1143714"/>
                    <a:pt x="14482" y="1145482"/>
                  </a:cubicBezTo>
                  <a:cubicBezTo>
                    <a:pt x="13535" y="1150595"/>
                    <a:pt x="11707" y="1156088"/>
                    <a:pt x="9050" y="1161812"/>
                  </a:cubicBezTo>
                  <a:cubicBezTo>
                    <a:pt x="5590" y="1169265"/>
                    <a:pt x="3617" y="1178662"/>
                    <a:pt x="3019" y="1190541"/>
                  </a:cubicBezTo>
                  <a:cubicBezTo>
                    <a:pt x="2891" y="1193057"/>
                    <a:pt x="2566" y="1195243"/>
                    <a:pt x="1962" y="1197627"/>
                  </a:cubicBezTo>
                  <a:cubicBezTo>
                    <a:pt x="1354" y="1200032"/>
                    <a:pt x="1096" y="1202579"/>
                    <a:pt x="847" y="1205042"/>
                  </a:cubicBezTo>
                  <a:cubicBezTo>
                    <a:pt x="715" y="1206347"/>
                    <a:pt x="578" y="1207697"/>
                    <a:pt x="392" y="1208991"/>
                  </a:cubicBezTo>
                  <a:cubicBezTo>
                    <a:pt x="192" y="1210386"/>
                    <a:pt x="74" y="1212151"/>
                    <a:pt x="958" y="1213430"/>
                  </a:cubicBezTo>
                  <a:cubicBezTo>
                    <a:pt x="1396" y="1214061"/>
                    <a:pt x="2026" y="1214500"/>
                    <a:pt x="2582" y="1214887"/>
                  </a:cubicBezTo>
                  <a:lnTo>
                    <a:pt x="4168" y="1215993"/>
                  </a:lnTo>
                  <a:cubicBezTo>
                    <a:pt x="5288" y="1216772"/>
                    <a:pt x="6422" y="1217640"/>
                    <a:pt x="6926" y="1218935"/>
                  </a:cubicBezTo>
                  <a:cubicBezTo>
                    <a:pt x="7898" y="1221435"/>
                    <a:pt x="9642" y="1223425"/>
                    <a:pt x="11263" y="1225051"/>
                  </a:cubicBezTo>
                  <a:cubicBezTo>
                    <a:pt x="10268" y="1227644"/>
                    <a:pt x="9270" y="1230313"/>
                    <a:pt x="8303" y="1232909"/>
                  </a:cubicBezTo>
                  <a:cubicBezTo>
                    <a:pt x="8059" y="1233564"/>
                    <a:pt x="7851" y="1234276"/>
                    <a:pt x="7651" y="1234965"/>
                  </a:cubicBezTo>
                  <a:cubicBezTo>
                    <a:pt x="7364" y="1235949"/>
                    <a:pt x="7067" y="1236967"/>
                    <a:pt x="6658" y="1237836"/>
                  </a:cubicBezTo>
                  <a:cubicBezTo>
                    <a:pt x="4575" y="1242262"/>
                    <a:pt x="3889" y="1247165"/>
                    <a:pt x="3225" y="1251907"/>
                  </a:cubicBezTo>
                  <a:lnTo>
                    <a:pt x="3107" y="1252752"/>
                  </a:lnTo>
                  <a:cubicBezTo>
                    <a:pt x="2495" y="1257083"/>
                    <a:pt x="2779" y="1261987"/>
                    <a:pt x="3926" y="1266944"/>
                  </a:cubicBezTo>
                  <a:cubicBezTo>
                    <a:pt x="3802" y="1267107"/>
                    <a:pt x="3685" y="1267282"/>
                    <a:pt x="3566" y="1267458"/>
                  </a:cubicBezTo>
                  <a:cubicBezTo>
                    <a:pt x="3331" y="1267809"/>
                    <a:pt x="3109" y="1268140"/>
                    <a:pt x="2839" y="1268360"/>
                  </a:cubicBezTo>
                  <a:cubicBezTo>
                    <a:pt x="2006" y="1269036"/>
                    <a:pt x="1433" y="1269993"/>
                    <a:pt x="1225" y="1271052"/>
                  </a:cubicBezTo>
                  <a:cubicBezTo>
                    <a:pt x="821" y="1273124"/>
                    <a:pt x="462" y="1274991"/>
                    <a:pt x="171" y="1276852"/>
                  </a:cubicBezTo>
                  <a:cubicBezTo>
                    <a:pt x="-345" y="1280148"/>
                    <a:pt x="318" y="1283216"/>
                    <a:pt x="1990" y="1285269"/>
                  </a:cubicBezTo>
                  <a:cubicBezTo>
                    <a:pt x="4978" y="1288937"/>
                    <a:pt x="8342" y="1291386"/>
                    <a:pt x="11990" y="1292546"/>
                  </a:cubicBezTo>
                  <a:cubicBezTo>
                    <a:pt x="15518" y="1293669"/>
                    <a:pt x="18350" y="1294513"/>
                    <a:pt x="20904" y="1295200"/>
                  </a:cubicBezTo>
                  <a:cubicBezTo>
                    <a:pt x="22994" y="1295763"/>
                    <a:pt x="25123" y="1296402"/>
                    <a:pt x="27182" y="1297020"/>
                  </a:cubicBezTo>
                  <a:cubicBezTo>
                    <a:pt x="29948" y="1297850"/>
                    <a:pt x="32808" y="1298709"/>
                    <a:pt x="35637" y="1299401"/>
                  </a:cubicBezTo>
                  <a:cubicBezTo>
                    <a:pt x="38388" y="1300074"/>
                    <a:pt x="41334" y="1300855"/>
                    <a:pt x="44183" y="1301612"/>
                  </a:cubicBezTo>
                  <a:cubicBezTo>
                    <a:pt x="45960" y="1302083"/>
                    <a:pt x="47719" y="1302549"/>
                    <a:pt x="49414" y="1302985"/>
                  </a:cubicBezTo>
                  <a:cubicBezTo>
                    <a:pt x="53428" y="1304019"/>
                    <a:pt x="57427" y="1305140"/>
                    <a:pt x="61296" y="1306224"/>
                  </a:cubicBezTo>
                  <a:cubicBezTo>
                    <a:pt x="64036" y="1306993"/>
                    <a:pt x="66782" y="1307763"/>
                    <a:pt x="69567" y="1308512"/>
                  </a:cubicBezTo>
                  <a:cubicBezTo>
                    <a:pt x="73316" y="1309522"/>
                    <a:pt x="76915" y="1310374"/>
                    <a:pt x="80726" y="1311275"/>
                  </a:cubicBezTo>
                  <a:lnTo>
                    <a:pt x="82422" y="1311676"/>
                  </a:lnTo>
                  <a:cubicBezTo>
                    <a:pt x="84435" y="1312154"/>
                    <a:pt x="86432" y="1312654"/>
                    <a:pt x="88424" y="1313154"/>
                  </a:cubicBezTo>
                  <a:cubicBezTo>
                    <a:pt x="93507" y="1314427"/>
                    <a:pt x="98764" y="1315744"/>
                    <a:pt x="104095" y="1316609"/>
                  </a:cubicBezTo>
                  <a:cubicBezTo>
                    <a:pt x="112585" y="1317989"/>
                    <a:pt x="121714" y="1319266"/>
                    <a:pt x="130949" y="1319276"/>
                  </a:cubicBezTo>
                  <a:cubicBezTo>
                    <a:pt x="133027" y="1319278"/>
                    <a:pt x="135096" y="1319292"/>
                    <a:pt x="137162" y="1319305"/>
                  </a:cubicBezTo>
                  <a:cubicBezTo>
                    <a:pt x="139383" y="1319320"/>
                    <a:pt x="141626" y="1319334"/>
                    <a:pt x="143882" y="1319334"/>
                  </a:cubicBezTo>
                  <a:cubicBezTo>
                    <a:pt x="149533" y="1319334"/>
                    <a:pt x="155271" y="1319242"/>
                    <a:pt x="160972" y="1318825"/>
                  </a:cubicBezTo>
                  <a:cubicBezTo>
                    <a:pt x="168874" y="1318245"/>
                    <a:pt x="175385" y="1316982"/>
                    <a:pt x="180879" y="1314961"/>
                  </a:cubicBezTo>
                  <a:cubicBezTo>
                    <a:pt x="187228" y="1312626"/>
                    <a:pt x="191954" y="1309728"/>
                    <a:pt x="195329" y="1306100"/>
                  </a:cubicBezTo>
                  <a:lnTo>
                    <a:pt x="195397" y="1306027"/>
                  </a:lnTo>
                  <a:cubicBezTo>
                    <a:pt x="196651" y="1304679"/>
                    <a:pt x="198073" y="1303151"/>
                    <a:pt x="198315" y="1301278"/>
                  </a:cubicBezTo>
                  <a:cubicBezTo>
                    <a:pt x="198471" y="1300072"/>
                    <a:pt x="198488" y="1298844"/>
                    <a:pt x="198363" y="1297629"/>
                  </a:cubicBezTo>
                  <a:cubicBezTo>
                    <a:pt x="198248" y="1296505"/>
                    <a:pt x="198092" y="1295416"/>
                    <a:pt x="197486" y="1294457"/>
                  </a:cubicBezTo>
                  <a:cubicBezTo>
                    <a:pt x="197585" y="1294048"/>
                    <a:pt x="197650" y="1293662"/>
                    <a:pt x="197701" y="1293330"/>
                  </a:cubicBezTo>
                  <a:cubicBezTo>
                    <a:pt x="197966" y="1291614"/>
                    <a:pt x="198319" y="1287315"/>
                    <a:pt x="195876" y="1284466"/>
                  </a:cubicBezTo>
                  <a:cubicBezTo>
                    <a:pt x="192614" y="1280663"/>
                    <a:pt x="188991" y="1278017"/>
                    <a:pt x="185397" y="1276815"/>
                  </a:cubicBezTo>
                  <a:cubicBezTo>
                    <a:pt x="181589" y="1275542"/>
                    <a:pt x="177605" y="1274734"/>
                    <a:pt x="173751" y="1273953"/>
                  </a:cubicBezTo>
                  <a:lnTo>
                    <a:pt x="173160" y="1273832"/>
                  </a:lnTo>
                  <a:cubicBezTo>
                    <a:pt x="172324" y="1273663"/>
                    <a:pt x="171474" y="1273507"/>
                    <a:pt x="170619" y="1273350"/>
                  </a:cubicBezTo>
                  <a:cubicBezTo>
                    <a:pt x="167055" y="1272697"/>
                    <a:pt x="163370" y="1272022"/>
                    <a:pt x="160312" y="1270237"/>
                  </a:cubicBezTo>
                  <a:cubicBezTo>
                    <a:pt x="159357" y="1269679"/>
                    <a:pt x="158354" y="1269196"/>
                    <a:pt x="157384" y="1268728"/>
                  </a:cubicBezTo>
                  <a:cubicBezTo>
                    <a:pt x="155735" y="1267934"/>
                    <a:pt x="154178" y="1267184"/>
                    <a:pt x="152795" y="1266086"/>
                  </a:cubicBezTo>
                  <a:cubicBezTo>
                    <a:pt x="149742" y="1263660"/>
                    <a:pt x="146664" y="1261791"/>
                    <a:pt x="143648" y="1260531"/>
                  </a:cubicBezTo>
                  <a:cubicBezTo>
                    <a:pt x="141835" y="1259772"/>
                    <a:pt x="139953" y="1258569"/>
                    <a:pt x="138331" y="1257502"/>
                  </a:cubicBezTo>
                  <a:cubicBezTo>
                    <a:pt x="135276" y="1255492"/>
                    <a:pt x="131837" y="1252971"/>
                    <a:pt x="129498" y="1249520"/>
                  </a:cubicBezTo>
                  <a:cubicBezTo>
                    <a:pt x="128060" y="1247400"/>
                    <a:pt x="126095" y="1244703"/>
                    <a:pt x="123628" y="1242636"/>
                  </a:cubicBezTo>
                  <a:cubicBezTo>
                    <a:pt x="122889" y="1242017"/>
                    <a:pt x="122064" y="1241432"/>
                    <a:pt x="121266" y="1240867"/>
                  </a:cubicBezTo>
                  <a:cubicBezTo>
                    <a:pt x="119944" y="1239932"/>
                    <a:pt x="118577" y="1238964"/>
                    <a:pt x="117560" y="1237810"/>
                  </a:cubicBezTo>
                  <a:cubicBezTo>
                    <a:pt x="116812" y="1236962"/>
                    <a:pt x="116086" y="1236103"/>
                    <a:pt x="115359" y="1235245"/>
                  </a:cubicBezTo>
                  <a:cubicBezTo>
                    <a:pt x="114725" y="1234495"/>
                    <a:pt x="114091" y="1233745"/>
                    <a:pt x="113443" y="1233002"/>
                  </a:cubicBezTo>
                  <a:cubicBezTo>
                    <a:pt x="113537" y="1232924"/>
                    <a:pt x="113631" y="1232845"/>
                    <a:pt x="113726" y="1232765"/>
                  </a:cubicBezTo>
                  <a:cubicBezTo>
                    <a:pt x="114082" y="1232466"/>
                    <a:pt x="114451" y="1232155"/>
                    <a:pt x="114817" y="1231924"/>
                  </a:cubicBezTo>
                  <a:cubicBezTo>
                    <a:pt x="115312" y="1231610"/>
                    <a:pt x="115638" y="1231035"/>
                    <a:pt x="115714" y="1230347"/>
                  </a:cubicBezTo>
                  <a:cubicBezTo>
                    <a:pt x="115777" y="1229775"/>
                    <a:pt x="115654" y="1229189"/>
                    <a:pt x="115533" y="1228684"/>
                  </a:cubicBezTo>
                  <a:cubicBezTo>
                    <a:pt x="115307" y="1227744"/>
                    <a:pt x="115067" y="1226786"/>
                    <a:pt x="114821" y="1225820"/>
                  </a:cubicBezTo>
                  <a:cubicBezTo>
                    <a:pt x="114301" y="1223761"/>
                    <a:pt x="113763" y="1221632"/>
                    <a:pt x="113377" y="1219601"/>
                  </a:cubicBezTo>
                  <a:cubicBezTo>
                    <a:pt x="113257" y="1218967"/>
                    <a:pt x="113135" y="1218358"/>
                    <a:pt x="113017" y="1217771"/>
                  </a:cubicBezTo>
                  <a:cubicBezTo>
                    <a:pt x="112238" y="1213892"/>
                    <a:pt x="111674" y="1211090"/>
                    <a:pt x="113024" y="1208163"/>
                  </a:cubicBezTo>
                  <a:cubicBezTo>
                    <a:pt x="115378" y="1203061"/>
                    <a:pt x="115866" y="1197338"/>
                    <a:pt x="114440" y="1191601"/>
                  </a:cubicBezTo>
                  <a:cubicBezTo>
                    <a:pt x="119740" y="1184734"/>
                    <a:pt x="123413" y="1175362"/>
                    <a:pt x="124040" y="1167085"/>
                  </a:cubicBezTo>
                  <a:cubicBezTo>
                    <a:pt x="124162" y="1165475"/>
                    <a:pt x="124243" y="1163842"/>
                    <a:pt x="124328" y="1162113"/>
                  </a:cubicBezTo>
                  <a:cubicBezTo>
                    <a:pt x="124541" y="1157791"/>
                    <a:pt x="124762" y="1153321"/>
                    <a:pt x="125667" y="1149338"/>
                  </a:cubicBezTo>
                  <a:cubicBezTo>
                    <a:pt x="127633" y="1140687"/>
                    <a:pt x="129436" y="1131573"/>
                    <a:pt x="131180" y="1122759"/>
                  </a:cubicBezTo>
                  <a:lnTo>
                    <a:pt x="131990" y="1118672"/>
                  </a:lnTo>
                  <a:cubicBezTo>
                    <a:pt x="132970" y="1113743"/>
                    <a:pt x="133651" y="1108620"/>
                    <a:pt x="134309" y="1103667"/>
                  </a:cubicBezTo>
                  <a:cubicBezTo>
                    <a:pt x="135493" y="1094763"/>
                    <a:pt x="136716" y="1085558"/>
                    <a:pt x="139717" y="1077095"/>
                  </a:cubicBezTo>
                  <a:cubicBezTo>
                    <a:pt x="140189" y="1075761"/>
                    <a:pt x="140751" y="1074377"/>
                    <a:pt x="141293" y="1073038"/>
                  </a:cubicBezTo>
                  <a:cubicBezTo>
                    <a:pt x="142619" y="1069772"/>
                    <a:pt x="143989" y="1066393"/>
                    <a:pt x="144432" y="1062978"/>
                  </a:cubicBezTo>
                  <a:cubicBezTo>
                    <a:pt x="144586" y="1061798"/>
                    <a:pt x="144704" y="1060559"/>
                    <a:pt x="144818" y="1059361"/>
                  </a:cubicBezTo>
                  <a:cubicBezTo>
                    <a:pt x="145046" y="1056981"/>
                    <a:pt x="145281" y="1054519"/>
                    <a:pt x="145806" y="1052266"/>
                  </a:cubicBezTo>
                  <a:cubicBezTo>
                    <a:pt x="145915" y="1051798"/>
                    <a:pt x="146014" y="1051312"/>
                    <a:pt x="146115" y="1050817"/>
                  </a:cubicBezTo>
                  <a:cubicBezTo>
                    <a:pt x="146550" y="1048700"/>
                    <a:pt x="147000" y="1046511"/>
                    <a:pt x="148301" y="1045045"/>
                  </a:cubicBezTo>
                  <a:cubicBezTo>
                    <a:pt x="150791" y="1042238"/>
                    <a:pt x="153358" y="1040121"/>
                    <a:pt x="156449" y="1037807"/>
                  </a:cubicBezTo>
                  <a:cubicBezTo>
                    <a:pt x="160848" y="1034510"/>
                    <a:pt x="164536" y="1030169"/>
                    <a:pt x="168102" y="1025971"/>
                  </a:cubicBezTo>
                  <a:cubicBezTo>
                    <a:pt x="169407" y="1024436"/>
                    <a:pt x="170757" y="1022848"/>
                    <a:pt x="172107" y="1021352"/>
                  </a:cubicBezTo>
                  <a:cubicBezTo>
                    <a:pt x="177455" y="1015435"/>
                    <a:pt x="181064" y="1007716"/>
                    <a:pt x="181764" y="1000706"/>
                  </a:cubicBezTo>
                  <a:cubicBezTo>
                    <a:pt x="182220" y="996144"/>
                    <a:pt x="183866" y="991582"/>
                    <a:pt x="185456" y="987171"/>
                  </a:cubicBezTo>
                  <a:lnTo>
                    <a:pt x="185557" y="986894"/>
                  </a:lnTo>
                  <a:cubicBezTo>
                    <a:pt x="186176" y="985176"/>
                    <a:pt x="186763" y="983402"/>
                    <a:pt x="187331" y="981689"/>
                  </a:cubicBezTo>
                  <a:cubicBezTo>
                    <a:pt x="188250" y="978913"/>
                    <a:pt x="189199" y="976044"/>
                    <a:pt x="190317" y="973322"/>
                  </a:cubicBezTo>
                  <a:cubicBezTo>
                    <a:pt x="195045" y="961807"/>
                    <a:pt x="199627" y="949552"/>
                    <a:pt x="199235" y="937450"/>
                  </a:cubicBezTo>
                  <a:cubicBezTo>
                    <a:pt x="199033" y="931254"/>
                    <a:pt x="201172" y="924906"/>
                    <a:pt x="203192" y="919445"/>
                  </a:cubicBezTo>
                  <a:cubicBezTo>
                    <a:pt x="204335" y="916355"/>
                    <a:pt x="205447" y="912855"/>
                    <a:pt x="206245" y="909840"/>
                  </a:cubicBezTo>
                  <a:cubicBezTo>
                    <a:pt x="207478" y="905181"/>
                    <a:pt x="208679" y="900494"/>
                    <a:pt x="209879" y="895808"/>
                  </a:cubicBezTo>
                  <a:cubicBezTo>
                    <a:pt x="210988" y="891486"/>
                    <a:pt x="212095" y="887164"/>
                    <a:pt x="213227" y="882864"/>
                  </a:cubicBezTo>
                  <a:lnTo>
                    <a:pt x="213667" y="883808"/>
                  </a:lnTo>
                  <a:cubicBezTo>
                    <a:pt x="218578" y="894325"/>
                    <a:pt x="223656" y="905200"/>
                    <a:pt x="228252" y="915851"/>
                  </a:cubicBezTo>
                  <a:lnTo>
                    <a:pt x="241848" y="947366"/>
                  </a:lnTo>
                  <a:cubicBezTo>
                    <a:pt x="242788" y="949545"/>
                    <a:pt x="243897" y="951198"/>
                    <a:pt x="245071" y="952949"/>
                  </a:cubicBezTo>
                  <a:cubicBezTo>
                    <a:pt x="245407" y="953450"/>
                    <a:pt x="245751" y="953963"/>
                    <a:pt x="246101" y="954503"/>
                  </a:cubicBezTo>
                  <a:cubicBezTo>
                    <a:pt x="247312" y="956371"/>
                    <a:pt x="248336" y="958471"/>
                    <a:pt x="249326" y="960501"/>
                  </a:cubicBezTo>
                  <a:cubicBezTo>
                    <a:pt x="249863" y="961603"/>
                    <a:pt x="250419" y="962743"/>
                    <a:pt x="250997" y="963827"/>
                  </a:cubicBezTo>
                  <a:cubicBezTo>
                    <a:pt x="251736" y="965216"/>
                    <a:pt x="252479" y="966604"/>
                    <a:pt x="253223" y="967993"/>
                  </a:cubicBezTo>
                  <a:cubicBezTo>
                    <a:pt x="259003" y="978790"/>
                    <a:pt x="264982" y="989955"/>
                    <a:pt x="269233" y="1001646"/>
                  </a:cubicBezTo>
                  <a:cubicBezTo>
                    <a:pt x="269914" y="1003517"/>
                    <a:pt x="270570" y="1005519"/>
                    <a:pt x="271204" y="1007454"/>
                  </a:cubicBezTo>
                  <a:cubicBezTo>
                    <a:pt x="272595" y="1011700"/>
                    <a:pt x="274033" y="1016090"/>
                    <a:pt x="275973" y="1019951"/>
                  </a:cubicBezTo>
                  <a:cubicBezTo>
                    <a:pt x="277023" y="1022040"/>
                    <a:pt x="278073" y="1024212"/>
                    <a:pt x="279120" y="1026377"/>
                  </a:cubicBezTo>
                  <a:cubicBezTo>
                    <a:pt x="279972" y="1028139"/>
                    <a:pt x="280820" y="1029896"/>
                    <a:pt x="281665" y="1031598"/>
                  </a:cubicBezTo>
                  <a:cubicBezTo>
                    <a:pt x="283869" y="1036043"/>
                    <a:pt x="286316" y="1040667"/>
                    <a:pt x="288683" y="1045138"/>
                  </a:cubicBezTo>
                  <a:cubicBezTo>
                    <a:pt x="292864" y="1053035"/>
                    <a:pt x="297186" y="1061201"/>
                    <a:pt x="300599" y="1069146"/>
                  </a:cubicBezTo>
                  <a:cubicBezTo>
                    <a:pt x="301343" y="1070879"/>
                    <a:pt x="302082" y="1072625"/>
                    <a:pt x="302827" y="1074378"/>
                  </a:cubicBezTo>
                  <a:cubicBezTo>
                    <a:pt x="308679" y="1088185"/>
                    <a:pt x="314730" y="1102460"/>
                    <a:pt x="324221" y="1113931"/>
                  </a:cubicBezTo>
                  <a:cubicBezTo>
                    <a:pt x="328397" y="1118980"/>
                    <a:pt x="331914" y="1125252"/>
                    <a:pt x="334391" y="1132070"/>
                  </a:cubicBezTo>
                  <a:cubicBezTo>
                    <a:pt x="335815" y="1135991"/>
                    <a:pt x="337385" y="1139816"/>
                    <a:pt x="338902" y="1143514"/>
                  </a:cubicBezTo>
                  <a:cubicBezTo>
                    <a:pt x="340793" y="1148125"/>
                    <a:pt x="342749" y="1152893"/>
                    <a:pt x="344413" y="1157827"/>
                  </a:cubicBezTo>
                  <a:cubicBezTo>
                    <a:pt x="347390" y="1166654"/>
                    <a:pt x="351826" y="1175154"/>
                    <a:pt x="357599" y="1183088"/>
                  </a:cubicBezTo>
                  <a:lnTo>
                    <a:pt x="357842" y="1183422"/>
                  </a:lnTo>
                  <a:cubicBezTo>
                    <a:pt x="359774" y="1186072"/>
                    <a:pt x="361772" y="1188811"/>
                    <a:pt x="361482" y="1191866"/>
                  </a:cubicBezTo>
                  <a:cubicBezTo>
                    <a:pt x="361143" y="1195461"/>
                    <a:pt x="360929" y="1199233"/>
                    <a:pt x="362344" y="1202369"/>
                  </a:cubicBezTo>
                  <a:cubicBezTo>
                    <a:pt x="363747" y="1205479"/>
                    <a:pt x="365750" y="1208374"/>
                    <a:pt x="367686" y="1211173"/>
                  </a:cubicBezTo>
                  <a:lnTo>
                    <a:pt x="368392" y="1212195"/>
                  </a:lnTo>
                  <a:cubicBezTo>
                    <a:pt x="368738" y="1212699"/>
                    <a:pt x="369104" y="1213245"/>
                    <a:pt x="369471" y="1213792"/>
                  </a:cubicBezTo>
                  <a:cubicBezTo>
                    <a:pt x="369819" y="1214310"/>
                    <a:pt x="370167" y="1214828"/>
                    <a:pt x="370499" y="1215311"/>
                  </a:cubicBezTo>
                  <a:cubicBezTo>
                    <a:pt x="370477" y="1216789"/>
                    <a:pt x="370685" y="1218299"/>
                    <a:pt x="370887" y="1219761"/>
                  </a:cubicBezTo>
                  <a:cubicBezTo>
                    <a:pt x="371164" y="1221780"/>
                    <a:pt x="371453" y="1223867"/>
                    <a:pt x="371113" y="1225817"/>
                  </a:cubicBezTo>
                  <a:cubicBezTo>
                    <a:pt x="370682" y="1228282"/>
                    <a:pt x="371376" y="1231151"/>
                    <a:pt x="373509" y="1231611"/>
                  </a:cubicBezTo>
                  <a:cubicBezTo>
                    <a:pt x="373796" y="1231673"/>
                    <a:pt x="374041" y="1231686"/>
                    <a:pt x="374278" y="1231697"/>
                  </a:cubicBezTo>
                  <a:cubicBezTo>
                    <a:pt x="374377" y="1231702"/>
                    <a:pt x="374475" y="1231707"/>
                    <a:pt x="374576" y="1231717"/>
                  </a:cubicBezTo>
                  <a:cubicBezTo>
                    <a:pt x="374588" y="1233734"/>
                    <a:pt x="374542" y="1235780"/>
                    <a:pt x="374497" y="1237764"/>
                  </a:cubicBezTo>
                  <a:cubicBezTo>
                    <a:pt x="374449" y="1239885"/>
                    <a:pt x="374400" y="1242079"/>
                    <a:pt x="374421" y="1244240"/>
                  </a:cubicBezTo>
                  <a:lnTo>
                    <a:pt x="374431" y="1245356"/>
                  </a:lnTo>
                  <a:cubicBezTo>
                    <a:pt x="374459" y="1248423"/>
                    <a:pt x="374487" y="1251595"/>
                    <a:pt x="374691" y="1254654"/>
                  </a:cubicBezTo>
                  <a:cubicBezTo>
                    <a:pt x="374755" y="1255610"/>
                    <a:pt x="374823" y="1256533"/>
                    <a:pt x="374891" y="1257446"/>
                  </a:cubicBezTo>
                  <a:cubicBezTo>
                    <a:pt x="375028" y="1259288"/>
                    <a:pt x="375156" y="1261029"/>
                    <a:pt x="375243" y="1262927"/>
                  </a:cubicBezTo>
                  <a:cubicBezTo>
                    <a:pt x="375559" y="1269903"/>
                    <a:pt x="378176" y="1276665"/>
                    <a:pt x="382438" y="1281537"/>
                  </a:cubicBezTo>
                  <a:cubicBezTo>
                    <a:pt x="381587" y="1282879"/>
                    <a:pt x="381254" y="1284321"/>
                    <a:pt x="381520" y="1285536"/>
                  </a:cubicBezTo>
                  <a:cubicBezTo>
                    <a:pt x="381660" y="1286174"/>
                    <a:pt x="381836" y="1286814"/>
                    <a:pt x="382012" y="1287458"/>
                  </a:cubicBezTo>
                  <a:cubicBezTo>
                    <a:pt x="382323" y="1288587"/>
                    <a:pt x="382644" y="1289756"/>
                    <a:pt x="382751" y="1290897"/>
                  </a:cubicBezTo>
                  <a:cubicBezTo>
                    <a:pt x="382837" y="1291805"/>
                    <a:pt x="383061" y="1292686"/>
                    <a:pt x="383277" y="1293539"/>
                  </a:cubicBezTo>
                  <a:lnTo>
                    <a:pt x="383441" y="1294200"/>
                  </a:lnTo>
                  <a:cubicBezTo>
                    <a:pt x="383690" y="1295225"/>
                    <a:pt x="383948" y="1296285"/>
                    <a:pt x="384463" y="1297256"/>
                  </a:cubicBezTo>
                  <a:cubicBezTo>
                    <a:pt x="384827" y="1297941"/>
                    <a:pt x="385635" y="1299152"/>
                    <a:pt x="386959" y="1299570"/>
                  </a:cubicBezTo>
                  <a:cubicBezTo>
                    <a:pt x="387850" y="1299852"/>
                    <a:pt x="388636" y="1299922"/>
                    <a:pt x="389428" y="1299792"/>
                  </a:cubicBezTo>
                  <a:cubicBezTo>
                    <a:pt x="391266" y="1299493"/>
                    <a:pt x="393196" y="1299261"/>
                    <a:pt x="395062" y="1299037"/>
                  </a:cubicBezTo>
                  <a:cubicBezTo>
                    <a:pt x="398819" y="1298587"/>
                    <a:pt x="402702" y="1298121"/>
                    <a:pt x="406295" y="1297060"/>
                  </a:cubicBezTo>
                  <a:cubicBezTo>
                    <a:pt x="408350" y="1296454"/>
                    <a:pt x="410491" y="1295876"/>
                    <a:pt x="412560" y="1295319"/>
                  </a:cubicBezTo>
                  <a:cubicBezTo>
                    <a:pt x="417392" y="1294017"/>
                    <a:pt x="422390" y="1292669"/>
                    <a:pt x="426995" y="1290770"/>
                  </a:cubicBezTo>
                  <a:cubicBezTo>
                    <a:pt x="432884" y="1288342"/>
                    <a:pt x="438652" y="1285981"/>
                    <a:pt x="444467" y="1283799"/>
                  </a:cubicBezTo>
                  <a:cubicBezTo>
                    <a:pt x="447574" y="1282632"/>
                    <a:pt x="450718" y="1281311"/>
                    <a:pt x="453758" y="1280033"/>
                  </a:cubicBezTo>
                  <a:cubicBezTo>
                    <a:pt x="458207" y="1278164"/>
                    <a:pt x="462806" y="1276231"/>
                    <a:pt x="467397" y="1274736"/>
                  </a:cubicBezTo>
                  <a:cubicBezTo>
                    <a:pt x="482174" y="1269925"/>
                    <a:pt x="497864" y="1264454"/>
                    <a:pt x="512486" y="1257059"/>
                  </a:cubicBezTo>
                  <a:cubicBezTo>
                    <a:pt x="514329" y="1256128"/>
                    <a:pt x="516182" y="1255215"/>
                    <a:pt x="518035" y="1254304"/>
                  </a:cubicBezTo>
                  <a:cubicBezTo>
                    <a:pt x="522764" y="1251978"/>
                    <a:pt x="527652" y="1249573"/>
                    <a:pt x="532275" y="1246856"/>
                  </a:cubicBezTo>
                  <a:cubicBezTo>
                    <a:pt x="534567" y="1245510"/>
                    <a:pt x="536786" y="1244220"/>
                    <a:pt x="538998" y="1242935"/>
                  </a:cubicBezTo>
                  <a:cubicBezTo>
                    <a:pt x="541678" y="1241378"/>
                    <a:pt x="544347" y="1239827"/>
                    <a:pt x="547120" y="1238188"/>
                  </a:cubicBezTo>
                  <a:cubicBezTo>
                    <a:pt x="552499" y="1235010"/>
                    <a:pt x="557974" y="1231314"/>
                    <a:pt x="563860" y="1226889"/>
                  </a:cubicBezTo>
                  <a:cubicBezTo>
                    <a:pt x="564993" y="1226036"/>
                    <a:pt x="566086" y="1225102"/>
                    <a:pt x="567142" y="1224197"/>
                  </a:cubicBezTo>
                  <a:cubicBezTo>
                    <a:pt x="568773" y="1222800"/>
                    <a:pt x="570461" y="1221355"/>
                    <a:pt x="572304" y="1220220"/>
                  </a:cubicBezTo>
                  <a:cubicBezTo>
                    <a:pt x="573214" y="1219658"/>
                    <a:pt x="573904" y="1218747"/>
                    <a:pt x="574197" y="1217720"/>
                  </a:cubicBezTo>
                  <a:cubicBezTo>
                    <a:pt x="574458" y="1216807"/>
                    <a:pt x="574495" y="1215408"/>
                    <a:pt x="573740" y="1214469"/>
                  </a:cubicBezTo>
                  <a:lnTo>
                    <a:pt x="573457" y="1214117"/>
                  </a:lnTo>
                  <a:close/>
                </a:path>
              </a:pathLst>
            </a:custGeom>
            <a:solidFill>
              <a:schemeClr val="tx2"/>
            </a:solidFill>
            <a:ln w="0" cap="flat">
              <a:noFill/>
              <a:prstDash val="solid"/>
              <a:miter/>
            </a:ln>
            <a:effectLst>
              <a:outerShdw blurRad="76200" dir="18900000" sy="23000" kx="-1200000" algn="bl" rotWithShape="0">
                <a:prstClr val="black">
                  <a:alpha val="20000"/>
                </a:prstClr>
              </a:outerShdw>
            </a:effectLst>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199" name="Freeform: Shape 198">
              <a:extLst>
                <a:ext uri="{FF2B5EF4-FFF2-40B4-BE49-F238E27FC236}">
                  <a16:creationId xmlns:a16="http://schemas.microsoft.com/office/drawing/2014/main" id="{8059F544-2AA8-EBEB-3F51-1F5B03094203}"/>
                </a:ext>
              </a:extLst>
            </p:cNvPr>
            <p:cNvSpPr/>
            <p:nvPr/>
          </p:nvSpPr>
          <p:spPr>
            <a:xfrm>
              <a:off x="9593461" y="1101266"/>
              <a:ext cx="409493" cy="897150"/>
            </a:xfrm>
            <a:custGeom>
              <a:avLst/>
              <a:gdLst>
                <a:gd name="connsiteX0" fmla="*/ 558901 w 559555"/>
                <a:gd name="connsiteY0" fmla="*/ 1194052 h 1225917"/>
                <a:gd name="connsiteX1" fmla="*/ 558249 w 559555"/>
                <a:gd name="connsiteY1" fmla="*/ 1193066 h 1225917"/>
                <a:gd name="connsiteX2" fmla="*/ 557630 w 559555"/>
                <a:gd name="connsiteY2" fmla="*/ 1192132 h 1225917"/>
                <a:gd name="connsiteX3" fmla="*/ 556442 w 559555"/>
                <a:gd name="connsiteY3" fmla="*/ 1186225 h 1225917"/>
                <a:gd name="connsiteX4" fmla="*/ 547087 w 559555"/>
                <a:gd name="connsiteY4" fmla="*/ 1180882 h 1225917"/>
                <a:gd name="connsiteX5" fmla="*/ 525092 w 559555"/>
                <a:gd name="connsiteY5" fmla="*/ 1179827 h 1225917"/>
                <a:gd name="connsiteX6" fmla="*/ 523213 w 559555"/>
                <a:gd name="connsiteY6" fmla="*/ 1179816 h 1225917"/>
                <a:gd name="connsiteX7" fmla="*/ 517722 w 559555"/>
                <a:gd name="connsiteY7" fmla="*/ 1179962 h 1225917"/>
                <a:gd name="connsiteX8" fmla="*/ 506530 w 559555"/>
                <a:gd name="connsiteY8" fmla="*/ 1179685 h 1225917"/>
                <a:gd name="connsiteX9" fmla="*/ 503027 w 559555"/>
                <a:gd name="connsiteY9" fmla="*/ 1179241 h 1225917"/>
                <a:gd name="connsiteX10" fmla="*/ 496514 w 559555"/>
                <a:gd name="connsiteY10" fmla="*/ 1178059 h 1225917"/>
                <a:gd name="connsiteX11" fmla="*/ 482629 w 559555"/>
                <a:gd name="connsiteY11" fmla="*/ 1169788 h 1225917"/>
                <a:gd name="connsiteX12" fmla="*/ 479561 w 559555"/>
                <a:gd name="connsiteY12" fmla="*/ 1166671 h 1225917"/>
                <a:gd name="connsiteX13" fmla="*/ 473884 w 559555"/>
                <a:gd name="connsiteY13" fmla="*/ 1160518 h 1225917"/>
                <a:gd name="connsiteX14" fmla="*/ 465030 w 559555"/>
                <a:gd name="connsiteY14" fmla="*/ 1152720 h 1225917"/>
                <a:gd name="connsiteX15" fmla="*/ 459519 w 559555"/>
                <a:gd name="connsiteY15" fmla="*/ 1148969 h 1225917"/>
                <a:gd name="connsiteX16" fmla="*/ 457418 w 559555"/>
                <a:gd name="connsiteY16" fmla="*/ 1147430 h 1225917"/>
                <a:gd name="connsiteX17" fmla="*/ 454904 w 559555"/>
                <a:gd name="connsiteY17" fmla="*/ 1145663 h 1225917"/>
                <a:gd name="connsiteX18" fmla="*/ 442981 w 559555"/>
                <a:gd name="connsiteY18" fmla="*/ 1135708 h 1225917"/>
                <a:gd name="connsiteX19" fmla="*/ 441568 w 559555"/>
                <a:gd name="connsiteY19" fmla="*/ 1134185 h 1225917"/>
                <a:gd name="connsiteX20" fmla="*/ 439158 w 559555"/>
                <a:gd name="connsiteY20" fmla="*/ 1131238 h 1225917"/>
                <a:gd name="connsiteX21" fmla="*/ 432886 w 559555"/>
                <a:gd name="connsiteY21" fmla="*/ 1126759 h 1225917"/>
                <a:gd name="connsiteX22" fmla="*/ 429600 w 559555"/>
                <a:gd name="connsiteY22" fmla="*/ 1126785 h 1225917"/>
                <a:gd name="connsiteX23" fmla="*/ 428848 w 559555"/>
                <a:gd name="connsiteY23" fmla="*/ 1126796 h 1225917"/>
                <a:gd name="connsiteX24" fmla="*/ 427734 w 559555"/>
                <a:gd name="connsiteY24" fmla="*/ 1126552 h 1225917"/>
                <a:gd name="connsiteX25" fmla="*/ 427555 w 559555"/>
                <a:gd name="connsiteY25" fmla="*/ 1125557 h 1225917"/>
                <a:gd name="connsiteX26" fmla="*/ 427654 w 559555"/>
                <a:gd name="connsiteY26" fmla="*/ 1124796 h 1225917"/>
                <a:gd name="connsiteX27" fmla="*/ 427770 w 559555"/>
                <a:gd name="connsiteY27" fmla="*/ 1123890 h 1225917"/>
                <a:gd name="connsiteX28" fmla="*/ 428962 w 559555"/>
                <a:gd name="connsiteY28" fmla="*/ 1119590 h 1225917"/>
                <a:gd name="connsiteX29" fmla="*/ 429091 w 559555"/>
                <a:gd name="connsiteY29" fmla="*/ 1119247 h 1225917"/>
                <a:gd name="connsiteX30" fmla="*/ 429235 w 559555"/>
                <a:gd name="connsiteY30" fmla="*/ 1118921 h 1225917"/>
                <a:gd name="connsiteX31" fmla="*/ 431209 w 559555"/>
                <a:gd name="connsiteY31" fmla="*/ 1109914 h 1225917"/>
                <a:gd name="connsiteX32" fmla="*/ 431207 w 559555"/>
                <a:gd name="connsiteY32" fmla="*/ 1109796 h 1225917"/>
                <a:gd name="connsiteX33" fmla="*/ 431064 w 559555"/>
                <a:gd name="connsiteY33" fmla="*/ 1106354 h 1225917"/>
                <a:gd name="connsiteX34" fmla="*/ 430579 w 559555"/>
                <a:gd name="connsiteY34" fmla="*/ 1101370 h 1225917"/>
                <a:gd name="connsiteX35" fmla="*/ 429841 w 559555"/>
                <a:gd name="connsiteY35" fmla="*/ 1091129 h 1225917"/>
                <a:gd name="connsiteX36" fmla="*/ 427261 w 559555"/>
                <a:gd name="connsiteY36" fmla="*/ 1079427 h 1225917"/>
                <a:gd name="connsiteX37" fmla="*/ 425188 w 559555"/>
                <a:gd name="connsiteY37" fmla="*/ 1074698 h 1225917"/>
                <a:gd name="connsiteX38" fmla="*/ 421560 w 559555"/>
                <a:gd name="connsiteY38" fmla="*/ 1065353 h 1225917"/>
                <a:gd name="connsiteX39" fmla="*/ 421126 w 559555"/>
                <a:gd name="connsiteY39" fmla="*/ 1056106 h 1225917"/>
                <a:gd name="connsiteX40" fmla="*/ 423270 w 559555"/>
                <a:gd name="connsiteY40" fmla="*/ 1050112 h 1225917"/>
                <a:gd name="connsiteX41" fmla="*/ 426673 w 559555"/>
                <a:gd name="connsiteY41" fmla="*/ 1040433 h 1225917"/>
                <a:gd name="connsiteX42" fmla="*/ 429700 w 559555"/>
                <a:gd name="connsiteY42" fmla="*/ 1030965 h 1225917"/>
                <a:gd name="connsiteX43" fmla="*/ 433918 w 559555"/>
                <a:gd name="connsiteY43" fmla="*/ 1017962 h 1225917"/>
                <a:gd name="connsiteX44" fmla="*/ 439854 w 559555"/>
                <a:gd name="connsiteY44" fmla="*/ 988678 h 1225917"/>
                <a:gd name="connsiteX45" fmla="*/ 440004 w 559555"/>
                <a:gd name="connsiteY45" fmla="*/ 984850 h 1225917"/>
                <a:gd name="connsiteX46" fmla="*/ 440905 w 559555"/>
                <a:gd name="connsiteY46" fmla="*/ 974770 h 1225917"/>
                <a:gd name="connsiteX47" fmla="*/ 447708 w 559555"/>
                <a:gd name="connsiteY47" fmla="*/ 896236 h 1225917"/>
                <a:gd name="connsiteX48" fmla="*/ 448011 w 559555"/>
                <a:gd name="connsiteY48" fmla="*/ 885883 h 1225917"/>
                <a:gd name="connsiteX49" fmla="*/ 445729 w 559555"/>
                <a:gd name="connsiteY49" fmla="*/ 846670 h 1225917"/>
                <a:gd name="connsiteX50" fmla="*/ 444520 w 559555"/>
                <a:gd name="connsiteY50" fmla="*/ 841849 h 1225917"/>
                <a:gd name="connsiteX51" fmla="*/ 441211 w 559555"/>
                <a:gd name="connsiteY51" fmla="*/ 829326 h 1225917"/>
                <a:gd name="connsiteX52" fmla="*/ 435332 w 559555"/>
                <a:gd name="connsiteY52" fmla="*/ 808448 h 1225917"/>
                <a:gd name="connsiteX53" fmla="*/ 426449 w 559555"/>
                <a:gd name="connsiteY53" fmla="*/ 777742 h 1225917"/>
                <a:gd name="connsiteX54" fmla="*/ 418529 w 559555"/>
                <a:gd name="connsiteY54" fmla="*/ 732291 h 1225917"/>
                <a:gd name="connsiteX55" fmla="*/ 416442 w 559555"/>
                <a:gd name="connsiteY55" fmla="*/ 714452 h 1225917"/>
                <a:gd name="connsiteX56" fmla="*/ 416231 w 559555"/>
                <a:gd name="connsiteY56" fmla="*/ 713689 h 1225917"/>
                <a:gd name="connsiteX57" fmla="*/ 413348 w 559555"/>
                <a:gd name="connsiteY57" fmla="*/ 707056 h 1225917"/>
                <a:gd name="connsiteX58" fmla="*/ 410485 w 559555"/>
                <a:gd name="connsiteY58" fmla="*/ 699630 h 1225917"/>
                <a:gd name="connsiteX59" fmla="*/ 410471 w 559555"/>
                <a:gd name="connsiteY59" fmla="*/ 697264 h 1225917"/>
                <a:gd name="connsiteX60" fmla="*/ 410594 w 559555"/>
                <a:gd name="connsiteY60" fmla="*/ 693575 h 1225917"/>
                <a:gd name="connsiteX61" fmla="*/ 409064 w 559555"/>
                <a:gd name="connsiteY61" fmla="*/ 681602 h 1225917"/>
                <a:gd name="connsiteX62" fmla="*/ 407618 w 559555"/>
                <a:gd name="connsiteY62" fmla="*/ 679233 h 1225917"/>
                <a:gd name="connsiteX63" fmla="*/ 406527 w 559555"/>
                <a:gd name="connsiteY63" fmla="*/ 677558 h 1225917"/>
                <a:gd name="connsiteX64" fmla="*/ 405769 w 559555"/>
                <a:gd name="connsiteY64" fmla="*/ 676405 h 1225917"/>
                <a:gd name="connsiteX65" fmla="*/ 404699 w 559555"/>
                <a:gd name="connsiteY65" fmla="*/ 674182 h 1225917"/>
                <a:gd name="connsiteX66" fmla="*/ 404593 w 559555"/>
                <a:gd name="connsiteY66" fmla="*/ 671866 h 1225917"/>
                <a:gd name="connsiteX67" fmla="*/ 404632 w 559555"/>
                <a:gd name="connsiteY67" fmla="*/ 668241 h 1225917"/>
                <a:gd name="connsiteX68" fmla="*/ 404734 w 559555"/>
                <a:gd name="connsiteY68" fmla="*/ 667766 h 1225917"/>
                <a:gd name="connsiteX69" fmla="*/ 405307 w 559555"/>
                <a:gd name="connsiteY69" fmla="*/ 664108 h 1225917"/>
                <a:gd name="connsiteX70" fmla="*/ 402750 w 559555"/>
                <a:gd name="connsiteY70" fmla="*/ 653413 h 1225917"/>
                <a:gd name="connsiteX71" fmla="*/ 402525 w 559555"/>
                <a:gd name="connsiteY71" fmla="*/ 652855 h 1225917"/>
                <a:gd name="connsiteX72" fmla="*/ 396542 w 559555"/>
                <a:gd name="connsiteY72" fmla="*/ 642337 h 1225917"/>
                <a:gd name="connsiteX73" fmla="*/ 393715 w 559555"/>
                <a:gd name="connsiteY73" fmla="*/ 637655 h 1225917"/>
                <a:gd name="connsiteX74" fmla="*/ 393886 w 559555"/>
                <a:gd name="connsiteY74" fmla="*/ 635008 h 1225917"/>
                <a:gd name="connsiteX75" fmla="*/ 394337 w 559555"/>
                <a:gd name="connsiteY75" fmla="*/ 630911 h 1225917"/>
                <a:gd name="connsiteX76" fmla="*/ 395525 w 559555"/>
                <a:gd name="connsiteY76" fmla="*/ 619074 h 1225917"/>
                <a:gd name="connsiteX77" fmla="*/ 395465 w 559555"/>
                <a:gd name="connsiteY77" fmla="*/ 615134 h 1225917"/>
                <a:gd name="connsiteX78" fmla="*/ 395925 w 559555"/>
                <a:gd name="connsiteY78" fmla="*/ 603877 h 1225917"/>
                <a:gd name="connsiteX79" fmla="*/ 400986 w 559555"/>
                <a:gd name="connsiteY79" fmla="*/ 603612 h 1225917"/>
                <a:gd name="connsiteX80" fmla="*/ 404767 w 559555"/>
                <a:gd name="connsiteY80" fmla="*/ 599805 h 1225917"/>
                <a:gd name="connsiteX81" fmla="*/ 406470 w 559555"/>
                <a:gd name="connsiteY81" fmla="*/ 594336 h 1225917"/>
                <a:gd name="connsiteX82" fmla="*/ 407030 w 559555"/>
                <a:gd name="connsiteY82" fmla="*/ 590733 h 1225917"/>
                <a:gd name="connsiteX83" fmla="*/ 407155 w 559555"/>
                <a:gd name="connsiteY83" fmla="*/ 589393 h 1225917"/>
                <a:gd name="connsiteX84" fmla="*/ 407320 w 559555"/>
                <a:gd name="connsiteY84" fmla="*/ 587918 h 1225917"/>
                <a:gd name="connsiteX85" fmla="*/ 407639 w 559555"/>
                <a:gd name="connsiteY85" fmla="*/ 585170 h 1225917"/>
                <a:gd name="connsiteX86" fmla="*/ 408852 w 559555"/>
                <a:gd name="connsiteY86" fmla="*/ 585618 h 1225917"/>
                <a:gd name="connsiteX87" fmla="*/ 414581 w 559555"/>
                <a:gd name="connsiteY87" fmla="*/ 585916 h 1225917"/>
                <a:gd name="connsiteX88" fmla="*/ 418022 w 559555"/>
                <a:gd name="connsiteY88" fmla="*/ 590519 h 1225917"/>
                <a:gd name="connsiteX89" fmla="*/ 418933 w 559555"/>
                <a:gd name="connsiteY89" fmla="*/ 591708 h 1225917"/>
                <a:gd name="connsiteX90" fmla="*/ 420833 w 559555"/>
                <a:gd name="connsiteY90" fmla="*/ 594153 h 1225917"/>
                <a:gd name="connsiteX91" fmla="*/ 426712 w 559555"/>
                <a:gd name="connsiteY91" fmla="*/ 602436 h 1225917"/>
                <a:gd name="connsiteX92" fmla="*/ 427064 w 559555"/>
                <a:gd name="connsiteY92" fmla="*/ 603050 h 1225917"/>
                <a:gd name="connsiteX93" fmla="*/ 431026 w 559555"/>
                <a:gd name="connsiteY93" fmla="*/ 612472 h 1225917"/>
                <a:gd name="connsiteX94" fmla="*/ 431050 w 559555"/>
                <a:gd name="connsiteY94" fmla="*/ 612651 h 1225917"/>
                <a:gd name="connsiteX95" fmla="*/ 433874 w 559555"/>
                <a:gd name="connsiteY95" fmla="*/ 618564 h 1225917"/>
                <a:gd name="connsiteX96" fmla="*/ 436353 w 559555"/>
                <a:gd name="connsiteY96" fmla="*/ 619045 h 1225917"/>
                <a:gd name="connsiteX97" fmla="*/ 437237 w 559555"/>
                <a:gd name="connsiteY97" fmla="*/ 618969 h 1225917"/>
                <a:gd name="connsiteX98" fmla="*/ 437555 w 559555"/>
                <a:gd name="connsiteY98" fmla="*/ 620649 h 1225917"/>
                <a:gd name="connsiteX99" fmla="*/ 438085 w 559555"/>
                <a:gd name="connsiteY99" fmla="*/ 624025 h 1225917"/>
                <a:gd name="connsiteX100" fmla="*/ 439306 w 559555"/>
                <a:gd name="connsiteY100" fmla="*/ 630234 h 1225917"/>
                <a:gd name="connsiteX101" fmla="*/ 447180 w 559555"/>
                <a:gd name="connsiteY101" fmla="*/ 644229 h 1225917"/>
                <a:gd name="connsiteX102" fmla="*/ 450315 w 559555"/>
                <a:gd name="connsiteY102" fmla="*/ 647719 h 1225917"/>
                <a:gd name="connsiteX103" fmla="*/ 453723 w 559555"/>
                <a:gd name="connsiteY103" fmla="*/ 651468 h 1225917"/>
                <a:gd name="connsiteX104" fmla="*/ 456148 w 559555"/>
                <a:gd name="connsiteY104" fmla="*/ 655198 h 1225917"/>
                <a:gd name="connsiteX105" fmla="*/ 459009 w 559555"/>
                <a:gd name="connsiteY105" fmla="*/ 664385 h 1225917"/>
                <a:gd name="connsiteX106" fmla="*/ 459261 w 559555"/>
                <a:gd name="connsiteY106" fmla="*/ 664663 h 1225917"/>
                <a:gd name="connsiteX107" fmla="*/ 459967 w 559555"/>
                <a:gd name="connsiteY107" fmla="*/ 665770 h 1225917"/>
                <a:gd name="connsiteX108" fmla="*/ 459421 w 559555"/>
                <a:gd name="connsiteY108" fmla="*/ 672971 h 1225917"/>
                <a:gd name="connsiteX109" fmla="*/ 457066 w 559555"/>
                <a:gd name="connsiteY109" fmla="*/ 684119 h 1225917"/>
                <a:gd name="connsiteX110" fmla="*/ 455218 w 559555"/>
                <a:gd name="connsiteY110" fmla="*/ 689077 h 1225917"/>
                <a:gd name="connsiteX111" fmla="*/ 452213 w 559555"/>
                <a:gd name="connsiteY111" fmla="*/ 691679 h 1225917"/>
                <a:gd name="connsiteX112" fmla="*/ 450085 w 559555"/>
                <a:gd name="connsiteY112" fmla="*/ 693602 h 1225917"/>
                <a:gd name="connsiteX113" fmla="*/ 446625 w 559555"/>
                <a:gd name="connsiteY113" fmla="*/ 698013 h 1225917"/>
                <a:gd name="connsiteX114" fmla="*/ 445907 w 559555"/>
                <a:gd name="connsiteY114" fmla="*/ 703760 h 1225917"/>
                <a:gd name="connsiteX115" fmla="*/ 449326 w 559555"/>
                <a:gd name="connsiteY115" fmla="*/ 706100 h 1225917"/>
                <a:gd name="connsiteX116" fmla="*/ 453303 w 559555"/>
                <a:gd name="connsiteY116" fmla="*/ 704617 h 1225917"/>
                <a:gd name="connsiteX117" fmla="*/ 454388 w 559555"/>
                <a:gd name="connsiteY117" fmla="*/ 703955 h 1225917"/>
                <a:gd name="connsiteX118" fmla="*/ 454567 w 559555"/>
                <a:gd name="connsiteY118" fmla="*/ 703843 h 1225917"/>
                <a:gd name="connsiteX119" fmla="*/ 454571 w 559555"/>
                <a:gd name="connsiteY119" fmla="*/ 706447 h 1225917"/>
                <a:gd name="connsiteX120" fmla="*/ 457014 w 559555"/>
                <a:gd name="connsiteY120" fmla="*/ 709944 h 1225917"/>
                <a:gd name="connsiteX121" fmla="*/ 462708 w 559555"/>
                <a:gd name="connsiteY121" fmla="*/ 709333 h 1225917"/>
                <a:gd name="connsiteX122" fmla="*/ 465571 w 559555"/>
                <a:gd name="connsiteY122" fmla="*/ 708544 h 1225917"/>
                <a:gd name="connsiteX123" fmla="*/ 467649 w 559555"/>
                <a:gd name="connsiteY123" fmla="*/ 708021 h 1225917"/>
                <a:gd name="connsiteX124" fmla="*/ 469530 w 559555"/>
                <a:gd name="connsiteY124" fmla="*/ 707473 h 1225917"/>
                <a:gd name="connsiteX125" fmla="*/ 470359 w 559555"/>
                <a:gd name="connsiteY125" fmla="*/ 707234 h 1225917"/>
                <a:gd name="connsiteX126" fmla="*/ 469818 w 559555"/>
                <a:gd name="connsiteY126" fmla="*/ 710054 h 1225917"/>
                <a:gd name="connsiteX127" fmla="*/ 470465 w 559555"/>
                <a:gd name="connsiteY127" fmla="*/ 711740 h 1225917"/>
                <a:gd name="connsiteX128" fmla="*/ 472073 w 559555"/>
                <a:gd name="connsiteY128" fmla="*/ 712567 h 1225917"/>
                <a:gd name="connsiteX129" fmla="*/ 472180 w 559555"/>
                <a:gd name="connsiteY129" fmla="*/ 712563 h 1225917"/>
                <a:gd name="connsiteX130" fmla="*/ 475481 w 559555"/>
                <a:gd name="connsiteY130" fmla="*/ 711236 h 1225917"/>
                <a:gd name="connsiteX131" fmla="*/ 477380 w 559555"/>
                <a:gd name="connsiteY131" fmla="*/ 709881 h 1225917"/>
                <a:gd name="connsiteX132" fmla="*/ 480807 w 559555"/>
                <a:gd name="connsiteY132" fmla="*/ 707565 h 1225917"/>
                <a:gd name="connsiteX133" fmla="*/ 485476 w 559555"/>
                <a:gd name="connsiteY133" fmla="*/ 704132 h 1225917"/>
                <a:gd name="connsiteX134" fmla="*/ 487357 w 559555"/>
                <a:gd name="connsiteY134" fmla="*/ 701893 h 1225917"/>
                <a:gd name="connsiteX135" fmla="*/ 488098 w 559555"/>
                <a:gd name="connsiteY135" fmla="*/ 700893 h 1225917"/>
                <a:gd name="connsiteX136" fmla="*/ 489368 w 559555"/>
                <a:gd name="connsiteY136" fmla="*/ 699321 h 1225917"/>
                <a:gd name="connsiteX137" fmla="*/ 490879 w 559555"/>
                <a:gd name="connsiteY137" fmla="*/ 697443 h 1225917"/>
                <a:gd name="connsiteX138" fmla="*/ 494355 w 559555"/>
                <a:gd name="connsiteY138" fmla="*/ 694571 h 1225917"/>
                <a:gd name="connsiteX139" fmla="*/ 500321 w 559555"/>
                <a:gd name="connsiteY139" fmla="*/ 689646 h 1225917"/>
                <a:gd name="connsiteX140" fmla="*/ 503434 w 559555"/>
                <a:gd name="connsiteY140" fmla="*/ 685104 h 1225917"/>
                <a:gd name="connsiteX141" fmla="*/ 503821 w 559555"/>
                <a:gd name="connsiteY141" fmla="*/ 684353 h 1225917"/>
                <a:gd name="connsiteX142" fmla="*/ 504947 w 559555"/>
                <a:gd name="connsiteY142" fmla="*/ 681565 h 1225917"/>
                <a:gd name="connsiteX143" fmla="*/ 505333 w 559555"/>
                <a:gd name="connsiteY143" fmla="*/ 674562 h 1225917"/>
                <a:gd name="connsiteX144" fmla="*/ 504953 w 559555"/>
                <a:gd name="connsiteY144" fmla="*/ 670360 h 1225917"/>
                <a:gd name="connsiteX145" fmla="*/ 504551 w 559555"/>
                <a:gd name="connsiteY145" fmla="*/ 665830 h 1225917"/>
                <a:gd name="connsiteX146" fmla="*/ 504217 w 559555"/>
                <a:gd name="connsiteY146" fmla="*/ 662215 h 1225917"/>
                <a:gd name="connsiteX147" fmla="*/ 503803 w 559555"/>
                <a:gd name="connsiteY147" fmla="*/ 655650 h 1225917"/>
                <a:gd name="connsiteX148" fmla="*/ 501904 w 559555"/>
                <a:gd name="connsiteY148" fmla="*/ 645804 h 1225917"/>
                <a:gd name="connsiteX149" fmla="*/ 500749 w 559555"/>
                <a:gd name="connsiteY149" fmla="*/ 643521 h 1225917"/>
                <a:gd name="connsiteX150" fmla="*/ 498797 w 559555"/>
                <a:gd name="connsiteY150" fmla="*/ 639809 h 1225917"/>
                <a:gd name="connsiteX151" fmla="*/ 494890 w 559555"/>
                <a:gd name="connsiteY151" fmla="*/ 634336 h 1225917"/>
                <a:gd name="connsiteX152" fmla="*/ 489695 w 559555"/>
                <a:gd name="connsiteY152" fmla="*/ 627185 h 1225917"/>
                <a:gd name="connsiteX153" fmla="*/ 485681 w 559555"/>
                <a:gd name="connsiteY153" fmla="*/ 621525 h 1225917"/>
                <a:gd name="connsiteX154" fmla="*/ 479964 w 559555"/>
                <a:gd name="connsiteY154" fmla="*/ 611954 h 1225917"/>
                <a:gd name="connsiteX155" fmla="*/ 477639 w 559555"/>
                <a:gd name="connsiteY155" fmla="*/ 607136 h 1225917"/>
                <a:gd name="connsiteX156" fmla="*/ 475791 w 559555"/>
                <a:gd name="connsiteY156" fmla="*/ 603270 h 1225917"/>
                <a:gd name="connsiteX157" fmla="*/ 476851 w 559555"/>
                <a:gd name="connsiteY157" fmla="*/ 598672 h 1225917"/>
                <a:gd name="connsiteX158" fmla="*/ 476595 w 559555"/>
                <a:gd name="connsiteY158" fmla="*/ 597386 h 1225917"/>
                <a:gd name="connsiteX159" fmla="*/ 476019 w 559555"/>
                <a:gd name="connsiteY159" fmla="*/ 594919 h 1225917"/>
                <a:gd name="connsiteX160" fmla="*/ 474453 w 559555"/>
                <a:gd name="connsiteY160" fmla="*/ 589997 h 1225917"/>
                <a:gd name="connsiteX161" fmla="*/ 471079 w 559555"/>
                <a:gd name="connsiteY161" fmla="*/ 580131 h 1225917"/>
                <a:gd name="connsiteX162" fmla="*/ 469622 w 559555"/>
                <a:gd name="connsiteY162" fmla="*/ 576467 h 1225917"/>
                <a:gd name="connsiteX163" fmla="*/ 466517 w 559555"/>
                <a:gd name="connsiteY163" fmla="*/ 567863 h 1225917"/>
                <a:gd name="connsiteX164" fmla="*/ 463286 w 559555"/>
                <a:gd name="connsiteY164" fmla="*/ 560379 h 1225917"/>
                <a:gd name="connsiteX165" fmla="*/ 463285 w 559555"/>
                <a:gd name="connsiteY165" fmla="*/ 558100 h 1225917"/>
                <a:gd name="connsiteX166" fmla="*/ 463276 w 559555"/>
                <a:gd name="connsiteY166" fmla="*/ 556180 h 1225917"/>
                <a:gd name="connsiteX167" fmla="*/ 463336 w 559555"/>
                <a:gd name="connsiteY167" fmla="*/ 553534 h 1225917"/>
                <a:gd name="connsiteX168" fmla="*/ 463438 w 559555"/>
                <a:gd name="connsiteY168" fmla="*/ 549096 h 1225917"/>
                <a:gd name="connsiteX169" fmla="*/ 459403 w 559555"/>
                <a:gd name="connsiteY169" fmla="*/ 539716 h 1225917"/>
                <a:gd name="connsiteX170" fmla="*/ 457243 w 559555"/>
                <a:gd name="connsiteY170" fmla="*/ 538279 h 1225917"/>
                <a:gd name="connsiteX171" fmla="*/ 455222 w 559555"/>
                <a:gd name="connsiteY171" fmla="*/ 536927 h 1225917"/>
                <a:gd name="connsiteX172" fmla="*/ 453097 w 559555"/>
                <a:gd name="connsiteY172" fmla="*/ 529440 h 1225917"/>
                <a:gd name="connsiteX173" fmla="*/ 452281 w 559555"/>
                <a:gd name="connsiteY173" fmla="*/ 528131 h 1225917"/>
                <a:gd name="connsiteX174" fmla="*/ 450553 w 559555"/>
                <a:gd name="connsiteY174" fmla="*/ 525597 h 1225917"/>
                <a:gd name="connsiteX175" fmla="*/ 447696 w 559555"/>
                <a:gd name="connsiteY175" fmla="*/ 521229 h 1225917"/>
                <a:gd name="connsiteX176" fmla="*/ 447145 w 559555"/>
                <a:gd name="connsiteY176" fmla="*/ 519884 h 1225917"/>
                <a:gd name="connsiteX177" fmla="*/ 443106 w 559555"/>
                <a:gd name="connsiteY177" fmla="*/ 512811 h 1225917"/>
                <a:gd name="connsiteX178" fmla="*/ 439065 w 559555"/>
                <a:gd name="connsiteY178" fmla="*/ 506725 h 1225917"/>
                <a:gd name="connsiteX179" fmla="*/ 438611 w 559555"/>
                <a:gd name="connsiteY179" fmla="*/ 504706 h 1225917"/>
                <a:gd name="connsiteX180" fmla="*/ 436190 w 559555"/>
                <a:gd name="connsiteY180" fmla="*/ 494654 h 1225917"/>
                <a:gd name="connsiteX181" fmla="*/ 435610 w 559555"/>
                <a:gd name="connsiteY181" fmla="*/ 492468 h 1225917"/>
                <a:gd name="connsiteX182" fmla="*/ 428022 w 559555"/>
                <a:gd name="connsiteY182" fmla="*/ 478024 h 1225917"/>
                <a:gd name="connsiteX183" fmla="*/ 427491 w 559555"/>
                <a:gd name="connsiteY183" fmla="*/ 477684 h 1225917"/>
                <a:gd name="connsiteX184" fmla="*/ 428090 w 559555"/>
                <a:gd name="connsiteY184" fmla="*/ 468178 h 1225917"/>
                <a:gd name="connsiteX185" fmla="*/ 429857 w 559555"/>
                <a:gd name="connsiteY185" fmla="*/ 449643 h 1225917"/>
                <a:gd name="connsiteX186" fmla="*/ 431351 w 559555"/>
                <a:gd name="connsiteY186" fmla="*/ 442227 h 1225917"/>
                <a:gd name="connsiteX187" fmla="*/ 433932 w 559555"/>
                <a:gd name="connsiteY187" fmla="*/ 428002 h 1225917"/>
                <a:gd name="connsiteX188" fmla="*/ 436646 w 559555"/>
                <a:gd name="connsiteY188" fmla="*/ 409904 h 1225917"/>
                <a:gd name="connsiteX189" fmla="*/ 440744 w 559555"/>
                <a:gd name="connsiteY189" fmla="*/ 376976 h 1225917"/>
                <a:gd name="connsiteX190" fmla="*/ 441194 w 559555"/>
                <a:gd name="connsiteY190" fmla="*/ 368879 h 1225917"/>
                <a:gd name="connsiteX191" fmla="*/ 442119 w 559555"/>
                <a:gd name="connsiteY191" fmla="*/ 345386 h 1225917"/>
                <a:gd name="connsiteX192" fmla="*/ 442076 w 559555"/>
                <a:gd name="connsiteY192" fmla="*/ 308951 h 1225917"/>
                <a:gd name="connsiteX193" fmla="*/ 441711 w 559555"/>
                <a:gd name="connsiteY193" fmla="*/ 297708 h 1225917"/>
                <a:gd name="connsiteX194" fmla="*/ 441561 w 559555"/>
                <a:gd name="connsiteY194" fmla="*/ 278700 h 1225917"/>
                <a:gd name="connsiteX195" fmla="*/ 442074 w 559555"/>
                <a:gd name="connsiteY195" fmla="*/ 267536 h 1225917"/>
                <a:gd name="connsiteX196" fmla="*/ 443607 w 559555"/>
                <a:gd name="connsiteY196" fmla="*/ 246838 h 1225917"/>
                <a:gd name="connsiteX197" fmla="*/ 444150 w 559555"/>
                <a:gd name="connsiteY197" fmla="*/ 242865 h 1225917"/>
                <a:gd name="connsiteX198" fmla="*/ 445624 w 559555"/>
                <a:gd name="connsiteY198" fmla="*/ 234339 h 1225917"/>
                <a:gd name="connsiteX199" fmla="*/ 446579 w 559555"/>
                <a:gd name="connsiteY199" fmla="*/ 223197 h 1225917"/>
                <a:gd name="connsiteX200" fmla="*/ 445800 w 559555"/>
                <a:gd name="connsiteY200" fmla="*/ 220523 h 1225917"/>
                <a:gd name="connsiteX201" fmla="*/ 444010 w 559555"/>
                <a:gd name="connsiteY201" fmla="*/ 218798 h 1225917"/>
                <a:gd name="connsiteX202" fmla="*/ 443953 w 559555"/>
                <a:gd name="connsiteY202" fmla="*/ 217819 h 1225917"/>
                <a:gd name="connsiteX203" fmla="*/ 443985 w 559555"/>
                <a:gd name="connsiteY203" fmla="*/ 215470 h 1225917"/>
                <a:gd name="connsiteX204" fmla="*/ 444054 w 559555"/>
                <a:gd name="connsiteY204" fmla="*/ 214846 h 1225917"/>
                <a:gd name="connsiteX205" fmla="*/ 444238 w 559555"/>
                <a:gd name="connsiteY205" fmla="*/ 213929 h 1225917"/>
                <a:gd name="connsiteX206" fmla="*/ 446919 w 559555"/>
                <a:gd name="connsiteY206" fmla="*/ 200713 h 1225917"/>
                <a:gd name="connsiteX207" fmla="*/ 446447 w 559555"/>
                <a:gd name="connsiteY207" fmla="*/ 198429 h 1225917"/>
                <a:gd name="connsiteX208" fmla="*/ 446011 w 559555"/>
                <a:gd name="connsiteY208" fmla="*/ 196314 h 1225917"/>
                <a:gd name="connsiteX209" fmla="*/ 456015 w 559555"/>
                <a:gd name="connsiteY209" fmla="*/ 187635 h 1225917"/>
                <a:gd name="connsiteX210" fmla="*/ 458514 w 559555"/>
                <a:gd name="connsiteY210" fmla="*/ 186376 h 1225917"/>
                <a:gd name="connsiteX211" fmla="*/ 464674 w 559555"/>
                <a:gd name="connsiteY211" fmla="*/ 182940 h 1225917"/>
                <a:gd name="connsiteX212" fmla="*/ 475436 w 559555"/>
                <a:gd name="connsiteY212" fmla="*/ 177872 h 1225917"/>
                <a:gd name="connsiteX213" fmla="*/ 476246 w 559555"/>
                <a:gd name="connsiteY213" fmla="*/ 177575 h 1225917"/>
                <a:gd name="connsiteX214" fmla="*/ 493413 w 559555"/>
                <a:gd name="connsiteY214" fmla="*/ 174260 h 1225917"/>
                <a:gd name="connsiteX215" fmla="*/ 503137 w 559555"/>
                <a:gd name="connsiteY215" fmla="*/ 169988 h 1225917"/>
                <a:gd name="connsiteX216" fmla="*/ 504128 w 559555"/>
                <a:gd name="connsiteY216" fmla="*/ 159283 h 1225917"/>
                <a:gd name="connsiteX217" fmla="*/ 504229 w 559555"/>
                <a:gd name="connsiteY217" fmla="*/ 154499 h 1225917"/>
                <a:gd name="connsiteX218" fmla="*/ 504935 w 559555"/>
                <a:gd name="connsiteY218" fmla="*/ 149588 h 1225917"/>
                <a:gd name="connsiteX219" fmla="*/ 504992 w 559555"/>
                <a:gd name="connsiteY219" fmla="*/ 148702 h 1225917"/>
                <a:gd name="connsiteX220" fmla="*/ 505019 w 559555"/>
                <a:gd name="connsiteY220" fmla="*/ 148149 h 1225917"/>
                <a:gd name="connsiteX221" fmla="*/ 505171 w 559555"/>
                <a:gd name="connsiteY221" fmla="*/ 146778 h 1225917"/>
                <a:gd name="connsiteX222" fmla="*/ 505198 w 559555"/>
                <a:gd name="connsiteY222" fmla="*/ 143098 h 1225917"/>
                <a:gd name="connsiteX223" fmla="*/ 503366 w 559555"/>
                <a:gd name="connsiteY223" fmla="*/ 140907 h 1225917"/>
                <a:gd name="connsiteX224" fmla="*/ 502163 w 559555"/>
                <a:gd name="connsiteY224" fmla="*/ 140136 h 1225917"/>
                <a:gd name="connsiteX225" fmla="*/ 501983 w 559555"/>
                <a:gd name="connsiteY225" fmla="*/ 139722 h 1225917"/>
                <a:gd name="connsiteX226" fmla="*/ 501980 w 559555"/>
                <a:gd name="connsiteY226" fmla="*/ 139713 h 1225917"/>
                <a:gd name="connsiteX227" fmla="*/ 502250 w 559555"/>
                <a:gd name="connsiteY227" fmla="*/ 138935 h 1225917"/>
                <a:gd name="connsiteX228" fmla="*/ 503232 w 559555"/>
                <a:gd name="connsiteY228" fmla="*/ 135629 h 1225917"/>
                <a:gd name="connsiteX229" fmla="*/ 503418 w 559555"/>
                <a:gd name="connsiteY229" fmla="*/ 134689 h 1225917"/>
                <a:gd name="connsiteX230" fmla="*/ 503439 w 559555"/>
                <a:gd name="connsiteY230" fmla="*/ 134583 h 1225917"/>
                <a:gd name="connsiteX231" fmla="*/ 503897 w 559555"/>
                <a:gd name="connsiteY231" fmla="*/ 134571 h 1225917"/>
                <a:gd name="connsiteX232" fmla="*/ 506440 w 559555"/>
                <a:gd name="connsiteY232" fmla="*/ 133961 h 1225917"/>
                <a:gd name="connsiteX233" fmla="*/ 508017 w 559555"/>
                <a:gd name="connsiteY233" fmla="*/ 130187 h 1225917"/>
                <a:gd name="connsiteX234" fmla="*/ 508037 w 559555"/>
                <a:gd name="connsiteY234" fmla="*/ 129249 h 1225917"/>
                <a:gd name="connsiteX235" fmla="*/ 507989 w 559555"/>
                <a:gd name="connsiteY235" fmla="*/ 126348 h 1225917"/>
                <a:gd name="connsiteX236" fmla="*/ 507928 w 559555"/>
                <a:gd name="connsiteY236" fmla="*/ 125764 h 1225917"/>
                <a:gd name="connsiteX237" fmla="*/ 507772 w 559555"/>
                <a:gd name="connsiteY237" fmla="*/ 122654 h 1225917"/>
                <a:gd name="connsiteX238" fmla="*/ 508587 w 559555"/>
                <a:gd name="connsiteY238" fmla="*/ 121060 h 1225917"/>
                <a:gd name="connsiteX239" fmla="*/ 510143 w 559555"/>
                <a:gd name="connsiteY239" fmla="*/ 120609 h 1225917"/>
                <a:gd name="connsiteX240" fmla="*/ 511129 w 559555"/>
                <a:gd name="connsiteY240" fmla="*/ 120628 h 1225917"/>
                <a:gd name="connsiteX241" fmla="*/ 515410 w 559555"/>
                <a:gd name="connsiteY241" fmla="*/ 120762 h 1225917"/>
                <a:gd name="connsiteX242" fmla="*/ 524019 w 559555"/>
                <a:gd name="connsiteY242" fmla="*/ 119104 h 1225917"/>
                <a:gd name="connsiteX243" fmla="*/ 526434 w 559555"/>
                <a:gd name="connsiteY243" fmla="*/ 114949 h 1225917"/>
                <a:gd name="connsiteX244" fmla="*/ 526000 w 559555"/>
                <a:gd name="connsiteY244" fmla="*/ 110277 h 1225917"/>
                <a:gd name="connsiteX245" fmla="*/ 521747 w 559555"/>
                <a:gd name="connsiteY245" fmla="*/ 103096 h 1225917"/>
                <a:gd name="connsiteX246" fmla="*/ 521014 w 559555"/>
                <a:gd name="connsiteY246" fmla="*/ 102056 h 1225917"/>
                <a:gd name="connsiteX247" fmla="*/ 519602 w 559555"/>
                <a:gd name="connsiteY247" fmla="*/ 100047 h 1225917"/>
                <a:gd name="connsiteX248" fmla="*/ 515930 w 559555"/>
                <a:gd name="connsiteY248" fmla="*/ 94740 h 1225917"/>
                <a:gd name="connsiteX249" fmla="*/ 512981 w 559555"/>
                <a:gd name="connsiteY249" fmla="*/ 83464 h 1225917"/>
                <a:gd name="connsiteX250" fmla="*/ 514059 w 559555"/>
                <a:gd name="connsiteY250" fmla="*/ 76310 h 1225917"/>
                <a:gd name="connsiteX251" fmla="*/ 513379 w 559555"/>
                <a:gd name="connsiteY251" fmla="*/ 67120 h 1225917"/>
                <a:gd name="connsiteX252" fmla="*/ 512013 w 559555"/>
                <a:gd name="connsiteY252" fmla="*/ 63024 h 1225917"/>
                <a:gd name="connsiteX253" fmla="*/ 507386 w 559555"/>
                <a:gd name="connsiteY253" fmla="*/ 46742 h 1225917"/>
                <a:gd name="connsiteX254" fmla="*/ 510978 w 559555"/>
                <a:gd name="connsiteY254" fmla="*/ 46811 h 1225917"/>
                <a:gd name="connsiteX255" fmla="*/ 515083 w 559555"/>
                <a:gd name="connsiteY255" fmla="*/ 46880 h 1225917"/>
                <a:gd name="connsiteX256" fmla="*/ 530178 w 559555"/>
                <a:gd name="connsiteY256" fmla="*/ 42311 h 1225917"/>
                <a:gd name="connsiteX257" fmla="*/ 539600 w 559555"/>
                <a:gd name="connsiteY257" fmla="*/ 32583 h 1225917"/>
                <a:gd name="connsiteX258" fmla="*/ 540421 w 559555"/>
                <a:gd name="connsiteY258" fmla="*/ 26423 h 1225917"/>
                <a:gd name="connsiteX259" fmla="*/ 536578 w 559555"/>
                <a:gd name="connsiteY259" fmla="*/ 21579 h 1225917"/>
                <a:gd name="connsiteX260" fmla="*/ 526752 w 559555"/>
                <a:gd name="connsiteY260" fmla="*/ 20078 h 1225917"/>
                <a:gd name="connsiteX261" fmla="*/ 523241 w 559555"/>
                <a:gd name="connsiteY261" fmla="*/ 20063 h 1225917"/>
                <a:gd name="connsiteX262" fmla="*/ 519675 w 559555"/>
                <a:gd name="connsiteY262" fmla="*/ 20048 h 1225917"/>
                <a:gd name="connsiteX263" fmla="*/ 494180 w 559555"/>
                <a:gd name="connsiteY263" fmla="*/ 13511 h 1225917"/>
                <a:gd name="connsiteX264" fmla="*/ 490031 w 559555"/>
                <a:gd name="connsiteY264" fmla="*/ 11729 h 1225917"/>
                <a:gd name="connsiteX265" fmla="*/ 485318 w 559555"/>
                <a:gd name="connsiteY265" fmla="*/ 9732 h 1225917"/>
                <a:gd name="connsiteX266" fmla="*/ 469534 w 559555"/>
                <a:gd name="connsiteY266" fmla="*/ 7452 h 1225917"/>
                <a:gd name="connsiteX267" fmla="*/ 454129 w 559555"/>
                <a:gd name="connsiteY267" fmla="*/ 4457 h 1225917"/>
                <a:gd name="connsiteX268" fmla="*/ 422656 w 559555"/>
                <a:gd name="connsiteY268" fmla="*/ 44 h 1225917"/>
                <a:gd name="connsiteX269" fmla="*/ 380075 w 559555"/>
                <a:gd name="connsiteY269" fmla="*/ 6614 h 1225917"/>
                <a:gd name="connsiteX270" fmla="*/ 348986 w 559555"/>
                <a:gd name="connsiteY270" fmla="*/ 33494 h 1225917"/>
                <a:gd name="connsiteX271" fmla="*/ 345121 w 559555"/>
                <a:gd name="connsiteY271" fmla="*/ 73997 h 1225917"/>
                <a:gd name="connsiteX272" fmla="*/ 347717 w 559555"/>
                <a:gd name="connsiteY272" fmla="*/ 81508 h 1225917"/>
                <a:gd name="connsiteX273" fmla="*/ 348157 w 559555"/>
                <a:gd name="connsiteY273" fmla="*/ 82703 h 1225917"/>
                <a:gd name="connsiteX274" fmla="*/ 356826 w 559555"/>
                <a:gd name="connsiteY274" fmla="*/ 93031 h 1225917"/>
                <a:gd name="connsiteX275" fmla="*/ 360273 w 559555"/>
                <a:gd name="connsiteY275" fmla="*/ 97040 h 1225917"/>
                <a:gd name="connsiteX276" fmla="*/ 361820 w 559555"/>
                <a:gd name="connsiteY276" fmla="*/ 99291 h 1225917"/>
                <a:gd name="connsiteX277" fmla="*/ 364094 w 559555"/>
                <a:gd name="connsiteY277" fmla="*/ 101671 h 1225917"/>
                <a:gd name="connsiteX278" fmla="*/ 363683 w 559555"/>
                <a:gd name="connsiteY278" fmla="*/ 114838 h 1225917"/>
                <a:gd name="connsiteX279" fmla="*/ 363932 w 559555"/>
                <a:gd name="connsiteY279" fmla="*/ 116416 h 1225917"/>
                <a:gd name="connsiteX280" fmla="*/ 364502 w 559555"/>
                <a:gd name="connsiteY280" fmla="*/ 114924 h 1225917"/>
                <a:gd name="connsiteX281" fmla="*/ 365909 w 559555"/>
                <a:gd name="connsiteY281" fmla="*/ 112452 h 1225917"/>
                <a:gd name="connsiteX282" fmla="*/ 368983 w 559555"/>
                <a:gd name="connsiteY282" fmla="*/ 122578 h 1225917"/>
                <a:gd name="connsiteX283" fmla="*/ 369125 w 559555"/>
                <a:gd name="connsiteY283" fmla="*/ 124182 h 1225917"/>
                <a:gd name="connsiteX284" fmla="*/ 369101 w 559555"/>
                <a:gd name="connsiteY284" fmla="*/ 125108 h 1225917"/>
                <a:gd name="connsiteX285" fmla="*/ 368338 w 559555"/>
                <a:gd name="connsiteY285" fmla="*/ 127126 h 1225917"/>
                <a:gd name="connsiteX286" fmla="*/ 367912 w 559555"/>
                <a:gd name="connsiteY286" fmla="*/ 127897 h 1225917"/>
                <a:gd name="connsiteX287" fmla="*/ 366802 w 559555"/>
                <a:gd name="connsiteY287" fmla="*/ 128230 h 1225917"/>
                <a:gd name="connsiteX288" fmla="*/ 365026 w 559555"/>
                <a:gd name="connsiteY288" fmla="*/ 130101 h 1225917"/>
                <a:gd name="connsiteX289" fmla="*/ 363393 w 559555"/>
                <a:gd name="connsiteY289" fmla="*/ 132652 h 1225917"/>
                <a:gd name="connsiteX290" fmla="*/ 359183 w 559555"/>
                <a:gd name="connsiteY290" fmla="*/ 140515 h 1225917"/>
                <a:gd name="connsiteX291" fmla="*/ 354884 w 559555"/>
                <a:gd name="connsiteY291" fmla="*/ 147723 h 1225917"/>
                <a:gd name="connsiteX292" fmla="*/ 347190 w 559555"/>
                <a:gd name="connsiteY292" fmla="*/ 143552 h 1225917"/>
                <a:gd name="connsiteX293" fmla="*/ 343640 w 559555"/>
                <a:gd name="connsiteY293" fmla="*/ 142306 h 1225917"/>
                <a:gd name="connsiteX294" fmla="*/ 342541 w 559555"/>
                <a:gd name="connsiteY294" fmla="*/ 141980 h 1225917"/>
                <a:gd name="connsiteX295" fmla="*/ 335671 w 559555"/>
                <a:gd name="connsiteY295" fmla="*/ 142690 h 1225917"/>
                <a:gd name="connsiteX296" fmla="*/ 327606 w 559555"/>
                <a:gd name="connsiteY296" fmla="*/ 149252 h 1225917"/>
                <a:gd name="connsiteX297" fmla="*/ 326989 w 559555"/>
                <a:gd name="connsiteY297" fmla="*/ 149960 h 1225917"/>
                <a:gd name="connsiteX298" fmla="*/ 325012 w 559555"/>
                <a:gd name="connsiteY298" fmla="*/ 152070 h 1225917"/>
                <a:gd name="connsiteX299" fmla="*/ 316733 w 559555"/>
                <a:gd name="connsiteY299" fmla="*/ 159723 h 1225917"/>
                <a:gd name="connsiteX300" fmla="*/ 313523 w 559555"/>
                <a:gd name="connsiteY300" fmla="*/ 162538 h 1225917"/>
                <a:gd name="connsiteX301" fmla="*/ 305174 w 559555"/>
                <a:gd name="connsiteY301" fmla="*/ 171290 h 1225917"/>
                <a:gd name="connsiteX302" fmla="*/ 297545 w 559555"/>
                <a:gd name="connsiteY302" fmla="*/ 179516 h 1225917"/>
                <a:gd name="connsiteX303" fmla="*/ 291951 w 559555"/>
                <a:gd name="connsiteY303" fmla="*/ 183938 h 1225917"/>
                <a:gd name="connsiteX304" fmla="*/ 289196 w 559555"/>
                <a:gd name="connsiteY304" fmla="*/ 186191 h 1225917"/>
                <a:gd name="connsiteX305" fmla="*/ 278883 w 559555"/>
                <a:gd name="connsiteY305" fmla="*/ 200176 h 1225917"/>
                <a:gd name="connsiteX306" fmla="*/ 278250 w 559555"/>
                <a:gd name="connsiteY306" fmla="*/ 201316 h 1225917"/>
                <a:gd name="connsiteX307" fmla="*/ 269559 w 559555"/>
                <a:gd name="connsiteY307" fmla="*/ 213820 h 1225917"/>
                <a:gd name="connsiteX308" fmla="*/ 253931 w 559555"/>
                <a:gd name="connsiteY308" fmla="*/ 238361 h 1225917"/>
                <a:gd name="connsiteX309" fmla="*/ 240660 w 559555"/>
                <a:gd name="connsiteY309" fmla="*/ 269290 h 1225917"/>
                <a:gd name="connsiteX310" fmla="*/ 239611 w 559555"/>
                <a:gd name="connsiteY310" fmla="*/ 272839 h 1225917"/>
                <a:gd name="connsiteX311" fmla="*/ 237462 w 559555"/>
                <a:gd name="connsiteY311" fmla="*/ 282793 h 1225917"/>
                <a:gd name="connsiteX312" fmla="*/ 236285 w 559555"/>
                <a:gd name="connsiteY312" fmla="*/ 295570 h 1225917"/>
                <a:gd name="connsiteX313" fmla="*/ 235425 w 559555"/>
                <a:gd name="connsiteY313" fmla="*/ 303452 h 1225917"/>
                <a:gd name="connsiteX314" fmla="*/ 233632 w 559555"/>
                <a:gd name="connsiteY314" fmla="*/ 316718 h 1225917"/>
                <a:gd name="connsiteX315" fmla="*/ 226440 w 559555"/>
                <a:gd name="connsiteY315" fmla="*/ 335612 h 1225917"/>
                <a:gd name="connsiteX316" fmla="*/ 225414 w 559555"/>
                <a:gd name="connsiteY316" fmla="*/ 337701 h 1225917"/>
                <a:gd name="connsiteX317" fmla="*/ 219420 w 559555"/>
                <a:gd name="connsiteY317" fmla="*/ 355619 h 1225917"/>
                <a:gd name="connsiteX318" fmla="*/ 218073 w 559555"/>
                <a:gd name="connsiteY318" fmla="*/ 360303 h 1225917"/>
                <a:gd name="connsiteX319" fmla="*/ 215787 w 559555"/>
                <a:gd name="connsiteY319" fmla="*/ 371906 h 1225917"/>
                <a:gd name="connsiteX320" fmla="*/ 215596 w 559555"/>
                <a:gd name="connsiteY320" fmla="*/ 373745 h 1225917"/>
                <a:gd name="connsiteX321" fmla="*/ 215446 w 559555"/>
                <a:gd name="connsiteY321" fmla="*/ 374916 h 1225917"/>
                <a:gd name="connsiteX322" fmla="*/ 211366 w 559555"/>
                <a:gd name="connsiteY322" fmla="*/ 388312 h 1225917"/>
                <a:gd name="connsiteX323" fmla="*/ 210892 w 559555"/>
                <a:gd name="connsiteY323" fmla="*/ 389189 h 1225917"/>
                <a:gd name="connsiteX324" fmla="*/ 205651 w 559555"/>
                <a:gd name="connsiteY324" fmla="*/ 402789 h 1225917"/>
                <a:gd name="connsiteX325" fmla="*/ 205774 w 559555"/>
                <a:gd name="connsiteY325" fmla="*/ 421796 h 1225917"/>
                <a:gd name="connsiteX326" fmla="*/ 203751 w 559555"/>
                <a:gd name="connsiteY326" fmla="*/ 438299 h 1225917"/>
                <a:gd name="connsiteX327" fmla="*/ 199656 w 559555"/>
                <a:gd name="connsiteY327" fmla="*/ 448261 h 1225917"/>
                <a:gd name="connsiteX328" fmla="*/ 199157 w 559555"/>
                <a:gd name="connsiteY328" fmla="*/ 449496 h 1225917"/>
                <a:gd name="connsiteX329" fmla="*/ 194801 w 559555"/>
                <a:gd name="connsiteY329" fmla="*/ 465005 h 1225917"/>
                <a:gd name="connsiteX330" fmla="*/ 190012 w 559555"/>
                <a:gd name="connsiteY330" fmla="*/ 476612 h 1225917"/>
                <a:gd name="connsiteX331" fmla="*/ 187140 w 559555"/>
                <a:gd name="connsiteY331" fmla="*/ 482289 h 1225917"/>
                <a:gd name="connsiteX332" fmla="*/ 181260 w 559555"/>
                <a:gd name="connsiteY332" fmla="*/ 494714 h 1225917"/>
                <a:gd name="connsiteX333" fmla="*/ 175681 w 559555"/>
                <a:gd name="connsiteY333" fmla="*/ 506451 h 1225917"/>
                <a:gd name="connsiteX334" fmla="*/ 171275 w 559555"/>
                <a:gd name="connsiteY334" fmla="*/ 514511 h 1225917"/>
                <a:gd name="connsiteX335" fmla="*/ 169295 w 559555"/>
                <a:gd name="connsiteY335" fmla="*/ 517866 h 1225917"/>
                <a:gd name="connsiteX336" fmla="*/ 168062 w 559555"/>
                <a:gd name="connsiteY336" fmla="*/ 532655 h 1225917"/>
                <a:gd name="connsiteX337" fmla="*/ 176881 w 559555"/>
                <a:gd name="connsiteY337" fmla="*/ 540880 h 1225917"/>
                <a:gd name="connsiteX338" fmla="*/ 186123 w 559555"/>
                <a:gd name="connsiteY338" fmla="*/ 543966 h 1225917"/>
                <a:gd name="connsiteX339" fmla="*/ 183938 w 559555"/>
                <a:gd name="connsiteY339" fmla="*/ 549616 h 1225917"/>
                <a:gd name="connsiteX340" fmla="*/ 182996 w 559555"/>
                <a:gd name="connsiteY340" fmla="*/ 551884 h 1225917"/>
                <a:gd name="connsiteX341" fmla="*/ 177509 w 559555"/>
                <a:gd name="connsiteY341" fmla="*/ 578700 h 1225917"/>
                <a:gd name="connsiteX342" fmla="*/ 182113 w 559555"/>
                <a:gd name="connsiteY342" fmla="*/ 615107 h 1225917"/>
                <a:gd name="connsiteX343" fmla="*/ 183889 w 559555"/>
                <a:gd name="connsiteY343" fmla="*/ 625476 h 1225917"/>
                <a:gd name="connsiteX344" fmla="*/ 184853 w 559555"/>
                <a:gd name="connsiteY344" fmla="*/ 631787 h 1225917"/>
                <a:gd name="connsiteX345" fmla="*/ 186399 w 559555"/>
                <a:gd name="connsiteY345" fmla="*/ 640646 h 1225917"/>
                <a:gd name="connsiteX346" fmla="*/ 191070 w 559555"/>
                <a:gd name="connsiteY346" fmla="*/ 667063 h 1225917"/>
                <a:gd name="connsiteX347" fmla="*/ 197767 w 559555"/>
                <a:gd name="connsiteY347" fmla="*/ 690533 h 1225917"/>
                <a:gd name="connsiteX348" fmla="*/ 201393 w 559555"/>
                <a:gd name="connsiteY348" fmla="*/ 701022 h 1225917"/>
                <a:gd name="connsiteX349" fmla="*/ 203741 w 559555"/>
                <a:gd name="connsiteY349" fmla="*/ 708006 h 1225917"/>
                <a:gd name="connsiteX350" fmla="*/ 211268 w 559555"/>
                <a:gd name="connsiteY350" fmla="*/ 732754 h 1225917"/>
                <a:gd name="connsiteX351" fmla="*/ 213710 w 559555"/>
                <a:gd name="connsiteY351" fmla="*/ 741347 h 1225917"/>
                <a:gd name="connsiteX352" fmla="*/ 225049 w 559555"/>
                <a:gd name="connsiteY352" fmla="*/ 772066 h 1225917"/>
                <a:gd name="connsiteX353" fmla="*/ 232773 w 559555"/>
                <a:gd name="connsiteY353" fmla="*/ 791433 h 1225917"/>
                <a:gd name="connsiteX354" fmla="*/ 236194 w 559555"/>
                <a:gd name="connsiteY354" fmla="*/ 800811 h 1225917"/>
                <a:gd name="connsiteX355" fmla="*/ 237055 w 559555"/>
                <a:gd name="connsiteY355" fmla="*/ 812393 h 1225917"/>
                <a:gd name="connsiteX356" fmla="*/ 240097 w 559555"/>
                <a:gd name="connsiteY356" fmla="*/ 831840 h 1225917"/>
                <a:gd name="connsiteX357" fmla="*/ 243853 w 559555"/>
                <a:gd name="connsiteY357" fmla="*/ 839192 h 1225917"/>
                <a:gd name="connsiteX358" fmla="*/ 244556 w 559555"/>
                <a:gd name="connsiteY358" fmla="*/ 841307 h 1225917"/>
                <a:gd name="connsiteX359" fmla="*/ 244598 w 559555"/>
                <a:gd name="connsiteY359" fmla="*/ 841560 h 1225917"/>
                <a:gd name="connsiteX360" fmla="*/ 244691 w 559555"/>
                <a:gd name="connsiteY360" fmla="*/ 842798 h 1225917"/>
                <a:gd name="connsiteX361" fmla="*/ 243104 w 559555"/>
                <a:gd name="connsiteY361" fmla="*/ 854717 h 1225917"/>
                <a:gd name="connsiteX362" fmla="*/ 242303 w 559555"/>
                <a:gd name="connsiteY362" fmla="*/ 858333 h 1225917"/>
                <a:gd name="connsiteX363" fmla="*/ 239993 w 559555"/>
                <a:gd name="connsiteY363" fmla="*/ 860790 h 1225917"/>
                <a:gd name="connsiteX364" fmla="*/ 234875 w 559555"/>
                <a:gd name="connsiteY364" fmla="*/ 859382 h 1225917"/>
                <a:gd name="connsiteX365" fmla="*/ 228988 w 559555"/>
                <a:gd name="connsiteY365" fmla="*/ 858476 h 1225917"/>
                <a:gd name="connsiteX366" fmla="*/ 223809 w 559555"/>
                <a:gd name="connsiteY366" fmla="*/ 861616 h 1225917"/>
                <a:gd name="connsiteX367" fmla="*/ 222423 w 559555"/>
                <a:gd name="connsiteY367" fmla="*/ 862948 h 1225917"/>
                <a:gd name="connsiteX368" fmla="*/ 217856 w 559555"/>
                <a:gd name="connsiteY368" fmla="*/ 866962 h 1225917"/>
                <a:gd name="connsiteX369" fmla="*/ 215404 w 559555"/>
                <a:gd name="connsiteY369" fmla="*/ 868548 h 1225917"/>
                <a:gd name="connsiteX370" fmla="*/ 210725 w 559555"/>
                <a:gd name="connsiteY370" fmla="*/ 871960 h 1225917"/>
                <a:gd name="connsiteX371" fmla="*/ 204202 w 559555"/>
                <a:gd name="connsiteY371" fmla="*/ 881332 h 1225917"/>
                <a:gd name="connsiteX372" fmla="*/ 203550 w 559555"/>
                <a:gd name="connsiteY372" fmla="*/ 882681 h 1225917"/>
                <a:gd name="connsiteX373" fmla="*/ 198699 w 559555"/>
                <a:gd name="connsiteY373" fmla="*/ 890739 h 1225917"/>
                <a:gd name="connsiteX374" fmla="*/ 185690 w 559555"/>
                <a:gd name="connsiteY374" fmla="*/ 910510 h 1225917"/>
                <a:gd name="connsiteX375" fmla="*/ 180131 w 559555"/>
                <a:gd name="connsiteY375" fmla="*/ 920647 h 1225917"/>
                <a:gd name="connsiteX376" fmla="*/ 175067 w 559555"/>
                <a:gd name="connsiteY376" fmla="*/ 925858 h 1225917"/>
                <a:gd name="connsiteX377" fmla="*/ 168319 w 559555"/>
                <a:gd name="connsiteY377" fmla="*/ 932946 h 1225917"/>
                <a:gd name="connsiteX378" fmla="*/ 163359 w 559555"/>
                <a:gd name="connsiteY378" fmla="*/ 938157 h 1225917"/>
                <a:gd name="connsiteX379" fmla="*/ 155461 w 559555"/>
                <a:gd name="connsiteY379" fmla="*/ 947157 h 1225917"/>
                <a:gd name="connsiteX380" fmla="*/ 149545 w 559555"/>
                <a:gd name="connsiteY380" fmla="*/ 955722 h 1225917"/>
                <a:gd name="connsiteX381" fmla="*/ 140539 w 559555"/>
                <a:gd name="connsiteY381" fmla="*/ 968935 h 1225917"/>
                <a:gd name="connsiteX382" fmla="*/ 132500 w 559555"/>
                <a:gd name="connsiteY382" fmla="*/ 977914 h 1225917"/>
                <a:gd name="connsiteX383" fmla="*/ 132058 w 559555"/>
                <a:gd name="connsiteY383" fmla="*/ 978199 h 1225917"/>
                <a:gd name="connsiteX384" fmla="*/ 120288 w 559555"/>
                <a:gd name="connsiteY384" fmla="*/ 987325 h 1225917"/>
                <a:gd name="connsiteX385" fmla="*/ 115239 w 559555"/>
                <a:gd name="connsiteY385" fmla="*/ 993243 h 1225917"/>
                <a:gd name="connsiteX386" fmla="*/ 107852 w 559555"/>
                <a:gd name="connsiteY386" fmla="*/ 1001651 h 1225917"/>
                <a:gd name="connsiteX387" fmla="*/ 104367 w 559555"/>
                <a:gd name="connsiteY387" fmla="*/ 1005264 h 1225917"/>
                <a:gd name="connsiteX388" fmla="*/ 93803 w 559555"/>
                <a:gd name="connsiteY388" fmla="*/ 1015332 h 1225917"/>
                <a:gd name="connsiteX389" fmla="*/ 82876 w 559555"/>
                <a:gd name="connsiteY389" fmla="*/ 1027647 h 1225917"/>
                <a:gd name="connsiteX390" fmla="*/ 81959 w 559555"/>
                <a:gd name="connsiteY390" fmla="*/ 1029609 h 1225917"/>
                <a:gd name="connsiteX391" fmla="*/ 80382 w 559555"/>
                <a:gd name="connsiteY391" fmla="*/ 1032722 h 1225917"/>
                <a:gd name="connsiteX392" fmla="*/ 79553 w 559555"/>
                <a:gd name="connsiteY392" fmla="*/ 1034284 h 1225917"/>
                <a:gd name="connsiteX393" fmla="*/ 77774 w 559555"/>
                <a:gd name="connsiteY393" fmla="*/ 1036736 h 1225917"/>
                <a:gd name="connsiteX394" fmla="*/ 68743 w 559555"/>
                <a:gd name="connsiteY394" fmla="*/ 1044318 h 1225917"/>
                <a:gd name="connsiteX395" fmla="*/ 67409 w 559555"/>
                <a:gd name="connsiteY395" fmla="*/ 1045600 h 1225917"/>
                <a:gd name="connsiteX396" fmla="*/ 66493 w 559555"/>
                <a:gd name="connsiteY396" fmla="*/ 1046582 h 1225917"/>
                <a:gd name="connsiteX397" fmla="*/ 64883 w 559555"/>
                <a:gd name="connsiteY397" fmla="*/ 1048114 h 1225917"/>
                <a:gd name="connsiteX398" fmla="*/ 61349 w 559555"/>
                <a:gd name="connsiteY398" fmla="*/ 1049467 h 1225917"/>
                <a:gd name="connsiteX399" fmla="*/ 59883 w 559555"/>
                <a:gd name="connsiteY399" fmla="*/ 1047963 h 1225917"/>
                <a:gd name="connsiteX400" fmla="*/ 57570 w 559555"/>
                <a:gd name="connsiteY400" fmla="*/ 1047024 h 1225917"/>
                <a:gd name="connsiteX401" fmla="*/ 54999 w 559555"/>
                <a:gd name="connsiteY401" fmla="*/ 1047958 h 1225917"/>
                <a:gd name="connsiteX402" fmla="*/ 53961 w 559555"/>
                <a:gd name="connsiteY402" fmla="*/ 1048526 h 1225917"/>
                <a:gd name="connsiteX403" fmla="*/ 50767 w 559555"/>
                <a:gd name="connsiteY403" fmla="*/ 1049877 h 1225917"/>
                <a:gd name="connsiteX404" fmla="*/ 44350 w 559555"/>
                <a:gd name="connsiteY404" fmla="*/ 1052740 h 1225917"/>
                <a:gd name="connsiteX405" fmla="*/ 42642 w 559555"/>
                <a:gd name="connsiteY405" fmla="*/ 1053616 h 1225917"/>
                <a:gd name="connsiteX406" fmla="*/ 36439 w 559555"/>
                <a:gd name="connsiteY406" fmla="*/ 1056627 h 1225917"/>
                <a:gd name="connsiteX407" fmla="*/ 23216 w 559555"/>
                <a:gd name="connsiteY407" fmla="*/ 1065102 h 1225917"/>
                <a:gd name="connsiteX408" fmla="*/ 15850 w 559555"/>
                <a:gd name="connsiteY408" fmla="*/ 1074610 h 1225917"/>
                <a:gd name="connsiteX409" fmla="*/ 14373 w 559555"/>
                <a:gd name="connsiteY409" fmla="*/ 1080142 h 1225917"/>
                <a:gd name="connsiteX410" fmla="*/ 14000 w 559555"/>
                <a:gd name="connsiteY410" fmla="*/ 1079966 h 1225917"/>
                <a:gd name="connsiteX411" fmla="*/ 12958 w 559555"/>
                <a:gd name="connsiteY411" fmla="*/ 1079537 h 1225917"/>
                <a:gd name="connsiteX412" fmla="*/ 9348 w 559555"/>
                <a:gd name="connsiteY412" fmla="*/ 1079856 h 1225917"/>
                <a:gd name="connsiteX413" fmla="*/ 6982 w 559555"/>
                <a:gd name="connsiteY413" fmla="*/ 1081579 h 1225917"/>
                <a:gd name="connsiteX414" fmla="*/ 1785 w 559555"/>
                <a:gd name="connsiteY414" fmla="*/ 1086173 h 1225917"/>
                <a:gd name="connsiteX415" fmla="*/ 1321 w 559555"/>
                <a:gd name="connsiteY415" fmla="*/ 1086755 h 1225917"/>
                <a:gd name="connsiteX416" fmla="*/ 319 w 559555"/>
                <a:gd name="connsiteY416" fmla="*/ 1088344 h 1225917"/>
                <a:gd name="connsiteX417" fmla="*/ 136 w 559555"/>
                <a:gd name="connsiteY417" fmla="*/ 1091529 h 1225917"/>
                <a:gd name="connsiteX418" fmla="*/ 6102 w 559555"/>
                <a:gd name="connsiteY418" fmla="*/ 1101082 h 1225917"/>
                <a:gd name="connsiteX419" fmla="*/ 7090 w 559555"/>
                <a:gd name="connsiteY419" fmla="*/ 1102238 h 1225917"/>
                <a:gd name="connsiteX420" fmla="*/ 14150 w 559555"/>
                <a:gd name="connsiteY420" fmla="*/ 1110548 h 1225917"/>
                <a:gd name="connsiteX421" fmla="*/ 17447 w 559555"/>
                <a:gd name="connsiteY421" fmla="*/ 1114594 h 1225917"/>
                <a:gd name="connsiteX422" fmla="*/ 23315 w 559555"/>
                <a:gd name="connsiteY422" fmla="*/ 1121579 h 1225917"/>
                <a:gd name="connsiteX423" fmla="*/ 27380 w 559555"/>
                <a:gd name="connsiteY423" fmla="*/ 1126177 h 1225917"/>
                <a:gd name="connsiteX424" fmla="*/ 32483 w 559555"/>
                <a:gd name="connsiteY424" fmla="*/ 1131886 h 1225917"/>
                <a:gd name="connsiteX425" fmla="*/ 33859 w 559555"/>
                <a:gd name="connsiteY425" fmla="*/ 1133158 h 1225917"/>
                <a:gd name="connsiteX426" fmla="*/ 35737 w 559555"/>
                <a:gd name="connsiteY426" fmla="*/ 1133879 h 1225917"/>
                <a:gd name="connsiteX427" fmla="*/ 37707 w 559555"/>
                <a:gd name="connsiteY427" fmla="*/ 1133247 h 1225917"/>
                <a:gd name="connsiteX428" fmla="*/ 43461 w 559555"/>
                <a:gd name="connsiteY428" fmla="*/ 1129429 h 1225917"/>
                <a:gd name="connsiteX429" fmla="*/ 47443 w 559555"/>
                <a:gd name="connsiteY429" fmla="*/ 1135052 h 1225917"/>
                <a:gd name="connsiteX430" fmla="*/ 49374 w 559555"/>
                <a:gd name="connsiteY430" fmla="*/ 1139205 h 1225917"/>
                <a:gd name="connsiteX431" fmla="*/ 50861 w 559555"/>
                <a:gd name="connsiteY431" fmla="*/ 1142000 h 1225917"/>
                <a:gd name="connsiteX432" fmla="*/ 53779 w 559555"/>
                <a:gd name="connsiteY432" fmla="*/ 1147385 h 1225917"/>
                <a:gd name="connsiteX433" fmla="*/ 56193 w 559555"/>
                <a:gd name="connsiteY433" fmla="*/ 1151733 h 1225917"/>
                <a:gd name="connsiteX434" fmla="*/ 60273 w 559555"/>
                <a:gd name="connsiteY434" fmla="*/ 1158945 h 1225917"/>
                <a:gd name="connsiteX435" fmla="*/ 69965 w 559555"/>
                <a:gd name="connsiteY435" fmla="*/ 1174662 h 1225917"/>
                <a:gd name="connsiteX436" fmla="*/ 79202 w 559555"/>
                <a:gd name="connsiteY436" fmla="*/ 1185821 h 1225917"/>
                <a:gd name="connsiteX437" fmla="*/ 82599 w 559555"/>
                <a:gd name="connsiteY437" fmla="*/ 1188620 h 1225917"/>
                <a:gd name="connsiteX438" fmla="*/ 91615 w 559555"/>
                <a:gd name="connsiteY438" fmla="*/ 1195821 h 1225917"/>
                <a:gd name="connsiteX439" fmla="*/ 113907 w 559555"/>
                <a:gd name="connsiteY439" fmla="*/ 1208595 h 1225917"/>
                <a:gd name="connsiteX440" fmla="*/ 118498 w 559555"/>
                <a:gd name="connsiteY440" fmla="*/ 1210623 h 1225917"/>
                <a:gd name="connsiteX441" fmla="*/ 126461 w 559555"/>
                <a:gd name="connsiteY441" fmla="*/ 1214238 h 1225917"/>
                <a:gd name="connsiteX442" fmla="*/ 154878 w 559555"/>
                <a:gd name="connsiteY442" fmla="*/ 1223697 h 1225917"/>
                <a:gd name="connsiteX443" fmla="*/ 163029 w 559555"/>
                <a:gd name="connsiteY443" fmla="*/ 1225251 h 1225917"/>
                <a:gd name="connsiteX444" fmla="*/ 165703 w 559555"/>
                <a:gd name="connsiteY444" fmla="*/ 1225637 h 1225917"/>
                <a:gd name="connsiteX445" fmla="*/ 169761 w 559555"/>
                <a:gd name="connsiteY445" fmla="*/ 1225918 h 1225917"/>
                <a:gd name="connsiteX446" fmla="*/ 169835 w 559555"/>
                <a:gd name="connsiteY446" fmla="*/ 1225918 h 1225917"/>
                <a:gd name="connsiteX447" fmla="*/ 173014 w 559555"/>
                <a:gd name="connsiteY447" fmla="*/ 1224578 h 1225917"/>
                <a:gd name="connsiteX448" fmla="*/ 173105 w 559555"/>
                <a:gd name="connsiteY448" fmla="*/ 1224430 h 1225917"/>
                <a:gd name="connsiteX449" fmla="*/ 173712 w 559555"/>
                <a:gd name="connsiteY449" fmla="*/ 1222882 h 1225917"/>
                <a:gd name="connsiteX450" fmla="*/ 173031 w 559555"/>
                <a:gd name="connsiteY450" fmla="*/ 1221050 h 1225917"/>
                <a:gd name="connsiteX451" fmla="*/ 172940 w 559555"/>
                <a:gd name="connsiteY451" fmla="*/ 1221010 h 1225917"/>
                <a:gd name="connsiteX452" fmla="*/ 173179 w 559555"/>
                <a:gd name="connsiteY452" fmla="*/ 1220870 h 1225917"/>
                <a:gd name="connsiteX453" fmla="*/ 175291 w 559555"/>
                <a:gd name="connsiteY453" fmla="*/ 1216256 h 1225917"/>
                <a:gd name="connsiteX454" fmla="*/ 166861 w 559555"/>
                <a:gd name="connsiteY454" fmla="*/ 1201352 h 1225917"/>
                <a:gd name="connsiteX455" fmla="*/ 151786 w 559555"/>
                <a:gd name="connsiteY455" fmla="*/ 1191051 h 1225917"/>
                <a:gd name="connsiteX456" fmla="*/ 149977 w 559555"/>
                <a:gd name="connsiteY456" fmla="*/ 1190109 h 1225917"/>
                <a:gd name="connsiteX457" fmla="*/ 144341 w 559555"/>
                <a:gd name="connsiteY457" fmla="*/ 1185786 h 1225917"/>
                <a:gd name="connsiteX458" fmla="*/ 139556 w 559555"/>
                <a:gd name="connsiteY458" fmla="*/ 1180336 h 1225917"/>
                <a:gd name="connsiteX459" fmla="*/ 138743 w 559555"/>
                <a:gd name="connsiteY459" fmla="*/ 1179779 h 1225917"/>
                <a:gd name="connsiteX460" fmla="*/ 135537 w 559555"/>
                <a:gd name="connsiteY460" fmla="*/ 1176007 h 1225917"/>
                <a:gd name="connsiteX461" fmla="*/ 133662 w 559555"/>
                <a:gd name="connsiteY461" fmla="*/ 1167776 h 1225917"/>
                <a:gd name="connsiteX462" fmla="*/ 131243 w 559555"/>
                <a:gd name="connsiteY462" fmla="*/ 1160280 h 1225917"/>
                <a:gd name="connsiteX463" fmla="*/ 131196 w 559555"/>
                <a:gd name="connsiteY463" fmla="*/ 1155899 h 1225917"/>
                <a:gd name="connsiteX464" fmla="*/ 131149 w 559555"/>
                <a:gd name="connsiteY464" fmla="*/ 1151323 h 1225917"/>
                <a:gd name="connsiteX465" fmla="*/ 131075 w 559555"/>
                <a:gd name="connsiteY465" fmla="*/ 1148811 h 1225917"/>
                <a:gd name="connsiteX466" fmla="*/ 131012 w 559555"/>
                <a:gd name="connsiteY466" fmla="*/ 1145616 h 1225917"/>
                <a:gd name="connsiteX467" fmla="*/ 129946 w 559555"/>
                <a:gd name="connsiteY467" fmla="*/ 1133686 h 1225917"/>
                <a:gd name="connsiteX468" fmla="*/ 129617 w 559555"/>
                <a:gd name="connsiteY468" fmla="*/ 1131472 h 1225917"/>
                <a:gd name="connsiteX469" fmla="*/ 129510 w 559555"/>
                <a:gd name="connsiteY469" fmla="*/ 1120286 h 1225917"/>
                <a:gd name="connsiteX470" fmla="*/ 130580 w 559555"/>
                <a:gd name="connsiteY470" fmla="*/ 1116954 h 1225917"/>
                <a:gd name="connsiteX471" fmla="*/ 131122 w 559555"/>
                <a:gd name="connsiteY471" fmla="*/ 1115629 h 1225917"/>
                <a:gd name="connsiteX472" fmla="*/ 131153 w 559555"/>
                <a:gd name="connsiteY472" fmla="*/ 1111242 h 1225917"/>
                <a:gd name="connsiteX473" fmla="*/ 129916 w 559555"/>
                <a:gd name="connsiteY473" fmla="*/ 1109669 h 1225917"/>
                <a:gd name="connsiteX474" fmla="*/ 127404 w 559555"/>
                <a:gd name="connsiteY474" fmla="*/ 1108048 h 1225917"/>
                <a:gd name="connsiteX475" fmla="*/ 127227 w 559555"/>
                <a:gd name="connsiteY475" fmla="*/ 1104488 h 1225917"/>
                <a:gd name="connsiteX476" fmla="*/ 131994 w 559555"/>
                <a:gd name="connsiteY476" fmla="*/ 1107006 h 1225917"/>
                <a:gd name="connsiteX477" fmla="*/ 139786 w 559555"/>
                <a:gd name="connsiteY477" fmla="*/ 1111770 h 1225917"/>
                <a:gd name="connsiteX478" fmla="*/ 149359 w 559555"/>
                <a:gd name="connsiteY478" fmla="*/ 1118041 h 1225917"/>
                <a:gd name="connsiteX479" fmla="*/ 151854 w 559555"/>
                <a:gd name="connsiteY479" fmla="*/ 1119852 h 1225917"/>
                <a:gd name="connsiteX480" fmla="*/ 157049 w 559555"/>
                <a:gd name="connsiteY480" fmla="*/ 1123363 h 1225917"/>
                <a:gd name="connsiteX481" fmla="*/ 165148 w 559555"/>
                <a:gd name="connsiteY481" fmla="*/ 1129080 h 1225917"/>
                <a:gd name="connsiteX482" fmla="*/ 169559 w 559555"/>
                <a:gd name="connsiteY482" fmla="*/ 1131907 h 1225917"/>
                <a:gd name="connsiteX483" fmla="*/ 174754 w 559555"/>
                <a:gd name="connsiteY483" fmla="*/ 1131343 h 1225917"/>
                <a:gd name="connsiteX484" fmla="*/ 180735 w 559555"/>
                <a:gd name="connsiteY484" fmla="*/ 1122004 h 1225917"/>
                <a:gd name="connsiteX485" fmla="*/ 190813 w 559555"/>
                <a:gd name="connsiteY485" fmla="*/ 1106705 h 1225917"/>
                <a:gd name="connsiteX486" fmla="*/ 196373 w 559555"/>
                <a:gd name="connsiteY486" fmla="*/ 1099124 h 1225917"/>
                <a:gd name="connsiteX487" fmla="*/ 201228 w 559555"/>
                <a:gd name="connsiteY487" fmla="*/ 1092516 h 1225917"/>
                <a:gd name="connsiteX488" fmla="*/ 208261 w 559555"/>
                <a:gd name="connsiteY488" fmla="*/ 1083282 h 1225917"/>
                <a:gd name="connsiteX489" fmla="*/ 213520 w 559555"/>
                <a:gd name="connsiteY489" fmla="*/ 1076448 h 1225917"/>
                <a:gd name="connsiteX490" fmla="*/ 219831 w 559555"/>
                <a:gd name="connsiteY490" fmla="*/ 1067310 h 1225917"/>
                <a:gd name="connsiteX491" fmla="*/ 228568 w 559555"/>
                <a:gd name="connsiteY491" fmla="*/ 1055100 h 1225917"/>
                <a:gd name="connsiteX492" fmla="*/ 240764 w 559555"/>
                <a:gd name="connsiteY492" fmla="*/ 1040863 h 1225917"/>
                <a:gd name="connsiteX493" fmla="*/ 262807 w 559555"/>
                <a:gd name="connsiteY493" fmla="*/ 1014123 h 1225917"/>
                <a:gd name="connsiteX494" fmla="*/ 270925 w 559555"/>
                <a:gd name="connsiteY494" fmla="*/ 1003786 h 1225917"/>
                <a:gd name="connsiteX495" fmla="*/ 283985 w 559555"/>
                <a:gd name="connsiteY495" fmla="*/ 986225 h 1225917"/>
                <a:gd name="connsiteX496" fmla="*/ 301862 w 559555"/>
                <a:gd name="connsiteY496" fmla="*/ 961967 h 1225917"/>
                <a:gd name="connsiteX497" fmla="*/ 307812 w 559555"/>
                <a:gd name="connsiteY497" fmla="*/ 954928 h 1225917"/>
                <a:gd name="connsiteX498" fmla="*/ 313134 w 559555"/>
                <a:gd name="connsiteY498" fmla="*/ 948660 h 1225917"/>
                <a:gd name="connsiteX499" fmla="*/ 313645 w 559555"/>
                <a:gd name="connsiteY499" fmla="*/ 955511 h 1225917"/>
                <a:gd name="connsiteX500" fmla="*/ 314840 w 559555"/>
                <a:gd name="connsiteY500" fmla="*/ 967884 h 1225917"/>
                <a:gd name="connsiteX501" fmla="*/ 316451 w 559555"/>
                <a:gd name="connsiteY501" fmla="*/ 976911 h 1225917"/>
                <a:gd name="connsiteX502" fmla="*/ 318585 w 559555"/>
                <a:gd name="connsiteY502" fmla="*/ 989402 h 1225917"/>
                <a:gd name="connsiteX503" fmla="*/ 319126 w 559555"/>
                <a:gd name="connsiteY503" fmla="*/ 993313 h 1225917"/>
                <a:gd name="connsiteX504" fmla="*/ 321659 w 559555"/>
                <a:gd name="connsiteY504" fmla="*/ 1012402 h 1225917"/>
                <a:gd name="connsiteX505" fmla="*/ 325942 w 559555"/>
                <a:gd name="connsiteY505" fmla="*/ 1037359 h 1225917"/>
                <a:gd name="connsiteX506" fmla="*/ 330384 w 559555"/>
                <a:gd name="connsiteY506" fmla="*/ 1063696 h 1225917"/>
                <a:gd name="connsiteX507" fmla="*/ 334416 w 559555"/>
                <a:gd name="connsiteY507" fmla="*/ 1101088 h 1225917"/>
                <a:gd name="connsiteX508" fmla="*/ 335791 w 559555"/>
                <a:gd name="connsiteY508" fmla="*/ 1112101 h 1225917"/>
                <a:gd name="connsiteX509" fmla="*/ 337786 w 559555"/>
                <a:gd name="connsiteY509" fmla="*/ 1135285 h 1225917"/>
                <a:gd name="connsiteX510" fmla="*/ 337737 w 559555"/>
                <a:gd name="connsiteY510" fmla="*/ 1142145 h 1225917"/>
                <a:gd name="connsiteX511" fmla="*/ 337326 w 559555"/>
                <a:gd name="connsiteY511" fmla="*/ 1158632 h 1225917"/>
                <a:gd name="connsiteX512" fmla="*/ 337497 w 559555"/>
                <a:gd name="connsiteY512" fmla="*/ 1168074 h 1225917"/>
                <a:gd name="connsiteX513" fmla="*/ 337804 w 559555"/>
                <a:gd name="connsiteY513" fmla="*/ 1169276 h 1225917"/>
                <a:gd name="connsiteX514" fmla="*/ 339100 w 559555"/>
                <a:gd name="connsiteY514" fmla="*/ 1170000 h 1225917"/>
                <a:gd name="connsiteX515" fmla="*/ 340048 w 559555"/>
                <a:gd name="connsiteY515" fmla="*/ 1170022 h 1225917"/>
                <a:gd name="connsiteX516" fmla="*/ 340521 w 559555"/>
                <a:gd name="connsiteY516" fmla="*/ 1170039 h 1225917"/>
                <a:gd name="connsiteX517" fmla="*/ 340369 w 559555"/>
                <a:gd name="connsiteY517" fmla="*/ 1170878 h 1225917"/>
                <a:gd name="connsiteX518" fmla="*/ 339556 w 559555"/>
                <a:gd name="connsiteY518" fmla="*/ 1174762 h 1225917"/>
                <a:gd name="connsiteX519" fmla="*/ 338591 w 559555"/>
                <a:gd name="connsiteY519" fmla="*/ 1178943 h 1225917"/>
                <a:gd name="connsiteX520" fmla="*/ 337703 w 559555"/>
                <a:gd name="connsiteY520" fmla="*/ 1187772 h 1225917"/>
                <a:gd name="connsiteX521" fmla="*/ 340475 w 559555"/>
                <a:gd name="connsiteY521" fmla="*/ 1195238 h 1225917"/>
                <a:gd name="connsiteX522" fmla="*/ 340819 w 559555"/>
                <a:gd name="connsiteY522" fmla="*/ 1197030 h 1225917"/>
                <a:gd name="connsiteX523" fmla="*/ 339289 w 559555"/>
                <a:gd name="connsiteY523" fmla="*/ 1198343 h 1225917"/>
                <a:gd name="connsiteX524" fmla="*/ 339023 w 559555"/>
                <a:gd name="connsiteY524" fmla="*/ 1198688 h 1225917"/>
                <a:gd name="connsiteX525" fmla="*/ 338246 w 559555"/>
                <a:gd name="connsiteY525" fmla="*/ 1200323 h 1225917"/>
                <a:gd name="connsiteX526" fmla="*/ 338178 w 559555"/>
                <a:gd name="connsiteY526" fmla="*/ 1203445 h 1225917"/>
                <a:gd name="connsiteX527" fmla="*/ 338207 w 559555"/>
                <a:gd name="connsiteY527" fmla="*/ 1209742 h 1225917"/>
                <a:gd name="connsiteX528" fmla="*/ 338234 w 559555"/>
                <a:gd name="connsiteY528" fmla="*/ 1211108 h 1225917"/>
                <a:gd name="connsiteX529" fmla="*/ 338725 w 559555"/>
                <a:gd name="connsiteY529" fmla="*/ 1214468 h 1225917"/>
                <a:gd name="connsiteX530" fmla="*/ 340049 w 559555"/>
                <a:gd name="connsiteY530" fmla="*/ 1215750 h 1225917"/>
                <a:gd name="connsiteX531" fmla="*/ 341918 w 559555"/>
                <a:gd name="connsiteY531" fmla="*/ 1216331 h 1225917"/>
                <a:gd name="connsiteX532" fmla="*/ 403326 w 559555"/>
                <a:gd name="connsiteY532" fmla="*/ 1217503 h 1225917"/>
                <a:gd name="connsiteX533" fmla="*/ 407582 w 559555"/>
                <a:gd name="connsiteY533" fmla="*/ 1216395 h 1225917"/>
                <a:gd name="connsiteX534" fmla="*/ 409062 w 559555"/>
                <a:gd name="connsiteY534" fmla="*/ 1213243 h 1225917"/>
                <a:gd name="connsiteX535" fmla="*/ 409175 w 559555"/>
                <a:gd name="connsiteY535" fmla="*/ 1206294 h 1225917"/>
                <a:gd name="connsiteX536" fmla="*/ 427981 w 559555"/>
                <a:gd name="connsiteY536" fmla="*/ 1208038 h 1225917"/>
                <a:gd name="connsiteX537" fmla="*/ 444436 w 559555"/>
                <a:gd name="connsiteY537" fmla="*/ 1213225 h 1225917"/>
                <a:gd name="connsiteX538" fmla="*/ 460768 w 559555"/>
                <a:gd name="connsiteY538" fmla="*/ 1216595 h 1225917"/>
                <a:gd name="connsiteX539" fmla="*/ 497108 w 559555"/>
                <a:gd name="connsiteY539" fmla="*/ 1216075 h 1225917"/>
                <a:gd name="connsiteX540" fmla="*/ 521017 w 559555"/>
                <a:gd name="connsiteY540" fmla="*/ 1211559 h 1225917"/>
                <a:gd name="connsiteX541" fmla="*/ 525462 w 559555"/>
                <a:gd name="connsiteY541" fmla="*/ 1210346 h 1225917"/>
                <a:gd name="connsiteX542" fmla="*/ 534646 w 559555"/>
                <a:gd name="connsiteY542" fmla="*/ 1207465 h 1225917"/>
                <a:gd name="connsiteX543" fmla="*/ 544449 w 559555"/>
                <a:gd name="connsiteY543" fmla="*/ 1204044 h 1225917"/>
                <a:gd name="connsiteX544" fmla="*/ 555172 w 559555"/>
                <a:gd name="connsiteY544" fmla="*/ 1200226 h 1225917"/>
                <a:gd name="connsiteX545" fmla="*/ 556232 w 559555"/>
                <a:gd name="connsiteY545" fmla="*/ 1199823 h 1225917"/>
                <a:gd name="connsiteX546" fmla="*/ 558683 w 559555"/>
                <a:gd name="connsiteY546" fmla="*/ 1198549 h 1225917"/>
                <a:gd name="connsiteX547" fmla="*/ 559502 w 559555"/>
                <a:gd name="connsiteY547" fmla="*/ 1196954 h 1225917"/>
                <a:gd name="connsiteX548" fmla="*/ 559266 w 559555"/>
                <a:gd name="connsiteY548" fmla="*/ 1194636 h 1225917"/>
                <a:gd name="connsiteX549" fmla="*/ 558901 w 559555"/>
                <a:gd name="connsiteY549" fmla="*/ 1194052 h 1225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Lst>
              <a:rect l="l" t="t" r="r" b="b"/>
              <a:pathLst>
                <a:path w="559555" h="1225917">
                  <a:moveTo>
                    <a:pt x="558901" y="1194052"/>
                  </a:moveTo>
                  <a:cubicBezTo>
                    <a:pt x="558688" y="1193732"/>
                    <a:pt x="558469" y="1193398"/>
                    <a:pt x="558249" y="1193066"/>
                  </a:cubicBezTo>
                  <a:cubicBezTo>
                    <a:pt x="558041" y="1192751"/>
                    <a:pt x="557834" y="1192436"/>
                    <a:pt x="557630" y="1192132"/>
                  </a:cubicBezTo>
                  <a:cubicBezTo>
                    <a:pt x="557819" y="1190852"/>
                    <a:pt x="557998" y="1188057"/>
                    <a:pt x="556442" y="1186225"/>
                  </a:cubicBezTo>
                  <a:cubicBezTo>
                    <a:pt x="553986" y="1183330"/>
                    <a:pt x="550490" y="1181333"/>
                    <a:pt x="547087" y="1180882"/>
                  </a:cubicBezTo>
                  <a:cubicBezTo>
                    <a:pt x="539745" y="1179912"/>
                    <a:pt x="532295" y="1179869"/>
                    <a:pt x="525092" y="1179827"/>
                  </a:cubicBezTo>
                  <a:lnTo>
                    <a:pt x="523213" y="1179816"/>
                  </a:lnTo>
                  <a:cubicBezTo>
                    <a:pt x="521429" y="1179806"/>
                    <a:pt x="519540" y="1179884"/>
                    <a:pt x="517722" y="1179962"/>
                  </a:cubicBezTo>
                  <a:cubicBezTo>
                    <a:pt x="513974" y="1180126"/>
                    <a:pt x="510094" y="1180291"/>
                    <a:pt x="506530" y="1179685"/>
                  </a:cubicBezTo>
                  <a:cubicBezTo>
                    <a:pt x="505389" y="1179492"/>
                    <a:pt x="504189" y="1179364"/>
                    <a:pt x="503027" y="1179241"/>
                  </a:cubicBezTo>
                  <a:cubicBezTo>
                    <a:pt x="500819" y="1179007"/>
                    <a:pt x="498534" y="1178764"/>
                    <a:pt x="496514" y="1178059"/>
                  </a:cubicBezTo>
                  <a:cubicBezTo>
                    <a:pt x="492358" y="1176607"/>
                    <a:pt x="486575" y="1173992"/>
                    <a:pt x="482629" y="1169788"/>
                  </a:cubicBezTo>
                  <a:cubicBezTo>
                    <a:pt x="481639" y="1168731"/>
                    <a:pt x="480583" y="1167684"/>
                    <a:pt x="479561" y="1166671"/>
                  </a:cubicBezTo>
                  <a:cubicBezTo>
                    <a:pt x="477594" y="1164721"/>
                    <a:pt x="475560" y="1162703"/>
                    <a:pt x="473884" y="1160518"/>
                  </a:cubicBezTo>
                  <a:cubicBezTo>
                    <a:pt x="471329" y="1157188"/>
                    <a:pt x="468433" y="1154636"/>
                    <a:pt x="465030" y="1152720"/>
                  </a:cubicBezTo>
                  <a:cubicBezTo>
                    <a:pt x="463136" y="1151652"/>
                    <a:pt x="461297" y="1150288"/>
                    <a:pt x="459519" y="1148969"/>
                  </a:cubicBezTo>
                  <a:cubicBezTo>
                    <a:pt x="458815" y="1148446"/>
                    <a:pt x="458116" y="1147929"/>
                    <a:pt x="457418" y="1147430"/>
                  </a:cubicBezTo>
                  <a:cubicBezTo>
                    <a:pt x="456590" y="1146840"/>
                    <a:pt x="455749" y="1146253"/>
                    <a:pt x="454904" y="1145663"/>
                  </a:cubicBezTo>
                  <a:cubicBezTo>
                    <a:pt x="450653" y="1142697"/>
                    <a:pt x="446257" y="1139631"/>
                    <a:pt x="442981" y="1135708"/>
                  </a:cubicBezTo>
                  <a:cubicBezTo>
                    <a:pt x="442551" y="1135194"/>
                    <a:pt x="442051" y="1134681"/>
                    <a:pt x="441568" y="1134185"/>
                  </a:cubicBezTo>
                  <a:cubicBezTo>
                    <a:pt x="440658" y="1133251"/>
                    <a:pt x="439717" y="1132286"/>
                    <a:pt x="439158" y="1131238"/>
                  </a:cubicBezTo>
                  <a:cubicBezTo>
                    <a:pt x="438060" y="1129180"/>
                    <a:pt x="435759" y="1126771"/>
                    <a:pt x="432886" y="1126759"/>
                  </a:cubicBezTo>
                  <a:cubicBezTo>
                    <a:pt x="431800" y="1126754"/>
                    <a:pt x="430696" y="1126770"/>
                    <a:pt x="429600" y="1126785"/>
                  </a:cubicBezTo>
                  <a:lnTo>
                    <a:pt x="428848" y="1126796"/>
                  </a:lnTo>
                  <a:cubicBezTo>
                    <a:pt x="428406" y="1126803"/>
                    <a:pt x="427962" y="1126787"/>
                    <a:pt x="427734" y="1126552"/>
                  </a:cubicBezTo>
                  <a:cubicBezTo>
                    <a:pt x="427561" y="1126370"/>
                    <a:pt x="427500" y="1126036"/>
                    <a:pt x="427555" y="1125557"/>
                  </a:cubicBezTo>
                  <a:cubicBezTo>
                    <a:pt x="427579" y="1125341"/>
                    <a:pt x="427617" y="1125070"/>
                    <a:pt x="427654" y="1124796"/>
                  </a:cubicBezTo>
                  <a:cubicBezTo>
                    <a:pt x="427699" y="1124473"/>
                    <a:pt x="427743" y="1124144"/>
                    <a:pt x="427770" y="1123890"/>
                  </a:cubicBezTo>
                  <a:cubicBezTo>
                    <a:pt x="427929" y="1122398"/>
                    <a:pt x="428329" y="1120951"/>
                    <a:pt x="428962" y="1119590"/>
                  </a:cubicBezTo>
                  <a:cubicBezTo>
                    <a:pt x="429017" y="1119471"/>
                    <a:pt x="429055" y="1119358"/>
                    <a:pt x="429091" y="1119247"/>
                  </a:cubicBezTo>
                  <a:cubicBezTo>
                    <a:pt x="429136" y="1119112"/>
                    <a:pt x="429168" y="1119015"/>
                    <a:pt x="429235" y="1118921"/>
                  </a:cubicBezTo>
                  <a:cubicBezTo>
                    <a:pt x="431083" y="1116358"/>
                    <a:pt x="431276" y="1113077"/>
                    <a:pt x="431209" y="1109914"/>
                  </a:cubicBezTo>
                  <a:lnTo>
                    <a:pt x="431207" y="1109796"/>
                  </a:lnTo>
                  <a:cubicBezTo>
                    <a:pt x="431183" y="1108669"/>
                    <a:pt x="431158" y="1107503"/>
                    <a:pt x="431064" y="1106354"/>
                  </a:cubicBezTo>
                  <a:cubicBezTo>
                    <a:pt x="430933" y="1104724"/>
                    <a:pt x="430752" y="1103019"/>
                    <a:pt x="430579" y="1101370"/>
                  </a:cubicBezTo>
                  <a:cubicBezTo>
                    <a:pt x="430218" y="1097965"/>
                    <a:pt x="429845" y="1094445"/>
                    <a:pt x="429841" y="1091129"/>
                  </a:cubicBezTo>
                  <a:cubicBezTo>
                    <a:pt x="429835" y="1086700"/>
                    <a:pt x="428435" y="1082320"/>
                    <a:pt x="427261" y="1079427"/>
                  </a:cubicBezTo>
                  <a:cubicBezTo>
                    <a:pt x="426601" y="1077799"/>
                    <a:pt x="425884" y="1076223"/>
                    <a:pt x="425188" y="1074698"/>
                  </a:cubicBezTo>
                  <a:cubicBezTo>
                    <a:pt x="423776" y="1071599"/>
                    <a:pt x="422443" y="1068672"/>
                    <a:pt x="421560" y="1065353"/>
                  </a:cubicBezTo>
                  <a:cubicBezTo>
                    <a:pt x="420776" y="1062409"/>
                    <a:pt x="420112" y="1059009"/>
                    <a:pt x="421126" y="1056106"/>
                  </a:cubicBezTo>
                  <a:cubicBezTo>
                    <a:pt x="421797" y="1054188"/>
                    <a:pt x="422529" y="1052162"/>
                    <a:pt x="423270" y="1050112"/>
                  </a:cubicBezTo>
                  <a:cubicBezTo>
                    <a:pt x="424443" y="1046866"/>
                    <a:pt x="425655" y="1043511"/>
                    <a:pt x="426673" y="1040433"/>
                  </a:cubicBezTo>
                  <a:cubicBezTo>
                    <a:pt x="427687" y="1037374"/>
                    <a:pt x="428710" y="1034116"/>
                    <a:pt x="429700" y="1030965"/>
                  </a:cubicBezTo>
                  <a:cubicBezTo>
                    <a:pt x="431065" y="1026620"/>
                    <a:pt x="432476" y="1022128"/>
                    <a:pt x="433918" y="1017962"/>
                  </a:cubicBezTo>
                  <a:cubicBezTo>
                    <a:pt x="437287" y="1008222"/>
                    <a:pt x="439339" y="998096"/>
                    <a:pt x="439854" y="988678"/>
                  </a:cubicBezTo>
                  <a:cubicBezTo>
                    <a:pt x="439924" y="987388"/>
                    <a:pt x="439964" y="986114"/>
                    <a:pt x="440004" y="984850"/>
                  </a:cubicBezTo>
                  <a:cubicBezTo>
                    <a:pt x="440111" y="981401"/>
                    <a:pt x="440212" y="978144"/>
                    <a:pt x="440905" y="974770"/>
                  </a:cubicBezTo>
                  <a:cubicBezTo>
                    <a:pt x="446197" y="949033"/>
                    <a:pt x="447302" y="921815"/>
                    <a:pt x="447708" y="896236"/>
                  </a:cubicBezTo>
                  <a:cubicBezTo>
                    <a:pt x="447762" y="892819"/>
                    <a:pt x="447888" y="889294"/>
                    <a:pt x="448011" y="885883"/>
                  </a:cubicBezTo>
                  <a:cubicBezTo>
                    <a:pt x="448480" y="872832"/>
                    <a:pt x="448964" y="859337"/>
                    <a:pt x="445729" y="846670"/>
                  </a:cubicBezTo>
                  <a:cubicBezTo>
                    <a:pt x="445315" y="845044"/>
                    <a:pt x="444916" y="843440"/>
                    <a:pt x="444520" y="841849"/>
                  </a:cubicBezTo>
                  <a:cubicBezTo>
                    <a:pt x="443460" y="837587"/>
                    <a:pt x="442460" y="833561"/>
                    <a:pt x="441211" y="829326"/>
                  </a:cubicBezTo>
                  <a:cubicBezTo>
                    <a:pt x="439175" y="822427"/>
                    <a:pt x="437221" y="815321"/>
                    <a:pt x="435332" y="808448"/>
                  </a:cubicBezTo>
                  <a:cubicBezTo>
                    <a:pt x="432546" y="798316"/>
                    <a:pt x="429666" y="787838"/>
                    <a:pt x="426449" y="777742"/>
                  </a:cubicBezTo>
                  <a:cubicBezTo>
                    <a:pt x="422029" y="763872"/>
                    <a:pt x="418011" y="748765"/>
                    <a:pt x="418529" y="732291"/>
                  </a:cubicBezTo>
                  <a:cubicBezTo>
                    <a:pt x="418727" y="726002"/>
                    <a:pt x="418044" y="720167"/>
                    <a:pt x="416442" y="714452"/>
                  </a:cubicBezTo>
                  <a:lnTo>
                    <a:pt x="416231" y="713689"/>
                  </a:lnTo>
                  <a:cubicBezTo>
                    <a:pt x="415585" y="711331"/>
                    <a:pt x="414916" y="708894"/>
                    <a:pt x="413348" y="707056"/>
                  </a:cubicBezTo>
                  <a:cubicBezTo>
                    <a:pt x="411460" y="704846"/>
                    <a:pt x="410389" y="702070"/>
                    <a:pt x="410485" y="699630"/>
                  </a:cubicBezTo>
                  <a:cubicBezTo>
                    <a:pt x="410517" y="698815"/>
                    <a:pt x="410493" y="698026"/>
                    <a:pt x="410471" y="697264"/>
                  </a:cubicBezTo>
                  <a:cubicBezTo>
                    <a:pt x="410434" y="696012"/>
                    <a:pt x="410400" y="694829"/>
                    <a:pt x="410594" y="693575"/>
                  </a:cubicBezTo>
                  <a:cubicBezTo>
                    <a:pt x="411189" y="689733"/>
                    <a:pt x="410631" y="685370"/>
                    <a:pt x="409064" y="681602"/>
                  </a:cubicBezTo>
                  <a:cubicBezTo>
                    <a:pt x="408724" y="680785"/>
                    <a:pt x="408162" y="679996"/>
                    <a:pt x="407618" y="679233"/>
                  </a:cubicBezTo>
                  <a:cubicBezTo>
                    <a:pt x="407204" y="678652"/>
                    <a:pt x="406813" y="678103"/>
                    <a:pt x="406527" y="677558"/>
                  </a:cubicBezTo>
                  <a:cubicBezTo>
                    <a:pt x="406323" y="677176"/>
                    <a:pt x="406041" y="676784"/>
                    <a:pt x="405769" y="676405"/>
                  </a:cubicBezTo>
                  <a:cubicBezTo>
                    <a:pt x="405235" y="675661"/>
                    <a:pt x="404680" y="674891"/>
                    <a:pt x="404699" y="674182"/>
                  </a:cubicBezTo>
                  <a:cubicBezTo>
                    <a:pt x="404717" y="673430"/>
                    <a:pt x="404654" y="672635"/>
                    <a:pt x="404593" y="671866"/>
                  </a:cubicBezTo>
                  <a:cubicBezTo>
                    <a:pt x="404496" y="670632"/>
                    <a:pt x="404394" y="669357"/>
                    <a:pt x="404632" y="668241"/>
                  </a:cubicBezTo>
                  <a:lnTo>
                    <a:pt x="404734" y="667766"/>
                  </a:lnTo>
                  <a:cubicBezTo>
                    <a:pt x="404994" y="666553"/>
                    <a:pt x="405240" y="665408"/>
                    <a:pt x="405307" y="664108"/>
                  </a:cubicBezTo>
                  <a:cubicBezTo>
                    <a:pt x="405502" y="660240"/>
                    <a:pt x="404165" y="656924"/>
                    <a:pt x="402750" y="653413"/>
                  </a:cubicBezTo>
                  <a:lnTo>
                    <a:pt x="402525" y="652855"/>
                  </a:lnTo>
                  <a:cubicBezTo>
                    <a:pt x="400884" y="648771"/>
                    <a:pt x="398466" y="645089"/>
                    <a:pt x="396542" y="642337"/>
                  </a:cubicBezTo>
                  <a:cubicBezTo>
                    <a:pt x="395344" y="640623"/>
                    <a:pt x="394493" y="639215"/>
                    <a:pt x="393715" y="637655"/>
                  </a:cubicBezTo>
                  <a:cubicBezTo>
                    <a:pt x="393822" y="636748"/>
                    <a:pt x="393854" y="635864"/>
                    <a:pt x="393886" y="635008"/>
                  </a:cubicBezTo>
                  <a:cubicBezTo>
                    <a:pt x="393938" y="633606"/>
                    <a:pt x="393986" y="632283"/>
                    <a:pt x="394337" y="630911"/>
                  </a:cubicBezTo>
                  <a:cubicBezTo>
                    <a:pt x="395390" y="626788"/>
                    <a:pt x="395525" y="622420"/>
                    <a:pt x="395525" y="619074"/>
                  </a:cubicBezTo>
                  <a:cubicBezTo>
                    <a:pt x="395525" y="617764"/>
                    <a:pt x="395494" y="616449"/>
                    <a:pt x="395465" y="615134"/>
                  </a:cubicBezTo>
                  <a:cubicBezTo>
                    <a:pt x="395379" y="611418"/>
                    <a:pt x="395291" y="607580"/>
                    <a:pt x="395925" y="603877"/>
                  </a:cubicBezTo>
                  <a:cubicBezTo>
                    <a:pt x="397542" y="604071"/>
                    <a:pt x="399330" y="604226"/>
                    <a:pt x="400986" y="603612"/>
                  </a:cubicBezTo>
                  <a:cubicBezTo>
                    <a:pt x="402769" y="602953"/>
                    <a:pt x="404252" y="601458"/>
                    <a:pt x="404767" y="599805"/>
                  </a:cubicBezTo>
                  <a:lnTo>
                    <a:pt x="406470" y="594336"/>
                  </a:lnTo>
                  <a:cubicBezTo>
                    <a:pt x="406824" y="593200"/>
                    <a:pt x="406928" y="591945"/>
                    <a:pt x="407030" y="590733"/>
                  </a:cubicBezTo>
                  <a:cubicBezTo>
                    <a:pt x="407067" y="590279"/>
                    <a:pt x="407103" y="589829"/>
                    <a:pt x="407155" y="589393"/>
                  </a:cubicBezTo>
                  <a:lnTo>
                    <a:pt x="407320" y="587918"/>
                  </a:lnTo>
                  <a:cubicBezTo>
                    <a:pt x="407420" y="587009"/>
                    <a:pt x="407524" y="586090"/>
                    <a:pt x="407639" y="585170"/>
                  </a:cubicBezTo>
                  <a:cubicBezTo>
                    <a:pt x="408043" y="585342"/>
                    <a:pt x="408448" y="585496"/>
                    <a:pt x="408852" y="585618"/>
                  </a:cubicBezTo>
                  <a:cubicBezTo>
                    <a:pt x="410871" y="586231"/>
                    <a:pt x="412798" y="586332"/>
                    <a:pt x="414581" y="585916"/>
                  </a:cubicBezTo>
                  <a:cubicBezTo>
                    <a:pt x="415681" y="587470"/>
                    <a:pt x="416870" y="589019"/>
                    <a:pt x="418022" y="590519"/>
                  </a:cubicBezTo>
                  <a:lnTo>
                    <a:pt x="418933" y="591708"/>
                  </a:lnTo>
                  <a:cubicBezTo>
                    <a:pt x="419559" y="592527"/>
                    <a:pt x="420195" y="593340"/>
                    <a:pt x="420833" y="594153"/>
                  </a:cubicBezTo>
                  <a:cubicBezTo>
                    <a:pt x="422900" y="596787"/>
                    <a:pt x="425036" y="599510"/>
                    <a:pt x="426712" y="602436"/>
                  </a:cubicBezTo>
                  <a:lnTo>
                    <a:pt x="427064" y="603050"/>
                  </a:lnTo>
                  <a:cubicBezTo>
                    <a:pt x="428798" y="606065"/>
                    <a:pt x="430592" y="609183"/>
                    <a:pt x="431026" y="612472"/>
                  </a:cubicBezTo>
                  <a:lnTo>
                    <a:pt x="431050" y="612651"/>
                  </a:lnTo>
                  <a:cubicBezTo>
                    <a:pt x="431335" y="614827"/>
                    <a:pt x="431728" y="617808"/>
                    <a:pt x="433874" y="618564"/>
                  </a:cubicBezTo>
                  <a:cubicBezTo>
                    <a:pt x="434796" y="618889"/>
                    <a:pt x="435588" y="619045"/>
                    <a:pt x="436353" y="619045"/>
                  </a:cubicBezTo>
                  <a:cubicBezTo>
                    <a:pt x="436649" y="619045"/>
                    <a:pt x="436943" y="619015"/>
                    <a:pt x="437237" y="618969"/>
                  </a:cubicBezTo>
                  <a:cubicBezTo>
                    <a:pt x="437343" y="619534"/>
                    <a:pt x="437448" y="620094"/>
                    <a:pt x="437555" y="620649"/>
                  </a:cubicBezTo>
                  <a:cubicBezTo>
                    <a:pt x="437766" y="621757"/>
                    <a:pt x="437929" y="622910"/>
                    <a:pt x="438085" y="624025"/>
                  </a:cubicBezTo>
                  <a:cubicBezTo>
                    <a:pt x="438375" y="626089"/>
                    <a:pt x="438675" y="628222"/>
                    <a:pt x="439306" y="630234"/>
                  </a:cubicBezTo>
                  <a:cubicBezTo>
                    <a:pt x="440699" y="634678"/>
                    <a:pt x="442852" y="640284"/>
                    <a:pt x="447180" y="644229"/>
                  </a:cubicBezTo>
                  <a:cubicBezTo>
                    <a:pt x="448338" y="645282"/>
                    <a:pt x="449343" y="646521"/>
                    <a:pt x="450315" y="647719"/>
                  </a:cubicBezTo>
                  <a:cubicBezTo>
                    <a:pt x="451358" y="649004"/>
                    <a:pt x="452437" y="650333"/>
                    <a:pt x="453723" y="651468"/>
                  </a:cubicBezTo>
                  <a:cubicBezTo>
                    <a:pt x="454991" y="652586"/>
                    <a:pt x="456222" y="653796"/>
                    <a:pt x="456148" y="655198"/>
                  </a:cubicBezTo>
                  <a:cubicBezTo>
                    <a:pt x="455961" y="658735"/>
                    <a:pt x="457003" y="662084"/>
                    <a:pt x="459009" y="664385"/>
                  </a:cubicBezTo>
                  <a:cubicBezTo>
                    <a:pt x="459089" y="664476"/>
                    <a:pt x="459175" y="664569"/>
                    <a:pt x="459261" y="664663"/>
                  </a:cubicBezTo>
                  <a:cubicBezTo>
                    <a:pt x="459596" y="665023"/>
                    <a:pt x="459941" y="665396"/>
                    <a:pt x="459967" y="665770"/>
                  </a:cubicBezTo>
                  <a:cubicBezTo>
                    <a:pt x="460104" y="667695"/>
                    <a:pt x="460195" y="670535"/>
                    <a:pt x="459421" y="672971"/>
                  </a:cubicBezTo>
                  <a:cubicBezTo>
                    <a:pt x="458175" y="676885"/>
                    <a:pt x="457383" y="680636"/>
                    <a:pt x="457066" y="684119"/>
                  </a:cubicBezTo>
                  <a:cubicBezTo>
                    <a:pt x="456879" y="686170"/>
                    <a:pt x="456597" y="688090"/>
                    <a:pt x="455218" y="689077"/>
                  </a:cubicBezTo>
                  <a:cubicBezTo>
                    <a:pt x="454136" y="689851"/>
                    <a:pt x="453159" y="690781"/>
                    <a:pt x="452213" y="691679"/>
                  </a:cubicBezTo>
                  <a:cubicBezTo>
                    <a:pt x="451528" y="692331"/>
                    <a:pt x="450820" y="693004"/>
                    <a:pt x="450085" y="693602"/>
                  </a:cubicBezTo>
                  <a:cubicBezTo>
                    <a:pt x="448524" y="694876"/>
                    <a:pt x="447295" y="696442"/>
                    <a:pt x="446625" y="698013"/>
                  </a:cubicBezTo>
                  <a:cubicBezTo>
                    <a:pt x="445980" y="699520"/>
                    <a:pt x="445203" y="701758"/>
                    <a:pt x="445907" y="703760"/>
                  </a:cubicBezTo>
                  <a:cubicBezTo>
                    <a:pt x="446396" y="705152"/>
                    <a:pt x="447871" y="706192"/>
                    <a:pt x="449326" y="706100"/>
                  </a:cubicBezTo>
                  <a:cubicBezTo>
                    <a:pt x="450737" y="706019"/>
                    <a:pt x="452065" y="705323"/>
                    <a:pt x="453303" y="704617"/>
                  </a:cubicBezTo>
                  <a:cubicBezTo>
                    <a:pt x="453662" y="704411"/>
                    <a:pt x="454026" y="704184"/>
                    <a:pt x="454388" y="703955"/>
                  </a:cubicBezTo>
                  <a:cubicBezTo>
                    <a:pt x="454448" y="703918"/>
                    <a:pt x="454507" y="703880"/>
                    <a:pt x="454567" y="703843"/>
                  </a:cubicBezTo>
                  <a:cubicBezTo>
                    <a:pt x="454424" y="704757"/>
                    <a:pt x="454490" y="705649"/>
                    <a:pt x="454571" y="706447"/>
                  </a:cubicBezTo>
                  <a:cubicBezTo>
                    <a:pt x="454692" y="707622"/>
                    <a:pt x="455357" y="709865"/>
                    <a:pt x="457014" y="709944"/>
                  </a:cubicBezTo>
                  <a:cubicBezTo>
                    <a:pt x="459434" y="710063"/>
                    <a:pt x="461300" y="709859"/>
                    <a:pt x="462708" y="709333"/>
                  </a:cubicBezTo>
                  <a:cubicBezTo>
                    <a:pt x="463620" y="708992"/>
                    <a:pt x="464611" y="708764"/>
                    <a:pt x="465571" y="708544"/>
                  </a:cubicBezTo>
                  <a:cubicBezTo>
                    <a:pt x="466256" y="708387"/>
                    <a:pt x="466963" y="708225"/>
                    <a:pt x="467649" y="708021"/>
                  </a:cubicBezTo>
                  <a:cubicBezTo>
                    <a:pt x="468285" y="707832"/>
                    <a:pt x="468907" y="707651"/>
                    <a:pt x="469530" y="707473"/>
                  </a:cubicBezTo>
                  <a:cubicBezTo>
                    <a:pt x="469805" y="707393"/>
                    <a:pt x="470082" y="707313"/>
                    <a:pt x="470359" y="707234"/>
                  </a:cubicBezTo>
                  <a:cubicBezTo>
                    <a:pt x="469982" y="708063"/>
                    <a:pt x="469794" y="709032"/>
                    <a:pt x="469818" y="710054"/>
                  </a:cubicBezTo>
                  <a:cubicBezTo>
                    <a:pt x="469834" y="710672"/>
                    <a:pt x="470064" y="711271"/>
                    <a:pt x="470465" y="711740"/>
                  </a:cubicBezTo>
                  <a:cubicBezTo>
                    <a:pt x="470912" y="712263"/>
                    <a:pt x="471505" y="712567"/>
                    <a:pt x="472073" y="712567"/>
                  </a:cubicBezTo>
                  <a:cubicBezTo>
                    <a:pt x="472109" y="712567"/>
                    <a:pt x="472144" y="712566"/>
                    <a:pt x="472180" y="712563"/>
                  </a:cubicBezTo>
                  <a:cubicBezTo>
                    <a:pt x="473493" y="712476"/>
                    <a:pt x="474585" y="711844"/>
                    <a:pt x="475481" y="711236"/>
                  </a:cubicBezTo>
                  <a:cubicBezTo>
                    <a:pt x="476112" y="710808"/>
                    <a:pt x="476744" y="710347"/>
                    <a:pt x="477380" y="709881"/>
                  </a:cubicBezTo>
                  <a:cubicBezTo>
                    <a:pt x="478493" y="709068"/>
                    <a:pt x="479645" y="708225"/>
                    <a:pt x="480807" y="707565"/>
                  </a:cubicBezTo>
                  <a:cubicBezTo>
                    <a:pt x="482247" y="706745"/>
                    <a:pt x="483688" y="705686"/>
                    <a:pt x="485476" y="704132"/>
                  </a:cubicBezTo>
                  <a:cubicBezTo>
                    <a:pt x="486208" y="703495"/>
                    <a:pt x="486792" y="702681"/>
                    <a:pt x="487357" y="701893"/>
                  </a:cubicBezTo>
                  <a:cubicBezTo>
                    <a:pt x="487602" y="701552"/>
                    <a:pt x="487845" y="701213"/>
                    <a:pt x="488098" y="700893"/>
                  </a:cubicBezTo>
                  <a:cubicBezTo>
                    <a:pt x="488508" y="700373"/>
                    <a:pt x="488937" y="699848"/>
                    <a:pt x="489368" y="699321"/>
                  </a:cubicBezTo>
                  <a:cubicBezTo>
                    <a:pt x="489880" y="698694"/>
                    <a:pt x="490394" y="698065"/>
                    <a:pt x="490879" y="697443"/>
                  </a:cubicBezTo>
                  <a:cubicBezTo>
                    <a:pt x="491648" y="696456"/>
                    <a:pt x="492753" y="695543"/>
                    <a:pt x="494355" y="694571"/>
                  </a:cubicBezTo>
                  <a:cubicBezTo>
                    <a:pt x="496520" y="693259"/>
                    <a:pt x="498639" y="691510"/>
                    <a:pt x="500321" y="689646"/>
                  </a:cubicBezTo>
                  <a:cubicBezTo>
                    <a:pt x="501598" y="688232"/>
                    <a:pt x="502644" y="686703"/>
                    <a:pt x="503434" y="685104"/>
                  </a:cubicBezTo>
                  <a:cubicBezTo>
                    <a:pt x="503558" y="684851"/>
                    <a:pt x="503689" y="684602"/>
                    <a:pt x="503821" y="684353"/>
                  </a:cubicBezTo>
                  <a:cubicBezTo>
                    <a:pt x="504280" y="683479"/>
                    <a:pt x="504754" y="682576"/>
                    <a:pt x="504947" y="681565"/>
                  </a:cubicBezTo>
                  <a:cubicBezTo>
                    <a:pt x="505369" y="679345"/>
                    <a:pt x="505502" y="676924"/>
                    <a:pt x="505333" y="674562"/>
                  </a:cubicBezTo>
                  <a:cubicBezTo>
                    <a:pt x="505230" y="673155"/>
                    <a:pt x="505089" y="671734"/>
                    <a:pt x="504953" y="670360"/>
                  </a:cubicBezTo>
                  <a:cubicBezTo>
                    <a:pt x="504805" y="668877"/>
                    <a:pt x="504653" y="667343"/>
                    <a:pt x="504551" y="665830"/>
                  </a:cubicBezTo>
                  <a:cubicBezTo>
                    <a:pt x="504470" y="664628"/>
                    <a:pt x="504341" y="663401"/>
                    <a:pt x="504217" y="662215"/>
                  </a:cubicBezTo>
                  <a:cubicBezTo>
                    <a:pt x="503989" y="660052"/>
                    <a:pt x="503754" y="657815"/>
                    <a:pt x="503803" y="655650"/>
                  </a:cubicBezTo>
                  <a:cubicBezTo>
                    <a:pt x="503896" y="651617"/>
                    <a:pt x="503276" y="648396"/>
                    <a:pt x="501904" y="645804"/>
                  </a:cubicBezTo>
                  <a:cubicBezTo>
                    <a:pt x="501495" y="645031"/>
                    <a:pt x="501120" y="644272"/>
                    <a:pt x="500749" y="643521"/>
                  </a:cubicBezTo>
                  <a:cubicBezTo>
                    <a:pt x="500151" y="642311"/>
                    <a:pt x="499533" y="641059"/>
                    <a:pt x="498797" y="639809"/>
                  </a:cubicBezTo>
                  <a:cubicBezTo>
                    <a:pt x="497786" y="638090"/>
                    <a:pt x="496508" y="636300"/>
                    <a:pt x="494890" y="634336"/>
                  </a:cubicBezTo>
                  <a:cubicBezTo>
                    <a:pt x="493062" y="632119"/>
                    <a:pt x="491351" y="629610"/>
                    <a:pt x="489695" y="627185"/>
                  </a:cubicBezTo>
                  <a:cubicBezTo>
                    <a:pt x="488401" y="625288"/>
                    <a:pt x="487062" y="623326"/>
                    <a:pt x="485681" y="621525"/>
                  </a:cubicBezTo>
                  <a:cubicBezTo>
                    <a:pt x="483645" y="618867"/>
                    <a:pt x="481923" y="615777"/>
                    <a:pt x="479964" y="611954"/>
                  </a:cubicBezTo>
                  <a:cubicBezTo>
                    <a:pt x="479112" y="610292"/>
                    <a:pt x="478362" y="608688"/>
                    <a:pt x="477639" y="607136"/>
                  </a:cubicBezTo>
                  <a:cubicBezTo>
                    <a:pt x="477027" y="605825"/>
                    <a:pt x="476431" y="604550"/>
                    <a:pt x="475791" y="603270"/>
                  </a:cubicBezTo>
                  <a:cubicBezTo>
                    <a:pt x="477029" y="601989"/>
                    <a:pt x="477166" y="600082"/>
                    <a:pt x="476851" y="598672"/>
                  </a:cubicBezTo>
                  <a:cubicBezTo>
                    <a:pt x="476753" y="598237"/>
                    <a:pt x="476673" y="597809"/>
                    <a:pt x="476595" y="597386"/>
                  </a:cubicBezTo>
                  <a:cubicBezTo>
                    <a:pt x="476446" y="596586"/>
                    <a:pt x="476292" y="595758"/>
                    <a:pt x="476019" y="594919"/>
                  </a:cubicBezTo>
                  <a:cubicBezTo>
                    <a:pt x="475391" y="592994"/>
                    <a:pt x="474900" y="591426"/>
                    <a:pt x="474453" y="589997"/>
                  </a:cubicBezTo>
                  <a:cubicBezTo>
                    <a:pt x="473466" y="586831"/>
                    <a:pt x="472685" y="584332"/>
                    <a:pt x="471079" y="580131"/>
                  </a:cubicBezTo>
                  <a:cubicBezTo>
                    <a:pt x="470603" y="578884"/>
                    <a:pt x="470110" y="577671"/>
                    <a:pt x="469622" y="576467"/>
                  </a:cubicBezTo>
                  <a:cubicBezTo>
                    <a:pt x="468454" y="573592"/>
                    <a:pt x="467351" y="570876"/>
                    <a:pt x="466517" y="567863"/>
                  </a:cubicBezTo>
                  <a:cubicBezTo>
                    <a:pt x="465710" y="564947"/>
                    <a:pt x="464171" y="561963"/>
                    <a:pt x="463286" y="560379"/>
                  </a:cubicBezTo>
                  <a:cubicBezTo>
                    <a:pt x="463310" y="559677"/>
                    <a:pt x="463298" y="558876"/>
                    <a:pt x="463285" y="558100"/>
                  </a:cubicBezTo>
                  <a:cubicBezTo>
                    <a:pt x="463273" y="557429"/>
                    <a:pt x="463262" y="556766"/>
                    <a:pt x="463276" y="556180"/>
                  </a:cubicBezTo>
                  <a:lnTo>
                    <a:pt x="463336" y="553534"/>
                  </a:lnTo>
                  <a:cubicBezTo>
                    <a:pt x="463370" y="552050"/>
                    <a:pt x="463403" y="550558"/>
                    <a:pt x="463438" y="549096"/>
                  </a:cubicBezTo>
                  <a:cubicBezTo>
                    <a:pt x="463517" y="545968"/>
                    <a:pt x="462506" y="541635"/>
                    <a:pt x="459403" y="539716"/>
                  </a:cubicBezTo>
                  <a:cubicBezTo>
                    <a:pt x="458695" y="539279"/>
                    <a:pt x="457957" y="538771"/>
                    <a:pt x="457243" y="538279"/>
                  </a:cubicBezTo>
                  <a:cubicBezTo>
                    <a:pt x="456578" y="537821"/>
                    <a:pt x="455893" y="537349"/>
                    <a:pt x="455222" y="536927"/>
                  </a:cubicBezTo>
                  <a:cubicBezTo>
                    <a:pt x="454905" y="534400"/>
                    <a:pt x="454523" y="531570"/>
                    <a:pt x="453097" y="529440"/>
                  </a:cubicBezTo>
                  <a:cubicBezTo>
                    <a:pt x="452820" y="529027"/>
                    <a:pt x="452552" y="528582"/>
                    <a:pt x="452281" y="528131"/>
                  </a:cubicBezTo>
                  <a:cubicBezTo>
                    <a:pt x="451752" y="527255"/>
                    <a:pt x="451206" y="526348"/>
                    <a:pt x="450553" y="525597"/>
                  </a:cubicBezTo>
                  <a:cubicBezTo>
                    <a:pt x="449241" y="524085"/>
                    <a:pt x="448279" y="522616"/>
                    <a:pt x="447696" y="521229"/>
                  </a:cubicBezTo>
                  <a:cubicBezTo>
                    <a:pt x="447511" y="520789"/>
                    <a:pt x="447329" y="520339"/>
                    <a:pt x="447145" y="519884"/>
                  </a:cubicBezTo>
                  <a:cubicBezTo>
                    <a:pt x="446112" y="517331"/>
                    <a:pt x="445044" y="514691"/>
                    <a:pt x="443106" y="512811"/>
                  </a:cubicBezTo>
                  <a:cubicBezTo>
                    <a:pt x="441335" y="511093"/>
                    <a:pt x="439618" y="509164"/>
                    <a:pt x="439065" y="506725"/>
                  </a:cubicBezTo>
                  <a:lnTo>
                    <a:pt x="438611" y="504706"/>
                  </a:lnTo>
                  <a:cubicBezTo>
                    <a:pt x="437860" y="501365"/>
                    <a:pt x="437085" y="497911"/>
                    <a:pt x="436190" y="494654"/>
                  </a:cubicBezTo>
                  <a:cubicBezTo>
                    <a:pt x="435995" y="493943"/>
                    <a:pt x="435803" y="493211"/>
                    <a:pt x="435610" y="492468"/>
                  </a:cubicBezTo>
                  <a:cubicBezTo>
                    <a:pt x="434209" y="487098"/>
                    <a:pt x="432622" y="481011"/>
                    <a:pt x="428022" y="478024"/>
                  </a:cubicBezTo>
                  <a:cubicBezTo>
                    <a:pt x="427850" y="477912"/>
                    <a:pt x="427669" y="477798"/>
                    <a:pt x="427491" y="477684"/>
                  </a:cubicBezTo>
                  <a:cubicBezTo>
                    <a:pt x="427761" y="474538"/>
                    <a:pt x="427930" y="471309"/>
                    <a:pt x="428090" y="468178"/>
                  </a:cubicBezTo>
                  <a:cubicBezTo>
                    <a:pt x="428406" y="462031"/>
                    <a:pt x="428732" y="455674"/>
                    <a:pt x="429857" y="449643"/>
                  </a:cubicBezTo>
                  <a:cubicBezTo>
                    <a:pt x="430322" y="447150"/>
                    <a:pt x="430846" y="444647"/>
                    <a:pt x="431351" y="442227"/>
                  </a:cubicBezTo>
                  <a:cubicBezTo>
                    <a:pt x="432317" y="437608"/>
                    <a:pt x="433316" y="432832"/>
                    <a:pt x="433932" y="428002"/>
                  </a:cubicBezTo>
                  <a:cubicBezTo>
                    <a:pt x="434699" y="421978"/>
                    <a:pt x="435689" y="415840"/>
                    <a:pt x="436646" y="409904"/>
                  </a:cubicBezTo>
                  <a:cubicBezTo>
                    <a:pt x="438383" y="399128"/>
                    <a:pt x="440181" y="387985"/>
                    <a:pt x="440744" y="376976"/>
                  </a:cubicBezTo>
                  <a:cubicBezTo>
                    <a:pt x="440883" y="374269"/>
                    <a:pt x="441039" y="371572"/>
                    <a:pt x="441194" y="368879"/>
                  </a:cubicBezTo>
                  <a:cubicBezTo>
                    <a:pt x="441637" y="361204"/>
                    <a:pt x="442096" y="353268"/>
                    <a:pt x="442119" y="345386"/>
                  </a:cubicBezTo>
                  <a:cubicBezTo>
                    <a:pt x="442154" y="332690"/>
                    <a:pt x="442140" y="320431"/>
                    <a:pt x="442076" y="308951"/>
                  </a:cubicBezTo>
                  <a:cubicBezTo>
                    <a:pt x="442055" y="305236"/>
                    <a:pt x="441880" y="301409"/>
                    <a:pt x="441711" y="297708"/>
                  </a:cubicBezTo>
                  <a:cubicBezTo>
                    <a:pt x="441425" y="291431"/>
                    <a:pt x="441128" y="284941"/>
                    <a:pt x="441561" y="278700"/>
                  </a:cubicBezTo>
                  <a:cubicBezTo>
                    <a:pt x="441816" y="275027"/>
                    <a:pt x="441947" y="271219"/>
                    <a:pt x="442074" y="267536"/>
                  </a:cubicBezTo>
                  <a:cubicBezTo>
                    <a:pt x="442311" y="260666"/>
                    <a:pt x="442556" y="253564"/>
                    <a:pt x="443607" y="246838"/>
                  </a:cubicBezTo>
                  <a:cubicBezTo>
                    <a:pt x="443812" y="245525"/>
                    <a:pt x="443984" y="244172"/>
                    <a:pt x="444150" y="242865"/>
                  </a:cubicBezTo>
                  <a:cubicBezTo>
                    <a:pt x="444509" y="240026"/>
                    <a:pt x="444882" y="237091"/>
                    <a:pt x="445624" y="234339"/>
                  </a:cubicBezTo>
                  <a:cubicBezTo>
                    <a:pt x="446480" y="231171"/>
                    <a:pt x="447361" y="227040"/>
                    <a:pt x="446579" y="223197"/>
                  </a:cubicBezTo>
                  <a:cubicBezTo>
                    <a:pt x="446399" y="222306"/>
                    <a:pt x="446211" y="221386"/>
                    <a:pt x="445800" y="220523"/>
                  </a:cubicBezTo>
                  <a:cubicBezTo>
                    <a:pt x="445434" y="219754"/>
                    <a:pt x="444861" y="219201"/>
                    <a:pt x="444010" y="218798"/>
                  </a:cubicBezTo>
                  <a:cubicBezTo>
                    <a:pt x="443999" y="218474"/>
                    <a:pt x="443976" y="218147"/>
                    <a:pt x="443953" y="217819"/>
                  </a:cubicBezTo>
                  <a:cubicBezTo>
                    <a:pt x="443895" y="216993"/>
                    <a:pt x="443841" y="216212"/>
                    <a:pt x="443985" y="215470"/>
                  </a:cubicBezTo>
                  <a:cubicBezTo>
                    <a:pt x="444022" y="215279"/>
                    <a:pt x="444039" y="215065"/>
                    <a:pt x="444054" y="214846"/>
                  </a:cubicBezTo>
                  <a:cubicBezTo>
                    <a:pt x="444079" y="214497"/>
                    <a:pt x="444104" y="214136"/>
                    <a:pt x="444238" y="213929"/>
                  </a:cubicBezTo>
                  <a:cubicBezTo>
                    <a:pt x="446790" y="209955"/>
                    <a:pt x="447792" y="205015"/>
                    <a:pt x="446919" y="200713"/>
                  </a:cubicBezTo>
                  <a:cubicBezTo>
                    <a:pt x="446765" y="199954"/>
                    <a:pt x="446605" y="199191"/>
                    <a:pt x="446447" y="198429"/>
                  </a:cubicBezTo>
                  <a:cubicBezTo>
                    <a:pt x="446300" y="197723"/>
                    <a:pt x="446153" y="197017"/>
                    <a:pt x="446011" y="196314"/>
                  </a:cubicBezTo>
                  <a:cubicBezTo>
                    <a:pt x="448200" y="192824"/>
                    <a:pt x="451383" y="190063"/>
                    <a:pt x="456015" y="187635"/>
                  </a:cubicBezTo>
                  <a:cubicBezTo>
                    <a:pt x="456836" y="187204"/>
                    <a:pt x="457675" y="186791"/>
                    <a:pt x="458514" y="186376"/>
                  </a:cubicBezTo>
                  <a:cubicBezTo>
                    <a:pt x="460596" y="185349"/>
                    <a:pt x="462750" y="184285"/>
                    <a:pt x="464674" y="182940"/>
                  </a:cubicBezTo>
                  <a:cubicBezTo>
                    <a:pt x="468047" y="180581"/>
                    <a:pt x="471636" y="179265"/>
                    <a:pt x="475436" y="177872"/>
                  </a:cubicBezTo>
                  <a:lnTo>
                    <a:pt x="476246" y="177575"/>
                  </a:lnTo>
                  <a:cubicBezTo>
                    <a:pt x="481932" y="175482"/>
                    <a:pt x="487563" y="174398"/>
                    <a:pt x="493413" y="174260"/>
                  </a:cubicBezTo>
                  <a:cubicBezTo>
                    <a:pt x="496971" y="174580"/>
                    <a:pt x="501539" y="173387"/>
                    <a:pt x="503137" y="169988"/>
                  </a:cubicBezTo>
                  <a:cubicBezTo>
                    <a:pt x="504971" y="166085"/>
                    <a:pt x="504689" y="162012"/>
                    <a:pt x="504128" y="159283"/>
                  </a:cubicBezTo>
                  <a:cubicBezTo>
                    <a:pt x="503763" y="157504"/>
                    <a:pt x="503797" y="155895"/>
                    <a:pt x="504229" y="154499"/>
                  </a:cubicBezTo>
                  <a:cubicBezTo>
                    <a:pt x="504732" y="152878"/>
                    <a:pt x="504835" y="151205"/>
                    <a:pt x="504935" y="149588"/>
                  </a:cubicBezTo>
                  <a:lnTo>
                    <a:pt x="504992" y="148702"/>
                  </a:lnTo>
                  <a:cubicBezTo>
                    <a:pt x="505005" y="148522"/>
                    <a:pt x="505012" y="148336"/>
                    <a:pt x="505019" y="148149"/>
                  </a:cubicBezTo>
                  <a:cubicBezTo>
                    <a:pt x="505038" y="147678"/>
                    <a:pt x="505058" y="147191"/>
                    <a:pt x="505171" y="146778"/>
                  </a:cubicBezTo>
                  <a:cubicBezTo>
                    <a:pt x="505504" y="145579"/>
                    <a:pt x="505513" y="144306"/>
                    <a:pt x="505198" y="143098"/>
                  </a:cubicBezTo>
                  <a:cubicBezTo>
                    <a:pt x="504957" y="142170"/>
                    <a:pt x="504254" y="141330"/>
                    <a:pt x="503366" y="140907"/>
                  </a:cubicBezTo>
                  <a:cubicBezTo>
                    <a:pt x="502923" y="140697"/>
                    <a:pt x="502465" y="140478"/>
                    <a:pt x="502163" y="140136"/>
                  </a:cubicBezTo>
                  <a:cubicBezTo>
                    <a:pt x="502080" y="140041"/>
                    <a:pt x="502035" y="139893"/>
                    <a:pt x="501983" y="139722"/>
                  </a:cubicBezTo>
                  <a:lnTo>
                    <a:pt x="501980" y="139713"/>
                  </a:lnTo>
                  <a:cubicBezTo>
                    <a:pt x="502068" y="139455"/>
                    <a:pt x="502158" y="139195"/>
                    <a:pt x="502250" y="138935"/>
                  </a:cubicBezTo>
                  <a:cubicBezTo>
                    <a:pt x="502625" y="137865"/>
                    <a:pt x="503013" y="136759"/>
                    <a:pt x="503232" y="135629"/>
                  </a:cubicBezTo>
                  <a:lnTo>
                    <a:pt x="503418" y="134689"/>
                  </a:lnTo>
                  <a:cubicBezTo>
                    <a:pt x="503422" y="134661"/>
                    <a:pt x="503430" y="134619"/>
                    <a:pt x="503439" y="134583"/>
                  </a:cubicBezTo>
                  <a:cubicBezTo>
                    <a:pt x="503589" y="134576"/>
                    <a:pt x="503743" y="134574"/>
                    <a:pt x="503897" y="134571"/>
                  </a:cubicBezTo>
                  <a:cubicBezTo>
                    <a:pt x="504743" y="134554"/>
                    <a:pt x="505702" y="134537"/>
                    <a:pt x="506440" y="133961"/>
                  </a:cubicBezTo>
                  <a:cubicBezTo>
                    <a:pt x="507466" y="133161"/>
                    <a:pt x="507997" y="131891"/>
                    <a:pt x="508017" y="130187"/>
                  </a:cubicBezTo>
                  <a:cubicBezTo>
                    <a:pt x="508021" y="129876"/>
                    <a:pt x="508028" y="129562"/>
                    <a:pt x="508037" y="129249"/>
                  </a:cubicBezTo>
                  <a:cubicBezTo>
                    <a:pt x="508061" y="128299"/>
                    <a:pt x="508086" y="127316"/>
                    <a:pt x="507989" y="126348"/>
                  </a:cubicBezTo>
                  <a:lnTo>
                    <a:pt x="507928" y="125764"/>
                  </a:lnTo>
                  <a:cubicBezTo>
                    <a:pt x="507820" y="124741"/>
                    <a:pt x="507708" y="123683"/>
                    <a:pt x="507772" y="122654"/>
                  </a:cubicBezTo>
                  <a:cubicBezTo>
                    <a:pt x="507809" y="122044"/>
                    <a:pt x="508114" y="121448"/>
                    <a:pt x="508587" y="121060"/>
                  </a:cubicBezTo>
                  <a:cubicBezTo>
                    <a:pt x="509016" y="120708"/>
                    <a:pt x="509405" y="120598"/>
                    <a:pt x="510143" y="120609"/>
                  </a:cubicBezTo>
                  <a:lnTo>
                    <a:pt x="511129" y="120628"/>
                  </a:lnTo>
                  <a:cubicBezTo>
                    <a:pt x="512537" y="120654"/>
                    <a:pt x="513992" y="120681"/>
                    <a:pt x="515410" y="120762"/>
                  </a:cubicBezTo>
                  <a:cubicBezTo>
                    <a:pt x="518102" y="120917"/>
                    <a:pt x="521788" y="121125"/>
                    <a:pt x="524019" y="119104"/>
                  </a:cubicBezTo>
                  <a:cubicBezTo>
                    <a:pt x="525225" y="118012"/>
                    <a:pt x="526083" y="116536"/>
                    <a:pt x="526434" y="114949"/>
                  </a:cubicBezTo>
                  <a:cubicBezTo>
                    <a:pt x="526776" y="113411"/>
                    <a:pt x="526629" y="111839"/>
                    <a:pt x="526000" y="110277"/>
                  </a:cubicBezTo>
                  <a:cubicBezTo>
                    <a:pt x="524914" y="107576"/>
                    <a:pt x="523376" y="105400"/>
                    <a:pt x="521747" y="103096"/>
                  </a:cubicBezTo>
                  <a:lnTo>
                    <a:pt x="521014" y="102056"/>
                  </a:lnTo>
                  <a:cubicBezTo>
                    <a:pt x="520547" y="101388"/>
                    <a:pt x="520075" y="100718"/>
                    <a:pt x="519602" y="100047"/>
                  </a:cubicBezTo>
                  <a:cubicBezTo>
                    <a:pt x="518379" y="98310"/>
                    <a:pt x="517114" y="96514"/>
                    <a:pt x="515930" y="94740"/>
                  </a:cubicBezTo>
                  <a:cubicBezTo>
                    <a:pt x="514344" y="92363"/>
                    <a:pt x="511851" y="87737"/>
                    <a:pt x="512981" y="83464"/>
                  </a:cubicBezTo>
                  <a:cubicBezTo>
                    <a:pt x="513578" y="81205"/>
                    <a:pt x="513911" y="78998"/>
                    <a:pt x="514059" y="76310"/>
                  </a:cubicBezTo>
                  <a:cubicBezTo>
                    <a:pt x="514236" y="73090"/>
                    <a:pt x="514318" y="69963"/>
                    <a:pt x="513379" y="67120"/>
                  </a:cubicBezTo>
                  <a:cubicBezTo>
                    <a:pt x="512908" y="65697"/>
                    <a:pt x="512451" y="64333"/>
                    <a:pt x="512013" y="63024"/>
                  </a:cubicBezTo>
                  <a:cubicBezTo>
                    <a:pt x="509807" y="56441"/>
                    <a:pt x="508049" y="51192"/>
                    <a:pt x="507386" y="46742"/>
                  </a:cubicBezTo>
                  <a:cubicBezTo>
                    <a:pt x="508571" y="46746"/>
                    <a:pt x="509792" y="46778"/>
                    <a:pt x="510978" y="46811"/>
                  </a:cubicBezTo>
                  <a:cubicBezTo>
                    <a:pt x="512333" y="46847"/>
                    <a:pt x="513728" y="46878"/>
                    <a:pt x="515083" y="46880"/>
                  </a:cubicBezTo>
                  <a:cubicBezTo>
                    <a:pt x="519748" y="46858"/>
                    <a:pt x="524686" y="45364"/>
                    <a:pt x="530178" y="42311"/>
                  </a:cubicBezTo>
                  <a:cubicBezTo>
                    <a:pt x="533523" y="40452"/>
                    <a:pt x="536605" y="37270"/>
                    <a:pt x="539600" y="32583"/>
                  </a:cubicBezTo>
                  <a:cubicBezTo>
                    <a:pt x="540695" y="30868"/>
                    <a:pt x="541001" y="28565"/>
                    <a:pt x="540421" y="26423"/>
                  </a:cubicBezTo>
                  <a:cubicBezTo>
                    <a:pt x="539870" y="24389"/>
                    <a:pt x="538433" y="22578"/>
                    <a:pt x="536578" y="21579"/>
                  </a:cubicBezTo>
                  <a:cubicBezTo>
                    <a:pt x="533765" y="20065"/>
                    <a:pt x="530316" y="20005"/>
                    <a:pt x="526752" y="20078"/>
                  </a:cubicBezTo>
                  <a:cubicBezTo>
                    <a:pt x="525606" y="20069"/>
                    <a:pt x="524425" y="20066"/>
                    <a:pt x="523241" y="20063"/>
                  </a:cubicBezTo>
                  <a:cubicBezTo>
                    <a:pt x="522040" y="20060"/>
                    <a:pt x="520838" y="20058"/>
                    <a:pt x="519675" y="20048"/>
                  </a:cubicBezTo>
                  <a:cubicBezTo>
                    <a:pt x="510849" y="19979"/>
                    <a:pt x="501606" y="16393"/>
                    <a:pt x="494180" y="13511"/>
                  </a:cubicBezTo>
                  <a:cubicBezTo>
                    <a:pt x="492762" y="12961"/>
                    <a:pt x="491373" y="12335"/>
                    <a:pt x="490031" y="11729"/>
                  </a:cubicBezTo>
                  <a:cubicBezTo>
                    <a:pt x="488513" y="11044"/>
                    <a:pt x="486943" y="10337"/>
                    <a:pt x="485318" y="9732"/>
                  </a:cubicBezTo>
                  <a:cubicBezTo>
                    <a:pt x="480122" y="7800"/>
                    <a:pt x="474651" y="7011"/>
                    <a:pt x="469534" y="7452"/>
                  </a:cubicBezTo>
                  <a:cubicBezTo>
                    <a:pt x="463980" y="7287"/>
                    <a:pt x="458848" y="5915"/>
                    <a:pt x="454129" y="4457"/>
                  </a:cubicBezTo>
                  <a:cubicBezTo>
                    <a:pt x="443601" y="1205"/>
                    <a:pt x="433007" y="-283"/>
                    <a:pt x="422656" y="44"/>
                  </a:cubicBezTo>
                  <a:cubicBezTo>
                    <a:pt x="407829" y="-110"/>
                    <a:pt x="393105" y="2161"/>
                    <a:pt x="380075" y="6614"/>
                  </a:cubicBezTo>
                  <a:cubicBezTo>
                    <a:pt x="367801" y="10808"/>
                    <a:pt x="356469" y="20606"/>
                    <a:pt x="348986" y="33494"/>
                  </a:cubicBezTo>
                  <a:cubicBezTo>
                    <a:pt x="342292" y="45023"/>
                    <a:pt x="340883" y="59786"/>
                    <a:pt x="345121" y="73997"/>
                  </a:cubicBezTo>
                  <a:cubicBezTo>
                    <a:pt x="345874" y="76516"/>
                    <a:pt x="346811" y="79055"/>
                    <a:pt x="347717" y="81508"/>
                  </a:cubicBezTo>
                  <a:lnTo>
                    <a:pt x="348157" y="82703"/>
                  </a:lnTo>
                  <a:cubicBezTo>
                    <a:pt x="349703" y="86913"/>
                    <a:pt x="352863" y="90677"/>
                    <a:pt x="356826" y="93031"/>
                  </a:cubicBezTo>
                  <a:cubicBezTo>
                    <a:pt x="358254" y="93878"/>
                    <a:pt x="359280" y="95486"/>
                    <a:pt x="360273" y="97040"/>
                  </a:cubicBezTo>
                  <a:cubicBezTo>
                    <a:pt x="360764" y="97808"/>
                    <a:pt x="361272" y="98605"/>
                    <a:pt x="361820" y="99291"/>
                  </a:cubicBezTo>
                  <a:cubicBezTo>
                    <a:pt x="362468" y="100099"/>
                    <a:pt x="363319" y="100938"/>
                    <a:pt x="364094" y="101671"/>
                  </a:cubicBezTo>
                  <a:cubicBezTo>
                    <a:pt x="363122" y="105846"/>
                    <a:pt x="362979" y="110393"/>
                    <a:pt x="363683" y="114838"/>
                  </a:cubicBezTo>
                  <a:lnTo>
                    <a:pt x="363932" y="116416"/>
                  </a:lnTo>
                  <a:lnTo>
                    <a:pt x="364502" y="114924"/>
                  </a:lnTo>
                  <a:cubicBezTo>
                    <a:pt x="364855" y="114003"/>
                    <a:pt x="365362" y="113192"/>
                    <a:pt x="365909" y="112452"/>
                  </a:cubicBezTo>
                  <a:cubicBezTo>
                    <a:pt x="366407" y="116037"/>
                    <a:pt x="367484" y="119598"/>
                    <a:pt x="368983" y="122578"/>
                  </a:cubicBezTo>
                  <a:cubicBezTo>
                    <a:pt x="369200" y="123008"/>
                    <a:pt x="369163" y="123579"/>
                    <a:pt x="369125" y="124182"/>
                  </a:cubicBezTo>
                  <a:cubicBezTo>
                    <a:pt x="369105" y="124499"/>
                    <a:pt x="369086" y="124811"/>
                    <a:pt x="369101" y="125108"/>
                  </a:cubicBezTo>
                  <a:cubicBezTo>
                    <a:pt x="369133" y="125755"/>
                    <a:pt x="368728" y="126452"/>
                    <a:pt x="368338" y="127126"/>
                  </a:cubicBezTo>
                  <a:cubicBezTo>
                    <a:pt x="368192" y="127379"/>
                    <a:pt x="368042" y="127637"/>
                    <a:pt x="367912" y="127897"/>
                  </a:cubicBezTo>
                  <a:cubicBezTo>
                    <a:pt x="367529" y="127928"/>
                    <a:pt x="367129" y="128085"/>
                    <a:pt x="366802" y="128230"/>
                  </a:cubicBezTo>
                  <a:cubicBezTo>
                    <a:pt x="365936" y="128617"/>
                    <a:pt x="365410" y="129475"/>
                    <a:pt x="365026" y="130101"/>
                  </a:cubicBezTo>
                  <a:cubicBezTo>
                    <a:pt x="364492" y="130972"/>
                    <a:pt x="363941" y="131816"/>
                    <a:pt x="363393" y="132652"/>
                  </a:cubicBezTo>
                  <a:cubicBezTo>
                    <a:pt x="361731" y="135194"/>
                    <a:pt x="360161" y="137595"/>
                    <a:pt x="359183" y="140515"/>
                  </a:cubicBezTo>
                  <a:cubicBezTo>
                    <a:pt x="358369" y="142946"/>
                    <a:pt x="357038" y="145181"/>
                    <a:pt x="354884" y="147723"/>
                  </a:cubicBezTo>
                  <a:cubicBezTo>
                    <a:pt x="352300" y="146025"/>
                    <a:pt x="349553" y="144665"/>
                    <a:pt x="347190" y="143552"/>
                  </a:cubicBezTo>
                  <a:cubicBezTo>
                    <a:pt x="346027" y="143004"/>
                    <a:pt x="344814" y="142650"/>
                    <a:pt x="343640" y="142306"/>
                  </a:cubicBezTo>
                  <a:cubicBezTo>
                    <a:pt x="343275" y="142200"/>
                    <a:pt x="342909" y="142093"/>
                    <a:pt x="342541" y="141980"/>
                  </a:cubicBezTo>
                  <a:cubicBezTo>
                    <a:pt x="340489" y="141346"/>
                    <a:pt x="337986" y="141606"/>
                    <a:pt x="335671" y="142690"/>
                  </a:cubicBezTo>
                  <a:cubicBezTo>
                    <a:pt x="332234" y="144300"/>
                    <a:pt x="329555" y="147042"/>
                    <a:pt x="327606" y="149252"/>
                  </a:cubicBezTo>
                  <a:cubicBezTo>
                    <a:pt x="327389" y="149496"/>
                    <a:pt x="327187" y="149732"/>
                    <a:pt x="326989" y="149960"/>
                  </a:cubicBezTo>
                  <a:cubicBezTo>
                    <a:pt x="326339" y="150713"/>
                    <a:pt x="325777" y="151363"/>
                    <a:pt x="325012" y="152070"/>
                  </a:cubicBezTo>
                  <a:lnTo>
                    <a:pt x="316733" y="159723"/>
                  </a:lnTo>
                  <a:cubicBezTo>
                    <a:pt x="315704" y="160674"/>
                    <a:pt x="314594" y="161622"/>
                    <a:pt x="313523" y="162538"/>
                  </a:cubicBezTo>
                  <a:cubicBezTo>
                    <a:pt x="310456" y="165160"/>
                    <a:pt x="307285" y="167870"/>
                    <a:pt x="305174" y="171290"/>
                  </a:cubicBezTo>
                  <a:cubicBezTo>
                    <a:pt x="303089" y="174670"/>
                    <a:pt x="300665" y="177284"/>
                    <a:pt x="297545" y="179516"/>
                  </a:cubicBezTo>
                  <a:cubicBezTo>
                    <a:pt x="295683" y="180847"/>
                    <a:pt x="293786" y="182418"/>
                    <a:pt x="291951" y="183938"/>
                  </a:cubicBezTo>
                  <a:cubicBezTo>
                    <a:pt x="291018" y="184710"/>
                    <a:pt x="290097" y="185472"/>
                    <a:pt x="289196" y="186191"/>
                  </a:cubicBezTo>
                  <a:cubicBezTo>
                    <a:pt x="284613" y="189847"/>
                    <a:pt x="281700" y="195097"/>
                    <a:pt x="278883" y="200176"/>
                  </a:cubicBezTo>
                  <a:lnTo>
                    <a:pt x="278250" y="201316"/>
                  </a:lnTo>
                  <a:cubicBezTo>
                    <a:pt x="275514" y="206224"/>
                    <a:pt x="272456" y="210227"/>
                    <a:pt x="269559" y="213820"/>
                  </a:cubicBezTo>
                  <a:cubicBezTo>
                    <a:pt x="262926" y="222055"/>
                    <a:pt x="258127" y="230481"/>
                    <a:pt x="253931" y="238361"/>
                  </a:cubicBezTo>
                  <a:cubicBezTo>
                    <a:pt x="248884" y="247839"/>
                    <a:pt x="243702" y="258034"/>
                    <a:pt x="240660" y="269290"/>
                  </a:cubicBezTo>
                  <a:cubicBezTo>
                    <a:pt x="240341" y="270470"/>
                    <a:pt x="239970" y="271674"/>
                    <a:pt x="239611" y="272839"/>
                  </a:cubicBezTo>
                  <a:cubicBezTo>
                    <a:pt x="238620" y="276059"/>
                    <a:pt x="237595" y="279389"/>
                    <a:pt x="237462" y="282793"/>
                  </a:cubicBezTo>
                  <a:cubicBezTo>
                    <a:pt x="237298" y="287062"/>
                    <a:pt x="236783" y="291387"/>
                    <a:pt x="236285" y="295570"/>
                  </a:cubicBezTo>
                  <a:cubicBezTo>
                    <a:pt x="235977" y="298151"/>
                    <a:pt x="235659" y="300819"/>
                    <a:pt x="235425" y="303452"/>
                  </a:cubicBezTo>
                  <a:cubicBezTo>
                    <a:pt x="235025" y="307984"/>
                    <a:pt x="234293" y="312701"/>
                    <a:pt x="233632" y="316718"/>
                  </a:cubicBezTo>
                  <a:cubicBezTo>
                    <a:pt x="232566" y="323178"/>
                    <a:pt x="229452" y="329500"/>
                    <a:pt x="226440" y="335612"/>
                  </a:cubicBezTo>
                  <a:cubicBezTo>
                    <a:pt x="226094" y="336314"/>
                    <a:pt x="225751" y="337011"/>
                    <a:pt x="225414" y="337701"/>
                  </a:cubicBezTo>
                  <a:cubicBezTo>
                    <a:pt x="222758" y="343146"/>
                    <a:pt x="220927" y="349805"/>
                    <a:pt x="219420" y="355619"/>
                  </a:cubicBezTo>
                  <a:cubicBezTo>
                    <a:pt x="218985" y="357300"/>
                    <a:pt x="218521" y="358826"/>
                    <a:pt x="218073" y="360303"/>
                  </a:cubicBezTo>
                  <a:cubicBezTo>
                    <a:pt x="216912" y="364127"/>
                    <a:pt x="215908" y="367429"/>
                    <a:pt x="215787" y="371906"/>
                  </a:cubicBezTo>
                  <a:cubicBezTo>
                    <a:pt x="215771" y="372505"/>
                    <a:pt x="215682" y="373135"/>
                    <a:pt x="215596" y="373745"/>
                  </a:cubicBezTo>
                  <a:cubicBezTo>
                    <a:pt x="215539" y="374138"/>
                    <a:pt x="215485" y="374529"/>
                    <a:pt x="215446" y="374916"/>
                  </a:cubicBezTo>
                  <a:cubicBezTo>
                    <a:pt x="214987" y="379566"/>
                    <a:pt x="213577" y="384198"/>
                    <a:pt x="211366" y="388312"/>
                  </a:cubicBezTo>
                  <a:lnTo>
                    <a:pt x="210892" y="389189"/>
                  </a:lnTo>
                  <a:cubicBezTo>
                    <a:pt x="208563" y="393504"/>
                    <a:pt x="206154" y="397966"/>
                    <a:pt x="205651" y="402789"/>
                  </a:cubicBezTo>
                  <a:cubicBezTo>
                    <a:pt x="205137" y="407701"/>
                    <a:pt x="204592" y="415015"/>
                    <a:pt x="205774" y="421796"/>
                  </a:cubicBezTo>
                  <a:cubicBezTo>
                    <a:pt x="206695" y="427089"/>
                    <a:pt x="205958" y="433104"/>
                    <a:pt x="203751" y="438299"/>
                  </a:cubicBezTo>
                  <a:cubicBezTo>
                    <a:pt x="202295" y="441723"/>
                    <a:pt x="201013" y="444898"/>
                    <a:pt x="199656" y="448261"/>
                  </a:cubicBezTo>
                  <a:lnTo>
                    <a:pt x="199157" y="449496"/>
                  </a:lnTo>
                  <a:cubicBezTo>
                    <a:pt x="197178" y="454401"/>
                    <a:pt x="195670" y="459764"/>
                    <a:pt x="194801" y="465005"/>
                  </a:cubicBezTo>
                  <a:cubicBezTo>
                    <a:pt x="194147" y="468941"/>
                    <a:pt x="192045" y="472841"/>
                    <a:pt x="190012" y="476612"/>
                  </a:cubicBezTo>
                  <a:cubicBezTo>
                    <a:pt x="189004" y="478483"/>
                    <a:pt x="187962" y="480416"/>
                    <a:pt x="187140" y="482289"/>
                  </a:cubicBezTo>
                  <a:cubicBezTo>
                    <a:pt x="185291" y="486502"/>
                    <a:pt x="183241" y="490677"/>
                    <a:pt x="181260" y="494714"/>
                  </a:cubicBezTo>
                  <a:cubicBezTo>
                    <a:pt x="179385" y="498531"/>
                    <a:pt x="177446" y="502479"/>
                    <a:pt x="175681" y="506451"/>
                  </a:cubicBezTo>
                  <a:cubicBezTo>
                    <a:pt x="174460" y="509201"/>
                    <a:pt x="172840" y="511900"/>
                    <a:pt x="171275" y="514511"/>
                  </a:cubicBezTo>
                  <a:cubicBezTo>
                    <a:pt x="170601" y="515634"/>
                    <a:pt x="169932" y="516751"/>
                    <a:pt x="169295" y="517866"/>
                  </a:cubicBezTo>
                  <a:cubicBezTo>
                    <a:pt x="166872" y="522113"/>
                    <a:pt x="166435" y="527364"/>
                    <a:pt x="168062" y="532655"/>
                  </a:cubicBezTo>
                  <a:cubicBezTo>
                    <a:pt x="169289" y="536646"/>
                    <a:pt x="173422" y="539521"/>
                    <a:pt x="176881" y="540880"/>
                  </a:cubicBezTo>
                  <a:cubicBezTo>
                    <a:pt x="179742" y="542005"/>
                    <a:pt x="183120" y="543045"/>
                    <a:pt x="186123" y="543966"/>
                  </a:cubicBezTo>
                  <a:cubicBezTo>
                    <a:pt x="185505" y="545898"/>
                    <a:pt x="184742" y="547707"/>
                    <a:pt x="183938" y="549616"/>
                  </a:cubicBezTo>
                  <a:cubicBezTo>
                    <a:pt x="183622" y="550367"/>
                    <a:pt x="183305" y="551120"/>
                    <a:pt x="182996" y="551884"/>
                  </a:cubicBezTo>
                  <a:cubicBezTo>
                    <a:pt x="178851" y="562112"/>
                    <a:pt x="177107" y="570632"/>
                    <a:pt x="177509" y="578700"/>
                  </a:cubicBezTo>
                  <a:cubicBezTo>
                    <a:pt x="178249" y="593603"/>
                    <a:pt x="179626" y="604491"/>
                    <a:pt x="182113" y="615107"/>
                  </a:cubicBezTo>
                  <a:cubicBezTo>
                    <a:pt x="182890" y="618423"/>
                    <a:pt x="183398" y="622008"/>
                    <a:pt x="183889" y="625476"/>
                  </a:cubicBezTo>
                  <a:cubicBezTo>
                    <a:pt x="184186" y="627569"/>
                    <a:pt x="184492" y="629734"/>
                    <a:pt x="184853" y="631787"/>
                  </a:cubicBezTo>
                  <a:lnTo>
                    <a:pt x="186399" y="640646"/>
                  </a:lnTo>
                  <a:cubicBezTo>
                    <a:pt x="187914" y="649328"/>
                    <a:pt x="189480" y="658306"/>
                    <a:pt x="191070" y="667063"/>
                  </a:cubicBezTo>
                  <a:cubicBezTo>
                    <a:pt x="192435" y="674586"/>
                    <a:pt x="194626" y="682263"/>
                    <a:pt x="197767" y="690533"/>
                  </a:cubicBezTo>
                  <a:cubicBezTo>
                    <a:pt x="199069" y="693959"/>
                    <a:pt x="200250" y="697549"/>
                    <a:pt x="201393" y="701022"/>
                  </a:cubicBezTo>
                  <a:cubicBezTo>
                    <a:pt x="202150" y="703323"/>
                    <a:pt x="202933" y="705704"/>
                    <a:pt x="203741" y="708006"/>
                  </a:cubicBezTo>
                  <a:cubicBezTo>
                    <a:pt x="206567" y="716050"/>
                    <a:pt x="208957" y="724542"/>
                    <a:pt x="211268" y="732754"/>
                  </a:cubicBezTo>
                  <a:cubicBezTo>
                    <a:pt x="212079" y="735635"/>
                    <a:pt x="212887" y="738505"/>
                    <a:pt x="213710" y="741347"/>
                  </a:cubicBezTo>
                  <a:cubicBezTo>
                    <a:pt x="216230" y="750041"/>
                    <a:pt x="219796" y="761390"/>
                    <a:pt x="225049" y="772066"/>
                  </a:cubicBezTo>
                  <a:cubicBezTo>
                    <a:pt x="228100" y="778265"/>
                    <a:pt x="230476" y="784959"/>
                    <a:pt x="232773" y="791433"/>
                  </a:cubicBezTo>
                  <a:cubicBezTo>
                    <a:pt x="233870" y="794523"/>
                    <a:pt x="235004" y="797718"/>
                    <a:pt x="236194" y="800811"/>
                  </a:cubicBezTo>
                  <a:cubicBezTo>
                    <a:pt x="237526" y="804269"/>
                    <a:pt x="237275" y="808585"/>
                    <a:pt x="237055" y="812393"/>
                  </a:cubicBezTo>
                  <a:cubicBezTo>
                    <a:pt x="236651" y="819314"/>
                    <a:pt x="238468" y="826422"/>
                    <a:pt x="240097" y="831840"/>
                  </a:cubicBezTo>
                  <a:cubicBezTo>
                    <a:pt x="240791" y="834150"/>
                    <a:pt x="241985" y="836486"/>
                    <a:pt x="243853" y="839192"/>
                  </a:cubicBezTo>
                  <a:cubicBezTo>
                    <a:pt x="244245" y="839761"/>
                    <a:pt x="244418" y="840449"/>
                    <a:pt x="244556" y="841307"/>
                  </a:cubicBezTo>
                  <a:lnTo>
                    <a:pt x="244598" y="841560"/>
                  </a:lnTo>
                  <a:cubicBezTo>
                    <a:pt x="244673" y="841997"/>
                    <a:pt x="244743" y="842410"/>
                    <a:pt x="244691" y="842798"/>
                  </a:cubicBezTo>
                  <a:lnTo>
                    <a:pt x="243104" y="854717"/>
                  </a:lnTo>
                  <a:cubicBezTo>
                    <a:pt x="242941" y="855938"/>
                    <a:pt x="242773" y="857200"/>
                    <a:pt x="242303" y="858333"/>
                  </a:cubicBezTo>
                  <a:cubicBezTo>
                    <a:pt x="242079" y="858877"/>
                    <a:pt x="241248" y="860661"/>
                    <a:pt x="239993" y="860790"/>
                  </a:cubicBezTo>
                  <a:cubicBezTo>
                    <a:pt x="238564" y="860936"/>
                    <a:pt x="236898" y="860475"/>
                    <a:pt x="234875" y="859382"/>
                  </a:cubicBezTo>
                  <a:cubicBezTo>
                    <a:pt x="233080" y="858411"/>
                    <a:pt x="230991" y="858088"/>
                    <a:pt x="228988" y="858476"/>
                  </a:cubicBezTo>
                  <a:cubicBezTo>
                    <a:pt x="226928" y="858873"/>
                    <a:pt x="225138" y="860363"/>
                    <a:pt x="223809" y="861616"/>
                  </a:cubicBezTo>
                  <a:cubicBezTo>
                    <a:pt x="223346" y="862051"/>
                    <a:pt x="222885" y="862499"/>
                    <a:pt x="222423" y="862948"/>
                  </a:cubicBezTo>
                  <a:cubicBezTo>
                    <a:pt x="220977" y="864354"/>
                    <a:pt x="219481" y="865807"/>
                    <a:pt x="217856" y="866962"/>
                  </a:cubicBezTo>
                  <a:cubicBezTo>
                    <a:pt x="217091" y="867504"/>
                    <a:pt x="216272" y="868011"/>
                    <a:pt x="215404" y="868548"/>
                  </a:cubicBezTo>
                  <a:cubicBezTo>
                    <a:pt x="213754" y="869570"/>
                    <a:pt x="212048" y="870626"/>
                    <a:pt x="210725" y="871960"/>
                  </a:cubicBezTo>
                  <a:cubicBezTo>
                    <a:pt x="208180" y="874527"/>
                    <a:pt x="205985" y="877681"/>
                    <a:pt x="204202" y="881332"/>
                  </a:cubicBezTo>
                  <a:cubicBezTo>
                    <a:pt x="203983" y="881780"/>
                    <a:pt x="203767" y="882229"/>
                    <a:pt x="203550" y="882681"/>
                  </a:cubicBezTo>
                  <a:cubicBezTo>
                    <a:pt x="202199" y="885499"/>
                    <a:pt x="200801" y="888414"/>
                    <a:pt x="198699" y="890739"/>
                  </a:cubicBezTo>
                  <a:cubicBezTo>
                    <a:pt x="192141" y="897999"/>
                    <a:pt x="188007" y="904281"/>
                    <a:pt x="185690" y="910510"/>
                  </a:cubicBezTo>
                  <a:cubicBezTo>
                    <a:pt x="184190" y="914545"/>
                    <a:pt x="182913" y="917633"/>
                    <a:pt x="180131" y="920647"/>
                  </a:cubicBezTo>
                  <a:cubicBezTo>
                    <a:pt x="178479" y="922434"/>
                    <a:pt x="176744" y="924175"/>
                    <a:pt x="175067" y="925858"/>
                  </a:cubicBezTo>
                  <a:cubicBezTo>
                    <a:pt x="172810" y="928122"/>
                    <a:pt x="170478" y="930463"/>
                    <a:pt x="168319" y="932946"/>
                  </a:cubicBezTo>
                  <a:cubicBezTo>
                    <a:pt x="166737" y="934765"/>
                    <a:pt x="165020" y="936490"/>
                    <a:pt x="163359" y="938157"/>
                  </a:cubicBezTo>
                  <a:cubicBezTo>
                    <a:pt x="160595" y="940929"/>
                    <a:pt x="157739" y="943796"/>
                    <a:pt x="155461" y="947157"/>
                  </a:cubicBezTo>
                  <a:cubicBezTo>
                    <a:pt x="153484" y="950073"/>
                    <a:pt x="151482" y="952945"/>
                    <a:pt x="149545" y="955722"/>
                  </a:cubicBezTo>
                  <a:cubicBezTo>
                    <a:pt x="146575" y="959979"/>
                    <a:pt x="143506" y="964380"/>
                    <a:pt x="140539" y="968935"/>
                  </a:cubicBezTo>
                  <a:cubicBezTo>
                    <a:pt x="138211" y="972510"/>
                    <a:pt x="135999" y="975654"/>
                    <a:pt x="132500" y="977914"/>
                  </a:cubicBezTo>
                  <a:lnTo>
                    <a:pt x="132058" y="978199"/>
                  </a:lnTo>
                  <a:cubicBezTo>
                    <a:pt x="127891" y="980889"/>
                    <a:pt x="123582" y="983672"/>
                    <a:pt x="120288" y="987325"/>
                  </a:cubicBezTo>
                  <a:cubicBezTo>
                    <a:pt x="118574" y="989225"/>
                    <a:pt x="116879" y="991268"/>
                    <a:pt x="115239" y="993243"/>
                  </a:cubicBezTo>
                  <a:cubicBezTo>
                    <a:pt x="112872" y="996094"/>
                    <a:pt x="110424" y="999043"/>
                    <a:pt x="107852" y="1001651"/>
                  </a:cubicBezTo>
                  <a:cubicBezTo>
                    <a:pt x="106674" y="1002847"/>
                    <a:pt x="105519" y="1004056"/>
                    <a:pt x="104367" y="1005264"/>
                  </a:cubicBezTo>
                  <a:cubicBezTo>
                    <a:pt x="101065" y="1008726"/>
                    <a:pt x="97649" y="1012305"/>
                    <a:pt x="93803" y="1015332"/>
                  </a:cubicBezTo>
                  <a:cubicBezTo>
                    <a:pt x="88617" y="1019415"/>
                    <a:pt x="85042" y="1023444"/>
                    <a:pt x="82876" y="1027647"/>
                  </a:cubicBezTo>
                  <a:cubicBezTo>
                    <a:pt x="82552" y="1028275"/>
                    <a:pt x="82251" y="1028953"/>
                    <a:pt x="81959" y="1029609"/>
                  </a:cubicBezTo>
                  <a:cubicBezTo>
                    <a:pt x="81482" y="1030680"/>
                    <a:pt x="80989" y="1031788"/>
                    <a:pt x="80382" y="1032722"/>
                  </a:cubicBezTo>
                  <a:cubicBezTo>
                    <a:pt x="80052" y="1033229"/>
                    <a:pt x="79797" y="1033765"/>
                    <a:pt x="79553" y="1034284"/>
                  </a:cubicBezTo>
                  <a:cubicBezTo>
                    <a:pt x="79089" y="1035265"/>
                    <a:pt x="78650" y="1036191"/>
                    <a:pt x="77774" y="1036736"/>
                  </a:cubicBezTo>
                  <a:cubicBezTo>
                    <a:pt x="74467" y="1038797"/>
                    <a:pt x="71557" y="1041604"/>
                    <a:pt x="68743" y="1044318"/>
                  </a:cubicBezTo>
                  <a:cubicBezTo>
                    <a:pt x="68297" y="1044748"/>
                    <a:pt x="67853" y="1045177"/>
                    <a:pt x="67409" y="1045600"/>
                  </a:cubicBezTo>
                  <a:cubicBezTo>
                    <a:pt x="67088" y="1045906"/>
                    <a:pt x="66786" y="1046250"/>
                    <a:pt x="66493" y="1046582"/>
                  </a:cubicBezTo>
                  <a:cubicBezTo>
                    <a:pt x="65994" y="1047149"/>
                    <a:pt x="65477" y="1047737"/>
                    <a:pt x="64883" y="1048114"/>
                  </a:cubicBezTo>
                  <a:cubicBezTo>
                    <a:pt x="63710" y="1048861"/>
                    <a:pt x="62355" y="1049258"/>
                    <a:pt x="61349" y="1049467"/>
                  </a:cubicBezTo>
                  <a:cubicBezTo>
                    <a:pt x="60908" y="1048939"/>
                    <a:pt x="60444" y="1048407"/>
                    <a:pt x="59883" y="1047963"/>
                  </a:cubicBezTo>
                  <a:cubicBezTo>
                    <a:pt x="59144" y="1047379"/>
                    <a:pt x="58344" y="1047056"/>
                    <a:pt x="57570" y="1047024"/>
                  </a:cubicBezTo>
                  <a:cubicBezTo>
                    <a:pt x="56598" y="1047004"/>
                    <a:pt x="55792" y="1047481"/>
                    <a:pt x="54999" y="1047958"/>
                  </a:cubicBezTo>
                  <a:cubicBezTo>
                    <a:pt x="54640" y="1048173"/>
                    <a:pt x="54301" y="1048377"/>
                    <a:pt x="53961" y="1048526"/>
                  </a:cubicBezTo>
                  <a:cubicBezTo>
                    <a:pt x="52906" y="1048988"/>
                    <a:pt x="51838" y="1049432"/>
                    <a:pt x="50767" y="1049877"/>
                  </a:cubicBezTo>
                  <a:cubicBezTo>
                    <a:pt x="48636" y="1050763"/>
                    <a:pt x="46434" y="1051680"/>
                    <a:pt x="44350" y="1052740"/>
                  </a:cubicBezTo>
                  <a:cubicBezTo>
                    <a:pt x="43783" y="1053028"/>
                    <a:pt x="43213" y="1053322"/>
                    <a:pt x="42642" y="1053616"/>
                  </a:cubicBezTo>
                  <a:cubicBezTo>
                    <a:pt x="40621" y="1054658"/>
                    <a:pt x="38530" y="1055736"/>
                    <a:pt x="36439" y="1056627"/>
                  </a:cubicBezTo>
                  <a:cubicBezTo>
                    <a:pt x="31590" y="1058694"/>
                    <a:pt x="27417" y="1061815"/>
                    <a:pt x="23216" y="1065102"/>
                  </a:cubicBezTo>
                  <a:cubicBezTo>
                    <a:pt x="19983" y="1067631"/>
                    <a:pt x="17679" y="1071327"/>
                    <a:pt x="15850" y="1074610"/>
                  </a:cubicBezTo>
                  <a:cubicBezTo>
                    <a:pt x="14740" y="1076601"/>
                    <a:pt x="14253" y="1078420"/>
                    <a:pt x="14373" y="1080142"/>
                  </a:cubicBezTo>
                  <a:cubicBezTo>
                    <a:pt x="14251" y="1080087"/>
                    <a:pt x="14127" y="1080027"/>
                    <a:pt x="14000" y="1079966"/>
                  </a:cubicBezTo>
                  <a:cubicBezTo>
                    <a:pt x="13666" y="1079803"/>
                    <a:pt x="13320" y="1079636"/>
                    <a:pt x="12958" y="1079537"/>
                  </a:cubicBezTo>
                  <a:cubicBezTo>
                    <a:pt x="11349" y="1079097"/>
                    <a:pt x="10167" y="1079202"/>
                    <a:pt x="9348" y="1079856"/>
                  </a:cubicBezTo>
                  <a:cubicBezTo>
                    <a:pt x="8603" y="1080449"/>
                    <a:pt x="7779" y="1081024"/>
                    <a:pt x="6982" y="1081579"/>
                  </a:cubicBezTo>
                  <a:cubicBezTo>
                    <a:pt x="5077" y="1082907"/>
                    <a:pt x="3107" y="1084280"/>
                    <a:pt x="1785" y="1086173"/>
                  </a:cubicBezTo>
                  <a:cubicBezTo>
                    <a:pt x="1651" y="1086363"/>
                    <a:pt x="1489" y="1086556"/>
                    <a:pt x="1321" y="1086755"/>
                  </a:cubicBezTo>
                  <a:cubicBezTo>
                    <a:pt x="929" y="1087220"/>
                    <a:pt x="484" y="1087748"/>
                    <a:pt x="319" y="1088344"/>
                  </a:cubicBezTo>
                  <a:cubicBezTo>
                    <a:pt x="-32" y="1089606"/>
                    <a:pt x="-94" y="1090677"/>
                    <a:pt x="136" y="1091529"/>
                  </a:cubicBezTo>
                  <a:cubicBezTo>
                    <a:pt x="1151" y="1095284"/>
                    <a:pt x="3782" y="1098365"/>
                    <a:pt x="6102" y="1101082"/>
                  </a:cubicBezTo>
                  <a:lnTo>
                    <a:pt x="7090" y="1102238"/>
                  </a:lnTo>
                  <a:cubicBezTo>
                    <a:pt x="9441" y="1104991"/>
                    <a:pt x="11834" y="1107792"/>
                    <a:pt x="14150" y="1110548"/>
                  </a:cubicBezTo>
                  <a:cubicBezTo>
                    <a:pt x="15264" y="1111875"/>
                    <a:pt x="16374" y="1113257"/>
                    <a:pt x="17447" y="1114594"/>
                  </a:cubicBezTo>
                  <a:cubicBezTo>
                    <a:pt x="19322" y="1116931"/>
                    <a:pt x="21262" y="1119347"/>
                    <a:pt x="23315" y="1121579"/>
                  </a:cubicBezTo>
                  <a:cubicBezTo>
                    <a:pt x="24680" y="1123061"/>
                    <a:pt x="26053" y="1124644"/>
                    <a:pt x="27380" y="1126177"/>
                  </a:cubicBezTo>
                  <a:cubicBezTo>
                    <a:pt x="29037" y="1128087"/>
                    <a:pt x="30749" y="1130063"/>
                    <a:pt x="32483" y="1131886"/>
                  </a:cubicBezTo>
                  <a:cubicBezTo>
                    <a:pt x="32882" y="1132306"/>
                    <a:pt x="33334" y="1132782"/>
                    <a:pt x="33859" y="1133158"/>
                  </a:cubicBezTo>
                  <a:cubicBezTo>
                    <a:pt x="34478" y="1133602"/>
                    <a:pt x="35110" y="1133844"/>
                    <a:pt x="35737" y="1133879"/>
                  </a:cubicBezTo>
                  <a:cubicBezTo>
                    <a:pt x="36499" y="1133916"/>
                    <a:pt x="37238" y="1133559"/>
                    <a:pt x="37707" y="1133247"/>
                  </a:cubicBezTo>
                  <a:lnTo>
                    <a:pt x="43461" y="1129429"/>
                  </a:lnTo>
                  <a:cubicBezTo>
                    <a:pt x="45516" y="1131426"/>
                    <a:pt x="46784" y="1133219"/>
                    <a:pt x="47443" y="1135052"/>
                  </a:cubicBezTo>
                  <a:cubicBezTo>
                    <a:pt x="47984" y="1136557"/>
                    <a:pt x="48723" y="1137995"/>
                    <a:pt x="49374" y="1139205"/>
                  </a:cubicBezTo>
                  <a:cubicBezTo>
                    <a:pt x="49881" y="1140144"/>
                    <a:pt x="50372" y="1141074"/>
                    <a:pt x="50861" y="1142000"/>
                  </a:cubicBezTo>
                  <a:cubicBezTo>
                    <a:pt x="51792" y="1143760"/>
                    <a:pt x="52755" y="1145580"/>
                    <a:pt x="53779" y="1147385"/>
                  </a:cubicBezTo>
                  <a:cubicBezTo>
                    <a:pt x="54593" y="1148820"/>
                    <a:pt x="55392" y="1150275"/>
                    <a:pt x="56193" y="1151733"/>
                  </a:cubicBezTo>
                  <a:cubicBezTo>
                    <a:pt x="57503" y="1154119"/>
                    <a:pt x="58858" y="1156586"/>
                    <a:pt x="60273" y="1158945"/>
                  </a:cubicBezTo>
                  <a:cubicBezTo>
                    <a:pt x="62904" y="1163328"/>
                    <a:pt x="67195" y="1170327"/>
                    <a:pt x="69965" y="1174662"/>
                  </a:cubicBezTo>
                  <a:cubicBezTo>
                    <a:pt x="72199" y="1178158"/>
                    <a:pt x="75960" y="1183178"/>
                    <a:pt x="79202" y="1185821"/>
                  </a:cubicBezTo>
                  <a:cubicBezTo>
                    <a:pt x="80325" y="1186736"/>
                    <a:pt x="81458" y="1187675"/>
                    <a:pt x="82599" y="1188620"/>
                  </a:cubicBezTo>
                  <a:cubicBezTo>
                    <a:pt x="85540" y="1191057"/>
                    <a:pt x="88582" y="1193579"/>
                    <a:pt x="91615" y="1195821"/>
                  </a:cubicBezTo>
                  <a:cubicBezTo>
                    <a:pt x="97889" y="1200461"/>
                    <a:pt x="105181" y="1204640"/>
                    <a:pt x="113907" y="1208595"/>
                  </a:cubicBezTo>
                  <a:cubicBezTo>
                    <a:pt x="115446" y="1209293"/>
                    <a:pt x="116974" y="1209959"/>
                    <a:pt x="118498" y="1210623"/>
                  </a:cubicBezTo>
                  <a:cubicBezTo>
                    <a:pt x="121109" y="1211761"/>
                    <a:pt x="123812" y="1212937"/>
                    <a:pt x="126461" y="1214238"/>
                  </a:cubicBezTo>
                  <a:cubicBezTo>
                    <a:pt x="135730" y="1218789"/>
                    <a:pt x="145581" y="1221406"/>
                    <a:pt x="154878" y="1223697"/>
                  </a:cubicBezTo>
                  <a:cubicBezTo>
                    <a:pt x="158805" y="1224665"/>
                    <a:pt x="160578" y="1224911"/>
                    <a:pt x="163029" y="1225251"/>
                  </a:cubicBezTo>
                  <a:cubicBezTo>
                    <a:pt x="163820" y="1225361"/>
                    <a:pt x="164680" y="1225480"/>
                    <a:pt x="165703" y="1225637"/>
                  </a:cubicBezTo>
                  <a:cubicBezTo>
                    <a:pt x="166806" y="1225806"/>
                    <a:pt x="168697" y="1225918"/>
                    <a:pt x="169761" y="1225918"/>
                  </a:cubicBezTo>
                  <a:lnTo>
                    <a:pt x="169835" y="1225918"/>
                  </a:lnTo>
                  <a:cubicBezTo>
                    <a:pt x="170851" y="1225913"/>
                    <a:pt x="172285" y="1225768"/>
                    <a:pt x="173014" y="1224578"/>
                  </a:cubicBezTo>
                  <a:lnTo>
                    <a:pt x="173105" y="1224430"/>
                  </a:lnTo>
                  <a:cubicBezTo>
                    <a:pt x="173409" y="1223938"/>
                    <a:pt x="173629" y="1223583"/>
                    <a:pt x="173712" y="1222882"/>
                  </a:cubicBezTo>
                  <a:cubicBezTo>
                    <a:pt x="173822" y="1221963"/>
                    <a:pt x="173567" y="1221279"/>
                    <a:pt x="173031" y="1221050"/>
                  </a:cubicBezTo>
                  <a:cubicBezTo>
                    <a:pt x="173000" y="1221037"/>
                    <a:pt x="172970" y="1221024"/>
                    <a:pt x="172940" y="1221010"/>
                  </a:cubicBezTo>
                  <a:cubicBezTo>
                    <a:pt x="173022" y="1220968"/>
                    <a:pt x="173100" y="1220921"/>
                    <a:pt x="173179" y="1220870"/>
                  </a:cubicBezTo>
                  <a:cubicBezTo>
                    <a:pt x="174609" y="1219924"/>
                    <a:pt x="175458" y="1218069"/>
                    <a:pt x="175291" y="1216256"/>
                  </a:cubicBezTo>
                  <a:cubicBezTo>
                    <a:pt x="174802" y="1210920"/>
                    <a:pt x="171729" y="1205487"/>
                    <a:pt x="166861" y="1201352"/>
                  </a:cubicBezTo>
                  <a:cubicBezTo>
                    <a:pt x="162603" y="1197734"/>
                    <a:pt x="157389" y="1194171"/>
                    <a:pt x="151786" y="1191051"/>
                  </a:cubicBezTo>
                  <a:cubicBezTo>
                    <a:pt x="151209" y="1190729"/>
                    <a:pt x="150597" y="1190421"/>
                    <a:pt x="149977" y="1190109"/>
                  </a:cubicBezTo>
                  <a:cubicBezTo>
                    <a:pt x="147737" y="1188980"/>
                    <a:pt x="145421" y="1187814"/>
                    <a:pt x="144341" y="1185786"/>
                  </a:cubicBezTo>
                  <a:cubicBezTo>
                    <a:pt x="143198" y="1183640"/>
                    <a:pt x="141544" y="1181756"/>
                    <a:pt x="139556" y="1180336"/>
                  </a:cubicBezTo>
                  <a:cubicBezTo>
                    <a:pt x="139300" y="1180152"/>
                    <a:pt x="139025" y="1179968"/>
                    <a:pt x="138743" y="1179779"/>
                  </a:cubicBezTo>
                  <a:cubicBezTo>
                    <a:pt x="137305" y="1178817"/>
                    <a:pt x="135675" y="1177726"/>
                    <a:pt x="135537" y="1176007"/>
                  </a:cubicBezTo>
                  <a:cubicBezTo>
                    <a:pt x="135314" y="1173222"/>
                    <a:pt x="134932" y="1170298"/>
                    <a:pt x="133662" y="1167776"/>
                  </a:cubicBezTo>
                  <a:cubicBezTo>
                    <a:pt x="132388" y="1165243"/>
                    <a:pt x="131243" y="1162765"/>
                    <a:pt x="131243" y="1160280"/>
                  </a:cubicBezTo>
                  <a:cubicBezTo>
                    <a:pt x="131243" y="1158784"/>
                    <a:pt x="131221" y="1157341"/>
                    <a:pt x="131196" y="1155899"/>
                  </a:cubicBezTo>
                  <a:cubicBezTo>
                    <a:pt x="131172" y="1154393"/>
                    <a:pt x="131147" y="1152888"/>
                    <a:pt x="131149" y="1151323"/>
                  </a:cubicBezTo>
                  <a:cubicBezTo>
                    <a:pt x="131151" y="1150493"/>
                    <a:pt x="131112" y="1149638"/>
                    <a:pt x="131075" y="1148811"/>
                  </a:cubicBezTo>
                  <a:cubicBezTo>
                    <a:pt x="131026" y="1147753"/>
                    <a:pt x="130977" y="1146661"/>
                    <a:pt x="131012" y="1145616"/>
                  </a:cubicBezTo>
                  <a:cubicBezTo>
                    <a:pt x="131147" y="1141653"/>
                    <a:pt x="130536" y="1137602"/>
                    <a:pt x="129946" y="1133686"/>
                  </a:cubicBezTo>
                  <a:cubicBezTo>
                    <a:pt x="129834" y="1132944"/>
                    <a:pt x="129723" y="1132206"/>
                    <a:pt x="129617" y="1131472"/>
                  </a:cubicBezTo>
                  <a:cubicBezTo>
                    <a:pt x="129103" y="1127896"/>
                    <a:pt x="129065" y="1124028"/>
                    <a:pt x="129510" y="1120286"/>
                  </a:cubicBezTo>
                  <a:cubicBezTo>
                    <a:pt x="129644" y="1119150"/>
                    <a:pt x="130120" y="1118034"/>
                    <a:pt x="130580" y="1116954"/>
                  </a:cubicBezTo>
                  <a:cubicBezTo>
                    <a:pt x="130768" y="1116513"/>
                    <a:pt x="130956" y="1116073"/>
                    <a:pt x="131122" y="1115629"/>
                  </a:cubicBezTo>
                  <a:cubicBezTo>
                    <a:pt x="131647" y="1114239"/>
                    <a:pt x="131657" y="1112640"/>
                    <a:pt x="131153" y="1111242"/>
                  </a:cubicBezTo>
                  <a:cubicBezTo>
                    <a:pt x="130945" y="1110663"/>
                    <a:pt x="130510" y="1109946"/>
                    <a:pt x="129916" y="1109669"/>
                  </a:cubicBezTo>
                  <a:cubicBezTo>
                    <a:pt x="128910" y="1109198"/>
                    <a:pt x="128024" y="1108626"/>
                    <a:pt x="127404" y="1108048"/>
                  </a:cubicBezTo>
                  <a:cubicBezTo>
                    <a:pt x="127246" y="1106909"/>
                    <a:pt x="127185" y="1105648"/>
                    <a:pt x="127227" y="1104488"/>
                  </a:cubicBezTo>
                  <a:cubicBezTo>
                    <a:pt x="129165" y="1105313"/>
                    <a:pt x="130729" y="1106139"/>
                    <a:pt x="131994" y="1107006"/>
                  </a:cubicBezTo>
                  <a:cubicBezTo>
                    <a:pt x="135023" y="1109080"/>
                    <a:pt x="137499" y="1110594"/>
                    <a:pt x="139786" y="1111770"/>
                  </a:cubicBezTo>
                  <a:cubicBezTo>
                    <a:pt x="143173" y="1113512"/>
                    <a:pt x="146317" y="1115814"/>
                    <a:pt x="149359" y="1118041"/>
                  </a:cubicBezTo>
                  <a:cubicBezTo>
                    <a:pt x="150188" y="1118648"/>
                    <a:pt x="151018" y="1119255"/>
                    <a:pt x="151854" y="1119852"/>
                  </a:cubicBezTo>
                  <a:cubicBezTo>
                    <a:pt x="153557" y="1121069"/>
                    <a:pt x="155332" y="1122235"/>
                    <a:pt x="157049" y="1123363"/>
                  </a:cubicBezTo>
                  <a:cubicBezTo>
                    <a:pt x="159772" y="1125151"/>
                    <a:pt x="162588" y="1126999"/>
                    <a:pt x="165148" y="1129080"/>
                  </a:cubicBezTo>
                  <a:cubicBezTo>
                    <a:pt x="166424" y="1130116"/>
                    <a:pt x="167869" y="1131291"/>
                    <a:pt x="169559" y="1131907"/>
                  </a:cubicBezTo>
                  <a:cubicBezTo>
                    <a:pt x="172769" y="1133079"/>
                    <a:pt x="174155" y="1132246"/>
                    <a:pt x="174754" y="1131343"/>
                  </a:cubicBezTo>
                  <a:cubicBezTo>
                    <a:pt x="176770" y="1128299"/>
                    <a:pt x="178785" y="1125099"/>
                    <a:pt x="180735" y="1122004"/>
                  </a:cubicBezTo>
                  <a:cubicBezTo>
                    <a:pt x="183966" y="1116876"/>
                    <a:pt x="187305" y="1111575"/>
                    <a:pt x="190813" y="1106705"/>
                  </a:cubicBezTo>
                  <a:cubicBezTo>
                    <a:pt x="192615" y="1104205"/>
                    <a:pt x="194525" y="1101622"/>
                    <a:pt x="196373" y="1099124"/>
                  </a:cubicBezTo>
                  <a:cubicBezTo>
                    <a:pt x="198011" y="1096908"/>
                    <a:pt x="199648" y="1094696"/>
                    <a:pt x="201228" y="1092516"/>
                  </a:cubicBezTo>
                  <a:cubicBezTo>
                    <a:pt x="203460" y="1089436"/>
                    <a:pt x="205901" y="1086307"/>
                    <a:pt x="208261" y="1083282"/>
                  </a:cubicBezTo>
                  <a:cubicBezTo>
                    <a:pt x="210011" y="1081038"/>
                    <a:pt x="211820" y="1078718"/>
                    <a:pt x="213520" y="1076448"/>
                  </a:cubicBezTo>
                  <a:cubicBezTo>
                    <a:pt x="215753" y="1073466"/>
                    <a:pt x="217827" y="1070337"/>
                    <a:pt x="219831" y="1067310"/>
                  </a:cubicBezTo>
                  <a:cubicBezTo>
                    <a:pt x="222545" y="1063212"/>
                    <a:pt x="225352" y="1058974"/>
                    <a:pt x="228568" y="1055100"/>
                  </a:cubicBezTo>
                  <a:cubicBezTo>
                    <a:pt x="232554" y="1050296"/>
                    <a:pt x="236728" y="1045501"/>
                    <a:pt x="240764" y="1040863"/>
                  </a:cubicBezTo>
                  <a:cubicBezTo>
                    <a:pt x="248228" y="1032287"/>
                    <a:pt x="255946" y="1023419"/>
                    <a:pt x="262807" y="1014123"/>
                  </a:cubicBezTo>
                  <a:cubicBezTo>
                    <a:pt x="265397" y="1010613"/>
                    <a:pt x="268208" y="1007142"/>
                    <a:pt x="270925" y="1003786"/>
                  </a:cubicBezTo>
                  <a:cubicBezTo>
                    <a:pt x="275453" y="998192"/>
                    <a:pt x="280135" y="992409"/>
                    <a:pt x="283985" y="986225"/>
                  </a:cubicBezTo>
                  <a:cubicBezTo>
                    <a:pt x="289483" y="977395"/>
                    <a:pt x="295831" y="969400"/>
                    <a:pt x="301862" y="961967"/>
                  </a:cubicBezTo>
                  <a:cubicBezTo>
                    <a:pt x="303849" y="959518"/>
                    <a:pt x="305864" y="957184"/>
                    <a:pt x="307812" y="954928"/>
                  </a:cubicBezTo>
                  <a:cubicBezTo>
                    <a:pt x="309554" y="952911"/>
                    <a:pt x="311350" y="950832"/>
                    <a:pt x="313134" y="948660"/>
                  </a:cubicBezTo>
                  <a:cubicBezTo>
                    <a:pt x="313348" y="950937"/>
                    <a:pt x="313499" y="953258"/>
                    <a:pt x="313645" y="955511"/>
                  </a:cubicBezTo>
                  <a:cubicBezTo>
                    <a:pt x="313909" y="959592"/>
                    <a:pt x="314183" y="963811"/>
                    <a:pt x="314840" y="967884"/>
                  </a:cubicBezTo>
                  <a:cubicBezTo>
                    <a:pt x="315320" y="970865"/>
                    <a:pt x="315895" y="973939"/>
                    <a:pt x="316451" y="976911"/>
                  </a:cubicBezTo>
                  <a:cubicBezTo>
                    <a:pt x="317221" y="981026"/>
                    <a:pt x="318017" y="985282"/>
                    <a:pt x="318585" y="989402"/>
                  </a:cubicBezTo>
                  <a:lnTo>
                    <a:pt x="319126" y="993313"/>
                  </a:lnTo>
                  <a:cubicBezTo>
                    <a:pt x="320027" y="999825"/>
                    <a:pt x="320878" y="1005976"/>
                    <a:pt x="321659" y="1012402"/>
                  </a:cubicBezTo>
                  <a:cubicBezTo>
                    <a:pt x="322675" y="1020757"/>
                    <a:pt x="324337" y="1029197"/>
                    <a:pt x="325942" y="1037359"/>
                  </a:cubicBezTo>
                  <a:cubicBezTo>
                    <a:pt x="327638" y="1045976"/>
                    <a:pt x="329390" y="1054885"/>
                    <a:pt x="330384" y="1063696"/>
                  </a:cubicBezTo>
                  <a:cubicBezTo>
                    <a:pt x="331915" y="1077266"/>
                    <a:pt x="333196" y="1089146"/>
                    <a:pt x="334416" y="1101088"/>
                  </a:cubicBezTo>
                  <a:cubicBezTo>
                    <a:pt x="334790" y="1104755"/>
                    <a:pt x="335299" y="1108490"/>
                    <a:pt x="335791" y="1112101"/>
                  </a:cubicBezTo>
                  <a:cubicBezTo>
                    <a:pt x="336827" y="1119702"/>
                    <a:pt x="337899" y="1127563"/>
                    <a:pt x="337786" y="1135285"/>
                  </a:cubicBezTo>
                  <a:cubicBezTo>
                    <a:pt x="337753" y="1137579"/>
                    <a:pt x="337745" y="1139864"/>
                    <a:pt x="337737" y="1142145"/>
                  </a:cubicBezTo>
                  <a:cubicBezTo>
                    <a:pt x="337718" y="1147541"/>
                    <a:pt x="337698" y="1153121"/>
                    <a:pt x="337326" y="1158632"/>
                  </a:cubicBezTo>
                  <a:cubicBezTo>
                    <a:pt x="337115" y="1161769"/>
                    <a:pt x="337173" y="1164946"/>
                    <a:pt x="337497" y="1168074"/>
                  </a:cubicBezTo>
                  <a:cubicBezTo>
                    <a:pt x="337532" y="1168412"/>
                    <a:pt x="337582" y="1168874"/>
                    <a:pt x="337804" y="1169276"/>
                  </a:cubicBezTo>
                  <a:cubicBezTo>
                    <a:pt x="338047" y="1169716"/>
                    <a:pt x="338563" y="1170023"/>
                    <a:pt x="339100" y="1170000"/>
                  </a:cubicBezTo>
                  <a:cubicBezTo>
                    <a:pt x="339411" y="1169993"/>
                    <a:pt x="339730" y="1170009"/>
                    <a:pt x="340048" y="1170022"/>
                  </a:cubicBezTo>
                  <a:cubicBezTo>
                    <a:pt x="340205" y="1170028"/>
                    <a:pt x="340363" y="1170033"/>
                    <a:pt x="340521" y="1170039"/>
                  </a:cubicBezTo>
                  <a:cubicBezTo>
                    <a:pt x="340470" y="1170318"/>
                    <a:pt x="340419" y="1170598"/>
                    <a:pt x="340369" y="1170878"/>
                  </a:cubicBezTo>
                  <a:cubicBezTo>
                    <a:pt x="340138" y="1172169"/>
                    <a:pt x="339899" y="1173503"/>
                    <a:pt x="339556" y="1174762"/>
                  </a:cubicBezTo>
                  <a:cubicBezTo>
                    <a:pt x="339183" y="1176129"/>
                    <a:pt x="338859" y="1177536"/>
                    <a:pt x="338591" y="1178943"/>
                  </a:cubicBezTo>
                  <a:cubicBezTo>
                    <a:pt x="338048" y="1181796"/>
                    <a:pt x="337533" y="1184828"/>
                    <a:pt x="337703" y="1187772"/>
                  </a:cubicBezTo>
                  <a:cubicBezTo>
                    <a:pt x="337852" y="1190382"/>
                    <a:pt x="338810" y="1192963"/>
                    <a:pt x="340475" y="1195238"/>
                  </a:cubicBezTo>
                  <a:cubicBezTo>
                    <a:pt x="340868" y="1195775"/>
                    <a:pt x="340992" y="1196433"/>
                    <a:pt x="340819" y="1197030"/>
                  </a:cubicBezTo>
                  <a:cubicBezTo>
                    <a:pt x="340251" y="1197286"/>
                    <a:pt x="339725" y="1197736"/>
                    <a:pt x="339289" y="1198343"/>
                  </a:cubicBezTo>
                  <a:cubicBezTo>
                    <a:pt x="339206" y="1198459"/>
                    <a:pt x="339115" y="1198573"/>
                    <a:pt x="339023" y="1198688"/>
                  </a:cubicBezTo>
                  <a:cubicBezTo>
                    <a:pt x="338660" y="1199143"/>
                    <a:pt x="338249" y="1199658"/>
                    <a:pt x="338246" y="1200323"/>
                  </a:cubicBezTo>
                  <a:cubicBezTo>
                    <a:pt x="338242" y="1201358"/>
                    <a:pt x="338210" y="1202402"/>
                    <a:pt x="338178" y="1203445"/>
                  </a:cubicBezTo>
                  <a:cubicBezTo>
                    <a:pt x="338113" y="1205514"/>
                    <a:pt x="338047" y="1207653"/>
                    <a:pt x="338207" y="1209742"/>
                  </a:cubicBezTo>
                  <a:cubicBezTo>
                    <a:pt x="338239" y="1210178"/>
                    <a:pt x="338238" y="1210630"/>
                    <a:pt x="338234" y="1211108"/>
                  </a:cubicBezTo>
                  <a:cubicBezTo>
                    <a:pt x="338228" y="1212250"/>
                    <a:pt x="338220" y="1213431"/>
                    <a:pt x="338725" y="1214468"/>
                  </a:cubicBezTo>
                  <a:cubicBezTo>
                    <a:pt x="338970" y="1214974"/>
                    <a:pt x="339416" y="1215405"/>
                    <a:pt x="340049" y="1215750"/>
                  </a:cubicBezTo>
                  <a:cubicBezTo>
                    <a:pt x="340631" y="1216068"/>
                    <a:pt x="341314" y="1216279"/>
                    <a:pt x="341918" y="1216331"/>
                  </a:cubicBezTo>
                  <a:cubicBezTo>
                    <a:pt x="372852" y="1218988"/>
                    <a:pt x="403065" y="1217518"/>
                    <a:pt x="403326" y="1217503"/>
                  </a:cubicBezTo>
                  <a:cubicBezTo>
                    <a:pt x="404822" y="1217583"/>
                    <a:pt x="406411" y="1217160"/>
                    <a:pt x="407582" y="1216395"/>
                  </a:cubicBezTo>
                  <a:cubicBezTo>
                    <a:pt x="408783" y="1215609"/>
                    <a:pt x="409039" y="1214606"/>
                    <a:pt x="409062" y="1213243"/>
                  </a:cubicBezTo>
                  <a:lnTo>
                    <a:pt x="409175" y="1206294"/>
                  </a:lnTo>
                  <a:cubicBezTo>
                    <a:pt x="414884" y="1205892"/>
                    <a:pt x="420873" y="1206450"/>
                    <a:pt x="427981" y="1208038"/>
                  </a:cubicBezTo>
                  <a:cubicBezTo>
                    <a:pt x="433702" y="1209316"/>
                    <a:pt x="439393" y="1211110"/>
                    <a:pt x="444436" y="1213225"/>
                  </a:cubicBezTo>
                  <a:cubicBezTo>
                    <a:pt x="449231" y="1215236"/>
                    <a:pt x="454879" y="1216401"/>
                    <a:pt x="460768" y="1216595"/>
                  </a:cubicBezTo>
                  <a:cubicBezTo>
                    <a:pt x="473264" y="1217005"/>
                    <a:pt x="485570" y="1216563"/>
                    <a:pt x="497108" y="1216075"/>
                  </a:cubicBezTo>
                  <a:cubicBezTo>
                    <a:pt x="504053" y="1215781"/>
                    <a:pt x="511650" y="1214347"/>
                    <a:pt x="521017" y="1211559"/>
                  </a:cubicBezTo>
                  <a:cubicBezTo>
                    <a:pt x="522478" y="1211124"/>
                    <a:pt x="523994" y="1210728"/>
                    <a:pt x="525462" y="1210346"/>
                  </a:cubicBezTo>
                  <a:cubicBezTo>
                    <a:pt x="528529" y="1209547"/>
                    <a:pt x="531702" y="1208720"/>
                    <a:pt x="534646" y="1207465"/>
                  </a:cubicBezTo>
                  <a:cubicBezTo>
                    <a:pt x="537825" y="1206110"/>
                    <a:pt x="541192" y="1205060"/>
                    <a:pt x="544449" y="1204044"/>
                  </a:cubicBezTo>
                  <a:cubicBezTo>
                    <a:pt x="548013" y="1202932"/>
                    <a:pt x="551699" y="1201783"/>
                    <a:pt x="555172" y="1200226"/>
                  </a:cubicBezTo>
                  <a:cubicBezTo>
                    <a:pt x="555507" y="1200076"/>
                    <a:pt x="555869" y="1199950"/>
                    <a:pt x="556232" y="1199823"/>
                  </a:cubicBezTo>
                  <a:cubicBezTo>
                    <a:pt x="557104" y="1199517"/>
                    <a:pt x="558006" y="1199201"/>
                    <a:pt x="558683" y="1198549"/>
                  </a:cubicBezTo>
                  <a:cubicBezTo>
                    <a:pt x="559129" y="1198121"/>
                    <a:pt x="559405" y="1197585"/>
                    <a:pt x="559502" y="1196954"/>
                  </a:cubicBezTo>
                  <a:cubicBezTo>
                    <a:pt x="559618" y="1196198"/>
                    <a:pt x="559545" y="1195418"/>
                    <a:pt x="559266" y="1194636"/>
                  </a:cubicBezTo>
                  <a:cubicBezTo>
                    <a:pt x="559212" y="1194470"/>
                    <a:pt x="559125" y="1194210"/>
                    <a:pt x="558901" y="1194052"/>
                  </a:cubicBezTo>
                  <a:close/>
                </a:path>
              </a:pathLst>
            </a:custGeom>
            <a:solidFill>
              <a:schemeClr val="tx2"/>
            </a:solidFill>
            <a:ln w="0" cap="flat">
              <a:noFill/>
              <a:prstDash val="solid"/>
              <a:miter/>
            </a:ln>
            <a:effectLst>
              <a:outerShdw blurRad="76200" dir="18900000" sy="23000" kx="-1200000" algn="bl" rotWithShape="0">
                <a:prstClr val="black">
                  <a:alpha val="20000"/>
                </a:prstClr>
              </a:outerShdw>
            </a:effectLst>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grpSp>
          <p:nvGrpSpPr>
            <p:cNvPr id="2" name="Group 1">
              <a:extLst>
                <a:ext uri="{FF2B5EF4-FFF2-40B4-BE49-F238E27FC236}">
                  <a16:creationId xmlns:a16="http://schemas.microsoft.com/office/drawing/2014/main" id="{CA0B1C9B-01F9-4123-68B3-E6246BE625FB}"/>
                </a:ext>
              </a:extLst>
            </p:cNvPr>
            <p:cNvGrpSpPr/>
            <p:nvPr/>
          </p:nvGrpSpPr>
          <p:grpSpPr>
            <a:xfrm>
              <a:off x="10898294" y="2886509"/>
              <a:ext cx="988906" cy="1361440"/>
              <a:chOff x="10898294" y="2748280"/>
              <a:chExt cx="988906" cy="1361440"/>
            </a:xfrm>
          </p:grpSpPr>
          <p:sp>
            <p:nvSpPr>
              <p:cNvPr id="215" name="Rectangle 214">
                <a:extLst>
                  <a:ext uri="{FF2B5EF4-FFF2-40B4-BE49-F238E27FC236}">
                    <a16:creationId xmlns:a16="http://schemas.microsoft.com/office/drawing/2014/main" id="{D878E743-31D3-C946-259D-4802F5066370}"/>
                  </a:ext>
                </a:extLst>
              </p:cNvPr>
              <p:cNvSpPr/>
              <p:nvPr/>
            </p:nvSpPr>
            <p:spPr>
              <a:xfrm>
                <a:off x="10919674" y="3292219"/>
                <a:ext cx="967526" cy="4632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ea typeface="+mn-ea"/>
                    <a:cs typeface="+mn-cs"/>
                  </a:rPr>
                  <a:t>Klinik </a:t>
                </a:r>
                <a:br>
                  <a:rPr kumimoji="0" lang="en-US" sz="1400" b="1" i="0" u="none" strike="noStrike" kern="1200" cap="none" spc="0" normalizeH="0" baseline="0" noProof="0">
                    <a:ln>
                      <a:noFill/>
                    </a:ln>
                    <a:solidFill>
                      <a:srgbClr val="000000"/>
                    </a:solidFill>
                    <a:effectLst/>
                    <a:uLnTx/>
                    <a:uFillTx/>
                    <a:ea typeface="+mn-ea"/>
                    <a:cs typeface="+mn-cs"/>
                  </a:rPr>
                </a:br>
                <a:r>
                  <a:rPr kumimoji="0" lang="en-US" sz="1400" b="1" i="0" u="none" strike="noStrike" kern="1200" cap="none" spc="0" normalizeH="0" baseline="0" noProof="0">
                    <a:ln>
                      <a:noFill/>
                    </a:ln>
                    <a:solidFill>
                      <a:srgbClr val="000000"/>
                    </a:solidFill>
                    <a:effectLst/>
                    <a:uLnTx/>
                    <a:uFillTx/>
                    <a:ea typeface="+mn-ea"/>
                    <a:cs typeface="+mn-cs"/>
                  </a:rPr>
                  <a:t>Özellikler</a:t>
                </a:r>
              </a:p>
            </p:txBody>
          </p:sp>
          <p:sp>
            <p:nvSpPr>
              <p:cNvPr id="217" name="Right Bracket 216">
                <a:extLst>
                  <a:ext uri="{FF2B5EF4-FFF2-40B4-BE49-F238E27FC236}">
                    <a16:creationId xmlns:a16="http://schemas.microsoft.com/office/drawing/2014/main" id="{3011ABFE-29BF-90EA-667B-BA24AAA0B5B3}"/>
                  </a:ext>
                </a:extLst>
              </p:cNvPr>
              <p:cNvSpPr/>
              <p:nvPr/>
            </p:nvSpPr>
            <p:spPr>
              <a:xfrm>
                <a:off x="10898294" y="2748280"/>
                <a:ext cx="45719" cy="1361440"/>
              </a:xfrm>
              <a:prstGeom prst="rightBracket">
                <a:avLst>
                  <a:gd name="adj" fmla="val 0"/>
                </a:avLst>
              </a:prstGeom>
              <a:ln w="19050">
                <a:solidFill>
                  <a:schemeClr val="accent5"/>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grpSp>
        <p:grpSp>
          <p:nvGrpSpPr>
            <p:cNvPr id="6" name="Group 5">
              <a:extLst>
                <a:ext uri="{FF2B5EF4-FFF2-40B4-BE49-F238E27FC236}">
                  <a16:creationId xmlns:a16="http://schemas.microsoft.com/office/drawing/2014/main" id="{8434FF98-11BE-EE6D-54C1-8EE078512240}"/>
                </a:ext>
              </a:extLst>
            </p:cNvPr>
            <p:cNvGrpSpPr/>
            <p:nvPr/>
          </p:nvGrpSpPr>
          <p:grpSpPr>
            <a:xfrm>
              <a:off x="548309" y="3120185"/>
              <a:ext cx="10228359" cy="1068389"/>
              <a:chOff x="446709" y="2981956"/>
              <a:chExt cx="10228359" cy="1068389"/>
            </a:xfrm>
          </p:grpSpPr>
          <p:sp>
            <p:nvSpPr>
              <p:cNvPr id="200" name="Rectangle: Rounded Corners 199">
                <a:extLst>
                  <a:ext uri="{FF2B5EF4-FFF2-40B4-BE49-F238E27FC236}">
                    <a16:creationId xmlns:a16="http://schemas.microsoft.com/office/drawing/2014/main" id="{EE7D7307-F5D7-F684-F64F-596C1FC4EB38}"/>
                  </a:ext>
                </a:extLst>
              </p:cNvPr>
              <p:cNvSpPr/>
              <p:nvPr/>
            </p:nvSpPr>
            <p:spPr>
              <a:xfrm>
                <a:off x="446709" y="2981956"/>
                <a:ext cx="1917766" cy="76201"/>
              </a:xfrm>
              <a:prstGeom prst="roundRect">
                <a:avLst/>
              </a:prstGeom>
              <a:gradFill flip="none" rotWithShape="1">
                <a:gsLst>
                  <a:gs pos="0">
                    <a:schemeClr val="accent5">
                      <a:alpha val="0"/>
                    </a:schemeClr>
                  </a:gs>
                  <a:gs pos="87000">
                    <a:srgbClr val="00B7A5"/>
                  </a:gs>
                  <a:gs pos="13000">
                    <a:schemeClr val="accent5"/>
                  </a:gs>
                  <a:gs pos="100000">
                    <a:schemeClr val="accent5">
                      <a:alpha val="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none" bIns="109728" rtlCol="0" anchor="b"/>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ea typeface="+mn-ea"/>
                    <a:cs typeface="+mn-cs"/>
                  </a:rPr>
                  <a:t>RSV </a:t>
                </a:r>
                <a:r>
                  <a:rPr kumimoji="0" lang="en-US" sz="1600" b="0" i="0" u="none" strike="noStrike" kern="1200" cap="none" spc="0" normalizeH="0" baseline="0" noProof="0" err="1">
                    <a:ln>
                      <a:noFill/>
                    </a:ln>
                    <a:solidFill>
                      <a:srgbClr val="000000"/>
                    </a:solidFill>
                    <a:effectLst/>
                    <a:uLnTx/>
                    <a:uFillTx/>
                    <a:ea typeface="+mn-ea"/>
                    <a:cs typeface="+mn-cs"/>
                  </a:rPr>
                  <a:t>bronşiyolit</a:t>
                </a:r>
                <a:endParaRPr kumimoji="0" lang="en-US" sz="1600" b="0" i="0" u="none" strike="noStrike" kern="1200" cap="none" spc="0" normalizeH="0" baseline="0" noProof="0">
                  <a:ln>
                    <a:noFill/>
                  </a:ln>
                  <a:solidFill>
                    <a:srgbClr val="000000"/>
                  </a:solidFill>
                  <a:effectLst/>
                  <a:uLnTx/>
                  <a:uFillTx/>
                  <a:ea typeface="+mn-ea"/>
                  <a:cs typeface="+mn-cs"/>
                </a:endParaRPr>
              </a:p>
            </p:txBody>
          </p:sp>
          <p:sp>
            <p:nvSpPr>
              <p:cNvPr id="201" name="Rectangle: Rounded Corners 200">
                <a:extLst>
                  <a:ext uri="{FF2B5EF4-FFF2-40B4-BE49-F238E27FC236}">
                    <a16:creationId xmlns:a16="http://schemas.microsoft.com/office/drawing/2014/main" id="{2C481B2B-0EEB-10C5-7BFD-D8C45C4E4FEC}"/>
                  </a:ext>
                </a:extLst>
              </p:cNvPr>
              <p:cNvSpPr/>
              <p:nvPr/>
            </p:nvSpPr>
            <p:spPr>
              <a:xfrm>
                <a:off x="2500812" y="2981956"/>
                <a:ext cx="3828224" cy="76201"/>
              </a:xfrm>
              <a:prstGeom prst="roundRect">
                <a:avLst/>
              </a:prstGeom>
              <a:gradFill flip="none" rotWithShape="1">
                <a:gsLst>
                  <a:gs pos="0">
                    <a:schemeClr val="accent5">
                      <a:alpha val="0"/>
                    </a:schemeClr>
                  </a:gs>
                  <a:gs pos="87000">
                    <a:srgbClr val="00B7A5"/>
                  </a:gs>
                  <a:gs pos="13000">
                    <a:schemeClr val="accent5"/>
                  </a:gs>
                  <a:gs pos="100000">
                    <a:schemeClr val="accent5">
                      <a:alpha val="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none" bIns="109728" rtlCol="0" anchor="b"/>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ea typeface="+mn-ea"/>
                    <a:cs typeface="+mn-cs"/>
                  </a:rPr>
                  <a:t>Post-bronşiyolitik hırıltı</a:t>
                </a:r>
              </a:p>
            </p:txBody>
          </p:sp>
          <p:sp>
            <p:nvSpPr>
              <p:cNvPr id="202" name="Rectangle: Rounded Corners 201">
                <a:extLst>
                  <a:ext uri="{FF2B5EF4-FFF2-40B4-BE49-F238E27FC236}">
                    <a16:creationId xmlns:a16="http://schemas.microsoft.com/office/drawing/2014/main" id="{145571A7-EC0A-F605-B44B-FBFDF334138C}"/>
                  </a:ext>
                </a:extLst>
              </p:cNvPr>
              <p:cNvSpPr/>
              <p:nvPr/>
            </p:nvSpPr>
            <p:spPr>
              <a:xfrm>
                <a:off x="4857866" y="3312685"/>
                <a:ext cx="3830707" cy="76201"/>
              </a:xfrm>
              <a:prstGeom prst="roundRect">
                <a:avLst/>
              </a:prstGeom>
              <a:gradFill flip="none" rotWithShape="1">
                <a:gsLst>
                  <a:gs pos="0">
                    <a:schemeClr val="accent5">
                      <a:alpha val="0"/>
                    </a:schemeClr>
                  </a:gs>
                  <a:gs pos="87000">
                    <a:srgbClr val="00B7A5"/>
                  </a:gs>
                  <a:gs pos="13000">
                    <a:schemeClr val="accent5"/>
                  </a:gs>
                  <a:gs pos="100000">
                    <a:schemeClr val="accent5">
                      <a:alpha val="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none" bIns="109728" rtlCol="0" anchor="b"/>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ea typeface="+mn-ea"/>
                    <a:cs typeface="+mn-cs"/>
                  </a:rPr>
                  <a:t>Astım/KOAH alevlenmesi</a:t>
                </a:r>
              </a:p>
            </p:txBody>
          </p:sp>
          <p:sp>
            <p:nvSpPr>
              <p:cNvPr id="203" name="Rectangle: Rounded Corners 202">
                <a:extLst>
                  <a:ext uri="{FF2B5EF4-FFF2-40B4-BE49-F238E27FC236}">
                    <a16:creationId xmlns:a16="http://schemas.microsoft.com/office/drawing/2014/main" id="{43FD04B5-EA7D-5196-3DD6-23AF7419277C}"/>
                  </a:ext>
                </a:extLst>
              </p:cNvPr>
              <p:cNvSpPr/>
              <p:nvPr/>
            </p:nvSpPr>
            <p:spPr>
              <a:xfrm>
                <a:off x="8310973" y="3643414"/>
                <a:ext cx="2364094" cy="76201"/>
              </a:xfrm>
              <a:prstGeom prst="roundRect">
                <a:avLst/>
              </a:prstGeom>
              <a:gradFill flip="none" rotWithShape="1">
                <a:gsLst>
                  <a:gs pos="0">
                    <a:schemeClr val="accent5">
                      <a:alpha val="0"/>
                    </a:schemeClr>
                  </a:gs>
                  <a:gs pos="87000">
                    <a:srgbClr val="00B7A5"/>
                  </a:gs>
                  <a:gs pos="13000">
                    <a:schemeClr val="accent5"/>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none" bIns="109728" rtlCol="0" anchor="b"/>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000000"/>
                    </a:solidFill>
                    <a:effectLst/>
                    <a:uLnTx/>
                    <a:uFillTx/>
                    <a:ea typeface="+mn-ea"/>
                    <a:cs typeface="+mn-cs"/>
                  </a:rPr>
                  <a:t>Ciddi</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solunum</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hastalığı</a:t>
                </a:r>
                <a:endParaRPr kumimoji="0" lang="en-US" sz="1600" b="0" i="0" u="none" strike="noStrike" kern="1200" cap="none" spc="0" normalizeH="0" baseline="0" noProof="0">
                  <a:ln>
                    <a:noFill/>
                  </a:ln>
                  <a:solidFill>
                    <a:srgbClr val="000000"/>
                  </a:solidFill>
                  <a:effectLst/>
                  <a:uLnTx/>
                  <a:uFillTx/>
                  <a:ea typeface="+mn-ea"/>
                  <a:cs typeface="+mn-cs"/>
                </a:endParaRPr>
              </a:p>
            </p:txBody>
          </p:sp>
          <p:sp>
            <p:nvSpPr>
              <p:cNvPr id="204" name="Rectangle: Rounded Corners 203">
                <a:extLst>
                  <a:ext uri="{FF2B5EF4-FFF2-40B4-BE49-F238E27FC236}">
                    <a16:creationId xmlns:a16="http://schemas.microsoft.com/office/drawing/2014/main" id="{249EB0A8-AC04-D89F-2A69-E320D4131050}"/>
                  </a:ext>
                </a:extLst>
              </p:cNvPr>
              <p:cNvSpPr/>
              <p:nvPr/>
            </p:nvSpPr>
            <p:spPr>
              <a:xfrm>
                <a:off x="2187317" y="3974144"/>
                <a:ext cx="8487751" cy="76201"/>
              </a:xfrm>
              <a:prstGeom prst="roundRect">
                <a:avLst/>
              </a:prstGeom>
              <a:gradFill flip="none" rotWithShape="1">
                <a:gsLst>
                  <a:gs pos="0">
                    <a:schemeClr val="accent5">
                      <a:alpha val="0"/>
                    </a:schemeClr>
                  </a:gs>
                  <a:gs pos="87000">
                    <a:srgbClr val="00B7A5"/>
                  </a:gs>
                  <a:gs pos="13000">
                    <a:schemeClr val="accent5"/>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none" bIns="109728" rtlCol="0" anchor="b"/>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000000"/>
                    </a:solidFill>
                    <a:effectLst/>
                    <a:uLnTx/>
                    <a:uFillTx/>
                    <a:ea typeface="+mn-ea"/>
                    <a:cs typeface="+mn-cs"/>
                  </a:rPr>
                  <a:t>Enfeksiyon</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veya</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reenfeksiyona</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bağlı</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solunum</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yolu</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hastalığı</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ve</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ilişkili</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komplikasyonlar</a:t>
                </a:r>
                <a:endParaRPr kumimoji="0" lang="en-US" sz="1600" b="0" i="0" u="none" strike="noStrike" kern="1200" cap="none" spc="0" normalizeH="0" baseline="0" noProof="0">
                  <a:ln>
                    <a:noFill/>
                  </a:ln>
                  <a:solidFill>
                    <a:srgbClr val="000000"/>
                  </a:solidFill>
                  <a:effectLst/>
                  <a:uLnTx/>
                  <a:uFillTx/>
                  <a:ea typeface="+mn-ea"/>
                  <a:cs typeface="+mn-cs"/>
                </a:endParaRPr>
              </a:p>
            </p:txBody>
          </p:sp>
        </p:grpSp>
        <p:sp>
          <p:nvSpPr>
            <p:cNvPr id="12" name="Rectangle 11">
              <a:extLst>
                <a:ext uri="{FF2B5EF4-FFF2-40B4-BE49-F238E27FC236}">
                  <a16:creationId xmlns:a16="http://schemas.microsoft.com/office/drawing/2014/main" id="{EA2AE21B-BFFF-C0FC-5373-4814AF785411}"/>
                </a:ext>
              </a:extLst>
            </p:cNvPr>
            <p:cNvSpPr/>
            <p:nvPr/>
          </p:nvSpPr>
          <p:spPr>
            <a:xfrm>
              <a:off x="548309" y="2168911"/>
              <a:ext cx="1917766" cy="4144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22852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95FF"/>
                  </a:solidFill>
                  <a:effectLst/>
                  <a:uLnTx/>
                  <a:uFillTx/>
                  <a:ea typeface="+mn-ea"/>
                  <a:cs typeface="+mn-cs"/>
                </a:rPr>
                <a:t>Doğum</a:t>
              </a:r>
            </a:p>
          </p:txBody>
        </p:sp>
        <p:sp>
          <p:nvSpPr>
            <p:cNvPr id="13" name="Rectangle 12">
              <a:extLst>
                <a:ext uri="{FF2B5EF4-FFF2-40B4-BE49-F238E27FC236}">
                  <a16:creationId xmlns:a16="http://schemas.microsoft.com/office/drawing/2014/main" id="{8827610E-293C-5C0A-CD9F-519D2E335903}"/>
                </a:ext>
              </a:extLst>
            </p:cNvPr>
            <p:cNvSpPr/>
            <p:nvPr/>
          </p:nvSpPr>
          <p:spPr>
            <a:xfrm>
              <a:off x="2192108" y="2168911"/>
              <a:ext cx="1917766" cy="41448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22852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95FF"/>
                  </a:solidFill>
                  <a:effectLst/>
                  <a:uLnTx/>
                  <a:uFillTx/>
                  <a:ea typeface="+mn-ea"/>
                  <a:cs typeface="+mn-cs"/>
                </a:rPr>
                <a:t>Bebeklik Dönemi</a:t>
              </a:r>
            </a:p>
            <a:p>
              <a:pPr marL="0" marR="0" lvl="0" indent="0" algn="ctr" defTabSz="22852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ea typeface="+mn-ea"/>
                  <a:cs typeface="+mn-cs"/>
                </a:rPr>
                <a:t>(&lt;18 ay)</a:t>
              </a:r>
            </a:p>
          </p:txBody>
        </p:sp>
        <p:sp>
          <p:nvSpPr>
            <p:cNvPr id="14" name="Rectangle 13">
              <a:extLst>
                <a:ext uri="{FF2B5EF4-FFF2-40B4-BE49-F238E27FC236}">
                  <a16:creationId xmlns:a16="http://schemas.microsoft.com/office/drawing/2014/main" id="{C2E35140-9001-5B4D-4724-6388B2AB0B49}"/>
                </a:ext>
              </a:extLst>
            </p:cNvPr>
            <p:cNvSpPr/>
            <p:nvPr/>
          </p:nvSpPr>
          <p:spPr>
            <a:xfrm>
              <a:off x="3896865" y="2168911"/>
              <a:ext cx="1917766" cy="41448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22852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95FF"/>
                  </a:solidFill>
                  <a:effectLst/>
                  <a:uLnTx/>
                  <a:uFillTx/>
                  <a:ea typeface="+mn-ea"/>
                  <a:cs typeface="+mn-cs"/>
                </a:rPr>
                <a:t> Oyun </a:t>
              </a:r>
              <a:r>
                <a:rPr kumimoji="0" lang="en-US" sz="1600" b="1" i="0" u="none" strike="noStrike" kern="1200" cap="none" spc="0" normalizeH="0" baseline="0" noProof="0" err="1">
                  <a:ln>
                    <a:noFill/>
                  </a:ln>
                  <a:solidFill>
                    <a:srgbClr val="0095FF"/>
                  </a:solidFill>
                  <a:effectLst/>
                  <a:uLnTx/>
                  <a:uFillTx/>
                  <a:ea typeface="+mn-ea"/>
                  <a:cs typeface="+mn-cs"/>
                </a:rPr>
                <a:t>çağı</a:t>
              </a:r>
              <a:endParaRPr kumimoji="0" lang="en-US" sz="1600" b="1" i="0" u="none" strike="noStrike" kern="1200" cap="none" spc="0" normalizeH="0" baseline="0" noProof="0">
                <a:ln>
                  <a:noFill/>
                </a:ln>
                <a:solidFill>
                  <a:srgbClr val="0095FF"/>
                </a:solidFill>
                <a:effectLst/>
                <a:uLnTx/>
                <a:uFillTx/>
                <a:ea typeface="+mn-ea"/>
                <a:cs typeface="+mn-cs"/>
              </a:endParaRPr>
            </a:p>
            <a:p>
              <a:pPr marL="0" marR="0" lvl="0" indent="0" algn="ctr" defTabSz="22852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ea typeface="+mn-ea"/>
                  <a:cs typeface="+mn-cs"/>
                </a:rPr>
                <a:t>(19 ay-5 </a:t>
              </a:r>
              <a:r>
                <a:rPr kumimoji="0" lang="en-US" sz="1400" b="0" i="0" u="none" strike="noStrike" kern="1200" cap="none" spc="0" normalizeH="0" baseline="0" noProof="0" err="1">
                  <a:ln>
                    <a:noFill/>
                  </a:ln>
                  <a:solidFill>
                    <a:srgbClr val="000000"/>
                  </a:solidFill>
                  <a:effectLst/>
                  <a:uLnTx/>
                  <a:uFillTx/>
                  <a:ea typeface="+mn-ea"/>
                  <a:cs typeface="+mn-cs"/>
                </a:rPr>
                <a:t>yaş</a:t>
              </a:r>
              <a:r>
                <a:rPr kumimoji="0" lang="tr-TR" sz="1400" b="0" i="0" u="none" strike="noStrike" kern="1200" cap="none" spc="0" normalizeH="0" baseline="0" noProof="0">
                  <a:ln>
                    <a:noFill/>
                  </a:ln>
                  <a:solidFill>
                    <a:srgbClr val="000000"/>
                  </a:solidFill>
                  <a:effectLst/>
                  <a:uLnTx/>
                  <a:uFillTx/>
                  <a:ea typeface="+mn-ea"/>
                  <a:cs typeface="+mn-cs"/>
                </a:rPr>
                <a:t> arası</a:t>
              </a:r>
              <a:r>
                <a:rPr kumimoji="0" lang="en-US" sz="1400" b="0" i="0" u="none" strike="noStrike" kern="1200" cap="none" spc="0" normalizeH="0" baseline="0" noProof="0">
                  <a:ln>
                    <a:noFill/>
                  </a:ln>
                  <a:solidFill>
                    <a:srgbClr val="000000"/>
                  </a:solidFill>
                  <a:effectLst/>
                  <a:uLnTx/>
                  <a:uFillTx/>
                  <a:ea typeface="+mn-ea"/>
                  <a:cs typeface="+mn-cs"/>
                </a:rPr>
                <a:t>)</a:t>
              </a:r>
            </a:p>
          </p:txBody>
        </p:sp>
        <p:sp>
          <p:nvSpPr>
            <p:cNvPr id="15" name="Rectangle 14">
              <a:extLst>
                <a:ext uri="{FF2B5EF4-FFF2-40B4-BE49-F238E27FC236}">
                  <a16:creationId xmlns:a16="http://schemas.microsoft.com/office/drawing/2014/main" id="{1E64EB23-2090-C44D-69A9-B2DC0549C88B}"/>
                </a:ext>
              </a:extLst>
            </p:cNvPr>
            <p:cNvSpPr/>
            <p:nvPr/>
          </p:nvSpPr>
          <p:spPr>
            <a:xfrm>
              <a:off x="5485312" y="2168911"/>
              <a:ext cx="1917766" cy="41448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22852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95FF"/>
                  </a:solidFill>
                  <a:effectLst/>
                  <a:uLnTx/>
                  <a:uFillTx/>
                  <a:ea typeface="+mn-ea"/>
                  <a:cs typeface="+mn-cs"/>
                </a:rPr>
                <a:t>Çocukluk</a:t>
              </a:r>
            </a:p>
            <a:p>
              <a:pPr marL="0" marR="0" lvl="0" indent="0" algn="ctr" defTabSz="22852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ea typeface="+mn-ea"/>
                  <a:cs typeface="+mn-cs"/>
                </a:rPr>
                <a:t>(6-16 </a:t>
              </a:r>
              <a:r>
                <a:rPr kumimoji="0" lang="en-US" sz="1400" b="0" i="0" u="none" strike="noStrike" kern="1200" cap="none" spc="0" normalizeH="0" baseline="0" noProof="0" err="1">
                  <a:ln>
                    <a:noFill/>
                  </a:ln>
                  <a:solidFill>
                    <a:srgbClr val="000000"/>
                  </a:solidFill>
                  <a:effectLst/>
                  <a:uLnTx/>
                  <a:uFillTx/>
                  <a:ea typeface="+mn-ea"/>
                  <a:cs typeface="+mn-cs"/>
                </a:rPr>
                <a:t>yaş</a:t>
              </a:r>
              <a:r>
                <a:rPr kumimoji="0" lang="tr-TR" sz="1400" b="0" i="0" u="none" strike="noStrike" kern="1200" cap="none" spc="0" normalizeH="0" baseline="0" noProof="0">
                  <a:ln>
                    <a:noFill/>
                  </a:ln>
                  <a:solidFill>
                    <a:srgbClr val="000000"/>
                  </a:solidFill>
                  <a:effectLst/>
                  <a:uLnTx/>
                  <a:uFillTx/>
                  <a:ea typeface="+mn-ea"/>
                  <a:cs typeface="+mn-cs"/>
                </a:rPr>
                <a:t> arası</a:t>
              </a:r>
              <a:r>
                <a:rPr kumimoji="0" lang="en-US" sz="1400" b="0" i="0" u="none" strike="noStrike" kern="1200" cap="none" spc="0" normalizeH="0" baseline="0" noProof="0">
                  <a:ln>
                    <a:noFill/>
                  </a:ln>
                  <a:solidFill>
                    <a:srgbClr val="000000"/>
                  </a:solidFill>
                  <a:effectLst/>
                  <a:uLnTx/>
                  <a:uFillTx/>
                  <a:ea typeface="+mn-ea"/>
                  <a:cs typeface="+mn-cs"/>
                </a:rPr>
                <a:t>)</a:t>
              </a:r>
            </a:p>
          </p:txBody>
        </p:sp>
        <p:sp>
          <p:nvSpPr>
            <p:cNvPr id="16" name="Rectangle 15">
              <a:extLst>
                <a:ext uri="{FF2B5EF4-FFF2-40B4-BE49-F238E27FC236}">
                  <a16:creationId xmlns:a16="http://schemas.microsoft.com/office/drawing/2014/main" id="{32554EBA-4B27-00B8-2F00-B49F2CE72C60}"/>
                </a:ext>
              </a:extLst>
            </p:cNvPr>
            <p:cNvSpPr/>
            <p:nvPr/>
          </p:nvSpPr>
          <p:spPr>
            <a:xfrm>
              <a:off x="7158004" y="2168911"/>
              <a:ext cx="1917766" cy="41448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22852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95FF"/>
                  </a:solidFill>
                  <a:effectLst/>
                  <a:uLnTx/>
                  <a:uFillTx/>
                  <a:ea typeface="+mn-ea"/>
                  <a:cs typeface="+mn-cs"/>
                </a:rPr>
                <a:t>Yetişkinlik</a:t>
              </a:r>
            </a:p>
            <a:p>
              <a:pPr marL="0" marR="0" lvl="0" indent="0" algn="ctr" defTabSz="22852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ea typeface="+mn-ea"/>
                  <a:cs typeface="+mn-cs"/>
                </a:rPr>
                <a:t>(17-70 </a:t>
              </a:r>
              <a:r>
                <a:rPr kumimoji="0" lang="en-US" sz="1400" b="0" i="0" u="none" strike="noStrike" kern="1200" cap="none" spc="0" normalizeH="0" baseline="0" noProof="0" err="1">
                  <a:ln>
                    <a:noFill/>
                  </a:ln>
                  <a:solidFill>
                    <a:srgbClr val="000000"/>
                  </a:solidFill>
                  <a:effectLst/>
                  <a:uLnTx/>
                  <a:uFillTx/>
                  <a:ea typeface="+mn-ea"/>
                  <a:cs typeface="+mn-cs"/>
                </a:rPr>
                <a:t>yaş</a:t>
              </a:r>
              <a:r>
                <a:rPr kumimoji="0" lang="tr-TR" sz="1400" b="0" i="0" u="none" strike="noStrike" kern="1200" cap="none" spc="0" normalizeH="0" baseline="0" noProof="0">
                  <a:ln>
                    <a:noFill/>
                  </a:ln>
                  <a:solidFill>
                    <a:srgbClr val="000000"/>
                  </a:solidFill>
                  <a:effectLst/>
                  <a:uLnTx/>
                  <a:uFillTx/>
                  <a:ea typeface="+mn-ea"/>
                  <a:cs typeface="+mn-cs"/>
                </a:rPr>
                <a:t> arası</a:t>
              </a:r>
              <a:r>
                <a:rPr kumimoji="0" lang="en-US" sz="1400" b="0" i="0" u="none" strike="noStrike" kern="1200" cap="none" spc="0" normalizeH="0" baseline="0" noProof="0">
                  <a:ln>
                    <a:noFill/>
                  </a:ln>
                  <a:solidFill>
                    <a:srgbClr val="000000"/>
                  </a:solidFill>
                  <a:effectLst/>
                  <a:uLnTx/>
                  <a:uFillTx/>
                  <a:ea typeface="+mn-ea"/>
                  <a:cs typeface="+mn-cs"/>
                </a:rPr>
                <a:t>)</a:t>
              </a:r>
            </a:p>
          </p:txBody>
        </p:sp>
        <p:sp>
          <p:nvSpPr>
            <p:cNvPr id="17" name="Rectangle 16">
              <a:extLst>
                <a:ext uri="{FF2B5EF4-FFF2-40B4-BE49-F238E27FC236}">
                  <a16:creationId xmlns:a16="http://schemas.microsoft.com/office/drawing/2014/main" id="{A69B540A-4C50-CC61-46A3-85E79C2A6BE8}"/>
                </a:ext>
              </a:extLst>
            </p:cNvPr>
            <p:cNvSpPr/>
            <p:nvPr/>
          </p:nvSpPr>
          <p:spPr>
            <a:xfrm>
              <a:off x="8839324" y="2168911"/>
              <a:ext cx="1917766" cy="41448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22852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err="1">
                  <a:ln>
                    <a:noFill/>
                  </a:ln>
                  <a:solidFill>
                    <a:srgbClr val="0095FF"/>
                  </a:solidFill>
                  <a:effectLst/>
                  <a:uLnTx/>
                  <a:uFillTx/>
                  <a:ea typeface="+mn-ea"/>
                  <a:cs typeface="+mn-cs"/>
                </a:rPr>
                <a:t>Yaşlılık</a:t>
              </a:r>
              <a:endParaRPr kumimoji="0" lang="en-US" sz="1600" b="1" i="0" u="none" strike="noStrike" kern="1200" cap="none" spc="0" normalizeH="0" baseline="0" noProof="0">
                <a:ln>
                  <a:noFill/>
                </a:ln>
                <a:solidFill>
                  <a:srgbClr val="0095FF"/>
                </a:solidFill>
                <a:effectLst/>
                <a:uLnTx/>
                <a:uFillTx/>
                <a:ea typeface="+mn-ea"/>
                <a:cs typeface="+mn-cs"/>
              </a:endParaRPr>
            </a:p>
            <a:p>
              <a:pPr marL="0" marR="0" lvl="0" indent="0" algn="ctr" defTabSz="22852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ea typeface="+mn-ea"/>
                  <a:cs typeface="+mn-cs"/>
                </a:rPr>
                <a:t>(&gt;70</a:t>
              </a:r>
              <a:r>
                <a:rPr kumimoji="0" lang="tr-TR" sz="1400" b="0" i="0" u="none" strike="noStrike" kern="1200" cap="none" spc="0" normalizeH="0" baseline="0" noProof="0">
                  <a:ln>
                    <a:noFill/>
                  </a:ln>
                  <a:solidFill>
                    <a:srgbClr val="000000"/>
                  </a:solidFill>
                  <a:effectLst/>
                  <a:uLnTx/>
                  <a:uFillTx/>
                  <a:ea typeface="+mn-ea"/>
                  <a:cs typeface="+mn-cs"/>
                </a:rPr>
                <a:t> yaş üzeri)</a:t>
              </a:r>
              <a:endParaRPr kumimoji="0" lang="en-US" sz="1400" b="0" i="0" u="none" strike="noStrike" kern="1200" cap="none" spc="0" normalizeH="0" baseline="0" noProof="0">
                <a:ln>
                  <a:noFill/>
                </a:ln>
                <a:solidFill>
                  <a:srgbClr val="000000"/>
                </a:solidFill>
                <a:effectLst/>
                <a:uLnTx/>
                <a:uFillTx/>
                <a:ea typeface="+mn-ea"/>
                <a:cs typeface="+mn-cs"/>
              </a:endParaRPr>
            </a:p>
          </p:txBody>
        </p:sp>
      </p:grpSp>
      <p:sp>
        <p:nvSpPr>
          <p:cNvPr id="10" name="Content Placeholder 3">
            <a:extLst>
              <a:ext uri="{FF2B5EF4-FFF2-40B4-BE49-F238E27FC236}">
                <a16:creationId xmlns:a16="http://schemas.microsoft.com/office/drawing/2014/main" id="{A2426D84-C4C5-005C-185F-947990685FE3}"/>
              </a:ext>
            </a:extLst>
          </p:cNvPr>
          <p:cNvSpPr txBox="1">
            <a:spLocks/>
          </p:cNvSpPr>
          <p:nvPr/>
        </p:nvSpPr>
        <p:spPr bwMode="gray">
          <a:xfrm>
            <a:off x="2870855" y="5056774"/>
            <a:ext cx="2782564" cy="720662"/>
          </a:xfrm>
          <a:prstGeom prst="rect">
            <a:avLst/>
          </a:prstGeom>
        </p:spPr>
        <p:txBody>
          <a:bodyPr vert="horz" lIns="45720" tIns="45720" rIns="45720" bIns="45720" rtlCol="0">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Pct val="100000"/>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ea typeface="+mn-ea"/>
                <a:cs typeface="+mn-cs"/>
              </a:rPr>
              <a:t>Kırılganlık, fizyolojik rezerv eksikliği </a:t>
            </a:r>
            <a:r>
              <a:rPr kumimoji="0" lang="en-US" sz="1400" b="0" i="0" u="none" strike="noStrike" kern="1200" cap="none" spc="0" normalizeH="0" baseline="30000" noProof="0">
                <a:ln>
                  <a:noFill/>
                </a:ln>
                <a:solidFill>
                  <a:srgbClr val="000000"/>
                </a:solidFill>
                <a:effectLst/>
                <a:uLnTx/>
                <a:uFillTx/>
                <a:ea typeface="+mn-ea"/>
                <a:cs typeface="+mn-cs"/>
              </a:rPr>
              <a:t>2</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ea typeface="+mn-ea"/>
                <a:cs typeface="+mn-cs"/>
              </a:rPr>
              <a:t>Solunum kaslarının ve diyaframın gücünde azalma </a:t>
            </a:r>
            <a:r>
              <a:rPr kumimoji="0" lang="en-US" sz="1400" b="0" i="0" u="none" strike="noStrike" kern="1200" cap="none" spc="0" normalizeH="0" baseline="30000" noProof="0">
                <a:ln>
                  <a:noFill/>
                </a:ln>
                <a:solidFill>
                  <a:srgbClr val="000000"/>
                </a:solidFill>
                <a:effectLst/>
                <a:uLnTx/>
                <a:uFillTx/>
                <a:ea typeface="+mn-ea"/>
                <a:cs typeface="+mn-cs"/>
              </a:rPr>
              <a:t>2,3</a:t>
            </a:r>
          </a:p>
        </p:txBody>
      </p:sp>
      <p:sp>
        <p:nvSpPr>
          <p:cNvPr id="18" name="Content Placeholder 3">
            <a:extLst>
              <a:ext uri="{FF2B5EF4-FFF2-40B4-BE49-F238E27FC236}">
                <a16:creationId xmlns:a16="http://schemas.microsoft.com/office/drawing/2014/main" id="{31C75956-484D-4FD2-50D6-EE5B59C7D487}"/>
              </a:ext>
            </a:extLst>
          </p:cNvPr>
          <p:cNvSpPr txBox="1">
            <a:spLocks/>
          </p:cNvSpPr>
          <p:nvPr/>
        </p:nvSpPr>
        <p:spPr bwMode="gray">
          <a:xfrm>
            <a:off x="6985962" y="5022556"/>
            <a:ext cx="2582944" cy="908935"/>
          </a:xfrm>
          <a:prstGeom prst="rect">
            <a:avLst/>
          </a:prstGeom>
        </p:spPr>
        <p:txBody>
          <a:bodyPr vert="horz" lIns="45720" tIns="45720" rIns="45720" bIns="45720" rtlCol="0">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Pct val="100000"/>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ea typeface="+mn-ea"/>
                <a:cs typeface="+mn-cs"/>
              </a:rPr>
              <a:t>Komorbiditelerin gelişimi </a:t>
            </a:r>
            <a:r>
              <a:rPr kumimoji="0" lang="en-US" sz="1400" b="0" i="0" u="none" strike="noStrike" kern="1200" cap="none" spc="0" normalizeH="0" baseline="30000" noProof="0">
                <a:ln>
                  <a:noFill/>
                </a:ln>
                <a:solidFill>
                  <a:srgbClr val="000000"/>
                </a:solidFill>
                <a:effectLst/>
                <a:uLnTx/>
                <a:uFillTx/>
                <a:ea typeface="+mn-ea"/>
                <a:cs typeface="+mn-cs"/>
              </a:rPr>
              <a:t>4</a:t>
            </a:r>
          </a:p>
          <a:p>
            <a:pPr marL="0" indent="0">
              <a:lnSpc>
                <a:spcPct val="100000"/>
              </a:lnSpc>
              <a:spcBef>
                <a:spcPts val="600"/>
              </a:spcBef>
              <a:buSzTx/>
              <a:buNone/>
            </a:pPr>
            <a:r>
              <a:rPr lang="en-US" sz="1400" err="1">
                <a:solidFill>
                  <a:srgbClr val="000000"/>
                </a:solidFill>
              </a:rPr>
              <a:t>Azalan</a:t>
            </a:r>
            <a:r>
              <a:rPr lang="en-US" sz="1400">
                <a:solidFill>
                  <a:srgbClr val="000000"/>
                </a:solidFill>
              </a:rPr>
              <a:t> </a:t>
            </a:r>
            <a:r>
              <a:rPr lang="en-US" sz="1400" err="1">
                <a:solidFill>
                  <a:srgbClr val="000000"/>
                </a:solidFill>
              </a:rPr>
              <a:t>koruyucu</a:t>
            </a:r>
            <a:r>
              <a:rPr lang="en-US" sz="1400">
                <a:solidFill>
                  <a:srgbClr val="000000"/>
                </a:solidFill>
              </a:rPr>
              <a:t> </a:t>
            </a:r>
            <a:r>
              <a:rPr lang="en-US" sz="1400" err="1">
                <a:solidFill>
                  <a:srgbClr val="000000"/>
                </a:solidFill>
              </a:rPr>
              <a:t>mukus</a:t>
            </a:r>
            <a:r>
              <a:rPr lang="en-US" sz="1400">
                <a:solidFill>
                  <a:srgbClr val="000000"/>
                </a:solidFill>
              </a:rPr>
              <a:t>, </a:t>
            </a:r>
            <a:r>
              <a:rPr lang="en-US" sz="1400" err="1">
                <a:solidFill>
                  <a:srgbClr val="000000"/>
                </a:solidFill>
              </a:rPr>
              <a:t>akciğer</a:t>
            </a:r>
            <a:r>
              <a:rPr lang="en-US" sz="1400">
                <a:solidFill>
                  <a:srgbClr val="000000"/>
                </a:solidFill>
              </a:rPr>
              <a:t> </a:t>
            </a:r>
            <a:r>
              <a:rPr lang="en-US" sz="1400" err="1">
                <a:solidFill>
                  <a:srgbClr val="000000"/>
                </a:solidFill>
              </a:rPr>
              <a:t>uyumu</a:t>
            </a:r>
            <a:r>
              <a:rPr lang="en-US" sz="1400">
                <a:solidFill>
                  <a:srgbClr val="000000"/>
                </a:solidFill>
              </a:rPr>
              <a:t> </a:t>
            </a:r>
            <a:r>
              <a:rPr lang="en-US" sz="1400" err="1">
                <a:solidFill>
                  <a:srgbClr val="000000"/>
                </a:solidFill>
              </a:rPr>
              <a:t>ve</a:t>
            </a:r>
            <a:r>
              <a:rPr lang="en-US" sz="1400">
                <a:solidFill>
                  <a:srgbClr val="000000"/>
                </a:solidFill>
              </a:rPr>
              <a:t> elastin seviyeleri</a:t>
            </a:r>
            <a:r>
              <a:rPr lang="en-US" sz="1400" baseline="30000">
                <a:solidFill>
                  <a:srgbClr val="000000"/>
                </a:solidFill>
                <a:ea typeface="+mn-ea"/>
                <a:cs typeface="+mn-cs"/>
              </a:rPr>
              <a:t>2</a:t>
            </a:r>
          </a:p>
        </p:txBody>
      </p:sp>
      <p:sp>
        <p:nvSpPr>
          <p:cNvPr id="19" name="Rectangle: Top Corners Rounded 11">
            <a:extLst>
              <a:ext uri="{FF2B5EF4-FFF2-40B4-BE49-F238E27FC236}">
                <a16:creationId xmlns:a16="http://schemas.microsoft.com/office/drawing/2014/main" id="{481A508D-B660-A6BD-BF12-07072BF48FA8}"/>
              </a:ext>
            </a:extLst>
          </p:cNvPr>
          <p:cNvSpPr/>
          <p:nvPr/>
        </p:nvSpPr>
        <p:spPr bwMode="gray">
          <a:xfrm>
            <a:off x="2083470" y="4582357"/>
            <a:ext cx="8322495" cy="238607"/>
          </a:xfrm>
          <a:prstGeom prst="round2SameRect">
            <a:avLst>
              <a:gd name="adj1" fmla="val 31242"/>
              <a:gd name="adj2" fmla="val 0"/>
            </a:avLst>
          </a:prstGeom>
          <a:solidFill>
            <a:schemeClr val="accent1"/>
          </a:solidFill>
          <a:ln w="19050"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228520" rtl="0" eaLnBrk="1" fontAlgn="auto" latinLnBrk="0" hangingPunct="1">
              <a:lnSpc>
                <a:spcPct val="90000"/>
              </a:lnSpc>
              <a:spcBef>
                <a:spcPts val="1000"/>
              </a:spcBef>
              <a:spcAft>
                <a:spcPts val="0"/>
              </a:spcAft>
              <a:buClrTx/>
              <a:buSzTx/>
              <a:buFontTx/>
              <a:buNone/>
              <a:tabLst/>
              <a:defRPr/>
            </a:pPr>
            <a:r>
              <a:rPr kumimoji="0" lang="en-US" sz="1600" b="1" i="0" u="none" strike="noStrike" kern="1200" cap="none" spc="0" normalizeH="0" baseline="0" noProof="0" err="1">
                <a:ln>
                  <a:noFill/>
                </a:ln>
                <a:solidFill>
                  <a:srgbClr val="FFFFFF"/>
                </a:solidFill>
                <a:effectLst/>
                <a:uLnTx/>
                <a:uFillTx/>
                <a:ea typeface="+mn-ea"/>
                <a:cs typeface="+mn-cs"/>
              </a:rPr>
              <a:t>Yaşlı</a:t>
            </a:r>
            <a:r>
              <a:rPr kumimoji="0" lang="en-US" sz="1600" b="1" i="0" u="none" strike="noStrike" kern="1200" cap="none" spc="0" normalizeH="0" baseline="0" noProof="0">
                <a:ln>
                  <a:noFill/>
                </a:ln>
                <a:solidFill>
                  <a:srgbClr val="FFFFFF"/>
                </a:solidFill>
                <a:effectLst/>
                <a:uLnTx/>
                <a:uFillTx/>
                <a:ea typeface="+mn-ea"/>
                <a:cs typeface="+mn-cs"/>
              </a:rPr>
              <a:t> </a:t>
            </a:r>
            <a:r>
              <a:rPr kumimoji="0" lang="en-US" sz="1600" b="1" i="0" u="none" strike="noStrike" kern="1200" cap="none" spc="0" normalizeH="0" baseline="0" noProof="0" err="1">
                <a:ln>
                  <a:noFill/>
                </a:ln>
                <a:solidFill>
                  <a:srgbClr val="FFFFFF"/>
                </a:solidFill>
                <a:effectLst/>
                <a:uLnTx/>
                <a:uFillTx/>
                <a:ea typeface="+mn-ea"/>
                <a:cs typeface="+mn-cs"/>
              </a:rPr>
              <a:t>bireylerde</a:t>
            </a:r>
            <a:r>
              <a:rPr kumimoji="0" lang="en-US" sz="1600" b="1" i="0" u="none" strike="noStrike" kern="1200" cap="none" spc="0" normalizeH="0" baseline="0" noProof="0">
                <a:ln>
                  <a:noFill/>
                </a:ln>
                <a:solidFill>
                  <a:srgbClr val="FFFFFF"/>
                </a:solidFill>
                <a:effectLst/>
                <a:uLnTx/>
                <a:uFillTx/>
                <a:ea typeface="+mn-ea"/>
                <a:cs typeface="+mn-cs"/>
              </a:rPr>
              <a:t> hastalığı etkileyen yaşa bağlı faktörler</a:t>
            </a:r>
            <a:endParaRPr kumimoji="0" lang="en-US" sz="1600" b="1" i="0" u="none" strike="noStrike" kern="1200" cap="none" spc="0" normalizeH="0" baseline="30000" noProof="0">
              <a:ln>
                <a:noFill/>
              </a:ln>
              <a:solidFill>
                <a:srgbClr val="FFFFFF"/>
              </a:solidFill>
              <a:effectLst/>
              <a:uLnTx/>
              <a:uFillTx/>
              <a:ea typeface="+mn-ea"/>
              <a:cs typeface="+mn-cs"/>
            </a:endParaRPr>
          </a:p>
        </p:txBody>
      </p:sp>
      <p:sp>
        <p:nvSpPr>
          <p:cNvPr id="20" name="Rounded Rectangle 5">
            <a:extLst>
              <a:ext uri="{FF2B5EF4-FFF2-40B4-BE49-F238E27FC236}">
                <a16:creationId xmlns:a16="http://schemas.microsoft.com/office/drawing/2014/main" id="{7999FEB6-42AD-9442-8E29-78368B5B0B03}"/>
              </a:ext>
            </a:extLst>
          </p:cNvPr>
          <p:cNvSpPr/>
          <p:nvPr/>
        </p:nvSpPr>
        <p:spPr bwMode="gray">
          <a:xfrm>
            <a:off x="2077544" y="4589083"/>
            <a:ext cx="8328422" cy="1612179"/>
          </a:xfrm>
          <a:prstGeom prst="roundRect">
            <a:avLst>
              <a:gd name="adj" fmla="val 8665"/>
            </a:avLst>
          </a:prstGeom>
          <a:noFill/>
          <a:ln w="19050"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228520" rtl="0" eaLnBrk="1" fontAlgn="base" latinLnBrk="0" hangingPunct="1">
              <a:lnSpc>
                <a:spcPct val="90000"/>
              </a:lnSpc>
              <a:spcBef>
                <a:spcPts val="0"/>
              </a:spcBef>
              <a:spcAft>
                <a:spcPct val="0"/>
              </a:spcAft>
              <a:buClr>
                <a:srgbClr val="0095FF"/>
              </a:buClr>
              <a:buSzPct val="90000"/>
              <a:buFontTx/>
              <a:buNone/>
              <a:tabLst/>
              <a:defRPr/>
            </a:pPr>
            <a:endParaRPr kumimoji="0" lang="en-US" sz="900" b="1" i="0" u="none" strike="noStrike" kern="1200" cap="none" spc="0" normalizeH="0" baseline="0" noProof="0">
              <a:ln>
                <a:noFill/>
              </a:ln>
              <a:solidFill>
                <a:srgbClr val="0000C9"/>
              </a:solidFill>
              <a:effectLst/>
              <a:uLnTx/>
              <a:uFillTx/>
              <a:ea typeface="+mn-ea"/>
              <a:cs typeface="+mn-cs"/>
            </a:endParaRPr>
          </a:p>
        </p:txBody>
      </p:sp>
      <p:grpSp>
        <p:nvGrpSpPr>
          <p:cNvPr id="21" name="Group 20">
            <a:extLst>
              <a:ext uri="{FF2B5EF4-FFF2-40B4-BE49-F238E27FC236}">
                <a16:creationId xmlns:a16="http://schemas.microsoft.com/office/drawing/2014/main" id="{07DABFF0-E865-DB0E-5201-B72BCFFCE0FA}"/>
              </a:ext>
            </a:extLst>
          </p:cNvPr>
          <p:cNvGrpSpPr/>
          <p:nvPr/>
        </p:nvGrpSpPr>
        <p:grpSpPr>
          <a:xfrm>
            <a:off x="2333344" y="5109942"/>
            <a:ext cx="355289" cy="568934"/>
            <a:chOff x="6488082" y="6867203"/>
            <a:chExt cx="355289" cy="568934"/>
          </a:xfrm>
          <a:solidFill>
            <a:schemeClr val="accent2"/>
          </a:solidFill>
        </p:grpSpPr>
        <p:sp>
          <p:nvSpPr>
            <p:cNvPr id="22" name="Freeform: Shape 21">
              <a:extLst>
                <a:ext uri="{FF2B5EF4-FFF2-40B4-BE49-F238E27FC236}">
                  <a16:creationId xmlns:a16="http://schemas.microsoft.com/office/drawing/2014/main" id="{2B03AA40-B968-AA28-B60E-5F4CACC2D485}"/>
                </a:ext>
              </a:extLst>
            </p:cNvPr>
            <p:cNvSpPr/>
            <p:nvPr/>
          </p:nvSpPr>
          <p:spPr>
            <a:xfrm>
              <a:off x="6646256" y="6867203"/>
              <a:ext cx="135810" cy="135810"/>
            </a:xfrm>
            <a:custGeom>
              <a:avLst/>
              <a:gdLst>
                <a:gd name="connsiteX0" fmla="*/ 67905 w 135810"/>
                <a:gd name="connsiteY0" fmla="*/ 135811 h 135810"/>
                <a:gd name="connsiteX1" fmla="*/ 135811 w 135810"/>
                <a:gd name="connsiteY1" fmla="*/ 67905 h 135810"/>
                <a:gd name="connsiteX2" fmla="*/ 67905 w 135810"/>
                <a:gd name="connsiteY2" fmla="*/ 0 h 135810"/>
                <a:gd name="connsiteX3" fmla="*/ 0 w 135810"/>
                <a:gd name="connsiteY3" fmla="*/ 67905 h 135810"/>
                <a:gd name="connsiteX4" fmla="*/ 67905 w 135810"/>
                <a:gd name="connsiteY4" fmla="*/ 135811 h 135810"/>
                <a:gd name="connsiteX5" fmla="*/ 67905 w 135810"/>
                <a:gd name="connsiteY5" fmla="*/ 18324 h 135810"/>
                <a:gd name="connsiteX6" fmla="*/ 117460 w 135810"/>
                <a:gd name="connsiteY6" fmla="*/ 67879 h 135810"/>
                <a:gd name="connsiteX7" fmla="*/ 67905 w 135810"/>
                <a:gd name="connsiteY7" fmla="*/ 117434 h 135810"/>
                <a:gd name="connsiteX8" fmla="*/ 18351 w 135810"/>
                <a:gd name="connsiteY8" fmla="*/ 67879 h 135810"/>
                <a:gd name="connsiteX9" fmla="*/ 67905 w 135810"/>
                <a:gd name="connsiteY9" fmla="*/ 18324 h 135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810" h="135810">
                  <a:moveTo>
                    <a:pt x="67905" y="135811"/>
                  </a:moveTo>
                  <a:cubicBezTo>
                    <a:pt x="105347" y="135811"/>
                    <a:pt x="135811" y="105344"/>
                    <a:pt x="135811" y="67905"/>
                  </a:cubicBezTo>
                  <a:cubicBezTo>
                    <a:pt x="135811" y="30467"/>
                    <a:pt x="105344" y="0"/>
                    <a:pt x="67905" y="0"/>
                  </a:cubicBezTo>
                  <a:cubicBezTo>
                    <a:pt x="30467" y="0"/>
                    <a:pt x="0" y="30467"/>
                    <a:pt x="0" y="67905"/>
                  </a:cubicBezTo>
                  <a:cubicBezTo>
                    <a:pt x="0" y="105344"/>
                    <a:pt x="30467" y="135811"/>
                    <a:pt x="67905" y="135811"/>
                  </a:cubicBezTo>
                  <a:close/>
                  <a:moveTo>
                    <a:pt x="67905" y="18324"/>
                  </a:moveTo>
                  <a:cubicBezTo>
                    <a:pt x="95229" y="18324"/>
                    <a:pt x="117460" y="40555"/>
                    <a:pt x="117460" y="67879"/>
                  </a:cubicBezTo>
                  <a:cubicBezTo>
                    <a:pt x="117460" y="95203"/>
                    <a:pt x="95229" y="117434"/>
                    <a:pt x="67905" y="117434"/>
                  </a:cubicBezTo>
                  <a:cubicBezTo>
                    <a:pt x="40582" y="117434"/>
                    <a:pt x="18351" y="95203"/>
                    <a:pt x="18351" y="67879"/>
                  </a:cubicBezTo>
                  <a:cubicBezTo>
                    <a:pt x="18351" y="40555"/>
                    <a:pt x="40582" y="18324"/>
                    <a:pt x="67905" y="18324"/>
                  </a:cubicBezTo>
                  <a:close/>
                </a:path>
              </a:pathLst>
            </a:custGeom>
            <a:grpFill/>
            <a:ln w="5810" cap="flat">
              <a:no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23" name="Freeform: Shape 22">
              <a:extLst>
                <a:ext uri="{FF2B5EF4-FFF2-40B4-BE49-F238E27FC236}">
                  <a16:creationId xmlns:a16="http://schemas.microsoft.com/office/drawing/2014/main" id="{03E55A00-73FA-DBA1-A76D-FDDD5EB53B7A}"/>
                </a:ext>
              </a:extLst>
            </p:cNvPr>
            <p:cNvSpPr/>
            <p:nvPr/>
          </p:nvSpPr>
          <p:spPr>
            <a:xfrm>
              <a:off x="6488082" y="6994888"/>
              <a:ext cx="355289" cy="441249"/>
            </a:xfrm>
            <a:custGeom>
              <a:avLst/>
              <a:gdLst>
                <a:gd name="connsiteX0" fmla="*/ 5331 w 355289"/>
                <a:gd name="connsiteY0" fmla="*/ 377999 h 441249"/>
                <a:gd name="connsiteX1" fmla="*/ 6019 w 355289"/>
                <a:gd name="connsiteY1" fmla="*/ 420304 h 441249"/>
                <a:gd name="connsiteX2" fmla="*/ 80144 w 355289"/>
                <a:gd name="connsiteY2" fmla="*/ 419180 h 441249"/>
                <a:gd name="connsiteX3" fmla="*/ 108523 w 355289"/>
                <a:gd name="connsiteY3" fmla="*/ 367675 h 441249"/>
                <a:gd name="connsiteX4" fmla="*/ 120522 w 355289"/>
                <a:gd name="connsiteY4" fmla="*/ 301784 h 441249"/>
                <a:gd name="connsiteX5" fmla="*/ 120522 w 355289"/>
                <a:gd name="connsiteY5" fmla="*/ 288799 h 441249"/>
                <a:gd name="connsiteX6" fmla="*/ 156587 w 355289"/>
                <a:gd name="connsiteY6" fmla="*/ 410802 h 441249"/>
                <a:gd name="connsiteX7" fmla="*/ 195909 w 355289"/>
                <a:gd name="connsiteY7" fmla="*/ 441200 h 441249"/>
                <a:gd name="connsiteX8" fmla="*/ 235370 w 355289"/>
                <a:gd name="connsiteY8" fmla="*/ 390980 h 441249"/>
                <a:gd name="connsiteX9" fmla="*/ 196024 w 355289"/>
                <a:gd name="connsiteY9" fmla="*/ 254477 h 441249"/>
                <a:gd name="connsiteX10" fmla="*/ 174230 w 355289"/>
                <a:gd name="connsiteY10" fmla="*/ 206436 h 441249"/>
                <a:gd name="connsiteX11" fmla="*/ 183039 w 355289"/>
                <a:gd name="connsiteY11" fmla="*/ 173078 h 441249"/>
                <a:gd name="connsiteX12" fmla="*/ 253588 w 355289"/>
                <a:gd name="connsiteY12" fmla="*/ 202697 h 441249"/>
                <a:gd name="connsiteX13" fmla="*/ 301995 w 355289"/>
                <a:gd name="connsiteY13" fmla="*/ 182255 h 441249"/>
                <a:gd name="connsiteX14" fmla="*/ 298990 w 355289"/>
                <a:gd name="connsiteY14" fmla="*/ 150044 h 441249"/>
                <a:gd name="connsiteX15" fmla="*/ 336936 w 355289"/>
                <a:gd name="connsiteY15" fmla="*/ 179640 h 441249"/>
                <a:gd name="connsiteX16" fmla="*/ 336936 w 355289"/>
                <a:gd name="connsiteY16" fmla="*/ 432003 h 441249"/>
                <a:gd name="connsiteX17" fmla="*/ 346113 w 355289"/>
                <a:gd name="connsiteY17" fmla="*/ 441180 h 441249"/>
                <a:gd name="connsiteX18" fmla="*/ 355289 w 355289"/>
                <a:gd name="connsiteY18" fmla="*/ 432003 h 441249"/>
                <a:gd name="connsiteX19" fmla="*/ 355289 w 355289"/>
                <a:gd name="connsiteY19" fmla="*/ 179640 h 441249"/>
                <a:gd name="connsiteX20" fmla="*/ 284007 w 355289"/>
                <a:gd name="connsiteY20" fmla="*/ 136165 h 441249"/>
                <a:gd name="connsiteX21" fmla="*/ 280703 w 355289"/>
                <a:gd name="connsiteY21" fmla="*/ 134582 h 441249"/>
                <a:gd name="connsiteX22" fmla="*/ 206349 w 355289"/>
                <a:gd name="connsiteY22" fmla="*/ 106639 h 441249"/>
                <a:gd name="connsiteX23" fmla="*/ 218371 w 355289"/>
                <a:gd name="connsiteY23" fmla="*/ 69174 h 441249"/>
                <a:gd name="connsiteX24" fmla="*/ 189051 w 355289"/>
                <a:gd name="connsiteY24" fmla="*/ 10261 h 441249"/>
                <a:gd name="connsiteX25" fmla="*/ 166568 w 355289"/>
                <a:gd name="connsiteY25" fmla="*/ 3218 h 441249"/>
                <a:gd name="connsiteX26" fmla="*/ 79158 w 355289"/>
                <a:gd name="connsiteY26" fmla="*/ 46899 h 441249"/>
                <a:gd name="connsiteX27" fmla="*/ 41258 w 355289"/>
                <a:gd name="connsiteY27" fmla="*/ 152616 h 441249"/>
                <a:gd name="connsiteX28" fmla="*/ 39239 w 355289"/>
                <a:gd name="connsiteY28" fmla="*/ 161288 h 441249"/>
                <a:gd name="connsiteX29" fmla="*/ 32196 w 355289"/>
                <a:gd name="connsiteY29" fmla="*/ 283708 h 441249"/>
                <a:gd name="connsiteX30" fmla="*/ 26896 w 355289"/>
                <a:gd name="connsiteY30" fmla="*/ 338723 h 441249"/>
                <a:gd name="connsiteX31" fmla="*/ 284881 w 355289"/>
                <a:gd name="connsiteY31" fmla="*/ 175604 h 441249"/>
                <a:gd name="connsiteX32" fmla="*/ 260700 w 355289"/>
                <a:gd name="connsiteY32" fmla="*/ 185768 h 441249"/>
                <a:gd name="connsiteX33" fmla="*/ 177994 w 355289"/>
                <a:gd name="connsiteY33" fmla="*/ 151056 h 441249"/>
                <a:gd name="connsiteX34" fmla="*/ 168634 w 355289"/>
                <a:gd name="connsiteY34" fmla="*/ 141512 h 441249"/>
                <a:gd name="connsiteX35" fmla="*/ 147940 w 355289"/>
                <a:gd name="connsiteY35" fmla="*/ 89434 h 441249"/>
                <a:gd name="connsiteX36" fmla="*/ 162210 w 355289"/>
                <a:gd name="connsiteY36" fmla="*/ 68327 h 441249"/>
                <a:gd name="connsiteX37" fmla="*/ 163128 w 355289"/>
                <a:gd name="connsiteY37" fmla="*/ 68350 h 441249"/>
                <a:gd name="connsiteX38" fmla="*/ 177054 w 355289"/>
                <a:gd name="connsiteY38" fmla="*/ 79362 h 441249"/>
                <a:gd name="connsiteX39" fmla="*/ 187722 w 355289"/>
                <a:gd name="connsiteY39" fmla="*/ 115312 h 441249"/>
                <a:gd name="connsiteX40" fmla="*/ 193274 w 355289"/>
                <a:gd name="connsiteY40" fmla="*/ 121277 h 441249"/>
                <a:gd name="connsiteX41" fmla="*/ 274235 w 355289"/>
                <a:gd name="connsiteY41" fmla="*/ 151721 h 441249"/>
                <a:gd name="connsiteX42" fmla="*/ 284880 w 355289"/>
                <a:gd name="connsiteY42" fmla="*/ 175604 h 441249"/>
                <a:gd name="connsiteX43" fmla="*/ 58536 w 355289"/>
                <a:gd name="connsiteY43" fmla="*/ 158788 h 441249"/>
                <a:gd name="connsiteX44" fmla="*/ 96436 w 355289"/>
                <a:gd name="connsiteY44" fmla="*/ 53095 h 441249"/>
                <a:gd name="connsiteX45" fmla="*/ 161111 w 355289"/>
                <a:gd name="connsiteY45" fmla="*/ 20746 h 441249"/>
                <a:gd name="connsiteX46" fmla="*/ 183617 w 355289"/>
                <a:gd name="connsiteY46" fmla="*/ 27789 h 441249"/>
                <a:gd name="connsiteX47" fmla="*/ 200984 w 355289"/>
                <a:gd name="connsiteY47" fmla="*/ 63304 h 441249"/>
                <a:gd name="connsiteX48" fmla="*/ 196005 w 355289"/>
                <a:gd name="connsiteY48" fmla="*/ 78812 h 441249"/>
                <a:gd name="connsiteX49" fmla="*/ 194629 w 355289"/>
                <a:gd name="connsiteY49" fmla="*/ 74155 h 441249"/>
                <a:gd name="connsiteX50" fmla="*/ 164139 w 355289"/>
                <a:gd name="connsiteY50" fmla="*/ 50043 h 441249"/>
                <a:gd name="connsiteX51" fmla="*/ 130873 w 355289"/>
                <a:gd name="connsiteY51" fmla="*/ 96225 h 441249"/>
                <a:gd name="connsiteX52" fmla="*/ 151543 w 355289"/>
                <a:gd name="connsiteY52" fmla="*/ 148304 h 441249"/>
                <a:gd name="connsiteX53" fmla="*/ 166066 w 355289"/>
                <a:gd name="connsiteY53" fmla="*/ 165396 h 441249"/>
                <a:gd name="connsiteX54" fmla="*/ 155627 w 355289"/>
                <a:gd name="connsiteY54" fmla="*/ 204925 h 441249"/>
                <a:gd name="connsiteX55" fmla="*/ 156132 w 355289"/>
                <a:gd name="connsiteY55" fmla="*/ 211051 h 441249"/>
                <a:gd name="connsiteX56" fmla="*/ 179258 w 355289"/>
                <a:gd name="connsiteY56" fmla="*/ 262005 h 441249"/>
                <a:gd name="connsiteX57" fmla="*/ 217525 w 355289"/>
                <a:gd name="connsiteY57" fmla="*/ 395320 h 441249"/>
                <a:gd name="connsiteX58" fmla="*/ 218259 w 355289"/>
                <a:gd name="connsiteY58" fmla="*/ 400780 h 441249"/>
                <a:gd name="connsiteX59" fmla="*/ 195913 w 355289"/>
                <a:gd name="connsiteY59" fmla="*/ 422850 h 441249"/>
                <a:gd name="connsiteX60" fmla="*/ 174348 w 355289"/>
                <a:gd name="connsiteY60" fmla="*/ 406194 h 441249"/>
                <a:gd name="connsiteX61" fmla="*/ 129519 w 355289"/>
                <a:gd name="connsiteY61" fmla="*/ 269321 h 441249"/>
                <a:gd name="connsiteX62" fmla="*/ 69137 w 355289"/>
                <a:gd name="connsiteY62" fmla="*/ 193774 h 441249"/>
                <a:gd name="connsiteX63" fmla="*/ 58538 w 355289"/>
                <a:gd name="connsiteY63" fmla="*/ 158788 h 441249"/>
                <a:gd name="connsiteX64" fmla="*/ 43004 w 355289"/>
                <a:gd name="connsiteY64" fmla="*/ 347533 h 441249"/>
                <a:gd name="connsiteX65" fmla="*/ 50529 w 355289"/>
                <a:gd name="connsiteY65" fmla="*/ 284215 h 441249"/>
                <a:gd name="connsiteX66" fmla="*/ 54681 w 355289"/>
                <a:gd name="connsiteY66" fmla="*/ 205062 h 441249"/>
                <a:gd name="connsiteX67" fmla="*/ 102561 w 355289"/>
                <a:gd name="connsiteY67" fmla="*/ 263929 h 441249"/>
                <a:gd name="connsiteX68" fmla="*/ 102171 w 355289"/>
                <a:gd name="connsiteY68" fmla="*/ 265879 h 441249"/>
                <a:gd name="connsiteX69" fmla="*/ 102217 w 355289"/>
                <a:gd name="connsiteY69" fmla="*/ 302517 h 441249"/>
                <a:gd name="connsiteX70" fmla="*/ 92191 w 355289"/>
                <a:gd name="connsiteY70" fmla="*/ 359368 h 441249"/>
                <a:gd name="connsiteX71" fmla="*/ 64087 w 355289"/>
                <a:gd name="connsiteY71" fmla="*/ 410322 h 441249"/>
                <a:gd name="connsiteX72" fmla="*/ 21805 w 355289"/>
                <a:gd name="connsiteY72" fmla="*/ 410964 h 441249"/>
                <a:gd name="connsiteX73" fmla="*/ 21415 w 355289"/>
                <a:gd name="connsiteY73" fmla="*/ 386852 h 4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55289" h="441249">
                  <a:moveTo>
                    <a:pt x="5331" y="377999"/>
                  </a:moveTo>
                  <a:cubicBezTo>
                    <a:pt x="-2011" y="391374"/>
                    <a:pt x="-1758" y="407181"/>
                    <a:pt x="6019" y="420304"/>
                  </a:cubicBezTo>
                  <a:cubicBezTo>
                    <a:pt x="22973" y="448958"/>
                    <a:pt x="64338" y="447857"/>
                    <a:pt x="80144" y="419180"/>
                  </a:cubicBezTo>
                  <a:lnTo>
                    <a:pt x="108523" y="367675"/>
                  </a:lnTo>
                  <a:cubicBezTo>
                    <a:pt x="118204" y="346889"/>
                    <a:pt x="122335" y="323856"/>
                    <a:pt x="120522" y="301784"/>
                  </a:cubicBezTo>
                  <a:lnTo>
                    <a:pt x="120522" y="288799"/>
                  </a:lnTo>
                  <a:cubicBezTo>
                    <a:pt x="133737" y="310663"/>
                    <a:pt x="132635" y="322570"/>
                    <a:pt x="156587" y="410802"/>
                  </a:cubicBezTo>
                  <a:cubicBezTo>
                    <a:pt x="161267" y="428697"/>
                    <a:pt x="177441" y="441200"/>
                    <a:pt x="195909" y="441200"/>
                  </a:cubicBezTo>
                  <a:cubicBezTo>
                    <a:pt x="220480" y="441200"/>
                    <a:pt x="241679" y="419039"/>
                    <a:pt x="235370" y="390980"/>
                  </a:cubicBezTo>
                  <a:cubicBezTo>
                    <a:pt x="210546" y="300152"/>
                    <a:pt x="209743" y="285287"/>
                    <a:pt x="196024" y="254477"/>
                  </a:cubicBezTo>
                  <a:lnTo>
                    <a:pt x="174230" y="206436"/>
                  </a:lnTo>
                  <a:lnTo>
                    <a:pt x="183039" y="173078"/>
                  </a:lnTo>
                  <a:lnTo>
                    <a:pt x="253588" y="202697"/>
                  </a:lnTo>
                  <a:cubicBezTo>
                    <a:pt x="272148" y="210497"/>
                    <a:pt x="294103" y="202077"/>
                    <a:pt x="301995" y="182255"/>
                  </a:cubicBezTo>
                  <a:cubicBezTo>
                    <a:pt x="305941" y="171817"/>
                    <a:pt x="305230" y="160322"/>
                    <a:pt x="298990" y="150044"/>
                  </a:cubicBezTo>
                  <a:cubicBezTo>
                    <a:pt x="318491" y="145433"/>
                    <a:pt x="336936" y="159657"/>
                    <a:pt x="336936" y="179640"/>
                  </a:cubicBezTo>
                  <a:lnTo>
                    <a:pt x="336936" y="432003"/>
                  </a:lnTo>
                  <a:cubicBezTo>
                    <a:pt x="336936" y="437073"/>
                    <a:pt x="341042" y="441180"/>
                    <a:pt x="346113" y="441180"/>
                  </a:cubicBezTo>
                  <a:cubicBezTo>
                    <a:pt x="351183" y="441180"/>
                    <a:pt x="355289" y="437073"/>
                    <a:pt x="355289" y="432003"/>
                  </a:cubicBezTo>
                  <a:lnTo>
                    <a:pt x="355289" y="179640"/>
                  </a:lnTo>
                  <a:cubicBezTo>
                    <a:pt x="355289" y="143162"/>
                    <a:pt x="316954" y="119369"/>
                    <a:pt x="284007" y="136165"/>
                  </a:cubicBezTo>
                  <a:cubicBezTo>
                    <a:pt x="282929" y="135614"/>
                    <a:pt x="281850" y="135041"/>
                    <a:pt x="280703" y="134582"/>
                  </a:cubicBezTo>
                  <a:lnTo>
                    <a:pt x="206349" y="106639"/>
                  </a:lnTo>
                  <a:lnTo>
                    <a:pt x="218371" y="69174"/>
                  </a:lnTo>
                  <a:cubicBezTo>
                    <a:pt x="226859" y="45200"/>
                    <a:pt x="214150" y="17991"/>
                    <a:pt x="189051" y="10261"/>
                  </a:cubicBezTo>
                  <a:lnTo>
                    <a:pt x="166568" y="3218"/>
                  </a:lnTo>
                  <a:cubicBezTo>
                    <a:pt x="130320" y="-8047"/>
                    <a:pt x="91914" y="11156"/>
                    <a:pt x="79158" y="46899"/>
                  </a:cubicBezTo>
                  <a:lnTo>
                    <a:pt x="41258" y="152616"/>
                  </a:lnTo>
                  <a:cubicBezTo>
                    <a:pt x="40248" y="155461"/>
                    <a:pt x="39652" y="158351"/>
                    <a:pt x="39239" y="161288"/>
                  </a:cubicBezTo>
                  <a:cubicBezTo>
                    <a:pt x="37840" y="164546"/>
                    <a:pt x="39101" y="157205"/>
                    <a:pt x="32196" y="283708"/>
                  </a:cubicBezTo>
                  <a:cubicBezTo>
                    <a:pt x="31164" y="311789"/>
                    <a:pt x="35201" y="323444"/>
                    <a:pt x="26896" y="338723"/>
                  </a:cubicBezTo>
                  <a:close/>
                  <a:moveTo>
                    <a:pt x="284881" y="175604"/>
                  </a:moveTo>
                  <a:cubicBezTo>
                    <a:pt x="281164" y="184941"/>
                    <a:pt x="270061" y="189713"/>
                    <a:pt x="260700" y="185768"/>
                  </a:cubicBezTo>
                  <a:lnTo>
                    <a:pt x="177994" y="151056"/>
                  </a:lnTo>
                  <a:cubicBezTo>
                    <a:pt x="173750" y="149267"/>
                    <a:pt x="170332" y="145803"/>
                    <a:pt x="168634" y="141512"/>
                  </a:cubicBezTo>
                  <a:lnTo>
                    <a:pt x="147940" y="89434"/>
                  </a:lnTo>
                  <a:cubicBezTo>
                    <a:pt x="143857" y="79156"/>
                    <a:pt x="151542" y="68327"/>
                    <a:pt x="162210" y="68327"/>
                  </a:cubicBezTo>
                  <a:lnTo>
                    <a:pt x="163128" y="68350"/>
                  </a:lnTo>
                  <a:cubicBezTo>
                    <a:pt x="169621" y="68717"/>
                    <a:pt x="175218" y="73145"/>
                    <a:pt x="177054" y="79362"/>
                  </a:cubicBezTo>
                  <a:lnTo>
                    <a:pt x="187722" y="115312"/>
                  </a:lnTo>
                  <a:cubicBezTo>
                    <a:pt x="188548" y="118065"/>
                    <a:pt x="190590" y="120268"/>
                    <a:pt x="193274" y="121277"/>
                  </a:cubicBezTo>
                  <a:lnTo>
                    <a:pt x="274235" y="151721"/>
                  </a:lnTo>
                  <a:cubicBezTo>
                    <a:pt x="284238" y="155598"/>
                    <a:pt x="288298" y="166519"/>
                    <a:pt x="284880" y="175604"/>
                  </a:cubicBezTo>
                  <a:close/>
                  <a:moveTo>
                    <a:pt x="58536" y="158788"/>
                  </a:moveTo>
                  <a:lnTo>
                    <a:pt x="96436" y="53095"/>
                  </a:lnTo>
                  <a:cubicBezTo>
                    <a:pt x="105865" y="26620"/>
                    <a:pt x="134290" y="12441"/>
                    <a:pt x="161111" y="20746"/>
                  </a:cubicBezTo>
                  <a:lnTo>
                    <a:pt x="183617" y="27789"/>
                  </a:lnTo>
                  <a:cubicBezTo>
                    <a:pt x="197795" y="32171"/>
                    <a:pt x="206490" y="47772"/>
                    <a:pt x="200984" y="63304"/>
                  </a:cubicBezTo>
                  <a:lnTo>
                    <a:pt x="196005" y="78812"/>
                  </a:lnTo>
                  <a:lnTo>
                    <a:pt x="194629" y="74155"/>
                  </a:lnTo>
                  <a:cubicBezTo>
                    <a:pt x="190591" y="60528"/>
                    <a:pt x="178340" y="50823"/>
                    <a:pt x="164139" y="50043"/>
                  </a:cubicBezTo>
                  <a:cubicBezTo>
                    <a:pt x="139408" y="48666"/>
                    <a:pt x="121811" y="73398"/>
                    <a:pt x="130873" y="96225"/>
                  </a:cubicBezTo>
                  <a:lnTo>
                    <a:pt x="151543" y="148304"/>
                  </a:lnTo>
                  <a:cubicBezTo>
                    <a:pt x="154365" y="155438"/>
                    <a:pt x="159573" y="161381"/>
                    <a:pt x="166066" y="165396"/>
                  </a:cubicBezTo>
                  <a:lnTo>
                    <a:pt x="155627" y="204925"/>
                  </a:lnTo>
                  <a:cubicBezTo>
                    <a:pt x="155077" y="206967"/>
                    <a:pt x="155260" y="209146"/>
                    <a:pt x="156132" y="211051"/>
                  </a:cubicBezTo>
                  <a:lnTo>
                    <a:pt x="179258" y="262005"/>
                  </a:lnTo>
                  <a:cubicBezTo>
                    <a:pt x="192105" y="290843"/>
                    <a:pt x="193206" y="306145"/>
                    <a:pt x="217525" y="395320"/>
                  </a:cubicBezTo>
                  <a:cubicBezTo>
                    <a:pt x="218007" y="397476"/>
                    <a:pt x="218259" y="399312"/>
                    <a:pt x="218259" y="400780"/>
                  </a:cubicBezTo>
                  <a:cubicBezTo>
                    <a:pt x="218259" y="412962"/>
                    <a:pt x="208233" y="422850"/>
                    <a:pt x="195913" y="422850"/>
                  </a:cubicBezTo>
                  <a:cubicBezTo>
                    <a:pt x="185796" y="422850"/>
                    <a:pt x="176917" y="415990"/>
                    <a:pt x="174348" y="406194"/>
                  </a:cubicBezTo>
                  <a:cubicBezTo>
                    <a:pt x="150718" y="322848"/>
                    <a:pt x="152759" y="300636"/>
                    <a:pt x="129519" y="269321"/>
                  </a:cubicBezTo>
                  <a:cubicBezTo>
                    <a:pt x="100291" y="230044"/>
                    <a:pt x="79964" y="204598"/>
                    <a:pt x="69137" y="193774"/>
                  </a:cubicBezTo>
                  <a:cubicBezTo>
                    <a:pt x="64067" y="188612"/>
                    <a:pt x="52849" y="174916"/>
                    <a:pt x="58538" y="158788"/>
                  </a:cubicBezTo>
                  <a:close/>
                  <a:moveTo>
                    <a:pt x="43004" y="347533"/>
                  </a:moveTo>
                  <a:cubicBezTo>
                    <a:pt x="54338" y="326656"/>
                    <a:pt x="49290" y="310229"/>
                    <a:pt x="50529" y="284215"/>
                  </a:cubicBezTo>
                  <a:lnTo>
                    <a:pt x="54681" y="205062"/>
                  </a:lnTo>
                  <a:cubicBezTo>
                    <a:pt x="71842" y="223553"/>
                    <a:pt x="86479" y="242664"/>
                    <a:pt x="102561" y="263929"/>
                  </a:cubicBezTo>
                  <a:cubicBezTo>
                    <a:pt x="102423" y="264571"/>
                    <a:pt x="102171" y="265191"/>
                    <a:pt x="102171" y="265879"/>
                  </a:cubicBezTo>
                  <a:lnTo>
                    <a:pt x="102217" y="302517"/>
                  </a:lnTo>
                  <a:cubicBezTo>
                    <a:pt x="103800" y="322156"/>
                    <a:pt x="100244" y="342001"/>
                    <a:pt x="92191" y="359368"/>
                  </a:cubicBezTo>
                  <a:lnTo>
                    <a:pt x="64087" y="410322"/>
                  </a:lnTo>
                  <a:cubicBezTo>
                    <a:pt x="55071" y="426680"/>
                    <a:pt x="31487" y="427299"/>
                    <a:pt x="21805" y="410964"/>
                  </a:cubicBezTo>
                  <a:cubicBezTo>
                    <a:pt x="17377" y="403486"/>
                    <a:pt x="17240" y="394469"/>
                    <a:pt x="21415" y="386852"/>
                  </a:cubicBezTo>
                  <a:close/>
                </a:path>
              </a:pathLst>
            </a:custGeom>
            <a:grpFill/>
            <a:ln w="5810" cap="flat">
              <a:no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grpSp>
      <p:pic>
        <p:nvPicPr>
          <p:cNvPr id="24" name="Graphic 23">
            <a:extLst>
              <a:ext uri="{FF2B5EF4-FFF2-40B4-BE49-F238E27FC236}">
                <a16:creationId xmlns:a16="http://schemas.microsoft.com/office/drawing/2014/main" id="{0C346AD0-1638-EE1E-EBC9-1F56B269054C}"/>
              </a:ext>
            </a:extLst>
          </p:cNvPr>
          <p:cNvPicPr>
            <a:picLocks/>
          </p:cNvPicPr>
          <p:nvPr/>
        </p:nvPicPr>
        <p:blipFill>
          <a:blip r:embed="rId3" cstate="print">
            <a:extLst>
              <a:ext uri="{96DAC541-7B7A-43D3-8B79-37D633B846F1}">
                <asvg:svgBlip xmlns:asvg="http://schemas.microsoft.com/office/drawing/2016/SVG/main" r:embed="rId4"/>
              </a:ext>
            </a:extLst>
          </a:blip>
          <a:stretch>
            <a:fillRect/>
          </a:stretch>
        </p:blipFill>
        <p:spPr>
          <a:xfrm>
            <a:off x="6276545" y="5032473"/>
            <a:ext cx="619654" cy="619654"/>
          </a:xfrm>
          <a:prstGeom prst="rect">
            <a:avLst/>
          </a:prstGeom>
        </p:spPr>
      </p:pic>
      <p:pic>
        <p:nvPicPr>
          <p:cNvPr id="11" name="Picture 10" descr="A black and blue logo&#10;&#10;AI-generated content may be incorrect.">
            <a:extLst>
              <a:ext uri="{FF2B5EF4-FFF2-40B4-BE49-F238E27FC236}">
                <a16:creationId xmlns:a16="http://schemas.microsoft.com/office/drawing/2014/main" id="{713D2F95-34E2-747A-BA21-F84DBB2758F8}"/>
              </a:ext>
            </a:extLst>
          </p:cNvPr>
          <p:cNvPicPr>
            <a:picLocks noChangeAspect="1"/>
          </p:cNvPicPr>
          <p:nvPr/>
        </p:nvPicPr>
        <p:blipFill>
          <a:blip r:embed="rId5"/>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32416071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66A3F4-64EF-7703-9839-0C719757D2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0D946C-4661-6054-F217-8B31DAD1EBC0}"/>
              </a:ext>
            </a:extLst>
          </p:cNvPr>
          <p:cNvSpPr>
            <a:spLocks noGrp="1"/>
          </p:cNvSpPr>
          <p:nvPr>
            <p:ph type="title"/>
          </p:nvPr>
        </p:nvSpPr>
        <p:spPr>
          <a:xfrm>
            <a:off x="4338244" y="3226273"/>
            <a:ext cx="4661702" cy="405454"/>
          </a:xfrm>
        </p:spPr>
        <p:txBody>
          <a:bodyPr>
            <a:normAutofit fontScale="90000"/>
          </a:bodyPr>
          <a:lstStyle/>
          <a:p>
            <a:r>
              <a:rPr lang="en-US" dirty="0" err="1">
                <a:solidFill>
                  <a:schemeClr val="accent1"/>
                </a:solidFill>
              </a:rPr>
              <a:t>İleri</a:t>
            </a:r>
            <a:r>
              <a:rPr lang="en-US" dirty="0">
                <a:solidFill>
                  <a:schemeClr val="accent1"/>
                </a:solidFill>
              </a:rPr>
              <a:t> </a:t>
            </a:r>
            <a:r>
              <a:rPr lang="en-US" dirty="0" err="1">
                <a:solidFill>
                  <a:schemeClr val="accent1"/>
                </a:solidFill>
              </a:rPr>
              <a:t>Yaşlı</a:t>
            </a:r>
            <a:r>
              <a:rPr lang="en-US" dirty="0">
                <a:solidFill>
                  <a:schemeClr val="accent1"/>
                </a:solidFill>
              </a:rPr>
              <a:t> </a:t>
            </a:r>
            <a:r>
              <a:rPr lang="en-US" dirty="0" err="1">
                <a:solidFill>
                  <a:schemeClr val="accent1"/>
                </a:solidFill>
              </a:rPr>
              <a:t>Yetişkinlerde</a:t>
            </a:r>
            <a:r>
              <a:rPr lang="en-US" dirty="0">
                <a:solidFill>
                  <a:schemeClr val="accent1"/>
                </a:solidFill>
              </a:rPr>
              <a:t> </a:t>
            </a:r>
            <a:br>
              <a:rPr lang="en-US" dirty="0">
                <a:solidFill>
                  <a:schemeClr val="accent1"/>
                </a:solidFill>
              </a:rPr>
            </a:br>
            <a:r>
              <a:rPr lang="en-US" dirty="0" err="1">
                <a:solidFill>
                  <a:schemeClr val="accent1"/>
                </a:solidFill>
              </a:rPr>
              <a:t>RSV'nin</a:t>
            </a:r>
            <a:r>
              <a:rPr lang="en-US" dirty="0">
                <a:solidFill>
                  <a:schemeClr val="accent1"/>
                </a:solidFill>
              </a:rPr>
              <a:t> </a:t>
            </a:r>
            <a:r>
              <a:rPr lang="en-US" dirty="0" err="1">
                <a:solidFill>
                  <a:schemeClr val="accent1"/>
                </a:solidFill>
              </a:rPr>
              <a:t>Klinik</a:t>
            </a:r>
            <a:r>
              <a:rPr lang="en-US" dirty="0">
                <a:solidFill>
                  <a:schemeClr val="accent1"/>
                </a:solidFill>
              </a:rPr>
              <a:t> </a:t>
            </a:r>
            <a:r>
              <a:rPr lang="en-US" dirty="0" err="1">
                <a:solidFill>
                  <a:schemeClr val="accent1"/>
                </a:solidFill>
              </a:rPr>
              <a:t>Belirtileri</a:t>
            </a:r>
            <a:endParaRPr lang="en-US" dirty="0">
              <a:solidFill>
                <a:schemeClr val="accent1"/>
              </a:solidFill>
            </a:endParaRPr>
          </a:p>
        </p:txBody>
      </p:sp>
      <p:pic>
        <p:nvPicPr>
          <p:cNvPr id="7" name="Picture 6" descr="A black and blue logo&#10;&#10;AI-generated content may be incorrect.">
            <a:extLst>
              <a:ext uri="{FF2B5EF4-FFF2-40B4-BE49-F238E27FC236}">
                <a16:creationId xmlns:a16="http://schemas.microsoft.com/office/drawing/2014/main" id="{FE8FE68F-5023-B52F-B999-26009FBAC6F9}"/>
              </a:ext>
            </a:extLst>
          </p:cNvPr>
          <p:cNvPicPr>
            <a:picLocks noChangeAspect="1"/>
          </p:cNvPicPr>
          <p:nvPr/>
        </p:nvPicPr>
        <p:blipFill>
          <a:blip r:embed="rId2"/>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35130743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7011C316-6922-114F-A47C-A69115265454}"/>
              </a:ext>
            </a:extLst>
          </p:cNvPr>
          <p:cNvSpPr txBox="1">
            <a:spLocks/>
          </p:cNvSpPr>
          <p:nvPr/>
        </p:nvSpPr>
        <p:spPr bwMode="gray">
          <a:xfrm>
            <a:off x="458248" y="1320021"/>
            <a:ext cx="11295783" cy="371833"/>
          </a:xfrm>
          <a:prstGeom prst="rect">
            <a:avLst/>
          </a:prstGeom>
          <a:solidFill>
            <a:schemeClr val="bg1"/>
          </a:solidFill>
          <a:effectLst>
            <a:outerShdw dist="12700" dir="16200000" rotWithShape="0">
              <a:schemeClr val="bg2">
                <a:lumMod val="90000"/>
              </a:schemeClr>
            </a:outerShdw>
          </a:effectLst>
        </p:spPr>
        <p:txBody>
          <a:bodyPr wrap="square" lIns="0" tIns="73152" rIns="0">
            <a:spAutoFit/>
          </a:bodyPr>
          <a:lstStyle>
            <a:defPPr>
              <a:defRPr lang="en-US"/>
            </a:defPPr>
            <a:lvl1pPr defTabSz="914400">
              <a:lnSpc>
                <a:spcPct val="95000"/>
              </a:lnSpc>
              <a:defRPr sz="1700" b="1">
                <a:solidFill>
                  <a:schemeClr val="accent2"/>
                </a:solidFill>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700" b="1" i="0" u="none" strike="noStrike" kern="1200" cap="none" spc="0" normalizeH="0" baseline="0" noProof="0" dirty="0" err="1">
                <a:ln>
                  <a:noFill/>
                </a:ln>
                <a:solidFill>
                  <a:schemeClr val="tx2"/>
                </a:solidFill>
                <a:effectLst/>
                <a:uLnTx/>
                <a:uFillTx/>
                <a:ea typeface="+mn-ea"/>
                <a:cs typeface="+mn-cs"/>
              </a:rPr>
              <a:t>Çoklu</a:t>
            </a:r>
            <a:r>
              <a:rPr kumimoji="0" lang="en-US" sz="1700" b="1" i="0" u="none" strike="noStrike" kern="1200" cap="none" spc="0" normalizeH="0" baseline="0" noProof="0" dirty="0">
                <a:ln>
                  <a:noFill/>
                </a:ln>
                <a:solidFill>
                  <a:schemeClr val="tx2"/>
                </a:solidFill>
                <a:effectLst/>
                <a:uLnTx/>
                <a:uFillTx/>
                <a:ea typeface="+mn-ea"/>
                <a:cs typeface="+mn-cs"/>
              </a:rPr>
              <a:t> </a:t>
            </a:r>
            <a:r>
              <a:rPr kumimoji="0" lang="en-US" sz="1700" b="1" i="0" u="none" strike="noStrike" kern="1200" cap="none" spc="0" normalizeH="0" baseline="0" noProof="0" dirty="0" err="1">
                <a:ln>
                  <a:noFill/>
                </a:ln>
                <a:solidFill>
                  <a:schemeClr val="tx2"/>
                </a:solidFill>
                <a:effectLst/>
                <a:uLnTx/>
                <a:uFillTx/>
                <a:ea typeface="+mn-ea"/>
                <a:cs typeface="+mn-cs"/>
              </a:rPr>
              <a:t>Solunum</a:t>
            </a:r>
            <a:r>
              <a:rPr kumimoji="0" lang="en-US" sz="1700" b="1" i="0" u="none" strike="noStrike" kern="1200" cap="none" spc="0" normalizeH="0" baseline="0" noProof="0" dirty="0">
                <a:ln>
                  <a:noFill/>
                </a:ln>
                <a:solidFill>
                  <a:schemeClr val="tx2"/>
                </a:solidFill>
                <a:effectLst/>
                <a:uLnTx/>
                <a:uFillTx/>
                <a:ea typeface="+mn-ea"/>
                <a:cs typeface="+mn-cs"/>
              </a:rPr>
              <a:t> </a:t>
            </a:r>
            <a:r>
              <a:rPr kumimoji="0" lang="en-US" sz="1700" b="1" i="0" u="none" strike="noStrike" kern="1200" cap="none" spc="0" normalizeH="0" baseline="0" noProof="0" dirty="0" err="1">
                <a:ln>
                  <a:noFill/>
                </a:ln>
                <a:solidFill>
                  <a:schemeClr val="tx2"/>
                </a:solidFill>
                <a:effectLst/>
                <a:uLnTx/>
                <a:uFillTx/>
                <a:ea typeface="+mn-ea"/>
                <a:cs typeface="+mn-cs"/>
              </a:rPr>
              <a:t>Patojenlerinde</a:t>
            </a:r>
            <a:r>
              <a:rPr kumimoji="0" lang="en-US" sz="1700" b="1" i="0" u="none" strike="noStrike" kern="1200" cap="none" spc="0" normalizeH="0" baseline="0" noProof="0" dirty="0">
                <a:ln>
                  <a:noFill/>
                </a:ln>
                <a:solidFill>
                  <a:schemeClr val="tx2"/>
                </a:solidFill>
                <a:effectLst/>
                <a:uLnTx/>
                <a:uFillTx/>
                <a:ea typeface="+mn-ea"/>
                <a:cs typeface="+mn-cs"/>
              </a:rPr>
              <a:t> Yaygın Semptomlar</a:t>
            </a:r>
            <a:r>
              <a:rPr kumimoji="0" lang="en-US" sz="1700" b="1" i="0" u="none" strike="noStrike" kern="1200" cap="none" spc="0" normalizeH="0" baseline="30000" noProof="0" dirty="0">
                <a:ln>
                  <a:noFill/>
                </a:ln>
                <a:solidFill>
                  <a:schemeClr val="tx2"/>
                </a:solidFill>
                <a:effectLst/>
                <a:uLnTx/>
                <a:uFillTx/>
                <a:ea typeface="+mn-ea"/>
                <a:cs typeface="+mn-cs"/>
              </a:rPr>
              <a:t>4</a:t>
            </a:r>
          </a:p>
        </p:txBody>
      </p:sp>
      <p:pic>
        <p:nvPicPr>
          <p:cNvPr id="4" name="Object 3" hidden="1">
            <a:extLst>
              <a:ext uri="{FF2B5EF4-FFF2-40B4-BE49-F238E27FC236}">
                <a16:creationId xmlns:a16="http://schemas.microsoft.com/office/drawing/2014/main" id="{238F47E4-8EDB-4564-A438-8CE804D2CA4C}"/>
              </a:ext>
            </a:extLst>
          </p:cNvPr>
          <p:cNvPicPr/>
          <p:nvPr/>
        </p:nvPicPr>
        <p:blipFill>
          <a:blip r:embed="rId4"/>
          <a:stretch>
            <a:fillRect/>
          </a:stretch>
        </p:blipFill>
        <p:spPr>
          <a:xfrm>
            <a:off x="1525588" y="1588"/>
            <a:ext cx="1588" cy="1588"/>
          </a:xfrm>
          <a:prstGeom prst="rect">
            <a:avLst/>
          </a:prstGeom>
        </p:spPr>
      </p:pic>
      <p:sp>
        <p:nvSpPr>
          <p:cNvPr id="3" name="Rectangle 2" hidden="1">
            <a:extLst>
              <a:ext uri="{FF2B5EF4-FFF2-40B4-BE49-F238E27FC236}">
                <a16:creationId xmlns:a16="http://schemas.microsoft.com/office/drawing/2014/main" id="{98A541FA-7D5C-4639-8A08-4B95CFCCE1EA}"/>
              </a:ext>
            </a:extLst>
          </p:cNvPr>
          <p:cNvSpPr/>
          <p:nvPr>
            <p:custDataLst>
              <p:tags r:id="rId1"/>
            </p:custDataLst>
          </p:nvPr>
        </p:nvSpPr>
        <p:spPr>
          <a:xfrm>
            <a:off x="1524000" y="0"/>
            <a:ext cx="158750" cy="158750"/>
          </a:xfrm>
          <a:prstGeom prst="rect">
            <a:avLst/>
          </a:prstGeom>
          <a:solidFill>
            <a:srgbClr val="00134B"/>
          </a:solidFill>
          <a:ln w="28575" cap="flat" cmpd="sng" algn="ctr">
            <a:noFill/>
            <a:prstDash val="solid"/>
            <a:miter lim="800000"/>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408178" rtl="0" eaLnBrk="0" fontAlgn="auto" latinLnBrk="0" hangingPunct="0">
              <a:lnSpc>
                <a:spcPct val="90000"/>
              </a:lnSpc>
              <a:spcBef>
                <a:spcPts val="0"/>
              </a:spcBef>
              <a:spcAft>
                <a:spcPts val="0"/>
              </a:spcAft>
              <a:buClr>
                <a:srgbClr val="0095FF"/>
              </a:buClr>
              <a:buSzPct val="90000"/>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a:ea typeface="+mn-ea"/>
              <a:cs typeface="+mn-cs"/>
              <a:sym typeface="Arial" panose="020B0604020202020204" pitchFamily="34" charset="0"/>
            </a:endParaRPr>
          </a:p>
        </p:txBody>
      </p:sp>
      <p:sp>
        <p:nvSpPr>
          <p:cNvPr id="15" name="Title 14">
            <a:extLst>
              <a:ext uri="{FF2B5EF4-FFF2-40B4-BE49-F238E27FC236}">
                <a16:creationId xmlns:a16="http://schemas.microsoft.com/office/drawing/2014/main" id="{2EABF2CD-0B3D-DDBA-9166-250463BBF844}"/>
              </a:ext>
            </a:extLst>
          </p:cNvPr>
          <p:cNvSpPr>
            <a:spLocks noGrp="1"/>
          </p:cNvSpPr>
          <p:nvPr>
            <p:ph type="title"/>
          </p:nvPr>
        </p:nvSpPr>
        <p:spPr/>
        <p:txBody>
          <a:bodyPr>
            <a:normAutofit/>
          </a:bodyPr>
          <a:lstStyle/>
          <a:p>
            <a:r>
              <a:rPr lang="en-US" sz="2800" dirty="0" err="1"/>
              <a:t>İleri</a:t>
            </a:r>
            <a:r>
              <a:rPr lang="en-US" sz="2800" dirty="0"/>
              <a:t> </a:t>
            </a:r>
            <a:r>
              <a:rPr lang="en-US" sz="2800" dirty="0" err="1"/>
              <a:t>y</a:t>
            </a:r>
            <a:r>
              <a:rPr lang="en-US" sz="2800" spc="0" dirty="0" err="1"/>
              <a:t>aşlı</a:t>
            </a:r>
            <a:r>
              <a:rPr lang="en-US" sz="2800" spc="0" dirty="0"/>
              <a:t> </a:t>
            </a:r>
            <a:r>
              <a:rPr lang="en-US" sz="2800" spc="0" dirty="0" err="1"/>
              <a:t>yetişkinler</a:t>
            </a:r>
            <a:r>
              <a:rPr lang="en-US" sz="2800" spc="0" dirty="0"/>
              <a:t> </a:t>
            </a:r>
            <a:r>
              <a:rPr lang="en-US" sz="2800" spc="0" dirty="0" err="1"/>
              <a:t>arasında</a:t>
            </a:r>
            <a:r>
              <a:rPr lang="en-US" sz="2800" spc="0" dirty="0"/>
              <a:t> </a:t>
            </a:r>
            <a:r>
              <a:rPr lang="en-US" sz="2800" spc="0" dirty="0" err="1"/>
              <a:t>RSV'nin</a:t>
            </a:r>
            <a:r>
              <a:rPr lang="en-US" sz="2800" spc="0" dirty="0"/>
              <a:t> </a:t>
            </a:r>
            <a:r>
              <a:rPr lang="en-US" sz="2800" spc="0" dirty="0" err="1"/>
              <a:t>klinik</a:t>
            </a:r>
            <a:r>
              <a:rPr lang="en-US" sz="2800" spc="0" dirty="0"/>
              <a:t> </a:t>
            </a:r>
            <a:r>
              <a:rPr lang="en-US" sz="2800" spc="0" dirty="0" err="1"/>
              <a:t>belirtileri</a:t>
            </a:r>
            <a:r>
              <a:rPr lang="en-US" sz="2800" spc="0" dirty="0"/>
              <a:t> </a:t>
            </a:r>
            <a:r>
              <a:rPr lang="en-US" sz="2800" spc="0" dirty="0" err="1"/>
              <a:t>diğer</a:t>
            </a:r>
            <a:r>
              <a:rPr lang="en-US" sz="2800" spc="0" dirty="0"/>
              <a:t> </a:t>
            </a:r>
            <a:r>
              <a:rPr lang="en-US" sz="2800" spc="0" dirty="0" err="1"/>
              <a:t>solunum</a:t>
            </a:r>
            <a:r>
              <a:rPr lang="en-US" sz="2800" spc="0" dirty="0"/>
              <a:t> </a:t>
            </a:r>
            <a:r>
              <a:rPr lang="en-US" sz="2800" spc="0" dirty="0" err="1"/>
              <a:t>yolu</a:t>
            </a:r>
            <a:r>
              <a:rPr lang="en-US" sz="2800" spc="0" dirty="0"/>
              <a:t> </a:t>
            </a:r>
            <a:r>
              <a:rPr lang="en-US" sz="2800" spc="0" dirty="0" err="1"/>
              <a:t>virüsleriyle</a:t>
            </a:r>
            <a:r>
              <a:rPr lang="en-US" sz="2800" spc="0" dirty="0"/>
              <a:t> </a:t>
            </a:r>
            <a:r>
              <a:rPr lang="en-US" sz="2800" spc="0" dirty="0" err="1"/>
              <a:t>benzerdir</a:t>
            </a:r>
            <a:endParaRPr lang="tr-TR" dirty="0"/>
          </a:p>
        </p:txBody>
      </p:sp>
      <p:sp>
        <p:nvSpPr>
          <p:cNvPr id="5" name="Slide Number Placeholder 4">
            <a:extLst>
              <a:ext uri="{FF2B5EF4-FFF2-40B4-BE49-F238E27FC236}">
                <a16:creationId xmlns:a16="http://schemas.microsoft.com/office/drawing/2014/main" id="{E0C5A1CE-82AE-9E49-1892-7B85BA3A3066}"/>
              </a:ext>
            </a:extLst>
          </p:cNvPr>
          <p:cNvSpPr>
            <a:spLocks noGrp="1"/>
          </p:cNvSpPr>
          <p:nvPr>
            <p:ph type="sldNum" sz="quarter" idx="4"/>
          </p:nvPr>
        </p:nvSpPr>
        <p:spPr/>
        <p:txBody>
          <a:bodyPr/>
          <a:lstStyle/>
          <a:p>
            <a:pPr lvl="0"/>
            <a:r>
              <a:rPr lang="en-US" noProof="0"/>
              <a:t>  </a:t>
            </a:r>
          </a:p>
        </p:txBody>
      </p:sp>
      <p:graphicFrame>
        <p:nvGraphicFramePr>
          <p:cNvPr id="11" name="Table 5">
            <a:extLst>
              <a:ext uri="{FF2B5EF4-FFF2-40B4-BE49-F238E27FC236}">
                <a16:creationId xmlns:a16="http://schemas.microsoft.com/office/drawing/2014/main" id="{98D4CB60-F770-059C-F1C8-5E66A319A2FF}"/>
              </a:ext>
            </a:extLst>
          </p:cNvPr>
          <p:cNvGraphicFramePr>
            <a:graphicFrameLocks noGrp="1"/>
          </p:cNvGraphicFramePr>
          <p:nvPr>
            <p:extLst>
              <p:ext uri="{D42A27DB-BD31-4B8C-83A1-F6EECF244321}">
                <p14:modId xmlns:p14="http://schemas.microsoft.com/office/powerpoint/2010/main" val="2701652664"/>
              </p:ext>
            </p:extLst>
          </p:nvPr>
        </p:nvGraphicFramePr>
        <p:xfrm>
          <a:off x="458249" y="1807696"/>
          <a:ext cx="11295785" cy="3078480"/>
        </p:xfrm>
        <a:graphic>
          <a:graphicData uri="http://schemas.openxmlformats.org/drawingml/2006/table">
            <a:tbl>
              <a:tblPr firstRow="1" bandRow="1"/>
              <a:tblGrid>
                <a:gridCol w="2517535">
                  <a:extLst>
                    <a:ext uri="{9D8B030D-6E8A-4147-A177-3AD203B41FA5}">
                      <a16:colId xmlns:a16="http://schemas.microsoft.com/office/drawing/2014/main" val="3288539192"/>
                    </a:ext>
                  </a:extLst>
                </a:gridCol>
                <a:gridCol w="1722524">
                  <a:extLst>
                    <a:ext uri="{9D8B030D-6E8A-4147-A177-3AD203B41FA5}">
                      <a16:colId xmlns:a16="http://schemas.microsoft.com/office/drawing/2014/main" val="122259232"/>
                    </a:ext>
                  </a:extLst>
                </a:gridCol>
                <a:gridCol w="2131071">
                  <a:extLst>
                    <a:ext uri="{9D8B030D-6E8A-4147-A177-3AD203B41FA5}">
                      <a16:colId xmlns:a16="http://schemas.microsoft.com/office/drawing/2014/main" val="2840034752"/>
                    </a:ext>
                  </a:extLst>
                </a:gridCol>
                <a:gridCol w="2650037">
                  <a:extLst>
                    <a:ext uri="{9D8B030D-6E8A-4147-A177-3AD203B41FA5}">
                      <a16:colId xmlns:a16="http://schemas.microsoft.com/office/drawing/2014/main" val="1751433287"/>
                    </a:ext>
                  </a:extLst>
                </a:gridCol>
                <a:gridCol w="2274618">
                  <a:extLst>
                    <a:ext uri="{9D8B030D-6E8A-4147-A177-3AD203B41FA5}">
                      <a16:colId xmlns:a16="http://schemas.microsoft.com/office/drawing/2014/main" val="1994439789"/>
                    </a:ext>
                  </a:extLst>
                </a:gridCol>
              </a:tblGrid>
              <a:tr h="232208">
                <a:tc>
                  <a:txBody>
                    <a:bodyPr/>
                    <a:lstStyle>
                      <a:lvl1pPr marL="0" algn="l" defTabSz="914400" rtl="0" eaLnBrk="1" latinLnBrk="0" hangingPunct="1">
                        <a:defRPr sz="1800" b="1" kern="1200">
                          <a:solidFill>
                            <a:schemeClr val="lt1"/>
                          </a:solidFill>
                          <a:latin typeface="Pfizer Diatype Office"/>
                        </a:defRPr>
                      </a:lvl1pPr>
                      <a:lvl2pPr marL="457200" algn="l" defTabSz="914400" rtl="0" eaLnBrk="1" latinLnBrk="0" hangingPunct="1">
                        <a:defRPr sz="1800" b="1" kern="1200">
                          <a:solidFill>
                            <a:schemeClr val="lt1"/>
                          </a:solidFill>
                          <a:latin typeface="Pfizer Diatype Office"/>
                        </a:defRPr>
                      </a:lvl2pPr>
                      <a:lvl3pPr marL="914400" algn="l" defTabSz="914400" rtl="0" eaLnBrk="1" latinLnBrk="0" hangingPunct="1">
                        <a:defRPr sz="1800" b="1" kern="1200">
                          <a:solidFill>
                            <a:schemeClr val="lt1"/>
                          </a:solidFill>
                          <a:latin typeface="Pfizer Diatype Office"/>
                        </a:defRPr>
                      </a:lvl3pPr>
                      <a:lvl4pPr marL="1371600" algn="l" defTabSz="914400" rtl="0" eaLnBrk="1" latinLnBrk="0" hangingPunct="1">
                        <a:defRPr sz="1800" b="1" kern="1200">
                          <a:solidFill>
                            <a:schemeClr val="lt1"/>
                          </a:solidFill>
                          <a:latin typeface="Pfizer Diatype Office"/>
                        </a:defRPr>
                      </a:lvl4pPr>
                      <a:lvl5pPr marL="1828800" algn="l" defTabSz="914400" rtl="0" eaLnBrk="1" latinLnBrk="0" hangingPunct="1">
                        <a:defRPr sz="1800" b="1" kern="1200">
                          <a:solidFill>
                            <a:schemeClr val="lt1"/>
                          </a:solidFill>
                          <a:latin typeface="Pfizer Diatype Office"/>
                        </a:defRPr>
                      </a:lvl5pPr>
                      <a:lvl6pPr marL="2286000" algn="l" defTabSz="914400" rtl="0" eaLnBrk="1" latinLnBrk="0" hangingPunct="1">
                        <a:defRPr sz="1800" b="1" kern="1200">
                          <a:solidFill>
                            <a:schemeClr val="lt1"/>
                          </a:solidFill>
                          <a:latin typeface="Pfizer Diatype Office"/>
                        </a:defRPr>
                      </a:lvl6pPr>
                      <a:lvl7pPr marL="2743200" algn="l" defTabSz="914400" rtl="0" eaLnBrk="1" latinLnBrk="0" hangingPunct="1">
                        <a:defRPr sz="1800" b="1" kern="1200">
                          <a:solidFill>
                            <a:schemeClr val="lt1"/>
                          </a:solidFill>
                          <a:latin typeface="Pfizer Diatype Office"/>
                        </a:defRPr>
                      </a:lvl7pPr>
                      <a:lvl8pPr marL="3200400" algn="l" defTabSz="914400" rtl="0" eaLnBrk="1" latinLnBrk="0" hangingPunct="1">
                        <a:defRPr sz="1800" b="1" kern="1200">
                          <a:solidFill>
                            <a:schemeClr val="lt1"/>
                          </a:solidFill>
                          <a:latin typeface="Pfizer Diatype Office"/>
                        </a:defRPr>
                      </a:lvl8pPr>
                      <a:lvl9pPr marL="3657600" algn="l" defTabSz="914400" rtl="0" eaLnBrk="1" latinLnBrk="0" hangingPunct="1">
                        <a:defRPr sz="1800" b="1" kern="1200">
                          <a:solidFill>
                            <a:schemeClr val="lt1"/>
                          </a:solidFill>
                          <a:latin typeface="Pfizer Diatype Office"/>
                        </a:defRPr>
                      </a:lvl9pPr>
                    </a:lstStyle>
                    <a:p>
                      <a:pPr algn="l"/>
                      <a:r>
                        <a:rPr lang="en-US" sz="1400" b="1" err="1">
                          <a:solidFill>
                            <a:schemeClr val="tx1">
                              <a:lumMod val="95000"/>
                              <a:lumOff val="5000"/>
                            </a:schemeClr>
                          </a:solidFill>
                          <a:latin typeface="+mn-lt"/>
                        </a:rPr>
                        <a:t>Belirtiler</a:t>
                      </a:r>
                      <a:r>
                        <a:rPr lang="en-US" sz="1400" b="1" baseline="30000">
                          <a:solidFill>
                            <a:schemeClr val="tx1">
                              <a:lumMod val="95000"/>
                              <a:lumOff val="5000"/>
                            </a:schemeClr>
                          </a:solidFill>
                          <a:latin typeface="+mn-lt"/>
                        </a:rPr>
                        <a:t>*</a:t>
                      </a:r>
                    </a:p>
                  </a:txBody>
                  <a:tcPr marL="0" marR="67234" anchor="ctr">
                    <a:lnL w="19050" cap="flat" cmpd="sng" algn="ctr">
                      <a:no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Pfizer Diatype Office"/>
                        </a:defRPr>
                      </a:lvl1pPr>
                      <a:lvl2pPr marL="457200" algn="l" defTabSz="914400" rtl="0" eaLnBrk="1" latinLnBrk="0" hangingPunct="1">
                        <a:defRPr sz="1800" b="1" kern="1200">
                          <a:solidFill>
                            <a:schemeClr val="lt1"/>
                          </a:solidFill>
                          <a:latin typeface="Pfizer Diatype Office"/>
                        </a:defRPr>
                      </a:lvl2pPr>
                      <a:lvl3pPr marL="914400" algn="l" defTabSz="914400" rtl="0" eaLnBrk="1" latinLnBrk="0" hangingPunct="1">
                        <a:defRPr sz="1800" b="1" kern="1200">
                          <a:solidFill>
                            <a:schemeClr val="lt1"/>
                          </a:solidFill>
                          <a:latin typeface="Pfizer Diatype Office"/>
                        </a:defRPr>
                      </a:lvl3pPr>
                      <a:lvl4pPr marL="1371600" algn="l" defTabSz="914400" rtl="0" eaLnBrk="1" latinLnBrk="0" hangingPunct="1">
                        <a:defRPr sz="1800" b="1" kern="1200">
                          <a:solidFill>
                            <a:schemeClr val="lt1"/>
                          </a:solidFill>
                          <a:latin typeface="Pfizer Diatype Office"/>
                        </a:defRPr>
                      </a:lvl4pPr>
                      <a:lvl5pPr marL="1828800" algn="l" defTabSz="914400" rtl="0" eaLnBrk="1" latinLnBrk="0" hangingPunct="1">
                        <a:defRPr sz="1800" b="1" kern="1200">
                          <a:solidFill>
                            <a:schemeClr val="lt1"/>
                          </a:solidFill>
                          <a:latin typeface="Pfizer Diatype Office"/>
                        </a:defRPr>
                      </a:lvl5pPr>
                      <a:lvl6pPr marL="2286000" algn="l" defTabSz="914400" rtl="0" eaLnBrk="1" latinLnBrk="0" hangingPunct="1">
                        <a:defRPr sz="1800" b="1" kern="1200">
                          <a:solidFill>
                            <a:schemeClr val="lt1"/>
                          </a:solidFill>
                          <a:latin typeface="Pfizer Diatype Office"/>
                        </a:defRPr>
                      </a:lvl6pPr>
                      <a:lvl7pPr marL="2743200" algn="l" defTabSz="914400" rtl="0" eaLnBrk="1" latinLnBrk="0" hangingPunct="1">
                        <a:defRPr sz="1800" b="1" kern="1200">
                          <a:solidFill>
                            <a:schemeClr val="lt1"/>
                          </a:solidFill>
                          <a:latin typeface="Pfizer Diatype Office"/>
                        </a:defRPr>
                      </a:lvl7pPr>
                      <a:lvl8pPr marL="3200400" algn="l" defTabSz="914400" rtl="0" eaLnBrk="1" latinLnBrk="0" hangingPunct="1">
                        <a:defRPr sz="1800" b="1" kern="1200">
                          <a:solidFill>
                            <a:schemeClr val="lt1"/>
                          </a:solidFill>
                          <a:latin typeface="Pfizer Diatype Office"/>
                        </a:defRPr>
                      </a:lvl8pPr>
                      <a:lvl9pPr marL="3657600" algn="l" defTabSz="914400" rtl="0" eaLnBrk="1" latinLnBrk="0" hangingPunct="1">
                        <a:defRPr sz="1800" b="1" kern="1200">
                          <a:solidFill>
                            <a:schemeClr val="lt1"/>
                          </a:solidFill>
                          <a:latin typeface="Pfizer Diatype Office"/>
                        </a:defRPr>
                      </a:lvl9pPr>
                    </a:lstStyle>
                    <a:p>
                      <a:pPr algn="ctr"/>
                      <a:r>
                        <a:rPr lang="en-US" sz="1400">
                          <a:latin typeface="+mn-lt"/>
                        </a:rPr>
                        <a:t>RSV</a:t>
                      </a:r>
                      <a:r>
                        <a:rPr lang="en-US" sz="1400" baseline="30000">
                          <a:latin typeface="+mn-lt"/>
                        </a:rPr>
                        <a:t>3,5</a:t>
                      </a:r>
                    </a:p>
                  </a:txBody>
                  <a:tcPr marL="0" marR="0" anchor="ctr">
                    <a:lnL w="190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0067"/>
                    </a:solidFill>
                  </a:tcPr>
                </a:tc>
                <a:tc>
                  <a:txBody>
                    <a:bodyPr/>
                    <a:lstStyle>
                      <a:lvl1pPr marL="0" algn="l" defTabSz="914400" rtl="0" eaLnBrk="1" latinLnBrk="0" hangingPunct="1">
                        <a:defRPr sz="1800" b="1" kern="1200">
                          <a:solidFill>
                            <a:schemeClr val="lt1"/>
                          </a:solidFill>
                          <a:latin typeface="Pfizer Diatype Office"/>
                        </a:defRPr>
                      </a:lvl1pPr>
                      <a:lvl2pPr marL="457200" algn="l" defTabSz="914400" rtl="0" eaLnBrk="1" latinLnBrk="0" hangingPunct="1">
                        <a:defRPr sz="1800" b="1" kern="1200">
                          <a:solidFill>
                            <a:schemeClr val="lt1"/>
                          </a:solidFill>
                          <a:latin typeface="Pfizer Diatype Office"/>
                        </a:defRPr>
                      </a:lvl2pPr>
                      <a:lvl3pPr marL="914400" algn="l" defTabSz="914400" rtl="0" eaLnBrk="1" latinLnBrk="0" hangingPunct="1">
                        <a:defRPr sz="1800" b="1" kern="1200">
                          <a:solidFill>
                            <a:schemeClr val="lt1"/>
                          </a:solidFill>
                          <a:latin typeface="Pfizer Diatype Office"/>
                        </a:defRPr>
                      </a:lvl3pPr>
                      <a:lvl4pPr marL="1371600" algn="l" defTabSz="914400" rtl="0" eaLnBrk="1" latinLnBrk="0" hangingPunct="1">
                        <a:defRPr sz="1800" b="1" kern="1200">
                          <a:solidFill>
                            <a:schemeClr val="lt1"/>
                          </a:solidFill>
                          <a:latin typeface="Pfizer Diatype Office"/>
                        </a:defRPr>
                      </a:lvl4pPr>
                      <a:lvl5pPr marL="1828800" algn="l" defTabSz="914400" rtl="0" eaLnBrk="1" latinLnBrk="0" hangingPunct="1">
                        <a:defRPr sz="1800" b="1" kern="1200">
                          <a:solidFill>
                            <a:schemeClr val="lt1"/>
                          </a:solidFill>
                          <a:latin typeface="Pfizer Diatype Office"/>
                        </a:defRPr>
                      </a:lvl5pPr>
                      <a:lvl6pPr marL="2286000" algn="l" defTabSz="914400" rtl="0" eaLnBrk="1" latinLnBrk="0" hangingPunct="1">
                        <a:defRPr sz="1800" b="1" kern="1200">
                          <a:solidFill>
                            <a:schemeClr val="lt1"/>
                          </a:solidFill>
                          <a:latin typeface="Pfizer Diatype Office"/>
                        </a:defRPr>
                      </a:lvl6pPr>
                      <a:lvl7pPr marL="2743200" algn="l" defTabSz="914400" rtl="0" eaLnBrk="1" latinLnBrk="0" hangingPunct="1">
                        <a:defRPr sz="1800" b="1" kern="1200">
                          <a:solidFill>
                            <a:schemeClr val="lt1"/>
                          </a:solidFill>
                          <a:latin typeface="Pfizer Diatype Office"/>
                        </a:defRPr>
                      </a:lvl7pPr>
                      <a:lvl8pPr marL="3200400" algn="l" defTabSz="914400" rtl="0" eaLnBrk="1" latinLnBrk="0" hangingPunct="1">
                        <a:defRPr sz="1800" b="1" kern="1200">
                          <a:solidFill>
                            <a:schemeClr val="lt1"/>
                          </a:solidFill>
                          <a:latin typeface="Pfizer Diatype Office"/>
                        </a:defRPr>
                      </a:lvl8pPr>
                      <a:lvl9pPr marL="3657600" algn="l" defTabSz="914400" rtl="0" eaLnBrk="1" latinLnBrk="0" hangingPunct="1">
                        <a:defRPr sz="1800" b="1" kern="1200">
                          <a:solidFill>
                            <a:schemeClr val="lt1"/>
                          </a:solidFill>
                          <a:latin typeface="Pfizer Diatype Office"/>
                        </a:defRPr>
                      </a:lvl9pPr>
                    </a:lstStyle>
                    <a:p>
                      <a:pPr algn="ctr"/>
                      <a:r>
                        <a:rPr lang="en-US" sz="1400">
                          <a:latin typeface="+mn-lt"/>
                        </a:rPr>
                        <a:t>Influenza</a:t>
                      </a:r>
                      <a:r>
                        <a:rPr lang="en-US" sz="1400" baseline="30000">
                          <a:latin typeface="+mn-lt"/>
                        </a:rPr>
                        <a:t>6,7</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0067"/>
                    </a:solidFill>
                  </a:tcPr>
                </a:tc>
                <a:tc>
                  <a:txBody>
                    <a:bodyPr/>
                    <a:lstStyle>
                      <a:lvl1pPr marL="0" algn="l" defTabSz="914400" rtl="0" eaLnBrk="1" latinLnBrk="0" hangingPunct="1">
                        <a:defRPr sz="1800" b="1" kern="1200">
                          <a:solidFill>
                            <a:schemeClr val="lt1"/>
                          </a:solidFill>
                          <a:latin typeface="Pfizer Diatype Office"/>
                        </a:defRPr>
                      </a:lvl1pPr>
                      <a:lvl2pPr marL="457200" algn="l" defTabSz="914400" rtl="0" eaLnBrk="1" latinLnBrk="0" hangingPunct="1">
                        <a:defRPr sz="1800" b="1" kern="1200">
                          <a:solidFill>
                            <a:schemeClr val="lt1"/>
                          </a:solidFill>
                          <a:latin typeface="Pfizer Diatype Office"/>
                        </a:defRPr>
                      </a:lvl2pPr>
                      <a:lvl3pPr marL="914400" algn="l" defTabSz="914400" rtl="0" eaLnBrk="1" latinLnBrk="0" hangingPunct="1">
                        <a:defRPr sz="1800" b="1" kern="1200">
                          <a:solidFill>
                            <a:schemeClr val="lt1"/>
                          </a:solidFill>
                          <a:latin typeface="Pfizer Diatype Office"/>
                        </a:defRPr>
                      </a:lvl3pPr>
                      <a:lvl4pPr marL="1371600" algn="l" defTabSz="914400" rtl="0" eaLnBrk="1" latinLnBrk="0" hangingPunct="1">
                        <a:defRPr sz="1800" b="1" kern="1200">
                          <a:solidFill>
                            <a:schemeClr val="lt1"/>
                          </a:solidFill>
                          <a:latin typeface="Pfizer Diatype Office"/>
                        </a:defRPr>
                      </a:lvl4pPr>
                      <a:lvl5pPr marL="1828800" algn="l" defTabSz="914400" rtl="0" eaLnBrk="1" latinLnBrk="0" hangingPunct="1">
                        <a:defRPr sz="1800" b="1" kern="1200">
                          <a:solidFill>
                            <a:schemeClr val="lt1"/>
                          </a:solidFill>
                          <a:latin typeface="Pfizer Diatype Office"/>
                        </a:defRPr>
                      </a:lvl5pPr>
                      <a:lvl6pPr marL="2286000" algn="l" defTabSz="914400" rtl="0" eaLnBrk="1" latinLnBrk="0" hangingPunct="1">
                        <a:defRPr sz="1800" b="1" kern="1200">
                          <a:solidFill>
                            <a:schemeClr val="lt1"/>
                          </a:solidFill>
                          <a:latin typeface="Pfizer Diatype Office"/>
                        </a:defRPr>
                      </a:lvl6pPr>
                      <a:lvl7pPr marL="2743200" algn="l" defTabSz="914400" rtl="0" eaLnBrk="1" latinLnBrk="0" hangingPunct="1">
                        <a:defRPr sz="1800" b="1" kern="1200">
                          <a:solidFill>
                            <a:schemeClr val="lt1"/>
                          </a:solidFill>
                          <a:latin typeface="Pfizer Diatype Office"/>
                        </a:defRPr>
                      </a:lvl7pPr>
                      <a:lvl8pPr marL="3200400" algn="l" defTabSz="914400" rtl="0" eaLnBrk="1" latinLnBrk="0" hangingPunct="1">
                        <a:defRPr sz="1800" b="1" kern="1200">
                          <a:solidFill>
                            <a:schemeClr val="lt1"/>
                          </a:solidFill>
                          <a:latin typeface="Pfizer Diatype Office"/>
                        </a:defRPr>
                      </a:lvl8pPr>
                      <a:lvl9pPr marL="3657600" algn="l" defTabSz="914400" rtl="0" eaLnBrk="1" latinLnBrk="0" hangingPunct="1">
                        <a:defRPr sz="1800" b="1" kern="1200">
                          <a:solidFill>
                            <a:schemeClr val="lt1"/>
                          </a:solidFill>
                          <a:latin typeface="Pfizer Diatype Office"/>
                        </a:defRPr>
                      </a:lvl9pPr>
                    </a:lstStyle>
                    <a:p>
                      <a:pPr algn="ctr"/>
                      <a:r>
                        <a:rPr lang="en-US" sz="1400">
                          <a:latin typeface="+mn-lt"/>
                        </a:rPr>
                        <a:t>SARS-CoV-2</a:t>
                      </a:r>
                      <a:r>
                        <a:rPr lang="en-US" sz="1400" baseline="30000">
                          <a:latin typeface="+mn-lt"/>
                        </a:rPr>
                        <a:t>7,8</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0067"/>
                    </a:solidFill>
                  </a:tcPr>
                </a:tc>
                <a:tc>
                  <a:txBody>
                    <a:bodyPr/>
                    <a:lstStyle>
                      <a:lvl1pPr marL="0" algn="l" defTabSz="914400" rtl="0" eaLnBrk="1" latinLnBrk="0" hangingPunct="1">
                        <a:defRPr sz="1800" b="1" kern="1200">
                          <a:solidFill>
                            <a:schemeClr val="lt1"/>
                          </a:solidFill>
                          <a:latin typeface="Pfizer Diatype Office"/>
                        </a:defRPr>
                      </a:lvl1pPr>
                      <a:lvl2pPr marL="457200" algn="l" defTabSz="914400" rtl="0" eaLnBrk="1" latinLnBrk="0" hangingPunct="1">
                        <a:defRPr sz="1800" b="1" kern="1200">
                          <a:solidFill>
                            <a:schemeClr val="lt1"/>
                          </a:solidFill>
                          <a:latin typeface="Pfizer Diatype Office"/>
                        </a:defRPr>
                      </a:lvl2pPr>
                      <a:lvl3pPr marL="914400" algn="l" defTabSz="914400" rtl="0" eaLnBrk="1" latinLnBrk="0" hangingPunct="1">
                        <a:defRPr sz="1800" b="1" kern="1200">
                          <a:solidFill>
                            <a:schemeClr val="lt1"/>
                          </a:solidFill>
                          <a:latin typeface="Pfizer Diatype Office"/>
                        </a:defRPr>
                      </a:lvl3pPr>
                      <a:lvl4pPr marL="1371600" algn="l" defTabSz="914400" rtl="0" eaLnBrk="1" latinLnBrk="0" hangingPunct="1">
                        <a:defRPr sz="1800" b="1" kern="1200">
                          <a:solidFill>
                            <a:schemeClr val="lt1"/>
                          </a:solidFill>
                          <a:latin typeface="Pfizer Diatype Office"/>
                        </a:defRPr>
                      </a:lvl4pPr>
                      <a:lvl5pPr marL="1828800" algn="l" defTabSz="914400" rtl="0" eaLnBrk="1" latinLnBrk="0" hangingPunct="1">
                        <a:defRPr sz="1800" b="1" kern="1200">
                          <a:solidFill>
                            <a:schemeClr val="lt1"/>
                          </a:solidFill>
                          <a:latin typeface="Pfizer Diatype Office"/>
                        </a:defRPr>
                      </a:lvl5pPr>
                      <a:lvl6pPr marL="2286000" algn="l" defTabSz="914400" rtl="0" eaLnBrk="1" latinLnBrk="0" hangingPunct="1">
                        <a:defRPr sz="1800" b="1" kern="1200">
                          <a:solidFill>
                            <a:schemeClr val="lt1"/>
                          </a:solidFill>
                          <a:latin typeface="Pfizer Diatype Office"/>
                        </a:defRPr>
                      </a:lvl6pPr>
                      <a:lvl7pPr marL="2743200" algn="l" defTabSz="914400" rtl="0" eaLnBrk="1" latinLnBrk="0" hangingPunct="1">
                        <a:defRPr sz="1800" b="1" kern="1200">
                          <a:solidFill>
                            <a:schemeClr val="lt1"/>
                          </a:solidFill>
                          <a:latin typeface="Pfizer Diatype Office"/>
                        </a:defRPr>
                      </a:lvl7pPr>
                      <a:lvl8pPr marL="3200400" algn="l" defTabSz="914400" rtl="0" eaLnBrk="1" latinLnBrk="0" hangingPunct="1">
                        <a:defRPr sz="1800" b="1" kern="1200">
                          <a:solidFill>
                            <a:schemeClr val="lt1"/>
                          </a:solidFill>
                          <a:latin typeface="Pfizer Diatype Office"/>
                        </a:defRPr>
                      </a:lvl8pPr>
                      <a:lvl9pPr marL="3657600" algn="l" defTabSz="914400" rtl="0" eaLnBrk="1" latinLnBrk="0" hangingPunct="1">
                        <a:defRPr sz="1800" b="1" kern="1200">
                          <a:solidFill>
                            <a:schemeClr val="lt1"/>
                          </a:solidFill>
                          <a:latin typeface="Pfizer Diatype Office"/>
                        </a:defRPr>
                      </a:lvl9pPr>
                    </a:lstStyle>
                    <a:p>
                      <a:pPr algn="ctr"/>
                      <a:r>
                        <a:rPr lang="en-US" sz="1400">
                          <a:latin typeface="+mn-lt"/>
                        </a:rPr>
                        <a:t>Rhinovirus</a:t>
                      </a:r>
                      <a:r>
                        <a:rPr lang="en-US" sz="1400" baseline="30000">
                          <a:latin typeface="+mn-lt"/>
                        </a:rPr>
                        <a:t>7</a:t>
                      </a:r>
                    </a:p>
                  </a:txBody>
                  <a:tcPr marL="0" marR="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0067"/>
                    </a:solidFill>
                  </a:tcPr>
                </a:tc>
                <a:extLst>
                  <a:ext uri="{0D108BD9-81ED-4DB2-BD59-A6C34878D82A}">
                    <a16:rowId xmlns:a16="http://schemas.microsoft.com/office/drawing/2014/main" val="4103416504"/>
                  </a:ext>
                </a:extLst>
              </a:tr>
              <a:tr h="348313">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l">
                        <a:lnSpc>
                          <a:spcPct val="100000"/>
                        </a:lnSpc>
                      </a:pPr>
                      <a:r>
                        <a:rPr lang="en-US" sz="1400" b="0" baseline="0" err="1">
                          <a:solidFill>
                            <a:schemeClr val="tx1"/>
                          </a:solidFill>
                          <a:latin typeface="+mn-lt"/>
                        </a:rPr>
                        <a:t>Ateş</a:t>
                      </a:r>
                      <a:endParaRPr lang="en-US" sz="1400" b="0" baseline="0">
                        <a:solidFill>
                          <a:schemeClr val="tx1"/>
                        </a:solidFill>
                        <a:latin typeface="+mn-lt"/>
                      </a:endParaRPr>
                    </a:p>
                  </a:txBody>
                  <a:tcPr marL="0" marR="6723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ctr">
                        <a:lnSpc>
                          <a:spcPct val="100000"/>
                        </a:lnSpc>
                      </a:pPr>
                      <a:r>
                        <a:rPr lang="en-US" sz="2000" b="1" baseline="0">
                          <a:solidFill>
                            <a:schemeClr val="accent5"/>
                          </a:solidFill>
                          <a:latin typeface="+mn-lt"/>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3"/>
                          </a:solidFill>
                          <a:effectLst/>
                          <a:uLnTx/>
                          <a:uFillTx/>
                          <a:latin typeface="+mn-lt"/>
                          <a:ea typeface="+mn-ea"/>
                          <a:cs typeface="+mn-cs"/>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3"/>
                          </a:solidFill>
                          <a:effectLst/>
                          <a:uLnTx/>
                          <a:uFillTx/>
                          <a:latin typeface="+mn-lt"/>
                          <a:ea typeface="+mn-ea"/>
                          <a:cs typeface="+mn-cs"/>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ctr">
                        <a:lnSpc>
                          <a:spcPct val="100000"/>
                        </a:lnSpc>
                      </a:pPr>
                      <a:r>
                        <a:rPr lang="en-US" sz="2000" b="1" baseline="0">
                          <a:solidFill>
                            <a:schemeClr val="accent5"/>
                          </a:solidFill>
                          <a:latin typeface="+mn-lt"/>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03957210"/>
                  </a:ext>
                </a:extLst>
              </a:tr>
              <a:tr h="348313">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l">
                        <a:lnSpc>
                          <a:spcPct val="100000"/>
                        </a:lnSpc>
                      </a:pPr>
                      <a:r>
                        <a:rPr lang="en-US" sz="1400" b="0" baseline="0" err="1">
                          <a:solidFill>
                            <a:schemeClr val="tx1"/>
                          </a:solidFill>
                          <a:latin typeface="+mn-lt"/>
                        </a:rPr>
                        <a:t>Burun</a:t>
                      </a:r>
                      <a:r>
                        <a:rPr lang="en-US" sz="1400" b="0" baseline="0">
                          <a:solidFill>
                            <a:schemeClr val="tx1"/>
                          </a:solidFill>
                          <a:latin typeface="+mn-lt"/>
                        </a:rPr>
                        <a:t> </a:t>
                      </a:r>
                      <a:r>
                        <a:rPr lang="en-US" sz="1400" b="0" baseline="0" err="1">
                          <a:solidFill>
                            <a:schemeClr val="tx1"/>
                          </a:solidFill>
                          <a:latin typeface="+mn-lt"/>
                        </a:rPr>
                        <a:t>akıntısı</a:t>
                      </a:r>
                      <a:endParaRPr lang="en-US" sz="1400" b="0" baseline="0">
                        <a:solidFill>
                          <a:schemeClr val="tx1"/>
                        </a:solidFill>
                        <a:latin typeface="+mn-lt"/>
                      </a:endParaRPr>
                    </a:p>
                  </a:txBody>
                  <a:tcPr marL="0" marR="6723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ctr">
                        <a:lnSpc>
                          <a:spcPct val="100000"/>
                        </a:lnSpc>
                      </a:pPr>
                      <a:r>
                        <a:rPr lang="en-US" sz="2000" b="1" i="0" kern="1200" baseline="0">
                          <a:solidFill>
                            <a:schemeClr val="accent3"/>
                          </a:solidFill>
                          <a:effectLst/>
                          <a:latin typeface="+mn-lt"/>
                          <a:ea typeface="+mn-ea"/>
                          <a:cs typeface="+mn-cs"/>
                        </a:rPr>
                        <a:t>✓</a:t>
                      </a:r>
                      <a:endParaRPr lang="en-US" sz="2000" b="1" baseline="0">
                        <a:solidFill>
                          <a:schemeClr val="accent3"/>
                        </a:solidFill>
                        <a:latin typeface="+mn-lt"/>
                      </a:endParaRP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3"/>
                          </a:solidFill>
                          <a:effectLst/>
                          <a:uLnTx/>
                          <a:uFillTx/>
                          <a:latin typeface="+mn-lt"/>
                          <a:ea typeface="+mn-ea"/>
                          <a:cs typeface="+mn-cs"/>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3"/>
                          </a:solidFill>
                          <a:effectLst/>
                          <a:uLnTx/>
                          <a:uFillTx/>
                          <a:latin typeface="+mn-lt"/>
                          <a:ea typeface="+mn-ea"/>
                          <a:cs typeface="+mn-cs"/>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3"/>
                          </a:solidFill>
                          <a:effectLst/>
                          <a:uLnTx/>
                          <a:uFillTx/>
                          <a:latin typeface="+mn-lt"/>
                          <a:ea typeface="+mn-ea"/>
                          <a:cs typeface="+mn-cs"/>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67002601"/>
                  </a:ext>
                </a:extLst>
              </a:tr>
              <a:tr h="348313">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l">
                        <a:lnSpc>
                          <a:spcPct val="100000"/>
                        </a:lnSpc>
                      </a:pPr>
                      <a:r>
                        <a:rPr lang="en-US" sz="1400" b="0" baseline="0" err="1">
                          <a:solidFill>
                            <a:schemeClr val="tx1"/>
                          </a:solidFill>
                          <a:latin typeface="+mn-lt"/>
                        </a:rPr>
                        <a:t>Burun</a:t>
                      </a:r>
                      <a:r>
                        <a:rPr lang="en-US" sz="1400" b="0" baseline="0">
                          <a:solidFill>
                            <a:schemeClr val="tx1"/>
                          </a:solidFill>
                          <a:latin typeface="+mn-lt"/>
                        </a:rPr>
                        <a:t> </a:t>
                      </a:r>
                      <a:r>
                        <a:rPr lang="en-US" sz="1400" b="0" baseline="0" err="1">
                          <a:solidFill>
                            <a:schemeClr val="tx1"/>
                          </a:solidFill>
                          <a:latin typeface="+mn-lt"/>
                        </a:rPr>
                        <a:t>tıkanıklığı</a:t>
                      </a:r>
                      <a:endParaRPr lang="en-US" sz="1400" b="0" baseline="0">
                        <a:solidFill>
                          <a:schemeClr val="tx1"/>
                        </a:solidFill>
                        <a:latin typeface="+mn-lt"/>
                      </a:endParaRPr>
                    </a:p>
                  </a:txBody>
                  <a:tcPr marL="0" marR="6723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ctr">
                        <a:lnSpc>
                          <a:spcPct val="100000"/>
                        </a:lnSpc>
                      </a:pPr>
                      <a:r>
                        <a:rPr lang="en-US" sz="2000" b="1" i="0" kern="1200" baseline="0">
                          <a:solidFill>
                            <a:schemeClr val="accent3"/>
                          </a:solidFill>
                          <a:effectLst/>
                          <a:latin typeface="+mn-lt"/>
                          <a:ea typeface="+mn-ea"/>
                          <a:cs typeface="+mn-cs"/>
                        </a:rPr>
                        <a:t>✓</a:t>
                      </a:r>
                      <a:endParaRPr lang="en-US" sz="2000" b="1" baseline="0">
                        <a:solidFill>
                          <a:schemeClr val="accent3"/>
                        </a:solidFill>
                        <a:latin typeface="+mn-lt"/>
                      </a:endParaRP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3"/>
                          </a:solidFill>
                          <a:effectLst/>
                          <a:uLnTx/>
                          <a:uFillTx/>
                          <a:latin typeface="+mn-lt"/>
                          <a:ea typeface="+mn-ea"/>
                          <a:cs typeface="+mn-cs"/>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3"/>
                          </a:solidFill>
                          <a:effectLst/>
                          <a:uLnTx/>
                          <a:uFillTx/>
                          <a:latin typeface="+mn-lt"/>
                          <a:ea typeface="+mn-ea"/>
                          <a:cs typeface="+mn-cs"/>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3"/>
                          </a:solidFill>
                          <a:effectLst/>
                          <a:uLnTx/>
                          <a:uFillTx/>
                          <a:latin typeface="+mn-lt"/>
                          <a:ea typeface="+mn-ea"/>
                          <a:cs typeface="+mn-cs"/>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6681256"/>
                  </a:ext>
                </a:extLst>
              </a:tr>
              <a:tr h="348313">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l">
                        <a:lnSpc>
                          <a:spcPct val="100000"/>
                        </a:lnSpc>
                      </a:pPr>
                      <a:r>
                        <a:rPr lang="en-US" sz="1400" b="0" baseline="0" err="1">
                          <a:solidFill>
                            <a:schemeClr val="tx1"/>
                          </a:solidFill>
                          <a:latin typeface="+mn-lt"/>
                        </a:rPr>
                        <a:t>Boğaz</a:t>
                      </a:r>
                      <a:r>
                        <a:rPr lang="en-US" sz="1400" b="0" baseline="0">
                          <a:solidFill>
                            <a:schemeClr val="tx1"/>
                          </a:solidFill>
                          <a:latin typeface="+mn-lt"/>
                        </a:rPr>
                        <a:t> </a:t>
                      </a:r>
                      <a:r>
                        <a:rPr lang="en-US" sz="1400" b="0" baseline="0" err="1">
                          <a:solidFill>
                            <a:schemeClr val="tx1"/>
                          </a:solidFill>
                          <a:latin typeface="+mn-lt"/>
                        </a:rPr>
                        <a:t>ağrısı</a:t>
                      </a:r>
                      <a:endParaRPr lang="en-US" sz="1400" b="0" baseline="0">
                        <a:solidFill>
                          <a:schemeClr val="tx1"/>
                        </a:solidFill>
                        <a:latin typeface="+mn-lt"/>
                      </a:endParaRPr>
                    </a:p>
                  </a:txBody>
                  <a:tcPr marL="0" marR="6723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3"/>
                          </a:solidFill>
                          <a:effectLst/>
                          <a:uLnTx/>
                          <a:uFillTx/>
                          <a:latin typeface="+mn-lt"/>
                          <a:ea typeface="+mn-ea"/>
                          <a:cs typeface="+mn-cs"/>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3"/>
                          </a:solidFill>
                          <a:effectLst/>
                          <a:uLnTx/>
                          <a:uFillTx/>
                          <a:latin typeface="+mn-lt"/>
                          <a:ea typeface="+mn-ea"/>
                          <a:cs typeface="+mn-cs"/>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3"/>
                          </a:solidFill>
                          <a:effectLst/>
                          <a:uLnTx/>
                          <a:uFillTx/>
                          <a:latin typeface="+mn-lt"/>
                          <a:ea typeface="+mn-ea"/>
                          <a:cs typeface="+mn-cs"/>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3"/>
                          </a:solidFill>
                          <a:effectLst/>
                          <a:uLnTx/>
                          <a:uFillTx/>
                          <a:latin typeface="+mn-lt"/>
                          <a:ea typeface="+mn-ea"/>
                          <a:cs typeface="+mn-cs"/>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91152938"/>
                  </a:ext>
                </a:extLst>
              </a:tr>
              <a:tr h="348313">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l">
                        <a:lnSpc>
                          <a:spcPct val="100000"/>
                        </a:lnSpc>
                      </a:pPr>
                      <a:r>
                        <a:rPr lang="en-US" sz="1400" b="0" baseline="0" err="1">
                          <a:solidFill>
                            <a:schemeClr val="tx1"/>
                          </a:solidFill>
                          <a:latin typeface="+mn-lt"/>
                        </a:rPr>
                        <a:t>Öksürük</a:t>
                      </a:r>
                      <a:endParaRPr lang="en-US" sz="1400" b="0" baseline="0">
                        <a:solidFill>
                          <a:schemeClr val="tx1"/>
                        </a:solidFill>
                        <a:latin typeface="+mn-lt"/>
                      </a:endParaRPr>
                    </a:p>
                  </a:txBody>
                  <a:tcPr marL="0" marR="6723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ctr">
                        <a:lnSpc>
                          <a:spcPct val="100000"/>
                        </a:lnSpc>
                      </a:pPr>
                      <a:r>
                        <a:rPr lang="en-US" sz="2000" b="1" i="0" kern="1200" baseline="0">
                          <a:solidFill>
                            <a:schemeClr val="accent3"/>
                          </a:solidFill>
                          <a:effectLst/>
                          <a:latin typeface="+mn-lt"/>
                          <a:ea typeface="+mn-ea"/>
                          <a:cs typeface="+mn-cs"/>
                        </a:rPr>
                        <a:t>✓</a:t>
                      </a:r>
                      <a:endParaRPr lang="en-US" sz="2000" b="1" baseline="0">
                        <a:solidFill>
                          <a:schemeClr val="accent3"/>
                        </a:solidFill>
                        <a:latin typeface="+mn-lt"/>
                      </a:endParaRP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3"/>
                          </a:solidFill>
                          <a:effectLst/>
                          <a:uLnTx/>
                          <a:uFillTx/>
                          <a:latin typeface="+mn-lt"/>
                          <a:ea typeface="+mn-ea"/>
                          <a:cs typeface="+mn-cs"/>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3"/>
                          </a:solidFill>
                          <a:effectLst/>
                          <a:uLnTx/>
                          <a:uFillTx/>
                          <a:latin typeface="+mn-lt"/>
                          <a:ea typeface="+mn-ea"/>
                          <a:cs typeface="+mn-cs"/>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3"/>
                          </a:solidFill>
                          <a:effectLst/>
                          <a:uLnTx/>
                          <a:uFillTx/>
                          <a:latin typeface="+mn-lt"/>
                          <a:ea typeface="+mn-ea"/>
                          <a:cs typeface="+mn-cs"/>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38473862"/>
                  </a:ext>
                </a:extLst>
              </a:tr>
              <a:tr h="348313">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l">
                        <a:lnSpc>
                          <a:spcPct val="100000"/>
                        </a:lnSpc>
                      </a:pPr>
                      <a:r>
                        <a:rPr lang="en-US" sz="1400" b="0" baseline="0">
                          <a:solidFill>
                            <a:schemeClr val="tx1"/>
                          </a:solidFill>
                          <a:latin typeface="+mn-lt"/>
                        </a:rPr>
                        <a:t>Nefes </a:t>
                      </a:r>
                      <a:r>
                        <a:rPr lang="en-US" sz="1400" b="0" baseline="0" err="1">
                          <a:solidFill>
                            <a:schemeClr val="tx1"/>
                          </a:solidFill>
                          <a:latin typeface="+mn-lt"/>
                        </a:rPr>
                        <a:t>darlığı</a:t>
                      </a:r>
                      <a:endParaRPr lang="en-US" sz="1400" b="0" baseline="0">
                        <a:solidFill>
                          <a:schemeClr val="tx1"/>
                        </a:solidFill>
                        <a:latin typeface="+mn-lt"/>
                      </a:endParaRPr>
                    </a:p>
                  </a:txBody>
                  <a:tcPr marL="0" marR="6723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ctr">
                        <a:lnSpc>
                          <a:spcPct val="100000"/>
                        </a:lnSpc>
                      </a:pPr>
                      <a:r>
                        <a:rPr lang="en-US" sz="2000" b="1" i="0" kern="1200" baseline="0">
                          <a:solidFill>
                            <a:schemeClr val="accent3"/>
                          </a:solidFill>
                          <a:effectLst/>
                          <a:latin typeface="+mn-lt"/>
                          <a:ea typeface="+mn-ea"/>
                          <a:cs typeface="+mn-cs"/>
                        </a:rPr>
                        <a:t>✓</a:t>
                      </a:r>
                      <a:endParaRPr lang="en-US" sz="2000" b="1" baseline="0">
                        <a:solidFill>
                          <a:schemeClr val="accent3"/>
                        </a:solidFill>
                        <a:latin typeface="+mn-lt"/>
                      </a:endParaRP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ctr">
                        <a:lnSpc>
                          <a:spcPct val="100000"/>
                        </a:lnSpc>
                      </a:pPr>
                      <a:r>
                        <a:rPr lang="en-US" sz="2000" b="1" baseline="0">
                          <a:solidFill>
                            <a:schemeClr val="accent5"/>
                          </a:solidFill>
                          <a:latin typeface="+mn-lt"/>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3"/>
                          </a:solidFill>
                          <a:effectLst/>
                          <a:uLnTx/>
                          <a:uFillTx/>
                          <a:latin typeface="+mn-lt"/>
                          <a:ea typeface="+mn-ea"/>
                          <a:cs typeface="+mn-cs"/>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ctr">
                        <a:lnSpc>
                          <a:spcPct val="100000"/>
                        </a:lnSpc>
                      </a:pPr>
                      <a:r>
                        <a:rPr lang="en-US" sz="2000" b="1" baseline="0">
                          <a:solidFill>
                            <a:schemeClr val="accent5"/>
                          </a:solidFill>
                          <a:latin typeface="+mn-lt"/>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E0E0E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24155142"/>
                  </a:ext>
                </a:extLst>
              </a:tr>
              <a:tr h="348313">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l">
                        <a:lnSpc>
                          <a:spcPct val="100000"/>
                        </a:lnSpc>
                      </a:pPr>
                      <a:r>
                        <a:rPr lang="en-US" sz="1400" b="0" baseline="0" err="1">
                          <a:solidFill>
                            <a:schemeClr val="tx1"/>
                          </a:solidFill>
                          <a:latin typeface="+mn-lt"/>
                        </a:rPr>
                        <a:t>Hırıltı</a:t>
                      </a:r>
                      <a:endParaRPr lang="en-US" sz="1400" b="0" baseline="0">
                        <a:solidFill>
                          <a:schemeClr val="tx1"/>
                        </a:solidFill>
                        <a:latin typeface="+mn-lt"/>
                      </a:endParaRPr>
                    </a:p>
                  </a:txBody>
                  <a:tcPr marL="0" marR="6723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ctr">
                        <a:lnSpc>
                          <a:spcPct val="100000"/>
                        </a:lnSpc>
                      </a:pPr>
                      <a:r>
                        <a:rPr lang="en-US" sz="2000" b="1" i="0" kern="1200" baseline="0">
                          <a:solidFill>
                            <a:schemeClr val="accent3"/>
                          </a:solidFill>
                          <a:effectLst/>
                          <a:latin typeface="+mn-lt"/>
                          <a:ea typeface="+mn-ea"/>
                          <a:cs typeface="+mn-cs"/>
                        </a:rPr>
                        <a:t>✓</a:t>
                      </a:r>
                      <a:endParaRPr lang="en-US" sz="2000" b="1" baseline="0">
                        <a:solidFill>
                          <a:schemeClr val="accent3"/>
                        </a:solidFill>
                        <a:latin typeface="+mn-lt"/>
                      </a:endParaRP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ctr">
                        <a:lnSpc>
                          <a:spcPct val="100000"/>
                        </a:lnSpc>
                      </a:pPr>
                      <a:r>
                        <a:rPr lang="en-US" sz="2000" b="1" baseline="0">
                          <a:solidFill>
                            <a:schemeClr val="accent5"/>
                          </a:solidFill>
                          <a:latin typeface="+mn-lt"/>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ctr">
                        <a:lnSpc>
                          <a:spcPct val="100000"/>
                        </a:lnSpc>
                      </a:pPr>
                      <a:r>
                        <a:rPr lang="en-US" sz="2000" b="1" baseline="0">
                          <a:solidFill>
                            <a:schemeClr val="accent5"/>
                          </a:solidFill>
                          <a:latin typeface="+mn-lt"/>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Pfizer Diatype Office"/>
                        </a:defRPr>
                      </a:lvl1pPr>
                      <a:lvl2pPr marL="457200" algn="l" defTabSz="914400" rtl="0" eaLnBrk="1" latinLnBrk="0" hangingPunct="1">
                        <a:defRPr sz="1800" kern="1200">
                          <a:solidFill>
                            <a:schemeClr val="dk1"/>
                          </a:solidFill>
                          <a:latin typeface="Pfizer Diatype Office"/>
                        </a:defRPr>
                      </a:lvl2pPr>
                      <a:lvl3pPr marL="914400" algn="l" defTabSz="914400" rtl="0" eaLnBrk="1" latinLnBrk="0" hangingPunct="1">
                        <a:defRPr sz="1800" kern="1200">
                          <a:solidFill>
                            <a:schemeClr val="dk1"/>
                          </a:solidFill>
                          <a:latin typeface="Pfizer Diatype Office"/>
                        </a:defRPr>
                      </a:lvl3pPr>
                      <a:lvl4pPr marL="1371600" algn="l" defTabSz="914400" rtl="0" eaLnBrk="1" latinLnBrk="0" hangingPunct="1">
                        <a:defRPr sz="1800" kern="1200">
                          <a:solidFill>
                            <a:schemeClr val="dk1"/>
                          </a:solidFill>
                          <a:latin typeface="Pfizer Diatype Office"/>
                        </a:defRPr>
                      </a:lvl4pPr>
                      <a:lvl5pPr marL="1828800" algn="l" defTabSz="914400" rtl="0" eaLnBrk="1" latinLnBrk="0" hangingPunct="1">
                        <a:defRPr sz="1800" kern="1200">
                          <a:solidFill>
                            <a:schemeClr val="dk1"/>
                          </a:solidFill>
                          <a:latin typeface="Pfizer Diatype Office"/>
                        </a:defRPr>
                      </a:lvl5pPr>
                      <a:lvl6pPr marL="2286000" algn="l" defTabSz="914400" rtl="0" eaLnBrk="1" latinLnBrk="0" hangingPunct="1">
                        <a:defRPr sz="1800" kern="1200">
                          <a:solidFill>
                            <a:schemeClr val="dk1"/>
                          </a:solidFill>
                          <a:latin typeface="Pfizer Diatype Office"/>
                        </a:defRPr>
                      </a:lvl6pPr>
                      <a:lvl7pPr marL="2743200" algn="l" defTabSz="914400" rtl="0" eaLnBrk="1" latinLnBrk="0" hangingPunct="1">
                        <a:defRPr sz="1800" kern="1200">
                          <a:solidFill>
                            <a:schemeClr val="dk1"/>
                          </a:solidFill>
                          <a:latin typeface="Pfizer Diatype Office"/>
                        </a:defRPr>
                      </a:lvl7pPr>
                      <a:lvl8pPr marL="3200400" algn="l" defTabSz="914400" rtl="0" eaLnBrk="1" latinLnBrk="0" hangingPunct="1">
                        <a:defRPr sz="1800" kern="1200">
                          <a:solidFill>
                            <a:schemeClr val="dk1"/>
                          </a:solidFill>
                          <a:latin typeface="Pfizer Diatype Office"/>
                        </a:defRPr>
                      </a:lvl8pPr>
                      <a:lvl9pPr marL="3657600" algn="l" defTabSz="914400" rtl="0" eaLnBrk="1" latinLnBrk="0" hangingPunct="1">
                        <a:defRPr sz="1800" kern="1200">
                          <a:solidFill>
                            <a:schemeClr val="dk1"/>
                          </a:solidFill>
                          <a:latin typeface="Pfizer Diatype Office"/>
                        </a:defRPr>
                      </a:lvl9pPr>
                    </a:lstStyle>
                    <a:p>
                      <a:pPr algn="ctr">
                        <a:lnSpc>
                          <a:spcPct val="100000"/>
                        </a:lnSpc>
                      </a:pPr>
                      <a:r>
                        <a:rPr lang="en-US" sz="2000" b="1" baseline="0">
                          <a:solidFill>
                            <a:schemeClr val="accent5"/>
                          </a:solidFill>
                          <a:latin typeface="+mn-lt"/>
                        </a:rPr>
                        <a:t>~</a:t>
                      </a:r>
                    </a:p>
                  </a:txBody>
                  <a:tcPr marL="67234" marR="67234">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E0E0E0">
                          <a:lumMod val="50000"/>
                        </a:srgbClr>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45515806"/>
                  </a:ext>
                </a:extLst>
              </a:tr>
            </a:tbl>
          </a:graphicData>
        </a:graphic>
      </p:graphicFrame>
      <p:sp>
        <p:nvSpPr>
          <p:cNvPr id="12" name="Footer Placeholder 6">
            <a:extLst>
              <a:ext uri="{FF2B5EF4-FFF2-40B4-BE49-F238E27FC236}">
                <a16:creationId xmlns:a16="http://schemas.microsoft.com/office/drawing/2014/main" id="{47E30981-80D3-7A45-103D-6DF844F0553F}"/>
              </a:ext>
            </a:extLst>
          </p:cNvPr>
          <p:cNvSpPr txBox="1">
            <a:spLocks/>
          </p:cNvSpPr>
          <p:nvPr/>
        </p:nvSpPr>
        <p:spPr bwMode="gray">
          <a:xfrm>
            <a:off x="396371" y="5142784"/>
            <a:ext cx="11273698" cy="311204"/>
          </a:xfrm>
          <a:prstGeom prst="rect">
            <a:avLst/>
          </a:prstGeom>
        </p:spPr>
        <p:txBody>
          <a:bodyPr vert="horz" lIns="0" tIns="0" rIns="0" bIns="0" rtlCol="0" anchor="t">
            <a:noAutofit/>
          </a:bodyPr>
          <a:lstStyle>
            <a:lvl1pPr marL="0" indent="0" algn="l" defTabSz="914400" rtl="0" eaLnBrk="1" latinLnBrk="0" hangingPunct="1">
              <a:lnSpc>
                <a:spcPct val="85000"/>
              </a:lnSpc>
              <a:spcBef>
                <a:spcPts val="200"/>
              </a:spcBef>
              <a:buClr>
                <a:schemeClr val="accent2"/>
              </a:buClr>
              <a:buSzPct val="85000"/>
              <a:buFont typeface="Arial" pitchFamily="34" charset="0"/>
              <a:buNone/>
              <a:tabLst/>
              <a:defRPr lang="en-US" sz="800" kern="1200" dirty="0">
                <a:solidFill>
                  <a:schemeClr val="tx1"/>
                </a:solidFill>
                <a:latin typeface="+mn-lt"/>
                <a:ea typeface="+mn-ea"/>
                <a:cs typeface="+mn-cs"/>
              </a:defRPr>
            </a:lvl1pPr>
            <a:lvl2pPr marL="406400" indent="-1778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71500" indent="-1143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860425" indent="-174625" algn="l" defTabSz="914400" rtl="0" eaLnBrk="1" latinLnBrk="0" hangingPunct="1">
              <a:lnSpc>
                <a:spcPct val="90000"/>
              </a:lnSpc>
              <a:spcBef>
                <a:spcPts val="2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1028700" indent="-117475" algn="l" defTabSz="914400" rtl="0" eaLnBrk="1" latinLnBrk="0" hangingPunct="1">
              <a:lnSpc>
                <a:spcPct val="90000"/>
              </a:lnSpc>
              <a:spcBef>
                <a:spcPts val="1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0"/>
              </a:spcAft>
              <a:buClr>
                <a:srgbClr val="0095FF"/>
              </a:buClr>
              <a:buSzPct val="85000"/>
              <a:buFont typeface="Arial" pitchFamily="34" charset="0"/>
              <a:buNone/>
              <a:tabLst/>
              <a:defRPr/>
            </a:pPr>
            <a:r>
              <a:rPr kumimoji="0" lang="en-US" sz="1400" b="0" i="0" u="none" strike="noStrike" kern="1200" cap="none" spc="0" normalizeH="0" baseline="30000" noProof="0" dirty="0">
                <a:ln>
                  <a:noFill/>
                </a:ln>
                <a:solidFill>
                  <a:srgbClr val="000000"/>
                </a:solidFill>
                <a:effectLst/>
                <a:uLnTx/>
                <a:uFillTx/>
                <a:ea typeface="+mn-ea"/>
                <a:cs typeface="+mn-cs"/>
              </a:rPr>
              <a:t>*</a:t>
            </a:r>
            <a:r>
              <a:rPr kumimoji="0" lang="tr-TR" sz="1400" b="0" i="0" u="none" strike="noStrike" kern="1200" cap="none" spc="0" normalizeH="0" baseline="0" noProof="0" dirty="0">
                <a:ln>
                  <a:noFill/>
                </a:ln>
                <a:solidFill>
                  <a:srgbClr val="000000"/>
                </a:solidFill>
                <a:effectLst/>
                <a:uLnTx/>
                <a:uFillTx/>
                <a:ea typeface="+mn-ea"/>
                <a:cs typeface="+mn-cs"/>
              </a:rPr>
              <a:t> (</a:t>
            </a:r>
            <a:r>
              <a:rPr kumimoji="0" lang="tr-TR" sz="1800" b="1" i="0" u="none" strike="noStrike" kern="1200" cap="none" spc="0" normalizeH="0" baseline="0" noProof="0" dirty="0">
                <a:ln>
                  <a:noFill/>
                </a:ln>
                <a:solidFill>
                  <a:srgbClr val="3E8853"/>
                </a:solidFill>
                <a:effectLst/>
                <a:uLnTx/>
                <a:uFillTx/>
                <a:ea typeface="+mn-ea"/>
                <a:cs typeface="+mn-cs"/>
              </a:rPr>
              <a:t>~</a:t>
            </a:r>
            <a:r>
              <a:rPr kumimoji="0" lang="tr-TR" sz="1400" b="0" i="0" u="none" strike="noStrike" kern="1200" cap="none" spc="0" normalizeH="0" baseline="0" noProof="0" dirty="0">
                <a:ln>
                  <a:noFill/>
                </a:ln>
                <a:solidFill>
                  <a:srgbClr val="000000"/>
                </a:solidFill>
                <a:effectLst/>
                <a:uLnTx/>
                <a:uFillTx/>
                <a:ea typeface="+mn-ea"/>
                <a:cs typeface="+mn-cs"/>
              </a:rPr>
              <a:t>) nadir görülen semptomları ifade ederken,</a:t>
            </a:r>
            <a:r>
              <a:rPr kumimoji="0" lang="tr-TR" sz="1400" b="1" i="0" u="none" strike="noStrike" kern="1200" cap="none" spc="0" normalizeH="0" baseline="0" noProof="0" dirty="0">
                <a:ln>
                  <a:noFill/>
                </a:ln>
                <a:solidFill>
                  <a:srgbClr val="000000"/>
                </a:solidFill>
                <a:effectLst/>
                <a:uLnTx/>
                <a:uFillTx/>
                <a:ea typeface="+mn-ea"/>
                <a:cs typeface="+mn-cs"/>
              </a:rPr>
              <a:t> </a:t>
            </a:r>
            <a:r>
              <a:rPr kumimoji="0" lang="tr-TR" sz="1400" b="1" i="0" u="none" strike="noStrike" kern="1200" cap="none" spc="0" normalizeH="0" baseline="0" noProof="0" dirty="0">
                <a:ln>
                  <a:noFill/>
                </a:ln>
                <a:solidFill>
                  <a:srgbClr val="0DBDBA"/>
                </a:solidFill>
                <a:effectLst/>
                <a:uLnTx/>
                <a:uFillTx/>
                <a:ea typeface="+mn-ea"/>
                <a:cs typeface="+mn-cs"/>
              </a:rPr>
              <a:t>✓</a:t>
            </a:r>
            <a:r>
              <a:rPr kumimoji="0" lang="tr-TR" sz="1400" b="1" i="0" u="none" strike="noStrike" kern="1200" cap="none" spc="0" normalizeH="0" baseline="0" noProof="0" dirty="0">
                <a:ln>
                  <a:noFill/>
                </a:ln>
                <a:solidFill>
                  <a:srgbClr val="000000"/>
                </a:solidFill>
                <a:effectLst/>
                <a:uLnTx/>
                <a:uFillTx/>
                <a:ea typeface="+mn-ea"/>
                <a:cs typeface="+mn-cs"/>
              </a:rPr>
              <a:t> </a:t>
            </a:r>
            <a:r>
              <a:rPr kumimoji="0" lang="tr-TR" sz="1400" b="0" i="0" u="none" strike="noStrike" kern="1200" cap="none" spc="0" normalizeH="0" baseline="0" noProof="0" dirty="0">
                <a:ln>
                  <a:noFill/>
                </a:ln>
                <a:solidFill>
                  <a:srgbClr val="000000"/>
                </a:solidFill>
                <a:effectLst/>
                <a:uLnTx/>
                <a:uFillTx/>
                <a:ea typeface="+mn-ea"/>
                <a:cs typeface="+mn-cs"/>
              </a:rPr>
              <a:t>ele alınan enfeksiyon için yaygın semptomları ifade eder</a:t>
            </a:r>
            <a:r>
              <a:rPr kumimoji="0" lang="en-US" sz="1400" b="0" i="0" u="none" strike="noStrike" kern="1200" cap="none" spc="0" normalizeH="0" baseline="0" noProof="0" dirty="0">
                <a:ln>
                  <a:noFill/>
                </a:ln>
                <a:solidFill>
                  <a:srgbClr val="000000"/>
                </a:solidFill>
                <a:effectLst/>
                <a:uLnTx/>
                <a:uFillTx/>
                <a:ea typeface="+mn-ea"/>
                <a:cs typeface="+mn-cs"/>
              </a:rPr>
              <a:t>.</a:t>
            </a:r>
          </a:p>
        </p:txBody>
      </p:sp>
      <p:sp>
        <p:nvSpPr>
          <p:cNvPr id="13" name="Title 3">
            <a:extLst>
              <a:ext uri="{FF2B5EF4-FFF2-40B4-BE49-F238E27FC236}">
                <a16:creationId xmlns:a16="http://schemas.microsoft.com/office/drawing/2014/main" id="{FF72FD8D-D4B3-44CC-1CA2-958B7F731334}"/>
              </a:ext>
            </a:extLst>
          </p:cNvPr>
          <p:cNvSpPr txBox="1">
            <a:spLocks/>
          </p:cNvSpPr>
          <p:nvPr/>
        </p:nvSpPr>
        <p:spPr bwMode="gray">
          <a:xfrm>
            <a:off x="458249" y="289949"/>
            <a:ext cx="11295782" cy="587417"/>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US" sz="2400" i="0" u="none" strike="noStrike" kern="1200" cap="none" spc="0" normalizeH="0" baseline="0" noProof="0" dirty="0">
              <a:ln>
                <a:noFill/>
              </a:ln>
              <a:solidFill>
                <a:srgbClr val="002060"/>
              </a:solidFill>
              <a:effectLst/>
              <a:uLnTx/>
              <a:uFillTx/>
              <a:ea typeface="+mj-ea"/>
              <a:cs typeface="+mj-cs"/>
            </a:endParaRPr>
          </a:p>
        </p:txBody>
      </p:sp>
      <p:sp>
        <p:nvSpPr>
          <p:cNvPr id="16" name="Text Placeholder 5">
            <a:extLst>
              <a:ext uri="{FF2B5EF4-FFF2-40B4-BE49-F238E27FC236}">
                <a16:creationId xmlns:a16="http://schemas.microsoft.com/office/drawing/2014/main" id="{51FD5936-E602-7077-F866-AAD70FB5D620}"/>
              </a:ext>
            </a:extLst>
          </p:cNvPr>
          <p:cNvSpPr txBox="1">
            <a:spLocks/>
          </p:cNvSpPr>
          <p:nvPr/>
        </p:nvSpPr>
        <p:spPr>
          <a:xfrm>
            <a:off x="1423163" y="6394315"/>
            <a:ext cx="7686461" cy="347472"/>
          </a:xfrm>
          <a:prstGeom prst="rect">
            <a:avLst/>
          </a:prstGeom>
        </p:spPr>
        <p:txBody>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0095FF"/>
              </a:buClr>
              <a:buSzPct val="85000"/>
              <a:buFont typeface="Arial" panose="020B0604020202020204" pitchFamily="34" charset="0"/>
              <a:buNone/>
              <a:tabLst/>
              <a:defRPr/>
            </a:pPr>
            <a:r>
              <a:rPr kumimoji="0" lang="en-US" sz="500" b="1" i="0" u="none" strike="noStrike" kern="1200" cap="none" spc="0" normalizeH="0" baseline="0" noProof="0" dirty="0">
                <a:ln>
                  <a:noFill/>
                </a:ln>
                <a:solidFill>
                  <a:srgbClr val="000000"/>
                </a:solidFill>
                <a:effectLst/>
                <a:uLnTx/>
                <a:uFillTx/>
                <a:ea typeface="+mn-ea"/>
                <a:cs typeface="+mn-cs"/>
              </a:rPr>
              <a:t>1. </a:t>
            </a:r>
            <a:r>
              <a:rPr kumimoji="0" lang="en-US" sz="500" b="0" i="0" u="none" strike="noStrike" kern="1200" cap="none" spc="0" normalizeH="0" baseline="0" noProof="0" dirty="0">
                <a:ln>
                  <a:noFill/>
                </a:ln>
                <a:solidFill>
                  <a:srgbClr val="000000"/>
                </a:solidFill>
                <a:effectLst/>
                <a:uLnTx/>
                <a:uFillTx/>
                <a:ea typeface="+mn-ea"/>
                <a:cs typeface="+mn-cs"/>
              </a:rPr>
              <a:t>Walsh EE, et al. In: Bennett JE, Blaser MJ, eds. </a:t>
            </a:r>
            <a:r>
              <a:rPr kumimoji="0" lang="en-US" sz="500" b="0" i="1" u="none" strike="noStrike" kern="1200" cap="none" spc="0" normalizeH="0" baseline="0" noProof="0" dirty="0">
                <a:ln>
                  <a:noFill/>
                </a:ln>
                <a:solidFill>
                  <a:srgbClr val="000000"/>
                </a:solidFill>
                <a:effectLst/>
                <a:uLnTx/>
                <a:uFillTx/>
                <a:ea typeface="+mn-ea"/>
                <a:cs typeface="+mn-cs"/>
              </a:rPr>
              <a:t>Mandell, Douglas, and Bennett’s Principles of </a:t>
            </a:r>
            <a:r>
              <a:rPr kumimoji="0" lang="en-US" sz="500" b="0" i="1" u="none" strike="noStrike" kern="1200" cap="none" spc="0" normalizeH="0" baseline="0" noProof="0" dirty="0" err="1">
                <a:ln>
                  <a:noFill/>
                </a:ln>
                <a:solidFill>
                  <a:srgbClr val="000000"/>
                </a:solidFill>
                <a:effectLst/>
                <a:uLnTx/>
                <a:uFillTx/>
                <a:ea typeface="+mn-ea"/>
                <a:cs typeface="+mn-cs"/>
              </a:rPr>
              <a:t>Infectiious</a:t>
            </a:r>
            <a:r>
              <a:rPr kumimoji="0" lang="en-US" sz="500" b="0" i="1" u="none" strike="noStrike" kern="1200" cap="none" spc="0" normalizeH="0" baseline="0" noProof="0" dirty="0">
                <a:ln>
                  <a:noFill/>
                </a:ln>
                <a:solidFill>
                  <a:srgbClr val="000000"/>
                </a:solidFill>
                <a:effectLst/>
                <a:uLnTx/>
                <a:uFillTx/>
                <a:ea typeface="+mn-ea"/>
                <a:cs typeface="+mn-cs"/>
              </a:rPr>
              <a:t> Diseases</a:t>
            </a:r>
            <a:r>
              <a:rPr kumimoji="0" lang="en-US" sz="500" b="0" i="0" u="none" strike="noStrike" kern="1200" cap="none" spc="0" normalizeH="0" baseline="0" noProof="0" dirty="0">
                <a:ln>
                  <a:noFill/>
                </a:ln>
                <a:solidFill>
                  <a:srgbClr val="000000"/>
                </a:solidFill>
                <a:effectLst/>
                <a:uLnTx/>
                <a:uFillTx/>
                <a:ea typeface="+mn-ea"/>
                <a:cs typeface="+mn-cs"/>
              </a:rPr>
              <a:t>. Elsevier Inc;  2015:1948-1960. </a:t>
            </a:r>
            <a:r>
              <a:rPr kumimoji="0" lang="en-US" sz="500" b="1" i="0" u="none" strike="noStrike" kern="1200" cap="none" spc="0" normalizeH="0" baseline="0" noProof="0" dirty="0">
                <a:ln>
                  <a:noFill/>
                </a:ln>
                <a:solidFill>
                  <a:srgbClr val="000000"/>
                </a:solidFill>
                <a:effectLst/>
                <a:uLnTx/>
                <a:uFillTx/>
                <a:ea typeface="+mn-ea"/>
                <a:cs typeface="+mn-cs"/>
              </a:rPr>
              <a:t>2. </a:t>
            </a:r>
            <a:r>
              <a:rPr kumimoji="0" lang="en-US" sz="500" b="0" i="0" u="none" strike="noStrike" kern="1200" cap="none" spc="0" normalizeH="0" baseline="0" noProof="0" dirty="0">
                <a:ln>
                  <a:noFill/>
                </a:ln>
                <a:solidFill>
                  <a:srgbClr val="000000"/>
                </a:solidFill>
                <a:effectLst/>
                <a:uLnTx/>
                <a:uFillTx/>
                <a:ea typeface="+mn-ea"/>
                <a:cs typeface="+mn-cs"/>
              </a:rPr>
              <a:t>Talbot HK, et al. </a:t>
            </a:r>
            <a:r>
              <a:rPr kumimoji="0" lang="en-US" sz="500" b="0" i="1" u="none" strike="noStrike" kern="1200" cap="none" spc="0" normalizeH="0" baseline="0" noProof="0" dirty="0">
                <a:ln>
                  <a:noFill/>
                </a:ln>
                <a:solidFill>
                  <a:srgbClr val="000000"/>
                </a:solidFill>
                <a:effectLst/>
                <a:uLnTx/>
                <a:uFillTx/>
                <a:ea typeface="+mn-ea"/>
                <a:cs typeface="+mn-cs"/>
              </a:rPr>
              <a:t>Infect Dis Clin </a:t>
            </a:r>
            <a:r>
              <a:rPr kumimoji="0" lang="en-US" sz="500" b="0" i="1" u="none" strike="noStrike" kern="1200" cap="none" spc="0" normalizeH="0" baseline="0" noProof="0" dirty="0" err="1">
                <a:ln>
                  <a:noFill/>
                </a:ln>
                <a:solidFill>
                  <a:srgbClr val="000000"/>
                </a:solidFill>
                <a:effectLst/>
                <a:uLnTx/>
                <a:uFillTx/>
                <a:ea typeface="+mn-ea"/>
                <a:cs typeface="+mn-cs"/>
              </a:rPr>
              <a:t>Prac</a:t>
            </a:r>
            <a:r>
              <a:rPr kumimoji="0" lang="en-US" sz="500" b="0" i="0" u="none" strike="noStrike" kern="1200" cap="none" spc="0" normalizeH="0" baseline="0" noProof="0" dirty="0">
                <a:ln>
                  <a:noFill/>
                </a:ln>
                <a:solidFill>
                  <a:srgbClr val="000000"/>
                </a:solidFill>
                <a:effectLst/>
                <a:uLnTx/>
                <a:uFillTx/>
                <a:ea typeface="+mn-ea"/>
                <a:cs typeface="+mn-cs"/>
              </a:rPr>
              <a:t>. 2016;24:295-302. </a:t>
            </a:r>
            <a:r>
              <a:rPr kumimoji="0" lang="en-US" sz="500" b="1" i="0" u="none" strike="noStrike" kern="1200" cap="none" spc="0" normalizeH="0" baseline="0" noProof="0" dirty="0">
                <a:ln>
                  <a:noFill/>
                </a:ln>
                <a:solidFill>
                  <a:srgbClr val="000000"/>
                </a:solidFill>
                <a:effectLst/>
                <a:uLnTx/>
                <a:uFillTx/>
                <a:ea typeface="+mn-ea"/>
                <a:cs typeface="+mn-cs"/>
              </a:rPr>
              <a:t>3. </a:t>
            </a:r>
            <a:r>
              <a:rPr kumimoji="0" lang="en-US" sz="500" b="0" i="0" u="none" strike="noStrike" kern="1200" cap="none" spc="0" normalizeH="0" baseline="0" noProof="0" dirty="0">
                <a:ln>
                  <a:noFill/>
                </a:ln>
                <a:solidFill>
                  <a:srgbClr val="000000"/>
                </a:solidFill>
                <a:effectLst/>
                <a:uLnTx/>
                <a:uFillTx/>
                <a:ea typeface="+mn-ea"/>
                <a:cs typeface="+mn-cs"/>
              </a:rPr>
              <a:t>Branche AR, et al. </a:t>
            </a:r>
            <a:r>
              <a:rPr kumimoji="0" lang="en-US" sz="500" b="0" i="1" u="none" strike="noStrike" kern="1200" cap="none" spc="0" normalizeH="0" baseline="0" noProof="0" dirty="0">
                <a:ln>
                  <a:noFill/>
                </a:ln>
                <a:solidFill>
                  <a:srgbClr val="000000"/>
                </a:solidFill>
                <a:effectLst/>
                <a:uLnTx/>
                <a:uFillTx/>
                <a:ea typeface="+mn-ea"/>
                <a:cs typeface="+mn-cs"/>
              </a:rPr>
              <a:t>Drugs Aging</a:t>
            </a:r>
            <a:r>
              <a:rPr kumimoji="0" lang="en-US" sz="500" b="0" i="0" u="none" strike="noStrike" kern="1200" cap="none" spc="0" normalizeH="0" baseline="0" noProof="0" dirty="0">
                <a:ln>
                  <a:noFill/>
                </a:ln>
                <a:solidFill>
                  <a:srgbClr val="000000"/>
                </a:solidFill>
                <a:effectLst/>
                <a:uLnTx/>
                <a:uFillTx/>
                <a:ea typeface="+mn-ea"/>
                <a:cs typeface="+mn-cs"/>
              </a:rPr>
              <a:t>. 2015;32:261-269. </a:t>
            </a:r>
            <a:r>
              <a:rPr kumimoji="0" lang="en-US" sz="500" b="1" i="0" u="none" strike="noStrike" kern="1200" cap="none" spc="0" normalizeH="0" baseline="0" noProof="0" dirty="0">
                <a:ln>
                  <a:noFill/>
                </a:ln>
                <a:solidFill>
                  <a:srgbClr val="000000"/>
                </a:solidFill>
                <a:effectLst/>
                <a:uLnTx/>
                <a:uFillTx/>
                <a:ea typeface="+mn-ea"/>
                <a:cs typeface="+mn-cs"/>
              </a:rPr>
              <a:t>4. </a:t>
            </a:r>
            <a:r>
              <a:rPr kumimoji="0" lang="en-US" sz="500" b="0" i="0" u="none" strike="noStrike" kern="1200" cap="none" spc="0" normalizeH="0" baseline="0" noProof="0" dirty="0">
                <a:ln>
                  <a:noFill/>
                </a:ln>
                <a:solidFill>
                  <a:srgbClr val="000000"/>
                </a:solidFill>
                <a:effectLst/>
                <a:uLnTx/>
                <a:uFillTx/>
                <a:ea typeface="+mn-ea"/>
                <a:cs typeface="+mn-cs"/>
              </a:rPr>
              <a:t>Falsey AR, et al. </a:t>
            </a:r>
            <a:r>
              <a:rPr kumimoji="0" lang="en-US" sz="500" b="0" i="1" u="none" strike="noStrike" kern="1200" cap="none" spc="0" normalizeH="0" baseline="0" noProof="0" dirty="0">
                <a:ln>
                  <a:noFill/>
                </a:ln>
                <a:solidFill>
                  <a:srgbClr val="000000"/>
                </a:solidFill>
                <a:effectLst/>
                <a:uLnTx/>
                <a:uFillTx/>
                <a:ea typeface="+mn-ea"/>
                <a:cs typeface="+mn-cs"/>
              </a:rPr>
              <a:t>Drugs Aging</a:t>
            </a:r>
            <a:r>
              <a:rPr kumimoji="0" lang="en-US" sz="500" b="0" i="0" u="none" strike="noStrike" kern="1200" cap="none" spc="0" normalizeH="0" baseline="0" noProof="0" dirty="0">
                <a:ln>
                  <a:noFill/>
                </a:ln>
                <a:solidFill>
                  <a:srgbClr val="000000"/>
                </a:solidFill>
                <a:effectLst/>
                <a:uLnTx/>
                <a:uFillTx/>
                <a:ea typeface="+mn-ea"/>
                <a:cs typeface="+mn-cs"/>
              </a:rPr>
              <a:t>. 2005;22:577-587. </a:t>
            </a:r>
            <a:r>
              <a:rPr kumimoji="0" lang="en-US" sz="500" b="1" i="0" u="none" strike="noStrike" kern="1200" cap="none" spc="0" normalizeH="0" baseline="0" noProof="0" dirty="0">
                <a:ln>
                  <a:noFill/>
                </a:ln>
                <a:solidFill>
                  <a:srgbClr val="000000"/>
                </a:solidFill>
                <a:effectLst/>
                <a:uLnTx/>
                <a:uFillTx/>
                <a:ea typeface="+mn-ea"/>
                <a:cs typeface="+mn-cs"/>
              </a:rPr>
              <a:t>5. </a:t>
            </a:r>
            <a:r>
              <a:rPr kumimoji="0" lang="en-US" sz="500" b="0" i="0" u="none" strike="noStrike" kern="1200" cap="none" spc="0" normalizeH="0" baseline="0" noProof="0" dirty="0">
                <a:ln>
                  <a:noFill/>
                </a:ln>
                <a:solidFill>
                  <a:srgbClr val="000000"/>
                </a:solidFill>
                <a:effectLst/>
                <a:uLnTx/>
                <a:uFillTx/>
                <a:ea typeface="+mn-ea"/>
                <a:cs typeface="+mn-cs"/>
              </a:rPr>
              <a:t>CDC. </a:t>
            </a:r>
            <a:r>
              <a:rPr kumimoji="0" lang="fi-FI" sz="500" b="0" i="0" u="none" strike="noStrike" kern="1200" cap="none" spc="0" normalizeH="0" baseline="0" noProof="0" dirty="0">
                <a:ln>
                  <a:noFill/>
                </a:ln>
                <a:solidFill>
                  <a:srgbClr val="000000"/>
                </a:solidFill>
                <a:effectLst/>
                <a:uLnTx/>
                <a:uFillTx/>
                <a:ea typeface="+mn-ea"/>
                <a:cs typeface="+mn-cs"/>
              </a:rPr>
              <a:t>Erişim tarihi: 18 Kasım 2024.</a:t>
            </a:r>
            <a:r>
              <a:rPr kumimoji="0" lang="tr-TR" sz="500" b="0" i="0" u="none" strike="noStrike" kern="1200" cap="none" spc="0" normalizeH="0" baseline="0" noProof="0" dirty="0">
                <a:ln>
                  <a:noFill/>
                </a:ln>
                <a:solidFill>
                  <a:srgbClr val="000000"/>
                </a:solidFill>
                <a:effectLst/>
                <a:uLnTx/>
                <a:uFillTx/>
                <a:ea typeface="+mn-ea"/>
                <a:cs typeface="+mn-cs"/>
              </a:rPr>
              <a:t> </a:t>
            </a:r>
            <a:r>
              <a:rPr kumimoji="0" lang="en-US" sz="500" b="0" i="0" u="none" strike="noStrike" kern="1200" cap="none" spc="0" normalizeH="0" baseline="0" noProof="0" dirty="0">
                <a:ln>
                  <a:noFill/>
                </a:ln>
                <a:solidFill>
                  <a:srgbClr val="000000"/>
                </a:solidFill>
                <a:effectLst/>
                <a:uLnTx/>
                <a:uFillTx/>
                <a:ea typeface="+mn-ea"/>
                <a:cs typeface="+mn-cs"/>
              </a:rPr>
              <a:t>https://www.cdc.gov/rsv/symptoms/?CDC_AAref_Val= https://www.cdc.gov/rsv/about/symptoms.html </a:t>
            </a:r>
            <a:r>
              <a:rPr kumimoji="0" lang="en-US" sz="500" b="1" i="0" u="none" strike="noStrike" kern="1200" cap="none" spc="0" normalizeH="0" baseline="0" noProof="0" dirty="0">
                <a:ln>
                  <a:noFill/>
                </a:ln>
                <a:solidFill>
                  <a:srgbClr val="000000"/>
                </a:solidFill>
                <a:effectLst/>
                <a:uLnTx/>
                <a:uFillTx/>
                <a:ea typeface="+mn-ea"/>
                <a:cs typeface="+mn-cs"/>
              </a:rPr>
              <a:t>6. </a:t>
            </a:r>
            <a:r>
              <a:rPr kumimoji="0" lang="en-US" sz="500" b="0" i="0" u="none" strike="noStrike" kern="1200" cap="none" spc="0" normalizeH="0" baseline="0" noProof="0" dirty="0">
                <a:ln>
                  <a:noFill/>
                </a:ln>
                <a:solidFill>
                  <a:srgbClr val="000000"/>
                </a:solidFill>
                <a:effectLst/>
                <a:uLnTx/>
                <a:uFillTx/>
                <a:ea typeface="+mn-ea"/>
                <a:cs typeface="+mn-cs"/>
              </a:rPr>
              <a:t>CDC. Accessed November 18, 2024. https://www.cdc.gov/flu/signs-symptoms/?CDC_AAref_Val=https://www.cdc.gov/flu/symptoms/symptoms.htm </a:t>
            </a:r>
            <a:r>
              <a:rPr kumimoji="0" lang="en-US" sz="500" b="1" i="0" u="none" strike="noStrike" kern="1200" cap="none" spc="0" normalizeH="0" baseline="0" noProof="0" dirty="0">
                <a:ln>
                  <a:noFill/>
                </a:ln>
                <a:solidFill>
                  <a:srgbClr val="000000"/>
                </a:solidFill>
                <a:effectLst/>
                <a:uLnTx/>
                <a:uFillTx/>
                <a:ea typeface="+mn-ea"/>
                <a:cs typeface="+mn-cs"/>
              </a:rPr>
              <a:t>7. </a:t>
            </a:r>
            <a:r>
              <a:rPr kumimoji="0" lang="en-US" sz="500" b="0" i="0" u="none" strike="noStrike" kern="1200" cap="none" spc="0" normalizeH="0" baseline="0" noProof="0" dirty="0">
                <a:ln>
                  <a:noFill/>
                </a:ln>
                <a:solidFill>
                  <a:srgbClr val="000000"/>
                </a:solidFill>
                <a:effectLst/>
                <a:uLnTx/>
                <a:uFillTx/>
                <a:ea typeface="+mn-ea"/>
                <a:cs typeface="+mn-cs"/>
              </a:rPr>
              <a:t>Asthma and Allergy Foundation of America</a:t>
            </a:r>
            <a:r>
              <a:rPr kumimoji="0" lang="fi-FI" sz="500" b="0" i="0" u="none" strike="noStrike" kern="1200" cap="none" spc="0" normalizeH="0" baseline="0" noProof="0" dirty="0">
                <a:ln>
                  <a:noFill/>
                </a:ln>
                <a:solidFill>
                  <a:srgbClr val="000000"/>
                </a:solidFill>
                <a:effectLst/>
                <a:uLnTx/>
                <a:uFillTx/>
                <a:ea typeface="+mn-ea"/>
                <a:cs typeface="+mn-cs"/>
              </a:rPr>
              <a:t>. Erişim tarihi: 18 Kasım 2024</a:t>
            </a:r>
            <a:r>
              <a:rPr kumimoji="0" lang="en-US" sz="500" b="0" i="0" u="none" strike="noStrike" kern="1200" cap="none" spc="0" normalizeH="0" baseline="0" noProof="0" dirty="0">
                <a:ln>
                  <a:noFill/>
                </a:ln>
                <a:solidFill>
                  <a:srgbClr val="000000"/>
                </a:solidFill>
                <a:effectLst/>
                <a:uLnTx/>
                <a:uFillTx/>
                <a:ea typeface="+mn-ea"/>
                <a:cs typeface="+mn-cs"/>
              </a:rPr>
              <a:t>. https://aafa.org/asthma/asthma-triggers-causes/respiratory-infections-flu-cold-asthma/covid-19-new-coronavirus/ </a:t>
            </a:r>
            <a:r>
              <a:rPr kumimoji="0" lang="en-US" sz="500" b="1" i="0" u="none" strike="noStrike" kern="1200" cap="none" spc="0" normalizeH="0" baseline="0" noProof="0" dirty="0">
                <a:ln>
                  <a:noFill/>
                </a:ln>
                <a:solidFill>
                  <a:srgbClr val="000000"/>
                </a:solidFill>
                <a:effectLst/>
                <a:uLnTx/>
                <a:uFillTx/>
                <a:ea typeface="+mn-ea"/>
                <a:cs typeface="+mn-cs"/>
              </a:rPr>
              <a:t>8. </a:t>
            </a:r>
            <a:r>
              <a:rPr kumimoji="0" lang="en-US" sz="500" b="0" i="0" u="none" strike="noStrike" kern="1200" cap="none" spc="0" normalizeH="0" baseline="0" noProof="0" dirty="0">
                <a:ln>
                  <a:noFill/>
                </a:ln>
                <a:solidFill>
                  <a:srgbClr val="000000"/>
                </a:solidFill>
                <a:effectLst/>
                <a:uLnTx/>
                <a:uFillTx/>
                <a:ea typeface="+mn-ea"/>
                <a:cs typeface="+mn-cs"/>
              </a:rPr>
              <a:t>CDC. </a:t>
            </a:r>
            <a:r>
              <a:rPr kumimoji="0" lang="fi-FI" sz="500" b="0" i="0" u="none" strike="noStrike" kern="1200" cap="none" spc="0" normalizeH="0" baseline="0" noProof="0" dirty="0">
                <a:ln>
                  <a:noFill/>
                </a:ln>
                <a:solidFill>
                  <a:srgbClr val="000000"/>
                </a:solidFill>
                <a:effectLst/>
                <a:uLnTx/>
                <a:uFillTx/>
                <a:ea typeface="+mn-ea"/>
                <a:cs typeface="+mn-cs"/>
              </a:rPr>
              <a:t>Erişim tarihi: 18 Kasım 2024</a:t>
            </a:r>
            <a:r>
              <a:rPr kumimoji="0" lang="en-US" sz="500" b="0" i="0" u="none" strike="noStrike" kern="1200" cap="none" spc="0" normalizeH="0" baseline="0" noProof="0" dirty="0">
                <a:ln>
                  <a:noFill/>
                </a:ln>
                <a:solidFill>
                  <a:srgbClr val="000000"/>
                </a:solidFill>
                <a:effectLst/>
                <a:uLnTx/>
                <a:uFillTx/>
                <a:ea typeface="+mn-ea"/>
                <a:cs typeface="+mn-cs"/>
              </a:rPr>
              <a:t>. https://www.cdc.gov/covid/signs-symptoms/?CDC_AAref_Val=https://www.cdc.gov/coronavirus/2019-ncov/symptoms-testing/symptoms.html </a:t>
            </a:r>
          </a:p>
          <a:p>
            <a:pPr marL="0" marR="0" lvl="0" indent="0" algn="l" defTabSz="914400" rtl="0" eaLnBrk="1" fontAlgn="auto" latinLnBrk="0" hangingPunct="1">
              <a:lnSpc>
                <a:spcPct val="90000"/>
              </a:lnSpc>
              <a:spcBef>
                <a:spcPts val="2000"/>
              </a:spcBef>
              <a:spcAft>
                <a:spcPts val="0"/>
              </a:spcAft>
              <a:buClrTx/>
              <a:buSzPct val="100000"/>
              <a:buFont typeface="Arial" panose="020B0604020202020204" pitchFamily="34" charset="0"/>
              <a:buNone/>
              <a:tabLst/>
              <a:defRPr/>
            </a:pPr>
            <a:endParaRPr kumimoji="0" lang="en-US" sz="500" b="0" i="0" u="none" strike="noStrike" kern="1200" cap="none" spc="0" normalizeH="0" baseline="30000" noProof="0" dirty="0">
              <a:ln>
                <a:noFill/>
              </a:ln>
              <a:solidFill>
                <a:srgbClr val="000000"/>
              </a:solidFill>
              <a:effectLst/>
              <a:uLnTx/>
              <a:uFillTx/>
              <a:ea typeface="+mn-ea"/>
              <a:cs typeface="+mn-cs"/>
            </a:endParaRPr>
          </a:p>
        </p:txBody>
      </p:sp>
      <p:sp>
        <p:nvSpPr>
          <p:cNvPr id="2" name="Rectangle 1">
            <a:extLst>
              <a:ext uri="{FF2B5EF4-FFF2-40B4-BE49-F238E27FC236}">
                <a16:creationId xmlns:a16="http://schemas.microsoft.com/office/drawing/2014/main" id="{8D6282D3-C1C5-2622-991B-5623A25812E2}"/>
              </a:ext>
            </a:extLst>
          </p:cNvPr>
          <p:cNvSpPr/>
          <p:nvPr/>
        </p:nvSpPr>
        <p:spPr bwMode="gray">
          <a:xfrm>
            <a:off x="3000637" y="1807697"/>
            <a:ext cx="1590020" cy="3078480"/>
          </a:xfrm>
          <a:prstGeom prst="rect">
            <a:avLst/>
          </a:prstGeom>
          <a:noFill/>
          <a:ln w="57150" cap="flat" cmpd="sng" algn="ctr">
            <a:solidFill>
              <a:srgbClr val="C00000"/>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800" b="1" i="0" u="none" strike="noStrike" kern="1200" cap="none" spc="0" normalizeH="0" baseline="0" noProof="0">
              <a:ln>
                <a:noFill/>
              </a:ln>
              <a:solidFill>
                <a:srgbClr val="0000C9"/>
              </a:solidFill>
              <a:effectLst/>
              <a:uLnTx/>
              <a:uFillTx/>
              <a:ea typeface="+mn-ea"/>
              <a:cs typeface="+mn-cs"/>
            </a:endParaRPr>
          </a:p>
        </p:txBody>
      </p:sp>
      <p:sp>
        <p:nvSpPr>
          <p:cNvPr id="6" name="TextBox 5">
            <a:extLst>
              <a:ext uri="{FF2B5EF4-FFF2-40B4-BE49-F238E27FC236}">
                <a16:creationId xmlns:a16="http://schemas.microsoft.com/office/drawing/2014/main" id="{CE6934CB-D421-2978-D0C3-50EE36EDC3D5}"/>
              </a:ext>
            </a:extLst>
          </p:cNvPr>
          <p:cNvSpPr txBox="1"/>
          <p:nvPr/>
        </p:nvSpPr>
        <p:spPr bwMode="gray">
          <a:xfrm>
            <a:off x="1057154" y="5574894"/>
            <a:ext cx="6000022" cy="592503"/>
          </a:xfrm>
          <a:prstGeom prst="roundRect">
            <a:avLst/>
          </a:prstGeom>
          <a:noFill/>
          <a:ln w="28575">
            <a:solidFill>
              <a:srgbClr val="00B0F0"/>
            </a:solidFill>
          </a:ln>
        </p:spPr>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600" b="0" i="0" u="none" strike="noStrike" kern="1200" cap="none" spc="0" normalizeH="0" baseline="0" noProof="0" err="1">
                <a:ln>
                  <a:noFill/>
                </a:ln>
                <a:solidFill>
                  <a:srgbClr val="000000"/>
                </a:solidFill>
                <a:effectLst/>
                <a:uLnTx/>
                <a:uFillTx/>
                <a:ea typeface="+mn-ea"/>
                <a:cs typeface="Arial"/>
              </a:rPr>
              <a:t>Yetişkinlerde</a:t>
            </a:r>
            <a:r>
              <a:rPr kumimoji="0" lang="en-US" sz="1600" b="0" i="0" u="none" strike="noStrike" kern="1200" cap="none" spc="0" normalizeH="0" baseline="0" noProof="0">
                <a:ln>
                  <a:noFill/>
                </a:ln>
                <a:solidFill>
                  <a:srgbClr val="000000"/>
                </a:solidFill>
                <a:effectLst/>
                <a:uLnTx/>
                <a:uFillTx/>
                <a:ea typeface="+mn-ea"/>
                <a:cs typeface="Arial"/>
              </a:rPr>
              <a:t> RSV </a:t>
            </a:r>
            <a:r>
              <a:rPr kumimoji="0" lang="en-US" sz="1600" b="0" i="0" u="none" strike="noStrike" kern="1200" cap="none" spc="0" normalizeH="0" baseline="0" noProof="0" err="1">
                <a:ln>
                  <a:noFill/>
                </a:ln>
                <a:solidFill>
                  <a:srgbClr val="000000"/>
                </a:solidFill>
                <a:effectLst/>
                <a:uLnTx/>
                <a:uFillTx/>
                <a:ea typeface="+mn-ea"/>
                <a:cs typeface="Arial"/>
              </a:rPr>
              <a:t>genellikle</a:t>
            </a:r>
            <a:r>
              <a:rPr kumimoji="0" lang="en-US" sz="1600" b="0" i="0" u="none" strike="noStrike" kern="1200" cap="none" spc="0" normalizeH="0" baseline="0" noProof="0">
                <a:ln>
                  <a:noFill/>
                </a:ln>
                <a:solidFill>
                  <a:srgbClr val="000000"/>
                </a:solidFill>
                <a:effectLst/>
                <a:uLnTx/>
                <a:uFillTx/>
                <a:ea typeface="+mn-ea"/>
                <a:cs typeface="Arial"/>
              </a:rPr>
              <a:t> </a:t>
            </a:r>
            <a:r>
              <a:rPr kumimoji="0" lang="en-US" sz="1600" b="0" i="0" u="none" strike="noStrike" kern="1200" cap="none" spc="0" normalizeH="0" baseline="0" noProof="0" err="1">
                <a:ln>
                  <a:noFill/>
                </a:ln>
                <a:solidFill>
                  <a:srgbClr val="000000"/>
                </a:solidFill>
                <a:effectLst/>
                <a:uLnTx/>
                <a:uFillTx/>
                <a:ea typeface="+mn-ea"/>
                <a:cs typeface="Arial"/>
              </a:rPr>
              <a:t>ateşsiz</a:t>
            </a:r>
            <a:r>
              <a:rPr kumimoji="0" lang="en-US" sz="1600" b="0" i="0" u="none" strike="noStrike" kern="1200" cap="none" spc="0" normalizeH="0" baseline="0" noProof="0">
                <a:ln>
                  <a:noFill/>
                </a:ln>
                <a:solidFill>
                  <a:srgbClr val="000000"/>
                </a:solidFill>
                <a:effectLst/>
                <a:uLnTx/>
                <a:uFillTx/>
                <a:ea typeface="+mn-ea"/>
                <a:cs typeface="Arial"/>
              </a:rPr>
              <a:t> </a:t>
            </a:r>
            <a:r>
              <a:rPr kumimoji="0" lang="en-US" sz="1600" b="0" i="0" u="none" strike="noStrike" kern="1200" cap="none" spc="0" normalizeH="0" baseline="0" noProof="0" err="1">
                <a:ln>
                  <a:noFill/>
                </a:ln>
                <a:solidFill>
                  <a:srgbClr val="000000"/>
                </a:solidFill>
                <a:effectLst/>
                <a:uLnTx/>
                <a:uFillTx/>
                <a:ea typeface="+mn-ea"/>
                <a:cs typeface="Arial"/>
              </a:rPr>
              <a:t>ve</a:t>
            </a:r>
            <a:r>
              <a:rPr kumimoji="0" lang="en-US" sz="1600" b="0" i="0" u="none" strike="noStrike" kern="1200" cap="none" spc="0" normalizeH="0" baseline="0" noProof="0">
                <a:ln>
                  <a:noFill/>
                </a:ln>
                <a:solidFill>
                  <a:srgbClr val="000000"/>
                </a:solidFill>
                <a:effectLst/>
                <a:uLnTx/>
                <a:uFillTx/>
                <a:ea typeface="+mn-ea"/>
                <a:cs typeface="Arial"/>
              </a:rPr>
              <a:t> </a:t>
            </a:r>
            <a:r>
              <a:rPr kumimoji="0" lang="en-US" sz="1600" b="0" i="0" u="none" strike="noStrike" kern="1200" cap="none" spc="0" normalizeH="0" baseline="0" noProof="0" err="1">
                <a:ln>
                  <a:noFill/>
                </a:ln>
                <a:solidFill>
                  <a:srgbClr val="000000"/>
                </a:solidFill>
                <a:effectLst/>
                <a:uLnTx/>
                <a:uFillTx/>
                <a:ea typeface="+mn-ea"/>
                <a:cs typeface="Arial"/>
              </a:rPr>
              <a:t>yavaş</a:t>
            </a:r>
            <a:r>
              <a:rPr kumimoji="0" lang="en-US" sz="1600" b="0" i="0" u="none" strike="noStrike" kern="1200" cap="none" spc="0" normalizeH="0" baseline="0" noProof="0">
                <a:ln>
                  <a:noFill/>
                </a:ln>
                <a:solidFill>
                  <a:srgbClr val="000000"/>
                </a:solidFill>
                <a:effectLst/>
                <a:uLnTx/>
                <a:uFillTx/>
                <a:ea typeface="+mn-ea"/>
                <a:cs typeface="Arial"/>
              </a:rPr>
              <a:t> </a:t>
            </a:r>
            <a:r>
              <a:rPr kumimoji="0" lang="en-US" sz="1600" b="0" i="0" u="none" strike="noStrike" kern="1200" cap="none" spc="0" normalizeH="0" baseline="0" noProof="0" err="1">
                <a:ln>
                  <a:noFill/>
                </a:ln>
                <a:solidFill>
                  <a:srgbClr val="000000"/>
                </a:solidFill>
                <a:effectLst/>
                <a:uLnTx/>
                <a:uFillTx/>
                <a:ea typeface="+mn-ea"/>
                <a:cs typeface="Arial"/>
              </a:rPr>
              <a:t>başlangıçlı</a:t>
            </a:r>
            <a:r>
              <a:rPr kumimoji="0" lang="en-US" sz="1600" b="0" i="0" u="none" strike="noStrike" kern="1200" cap="none" spc="0" normalizeH="0" baseline="0" noProof="0">
                <a:ln>
                  <a:noFill/>
                </a:ln>
                <a:solidFill>
                  <a:srgbClr val="000000"/>
                </a:solidFill>
                <a:effectLst/>
                <a:uLnTx/>
                <a:uFillTx/>
                <a:ea typeface="+mn-ea"/>
                <a:cs typeface="Arial"/>
              </a:rPr>
              <a:t> </a:t>
            </a:r>
            <a:r>
              <a:rPr kumimoji="0" lang="en-US" sz="1600" b="0" i="0" u="none" strike="noStrike" kern="1200" cap="none" spc="0" normalizeH="0" baseline="0" noProof="0" err="1">
                <a:ln>
                  <a:noFill/>
                </a:ln>
                <a:solidFill>
                  <a:srgbClr val="000000"/>
                </a:solidFill>
                <a:effectLst/>
                <a:uLnTx/>
                <a:uFillTx/>
                <a:ea typeface="+mn-ea"/>
                <a:cs typeface="Arial"/>
              </a:rPr>
              <a:t>ve</a:t>
            </a:r>
            <a:r>
              <a:rPr kumimoji="0" lang="en-US" sz="1600" b="0" i="0" u="none" strike="noStrike" kern="1200" cap="none" spc="0" normalizeH="0" baseline="0" noProof="0">
                <a:ln>
                  <a:noFill/>
                </a:ln>
                <a:solidFill>
                  <a:srgbClr val="000000"/>
                </a:solidFill>
                <a:effectLst/>
                <a:uLnTx/>
                <a:uFillTx/>
                <a:ea typeface="+mn-ea"/>
                <a:cs typeface="Arial"/>
              </a:rPr>
              <a:t> </a:t>
            </a:r>
            <a:r>
              <a:rPr kumimoji="0" lang="en-US" sz="1600" b="0" i="0" u="none" strike="noStrike" kern="1200" cap="none" spc="0" normalizeH="0" baseline="0" noProof="0" err="1">
                <a:ln>
                  <a:noFill/>
                </a:ln>
                <a:solidFill>
                  <a:srgbClr val="000000"/>
                </a:solidFill>
                <a:effectLst/>
                <a:uLnTx/>
                <a:uFillTx/>
                <a:ea typeface="+mn-ea"/>
                <a:cs typeface="Arial"/>
              </a:rPr>
              <a:t>daha</a:t>
            </a:r>
            <a:r>
              <a:rPr kumimoji="0" lang="en-US" sz="1600" b="0" i="0" u="none" strike="noStrike" kern="1200" cap="none" spc="0" normalizeH="0" baseline="0" noProof="0">
                <a:ln>
                  <a:noFill/>
                </a:ln>
                <a:solidFill>
                  <a:srgbClr val="000000"/>
                </a:solidFill>
                <a:effectLst/>
                <a:uLnTx/>
                <a:uFillTx/>
                <a:ea typeface="+mn-ea"/>
                <a:cs typeface="Arial"/>
              </a:rPr>
              <a:t> </a:t>
            </a:r>
            <a:r>
              <a:rPr kumimoji="0" lang="en-US" sz="1600" b="0" i="0" u="none" strike="noStrike" kern="1200" cap="none" spc="0" normalizeH="0" baseline="0" noProof="0" err="1">
                <a:ln>
                  <a:noFill/>
                </a:ln>
                <a:solidFill>
                  <a:srgbClr val="000000"/>
                </a:solidFill>
                <a:effectLst/>
                <a:uLnTx/>
                <a:uFillTx/>
                <a:ea typeface="+mn-ea"/>
                <a:cs typeface="Arial"/>
              </a:rPr>
              <a:t>şiddetli</a:t>
            </a:r>
            <a:r>
              <a:rPr kumimoji="0" lang="en-US" sz="1600" b="0" i="0" u="none" strike="noStrike" kern="1200" cap="none" spc="0" normalizeH="0" baseline="0" noProof="0">
                <a:ln>
                  <a:noFill/>
                </a:ln>
                <a:solidFill>
                  <a:srgbClr val="000000"/>
                </a:solidFill>
                <a:effectLst/>
                <a:uLnTx/>
                <a:uFillTx/>
                <a:ea typeface="+mn-ea"/>
                <a:cs typeface="Arial"/>
              </a:rPr>
              <a:t> </a:t>
            </a:r>
            <a:r>
              <a:rPr kumimoji="0" lang="en-US" sz="1600" b="0" i="0" u="none" strike="noStrike" kern="1200" cap="none" spc="0" normalizeH="0" baseline="0" noProof="0" err="1">
                <a:ln>
                  <a:noFill/>
                </a:ln>
                <a:solidFill>
                  <a:srgbClr val="000000"/>
                </a:solidFill>
                <a:effectLst/>
                <a:uLnTx/>
                <a:uFillTx/>
                <a:ea typeface="+mn-ea"/>
                <a:cs typeface="Arial"/>
              </a:rPr>
              <a:t>semptomlarla</a:t>
            </a:r>
            <a:r>
              <a:rPr kumimoji="0" lang="en-US" sz="1600" b="0" i="0" u="none" strike="noStrike" kern="1200" cap="none" spc="0" normalizeH="0" baseline="0" noProof="0">
                <a:ln>
                  <a:noFill/>
                </a:ln>
                <a:solidFill>
                  <a:srgbClr val="000000"/>
                </a:solidFill>
                <a:effectLst/>
                <a:uLnTx/>
                <a:uFillTx/>
                <a:ea typeface="+mn-ea"/>
                <a:cs typeface="Arial"/>
              </a:rPr>
              <a:t> </a:t>
            </a:r>
            <a:r>
              <a:rPr kumimoji="0" lang="en-US" sz="1600" b="0" i="0" u="none" strike="noStrike" kern="1200" cap="none" spc="0" normalizeH="0" baseline="0" noProof="0" err="1">
                <a:ln>
                  <a:noFill/>
                </a:ln>
                <a:solidFill>
                  <a:srgbClr val="000000"/>
                </a:solidFill>
                <a:effectLst/>
                <a:uLnTx/>
                <a:uFillTx/>
                <a:ea typeface="+mn-ea"/>
                <a:cs typeface="Arial"/>
              </a:rPr>
              <a:t>ortaya</a:t>
            </a:r>
            <a:r>
              <a:rPr kumimoji="0" lang="en-US" sz="1600" b="0" i="0" u="none" strike="noStrike" kern="1200" cap="none" spc="0" normalizeH="0" baseline="0" noProof="0">
                <a:ln>
                  <a:noFill/>
                </a:ln>
                <a:solidFill>
                  <a:srgbClr val="000000"/>
                </a:solidFill>
                <a:effectLst/>
                <a:uLnTx/>
                <a:uFillTx/>
                <a:ea typeface="+mn-ea"/>
                <a:cs typeface="Arial"/>
              </a:rPr>
              <a:t> </a:t>
            </a:r>
            <a:r>
              <a:rPr kumimoji="0" lang="en-US" sz="1600" b="0" i="0" u="none" strike="noStrike" kern="1200" cap="none" spc="0" normalizeH="0" baseline="0" noProof="0" err="1">
                <a:ln>
                  <a:noFill/>
                </a:ln>
                <a:solidFill>
                  <a:srgbClr val="000000"/>
                </a:solidFill>
                <a:effectLst/>
                <a:uLnTx/>
                <a:uFillTx/>
                <a:ea typeface="+mn-ea"/>
                <a:cs typeface="Arial"/>
              </a:rPr>
              <a:t>çıkar</a:t>
            </a: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4" name="Flowchart: Connector 13">
            <a:extLst>
              <a:ext uri="{FF2B5EF4-FFF2-40B4-BE49-F238E27FC236}">
                <a16:creationId xmlns:a16="http://schemas.microsoft.com/office/drawing/2014/main" id="{C9D9AE63-FCA0-778C-5B98-57F61D2187F8}"/>
              </a:ext>
            </a:extLst>
          </p:cNvPr>
          <p:cNvSpPr/>
          <p:nvPr/>
        </p:nvSpPr>
        <p:spPr bwMode="gray">
          <a:xfrm>
            <a:off x="529542" y="5642546"/>
            <a:ext cx="457199" cy="457199"/>
          </a:xfrm>
          <a:prstGeom prst="flowChartConnector">
            <a:avLst/>
          </a:prstGeom>
          <a:solidFill>
            <a:schemeClr val="accent2">
              <a:lumMod val="60000"/>
              <a:lumOff val="40000"/>
            </a:schemeClr>
          </a:solidFill>
          <a:ln w="28575" cap="flat" cmpd="sng" algn="ctr">
            <a:solidFill>
              <a:schemeClr val="accent2">
                <a:lumMod val="60000"/>
                <a:lumOff val="40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800" b="1" i="0" u="none" strike="noStrike" kern="1200" cap="none" spc="0" normalizeH="0" baseline="0" noProof="0">
              <a:ln>
                <a:noFill/>
              </a:ln>
              <a:solidFill>
                <a:srgbClr val="0000C9"/>
              </a:solidFill>
              <a:effectLst/>
              <a:uLnTx/>
              <a:uFillTx/>
              <a:ea typeface="+mn-ea"/>
              <a:cs typeface="+mn-cs"/>
            </a:endParaRPr>
          </a:p>
        </p:txBody>
      </p:sp>
      <p:sp>
        <p:nvSpPr>
          <p:cNvPr id="17" name="Graphic 86">
            <a:extLst>
              <a:ext uri="{FF2B5EF4-FFF2-40B4-BE49-F238E27FC236}">
                <a16:creationId xmlns:a16="http://schemas.microsoft.com/office/drawing/2014/main" id="{786C59FE-9002-2E2E-FE4F-EA5E4EB270EE}"/>
              </a:ext>
            </a:extLst>
          </p:cNvPr>
          <p:cNvSpPr/>
          <p:nvPr/>
        </p:nvSpPr>
        <p:spPr>
          <a:xfrm rot="20215936">
            <a:off x="596309" y="5790049"/>
            <a:ext cx="331803" cy="162193"/>
          </a:xfrm>
          <a:custGeom>
            <a:avLst/>
            <a:gdLst>
              <a:gd name="connsiteX0" fmla="*/ 3619500 w 3623363"/>
              <a:gd name="connsiteY0" fmla="*/ 590550 h 1493672"/>
              <a:gd name="connsiteX1" fmla="*/ 1478318 w 3623363"/>
              <a:gd name="connsiteY1" fmla="*/ 590550 h 1493672"/>
              <a:gd name="connsiteX2" fmla="*/ 746836 w 3623363"/>
              <a:gd name="connsiteY2" fmla="*/ 0 h 1493672"/>
              <a:gd name="connsiteX3" fmla="*/ 0 w 3623363"/>
              <a:gd name="connsiteY3" fmla="*/ 746836 h 1493672"/>
              <a:gd name="connsiteX4" fmla="*/ 746836 w 3623363"/>
              <a:gd name="connsiteY4" fmla="*/ 1493672 h 1493672"/>
              <a:gd name="connsiteX5" fmla="*/ 1478318 w 3623363"/>
              <a:gd name="connsiteY5" fmla="*/ 903122 h 1493672"/>
              <a:gd name="connsiteX6" fmla="*/ 2522182 w 3623363"/>
              <a:gd name="connsiteY6" fmla="*/ 903122 h 1493672"/>
              <a:gd name="connsiteX7" fmla="*/ 2522182 w 3623363"/>
              <a:gd name="connsiteY7" fmla="*/ 1318336 h 1493672"/>
              <a:gd name="connsiteX8" fmla="*/ 2838443 w 3623363"/>
              <a:gd name="connsiteY8" fmla="*/ 1318336 h 1493672"/>
              <a:gd name="connsiteX9" fmla="*/ 2838443 w 3623363"/>
              <a:gd name="connsiteY9" fmla="*/ 903122 h 1493672"/>
              <a:gd name="connsiteX10" fmla="*/ 3067043 w 3623363"/>
              <a:gd name="connsiteY10" fmla="*/ 903122 h 1493672"/>
              <a:gd name="connsiteX11" fmla="*/ 3067043 w 3623363"/>
              <a:gd name="connsiteY11" fmla="*/ 1318336 h 1493672"/>
              <a:gd name="connsiteX12" fmla="*/ 3383303 w 3623363"/>
              <a:gd name="connsiteY12" fmla="*/ 1318336 h 1493672"/>
              <a:gd name="connsiteX13" fmla="*/ 3383303 w 3623363"/>
              <a:gd name="connsiteY13" fmla="*/ 903122 h 1493672"/>
              <a:gd name="connsiteX14" fmla="*/ 3623364 w 3623363"/>
              <a:gd name="connsiteY14" fmla="*/ 903122 h 1493672"/>
              <a:gd name="connsiteX15" fmla="*/ 3623364 w 3623363"/>
              <a:gd name="connsiteY15" fmla="*/ 590584 h 1493672"/>
              <a:gd name="connsiteX16" fmla="*/ 746836 w 3623363"/>
              <a:gd name="connsiteY16" fmla="*/ 1177366 h 1493672"/>
              <a:gd name="connsiteX17" fmla="*/ 316268 w 3623363"/>
              <a:gd name="connsiteY17" fmla="*/ 746798 h 1493672"/>
              <a:gd name="connsiteX18" fmla="*/ 746836 w 3623363"/>
              <a:gd name="connsiteY18" fmla="*/ 316230 h 1493672"/>
              <a:gd name="connsiteX19" fmla="*/ 1177404 w 3623363"/>
              <a:gd name="connsiteY19" fmla="*/ 746798 h 1493672"/>
              <a:gd name="connsiteX20" fmla="*/ 746836 w 3623363"/>
              <a:gd name="connsiteY20" fmla="*/ 1177366 h 149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363" h="1493672">
                <a:moveTo>
                  <a:pt x="3619500" y="590550"/>
                </a:moveTo>
                <a:lnTo>
                  <a:pt x="1478318" y="590550"/>
                </a:lnTo>
                <a:cubicBezTo>
                  <a:pt x="1405989" y="255239"/>
                  <a:pt x="1104908" y="0"/>
                  <a:pt x="746836" y="0"/>
                </a:cubicBezTo>
                <a:cubicBezTo>
                  <a:pt x="335318" y="0"/>
                  <a:pt x="0" y="335310"/>
                  <a:pt x="0" y="746836"/>
                </a:cubicBezTo>
                <a:cubicBezTo>
                  <a:pt x="0" y="1158362"/>
                  <a:pt x="335311" y="1493672"/>
                  <a:pt x="746836" y="1493672"/>
                </a:cubicBezTo>
                <a:cubicBezTo>
                  <a:pt x="1104915" y="1493672"/>
                  <a:pt x="1406004" y="1242151"/>
                  <a:pt x="1478318" y="903122"/>
                </a:cubicBezTo>
                <a:lnTo>
                  <a:pt x="2522182" y="903122"/>
                </a:lnTo>
                <a:lnTo>
                  <a:pt x="2522182" y="1318336"/>
                </a:lnTo>
                <a:lnTo>
                  <a:pt x="2838443" y="1318336"/>
                </a:lnTo>
                <a:lnTo>
                  <a:pt x="2838443" y="903122"/>
                </a:lnTo>
                <a:lnTo>
                  <a:pt x="3067043" y="903122"/>
                </a:lnTo>
                <a:lnTo>
                  <a:pt x="3067043" y="1318336"/>
                </a:lnTo>
                <a:lnTo>
                  <a:pt x="3383303" y="1318336"/>
                </a:lnTo>
                <a:lnTo>
                  <a:pt x="3383303" y="903122"/>
                </a:lnTo>
                <a:lnTo>
                  <a:pt x="3623364" y="903122"/>
                </a:lnTo>
                <a:lnTo>
                  <a:pt x="3623364" y="590584"/>
                </a:lnTo>
                <a:close/>
                <a:moveTo>
                  <a:pt x="746836" y="1177366"/>
                </a:moveTo>
                <a:cubicBezTo>
                  <a:pt x="510647" y="1177366"/>
                  <a:pt x="316268" y="982995"/>
                  <a:pt x="316268" y="746798"/>
                </a:cubicBezTo>
                <a:cubicBezTo>
                  <a:pt x="316268" y="510601"/>
                  <a:pt x="510639" y="316230"/>
                  <a:pt x="746836" y="316230"/>
                </a:cubicBezTo>
                <a:cubicBezTo>
                  <a:pt x="983026" y="316230"/>
                  <a:pt x="1177404" y="510601"/>
                  <a:pt x="1177404" y="746798"/>
                </a:cubicBezTo>
                <a:cubicBezTo>
                  <a:pt x="1181127" y="982988"/>
                  <a:pt x="986756" y="1177366"/>
                  <a:pt x="746836" y="1177366"/>
                </a:cubicBezTo>
                <a:close/>
              </a:path>
            </a:pathLst>
          </a:custGeom>
          <a:solidFill>
            <a:schemeClr val="bg1"/>
          </a:solidFill>
          <a:ln w="381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mn-ea"/>
              <a:cs typeface="+mn-cs"/>
            </a:endParaRPr>
          </a:p>
        </p:txBody>
      </p:sp>
      <p:pic>
        <p:nvPicPr>
          <p:cNvPr id="18" name="Picture 17" descr="A black and blue logo&#10;&#10;AI-generated content may be incorrect.">
            <a:extLst>
              <a:ext uri="{FF2B5EF4-FFF2-40B4-BE49-F238E27FC236}">
                <a16:creationId xmlns:a16="http://schemas.microsoft.com/office/drawing/2014/main" id="{8B591792-85A6-CED9-10AB-B3BC809362ED}"/>
              </a:ext>
            </a:extLst>
          </p:cNvPr>
          <p:cNvPicPr>
            <a:picLocks noChangeAspect="1"/>
          </p:cNvPicPr>
          <p:nvPr/>
        </p:nvPicPr>
        <p:blipFill>
          <a:blip r:embed="rId5"/>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14915425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8C1E76-9C89-9896-7236-9114E14533F4}"/>
              </a:ext>
            </a:extLst>
          </p:cNvPr>
          <p:cNvSpPr>
            <a:spLocks noGrp="1"/>
          </p:cNvSpPr>
          <p:nvPr>
            <p:ph type="title"/>
          </p:nvPr>
        </p:nvSpPr>
        <p:spPr/>
        <p:txBody>
          <a:bodyPr/>
          <a:lstStyle/>
          <a:p>
            <a:r>
              <a:rPr lang="en-US" sz="2400" err="1"/>
              <a:t>RSV'li</a:t>
            </a:r>
            <a:r>
              <a:rPr lang="en-US" sz="2400"/>
              <a:t> </a:t>
            </a:r>
            <a:r>
              <a:rPr lang="en-US" sz="2400" err="1"/>
              <a:t>hastalarda</a:t>
            </a:r>
            <a:r>
              <a:rPr lang="en-US" sz="2400"/>
              <a:t> </a:t>
            </a:r>
            <a:r>
              <a:rPr lang="en-US" sz="2400" err="1"/>
              <a:t>ateş</a:t>
            </a:r>
            <a:r>
              <a:rPr lang="en-US" sz="2400"/>
              <a:t> </a:t>
            </a:r>
            <a:r>
              <a:rPr lang="en-US" sz="2400" err="1"/>
              <a:t>ve</a:t>
            </a:r>
            <a:r>
              <a:rPr lang="en-US" sz="2400"/>
              <a:t> ani </a:t>
            </a:r>
            <a:r>
              <a:rPr lang="en-US" sz="2400" err="1"/>
              <a:t>başlayan</a:t>
            </a:r>
            <a:r>
              <a:rPr lang="en-US" sz="2400"/>
              <a:t> </a:t>
            </a:r>
            <a:r>
              <a:rPr lang="en-US" sz="2400" err="1"/>
              <a:t>semptomlara</a:t>
            </a:r>
            <a:r>
              <a:rPr lang="en-US" sz="2400"/>
              <a:t> </a:t>
            </a:r>
            <a:r>
              <a:rPr lang="en-US" sz="2400" err="1"/>
              <a:t>sahip</a:t>
            </a:r>
            <a:r>
              <a:rPr lang="en-US" sz="2400"/>
              <a:t> </a:t>
            </a:r>
            <a:r>
              <a:rPr lang="en-US" sz="2400" err="1"/>
              <a:t>olma</a:t>
            </a:r>
            <a:r>
              <a:rPr lang="en-US" sz="2400"/>
              <a:t> </a:t>
            </a:r>
            <a:r>
              <a:rPr lang="en-US" sz="2400" err="1"/>
              <a:t>olasılığı</a:t>
            </a:r>
            <a:r>
              <a:rPr lang="en-US" sz="2400"/>
              <a:t> </a:t>
            </a:r>
            <a:r>
              <a:rPr lang="en-US" sz="2400" err="1"/>
              <a:t>daha</a:t>
            </a:r>
            <a:r>
              <a:rPr lang="en-US" sz="2400"/>
              <a:t> </a:t>
            </a:r>
            <a:r>
              <a:rPr lang="en-US" sz="2400" err="1"/>
              <a:t>düşüktür</a:t>
            </a:r>
            <a:endParaRPr lang="en-US" sz="2400"/>
          </a:p>
        </p:txBody>
      </p:sp>
      <p:sp>
        <p:nvSpPr>
          <p:cNvPr id="6" name="Text Placeholder 5">
            <a:extLst>
              <a:ext uri="{FF2B5EF4-FFF2-40B4-BE49-F238E27FC236}">
                <a16:creationId xmlns:a16="http://schemas.microsoft.com/office/drawing/2014/main" id="{D77AB6C7-0EC0-6BB0-6FCD-1AEFCF076341}"/>
              </a:ext>
            </a:extLst>
          </p:cNvPr>
          <p:cNvSpPr>
            <a:spLocks noGrp="1"/>
          </p:cNvSpPr>
          <p:nvPr>
            <p:ph type="body" sz="quarter" idx="4294967295"/>
          </p:nvPr>
        </p:nvSpPr>
        <p:spPr>
          <a:xfrm>
            <a:off x="446914" y="5876468"/>
            <a:ext cx="9805988" cy="347663"/>
          </a:xfrm>
        </p:spPr>
        <p:txBody>
          <a:bodyPr>
            <a:normAutofit fontScale="62500" lnSpcReduction="20000"/>
          </a:bodyPr>
          <a:lstStyle/>
          <a:p>
            <a:pPr marL="0" indent="0">
              <a:buNone/>
            </a:pPr>
            <a:r>
              <a:rPr lang="en-US" sz="700" dirty="0">
                <a:solidFill>
                  <a:srgbClr val="000000"/>
                </a:solidFill>
              </a:rPr>
              <a:t>*</a:t>
            </a:r>
            <a:r>
              <a:rPr lang="tr-TR" sz="700" dirty="0">
                <a:solidFill>
                  <a:srgbClr val="000000"/>
                </a:solidFill>
              </a:rPr>
              <a:t>İnfluenza </a:t>
            </a:r>
            <a:r>
              <a:rPr lang="en-US" sz="700" dirty="0" err="1">
                <a:solidFill>
                  <a:srgbClr val="000000"/>
                </a:solidFill>
              </a:rPr>
              <a:t>ile</a:t>
            </a:r>
            <a:r>
              <a:rPr lang="en-US" sz="700" dirty="0">
                <a:solidFill>
                  <a:srgbClr val="000000"/>
                </a:solidFill>
              </a:rPr>
              <a:t> karşılaştırıldığında.</a:t>
            </a:r>
            <a:r>
              <a:rPr lang="en-US" sz="700" baseline="30000" dirty="0">
                <a:solidFill>
                  <a:srgbClr val="000000"/>
                </a:solidFill>
              </a:rPr>
              <a:t>1,2</a:t>
            </a:r>
          </a:p>
          <a:p>
            <a:pPr marL="0" indent="0">
              <a:buNone/>
            </a:pPr>
            <a:r>
              <a:rPr lang="en-US" sz="700" b="1" dirty="0">
                <a:solidFill>
                  <a:srgbClr val="000000"/>
                </a:solidFill>
              </a:rPr>
              <a:t>1. </a:t>
            </a:r>
            <a:r>
              <a:rPr lang="en-US" sz="700" dirty="0">
                <a:solidFill>
                  <a:srgbClr val="000000"/>
                </a:solidFill>
              </a:rPr>
              <a:t>Haber N. </a:t>
            </a:r>
            <a:r>
              <a:rPr lang="en-US" sz="700" i="1" dirty="0">
                <a:solidFill>
                  <a:srgbClr val="000000"/>
                </a:solidFill>
              </a:rPr>
              <a:t>Med Mal Infect</a:t>
            </a:r>
            <a:r>
              <a:rPr lang="en-US" sz="700" dirty="0">
                <a:solidFill>
                  <a:srgbClr val="000000"/>
                </a:solidFill>
              </a:rPr>
              <a:t>. 2018;48:377-382.</a:t>
            </a:r>
            <a:r>
              <a:rPr lang="en-US" sz="700" baseline="30000" dirty="0">
                <a:solidFill>
                  <a:srgbClr val="000000"/>
                </a:solidFill>
              </a:rPr>
              <a:t> </a:t>
            </a:r>
            <a:r>
              <a:rPr lang="en-US" sz="700" b="1" dirty="0">
                <a:solidFill>
                  <a:srgbClr val="000000"/>
                </a:solidFill>
              </a:rPr>
              <a:t>2.</a:t>
            </a:r>
            <a:r>
              <a:rPr lang="en-US" sz="700" dirty="0">
                <a:solidFill>
                  <a:srgbClr val="000000"/>
                </a:solidFill>
              </a:rPr>
              <a:t> Auvinen R, et al. </a:t>
            </a:r>
            <a:r>
              <a:rPr lang="en-US" sz="700" i="1" dirty="0">
                <a:solidFill>
                  <a:srgbClr val="000000"/>
                </a:solidFill>
              </a:rPr>
              <a:t>Influenza Other Respir Viruses</a:t>
            </a:r>
            <a:r>
              <a:rPr lang="en-US" sz="700" dirty="0">
                <a:solidFill>
                  <a:srgbClr val="000000"/>
                </a:solidFill>
              </a:rPr>
              <a:t>. 2022;16:276-288. </a:t>
            </a:r>
            <a:r>
              <a:rPr lang="en-US" sz="700" b="1" dirty="0">
                <a:solidFill>
                  <a:srgbClr val="000000"/>
                </a:solidFill>
              </a:rPr>
              <a:t>3.</a:t>
            </a:r>
            <a:r>
              <a:rPr lang="en-US" sz="700" dirty="0">
                <a:solidFill>
                  <a:srgbClr val="000000"/>
                </a:solidFill>
              </a:rPr>
              <a:t> Branche AR, Falsey AR. </a:t>
            </a:r>
            <a:r>
              <a:rPr lang="en-US" sz="700" i="1" dirty="0">
                <a:solidFill>
                  <a:srgbClr val="000000"/>
                </a:solidFill>
              </a:rPr>
              <a:t>Drugs Aging</a:t>
            </a:r>
            <a:r>
              <a:rPr lang="en-US" sz="700" dirty="0">
                <a:solidFill>
                  <a:srgbClr val="000000"/>
                </a:solidFill>
              </a:rPr>
              <a:t>. 2015;32:261-269. </a:t>
            </a:r>
            <a:r>
              <a:rPr lang="en-US" sz="700" b="1" dirty="0">
                <a:solidFill>
                  <a:srgbClr val="000000"/>
                </a:solidFill>
              </a:rPr>
              <a:t>4</a:t>
            </a:r>
            <a:r>
              <a:rPr lang="en-US" sz="700" b="1" dirty="0">
                <a:solidFill>
                  <a:srgbClr val="000000"/>
                </a:solidFill>
                <a:cs typeface="Arial" pitchFamily="34" charset="0"/>
              </a:rPr>
              <a:t>.</a:t>
            </a:r>
            <a:r>
              <a:rPr lang="en-US" sz="700" dirty="0">
                <a:solidFill>
                  <a:srgbClr val="000000"/>
                </a:solidFill>
                <a:cs typeface="Arial" pitchFamily="34" charset="0"/>
              </a:rPr>
              <a:t> </a:t>
            </a:r>
            <a:r>
              <a:rPr lang="en-US" sz="700" dirty="0">
                <a:solidFill>
                  <a:srgbClr val="000000"/>
                </a:solidFill>
              </a:rPr>
              <a:t>Walsh EE, Hall CB. In: Bennett JE, Blaser MJ, eds. </a:t>
            </a:r>
            <a:r>
              <a:rPr lang="en-US" sz="700" i="1" dirty="0">
                <a:solidFill>
                  <a:srgbClr val="000000"/>
                </a:solidFill>
              </a:rPr>
              <a:t>Mandell, Douglas, and Bennett's Principles and Practice of Infectious Diseases</a:t>
            </a:r>
            <a:r>
              <a:rPr lang="en-US" sz="700" dirty="0">
                <a:solidFill>
                  <a:srgbClr val="000000"/>
                </a:solidFill>
              </a:rPr>
              <a:t>. Elsevier Inc; 2015:1948-1960. </a:t>
            </a:r>
            <a:r>
              <a:rPr lang="en-US" sz="700" b="1" dirty="0">
                <a:solidFill>
                  <a:srgbClr val="000000"/>
                </a:solidFill>
              </a:rPr>
              <a:t>5</a:t>
            </a:r>
            <a:r>
              <a:rPr lang="en-US" sz="700" b="1" dirty="0">
                <a:solidFill>
                  <a:srgbClr val="000000"/>
                </a:solidFill>
                <a:cs typeface="Arial" pitchFamily="34" charset="0"/>
              </a:rPr>
              <a:t>.</a:t>
            </a:r>
            <a:r>
              <a:rPr lang="en-US" sz="700" dirty="0">
                <a:solidFill>
                  <a:srgbClr val="000000"/>
                </a:solidFill>
                <a:cs typeface="Arial" pitchFamily="34" charset="0"/>
              </a:rPr>
              <a:t> Talbot HK, et al. </a:t>
            </a:r>
            <a:r>
              <a:rPr lang="en-US" sz="700" i="1" dirty="0">
                <a:solidFill>
                  <a:srgbClr val="000000"/>
                </a:solidFill>
                <a:cs typeface="Arial" pitchFamily="34" charset="0"/>
              </a:rPr>
              <a:t>Infect Dis Clin </a:t>
            </a:r>
            <a:r>
              <a:rPr lang="en-US" sz="700" i="1" dirty="0" err="1">
                <a:solidFill>
                  <a:srgbClr val="000000"/>
                </a:solidFill>
                <a:cs typeface="Arial" pitchFamily="34" charset="0"/>
              </a:rPr>
              <a:t>Prac</a:t>
            </a:r>
            <a:r>
              <a:rPr lang="en-US" sz="700" dirty="0">
                <a:solidFill>
                  <a:srgbClr val="000000"/>
                </a:solidFill>
                <a:cs typeface="Arial" pitchFamily="34" charset="0"/>
              </a:rPr>
              <a:t>. 2016;24:295-302. </a:t>
            </a:r>
            <a:endParaRPr lang="en-US" sz="700" baseline="30000" dirty="0">
              <a:solidFill>
                <a:srgbClr val="000000"/>
              </a:solidFill>
            </a:endParaRPr>
          </a:p>
        </p:txBody>
      </p:sp>
      <p:sp>
        <p:nvSpPr>
          <p:cNvPr id="7" name="Freeform: Shape 24">
            <a:extLst>
              <a:ext uri="{FF2B5EF4-FFF2-40B4-BE49-F238E27FC236}">
                <a16:creationId xmlns:a16="http://schemas.microsoft.com/office/drawing/2014/main" id="{BB766485-4D7A-79C4-9F5E-66ECB1F06ECD}"/>
              </a:ext>
            </a:extLst>
          </p:cNvPr>
          <p:cNvSpPr>
            <a:spLocks noChangeAspect="1"/>
          </p:cNvSpPr>
          <p:nvPr/>
        </p:nvSpPr>
        <p:spPr>
          <a:xfrm>
            <a:off x="925199" y="2393742"/>
            <a:ext cx="1559791" cy="1559791"/>
          </a:xfrm>
          <a:custGeom>
            <a:avLst/>
            <a:gdLst>
              <a:gd name="connsiteX0" fmla="*/ 0 w 1631817"/>
              <a:gd name="connsiteY0" fmla="*/ 815909 h 1631817"/>
              <a:gd name="connsiteX1" fmla="*/ 815909 w 1631817"/>
              <a:gd name="connsiteY1" fmla="*/ 0 h 1631817"/>
              <a:gd name="connsiteX2" fmla="*/ 1631818 w 1631817"/>
              <a:gd name="connsiteY2" fmla="*/ 815909 h 1631817"/>
              <a:gd name="connsiteX3" fmla="*/ 815909 w 1631817"/>
              <a:gd name="connsiteY3" fmla="*/ 1631818 h 1631817"/>
              <a:gd name="connsiteX4" fmla="*/ 0 w 1631817"/>
              <a:gd name="connsiteY4" fmla="*/ 815909 h 1631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1817" h="1631817">
                <a:moveTo>
                  <a:pt x="0" y="815909"/>
                </a:moveTo>
                <a:cubicBezTo>
                  <a:pt x="0" y="365295"/>
                  <a:pt x="365295" y="0"/>
                  <a:pt x="815909" y="0"/>
                </a:cubicBezTo>
                <a:cubicBezTo>
                  <a:pt x="1266523" y="0"/>
                  <a:pt x="1631818" y="365295"/>
                  <a:pt x="1631818" y="815909"/>
                </a:cubicBezTo>
                <a:cubicBezTo>
                  <a:pt x="1631818" y="1266523"/>
                  <a:pt x="1266523" y="1631818"/>
                  <a:pt x="815909" y="1631818"/>
                </a:cubicBezTo>
                <a:cubicBezTo>
                  <a:pt x="365295" y="1631818"/>
                  <a:pt x="0" y="1266523"/>
                  <a:pt x="0" y="815909"/>
                </a:cubicBezTo>
                <a:close/>
              </a:path>
            </a:pathLst>
          </a:custGeom>
          <a:solidFill>
            <a:schemeClr val="tx2"/>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238974" tIns="238974" rIns="238974" bIns="238974"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en-US" sz="6500" b="0" i="0" u="none" strike="noStrike" kern="1200" cap="none" spc="0" normalizeH="0" baseline="0" noProof="0">
              <a:ln>
                <a:noFill/>
              </a:ln>
              <a:solidFill>
                <a:srgbClr val="FFFFFF"/>
              </a:solidFill>
              <a:effectLst/>
              <a:uLnTx/>
              <a:uFillTx/>
              <a:ea typeface="+mn-ea"/>
              <a:cs typeface="+mn-cs"/>
            </a:endParaRPr>
          </a:p>
        </p:txBody>
      </p:sp>
      <p:grpSp>
        <p:nvGrpSpPr>
          <p:cNvPr id="8" name="Group 7">
            <a:extLst>
              <a:ext uri="{FF2B5EF4-FFF2-40B4-BE49-F238E27FC236}">
                <a16:creationId xmlns:a16="http://schemas.microsoft.com/office/drawing/2014/main" id="{9207EF64-FF8A-5A4D-63D6-3EAB4ECDE6B9}"/>
              </a:ext>
            </a:extLst>
          </p:cNvPr>
          <p:cNvGrpSpPr/>
          <p:nvPr/>
        </p:nvGrpSpPr>
        <p:grpSpPr>
          <a:xfrm>
            <a:off x="446914" y="3243366"/>
            <a:ext cx="2505991" cy="1933034"/>
            <a:chOff x="0" y="1483743"/>
            <a:chExt cx="12192000" cy="3071004"/>
          </a:xfrm>
        </p:grpSpPr>
        <p:sp>
          <p:nvSpPr>
            <p:cNvPr id="9" name="TextBox 8">
              <a:extLst>
                <a:ext uri="{FF2B5EF4-FFF2-40B4-BE49-F238E27FC236}">
                  <a16:creationId xmlns:a16="http://schemas.microsoft.com/office/drawing/2014/main" id="{AE2C0174-DCF7-4B7A-2E5D-B3B1DB186E73}"/>
                </a:ext>
              </a:extLst>
            </p:cNvPr>
            <p:cNvSpPr txBox="1"/>
            <p:nvPr/>
          </p:nvSpPr>
          <p:spPr bwMode="gray">
            <a:xfrm>
              <a:off x="0" y="1483743"/>
              <a:ext cx="12191999" cy="3071004"/>
            </a:xfrm>
            <a:prstGeom prst="rect">
              <a:avLst/>
            </a:prstGeom>
            <a:solidFill>
              <a:schemeClr val="bg1">
                <a:lumMod val="95000"/>
              </a:schemeClr>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cxnSp>
          <p:nvCxnSpPr>
            <p:cNvPr id="10" name="Straight Connector 9">
              <a:extLst>
                <a:ext uri="{FF2B5EF4-FFF2-40B4-BE49-F238E27FC236}">
                  <a16:creationId xmlns:a16="http://schemas.microsoft.com/office/drawing/2014/main" id="{DF066B1A-5F69-C009-223A-55334DB48E5F}"/>
                </a:ext>
              </a:extLst>
            </p:cNvPr>
            <p:cNvCxnSpPr/>
            <p:nvPr/>
          </p:nvCxnSpPr>
          <p:spPr bwMode="gray">
            <a:xfrm>
              <a:off x="0" y="1483743"/>
              <a:ext cx="12192000" cy="0"/>
            </a:xfrm>
            <a:prstGeom prst="line">
              <a:avLst/>
            </a:prstGeom>
            <a:noFill/>
            <a:ln w="22225" cap="rnd">
              <a:solidFill>
                <a:schemeClr val="tx2"/>
              </a:solidFill>
              <a:prstDash val="solid"/>
              <a:round/>
              <a:headEnd/>
              <a:tailEnd/>
            </a:ln>
            <a:effectLst/>
          </p:spPr>
        </p:cxnSp>
        <p:cxnSp>
          <p:nvCxnSpPr>
            <p:cNvPr id="11" name="Straight Connector 10">
              <a:extLst>
                <a:ext uri="{FF2B5EF4-FFF2-40B4-BE49-F238E27FC236}">
                  <a16:creationId xmlns:a16="http://schemas.microsoft.com/office/drawing/2014/main" id="{95DB5C47-17D9-9811-B2F2-9C3CF9820581}"/>
                </a:ext>
              </a:extLst>
            </p:cNvPr>
            <p:cNvCxnSpPr/>
            <p:nvPr/>
          </p:nvCxnSpPr>
          <p:spPr bwMode="gray">
            <a:xfrm>
              <a:off x="0" y="4554747"/>
              <a:ext cx="12192000" cy="0"/>
            </a:xfrm>
            <a:prstGeom prst="line">
              <a:avLst/>
            </a:prstGeom>
            <a:noFill/>
            <a:ln w="22225" cap="rnd">
              <a:solidFill>
                <a:schemeClr val="tx2"/>
              </a:solidFill>
              <a:prstDash val="solid"/>
              <a:round/>
              <a:headEnd/>
              <a:tailEnd/>
            </a:ln>
            <a:effectLst/>
          </p:spPr>
        </p:cxnSp>
      </p:grpSp>
      <p:sp>
        <p:nvSpPr>
          <p:cNvPr id="13" name="TextBox 12">
            <a:extLst>
              <a:ext uri="{FF2B5EF4-FFF2-40B4-BE49-F238E27FC236}">
                <a16:creationId xmlns:a16="http://schemas.microsoft.com/office/drawing/2014/main" id="{FF67066B-925A-D0B3-0ED3-A55C47992FEB}"/>
              </a:ext>
            </a:extLst>
          </p:cNvPr>
          <p:cNvSpPr txBox="1"/>
          <p:nvPr/>
        </p:nvSpPr>
        <p:spPr bwMode="gray">
          <a:xfrm>
            <a:off x="446914" y="1485280"/>
            <a:ext cx="8581676" cy="400110"/>
          </a:xfrm>
          <a:prstGeom prst="rect">
            <a:avLst/>
          </a:prstGeom>
          <a:noFill/>
        </p:spPr>
        <p:txBody>
          <a:bodyPr wrap="square" lIns="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chemeClr val="tx2"/>
                </a:solidFill>
                <a:effectLst/>
                <a:uLnTx/>
                <a:uFillTx/>
                <a:ea typeface="Calibri" panose="020F0502020204030204" pitchFamily="34" charset="0"/>
                <a:cs typeface="Calibri" panose="020F0502020204030204" pitchFamily="34" charset="0"/>
              </a:rPr>
              <a:t>Yaşlı</a:t>
            </a:r>
            <a:r>
              <a:rPr kumimoji="0" lang="en-US" sz="2000" b="1" i="0" u="none" strike="noStrike" kern="1200" cap="none" spc="0" normalizeH="0" baseline="0" noProof="0" dirty="0">
                <a:ln>
                  <a:noFill/>
                </a:ln>
                <a:solidFill>
                  <a:schemeClr val="tx2"/>
                </a:solidFill>
                <a:effectLst/>
                <a:uLnTx/>
                <a:uFillTx/>
                <a:ea typeface="Calibri" panose="020F0502020204030204" pitchFamily="34" charset="0"/>
                <a:cs typeface="Calibri" panose="020F0502020204030204" pitchFamily="34" charset="0"/>
              </a:rPr>
              <a:t> </a:t>
            </a:r>
            <a:r>
              <a:rPr kumimoji="0" lang="en-US" sz="2000" b="1" i="0" u="none" strike="noStrike" kern="1200" cap="none" spc="0" normalizeH="0" baseline="0" noProof="0" dirty="0" err="1">
                <a:ln>
                  <a:noFill/>
                </a:ln>
                <a:solidFill>
                  <a:schemeClr val="tx2"/>
                </a:solidFill>
                <a:effectLst/>
                <a:uLnTx/>
                <a:uFillTx/>
                <a:ea typeface="Calibri" panose="020F0502020204030204" pitchFamily="34" charset="0"/>
                <a:cs typeface="Calibri" panose="020F0502020204030204" pitchFamily="34" charset="0"/>
              </a:rPr>
              <a:t>erişkinlerde</a:t>
            </a:r>
            <a:r>
              <a:rPr kumimoji="0" lang="en-US" sz="2000" b="1" i="0" u="none" strike="noStrike" kern="1200" cap="none" spc="0" normalizeH="0" baseline="0" noProof="0" dirty="0">
                <a:ln>
                  <a:noFill/>
                </a:ln>
                <a:solidFill>
                  <a:schemeClr val="tx2"/>
                </a:solidFill>
                <a:effectLst/>
                <a:uLnTx/>
                <a:uFillTx/>
                <a:ea typeface="Calibri" panose="020F0502020204030204" pitchFamily="34" charset="0"/>
                <a:cs typeface="Calibri" panose="020F0502020204030204" pitchFamily="34" charset="0"/>
              </a:rPr>
              <a:t> </a:t>
            </a:r>
            <a:r>
              <a:rPr kumimoji="0" lang="en-US" sz="2000" b="1" i="0" u="none" strike="noStrike" kern="1200" cap="none" spc="0" normalizeH="0" baseline="0" noProof="0" dirty="0" err="1">
                <a:ln>
                  <a:noFill/>
                </a:ln>
                <a:solidFill>
                  <a:schemeClr val="tx2"/>
                </a:solidFill>
                <a:effectLst/>
                <a:uLnTx/>
                <a:uFillTx/>
                <a:ea typeface="Calibri" panose="020F0502020204030204" pitchFamily="34" charset="0"/>
                <a:cs typeface="Calibri" panose="020F0502020204030204" pitchFamily="34" charset="0"/>
              </a:rPr>
              <a:t>RSV'nin</a:t>
            </a:r>
            <a:r>
              <a:rPr kumimoji="0" lang="en-US" sz="2000" b="1" i="0" u="none" strike="noStrike" kern="1200" cap="none" spc="0" normalizeH="0" baseline="0" noProof="0" dirty="0">
                <a:ln>
                  <a:noFill/>
                </a:ln>
                <a:solidFill>
                  <a:schemeClr val="tx2"/>
                </a:solidFill>
                <a:effectLst/>
                <a:uLnTx/>
                <a:uFillTx/>
                <a:ea typeface="Calibri" panose="020F0502020204030204" pitchFamily="34" charset="0"/>
                <a:cs typeface="Calibri" panose="020F0502020204030204" pitchFamily="34" charset="0"/>
              </a:rPr>
              <a:t> </a:t>
            </a:r>
            <a:r>
              <a:rPr kumimoji="0" lang="en-US" sz="2000" b="1" i="0" u="none" strike="noStrike" kern="1200" cap="none" spc="0" normalizeH="0" baseline="0" noProof="0" dirty="0" err="1">
                <a:ln>
                  <a:noFill/>
                </a:ln>
                <a:solidFill>
                  <a:schemeClr val="tx2"/>
                </a:solidFill>
                <a:effectLst/>
                <a:uLnTx/>
                <a:uFillTx/>
                <a:ea typeface="Calibri" panose="020F0502020204030204" pitchFamily="34" charset="0"/>
                <a:cs typeface="Calibri" panose="020F0502020204030204" pitchFamily="34" charset="0"/>
              </a:rPr>
              <a:t>temel</a:t>
            </a:r>
            <a:r>
              <a:rPr kumimoji="0" lang="en-US" sz="2000" b="1" i="0" u="none" strike="noStrike" kern="1200" cap="none" spc="0" normalizeH="0" baseline="0" noProof="0" dirty="0">
                <a:ln>
                  <a:noFill/>
                </a:ln>
                <a:solidFill>
                  <a:schemeClr val="tx2"/>
                </a:solidFill>
                <a:effectLst/>
                <a:uLnTx/>
                <a:uFillTx/>
                <a:ea typeface="Calibri" panose="020F0502020204030204" pitchFamily="34" charset="0"/>
                <a:cs typeface="Calibri" panose="020F0502020204030204" pitchFamily="34" charset="0"/>
              </a:rPr>
              <a:t> </a:t>
            </a:r>
            <a:r>
              <a:rPr kumimoji="0" lang="en-US" sz="2000" b="1" i="0" u="none" strike="noStrike" kern="1200" cap="none" spc="0" normalizeH="0" baseline="0" noProof="0" dirty="0" err="1">
                <a:ln>
                  <a:noFill/>
                </a:ln>
                <a:solidFill>
                  <a:schemeClr val="tx2"/>
                </a:solidFill>
                <a:effectLst/>
                <a:uLnTx/>
                <a:uFillTx/>
                <a:ea typeface="Calibri" panose="020F0502020204030204" pitchFamily="34" charset="0"/>
                <a:cs typeface="Calibri" panose="020F0502020204030204" pitchFamily="34" charset="0"/>
              </a:rPr>
              <a:t>ayırt</a:t>
            </a:r>
            <a:r>
              <a:rPr kumimoji="0" lang="en-US" sz="2000" b="1" i="0" u="none" strike="noStrike" kern="1200" cap="none" spc="0" normalizeH="0" baseline="0" noProof="0" dirty="0">
                <a:ln>
                  <a:noFill/>
                </a:ln>
                <a:solidFill>
                  <a:schemeClr val="tx2"/>
                </a:solidFill>
                <a:effectLst/>
                <a:uLnTx/>
                <a:uFillTx/>
                <a:ea typeface="Calibri" panose="020F0502020204030204" pitchFamily="34" charset="0"/>
                <a:cs typeface="Calibri" panose="020F0502020204030204" pitchFamily="34" charset="0"/>
              </a:rPr>
              <a:t> </a:t>
            </a:r>
            <a:r>
              <a:rPr kumimoji="0" lang="en-US" sz="2000" b="1" i="0" u="none" strike="noStrike" kern="1200" cap="none" spc="0" normalizeH="0" baseline="0" noProof="0" dirty="0" err="1">
                <a:ln>
                  <a:noFill/>
                </a:ln>
                <a:solidFill>
                  <a:schemeClr val="tx2"/>
                </a:solidFill>
                <a:effectLst/>
                <a:uLnTx/>
                <a:uFillTx/>
                <a:ea typeface="Calibri" panose="020F0502020204030204" pitchFamily="34" charset="0"/>
                <a:cs typeface="Calibri" panose="020F0502020204030204" pitchFamily="34" charset="0"/>
              </a:rPr>
              <a:t>edici</a:t>
            </a:r>
            <a:r>
              <a:rPr kumimoji="0" lang="en-US" sz="2000" b="1" i="0" u="none" strike="noStrike" kern="1200" cap="none" spc="0" normalizeH="0" baseline="0" noProof="0" dirty="0">
                <a:ln>
                  <a:noFill/>
                </a:ln>
                <a:solidFill>
                  <a:schemeClr val="tx2"/>
                </a:solidFill>
                <a:effectLst/>
                <a:uLnTx/>
                <a:uFillTx/>
                <a:ea typeface="Calibri" panose="020F0502020204030204" pitchFamily="34" charset="0"/>
                <a:cs typeface="Calibri" panose="020F0502020204030204" pitchFamily="34" charset="0"/>
              </a:rPr>
              <a:t> </a:t>
            </a:r>
            <a:r>
              <a:rPr kumimoji="0" lang="en-US" sz="2000" b="1" i="0" u="none" strike="noStrike" kern="1200" cap="none" spc="0" normalizeH="0" baseline="0" noProof="0" dirty="0" err="1">
                <a:ln>
                  <a:noFill/>
                </a:ln>
                <a:solidFill>
                  <a:schemeClr val="tx2"/>
                </a:solidFill>
                <a:effectLst/>
                <a:uLnTx/>
                <a:uFillTx/>
                <a:ea typeface="Calibri" panose="020F0502020204030204" pitchFamily="34" charset="0"/>
                <a:cs typeface="Calibri" panose="020F0502020204030204" pitchFamily="34" charset="0"/>
              </a:rPr>
              <a:t>özellikleri</a:t>
            </a:r>
            <a:r>
              <a:rPr kumimoji="0" lang="en-US" sz="2000" b="1" i="0" u="none" strike="noStrike" kern="1200" cap="none" spc="0" normalizeH="0" baseline="0" noProof="0" dirty="0">
                <a:ln>
                  <a:noFill/>
                </a:ln>
                <a:solidFill>
                  <a:schemeClr val="tx2"/>
                </a:solidFill>
                <a:effectLst/>
                <a:uLnTx/>
                <a:uFillTx/>
                <a:ea typeface="Calibri" panose="020F0502020204030204" pitchFamily="34" charset="0"/>
                <a:cs typeface="Calibri" panose="020F0502020204030204" pitchFamily="34" charset="0"/>
              </a:rPr>
              <a:t> </a:t>
            </a:r>
            <a:r>
              <a:rPr kumimoji="0" lang="en-US" sz="2000" b="1" i="0" u="none" strike="noStrike" kern="1200" cap="none" spc="0" normalizeH="0" baseline="0" noProof="0" dirty="0" err="1">
                <a:ln>
                  <a:noFill/>
                </a:ln>
                <a:solidFill>
                  <a:schemeClr val="tx2"/>
                </a:solidFill>
                <a:effectLst/>
                <a:uLnTx/>
                <a:uFillTx/>
                <a:ea typeface="Calibri" panose="020F0502020204030204" pitchFamily="34" charset="0"/>
                <a:cs typeface="Calibri" panose="020F0502020204030204" pitchFamily="34" charset="0"/>
              </a:rPr>
              <a:t>şunları</a:t>
            </a:r>
            <a:r>
              <a:rPr kumimoji="0" lang="en-US" sz="2000" b="1" i="0" u="none" strike="noStrike" kern="1200" cap="none" spc="0" normalizeH="0" baseline="0" noProof="0" dirty="0">
                <a:ln>
                  <a:noFill/>
                </a:ln>
                <a:solidFill>
                  <a:schemeClr val="tx2"/>
                </a:solidFill>
                <a:effectLst/>
                <a:uLnTx/>
                <a:uFillTx/>
                <a:ea typeface="Calibri" panose="020F0502020204030204" pitchFamily="34" charset="0"/>
                <a:cs typeface="Calibri" panose="020F0502020204030204" pitchFamily="34" charset="0"/>
              </a:rPr>
              <a:t> </a:t>
            </a:r>
            <a:r>
              <a:rPr kumimoji="0" lang="en-US" sz="2000" b="1" i="0" u="none" strike="noStrike" kern="1200" cap="none" spc="0" normalizeH="0" baseline="0" noProof="0" dirty="0" err="1">
                <a:ln>
                  <a:noFill/>
                </a:ln>
                <a:solidFill>
                  <a:schemeClr val="tx2"/>
                </a:solidFill>
                <a:effectLst/>
                <a:uLnTx/>
                <a:uFillTx/>
                <a:ea typeface="Calibri" panose="020F0502020204030204" pitchFamily="34" charset="0"/>
                <a:cs typeface="Calibri" panose="020F0502020204030204" pitchFamily="34" charset="0"/>
              </a:rPr>
              <a:t>içerebilir</a:t>
            </a:r>
            <a:r>
              <a:rPr kumimoji="0" lang="en-US" sz="2000" b="1" i="0" u="none" strike="noStrike" kern="1200" cap="none" spc="0" normalizeH="0" baseline="0" noProof="0" dirty="0">
                <a:ln>
                  <a:noFill/>
                </a:ln>
                <a:solidFill>
                  <a:schemeClr val="tx2"/>
                </a:solidFill>
                <a:effectLst/>
                <a:uLnTx/>
                <a:uFillTx/>
                <a:ea typeface="Calibri" panose="020F0502020204030204" pitchFamily="34" charset="0"/>
                <a:cs typeface="Calibri" panose="020F0502020204030204" pitchFamily="34" charset="0"/>
              </a:rPr>
              <a:t>:</a:t>
            </a:r>
          </a:p>
        </p:txBody>
      </p:sp>
      <p:sp>
        <p:nvSpPr>
          <p:cNvPr id="14" name="Freeform: Shape 24">
            <a:extLst>
              <a:ext uri="{FF2B5EF4-FFF2-40B4-BE49-F238E27FC236}">
                <a16:creationId xmlns:a16="http://schemas.microsoft.com/office/drawing/2014/main" id="{18660D4E-1840-561A-B3AA-55C8C3043B67}"/>
              </a:ext>
            </a:extLst>
          </p:cNvPr>
          <p:cNvSpPr>
            <a:spLocks noChangeAspect="1"/>
          </p:cNvSpPr>
          <p:nvPr/>
        </p:nvSpPr>
        <p:spPr>
          <a:xfrm>
            <a:off x="3852720" y="2393742"/>
            <a:ext cx="1559791" cy="1559791"/>
          </a:xfrm>
          <a:custGeom>
            <a:avLst/>
            <a:gdLst>
              <a:gd name="connsiteX0" fmla="*/ 0 w 1631817"/>
              <a:gd name="connsiteY0" fmla="*/ 815909 h 1631817"/>
              <a:gd name="connsiteX1" fmla="*/ 815909 w 1631817"/>
              <a:gd name="connsiteY1" fmla="*/ 0 h 1631817"/>
              <a:gd name="connsiteX2" fmla="*/ 1631818 w 1631817"/>
              <a:gd name="connsiteY2" fmla="*/ 815909 h 1631817"/>
              <a:gd name="connsiteX3" fmla="*/ 815909 w 1631817"/>
              <a:gd name="connsiteY3" fmla="*/ 1631818 h 1631817"/>
              <a:gd name="connsiteX4" fmla="*/ 0 w 1631817"/>
              <a:gd name="connsiteY4" fmla="*/ 815909 h 1631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1817" h="1631817">
                <a:moveTo>
                  <a:pt x="0" y="815909"/>
                </a:moveTo>
                <a:cubicBezTo>
                  <a:pt x="0" y="365295"/>
                  <a:pt x="365295" y="0"/>
                  <a:pt x="815909" y="0"/>
                </a:cubicBezTo>
                <a:cubicBezTo>
                  <a:pt x="1266523" y="0"/>
                  <a:pt x="1631818" y="365295"/>
                  <a:pt x="1631818" y="815909"/>
                </a:cubicBezTo>
                <a:cubicBezTo>
                  <a:pt x="1631818" y="1266523"/>
                  <a:pt x="1266523" y="1631818"/>
                  <a:pt x="815909" y="1631818"/>
                </a:cubicBezTo>
                <a:cubicBezTo>
                  <a:pt x="365295" y="1631818"/>
                  <a:pt x="0" y="1266523"/>
                  <a:pt x="0" y="815909"/>
                </a:cubicBezTo>
                <a:close/>
              </a:path>
            </a:pathLst>
          </a:custGeom>
          <a:solidFill>
            <a:schemeClr val="tx2"/>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238974" tIns="238974" rIns="238974" bIns="238974"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en-US" sz="6500" b="0" i="0" u="none" strike="noStrike" kern="1200" cap="none" spc="0" normalizeH="0" baseline="0" noProof="0">
              <a:ln>
                <a:noFill/>
              </a:ln>
              <a:solidFill>
                <a:srgbClr val="FFFFFF"/>
              </a:solidFill>
              <a:effectLst/>
              <a:uLnTx/>
              <a:uFillTx/>
              <a:ea typeface="+mn-ea"/>
              <a:cs typeface="+mn-cs"/>
            </a:endParaRPr>
          </a:p>
        </p:txBody>
      </p:sp>
      <p:grpSp>
        <p:nvGrpSpPr>
          <p:cNvPr id="15" name="Group 14">
            <a:extLst>
              <a:ext uri="{FF2B5EF4-FFF2-40B4-BE49-F238E27FC236}">
                <a16:creationId xmlns:a16="http://schemas.microsoft.com/office/drawing/2014/main" id="{5345EB45-A69A-C7BD-E068-75AB133B320B}"/>
              </a:ext>
            </a:extLst>
          </p:cNvPr>
          <p:cNvGrpSpPr/>
          <p:nvPr/>
        </p:nvGrpSpPr>
        <p:grpSpPr>
          <a:xfrm>
            <a:off x="3376164" y="3243366"/>
            <a:ext cx="2505991" cy="1933034"/>
            <a:chOff x="0" y="1483743"/>
            <a:chExt cx="12192000" cy="3071004"/>
          </a:xfrm>
        </p:grpSpPr>
        <p:sp>
          <p:nvSpPr>
            <p:cNvPr id="16" name="TextBox 15">
              <a:extLst>
                <a:ext uri="{FF2B5EF4-FFF2-40B4-BE49-F238E27FC236}">
                  <a16:creationId xmlns:a16="http://schemas.microsoft.com/office/drawing/2014/main" id="{2762B327-BEF4-F84A-C3C8-1E7C36D21372}"/>
                </a:ext>
              </a:extLst>
            </p:cNvPr>
            <p:cNvSpPr txBox="1"/>
            <p:nvPr/>
          </p:nvSpPr>
          <p:spPr bwMode="gray">
            <a:xfrm>
              <a:off x="0" y="1483743"/>
              <a:ext cx="12191999" cy="3071004"/>
            </a:xfrm>
            <a:prstGeom prst="rect">
              <a:avLst/>
            </a:prstGeom>
            <a:solidFill>
              <a:schemeClr val="bg1">
                <a:lumMod val="95000"/>
              </a:schemeClr>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cxnSp>
          <p:nvCxnSpPr>
            <p:cNvPr id="17" name="Straight Connector 16">
              <a:extLst>
                <a:ext uri="{FF2B5EF4-FFF2-40B4-BE49-F238E27FC236}">
                  <a16:creationId xmlns:a16="http://schemas.microsoft.com/office/drawing/2014/main" id="{4CD5E615-7BE6-A8BF-A59F-AF46EB99980D}"/>
                </a:ext>
              </a:extLst>
            </p:cNvPr>
            <p:cNvCxnSpPr/>
            <p:nvPr/>
          </p:nvCxnSpPr>
          <p:spPr bwMode="gray">
            <a:xfrm>
              <a:off x="0" y="1483743"/>
              <a:ext cx="12192000" cy="0"/>
            </a:xfrm>
            <a:prstGeom prst="line">
              <a:avLst/>
            </a:prstGeom>
            <a:noFill/>
            <a:ln w="22225" cap="rnd">
              <a:solidFill>
                <a:schemeClr val="tx2"/>
              </a:solidFill>
              <a:prstDash val="solid"/>
              <a:round/>
              <a:headEnd/>
              <a:tailEnd/>
            </a:ln>
            <a:effectLst/>
          </p:spPr>
        </p:cxnSp>
        <p:cxnSp>
          <p:nvCxnSpPr>
            <p:cNvPr id="19" name="Straight Connector 18">
              <a:extLst>
                <a:ext uri="{FF2B5EF4-FFF2-40B4-BE49-F238E27FC236}">
                  <a16:creationId xmlns:a16="http://schemas.microsoft.com/office/drawing/2014/main" id="{9E0A5653-AC19-5E8C-D0D1-7462BF532E20}"/>
                </a:ext>
              </a:extLst>
            </p:cNvPr>
            <p:cNvCxnSpPr/>
            <p:nvPr/>
          </p:nvCxnSpPr>
          <p:spPr bwMode="gray">
            <a:xfrm>
              <a:off x="0" y="4554747"/>
              <a:ext cx="12192000" cy="0"/>
            </a:xfrm>
            <a:prstGeom prst="line">
              <a:avLst/>
            </a:prstGeom>
            <a:noFill/>
            <a:ln w="22225" cap="rnd">
              <a:solidFill>
                <a:schemeClr val="tx2"/>
              </a:solidFill>
              <a:prstDash val="solid"/>
              <a:round/>
              <a:headEnd/>
              <a:tailEnd/>
            </a:ln>
            <a:effectLst/>
          </p:spPr>
        </p:cxnSp>
      </p:grpSp>
      <p:sp>
        <p:nvSpPr>
          <p:cNvPr id="20" name="Freeform: Shape 24">
            <a:extLst>
              <a:ext uri="{FF2B5EF4-FFF2-40B4-BE49-F238E27FC236}">
                <a16:creationId xmlns:a16="http://schemas.microsoft.com/office/drawing/2014/main" id="{0BC0884F-EE74-F681-AA7A-D546E2CB31AA}"/>
              </a:ext>
            </a:extLst>
          </p:cNvPr>
          <p:cNvSpPr>
            <a:spLocks noChangeAspect="1"/>
          </p:cNvSpPr>
          <p:nvPr/>
        </p:nvSpPr>
        <p:spPr>
          <a:xfrm>
            <a:off x="6780241" y="2393742"/>
            <a:ext cx="1559791" cy="1559791"/>
          </a:xfrm>
          <a:custGeom>
            <a:avLst/>
            <a:gdLst>
              <a:gd name="connsiteX0" fmla="*/ 0 w 1631817"/>
              <a:gd name="connsiteY0" fmla="*/ 815909 h 1631817"/>
              <a:gd name="connsiteX1" fmla="*/ 815909 w 1631817"/>
              <a:gd name="connsiteY1" fmla="*/ 0 h 1631817"/>
              <a:gd name="connsiteX2" fmla="*/ 1631818 w 1631817"/>
              <a:gd name="connsiteY2" fmla="*/ 815909 h 1631817"/>
              <a:gd name="connsiteX3" fmla="*/ 815909 w 1631817"/>
              <a:gd name="connsiteY3" fmla="*/ 1631818 h 1631817"/>
              <a:gd name="connsiteX4" fmla="*/ 0 w 1631817"/>
              <a:gd name="connsiteY4" fmla="*/ 815909 h 1631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1817" h="1631817">
                <a:moveTo>
                  <a:pt x="0" y="815909"/>
                </a:moveTo>
                <a:cubicBezTo>
                  <a:pt x="0" y="365295"/>
                  <a:pt x="365295" y="0"/>
                  <a:pt x="815909" y="0"/>
                </a:cubicBezTo>
                <a:cubicBezTo>
                  <a:pt x="1266523" y="0"/>
                  <a:pt x="1631818" y="365295"/>
                  <a:pt x="1631818" y="815909"/>
                </a:cubicBezTo>
                <a:cubicBezTo>
                  <a:pt x="1631818" y="1266523"/>
                  <a:pt x="1266523" y="1631818"/>
                  <a:pt x="815909" y="1631818"/>
                </a:cubicBezTo>
                <a:cubicBezTo>
                  <a:pt x="365295" y="1631818"/>
                  <a:pt x="0" y="1266523"/>
                  <a:pt x="0" y="815909"/>
                </a:cubicBezTo>
                <a:close/>
              </a:path>
            </a:pathLst>
          </a:custGeom>
          <a:solidFill>
            <a:schemeClr val="tx2"/>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238974" tIns="238974" rIns="238974" bIns="238974"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en-US" sz="6500" b="0" i="0" u="none" strike="noStrike" kern="1200" cap="none" spc="0" normalizeH="0" baseline="0" noProof="0">
              <a:ln>
                <a:noFill/>
              </a:ln>
              <a:solidFill>
                <a:srgbClr val="FFFFFF"/>
              </a:solidFill>
              <a:effectLst/>
              <a:uLnTx/>
              <a:uFillTx/>
              <a:ea typeface="+mn-ea"/>
              <a:cs typeface="+mn-cs"/>
            </a:endParaRPr>
          </a:p>
        </p:txBody>
      </p:sp>
      <p:grpSp>
        <p:nvGrpSpPr>
          <p:cNvPr id="23" name="Group 22">
            <a:extLst>
              <a:ext uri="{FF2B5EF4-FFF2-40B4-BE49-F238E27FC236}">
                <a16:creationId xmlns:a16="http://schemas.microsoft.com/office/drawing/2014/main" id="{F8C4ECDE-68D7-9684-647B-F791A6396DC8}"/>
              </a:ext>
            </a:extLst>
          </p:cNvPr>
          <p:cNvGrpSpPr/>
          <p:nvPr/>
        </p:nvGrpSpPr>
        <p:grpSpPr>
          <a:xfrm>
            <a:off x="6305414" y="3243366"/>
            <a:ext cx="2505991" cy="1933034"/>
            <a:chOff x="0" y="1483743"/>
            <a:chExt cx="12192000" cy="3071004"/>
          </a:xfrm>
        </p:grpSpPr>
        <p:sp>
          <p:nvSpPr>
            <p:cNvPr id="31" name="TextBox 30">
              <a:extLst>
                <a:ext uri="{FF2B5EF4-FFF2-40B4-BE49-F238E27FC236}">
                  <a16:creationId xmlns:a16="http://schemas.microsoft.com/office/drawing/2014/main" id="{D337649B-DDEB-48CC-1FAB-C086A9C8043E}"/>
                </a:ext>
              </a:extLst>
            </p:cNvPr>
            <p:cNvSpPr txBox="1"/>
            <p:nvPr/>
          </p:nvSpPr>
          <p:spPr bwMode="gray">
            <a:xfrm>
              <a:off x="0" y="1483743"/>
              <a:ext cx="12191999" cy="3071004"/>
            </a:xfrm>
            <a:prstGeom prst="rect">
              <a:avLst/>
            </a:prstGeom>
            <a:solidFill>
              <a:schemeClr val="bg1">
                <a:lumMod val="95000"/>
              </a:schemeClr>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cxnSp>
          <p:nvCxnSpPr>
            <p:cNvPr id="33" name="Straight Connector 32">
              <a:extLst>
                <a:ext uri="{FF2B5EF4-FFF2-40B4-BE49-F238E27FC236}">
                  <a16:creationId xmlns:a16="http://schemas.microsoft.com/office/drawing/2014/main" id="{101584C9-0F79-72B1-B876-5627007AF192}"/>
                </a:ext>
              </a:extLst>
            </p:cNvPr>
            <p:cNvCxnSpPr/>
            <p:nvPr/>
          </p:nvCxnSpPr>
          <p:spPr bwMode="gray">
            <a:xfrm>
              <a:off x="0" y="1483743"/>
              <a:ext cx="12192000" cy="0"/>
            </a:xfrm>
            <a:prstGeom prst="line">
              <a:avLst/>
            </a:prstGeom>
            <a:noFill/>
            <a:ln w="22225" cap="rnd">
              <a:solidFill>
                <a:schemeClr val="tx2"/>
              </a:solidFill>
              <a:prstDash val="solid"/>
              <a:round/>
              <a:headEnd/>
              <a:tailEnd/>
            </a:ln>
            <a:effectLst/>
          </p:spPr>
        </p:cxnSp>
        <p:cxnSp>
          <p:nvCxnSpPr>
            <p:cNvPr id="34" name="Straight Connector 33">
              <a:extLst>
                <a:ext uri="{FF2B5EF4-FFF2-40B4-BE49-F238E27FC236}">
                  <a16:creationId xmlns:a16="http://schemas.microsoft.com/office/drawing/2014/main" id="{687611FA-93C1-1C35-4EFF-756EC7889671}"/>
                </a:ext>
              </a:extLst>
            </p:cNvPr>
            <p:cNvCxnSpPr/>
            <p:nvPr/>
          </p:nvCxnSpPr>
          <p:spPr bwMode="gray">
            <a:xfrm>
              <a:off x="0" y="4554747"/>
              <a:ext cx="12192000" cy="0"/>
            </a:xfrm>
            <a:prstGeom prst="line">
              <a:avLst/>
            </a:prstGeom>
            <a:noFill/>
            <a:ln w="22225" cap="rnd">
              <a:solidFill>
                <a:schemeClr val="tx2"/>
              </a:solidFill>
              <a:prstDash val="solid"/>
              <a:round/>
              <a:headEnd/>
              <a:tailEnd/>
            </a:ln>
            <a:effectLst/>
          </p:spPr>
        </p:cxnSp>
      </p:grpSp>
      <p:sp>
        <p:nvSpPr>
          <p:cNvPr id="37" name="Freeform: Shape 24">
            <a:extLst>
              <a:ext uri="{FF2B5EF4-FFF2-40B4-BE49-F238E27FC236}">
                <a16:creationId xmlns:a16="http://schemas.microsoft.com/office/drawing/2014/main" id="{90252103-DCA2-6096-B962-CDBF71E109EC}"/>
              </a:ext>
            </a:extLst>
          </p:cNvPr>
          <p:cNvSpPr>
            <a:spLocks noChangeAspect="1"/>
          </p:cNvSpPr>
          <p:nvPr/>
        </p:nvSpPr>
        <p:spPr>
          <a:xfrm>
            <a:off x="9707762" y="2401270"/>
            <a:ext cx="1559791" cy="1559791"/>
          </a:xfrm>
          <a:custGeom>
            <a:avLst/>
            <a:gdLst>
              <a:gd name="connsiteX0" fmla="*/ 0 w 1631817"/>
              <a:gd name="connsiteY0" fmla="*/ 815909 h 1631817"/>
              <a:gd name="connsiteX1" fmla="*/ 815909 w 1631817"/>
              <a:gd name="connsiteY1" fmla="*/ 0 h 1631817"/>
              <a:gd name="connsiteX2" fmla="*/ 1631818 w 1631817"/>
              <a:gd name="connsiteY2" fmla="*/ 815909 h 1631817"/>
              <a:gd name="connsiteX3" fmla="*/ 815909 w 1631817"/>
              <a:gd name="connsiteY3" fmla="*/ 1631818 h 1631817"/>
              <a:gd name="connsiteX4" fmla="*/ 0 w 1631817"/>
              <a:gd name="connsiteY4" fmla="*/ 815909 h 1631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1817" h="1631817">
                <a:moveTo>
                  <a:pt x="0" y="815909"/>
                </a:moveTo>
                <a:cubicBezTo>
                  <a:pt x="0" y="365295"/>
                  <a:pt x="365295" y="0"/>
                  <a:pt x="815909" y="0"/>
                </a:cubicBezTo>
                <a:cubicBezTo>
                  <a:pt x="1266523" y="0"/>
                  <a:pt x="1631818" y="365295"/>
                  <a:pt x="1631818" y="815909"/>
                </a:cubicBezTo>
                <a:cubicBezTo>
                  <a:pt x="1631818" y="1266523"/>
                  <a:pt x="1266523" y="1631818"/>
                  <a:pt x="815909" y="1631818"/>
                </a:cubicBezTo>
                <a:cubicBezTo>
                  <a:pt x="365295" y="1631818"/>
                  <a:pt x="0" y="1266523"/>
                  <a:pt x="0" y="815909"/>
                </a:cubicBezTo>
                <a:close/>
              </a:path>
            </a:pathLst>
          </a:custGeom>
          <a:solidFill>
            <a:schemeClr val="tx2"/>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238974" tIns="238974" rIns="238974" bIns="238974"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en-US" sz="6500" b="0" i="0" u="none" strike="noStrike" kern="1200" cap="none" spc="0" normalizeH="0" baseline="0" noProof="0">
              <a:ln>
                <a:noFill/>
              </a:ln>
              <a:solidFill>
                <a:srgbClr val="FFFFFF"/>
              </a:solidFill>
              <a:effectLst/>
              <a:uLnTx/>
              <a:uFillTx/>
              <a:ea typeface="+mn-ea"/>
              <a:cs typeface="+mn-cs"/>
            </a:endParaRPr>
          </a:p>
        </p:txBody>
      </p:sp>
      <p:grpSp>
        <p:nvGrpSpPr>
          <p:cNvPr id="38" name="Group 37">
            <a:extLst>
              <a:ext uri="{FF2B5EF4-FFF2-40B4-BE49-F238E27FC236}">
                <a16:creationId xmlns:a16="http://schemas.microsoft.com/office/drawing/2014/main" id="{4CFCF1E0-BD8B-F071-9FD7-300BF86E1A95}"/>
              </a:ext>
            </a:extLst>
          </p:cNvPr>
          <p:cNvGrpSpPr/>
          <p:nvPr/>
        </p:nvGrpSpPr>
        <p:grpSpPr>
          <a:xfrm>
            <a:off x="9234663" y="3243366"/>
            <a:ext cx="2505991" cy="1933034"/>
            <a:chOff x="0" y="1483743"/>
            <a:chExt cx="12192000" cy="3071004"/>
          </a:xfrm>
        </p:grpSpPr>
        <p:sp>
          <p:nvSpPr>
            <p:cNvPr id="39" name="TextBox 38">
              <a:extLst>
                <a:ext uri="{FF2B5EF4-FFF2-40B4-BE49-F238E27FC236}">
                  <a16:creationId xmlns:a16="http://schemas.microsoft.com/office/drawing/2014/main" id="{948ED87A-4A92-3706-B1DE-FD2FCE0C5214}"/>
                </a:ext>
              </a:extLst>
            </p:cNvPr>
            <p:cNvSpPr txBox="1"/>
            <p:nvPr/>
          </p:nvSpPr>
          <p:spPr bwMode="gray">
            <a:xfrm>
              <a:off x="0" y="1483743"/>
              <a:ext cx="12191999" cy="3071004"/>
            </a:xfrm>
            <a:prstGeom prst="rect">
              <a:avLst/>
            </a:prstGeom>
            <a:solidFill>
              <a:schemeClr val="bg1">
                <a:lumMod val="95000"/>
              </a:schemeClr>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cxnSp>
          <p:nvCxnSpPr>
            <p:cNvPr id="40" name="Straight Connector 39">
              <a:extLst>
                <a:ext uri="{FF2B5EF4-FFF2-40B4-BE49-F238E27FC236}">
                  <a16:creationId xmlns:a16="http://schemas.microsoft.com/office/drawing/2014/main" id="{65F98C22-038A-F5BD-FC1C-22523ABD8D83}"/>
                </a:ext>
              </a:extLst>
            </p:cNvPr>
            <p:cNvCxnSpPr/>
            <p:nvPr/>
          </p:nvCxnSpPr>
          <p:spPr bwMode="gray">
            <a:xfrm>
              <a:off x="0" y="1483743"/>
              <a:ext cx="12192000" cy="0"/>
            </a:xfrm>
            <a:prstGeom prst="line">
              <a:avLst/>
            </a:prstGeom>
            <a:noFill/>
            <a:ln w="22225" cap="rnd">
              <a:solidFill>
                <a:schemeClr val="tx2"/>
              </a:solidFill>
              <a:prstDash val="solid"/>
              <a:round/>
              <a:headEnd/>
              <a:tailEnd/>
            </a:ln>
            <a:effectLst/>
          </p:spPr>
        </p:cxnSp>
        <p:cxnSp>
          <p:nvCxnSpPr>
            <p:cNvPr id="42" name="Straight Connector 41">
              <a:extLst>
                <a:ext uri="{FF2B5EF4-FFF2-40B4-BE49-F238E27FC236}">
                  <a16:creationId xmlns:a16="http://schemas.microsoft.com/office/drawing/2014/main" id="{6570176C-6984-D388-B437-85A0DA472879}"/>
                </a:ext>
              </a:extLst>
            </p:cNvPr>
            <p:cNvCxnSpPr/>
            <p:nvPr/>
          </p:nvCxnSpPr>
          <p:spPr bwMode="gray">
            <a:xfrm>
              <a:off x="0" y="4554747"/>
              <a:ext cx="12192000" cy="0"/>
            </a:xfrm>
            <a:prstGeom prst="line">
              <a:avLst/>
            </a:prstGeom>
            <a:noFill/>
            <a:ln w="22225" cap="rnd">
              <a:solidFill>
                <a:schemeClr val="tx2"/>
              </a:solidFill>
              <a:prstDash val="solid"/>
              <a:round/>
              <a:headEnd/>
              <a:tailEnd/>
            </a:ln>
            <a:effectLst/>
          </p:spPr>
        </p:cxnSp>
      </p:grpSp>
      <p:pic>
        <p:nvPicPr>
          <p:cNvPr id="43" name="Graphic 42" descr="Cough outline">
            <a:extLst>
              <a:ext uri="{FF2B5EF4-FFF2-40B4-BE49-F238E27FC236}">
                <a16:creationId xmlns:a16="http://schemas.microsoft.com/office/drawing/2014/main" id="{9DF561B0-CD3A-91B9-7815-4699A8AAEB40}"/>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1266859" y="2431845"/>
            <a:ext cx="848972" cy="848972"/>
          </a:xfrm>
          <a:prstGeom prst="rect">
            <a:avLst/>
          </a:prstGeom>
        </p:spPr>
      </p:pic>
      <p:pic>
        <p:nvPicPr>
          <p:cNvPr id="44" name="Graphic 43" descr="Fever outline">
            <a:extLst>
              <a:ext uri="{FF2B5EF4-FFF2-40B4-BE49-F238E27FC236}">
                <a16:creationId xmlns:a16="http://schemas.microsoft.com/office/drawing/2014/main" id="{8D21C28C-CCBD-FAE7-F320-08236EBEE25C}"/>
              </a:ext>
            </a:extLst>
          </p:cNvPr>
          <p:cNvPicPr>
            <a:picLocks noChangeAspect="1"/>
          </p:cNvPicPr>
          <p:nvPr/>
        </p:nvPicPr>
        <p:blipFill>
          <a:blip r:embed="rId5" cstate="print">
            <a:extLst>
              <a:ext uri="{96DAC541-7B7A-43D3-8B79-37D633B846F1}">
                <asvg:svgBlip xmlns:asvg="http://schemas.microsoft.com/office/drawing/2016/SVG/main" r:embed="rId6"/>
              </a:ext>
            </a:extLst>
          </a:blip>
          <a:stretch>
            <a:fillRect/>
          </a:stretch>
        </p:blipFill>
        <p:spPr>
          <a:xfrm>
            <a:off x="4213996" y="2479452"/>
            <a:ext cx="817024" cy="817024"/>
          </a:xfrm>
          <a:prstGeom prst="rect">
            <a:avLst/>
          </a:prstGeom>
        </p:spPr>
      </p:pic>
      <p:pic>
        <p:nvPicPr>
          <p:cNvPr id="45" name="Graphic 44" descr="Stopwatch with solid fill">
            <a:extLst>
              <a:ext uri="{FF2B5EF4-FFF2-40B4-BE49-F238E27FC236}">
                <a16:creationId xmlns:a16="http://schemas.microsoft.com/office/drawing/2014/main" id="{4E9C30A2-6033-EAD5-44B5-83F2DC7F3E04}"/>
              </a:ext>
            </a:extLst>
          </p:cNvPr>
          <p:cNvPicPr>
            <a:picLocks noChangeAspect="1"/>
          </p:cNvPicPr>
          <p:nvPr/>
        </p:nvPicPr>
        <p:blipFill>
          <a:blip r:embed="rId7" cstate="print">
            <a:extLst>
              <a:ext uri="{96DAC541-7B7A-43D3-8B79-37D633B846F1}">
                <asvg:svgBlip xmlns:asvg="http://schemas.microsoft.com/office/drawing/2016/SVG/main" r:embed="rId8"/>
              </a:ext>
            </a:extLst>
          </a:blip>
          <a:stretch>
            <a:fillRect/>
          </a:stretch>
        </p:blipFill>
        <p:spPr>
          <a:xfrm>
            <a:off x="7090964" y="2423472"/>
            <a:ext cx="861233" cy="861233"/>
          </a:xfrm>
          <a:prstGeom prst="rect">
            <a:avLst/>
          </a:prstGeom>
        </p:spPr>
      </p:pic>
      <p:pic>
        <p:nvPicPr>
          <p:cNvPr id="49" name="Graphic 48">
            <a:extLst>
              <a:ext uri="{FF2B5EF4-FFF2-40B4-BE49-F238E27FC236}">
                <a16:creationId xmlns:a16="http://schemas.microsoft.com/office/drawing/2014/main" id="{FFCE6D8D-B159-9791-64F9-D4F0AC0C646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bwMode="gray">
          <a:xfrm>
            <a:off x="10064088" y="2525667"/>
            <a:ext cx="847138" cy="651644"/>
          </a:xfrm>
          <a:prstGeom prst="rect">
            <a:avLst/>
          </a:prstGeom>
        </p:spPr>
      </p:pic>
      <p:sp>
        <p:nvSpPr>
          <p:cNvPr id="50" name="TextBox 49">
            <a:extLst>
              <a:ext uri="{FF2B5EF4-FFF2-40B4-BE49-F238E27FC236}">
                <a16:creationId xmlns:a16="http://schemas.microsoft.com/office/drawing/2014/main" id="{6E9C0FFF-F041-9050-CBF7-663945424A77}"/>
              </a:ext>
            </a:extLst>
          </p:cNvPr>
          <p:cNvSpPr txBox="1"/>
          <p:nvPr/>
        </p:nvSpPr>
        <p:spPr bwMode="gray">
          <a:xfrm>
            <a:off x="446914" y="3684968"/>
            <a:ext cx="2505991" cy="809687"/>
          </a:xfrm>
          <a:prstGeom prst="rect">
            <a:avLst/>
          </a:prstGeom>
        </p:spPr>
        <p:txBody>
          <a:bodyPr wrap="square" lIns="45720" tIns="45720" rIns="45720" bIns="4572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000000"/>
                </a:solidFill>
                <a:effectLst/>
                <a:uLnTx/>
                <a:uFillTx/>
                <a:ea typeface="+mn-ea"/>
                <a:cs typeface="+mn-cs"/>
              </a:rPr>
              <a:t>Daha</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sık</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hırıltı</a:t>
            </a:r>
            <a:r>
              <a:rPr kumimoji="0" lang="en-US" sz="1600" b="0" i="0" u="none" strike="noStrike" kern="1200" cap="none" spc="0" normalizeH="0" baseline="0" noProof="0">
                <a:ln>
                  <a:noFill/>
                </a:ln>
                <a:solidFill>
                  <a:srgbClr val="000000"/>
                </a:solidFill>
                <a:effectLst/>
                <a:uLnTx/>
                <a:uFillTx/>
                <a:ea typeface="+mn-ea"/>
                <a:cs typeface="+mn-cs"/>
              </a:rPr>
              <a:t> </a:t>
            </a:r>
            <a:endParaRPr kumimoji="0" lang="tr-TR" sz="1600" b="0" i="0" u="none" strike="noStrike" kern="1200" cap="none" spc="0" normalizeH="0" baseline="0" noProof="0">
              <a:ln>
                <a:noFill/>
              </a:ln>
              <a:solidFill>
                <a:srgbClr val="000000"/>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000000"/>
                </a:solidFill>
                <a:effectLst/>
                <a:uLnTx/>
                <a:uFillTx/>
                <a:ea typeface="+mn-ea"/>
                <a:cs typeface="+mn-cs"/>
              </a:rPr>
              <a:t>ve</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balgamlı</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öksürük</a:t>
            </a:r>
            <a:r>
              <a:rPr kumimoji="0" lang="en-US" sz="1600" b="0" i="0" u="none" strike="noStrike" kern="1200" cap="none" spc="0" normalizeH="0" baseline="30000" noProof="0">
                <a:ln>
                  <a:noFill/>
                </a:ln>
                <a:solidFill>
                  <a:srgbClr val="000000"/>
                </a:solidFill>
                <a:effectLst/>
                <a:uLnTx/>
                <a:uFillTx/>
                <a:ea typeface="Calibri" panose="020F0502020204030204" pitchFamily="34" charset="0"/>
                <a:cs typeface="Calibri" panose="020F0502020204030204" pitchFamily="34" charset="0"/>
              </a:rPr>
              <a:t>1</a:t>
            </a:r>
            <a:r>
              <a:rPr kumimoji="0" lang="en-US" sz="1600" b="0" i="0" u="none" strike="noStrike" kern="1200" cap="none" spc="0" normalizeH="0" baseline="30000" noProof="0">
                <a:ln>
                  <a:noFill/>
                </a:ln>
                <a:solidFill>
                  <a:srgbClr val="000000"/>
                </a:solidFill>
                <a:effectLst/>
                <a:uLnTx/>
                <a:uFillTx/>
                <a:ea typeface="Calibri" panose="020F0502020204030204" pitchFamily="34" charset="0"/>
                <a:cs typeface="Arial" panose="020B0604020202020204" pitchFamily="34" charset="0"/>
              </a:rPr>
              <a:t>*</a:t>
            </a:r>
            <a:endParaRPr kumimoji="0" lang="en-US" sz="1600" b="0" i="0" u="none" strike="noStrike" kern="1200" cap="none" spc="0" normalizeH="0" baseline="0" noProof="0">
              <a:ln>
                <a:noFill/>
              </a:ln>
              <a:solidFill>
                <a:srgbClr val="000000"/>
              </a:solidFill>
              <a:effectLst/>
              <a:uLnTx/>
              <a:uFillTx/>
              <a:ea typeface="+mn-ea"/>
              <a:cs typeface="+mn-cs"/>
            </a:endParaRPr>
          </a:p>
        </p:txBody>
      </p:sp>
      <p:sp>
        <p:nvSpPr>
          <p:cNvPr id="51" name="TextBox 50">
            <a:extLst>
              <a:ext uri="{FF2B5EF4-FFF2-40B4-BE49-F238E27FC236}">
                <a16:creationId xmlns:a16="http://schemas.microsoft.com/office/drawing/2014/main" id="{E988FF66-D8C7-BD16-B36F-F3B5C16F40C2}"/>
              </a:ext>
            </a:extLst>
          </p:cNvPr>
          <p:cNvSpPr txBox="1"/>
          <p:nvPr/>
        </p:nvSpPr>
        <p:spPr bwMode="gray">
          <a:xfrm>
            <a:off x="9234662" y="3684969"/>
            <a:ext cx="2505992" cy="698478"/>
          </a:xfrm>
          <a:prstGeom prst="rect">
            <a:avLst/>
          </a:prstGeom>
        </p:spPr>
        <p:txBody>
          <a:bodyPr wrap="square" lIns="45720" tIns="45720" rIns="45720" bIns="45720" rtlCol="0">
            <a:noAutofit/>
          </a:bodyPr>
          <a:lstStyle/>
          <a:p>
            <a:pPr marL="0" marR="0" lvl="1" indent="0" algn="ctr" defTabSz="914400"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ea typeface="Calibri" panose="020F0502020204030204" pitchFamily="34" charset="0"/>
                <a:cs typeface="Calibri" panose="020F0502020204030204" pitchFamily="34" charset="0"/>
              </a:rPr>
              <a:t>Alt </a:t>
            </a:r>
            <a:r>
              <a:rPr kumimoji="0" lang="en-US" sz="1600" b="0" i="0" u="none" strike="noStrike" kern="1200" cap="none" spc="0" normalizeH="0" baseline="0" noProof="0" err="1">
                <a:ln>
                  <a:noFill/>
                </a:ln>
                <a:solidFill>
                  <a:srgbClr val="000000"/>
                </a:solidFill>
                <a:effectLst/>
                <a:uLnTx/>
                <a:uFillTx/>
                <a:ea typeface="Calibri" panose="020F0502020204030204" pitchFamily="34" charset="0"/>
                <a:cs typeface="Calibri" panose="020F0502020204030204" pitchFamily="34" charset="0"/>
              </a:rPr>
              <a:t>solunum</a:t>
            </a:r>
            <a:r>
              <a:rPr kumimoji="0" lang="en-US" sz="1600" b="0" i="0" u="none" strike="noStrike" kern="1200" cap="none" spc="0" normalizeH="0" baseline="0" noProof="0">
                <a:ln>
                  <a:noFill/>
                </a:ln>
                <a:solidFill>
                  <a:srgbClr val="000000"/>
                </a:solidFill>
                <a:effectLst/>
                <a:uLnTx/>
                <a:uFillTx/>
                <a:ea typeface="Calibri" panose="020F0502020204030204" pitchFamily="34" charset="0"/>
                <a:cs typeface="Calibri" panose="020F0502020204030204" pitchFamily="34" charset="0"/>
              </a:rPr>
              <a:t> </a:t>
            </a:r>
            <a:r>
              <a:rPr kumimoji="0" lang="en-US" sz="1600" b="0" i="0" u="none" strike="noStrike" kern="1200" cap="none" spc="0" normalizeH="0" baseline="0" noProof="0" err="1">
                <a:ln>
                  <a:noFill/>
                </a:ln>
                <a:solidFill>
                  <a:srgbClr val="000000"/>
                </a:solidFill>
                <a:effectLst/>
                <a:uLnTx/>
                <a:uFillTx/>
                <a:ea typeface="Calibri" panose="020F0502020204030204" pitchFamily="34" charset="0"/>
                <a:cs typeface="Calibri" panose="020F0502020204030204" pitchFamily="34" charset="0"/>
              </a:rPr>
              <a:t>yolu</a:t>
            </a:r>
            <a:r>
              <a:rPr kumimoji="0" lang="en-US" sz="1600" b="0" i="0" u="none" strike="noStrike" kern="1200" cap="none" spc="0" normalizeH="0" baseline="0" noProof="0">
                <a:ln>
                  <a:noFill/>
                </a:ln>
                <a:solidFill>
                  <a:srgbClr val="000000"/>
                </a:solidFill>
                <a:effectLst/>
                <a:uLnTx/>
                <a:uFillTx/>
                <a:ea typeface="Calibri" panose="020F0502020204030204" pitchFamily="34" charset="0"/>
                <a:cs typeface="Calibri" panose="020F0502020204030204" pitchFamily="34" charset="0"/>
              </a:rPr>
              <a:t> </a:t>
            </a:r>
            <a:r>
              <a:rPr kumimoji="0" lang="en-US" sz="1600" b="0" i="0" u="none" strike="noStrike" kern="1200" cap="none" spc="0" normalizeH="0" baseline="0" noProof="0" err="1">
                <a:ln>
                  <a:noFill/>
                </a:ln>
                <a:solidFill>
                  <a:srgbClr val="000000"/>
                </a:solidFill>
                <a:effectLst/>
                <a:uLnTx/>
                <a:uFillTx/>
                <a:ea typeface="Calibri" panose="020F0502020204030204" pitchFamily="34" charset="0"/>
                <a:cs typeface="Calibri" panose="020F0502020204030204" pitchFamily="34" charset="0"/>
              </a:rPr>
              <a:t>semptomları</a:t>
            </a:r>
            <a:r>
              <a:rPr kumimoji="0" lang="en-US" sz="1600" b="0" i="0" u="none" strike="noStrike" kern="1200" cap="none" spc="0" normalizeH="0" baseline="0" noProof="0">
                <a:ln>
                  <a:noFill/>
                </a:ln>
                <a:solidFill>
                  <a:srgbClr val="000000"/>
                </a:solidFill>
                <a:effectLst/>
                <a:uLnTx/>
                <a:uFillTx/>
                <a:ea typeface="Calibri" panose="020F0502020204030204" pitchFamily="34" charset="0"/>
                <a:cs typeface="Calibri" panose="020F0502020204030204" pitchFamily="34" charset="0"/>
              </a:rPr>
              <a:t>, </a:t>
            </a:r>
            <a:r>
              <a:rPr kumimoji="0" lang="en-US" sz="1600" b="0" i="0" u="none" strike="noStrike" kern="1200" cap="none" spc="0" normalizeH="0" baseline="0" noProof="0" err="1">
                <a:ln>
                  <a:noFill/>
                </a:ln>
                <a:solidFill>
                  <a:srgbClr val="000000"/>
                </a:solidFill>
                <a:effectLst/>
                <a:uLnTx/>
                <a:uFillTx/>
                <a:ea typeface="Calibri" panose="020F0502020204030204" pitchFamily="34" charset="0"/>
                <a:cs typeface="Calibri" panose="020F0502020204030204" pitchFamily="34" charset="0"/>
              </a:rPr>
              <a:t>üst</a:t>
            </a:r>
            <a:r>
              <a:rPr kumimoji="0" lang="en-US" sz="1600" b="0" i="0" u="none" strike="noStrike" kern="1200" cap="none" spc="0" normalizeH="0" baseline="0" noProof="0">
                <a:ln>
                  <a:noFill/>
                </a:ln>
                <a:solidFill>
                  <a:srgbClr val="000000"/>
                </a:solidFill>
                <a:effectLst/>
                <a:uLnTx/>
                <a:uFillTx/>
                <a:ea typeface="Calibri" panose="020F0502020204030204" pitchFamily="34" charset="0"/>
                <a:cs typeface="Calibri" panose="020F0502020204030204" pitchFamily="34" charset="0"/>
              </a:rPr>
              <a:t> </a:t>
            </a:r>
            <a:r>
              <a:rPr kumimoji="0" lang="en-US" sz="1600" b="0" i="0" u="none" strike="noStrike" kern="1200" cap="none" spc="0" normalizeH="0" baseline="0" noProof="0" err="1">
                <a:ln>
                  <a:noFill/>
                </a:ln>
                <a:solidFill>
                  <a:srgbClr val="000000"/>
                </a:solidFill>
                <a:effectLst/>
                <a:uLnTx/>
                <a:uFillTx/>
                <a:ea typeface="Calibri" panose="020F0502020204030204" pitchFamily="34" charset="0"/>
                <a:cs typeface="Calibri" panose="020F0502020204030204" pitchFamily="34" charset="0"/>
              </a:rPr>
              <a:t>solunum</a:t>
            </a:r>
            <a:r>
              <a:rPr kumimoji="0" lang="en-US" sz="1600" b="0" i="0" u="none" strike="noStrike" kern="1200" cap="none" spc="0" normalizeH="0" baseline="0" noProof="0">
                <a:ln>
                  <a:noFill/>
                </a:ln>
                <a:solidFill>
                  <a:srgbClr val="000000"/>
                </a:solidFill>
                <a:effectLst/>
                <a:uLnTx/>
                <a:uFillTx/>
                <a:ea typeface="Calibri" panose="020F0502020204030204" pitchFamily="34" charset="0"/>
                <a:cs typeface="Calibri" panose="020F0502020204030204" pitchFamily="34" charset="0"/>
              </a:rPr>
              <a:t> </a:t>
            </a:r>
            <a:r>
              <a:rPr kumimoji="0" lang="en-US" sz="1600" b="0" i="0" u="none" strike="noStrike" kern="1200" cap="none" spc="0" normalizeH="0" baseline="0" noProof="0" err="1">
                <a:ln>
                  <a:noFill/>
                </a:ln>
                <a:solidFill>
                  <a:srgbClr val="000000"/>
                </a:solidFill>
                <a:effectLst/>
                <a:uLnTx/>
                <a:uFillTx/>
                <a:ea typeface="Calibri" panose="020F0502020204030204" pitchFamily="34" charset="0"/>
                <a:cs typeface="Calibri" panose="020F0502020204030204" pitchFamily="34" charset="0"/>
              </a:rPr>
              <a:t>yolu</a:t>
            </a:r>
            <a:r>
              <a:rPr kumimoji="0" lang="en-US" sz="1600" b="0" i="0" u="none" strike="noStrike" kern="1200" cap="none" spc="0" normalizeH="0" baseline="0" noProof="0">
                <a:ln>
                  <a:noFill/>
                </a:ln>
                <a:solidFill>
                  <a:srgbClr val="000000"/>
                </a:solidFill>
                <a:effectLst/>
                <a:uLnTx/>
                <a:uFillTx/>
                <a:ea typeface="Calibri" panose="020F0502020204030204" pitchFamily="34" charset="0"/>
                <a:cs typeface="Calibri" panose="020F0502020204030204" pitchFamily="34" charset="0"/>
              </a:rPr>
              <a:t> </a:t>
            </a:r>
            <a:r>
              <a:rPr kumimoji="0" lang="en-US" sz="1600" b="0" i="0" u="none" strike="noStrike" kern="1200" cap="none" spc="0" normalizeH="0" baseline="0" noProof="0" err="1">
                <a:ln>
                  <a:noFill/>
                </a:ln>
                <a:solidFill>
                  <a:srgbClr val="000000"/>
                </a:solidFill>
                <a:effectLst/>
                <a:uLnTx/>
                <a:uFillTx/>
                <a:ea typeface="Calibri" panose="020F0502020204030204" pitchFamily="34" charset="0"/>
                <a:cs typeface="Calibri" panose="020F0502020204030204" pitchFamily="34" charset="0"/>
              </a:rPr>
              <a:t>semptomlarından</a:t>
            </a:r>
            <a:r>
              <a:rPr kumimoji="0" lang="en-US" sz="1600" b="0" i="0" u="none" strike="noStrike" kern="1200" cap="none" spc="0" normalizeH="0" baseline="0" noProof="0">
                <a:ln>
                  <a:noFill/>
                </a:ln>
                <a:solidFill>
                  <a:srgbClr val="000000"/>
                </a:solidFill>
                <a:effectLst/>
                <a:uLnTx/>
                <a:uFillTx/>
                <a:ea typeface="Calibri" panose="020F0502020204030204" pitchFamily="34" charset="0"/>
                <a:cs typeface="Calibri" panose="020F0502020204030204" pitchFamily="34" charset="0"/>
              </a:rPr>
              <a:t> </a:t>
            </a:r>
            <a:r>
              <a:rPr kumimoji="0" lang="en-US" sz="1600" b="0" i="0" u="none" strike="noStrike" kern="1200" cap="none" spc="0" normalizeH="0" baseline="0" noProof="0" err="1">
                <a:ln>
                  <a:noFill/>
                </a:ln>
                <a:solidFill>
                  <a:srgbClr val="000000"/>
                </a:solidFill>
                <a:effectLst/>
                <a:uLnTx/>
                <a:uFillTx/>
                <a:ea typeface="Calibri" panose="020F0502020204030204" pitchFamily="34" charset="0"/>
                <a:cs typeface="Calibri" panose="020F0502020204030204" pitchFamily="34" charset="0"/>
              </a:rPr>
              <a:t>birkaç</a:t>
            </a:r>
            <a:r>
              <a:rPr kumimoji="0" lang="en-US" sz="1600" b="0" i="0" u="none" strike="noStrike" kern="1200" cap="none" spc="0" normalizeH="0" baseline="0" noProof="0">
                <a:ln>
                  <a:noFill/>
                </a:ln>
                <a:solidFill>
                  <a:srgbClr val="000000"/>
                </a:solidFill>
                <a:effectLst/>
                <a:uLnTx/>
                <a:uFillTx/>
                <a:ea typeface="Calibri" panose="020F0502020204030204" pitchFamily="34" charset="0"/>
                <a:cs typeface="Calibri" panose="020F0502020204030204" pitchFamily="34" charset="0"/>
              </a:rPr>
              <a:t> </a:t>
            </a:r>
            <a:r>
              <a:rPr kumimoji="0" lang="en-US" sz="1600" b="0" i="0" u="none" strike="noStrike" kern="1200" cap="none" spc="0" normalizeH="0" baseline="0" noProof="0" err="1">
                <a:ln>
                  <a:noFill/>
                </a:ln>
                <a:solidFill>
                  <a:srgbClr val="000000"/>
                </a:solidFill>
                <a:effectLst/>
                <a:uLnTx/>
                <a:uFillTx/>
                <a:ea typeface="Calibri" panose="020F0502020204030204" pitchFamily="34" charset="0"/>
                <a:cs typeface="Calibri" panose="020F0502020204030204" pitchFamily="34" charset="0"/>
              </a:rPr>
              <a:t>gün</a:t>
            </a:r>
            <a:r>
              <a:rPr kumimoji="0" lang="en-US" sz="1600" b="0" i="0" u="none" strike="noStrike" kern="1200" cap="none" spc="0" normalizeH="0" baseline="0" noProof="0">
                <a:ln>
                  <a:noFill/>
                </a:ln>
                <a:solidFill>
                  <a:srgbClr val="000000"/>
                </a:solidFill>
                <a:effectLst/>
                <a:uLnTx/>
                <a:uFillTx/>
                <a:ea typeface="Calibri" panose="020F0502020204030204" pitchFamily="34" charset="0"/>
                <a:cs typeface="Calibri" panose="020F0502020204030204" pitchFamily="34" charset="0"/>
              </a:rPr>
              <a:t> </a:t>
            </a:r>
            <a:r>
              <a:rPr kumimoji="0" lang="en-US" sz="1600" b="0" i="0" u="none" strike="noStrike" kern="1200" cap="none" spc="0" normalizeH="0" baseline="0" noProof="0" err="1">
                <a:ln>
                  <a:noFill/>
                </a:ln>
                <a:solidFill>
                  <a:srgbClr val="000000"/>
                </a:solidFill>
                <a:effectLst/>
                <a:uLnTx/>
                <a:uFillTx/>
                <a:ea typeface="Calibri" panose="020F0502020204030204" pitchFamily="34" charset="0"/>
                <a:cs typeface="Calibri" panose="020F0502020204030204" pitchFamily="34" charset="0"/>
              </a:rPr>
              <a:t>sonra</a:t>
            </a:r>
            <a:r>
              <a:rPr kumimoji="0" lang="en-US" sz="1600" b="0" i="0" u="none" strike="noStrike" kern="1200" cap="none" spc="0" normalizeH="0" baseline="0" noProof="0">
                <a:ln>
                  <a:noFill/>
                </a:ln>
                <a:solidFill>
                  <a:srgbClr val="000000"/>
                </a:solidFill>
                <a:effectLst/>
                <a:uLnTx/>
                <a:uFillTx/>
                <a:ea typeface="Calibri" panose="020F0502020204030204" pitchFamily="34" charset="0"/>
                <a:cs typeface="Calibri" panose="020F0502020204030204" pitchFamily="34" charset="0"/>
              </a:rPr>
              <a:t> </a:t>
            </a:r>
            <a:r>
              <a:rPr kumimoji="0" lang="en-US" sz="1600" b="0" i="0" u="none" strike="noStrike" kern="1200" cap="none" spc="0" normalizeH="0" baseline="0" noProof="0" err="1">
                <a:ln>
                  <a:noFill/>
                </a:ln>
                <a:solidFill>
                  <a:srgbClr val="000000"/>
                </a:solidFill>
                <a:effectLst/>
                <a:uLnTx/>
                <a:uFillTx/>
                <a:ea typeface="Calibri" panose="020F0502020204030204" pitchFamily="34" charset="0"/>
                <a:cs typeface="Calibri" panose="020F0502020204030204" pitchFamily="34" charset="0"/>
              </a:rPr>
              <a:t>ortaya</a:t>
            </a:r>
            <a:r>
              <a:rPr kumimoji="0" lang="en-US" sz="1600" b="0" i="0" u="none" strike="noStrike" kern="1200" cap="none" spc="0" normalizeH="0" baseline="0" noProof="0">
                <a:ln>
                  <a:noFill/>
                </a:ln>
                <a:solidFill>
                  <a:srgbClr val="000000"/>
                </a:solidFill>
                <a:effectLst/>
                <a:uLnTx/>
                <a:uFillTx/>
                <a:ea typeface="Calibri" panose="020F0502020204030204" pitchFamily="34" charset="0"/>
                <a:cs typeface="Calibri" panose="020F0502020204030204" pitchFamily="34" charset="0"/>
              </a:rPr>
              <a:t> </a:t>
            </a:r>
            <a:r>
              <a:rPr kumimoji="0" lang="en-US" sz="1600" b="0" i="0" u="none" strike="noStrike" kern="1200" cap="none" spc="0" normalizeH="0" baseline="0" noProof="0" err="1">
                <a:ln>
                  <a:noFill/>
                </a:ln>
                <a:solidFill>
                  <a:srgbClr val="000000"/>
                </a:solidFill>
                <a:effectLst/>
                <a:uLnTx/>
                <a:uFillTx/>
                <a:ea typeface="Calibri" panose="020F0502020204030204" pitchFamily="34" charset="0"/>
                <a:cs typeface="Calibri" panose="020F0502020204030204" pitchFamily="34" charset="0"/>
              </a:rPr>
              <a:t>çıkar</a:t>
            </a:r>
            <a:r>
              <a:rPr kumimoji="0" lang="tr-TR" sz="1600" b="0" i="0" u="none" strike="noStrike" kern="1200" cap="none" spc="0" normalizeH="0" baseline="0" noProof="0">
                <a:ln>
                  <a:noFill/>
                </a:ln>
                <a:solidFill>
                  <a:srgbClr val="000000"/>
                </a:solidFill>
                <a:effectLst/>
                <a:uLnTx/>
                <a:uFillTx/>
                <a:ea typeface="Calibri" panose="020F0502020204030204" pitchFamily="34" charset="0"/>
                <a:cs typeface="Calibri" panose="020F0502020204030204" pitchFamily="34" charset="0"/>
              </a:rPr>
              <a:t>.</a:t>
            </a:r>
            <a:r>
              <a:rPr kumimoji="0" lang="en-US" sz="1600" b="0" i="0" u="none" strike="noStrike" kern="1200" cap="none" spc="0" normalizeH="0" baseline="30000" noProof="0">
                <a:ln>
                  <a:noFill/>
                </a:ln>
                <a:solidFill>
                  <a:srgbClr val="000000"/>
                </a:solidFill>
                <a:effectLst/>
                <a:uLnTx/>
                <a:uFillTx/>
                <a:ea typeface="Calibri" panose="020F0502020204030204" pitchFamily="34" charset="0"/>
                <a:cs typeface="Calibri" panose="020F0502020204030204" pitchFamily="34" charset="0"/>
              </a:rPr>
              <a:t>3-5</a:t>
            </a:r>
            <a:endParaRPr kumimoji="0" lang="en-US" sz="1600" b="0" i="0" u="none" strike="noStrike" kern="1200" cap="none" spc="0" normalizeH="0" baseline="0" noProof="0">
              <a:ln>
                <a:noFill/>
              </a:ln>
              <a:solidFill>
                <a:srgbClr val="000000"/>
              </a:solidFill>
              <a:effectLst/>
              <a:uLnTx/>
              <a:uFillTx/>
              <a:ea typeface="Calibri" panose="020F0502020204030204" pitchFamily="34" charset="0"/>
              <a:cs typeface="Calibri" panose="020F0502020204030204" pitchFamily="34" charset="0"/>
            </a:endParaRPr>
          </a:p>
        </p:txBody>
      </p:sp>
      <p:sp>
        <p:nvSpPr>
          <p:cNvPr id="52" name="TextBox 51">
            <a:extLst>
              <a:ext uri="{FF2B5EF4-FFF2-40B4-BE49-F238E27FC236}">
                <a16:creationId xmlns:a16="http://schemas.microsoft.com/office/drawing/2014/main" id="{A7CDFA19-4FED-4507-9E2D-441BE72A2BF3}"/>
              </a:ext>
            </a:extLst>
          </p:cNvPr>
          <p:cNvSpPr txBox="1"/>
          <p:nvPr/>
        </p:nvSpPr>
        <p:spPr bwMode="gray">
          <a:xfrm>
            <a:off x="3385323" y="3684968"/>
            <a:ext cx="2505991" cy="809687"/>
          </a:xfrm>
          <a:prstGeom prst="rect">
            <a:avLst/>
          </a:prstGeom>
        </p:spPr>
        <p:txBody>
          <a:bodyPr wrap="square" lIns="45720" tIns="45720" rIns="45720" bIns="4572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ea typeface="+mn-ea"/>
                <a:cs typeface="+mn-cs"/>
              </a:rPr>
              <a:t>≥38°C</a:t>
            </a:r>
            <a:r>
              <a:rPr kumimoji="0" lang="tr-TR" sz="1600" b="0" i="0" u="none" strike="noStrike" kern="1200" cap="none" spc="0" normalizeH="0" baseline="30000" noProof="0">
                <a:ln>
                  <a:noFill/>
                </a:ln>
                <a:solidFill>
                  <a:srgbClr val="000000"/>
                </a:solidFill>
                <a:effectLst/>
                <a:uLnTx/>
                <a:uFillTx/>
                <a:ea typeface="+mn-ea"/>
                <a:cs typeface="+mn-cs"/>
              </a:rPr>
              <a:t> </a:t>
            </a:r>
            <a:r>
              <a:rPr kumimoji="0" lang="tr-TR" sz="1600" b="0" i="0" u="none" strike="noStrike" kern="1200" cap="none" spc="0" normalizeH="0" baseline="0" noProof="0">
                <a:ln>
                  <a:noFill/>
                </a:ln>
                <a:solidFill>
                  <a:srgbClr val="000000"/>
                </a:solidFill>
                <a:effectLst/>
                <a:uLnTx/>
                <a:uFillTx/>
                <a:ea typeface="+mn-ea"/>
                <a:cs typeface="+mn-cs"/>
              </a:rPr>
              <a:t>at</a:t>
            </a:r>
            <a:r>
              <a:rPr kumimoji="0" lang="en-US" sz="1600" b="0" i="0" u="none" strike="noStrike" kern="1200" cap="none" spc="0" normalizeH="0" baseline="0" noProof="0" err="1">
                <a:ln>
                  <a:noFill/>
                </a:ln>
                <a:solidFill>
                  <a:srgbClr val="000000"/>
                </a:solidFill>
                <a:effectLst/>
                <a:uLnTx/>
                <a:uFillTx/>
                <a:ea typeface="+mn-ea"/>
                <a:cs typeface="+mn-cs"/>
              </a:rPr>
              <a:t>eş</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yaşama</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olasılığı</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daha</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düşüktür</a:t>
            </a:r>
            <a:r>
              <a:rPr kumimoji="0" lang="tr-TR" sz="1600" b="0" i="0" u="none" strike="noStrike" kern="1200" cap="none" spc="0" normalizeH="0" baseline="0" noProof="0">
                <a:ln>
                  <a:noFill/>
                </a:ln>
                <a:solidFill>
                  <a:srgbClr val="000000"/>
                </a:solidFill>
                <a:effectLst/>
                <a:uLnTx/>
                <a:uFillTx/>
                <a:ea typeface="+mn-ea"/>
                <a:cs typeface="+mn-cs"/>
              </a:rPr>
              <a:t>.</a:t>
            </a:r>
            <a:r>
              <a:rPr kumimoji="0" lang="en-US" sz="1600" b="0" i="0" u="none" strike="noStrike" kern="1200" cap="none" spc="0" normalizeH="0" baseline="30000" noProof="0">
                <a:ln>
                  <a:noFill/>
                </a:ln>
                <a:solidFill>
                  <a:srgbClr val="000000"/>
                </a:solidFill>
                <a:effectLst/>
                <a:uLnTx/>
                <a:uFillTx/>
                <a:ea typeface="+mn-ea"/>
                <a:cs typeface="+mn-cs"/>
              </a:rPr>
              <a:t>2</a:t>
            </a:r>
            <a:r>
              <a:rPr kumimoji="0" lang="en-US" sz="1600" b="0" i="0" u="none" strike="noStrike" kern="1200" cap="none" spc="0" normalizeH="0" baseline="0" noProof="0">
                <a:ln>
                  <a:noFill/>
                </a:ln>
                <a:solidFill>
                  <a:srgbClr val="000000"/>
                </a:solidFill>
                <a:effectLst/>
                <a:uLnTx/>
                <a:uFillTx/>
                <a:ea typeface="+mn-ea"/>
                <a:cs typeface="+mn-cs"/>
              </a:rPr>
              <a:t>*</a:t>
            </a:r>
          </a:p>
        </p:txBody>
      </p:sp>
      <p:sp>
        <p:nvSpPr>
          <p:cNvPr id="53" name="TextBox 52">
            <a:extLst>
              <a:ext uri="{FF2B5EF4-FFF2-40B4-BE49-F238E27FC236}">
                <a16:creationId xmlns:a16="http://schemas.microsoft.com/office/drawing/2014/main" id="{563F37BD-5D72-8225-B275-E57720197DC1}"/>
              </a:ext>
            </a:extLst>
          </p:cNvPr>
          <p:cNvSpPr txBox="1"/>
          <p:nvPr/>
        </p:nvSpPr>
        <p:spPr bwMode="gray">
          <a:xfrm>
            <a:off x="6313458" y="3684968"/>
            <a:ext cx="2505991" cy="809687"/>
          </a:xfrm>
          <a:prstGeom prst="rect">
            <a:avLst/>
          </a:prstGeom>
        </p:spPr>
        <p:txBody>
          <a:bodyPr wrap="square" lIns="45720" tIns="45720" rIns="4572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000000"/>
                </a:solidFill>
                <a:effectLst/>
                <a:uLnTx/>
                <a:uFillTx/>
                <a:ea typeface="+mn-ea"/>
                <a:cs typeface="+mn-cs"/>
              </a:rPr>
              <a:t>Semptomların</a:t>
            </a:r>
            <a:r>
              <a:rPr kumimoji="0" lang="en-US" sz="1600" b="0" i="0" u="none" strike="noStrike" kern="1200" cap="none" spc="0" normalizeH="0" baseline="0" noProof="0">
                <a:ln>
                  <a:noFill/>
                </a:ln>
                <a:solidFill>
                  <a:srgbClr val="000000"/>
                </a:solidFill>
                <a:effectLst/>
                <a:uLnTx/>
                <a:uFillTx/>
                <a:ea typeface="+mn-ea"/>
                <a:cs typeface="+mn-cs"/>
              </a:rPr>
              <a:t> ani </a:t>
            </a:r>
            <a:r>
              <a:rPr kumimoji="0" lang="en-US" sz="1600" b="0" i="0" u="none" strike="noStrike" kern="1200" cap="none" spc="0" normalizeH="0" baseline="0" noProof="0" err="1">
                <a:ln>
                  <a:noFill/>
                </a:ln>
                <a:solidFill>
                  <a:srgbClr val="000000"/>
                </a:solidFill>
                <a:effectLst/>
                <a:uLnTx/>
                <a:uFillTx/>
                <a:ea typeface="+mn-ea"/>
                <a:cs typeface="+mn-cs"/>
              </a:rPr>
              <a:t>başlaması</a:t>
            </a:r>
            <a:r>
              <a:rPr kumimoji="0" lang="en-US" sz="1600" b="0" i="0" u="none" strike="noStrike" kern="1200" cap="none" spc="0" normalizeH="0" baseline="0" noProof="0">
                <a:ln>
                  <a:noFill/>
                </a:ln>
                <a:solidFill>
                  <a:srgbClr val="000000"/>
                </a:solidFill>
                <a:effectLst/>
                <a:uLnTx/>
                <a:uFillTx/>
                <a:ea typeface="+mn-ea"/>
                <a:cs typeface="+mn-cs"/>
              </a:rPr>
              <a:t> </a:t>
            </a:r>
            <a:endParaRPr kumimoji="0" lang="tr-TR" sz="1600" b="0" i="0" u="none" strike="noStrike" kern="1200" cap="none" spc="0" normalizeH="0" baseline="0" noProof="0">
              <a:ln>
                <a:noFill/>
              </a:ln>
              <a:solidFill>
                <a:srgbClr val="000000"/>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000000"/>
                </a:solidFill>
                <a:effectLst/>
                <a:uLnTx/>
                <a:uFillTx/>
                <a:ea typeface="+mn-ea"/>
                <a:cs typeface="+mn-cs"/>
              </a:rPr>
              <a:t>daha</a:t>
            </a:r>
            <a:r>
              <a:rPr kumimoji="0" lang="en-US" sz="1600" b="0" i="0" u="none" strike="noStrike" kern="1200" cap="none" spc="0" normalizeH="0" baseline="0" noProof="0">
                <a:ln>
                  <a:noFill/>
                </a:ln>
                <a:solidFill>
                  <a:srgbClr val="000000"/>
                </a:solidFill>
                <a:effectLst/>
                <a:uLnTx/>
                <a:uFillTx/>
                <a:ea typeface="+mn-ea"/>
                <a:cs typeface="+mn-cs"/>
              </a:rPr>
              <a:t> </a:t>
            </a:r>
            <a:r>
              <a:rPr kumimoji="0" lang="en-US" sz="1600" b="0" i="0" u="none" strike="noStrike" kern="1200" cap="none" spc="0" normalizeH="0" baseline="0" noProof="0" err="1">
                <a:ln>
                  <a:noFill/>
                </a:ln>
                <a:solidFill>
                  <a:srgbClr val="000000"/>
                </a:solidFill>
                <a:effectLst/>
                <a:uLnTx/>
                <a:uFillTx/>
                <a:ea typeface="+mn-ea"/>
                <a:cs typeface="+mn-cs"/>
              </a:rPr>
              <a:t>az</a:t>
            </a:r>
            <a:r>
              <a:rPr kumimoji="0" lang="en-US" sz="1600" b="0" i="0" u="none" strike="noStrike" kern="1200" cap="none" spc="0" normalizeH="0" baseline="0" noProof="0">
                <a:ln>
                  <a:noFill/>
                </a:ln>
                <a:solidFill>
                  <a:srgbClr val="000000"/>
                </a:solidFill>
                <a:effectLst/>
                <a:uLnTx/>
                <a:uFillTx/>
                <a:ea typeface="+mn-ea"/>
                <a:cs typeface="+mn-cs"/>
              </a:rPr>
              <a:t> olası</a:t>
            </a:r>
            <a:r>
              <a:rPr kumimoji="0" lang="en-US" sz="1600" b="0" i="0" u="none" strike="noStrike" kern="1200" cap="none" spc="0" normalizeH="0" baseline="30000" noProof="0">
                <a:ln>
                  <a:noFill/>
                </a:ln>
                <a:solidFill>
                  <a:srgbClr val="000000"/>
                </a:solidFill>
                <a:effectLst/>
                <a:uLnTx/>
                <a:uFillTx/>
                <a:ea typeface="+mn-ea"/>
                <a:cs typeface="+mn-cs"/>
              </a:rPr>
              <a:t>2</a:t>
            </a:r>
            <a:r>
              <a:rPr kumimoji="0" lang="en-US" sz="1600" b="0" i="0" u="none" strike="noStrike" kern="1200" cap="none" spc="0" normalizeH="0" baseline="0" noProof="0">
                <a:ln>
                  <a:noFill/>
                </a:ln>
                <a:solidFill>
                  <a:srgbClr val="000000"/>
                </a:solidFill>
                <a:effectLst/>
                <a:uLnTx/>
                <a:uFillTx/>
                <a:ea typeface="+mn-ea"/>
                <a:cs typeface="+mn-cs"/>
              </a:rPr>
              <a:t>*</a:t>
            </a:r>
            <a:endParaRPr kumimoji="0" lang="en-US" sz="1600" b="0" i="0" u="none" strike="noStrike" kern="1200" cap="none" spc="0" normalizeH="0" baseline="0" noProof="0">
              <a:ln>
                <a:noFill/>
              </a:ln>
              <a:solidFill>
                <a:srgbClr val="000000"/>
              </a:solidFill>
              <a:effectLst/>
              <a:uLnTx/>
              <a:uFillTx/>
              <a:ea typeface="+mn-ea"/>
              <a:cs typeface="Arial"/>
            </a:endParaRPr>
          </a:p>
        </p:txBody>
      </p:sp>
      <p:pic>
        <p:nvPicPr>
          <p:cNvPr id="2" name="Picture 1" descr="A black and blue logo&#10;&#10;AI-generated content may be incorrect.">
            <a:extLst>
              <a:ext uri="{FF2B5EF4-FFF2-40B4-BE49-F238E27FC236}">
                <a16:creationId xmlns:a16="http://schemas.microsoft.com/office/drawing/2014/main" id="{122EDE11-A2D3-16C3-00C7-9369A5C57A9B}"/>
              </a:ext>
            </a:extLst>
          </p:cNvPr>
          <p:cNvPicPr>
            <a:picLocks noChangeAspect="1"/>
          </p:cNvPicPr>
          <p:nvPr/>
        </p:nvPicPr>
        <p:blipFill>
          <a:blip r:embed="rId11"/>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2005865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ACBBC0-0118-6A08-1E51-86DDBAE80292}"/>
              </a:ext>
            </a:extLst>
          </p:cNvPr>
          <p:cNvSpPr>
            <a:spLocks noGrp="1"/>
          </p:cNvSpPr>
          <p:nvPr>
            <p:ph type="title"/>
          </p:nvPr>
        </p:nvSpPr>
        <p:spPr/>
        <p:txBody>
          <a:bodyPr anchor="b"/>
          <a:lstStyle/>
          <a:p>
            <a:r>
              <a:rPr lang="en-US" dirty="0"/>
              <a:t>RSV </a:t>
            </a:r>
            <a:r>
              <a:rPr lang="en-US" dirty="0" err="1"/>
              <a:t>ve</a:t>
            </a:r>
            <a:r>
              <a:rPr lang="en-US" dirty="0"/>
              <a:t> </a:t>
            </a:r>
            <a:r>
              <a:rPr lang="en-US" dirty="0" err="1"/>
              <a:t>Pnömokok</a:t>
            </a:r>
            <a:r>
              <a:rPr lang="en-US" dirty="0"/>
              <a:t> </a:t>
            </a:r>
            <a:r>
              <a:rPr lang="en-US" dirty="0" err="1"/>
              <a:t>Hastalık</a:t>
            </a:r>
            <a:r>
              <a:rPr lang="en-US" dirty="0"/>
              <a:t> </a:t>
            </a:r>
            <a:r>
              <a:rPr lang="en-US" dirty="0" err="1"/>
              <a:t>Yükü</a:t>
            </a:r>
            <a:endParaRPr lang="tr-TR" dirty="0"/>
          </a:p>
        </p:txBody>
      </p:sp>
      <p:sp>
        <p:nvSpPr>
          <p:cNvPr id="3" name="Text Placeholder 2">
            <a:extLst>
              <a:ext uri="{FF2B5EF4-FFF2-40B4-BE49-F238E27FC236}">
                <a16:creationId xmlns:a16="http://schemas.microsoft.com/office/drawing/2014/main" id="{D10EFFE9-123D-C449-FCA9-0C5A9D61F34B}"/>
              </a:ext>
            </a:extLst>
          </p:cNvPr>
          <p:cNvSpPr>
            <a:spLocks noGrp="1"/>
          </p:cNvSpPr>
          <p:nvPr>
            <p:ph type="body" sz="quarter" idx="12"/>
          </p:nvPr>
        </p:nvSpPr>
        <p:spPr>
          <a:xfrm>
            <a:off x="558096" y="3226917"/>
            <a:ext cx="5804603" cy="1349296"/>
          </a:xfrm>
        </p:spPr>
        <p:txBody>
          <a:bodyPr anchor="b"/>
          <a:lstStyle/>
          <a:p>
            <a:r>
              <a:rPr lang="tr-TR" dirty="0"/>
              <a:t>Prof. Dr. Zeynel Abidin Öztürk</a:t>
            </a:r>
            <a:br>
              <a:rPr lang="tr-TR" dirty="0"/>
            </a:br>
            <a:r>
              <a:rPr lang="tr-TR" dirty="0"/>
              <a:t>Gaziantep Üniversitesi, Geriatri BD</a:t>
            </a:r>
          </a:p>
        </p:txBody>
      </p:sp>
      <p:grpSp>
        <p:nvGrpSpPr>
          <p:cNvPr id="8" name="Group 7">
            <a:extLst>
              <a:ext uri="{FF2B5EF4-FFF2-40B4-BE49-F238E27FC236}">
                <a16:creationId xmlns:a16="http://schemas.microsoft.com/office/drawing/2014/main" id="{EEEC1A83-2D12-4408-C0B3-E48C2C503DD5}"/>
              </a:ext>
            </a:extLst>
          </p:cNvPr>
          <p:cNvGrpSpPr/>
          <p:nvPr/>
        </p:nvGrpSpPr>
        <p:grpSpPr>
          <a:xfrm>
            <a:off x="9722598" y="5853280"/>
            <a:ext cx="1895426" cy="453867"/>
            <a:chOff x="9513903" y="6320005"/>
            <a:chExt cx="1895426" cy="453867"/>
          </a:xfrm>
        </p:grpSpPr>
        <p:pic>
          <p:nvPicPr>
            <p:cNvPr id="9" name="Picture 8" descr="A yellow and blue logo&#10;&#10;Description automatically generated">
              <a:extLst>
                <a:ext uri="{FF2B5EF4-FFF2-40B4-BE49-F238E27FC236}">
                  <a16:creationId xmlns:a16="http://schemas.microsoft.com/office/drawing/2014/main" id="{458B07ED-A973-77C5-E9B5-3AAA98D97C00}"/>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10" name="Picture 9" descr="A black and blue logo&#10;&#10;AI-generated content may be incorrect.">
              <a:extLst>
                <a:ext uri="{FF2B5EF4-FFF2-40B4-BE49-F238E27FC236}">
                  <a16:creationId xmlns:a16="http://schemas.microsoft.com/office/drawing/2014/main" id="{552ABE33-4BD5-3E96-9929-B36A014FD36E}"/>
                </a:ext>
              </a:extLst>
            </p:cNvPr>
            <p:cNvPicPr>
              <a:picLocks noChangeAspect="1"/>
            </p:cNvPicPr>
            <p:nvPr/>
          </p:nvPicPr>
          <p:blipFill>
            <a:blip r:embed="rId3"/>
            <a:stretch>
              <a:fillRect/>
            </a:stretch>
          </p:blipFill>
          <p:spPr>
            <a:xfrm>
              <a:off x="9513903" y="6494969"/>
              <a:ext cx="981021" cy="204067"/>
            </a:xfrm>
            <a:prstGeom prst="rect">
              <a:avLst/>
            </a:prstGeom>
          </p:spPr>
        </p:pic>
      </p:grpSp>
    </p:spTree>
    <p:extLst>
      <p:ext uri="{BB962C8B-B14F-4D97-AF65-F5344CB8AC3E}">
        <p14:creationId xmlns:p14="http://schemas.microsoft.com/office/powerpoint/2010/main" val="27045190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A2945D-FBD3-7C64-715E-BC948B32FC9B}"/>
            </a:ext>
          </a:extLst>
        </p:cNvPr>
        <p:cNvGrpSpPr/>
        <p:nvPr/>
      </p:nvGrpSpPr>
      <p:grpSpPr>
        <a:xfrm>
          <a:off x="0" y="0"/>
          <a:ext cx="0" cy="0"/>
          <a:chOff x="0" y="0"/>
          <a:chExt cx="0" cy="0"/>
        </a:xfrm>
      </p:grpSpPr>
      <p:sp>
        <p:nvSpPr>
          <p:cNvPr id="8" name="Freeform: Shape 24">
            <a:extLst>
              <a:ext uri="{FF2B5EF4-FFF2-40B4-BE49-F238E27FC236}">
                <a16:creationId xmlns:a16="http://schemas.microsoft.com/office/drawing/2014/main" id="{19C8A9E1-4972-6B8E-F7EC-C0A948B56443}"/>
              </a:ext>
            </a:extLst>
          </p:cNvPr>
          <p:cNvSpPr>
            <a:spLocks noChangeAspect="1"/>
          </p:cNvSpPr>
          <p:nvPr/>
        </p:nvSpPr>
        <p:spPr>
          <a:xfrm>
            <a:off x="1293721" y="1699738"/>
            <a:ext cx="1671184" cy="1671184"/>
          </a:xfrm>
          <a:custGeom>
            <a:avLst/>
            <a:gdLst>
              <a:gd name="connsiteX0" fmla="*/ 0 w 1631817"/>
              <a:gd name="connsiteY0" fmla="*/ 815909 h 1631817"/>
              <a:gd name="connsiteX1" fmla="*/ 815909 w 1631817"/>
              <a:gd name="connsiteY1" fmla="*/ 0 h 1631817"/>
              <a:gd name="connsiteX2" fmla="*/ 1631818 w 1631817"/>
              <a:gd name="connsiteY2" fmla="*/ 815909 h 1631817"/>
              <a:gd name="connsiteX3" fmla="*/ 815909 w 1631817"/>
              <a:gd name="connsiteY3" fmla="*/ 1631818 h 1631817"/>
              <a:gd name="connsiteX4" fmla="*/ 0 w 1631817"/>
              <a:gd name="connsiteY4" fmla="*/ 815909 h 1631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1817" h="1631817">
                <a:moveTo>
                  <a:pt x="0" y="815909"/>
                </a:moveTo>
                <a:cubicBezTo>
                  <a:pt x="0" y="365295"/>
                  <a:pt x="365295" y="0"/>
                  <a:pt x="815909" y="0"/>
                </a:cubicBezTo>
                <a:cubicBezTo>
                  <a:pt x="1266523" y="0"/>
                  <a:pt x="1631818" y="365295"/>
                  <a:pt x="1631818" y="815909"/>
                </a:cubicBezTo>
                <a:cubicBezTo>
                  <a:pt x="1631818" y="1266523"/>
                  <a:pt x="1266523" y="1631818"/>
                  <a:pt x="815909" y="1631818"/>
                </a:cubicBezTo>
                <a:cubicBezTo>
                  <a:pt x="365295" y="1631818"/>
                  <a:pt x="0" y="1266523"/>
                  <a:pt x="0" y="815909"/>
                </a:cubicBezTo>
                <a:close/>
              </a:path>
            </a:pathLst>
          </a:custGeom>
          <a:solidFill>
            <a:schemeClr val="tx2"/>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238974" tIns="238974" rIns="238974" bIns="238974"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en-US" sz="65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 name="Group 10">
            <a:extLst>
              <a:ext uri="{FF2B5EF4-FFF2-40B4-BE49-F238E27FC236}">
                <a16:creationId xmlns:a16="http://schemas.microsoft.com/office/drawing/2014/main" id="{50927270-3240-70A2-F461-0C4072651D1A}"/>
              </a:ext>
            </a:extLst>
          </p:cNvPr>
          <p:cNvGrpSpPr/>
          <p:nvPr/>
        </p:nvGrpSpPr>
        <p:grpSpPr>
          <a:xfrm>
            <a:off x="446914" y="2660754"/>
            <a:ext cx="3364798" cy="1933034"/>
            <a:chOff x="0" y="1483743"/>
            <a:chExt cx="12192000" cy="3071004"/>
          </a:xfrm>
        </p:grpSpPr>
        <p:sp>
          <p:nvSpPr>
            <p:cNvPr id="16" name="TextBox 15">
              <a:extLst>
                <a:ext uri="{FF2B5EF4-FFF2-40B4-BE49-F238E27FC236}">
                  <a16:creationId xmlns:a16="http://schemas.microsoft.com/office/drawing/2014/main" id="{6A0F1B89-4303-5452-C9EA-5185DB5AD0B9}"/>
                </a:ext>
              </a:extLst>
            </p:cNvPr>
            <p:cNvSpPr txBox="1"/>
            <p:nvPr/>
          </p:nvSpPr>
          <p:spPr bwMode="gray">
            <a:xfrm>
              <a:off x="0" y="1483743"/>
              <a:ext cx="12191999" cy="3071004"/>
            </a:xfrm>
            <a:prstGeom prst="rect">
              <a:avLst/>
            </a:prstGeom>
            <a:solidFill>
              <a:schemeClr val="bg1">
                <a:lumMod val="95000"/>
              </a:schemeClr>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7" name="Straight Connector 16">
              <a:extLst>
                <a:ext uri="{FF2B5EF4-FFF2-40B4-BE49-F238E27FC236}">
                  <a16:creationId xmlns:a16="http://schemas.microsoft.com/office/drawing/2014/main" id="{FA9E2D59-42B4-0547-50B6-3E9F8CC541BD}"/>
                </a:ext>
              </a:extLst>
            </p:cNvPr>
            <p:cNvCxnSpPr/>
            <p:nvPr/>
          </p:nvCxnSpPr>
          <p:spPr bwMode="gray">
            <a:xfrm>
              <a:off x="0" y="1483743"/>
              <a:ext cx="12192000" cy="0"/>
            </a:xfrm>
            <a:prstGeom prst="line">
              <a:avLst/>
            </a:prstGeom>
            <a:noFill/>
            <a:ln w="22225" cap="rnd">
              <a:solidFill>
                <a:schemeClr val="accent1"/>
              </a:solidFill>
              <a:prstDash val="solid"/>
              <a:round/>
              <a:headEnd/>
              <a:tailEnd/>
            </a:ln>
            <a:effectLst/>
          </p:spPr>
        </p:cxnSp>
        <p:cxnSp>
          <p:nvCxnSpPr>
            <p:cNvPr id="21" name="Straight Connector 20">
              <a:extLst>
                <a:ext uri="{FF2B5EF4-FFF2-40B4-BE49-F238E27FC236}">
                  <a16:creationId xmlns:a16="http://schemas.microsoft.com/office/drawing/2014/main" id="{0F54560B-3B50-DF6F-E68F-F1FC19B9DBD5}"/>
                </a:ext>
              </a:extLst>
            </p:cNvPr>
            <p:cNvCxnSpPr/>
            <p:nvPr/>
          </p:nvCxnSpPr>
          <p:spPr bwMode="gray">
            <a:xfrm>
              <a:off x="0" y="4554747"/>
              <a:ext cx="12192000" cy="0"/>
            </a:xfrm>
            <a:prstGeom prst="line">
              <a:avLst/>
            </a:prstGeom>
            <a:noFill/>
            <a:ln w="22225" cap="rnd">
              <a:solidFill>
                <a:schemeClr val="accent2"/>
              </a:solidFill>
              <a:prstDash val="solid"/>
              <a:round/>
              <a:headEnd/>
              <a:tailEnd/>
            </a:ln>
            <a:effectLst/>
          </p:spPr>
        </p:cxnSp>
      </p:grpSp>
      <p:sp>
        <p:nvSpPr>
          <p:cNvPr id="24" name="Freeform: Shape 24">
            <a:extLst>
              <a:ext uri="{FF2B5EF4-FFF2-40B4-BE49-F238E27FC236}">
                <a16:creationId xmlns:a16="http://schemas.microsoft.com/office/drawing/2014/main" id="{E66E9CA6-8471-0E75-85C5-3126E3B219D4}"/>
              </a:ext>
            </a:extLst>
          </p:cNvPr>
          <p:cNvSpPr>
            <a:spLocks noChangeAspect="1"/>
          </p:cNvSpPr>
          <p:nvPr/>
        </p:nvSpPr>
        <p:spPr>
          <a:xfrm>
            <a:off x="5259545" y="1699738"/>
            <a:ext cx="1671184" cy="1671184"/>
          </a:xfrm>
          <a:custGeom>
            <a:avLst/>
            <a:gdLst>
              <a:gd name="connsiteX0" fmla="*/ 0 w 1631817"/>
              <a:gd name="connsiteY0" fmla="*/ 815909 h 1631817"/>
              <a:gd name="connsiteX1" fmla="*/ 815909 w 1631817"/>
              <a:gd name="connsiteY1" fmla="*/ 0 h 1631817"/>
              <a:gd name="connsiteX2" fmla="*/ 1631818 w 1631817"/>
              <a:gd name="connsiteY2" fmla="*/ 815909 h 1631817"/>
              <a:gd name="connsiteX3" fmla="*/ 815909 w 1631817"/>
              <a:gd name="connsiteY3" fmla="*/ 1631818 h 1631817"/>
              <a:gd name="connsiteX4" fmla="*/ 0 w 1631817"/>
              <a:gd name="connsiteY4" fmla="*/ 815909 h 1631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1817" h="1631817">
                <a:moveTo>
                  <a:pt x="0" y="815909"/>
                </a:moveTo>
                <a:cubicBezTo>
                  <a:pt x="0" y="365295"/>
                  <a:pt x="365295" y="0"/>
                  <a:pt x="815909" y="0"/>
                </a:cubicBezTo>
                <a:cubicBezTo>
                  <a:pt x="1266523" y="0"/>
                  <a:pt x="1631818" y="365295"/>
                  <a:pt x="1631818" y="815909"/>
                </a:cubicBezTo>
                <a:cubicBezTo>
                  <a:pt x="1631818" y="1266523"/>
                  <a:pt x="1266523" y="1631818"/>
                  <a:pt x="815909" y="1631818"/>
                </a:cubicBezTo>
                <a:cubicBezTo>
                  <a:pt x="365295" y="1631818"/>
                  <a:pt x="0" y="1266523"/>
                  <a:pt x="0" y="815909"/>
                </a:cubicBezTo>
                <a:close/>
              </a:path>
            </a:pathLst>
          </a:custGeom>
          <a:solidFill>
            <a:schemeClr val="tx2"/>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238974" tIns="238974" rIns="238974" bIns="238974"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en-US" sz="65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7" name="Group 26">
            <a:extLst>
              <a:ext uri="{FF2B5EF4-FFF2-40B4-BE49-F238E27FC236}">
                <a16:creationId xmlns:a16="http://schemas.microsoft.com/office/drawing/2014/main" id="{B66BD766-676F-43E7-DC20-E518135DDF3B}"/>
              </a:ext>
            </a:extLst>
          </p:cNvPr>
          <p:cNvGrpSpPr/>
          <p:nvPr/>
        </p:nvGrpSpPr>
        <p:grpSpPr>
          <a:xfrm>
            <a:off x="4412738" y="2660754"/>
            <a:ext cx="3364798" cy="1933034"/>
            <a:chOff x="0" y="1483743"/>
            <a:chExt cx="12192000" cy="3071004"/>
          </a:xfrm>
        </p:grpSpPr>
        <p:sp>
          <p:nvSpPr>
            <p:cNvPr id="28" name="TextBox 27">
              <a:extLst>
                <a:ext uri="{FF2B5EF4-FFF2-40B4-BE49-F238E27FC236}">
                  <a16:creationId xmlns:a16="http://schemas.microsoft.com/office/drawing/2014/main" id="{B185B226-4B9E-29C4-DAEC-5FC23784A326}"/>
                </a:ext>
              </a:extLst>
            </p:cNvPr>
            <p:cNvSpPr txBox="1"/>
            <p:nvPr/>
          </p:nvSpPr>
          <p:spPr bwMode="gray">
            <a:xfrm>
              <a:off x="0" y="1483743"/>
              <a:ext cx="12191999" cy="3071004"/>
            </a:xfrm>
            <a:prstGeom prst="rect">
              <a:avLst/>
            </a:prstGeom>
            <a:solidFill>
              <a:schemeClr val="bg1">
                <a:lumMod val="95000"/>
              </a:schemeClr>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29" name="Straight Connector 28">
              <a:extLst>
                <a:ext uri="{FF2B5EF4-FFF2-40B4-BE49-F238E27FC236}">
                  <a16:creationId xmlns:a16="http://schemas.microsoft.com/office/drawing/2014/main" id="{C2B4AC35-49AC-FB6C-7D35-1528372AFF5E}"/>
                </a:ext>
              </a:extLst>
            </p:cNvPr>
            <p:cNvCxnSpPr/>
            <p:nvPr/>
          </p:nvCxnSpPr>
          <p:spPr bwMode="gray">
            <a:xfrm>
              <a:off x="0" y="1483743"/>
              <a:ext cx="12192000" cy="0"/>
            </a:xfrm>
            <a:prstGeom prst="line">
              <a:avLst/>
            </a:prstGeom>
            <a:noFill/>
            <a:ln w="22225" cap="rnd">
              <a:solidFill>
                <a:schemeClr val="accent1"/>
              </a:solidFill>
              <a:prstDash val="solid"/>
              <a:round/>
              <a:headEnd/>
              <a:tailEnd/>
            </a:ln>
            <a:effectLst/>
          </p:spPr>
        </p:cxnSp>
        <p:cxnSp>
          <p:nvCxnSpPr>
            <p:cNvPr id="31" name="Straight Connector 30">
              <a:extLst>
                <a:ext uri="{FF2B5EF4-FFF2-40B4-BE49-F238E27FC236}">
                  <a16:creationId xmlns:a16="http://schemas.microsoft.com/office/drawing/2014/main" id="{80A83DDD-D921-15F9-BED5-7C7DCC8D8F7C}"/>
                </a:ext>
              </a:extLst>
            </p:cNvPr>
            <p:cNvCxnSpPr/>
            <p:nvPr/>
          </p:nvCxnSpPr>
          <p:spPr bwMode="gray">
            <a:xfrm>
              <a:off x="0" y="4554747"/>
              <a:ext cx="12192000" cy="0"/>
            </a:xfrm>
            <a:prstGeom prst="line">
              <a:avLst/>
            </a:prstGeom>
            <a:noFill/>
            <a:ln w="22225" cap="rnd">
              <a:solidFill>
                <a:schemeClr val="accent2"/>
              </a:solidFill>
              <a:prstDash val="solid"/>
              <a:round/>
              <a:headEnd/>
              <a:tailEnd/>
            </a:ln>
            <a:effectLst/>
          </p:spPr>
        </p:cxnSp>
      </p:grpSp>
      <p:sp>
        <p:nvSpPr>
          <p:cNvPr id="32" name="Freeform: Shape 24">
            <a:extLst>
              <a:ext uri="{FF2B5EF4-FFF2-40B4-BE49-F238E27FC236}">
                <a16:creationId xmlns:a16="http://schemas.microsoft.com/office/drawing/2014/main" id="{90E35DC4-31DA-AF85-3AFF-FCDCC280B7B2}"/>
              </a:ext>
            </a:extLst>
          </p:cNvPr>
          <p:cNvSpPr>
            <a:spLocks noChangeAspect="1"/>
          </p:cNvSpPr>
          <p:nvPr/>
        </p:nvSpPr>
        <p:spPr>
          <a:xfrm>
            <a:off x="9225369" y="1699738"/>
            <a:ext cx="1671184" cy="1671184"/>
          </a:xfrm>
          <a:custGeom>
            <a:avLst/>
            <a:gdLst>
              <a:gd name="connsiteX0" fmla="*/ 0 w 1631817"/>
              <a:gd name="connsiteY0" fmla="*/ 815909 h 1631817"/>
              <a:gd name="connsiteX1" fmla="*/ 815909 w 1631817"/>
              <a:gd name="connsiteY1" fmla="*/ 0 h 1631817"/>
              <a:gd name="connsiteX2" fmla="*/ 1631818 w 1631817"/>
              <a:gd name="connsiteY2" fmla="*/ 815909 h 1631817"/>
              <a:gd name="connsiteX3" fmla="*/ 815909 w 1631817"/>
              <a:gd name="connsiteY3" fmla="*/ 1631818 h 1631817"/>
              <a:gd name="connsiteX4" fmla="*/ 0 w 1631817"/>
              <a:gd name="connsiteY4" fmla="*/ 815909 h 1631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1817" h="1631817">
                <a:moveTo>
                  <a:pt x="0" y="815909"/>
                </a:moveTo>
                <a:cubicBezTo>
                  <a:pt x="0" y="365295"/>
                  <a:pt x="365295" y="0"/>
                  <a:pt x="815909" y="0"/>
                </a:cubicBezTo>
                <a:cubicBezTo>
                  <a:pt x="1266523" y="0"/>
                  <a:pt x="1631818" y="365295"/>
                  <a:pt x="1631818" y="815909"/>
                </a:cubicBezTo>
                <a:cubicBezTo>
                  <a:pt x="1631818" y="1266523"/>
                  <a:pt x="1266523" y="1631818"/>
                  <a:pt x="815909" y="1631818"/>
                </a:cubicBezTo>
                <a:cubicBezTo>
                  <a:pt x="365295" y="1631818"/>
                  <a:pt x="0" y="1266523"/>
                  <a:pt x="0" y="815909"/>
                </a:cubicBezTo>
                <a:close/>
              </a:path>
            </a:pathLst>
          </a:custGeom>
          <a:solidFill>
            <a:schemeClr val="tx2"/>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238974" tIns="238974" rIns="238974" bIns="238974"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en-US" sz="65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5" name="Group 34">
            <a:extLst>
              <a:ext uri="{FF2B5EF4-FFF2-40B4-BE49-F238E27FC236}">
                <a16:creationId xmlns:a16="http://schemas.microsoft.com/office/drawing/2014/main" id="{D5CAD038-7199-6B4E-8560-70569716B86C}"/>
              </a:ext>
            </a:extLst>
          </p:cNvPr>
          <p:cNvGrpSpPr/>
          <p:nvPr/>
        </p:nvGrpSpPr>
        <p:grpSpPr>
          <a:xfrm>
            <a:off x="8378562" y="2660754"/>
            <a:ext cx="3364798" cy="1933034"/>
            <a:chOff x="0" y="1483743"/>
            <a:chExt cx="12192000" cy="3071004"/>
          </a:xfrm>
        </p:grpSpPr>
        <p:sp>
          <p:nvSpPr>
            <p:cNvPr id="36" name="TextBox 35">
              <a:extLst>
                <a:ext uri="{FF2B5EF4-FFF2-40B4-BE49-F238E27FC236}">
                  <a16:creationId xmlns:a16="http://schemas.microsoft.com/office/drawing/2014/main" id="{DA751F91-F71D-28D6-E009-150A84B2F615}"/>
                </a:ext>
              </a:extLst>
            </p:cNvPr>
            <p:cNvSpPr txBox="1"/>
            <p:nvPr/>
          </p:nvSpPr>
          <p:spPr bwMode="gray">
            <a:xfrm>
              <a:off x="0" y="1483743"/>
              <a:ext cx="12191999" cy="3071004"/>
            </a:xfrm>
            <a:prstGeom prst="rect">
              <a:avLst/>
            </a:prstGeom>
            <a:solidFill>
              <a:schemeClr val="bg1">
                <a:lumMod val="95000"/>
              </a:schemeClr>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40" name="Straight Connector 39">
              <a:extLst>
                <a:ext uri="{FF2B5EF4-FFF2-40B4-BE49-F238E27FC236}">
                  <a16:creationId xmlns:a16="http://schemas.microsoft.com/office/drawing/2014/main" id="{5DC494C9-2288-8A33-9D55-F0097916779B}"/>
                </a:ext>
              </a:extLst>
            </p:cNvPr>
            <p:cNvCxnSpPr/>
            <p:nvPr/>
          </p:nvCxnSpPr>
          <p:spPr bwMode="gray">
            <a:xfrm>
              <a:off x="0" y="1483743"/>
              <a:ext cx="12192000" cy="0"/>
            </a:xfrm>
            <a:prstGeom prst="line">
              <a:avLst/>
            </a:prstGeom>
            <a:noFill/>
            <a:ln w="22225" cap="rnd">
              <a:solidFill>
                <a:schemeClr val="accent1"/>
              </a:solidFill>
              <a:prstDash val="solid"/>
              <a:round/>
              <a:headEnd/>
              <a:tailEnd/>
            </a:ln>
            <a:effectLst/>
          </p:spPr>
        </p:cxnSp>
        <p:cxnSp>
          <p:nvCxnSpPr>
            <p:cNvPr id="41" name="Straight Connector 40">
              <a:extLst>
                <a:ext uri="{FF2B5EF4-FFF2-40B4-BE49-F238E27FC236}">
                  <a16:creationId xmlns:a16="http://schemas.microsoft.com/office/drawing/2014/main" id="{E54389FE-A18C-E147-1238-754BEF504352}"/>
                </a:ext>
              </a:extLst>
            </p:cNvPr>
            <p:cNvCxnSpPr/>
            <p:nvPr/>
          </p:nvCxnSpPr>
          <p:spPr bwMode="gray">
            <a:xfrm>
              <a:off x="0" y="4554747"/>
              <a:ext cx="12192000" cy="0"/>
            </a:xfrm>
            <a:prstGeom prst="line">
              <a:avLst/>
            </a:prstGeom>
            <a:noFill/>
            <a:ln w="22225" cap="rnd">
              <a:solidFill>
                <a:schemeClr val="accent2"/>
              </a:solidFill>
              <a:prstDash val="solid"/>
              <a:round/>
              <a:headEnd/>
              <a:tailEnd/>
            </a:ln>
            <a:effectLst/>
          </p:spPr>
        </p:cxnSp>
      </p:grpSp>
      <p:sp>
        <p:nvSpPr>
          <p:cNvPr id="5" name="Title 4">
            <a:extLst>
              <a:ext uri="{FF2B5EF4-FFF2-40B4-BE49-F238E27FC236}">
                <a16:creationId xmlns:a16="http://schemas.microsoft.com/office/drawing/2014/main" id="{431211B8-F9ED-ECE6-9C83-8CB31F14DFD6}"/>
              </a:ext>
            </a:extLst>
          </p:cNvPr>
          <p:cNvSpPr>
            <a:spLocks noGrp="1"/>
          </p:cNvSpPr>
          <p:nvPr>
            <p:ph type="title"/>
          </p:nvPr>
        </p:nvSpPr>
        <p:spPr/>
        <p:txBody>
          <a:bodyPr>
            <a:normAutofit/>
          </a:bodyPr>
          <a:lstStyle/>
          <a:p>
            <a:pPr algn="l"/>
            <a:r>
              <a:rPr lang="en-US" sz="2400" dirty="0" err="1"/>
              <a:t>Erişkin</a:t>
            </a:r>
            <a:r>
              <a:rPr lang="en-US" sz="2400" dirty="0"/>
              <a:t> </a:t>
            </a:r>
            <a:r>
              <a:rPr lang="en-US" sz="2400" dirty="0" err="1"/>
              <a:t>bireylerde</a:t>
            </a:r>
            <a:r>
              <a:rPr lang="en-US" sz="2400" dirty="0"/>
              <a:t> RSV </a:t>
            </a:r>
            <a:r>
              <a:rPr lang="en-US" sz="2400" dirty="0" err="1"/>
              <a:t>hastalığı</a:t>
            </a:r>
            <a:r>
              <a:rPr lang="en-US" sz="2400" dirty="0"/>
              <a:t> </a:t>
            </a:r>
            <a:r>
              <a:rPr lang="en-US" sz="2400" dirty="0" err="1"/>
              <a:t>için</a:t>
            </a:r>
            <a:r>
              <a:rPr lang="en-US" sz="2400" dirty="0"/>
              <a:t> </a:t>
            </a:r>
            <a:r>
              <a:rPr lang="en-US" sz="2400" dirty="0" err="1"/>
              <a:t>şu</a:t>
            </a:r>
            <a:r>
              <a:rPr lang="en-US" sz="2400" dirty="0"/>
              <a:t> </a:t>
            </a:r>
            <a:r>
              <a:rPr lang="en-US" sz="2400" dirty="0" err="1"/>
              <a:t>anda</a:t>
            </a:r>
            <a:r>
              <a:rPr lang="en-US" sz="2400" dirty="0"/>
              <a:t> </a:t>
            </a:r>
            <a:r>
              <a:rPr lang="en-US" sz="2400" dirty="0" err="1"/>
              <a:t>destekleyici</a:t>
            </a:r>
            <a:r>
              <a:rPr lang="en-US" sz="2400" dirty="0"/>
              <a:t> </a:t>
            </a:r>
            <a:r>
              <a:rPr lang="en-US" sz="2400" dirty="0" err="1"/>
              <a:t>bakım</a:t>
            </a:r>
            <a:r>
              <a:rPr lang="en-US" sz="2400" dirty="0"/>
              <a:t> </a:t>
            </a:r>
            <a:r>
              <a:rPr lang="en-US" sz="2400" dirty="0" err="1"/>
              <a:t>dışında</a:t>
            </a:r>
            <a:r>
              <a:rPr lang="en-US" sz="2400" dirty="0"/>
              <a:t> </a:t>
            </a:r>
            <a:r>
              <a:rPr lang="en-US" sz="2400" dirty="0" err="1"/>
              <a:t>herhangi</a:t>
            </a:r>
            <a:r>
              <a:rPr lang="en-US" sz="2400" dirty="0"/>
              <a:t> </a:t>
            </a:r>
            <a:r>
              <a:rPr lang="en-US" sz="2400" dirty="0" err="1"/>
              <a:t>bir</a:t>
            </a:r>
            <a:r>
              <a:rPr lang="en-US" sz="2400" dirty="0"/>
              <a:t> </a:t>
            </a:r>
            <a:r>
              <a:rPr lang="en-US" sz="2400" dirty="0" err="1"/>
              <a:t>tedavi</a:t>
            </a:r>
            <a:r>
              <a:rPr lang="en-US" sz="2400" dirty="0"/>
              <a:t> </a:t>
            </a:r>
            <a:r>
              <a:rPr lang="en-US" sz="2400" dirty="0" err="1"/>
              <a:t>seçeneği</a:t>
            </a:r>
            <a:r>
              <a:rPr lang="en-US" sz="2400" dirty="0"/>
              <a:t>* </a:t>
            </a:r>
            <a:r>
              <a:rPr lang="en-US" sz="2400" dirty="0" err="1"/>
              <a:t>bulunmamaktadır</a:t>
            </a:r>
            <a:r>
              <a:rPr lang="en-US" sz="2400" dirty="0"/>
              <a:t>.</a:t>
            </a:r>
          </a:p>
        </p:txBody>
      </p:sp>
      <p:sp>
        <p:nvSpPr>
          <p:cNvPr id="10" name="Footer Placeholder 1">
            <a:extLst>
              <a:ext uri="{FF2B5EF4-FFF2-40B4-BE49-F238E27FC236}">
                <a16:creationId xmlns:a16="http://schemas.microsoft.com/office/drawing/2014/main" id="{52ED7299-100E-A839-0BC4-10D8D92D04E0}"/>
              </a:ext>
            </a:extLst>
          </p:cNvPr>
          <p:cNvSpPr txBox="1">
            <a:spLocks/>
          </p:cNvSpPr>
          <p:nvPr/>
        </p:nvSpPr>
        <p:spPr bwMode="gray">
          <a:xfrm>
            <a:off x="613152" y="5816654"/>
            <a:ext cx="10051351" cy="379840"/>
          </a:xfrm>
          <a:prstGeom prst="rect">
            <a:avLst/>
          </a:prstGeom>
        </p:spPr>
        <p:txBody>
          <a:bodyPr vert="horz" lIns="0" tIns="0" rIns="0" bIns="0" rtlCol="0" anchor="b">
            <a:norm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vl2pPr marL="803275" indent="-290513" algn="l" defTabSz="914400" rtl="0" eaLnBrk="1" latinLnBrk="0" hangingPunct="1">
              <a:lnSpc>
                <a:spcPct val="95000"/>
              </a:lnSpc>
              <a:spcBef>
                <a:spcPts val="4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98563" indent="-168275" algn="l" defTabSz="914400" rtl="0" eaLnBrk="1" latinLnBrk="0" hangingPunct="1">
              <a:lnSpc>
                <a:spcPct val="95000"/>
              </a:lnSpc>
              <a:spcBef>
                <a:spcPts val="2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55763" indent="-228600" algn="l" defTabSz="914400" rtl="0" eaLnBrk="1" latinLnBrk="0" hangingPunct="1">
              <a:lnSpc>
                <a:spcPct val="95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112963" indent="-228600" algn="l" defTabSz="914400" rtl="0" eaLnBrk="1" latinLnBrk="0" hangingPunct="1">
              <a:lnSpc>
                <a:spcPct val="95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85000"/>
              </a:lnSpc>
              <a:spcBef>
                <a:spcPts val="200"/>
              </a:spcBef>
              <a:spcAft>
                <a:spcPts val="0"/>
              </a:spcAft>
              <a:buClr>
                <a:srgbClr val="0095FF"/>
              </a:buClr>
              <a:buSzPct val="85000"/>
              <a:buFont typeface="Arial" pitchFamily="34" charset="0"/>
              <a:buNone/>
              <a:tabLst>
                <a:tab pos="174625" algn="r"/>
                <a:tab pos="228600" algn="l"/>
              </a:tabLst>
              <a:defRPr/>
            </a:pP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Arial"/>
              </a:rPr>
              <a:t>1. </a:t>
            </a: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Arial"/>
              </a:rPr>
              <a:t>Domachowske</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Arial"/>
              </a:rPr>
              <a:t> JB, et al.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Arial"/>
              </a:rPr>
              <a:t>Infect Dis Ther.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Arial"/>
              </a:rPr>
              <a:t>2021;10(suppl 1):S47-S60.</a:t>
            </a: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Arial"/>
              </a:rPr>
              <a:t> 2. </a:t>
            </a: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Arial"/>
              </a:rPr>
              <a:t>Obolski</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Arial"/>
              </a:rPr>
              <a:t> U, et al.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Arial"/>
              </a:rPr>
              <a:t>J Glob </a:t>
            </a:r>
            <a:r>
              <a:rPr kumimoji="0" lang="en-US" sz="800" b="0" i="1" u="none" strike="noStrike" kern="1200" cap="none" spc="0" normalizeH="0" baseline="0" noProof="0" dirty="0" err="1">
                <a:ln>
                  <a:noFill/>
                </a:ln>
                <a:solidFill>
                  <a:srgbClr val="000000"/>
                </a:solidFill>
                <a:effectLst/>
                <a:uLnTx/>
                <a:uFillTx/>
                <a:latin typeface="Arial" panose="020B0604020202020204"/>
                <a:ea typeface="+mn-ea"/>
                <a:cs typeface="Arial"/>
              </a:rPr>
              <a:t>Antimicrob</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Arial"/>
              </a:rPr>
              <a:t> Resist.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Arial"/>
              </a:rPr>
              <a:t>2021;27:303-308.</a:t>
            </a:r>
            <a:endParaRPr kumimoji="0" lang="en-US" sz="800" b="0" i="0" u="none" strike="noStrike" kern="1200" cap="none" spc="0" normalizeH="0" baseline="0" noProof="0" dirty="0">
              <a:ln>
                <a:noFill/>
              </a:ln>
              <a:solidFill>
                <a:srgbClr val="A1AAB1"/>
              </a:solidFill>
              <a:effectLst/>
              <a:uLnTx/>
              <a:uFillTx/>
              <a:latin typeface="Arial" panose="020B0604020202020204"/>
              <a:ea typeface="+mn-ea"/>
              <a:cs typeface="Arial"/>
            </a:endParaRPr>
          </a:p>
          <a:p>
            <a:pPr marL="228600" marR="0" lvl="0" indent="-228600" algn="l" defTabSz="914400" rtl="0" eaLnBrk="1" fontAlgn="auto" latinLnBrk="0" hangingPunct="1">
              <a:lnSpc>
                <a:spcPct val="85000"/>
              </a:lnSpc>
              <a:spcBef>
                <a:spcPts val="200"/>
              </a:spcBef>
              <a:spcAft>
                <a:spcPts val="0"/>
              </a:spcAft>
              <a:buClr>
                <a:srgbClr val="0095FF"/>
              </a:buClr>
              <a:buSzPct val="85000"/>
              <a:buFont typeface="Arial" pitchFamily="34" charset="0"/>
              <a:buNone/>
              <a:tabLst>
                <a:tab pos="174625" algn="r"/>
                <a:tab pos="228600" algn="l"/>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Arial"/>
              </a:rPr>
              <a:t>*RSV </a:t>
            </a: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Arial"/>
              </a:rPr>
              <a:t>antiviralleri</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Arial"/>
              </a:rPr>
              <a:t> </a:t>
            </a: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Arial"/>
              </a:rPr>
              <a:t>geliştirilme</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Arial"/>
              </a:rPr>
              <a:t> </a:t>
            </a: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Arial"/>
              </a:rPr>
              <a:t>aşamasındadır</a:t>
            </a:r>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Arial" pitchFamily="34" charset="0"/>
            </a:endParaRPr>
          </a:p>
        </p:txBody>
      </p:sp>
      <p:grpSp>
        <p:nvGrpSpPr>
          <p:cNvPr id="14" name="Graphic 23" descr="Medicine">
            <a:extLst>
              <a:ext uri="{FF2B5EF4-FFF2-40B4-BE49-F238E27FC236}">
                <a16:creationId xmlns:a16="http://schemas.microsoft.com/office/drawing/2014/main" id="{7899A826-ED9C-7E00-02E3-5475D767056B}"/>
              </a:ext>
            </a:extLst>
          </p:cNvPr>
          <p:cNvGrpSpPr/>
          <p:nvPr/>
        </p:nvGrpSpPr>
        <p:grpSpPr>
          <a:xfrm>
            <a:off x="9826484" y="1817404"/>
            <a:ext cx="540387" cy="778695"/>
            <a:chOff x="8780304" y="1447090"/>
            <a:chExt cx="662817" cy="946882"/>
          </a:xfrm>
          <a:solidFill>
            <a:schemeClr val="bg1"/>
          </a:solidFill>
        </p:grpSpPr>
        <p:sp>
          <p:nvSpPr>
            <p:cNvPr id="18" name="Freeform: Shape 17">
              <a:extLst>
                <a:ext uri="{FF2B5EF4-FFF2-40B4-BE49-F238E27FC236}">
                  <a16:creationId xmlns:a16="http://schemas.microsoft.com/office/drawing/2014/main" id="{854A74CD-A171-EF1A-1905-5C5208605495}"/>
                </a:ext>
              </a:extLst>
            </p:cNvPr>
            <p:cNvSpPr/>
            <p:nvPr/>
          </p:nvSpPr>
          <p:spPr>
            <a:xfrm>
              <a:off x="8780304" y="1447090"/>
              <a:ext cx="520785" cy="852194"/>
            </a:xfrm>
            <a:custGeom>
              <a:avLst/>
              <a:gdLst>
                <a:gd name="connsiteX0" fmla="*/ 520785 w 520785"/>
                <a:gd name="connsiteY0" fmla="*/ 710162 h 852194"/>
                <a:gd name="connsiteX1" fmla="*/ 520785 w 520785"/>
                <a:gd name="connsiteY1" fmla="*/ 615474 h 852194"/>
                <a:gd name="connsiteX2" fmla="*/ 118360 w 520785"/>
                <a:gd name="connsiteY2" fmla="*/ 615474 h 852194"/>
                <a:gd name="connsiteX3" fmla="*/ 94688 w 520785"/>
                <a:gd name="connsiteY3" fmla="*/ 591802 h 852194"/>
                <a:gd name="connsiteX4" fmla="*/ 94688 w 520785"/>
                <a:gd name="connsiteY4" fmla="*/ 355081 h 852194"/>
                <a:gd name="connsiteX5" fmla="*/ 118360 w 520785"/>
                <a:gd name="connsiteY5" fmla="*/ 331409 h 852194"/>
                <a:gd name="connsiteX6" fmla="*/ 520785 w 520785"/>
                <a:gd name="connsiteY6" fmla="*/ 331409 h 852194"/>
                <a:gd name="connsiteX7" fmla="*/ 520785 w 520785"/>
                <a:gd name="connsiteY7" fmla="*/ 236721 h 852194"/>
                <a:gd name="connsiteX8" fmla="*/ 473441 w 520785"/>
                <a:gd name="connsiteY8" fmla="*/ 189377 h 852194"/>
                <a:gd name="connsiteX9" fmla="*/ 432015 w 520785"/>
                <a:gd name="connsiteY9" fmla="*/ 189377 h 852194"/>
                <a:gd name="connsiteX10" fmla="*/ 426097 w 520785"/>
                <a:gd name="connsiteY10" fmla="*/ 183458 h 852194"/>
                <a:gd name="connsiteX11" fmla="*/ 426097 w 520785"/>
                <a:gd name="connsiteY11" fmla="*/ 147950 h 852194"/>
                <a:gd name="connsiteX12" fmla="*/ 432015 w 520785"/>
                <a:gd name="connsiteY12" fmla="*/ 142032 h 852194"/>
                <a:gd name="connsiteX13" fmla="*/ 461605 w 520785"/>
                <a:gd name="connsiteY13" fmla="*/ 142032 h 852194"/>
                <a:gd name="connsiteX14" fmla="*/ 473441 w 520785"/>
                <a:gd name="connsiteY14" fmla="*/ 130196 h 852194"/>
                <a:gd name="connsiteX15" fmla="*/ 473441 w 520785"/>
                <a:gd name="connsiteY15" fmla="*/ 47344 h 852194"/>
                <a:gd name="connsiteX16" fmla="*/ 426097 w 520785"/>
                <a:gd name="connsiteY16" fmla="*/ 0 h 852194"/>
                <a:gd name="connsiteX17" fmla="*/ 94688 w 520785"/>
                <a:gd name="connsiteY17" fmla="*/ 0 h 852194"/>
                <a:gd name="connsiteX18" fmla="*/ 47344 w 520785"/>
                <a:gd name="connsiteY18" fmla="*/ 47344 h 852194"/>
                <a:gd name="connsiteX19" fmla="*/ 47344 w 520785"/>
                <a:gd name="connsiteY19" fmla="*/ 130196 h 852194"/>
                <a:gd name="connsiteX20" fmla="*/ 59180 w 520785"/>
                <a:gd name="connsiteY20" fmla="*/ 142032 h 852194"/>
                <a:gd name="connsiteX21" fmla="*/ 88770 w 520785"/>
                <a:gd name="connsiteY21" fmla="*/ 142032 h 852194"/>
                <a:gd name="connsiteX22" fmla="*/ 94688 w 520785"/>
                <a:gd name="connsiteY22" fmla="*/ 147950 h 852194"/>
                <a:gd name="connsiteX23" fmla="*/ 94688 w 520785"/>
                <a:gd name="connsiteY23" fmla="*/ 183458 h 852194"/>
                <a:gd name="connsiteX24" fmla="*/ 88770 w 520785"/>
                <a:gd name="connsiteY24" fmla="*/ 189377 h 852194"/>
                <a:gd name="connsiteX25" fmla="*/ 47344 w 520785"/>
                <a:gd name="connsiteY25" fmla="*/ 189377 h 852194"/>
                <a:gd name="connsiteX26" fmla="*/ 0 w 520785"/>
                <a:gd name="connsiteY26" fmla="*/ 236721 h 852194"/>
                <a:gd name="connsiteX27" fmla="*/ 0 w 520785"/>
                <a:gd name="connsiteY27" fmla="*/ 804850 h 852194"/>
                <a:gd name="connsiteX28" fmla="*/ 47344 w 520785"/>
                <a:gd name="connsiteY28" fmla="*/ 852194 h 852194"/>
                <a:gd name="connsiteX29" fmla="*/ 213049 w 520785"/>
                <a:gd name="connsiteY29" fmla="*/ 852194 h 852194"/>
                <a:gd name="connsiteX30" fmla="*/ 355081 w 520785"/>
                <a:gd name="connsiteY30" fmla="*/ 710162 h 852194"/>
                <a:gd name="connsiteX31" fmla="*/ 520785 w 520785"/>
                <a:gd name="connsiteY31" fmla="*/ 710162 h 852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20785" h="852194">
                  <a:moveTo>
                    <a:pt x="520785" y="710162"/>
                  </a:moveTo>
                  <a:lnTo>
                    <a:pt x="520785" y="615474"/>
                  </a:lnTo>
                  <a:lnTo>
                    <a:pt x="118360" y="615474"/>
                  </a:lnTo>
                  <a:cubicBezTo>
                    <a:pt x="105341" y="615474"/>
                    <a:pt x="94688" y="604821"/>
                    <a:pt x="94688" y="591802"/>
                  </a:cubicBezTo>
                  <a:lnTo>
                    <a:pt x="94688" y="355081"/>
                  </a:lnTo>
                  <a:cubicBezTo>
                    <a:pt x="94688" y="342061"/>
                    <a:pt x="105341" y="331409"/>
                    <a:pt x="118360" y="331409"/>
                  </a:cubicBezTo>
                  <a:lnTo>
                    <a:pt x="520785" y="331409"/>
                  </a:lnTo>
                  <a:lnTo>
                    <a:pt x="520785" y="236721"/>
                  </a:lnTo>
                  <a:cubicBezTo>
                    <a:pt x="520785" y="210681"/>
                    <a:pt x="499481" y="189377"/>
                    <a:pt x="473441" y="189377"/>
                  </a:cubicBezTo>
                  <a:lnTo>
                    <a:pt x="432015" y="189377"/>
                  </a:lnTo>
                  <a:cubicBezTo>
                    <a:pt x="428464" y="189377"/>
                    <a:pt x="426097" y="187009"/>
                    <a:pt x="426097" y="183458"/>
                  </a:cubicBezTo>
                  <a:lnTo>
                    <a:pt x="426097" y="147950"/>
                  </a:lnTo>
                  <a:cubicBezTo>
                    <a:pt x="426097" y="144400"/>
                    <a:pt x="428464" y="142032"/>
                    <a:pt x="432015" y="142032"/>
                  </a:cubicBezTo>
                  <a:lnTo>
                    <a:pt x="461605" y="142032"/>
                  </a:lnTo>
                  <a:cubicBezTo>
                    <a:pt x="468707" y="142032"/>
                    <a:pt x="473441" y="137298"/>
                    <a:pt x="473441" y="130196"/>
                  </a:cubicBezTo>
                  <a:lnTo>
                    <a:pt x="473441" y="47344"/>
                  </a:lnTo>
                  <a:cubicBezTo>
                    <a:pt x="473441" y="21305"/>
                    <a:pt x="452136" y="0"/>
                    <a:pt x="426097" y="0"/>
                  </a:cubicBezTo>
                  <a:lnTo>
                    <a:pt x="94688" y="0"/>
                  </a:lnTo>
                  <a:cubicBezTo>
                    <a:pt x="68649" y="0"/>
                    <a:pt x="47344" y="21305"/>
                    <a:pt x="47344" y="47344"/>
                  </a:cubicBezTo>
                  <a:lnTo>
                    <a:pt x="47344" y="130196"/>
                  </a:lnTo>
                  <a:cubicBezTo>
                    <a:pt x="47344" y="137298"/>
                    <a:pt x="52079" y="142032"/>
                    <a:pt x="59180" y="142032"/>
                  </a:cubicBezTo>
                  <a:lnTo>
                    <a:pt x="88770" y="142032"/>
                  </a:lnTo>
                  <a:cubicBezTo>
                    <a:pt x="92321" y="142032"/>
                    <a:pt x="94688" y="144400"/>
                    <a:pt x="94688" y="147950"/>
                  </a:cubicBezTo>
                  <a:lnTo>
                    <a:pt x="94688" y="183458"/>
                  </a:lnTo>
                  <a:cubicBezTo>
                    <a:pt x="94688" y="187009"/>
                    <a:pt x="92321" y="189377"/>
                    <a:pt x="88770" y="189377"/>
                  </a:cubicBezTo>
                  <a:lnTo>
                    <a:pt x="47344" y="189377"/>
                  </a:lnTo>
                  <a:cubicBezTo>
                    <a:pt x="21305" y="189377"/>
                    <a:pt x="0" y="210681"/>
                    <a:pt x="0" y="236721"/>
                  </a:cubicBezTo>
                  <a:lnTo>
                    <a:pt x="0" y="804850"/>
                  </a:lnTo>
                  <a:cubicBezTo>
                    <a:pt x="0" y="830889"/>
                    <a:pt x="21305" y="852194"/>
                    <a:pt x="47344" y="852194"/>
                  </a:cubicBezTo>
                  <a:lnTo>
                    <a:pt x="213049" y="852194"/>
                  </a:lnTo>
                  <a:cubicBezTo>
                    <a:pt x="213049" y="774076"/>
                    <a:pt x="276963" y="710162"/>
                    <a:pt x="355081" y="710162"/>
                  </a:cubicBezTo>
                  <a:lnTo>
                    <a:pt x="520785" y="710162"/>
                  </a:lnTo>
                  <a:close/>
                </a:path>
              </a:pathLst>
            </a:custGeom>
            <a:grpFill/>
            <a:ln w="118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Freeform: Shape 18">
              <a:extLst>
                <a:ext uri="{FF2B5EF4-FFF2-40B4-BE49-F238E27FC236}">
                  <a16:creationId xmlns:a16="http://schemas.microsoft.com/office/drawing/2014/main" id="{FAE5838A-AFB0-43BB-FA80-33D842AD7AA8}"/>
                </a:ext>
              </a:extLst>
            </p:cNvPr>
            <p:cNvSpPr/>
            <p:nvPr/>
          </p:nvSpPr>
          <p:spPr>
            <a:xfrm>
              <a:off x="8922337" y="1825843"/>
              <a:ext cx="378753" cy="189376"/>
            </a:xfrm>
            <a:custGeom>
              <a:avLst/>
              <a:gdLst>
                <a:gd name="connsiteX0" fmla="*/ 0 w 378753"/>
                <a:gd name="connsiteY0" fmla="*/ 11836 h 189376"/>
                <a:gd name="connsiteX1" fmla="*/ 0 w 378753"/>
                <a:gd name="connsiteY1" fmla="*/ 177540 h 189376"/>
                <a:gd name="connsiteX2" fmla="*/ 11836 w 378753"/>
                <a:gd name="connsiteY2" fmla="*/ 189377 h 189376"/>
                <a:gd name="connsiteX3" fmla="*/ 378753 w 378753"/>
                <a:gd name="connsiteY3" fmla="*/ 189377 h 189376"/>
                <a:gd name="connsiteX4" fmla="*/ 378753 w 378753"/>
                <a:gd name="connsiteY4" fmla="*/ 0 h 189376"/>
                <a:gd name="connsiteX5" fmla="*/ 11836 w 378753"/>
                <a:gd name="connsiteY5" fmla="*/ 0 h 189376"/>
                <a:gd name="connsiteX6" fmla="*/ 0 w 378753"/>
                <a:gd name="connsiteY6" fmla="*/ 11836 h 18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8753" h="189376">
                  <a:moveTo>
                    <a:pt x="0" y="11836"/>
                  </a:moveTo>
                  <a:lnTo>
                    <a:pt x="0" y="177540"/>
                  </a:lnTo>
                  <a:cubicBezTo>
                    <a:pt x="0" y="184642"/>
                    <a:pt x="4734" y="189377"/>
                    <a:pt x="11836" y="189377"/>
                  </a:cubicBezTo>
                  <a:lnTo>
                    <a:pt x="378753" y="189377"/>
                  </a:lnTo>
                  <a:lnTo>
                    <a:pt x="378753" y="0"/>
                  </a:lnTo>
                  <a:lnTo>
                    <a:pt x="11836" y="0"/>
                  </a:lnTo>
                  <a:cubicBezTo>
                    <a:pt x="4734" y="0"/>
                    <a:pt x="0" y="4734"/>
                    <a:pt x="0" y="11836"/>
                  </a:cubicBezTo>
                  <a:close/>
                </a:path>
              </a:pathLst>
            </a:custGeom>
            <a:grpFill/>
            <a:ln w="118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Freeform: Shape 19">
              <a:extLst>
                <a:ext uri="{FF2B5EF4-FFF2-40B4-BE49-F238E27FC236}">
                  <a16:creationId xmlns:a16="http://schemas.microsoft.com/office/drawing/2014/main" id="{FEB85FB5-8241-922D-9167-0E8C9B851843}"/>
                </a:ext>
              </a:extLst>
            </p:cNvPr>
            <p:cNvSpPr/>
            <p:nvPr/>
          </p:nvSpPr>
          <p:spPr>
            <a:xfrm>
              <a:off x="9040697" y="2204596"/>
              <a:ext cx="402425" cy="189376"/>
            </a:xfrm>
            <a:custGeom>
              <a:avLst/>
              <a:gdLst>
                <a:gd name="connsiteX0" fmla="*/ 201213 w 402425"/>
                <a:gd name="connsiteY0" fmla="*/ 142032 h 189376"/>
                <a:gd name="connsiteX1" fmla="*/ 94688 w 402425"/>
                <a:gd name="connsiteY1" fmla="*/ 142032 h 189376"/>
                <a:gd name="connsiteX2" fmla="*/ 47344 w 402425"/>
                <a:gd name="connsiteY2" fmla="*/ 94688 h 189376"/>
                <a:gd name="connsiteX3" fmla="*/ 94688 w 402425"/>
                <a:gd name="connsiteY3" fmla="*/ 47344 h 189376"/>
                <a:gd name="connsiteX4" fmla="*/ 201213 w 402425"/>
                <a:gd name="connsiteY4" fmla="*/ 47344 h 189376"/>
                <a:gd name="connsiteX5" fmla="*/ 201213 w 402425"/>
                <a:gd name="connsiteY5" fmla="*/ 142032 h 189376"/>
                <a:gd name="connsiteX6" fmla="*/ 307737 w 402425"/>
                <a:gd name="connsiteY6" fmla="*/ 0 h 189376"/>
                <a:gd name="connsiteX7" fmla="*/ 94688 w 402425"/>
                <a:gd name="connsiteY7" fmla="*/ 0 h 189376"/>
                <a:gd name="connsiteX8" fmla="*/ 0 w 402425"/>
                <a:gd name="connsiteY8" fmla="*/ 94688 h 189376"/>
                <a:gd name="connsiteX9" fmla="*/ 94688 w 402425"/>
                <a:gd name="connsiteY9" fmla="*/ 189377 h 189376"/>
                <a:gd name="connsiteX10" fmla="*/ 307737 w 402425"/>
                <a:gd name="connsiteY10" fmla="*/ 189377 h 189376"/>
                <a:gd name="connsiteX11" fmla="*/ 402425 w 402425"/>
                <a:gd name="connsiteY11" fmla="*/ 94688 h 189376"/>
                <a:gd name="connsiteX12" fmla="*/ 307737 w 402425"/>
                <a:gd name="connsiteY12" fmla="*/ 0 h 18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2425" h="189376">
                  <a:moveTo>
                    <a:pt x="201213" y="142032"/>
                  </a:moveTo>
                  <a:lnTo>
                    <a:pt x="94688" y="142032"/>
                  </a:lnTo>
                  <a:cubicBezTo>
                    <a:pt x="68649" y="142032"/>
                    <a:pt x="47344" y="120727"/>
                    <a:pt x="47344" y="94688"/>
                  </a:cubicBezTo>
                  <a:cubicBezTo>
                    <a:pt x="47344" y="68649"/>
                    <a:pt x="68649" y="47344"/>
                    <a:pt x="94688" y="47344"/>
                  </a:cubicBezTo>
                  <a:lnTo>
                    <a:pt x="201213" y="47344"/>
                  </a:lnTo>
                  <a:lnTo>
                    <a:pt x="201213" y="142032"/>
                  </a:lnTo>
                  <a:close/>
                  <a:moveTo>
                    <a:pt x="307737" y="0"/>
                  </a:moveTo>
                  <a:lnTo>
                    <a:pt x="94688" y="0"/>
                  </a:lnTo>
                  <a:cubicBezTo>
                    <a:pt x="42610" y="0"/>
                    <a:pt x="0" y="42610"/>
                    <a:pt x="0" y="94688"/>
                  </a:cubicBezTo>
                  <a:cubicBezTo>
                    <a:pt x="0" y="146767"/>
                    <a:pt x="42610" y="189377"/>
                    <a:pt x="94688" y="189377"/>
                  </a:cubicBezTo>
                  <a:lnTo>
                    <a:pt x="307737" y="189377"/>
                  </a:lnTo>
                  <a:cubicBezTo>
                    <a:pt x="359815" y="189377"/>
                    <a:pt x="402425" y="146767"/>
                    <a:pt x="402425" y="94688"/>
                  </a:cubicBezTo>
                  <a:cubicBezTo>
                    <a:pt x="402425" y="42610"/>
                    <a:pt x="359815" y="0"/>
                    <a:pt x="307737" y="0"/>
                  </a:cubicBezTo>
                  <a:close/>
                </a:path>
              </a:pathLst>
            </a:custGeom>
            <a:grpFill/>
            <a:ln w="118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5" name="Rectangle 14">
            <a:extLst>
              <a:ext uri="{FF2B5EF4-FFF2-40B4-BE49-F238E27FC236}">
                <a16:creationId xmlns:a16="http://schemas.microsoft.com/office/drawing/2014/main" id="{CF1FEF62-C032-2F86-E13D-84E14747FE35}"/>
              </a:ext>
            </a:extLst>
          </p:cNvPr>
          <p:cNvSpPr/>
          <p:nvPr/>
        </p:nvSpPr>
        <p:spPr>
          <a:xfrm>
            <a:off x="8545803" y="3351739"/>
            <a:ext cx="3196891" cy="523220"/>
          </a:xfrm>
          <a:prstGeom prst="rect">
            <a:avLst/>
          </a:prstGeom>
          <a:noFill/>
        </p:spPr>
        <p:txBody>
          <a:bodyPr wrap="square">
            <a:spAutoFit/>
          </a:bodyPr>
          <a:lstStyle/>
          <a:p>
            <a:pPr marL="9525" marR="0" lvl="1" indent="0" algn="l" defTabSz="914400" rtl="0" eaLnBrk="1" fontAlgn="ctr" latinLnBrk="0" hangingPunct="1">
              <a:lnSpc>
                <a:spcPct val="100000"/>
              </a:lnSpc>
              <a:spcBef>
                <a:spcPts val="200"/>
              </a:spcBef>
              <a:spcAft>
                <a:spcPts val="0"/>
              </a:spcAft>
              <a:buClrTx/>
              <a:buSzTx/>
              <a:buFontTx/>
              <a:buNone/>
              <a:tabLst/>
              <a:defRPr/>
            </a:pP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Calibri" panose="020F0502020204030204" pitchFamily="34" charset="0"/>
              </a:rPr>
              <a:t>Ülkemizde</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rPr>
              <a:t> </a:t>
            </a: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Calibri" panose="020F0502020204030204" pitchFamily="34" charset="0"/>
              </a:rPr>
              <a:t>ruhsatlı</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rPr>
              <a:t> </a:t>
            </a: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Calibri" panose="020F0502020204030204" pitchFamily="34" charset="0"/>
              </a:rPr>
              <a:t>bir</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rPr>
              <a:t> </a:t>
            </a: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Calibri" panose="020F0502020204030204" pitchFamily="34" charset="0"/>
              </a:rPr>
              <a:t>tedavi</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rPr>
              <a:t> </a:t>
            </a: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Calibri" panose="020F0502020204030204" pitchFamily="34" charset="0"/>
              </a:rPr>
              <a:t>seçeneği</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rPr>
              <a:t> </a:t>
            </a: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Calibri" panose="020F0502020204030204" pitchFamily="34" charset="0"/>
              </a:rPr>
              <a:t>bulunmamaktadır</a:t>
            </a:r>
            <a:r>
              <a:rPr kumimoji="0" lang="tr-TR"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rPr>
              <a:t>.</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endParaRPr>
          </a:p>
        </p:txBody>
      </p:sp>
      <p:sp>
        <p:nvSpPr>
          <p:cNvPr id="13" name="CuadroTexto 62">
            <a:extLst>
              <a:ext uri="{FF2B5EF4-FFF2-40B4-BE49-F238E27FC236}">
                <a16:creationId xmlns:a16="http://schemas.microsoft.com/office/drawing/2014/main" id="{2CE37CC9-BE22-DBF4-29D8-2537682C6F19}"/>
              </a:ext>
            </a:extLst>
          </p:cNvPr>
          <p:cNvSpPr txBox="1"/>
          <p:nvPr/>
        </p:nvSpPr>
        <p:spPr bwMode="gray">
          <a:xfrm>
            <a:off x="8377896" y="2680234"/>
            <a:ext cx="3364798" cy="338554"/>
          </a:xfrm>
          <a:prstGeom prst="rect">
            <a:avLst/>
          </a:prstGeom>
          <a:noFill/>
          <a:ln>
            <a:noFill/>
          </a:ln>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err="1">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rPr>
              <a:t>Ruhsatlı</a:t>
            </a:r>
            <a:r>
              <a:rPr kumimoji="0" lang="en-US" sz="1600" b="1" i="0" u="none" strike="noStrike" kern="1200" cap="none" spc="0" normalizeH="0" baseline="0" noProof="0">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rPr>
              <a:t> tedavi</a:t>
            </a:r>
            <a:r>
              <a:rPr kumimoji="0" lang="en-US" sz="1600" b="0" i="0" u="none" strike="noStrike" kern="1200" cap="none" spc="0" normalizeH="0" baseline="30000" noProof="0">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rPr>
              <a:t>1</a:t>
            </a:r>
            <a:endParaRPr kumimoji="0" lang="en-US" sz="1600" b="0" i="0" u="none" strike="noStrike" kern="1200" cap="none" spc="0" normalizeH="0" baseline="0" noProof="0">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endParaRPr>
          </a:p>
        </p:txBody>
      </p:sp>
      <p:sp>
        <p:nvSpPr>
          <p:cNvPr id="22" name="Content Placeholder 9" descr="IV">
            <a:extLst>
              <a:ext uri="{FF2B5EF4-FFF2-40B4-BE49-F238E27FC236}">
                <a16:creationId xmlns:a16="http://schemas.microsoft.com/office/drawing/2014/main" id="{7E0EE281-862D-966F-1185-65F1D8C78DFA}"/>
              </a:ext>
            </a:extLst>
          </p:cNvPr>
          <p:cNvSpPr/>
          <p:nvPr/>
        </p:nvSpPr>
        <p:spPr>
          <a:xfrm>
            <a:off x="5832422" y="1755458"/>
            <a:ext cx="506733" cy="825787"/>
          </a:xfrm>
          <a:custGeom>
            <a:avLst/>
            <a:gdLst>
              <a:gd name="connsiteX0" fmla="*/ 142930 w 593709"/>
              <a:gd name="connsiteY0" fmla="*/ 164919 h 967527"/>
              <a:gd name="connsiteX1" fmla="*/ 450780 w 593709"/>
              <a:gd name="connsiteY1" fmla="*/ 164919 h 967527"/>
              <a:gd name="connsiteX2" fmla="*/ 527742 w 593709"/>
              <a:gd name="connsiteY2" fmla="*/ 241882 h 967527"/>
              <a:gd name="connsiteX3" fmla="*/ 461774 w 593709"/>
              <a:gd name="connsiteY3" fmla="*/ 241882 h 967527"/>
              <a:gd name="connsiteX4" fmla="*/ 461774 w 593709"/>
              <a:gd name="connsiteY4" fmla="*/ 285860 h 967527"/>
              <a:gd name="connsiteX5" fmla="*/ 527742 w 593709"/>
              <a:gd name="connsiteY5" fmla="*/ 285860 h 967527"/>
              <a:gd name="connsiteX6" fmla="*/ 527742 w 593709"/>
              <a:gd name="connsiteY6" fmla="*/ 351828 h 967527"/>
              <a:gd name="connsiteX7" fmla="*/ 461774 w 593709"/>
              <a:gd name="connsiteY7" fmla="*/ 351828 h 967527"/>
              <a:gd name="connsiteX8" fmla="*/ 461774 w 593709"/>
              <a:gd name="connsiteY8" fmla="*/ 395807 h 967527"/>
              <a:gd name="connsiteX9" fmla="*/ 527742 w 593709"/>
              <a:gd name="connsiteY9" fmla="*/ 395807 h 967527"/>
              <a:gd name="connsiteX10" fmla="*/ 527742 w 593709"/>
              <a:gd name="connsiteY10" fmla="*/ 461774 h 967527"/>
              <a:gd name="connsiteX11" fmla="*/ 461774 w 593709"/>
              <a:gd name="connsiteY11" fmla="*/ 461774 h 967527"/>
              <a:gd name="connsiteX12" fmla="*/ 461774 w 593709"/>
              <a:gd name="connsiteY12" fmla="*/ 505753 h 967527"/>
              <a:gd name="connsiteX13" fmla="*/ 527742 w 593709"/>
              <a:gd name="connsiteY13" fmla="*/ 505753 h 967527"/>
              <a:gd name="connsiteX14" fmla="*/ 527742 w 593709"/>
              <a:gd name="connsiteY14" fmla="*/ 549731 h 967527"/>
              <a:gd name="connsiteX15" fmla="*/ 344132 w 593709"/>
              <a:gd name="connsiteY15" fmla="*/ 534339 h 967527"/>
              <a:gd name="connsiteX16" fmla="*/ 216594 w 593709"/>
              <a:gd name="connsiteY16" fmla="*/ 484863 h 967527"/>
              <a:gd name="connsiteX17" fmla="*/ 65968 w 593709"/>
              <a:gd name="connsiteY17" fmla="*/ 511250 h 967527"/>
              <a:gd name="connsiteX18" fmla="*/ 65968 w 593709"/>
              <a:gd name="connsiteY18" fmla="*/ 241882 h 967527"/>
              <a:gd name="connsiteX19" fmla="*/ 142930 w 593709"/>
              <a:gd name="connsiteY19" fmla="*/ 164919 h 967527"/>
              <a:gd name="connsiteX20" fmla="*/ 296855 w 593709"/>
              <a:gd name="connsiteY20" fmla="*/ 43979 h 967527"/>
              <a:gd name="connsiteX21" fmla="*/ 318844 w 593709"/>
              <a:gd name="connsiteY21" fmla="*/ 65968 h 967527"/>
              <a:gd name="connsiteX22" fmla="*/ 296855 w 593709"/>
              <a:gd name="connsiteY22" fmla="*/ 87957 h 967527"/>
              <a:gd name="connsiteX23" fmla="*/ 274866 w 593709"/>
              <a:gd name="connsiteY23" fmla="*/ 65968 h 967527"/>
              <a:gd name="connsiteX24" fmla="*/ 296855 w 593709"/>
              <a:gd name="connsiteY24" fmla="*/ 43979 h 967527"/>
              <a:gd name="connsiteX25" fmla="*/ 450780 w 593709"/>
              <a:gd name="connsiteY25" fmla="*/ 98952 h 967527"/>
              <a:gd name="connsiteX26" fmla="*/ 354027 w 593709"/>
              <a:gd name="connsiteY26" fmla="*/ 98952 h 967527"/>
              <a:gd name="connsiteX27" fmla="*/ 362823 w 593709"/>
              <a:gd name="connsiteY27" fmla="*/ 65968 h 967527"/>
              <a:gd name="connsiteX28" fmla="*/ 296855 w 593709"/>
              <a:gd name="connsiteY28" fmla="*/ 0 h 967527"/>
              <a:gd name="connsiteX29" fmla="*/ 230887 w 593709"/>
              <a:gd name="connsiteY29" fmla="*/ 65968 h 967527"/>
              <a:gd name="connsiteX30" fmla="*/ 239683 w 593709"/>
              <a:gd name="connsiteY30" fmla="*/ 98952 h 967527"/>
              <a:gd name="connsiteX31" fmla="*/ 142930 w 593709"/>
              <a:gd name="connsiteY31" fmla="*/ 98952 h 967527"/>
              <a:gd name="connsiteX32" fmla="*/ 0 w 593709"/>
              <a:gd name="connsiteY32" fmla="*/ 241882 h 967527"/>
              <a:gd name="connsiteX33" fmla="*/ 0 w 593709"/>
              <a:gd name="connsiteY33" fmla="*/ 681667 h 967527"/>
              <a:gd name="connsiteX34" fmla="*/ 142930 w 593709"/>
              <a:gd name="connsiteY34" fmla="*/ 824597 h 967527"/>
              <a:gd name="connsiteX35" fmla="*/ 230887 w 593709"/>
              <a:gd name="connsiteY35" fmla="*/ 824597 h 967527"/>
              <a:gd name="connsiteX36" fmla="*/ 230887 w 593709"/>
              <a:gd name="connsiteY36" fmla="*/ 868575 h 967527"/>
              <a:gd name="connsiteX37" fmla="*/ 252876 w 593709"/>
              <a:gd name="connsiteY37" fmla="*/ 890565 h 967527"/>
              <a:gd name="connsiteX38" fmla="*/ 274866 w 593709"/>
              <a:gd name="connsiteY38" fmla="*/ 890565 h 967527"/>
              <a:gd name="connsiteX39" fmla="*/ 274866 w 593709"/>
              <a:gd name="connsiteY39" fmla="*/ 967527 h 967527"/>
              <a:gd name="connsiteX40" fmla="*/ 318844 w 593709"/>
              <a:gd name="connsiteY40" fmla="*/ 967527 h 967527"/>
              <a:gd name="connsiteX41" fmla="*/ 318844 w 593709"/>
              <a:gd name="connsiteY41" fmla="*/ 890565 h 967527"/>
              <a:gd name="connsiteX42" fmla="*/ 340833 w 593709"/>
              <a:gd name="connsiteY42" fmla="*/ 890565 h 967527"/>
              <a:gd name="connsiteX43" fmla="*/ 362823 w 593709"/>
              <a:gd name="connsiteY43" fmla="*/ 868575 h 967527"/>
              <a:gd name="connsiteX44" fmla="*/ 362823 w 593709"/>
              <a:gd name="connsiteY44" fmla="*/ 824597 h 967527"/>
              <a:gd name="connsiteX45" fmla="*/ 450780 w 593709"/>
              <a:gd name="connsiteY45" fmla="*/ 824597 h 967527"/>
              <a:gd name="connsiteX46" fmla="*/ 593710 w 593709"/>
              <a:gd name="connsiteY46" fmla="*/ 681667 h 967527"/>
              <a:gd name="connsiteX47" fmla="*/ 593710 w 593709"/>
              <a:gd name="connsiteY47" fmla="*/ 241882 h 967527"/>
              <a:gd name="connsiteX48" fmla="*/ 450780 w 593709"/>
              <a:gd name="connsiteY48" fmla="*/ 98952 h 96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93709" h="967527">
                <a:moveTo>
                  <a:pt x="142930" y="164919"/>
                </a:moveTo>
                <a:lnTo>
                  <a:pt x="450780" y="164919"/>
                </a:lnTo>
                <a:cubicBezTo>
                  <a:pt x="493659" y="164919"/>
                  <a:pt x="527742" y="199003"/>
                  <a:pt x="527742" y="241882"/>
                </a:cubicBezTo>
                <a:lnTo>
                  <a:pt x="461774" y="241882"/>
                </a:lnTo>
                <a:lnTo>
                  <a:pt x="461774" y="285860"/>
                </a:lnTo>
                <a:lnTo>
                  <a:pt x="527742" y="285860"/>
                </a:lnTo>
                <a:lnTo>
                  <a:pt x="527742" y="351828"/>
                </a:lnTo>
                <a:lnTo>
                  <a:pt x="461774" y="351828"/>
                </a:lnTo>
                <a:lnTo>
                  <a:pt x="461774" y="395807"/>
                </a:lnTo>
                <a:lnTo>
                  <a:pt x="527742" y="395807"/>
                </a:lnTo>
                <a:lnTo>
                  <a:pt x="527742" y="461774"/>
                </a:lnTo>
                <a:lnTo>
                  <a:pt x="461774" y="461774"/>
                </a:lnTo>
                <a:lnTo>
                  <a:pt x="461774" y="505753"/>
                </a:lnTo>
                <a:lnTo>
                  <a:pt x="527742" y="505753"/>
                </a:lnTo>
                <a:lnTo>
                  <a:pt x="527742" y="549731"/>
                </a:lnTo>
                <a:cubicBezTo>
                  <a:pt x="470570" y="572820"/>
                  <a:pt x="402403" y="556328"/>
                  <a:pt x="344132" y="534339"/>
                </a:cubicBezTo>
                <a:cubicBezTo>
                  <a:pt x="294656" y="515648"/>
                  <a:pt x="268269" y="492559"/>
                  <a:pt x="216594" y="484863"/>
                </a:cubicBezTo>
                <a:cubicBezTo>
                  <a:pt x="172616" y="478266"/>
                  <a:pt x="107747" y="485962"/>
                  <a:pt x="65968" y="511250"/>
                </a:cubicBezTo>
                <a:lnTo>
                  <a:pt x="65968" y="241882"/>
                </a:lnTo>
                <a:cubicBezTo>
                  <a:pt x="65968" y="199003"/>
                  <a:pt x="100051" y="164919"/>
                  <a:pt x="142930" y="164919"/>
                </a:cubicBezTo>
                <a:close/>
                <a:moveTo>
                  <a:pt x="296855" y="43979"/>
                </a:moveTo>
                <a:cubicBezTo>
                  <a:pt x="308949" y="43979"/>
                  <a:pt x="318844" y="53874"/>
                  <a:pt x="318844" y="65968"/>
                </a:cubicBezTo>
                <a:cubicBezTo>
                  <a:pt x="318844" y="78062"/>
                  <a:pt x="308949" y="87957"/>
                  <a:pt x="296855" y="87957"/>
                </a:cubicBezTo>
                <a:cubicBezTo>
                  <a:pt x="284761" y="87957"/>
                  <a:pt x="274866" y="78062"/>
                  <a:pt x="274866" y="65968"/>
                </a:cubicBezTo>
                <a:cubicBezTo>
                  <a:pt x="274866" y="53874"/>
                  <a:pt x="284761" y="43979"/>
                  <a:pt x="296855" y="43979"/>
                </a:cubicBezTo>
                <a:close/>
                <a:moveTo>
                  <a:pt x="450780" y="98952"/>
                </a:moveTo>
                <a:lnTo>
                  <a:pt x="354027" y="98952"/>
                </a:lnTo>
                <a:cubicBezTo>
                  <a:pt x="359524" y="89056"/>
                  <a:pt x="362823" y="78062"/>
                  <a:pt x="362823" y="65968"/>
                </a:cubicBezTo>
                <a:cubicBezTo>
                  <a:pt x="362823" y="29685"/>
                  <a:pt x="333137" y="0"/>
                  <a:pt x="296855" y="0"/>
                </a:cubicBezTo>
                <a:cubicBezTo>
                  <a:pt x="260573" y="0"/>
                  <a:pt x="230887" y="29685"/>
                  <a:pt x="230887" y="65968"/>
                </a:cubicBezTo>
                <a:cubicBezTo>
                  <a:pt x="230887" y="78062"/>
                  <a:pt x="234186" y="89056"/>
                  <a:pt x="239683" y="98952"/>
                </a:cubicBezTo>
                <a:lnTo>
                  <a:pt x="142930" y="98952"/>
                </a:lnTo>
                <a:cubicBezTo>
                  <a:pt x="63769" y="98952"/>
                  <a:pt x="0" y="162720"/>
                  <a:pt x="0" y="241882"/>
                </a:cubicBezTo>
                <a:lnTo>
                  <a:pt x="0" y="681667"/>
                </a:lnTo>
                <a:cubicBezTo>
                  <a:pt x="0" y="760828"/>
                  <a:pt x="63769" y="824597"/>
                  <a:pt x="142930" y="824597"/>
                </a:cubicBezTo>
                <a:lnTo>
                  <a:pt x="230887" y="824597"/>
                </a:lnTo>
                <a:lnTo>
                  <a:pt x="230887" y="868575"/>
                </a:lnTo>
                <a:cubicBezTo>
                  <a:pt x="230887" y="880669"/>
                  <a:pt x="240782" y="890565"/>
                  <a:pt x="252876" y="890565"/>
                </a:cubicBezTo>
                <a:lnTo>
                  <a:pt x="274866" y="890565"/>
                </a:lnTo>
                <a:lnTo>
                  <a:pt x="274866" y="967527"/>
                </a:lnTo>
                <a:lnTo>
                  <a:pt x="318844" y="967527"/>
                </a:lnTo>
                <a:lnTo>
                  <a:pt x="318844" y="890565"/>
                </a:lnTo>
                <a:lnTo>
                  <a:pt x="340833" y="890565"/>
                </a:lnTo>
                <a:cubicBezTo>
                  <a:pt x="352927" y="890565"/>
                  <a:pt x="362823" y="880669"/>
                  <a:pt x="362823" y="868575"/>
                </a:cubicBezTo>
                <a:lnTo>
                  <a:pt x="362823" y="824597"/>
                </a:lnTo>
                <a:lnTo>
                  <a:pt x="450780" y="824597"/>
                </a:lnTo>
                <a:cubicBezTo>
                  <a:pt x="529941" y="824597"/>
                  <a:pt x="593710" y="760828"/>
                  <a:pt x="593710" y="681667"/>
                </a:cubicBezTo>
                <a:lnTo>
                  <a:pt x="593710" y="241882"/>
                </a:lnTo>
                <a:cubicBezTo>
                  <a:pt x="593710" y="162720"/>
                  <a:pt x="529941" y="98952"/>
                  <a:pt x="450780" y="98952"/>
                </a:cubicBezTo>
                <a:close/>
              </a:path>
            </a:pathLst>
          </a:custGeom>
          <a:solidFill>
            <a:schemeClr val="bg1"/>
          </a:solidFill>
          <a:ln w="109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id="{D2FC5F1D-D590-A614-A445-54108E831EF1}"/>
              </a:ext>
            </a:extLst>
          </p:cNvPr>
          <p:cNvSpPr/>
          <p:nvPr/>
        </p:nvSpPr>
        <p:spPr>
          <a:xfrm>
            <a:off x="5151150" y="3370422"/>
            <a:ext cx="1740310" cy="1005403"/>
          </a:xfrm>
          <a:prstGeom prst="rect">
            <a:avLst/>
          </a:prstGeom>
          <a:noFill/>
          <a:effectLst/>
        </p:spPr>
        <p:txBody>
          <a:bodyPr wrap="square">
            <a:spAutoFit/>
          </a:bodyPr>
          <a:lstStyle/>
          <a:p>
            <a:pPr marL="180975" marR="0" lvl="1" indent="-171450" algn="l" defTabSz="914400" rtl="0" eaLnBrk="1" fontAlgn="ctr" latinLnBrk="0" hangingPunct="1">
              <a:lnSpc>
                <a:spcPct val="100000"/>
              </a:lnSpc>
              <a:spcBef>
                <a:spcPts val="20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Calibri" panose="020F0502020204030204" pitchFamily="34" charset="0"/>
              </a:rPr>
              <a:t>Kortikosteroid</a:t>
            </a:r>
            <a:r>
              <a:rPr kumimoji="0" lang="tr-TR" sz="1400" b="0" i="0" u="none" strike="noStrike" kern="1200" cap="none" spc="0" normalizeH="0" baseline="0" noProof="0" err="1">
                <a:ln>
                  <a:noFill/>
                </a:ln>
                <a:solidFill>
                  <a:srgbClr val="000000"/>
                </a:solidFill>
                <a:effectLst/>
                <a:uLnTx/>
                <a:uFillTx/>
                <a:latin typeface="Arial" panose="020B0604020202020204"/>
                <a:ea typeface="+mn-ea"/>
                <a:cs typeface="Calibri" panose="020F0502020204030204" pitchFamily="34" charset="0"/>
              </a:rPr>
              <a:t>ler</a:t>
            </a:r>
            <a:endParaRPr kumimoji="0" lang="tr-TR"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endParaRPr>
          </a:p>
          <a:p>
            <a:pPr marL="180975" marR="0" lvl="1" indent="-171450" algn="l" defTabSz="914400" rtl="0" eaLnBrk="1" fontAlgn="ctr" latinLnBrk="0" hangingPunct="1">
              <a:lnSpc>
                <a:spcPct val="100000"/>
              </a:lnSpc>
              <a:spcBef>
                <a:spcPts val="2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rPr>
              <a:t>Beta-</a:t>
            </a: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Calibri" panose="020F0502020204030204" pitchFamily="34" charset="0"/>
              </a:rPr>
              <a:t>adrenerjik</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rPr>
              <a:t> </a:t>
            </a: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Calibri" panose="020F0502020204030204" pitchFamily="34" charset="0"/>
              </a:rPr>
              <a:t>ajanlar</a:t>
            </a:r>
            <a:endParaRPr kumimoji="0" lang="tr-TR"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endParaRPr>
          </a:p>
          <a:p>
            <a:pPr marL="180975" marR="0" lvl="1" indent="-171450" algn="l" defTabSz="914400" rtl="0" eaLnBrk="1" fontAlgn="ctr" latinLnBrk="0" hangingPunct="1">
              <a:lnSpc>
                <a:spcPct val="100000"/>
              </a:lnSpc>
              <a:spcBef>
                <a:spcPts val="20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Calibri" panose="020F0502020204030204" pitchFamily="34" charset="0"/>
              </a:rPr>
              <a:t>Hipertonik</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rPr>
              <a:t> </a:t>
            </a: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Calibri" panose="020F0502020204030204" pitchFamily="34" charset="0"/>
              </a:rPr>
              <a:t>salin</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endParaRPr>
          </a:p>
        </p:txBody>
      </p:sp>
      <p:sp>
        <p:nvSpPr>
          <p:cNvPr id="25" name="CuadroTexto 62">
            <a:extLst>
              <a:ext uri="{FF2B5EF4-FFF2-40B4-BE49-F238E27FC236}">
                <a16:creationId xmlns:a16="http://schemas.microsoft.com/office/drawing/2014/main" id="{6CE83EC9-79EF-A30B-C341-3E60DD81F883}"/>
              </a:ext>
            </a:extLst>
          </p:cNvPr>
          <p:cNvSpPr txBox="1"/>
          <p:nvPr/>
        </p:nvSpPr>
        <p:spPr bwMode="gray">
          <a:xfrm>
            <a:off x="4677821" y="2678371"/>
            <a:ext cx="2796540" cy="584775"/>
          </a:xfrm>
          <a:prstGeom prst="rect">
            <a:avLst/>
          </a:prstGeom>
          <a:noFill/>
          <a:ln>
            <a:noFill/>
          </a:ln>
          <a:effectLst/>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err="1">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rPr>
              <a:t>Semptomatik</a:t>
            </a:r>
            <a:r>
              <a:rPr kumimoji="0" lang="en-US" sz="1600" b="1" i="0" u="none" strike="noStrike" kern="1200" cap="none" spc="0" normalizeH="0" baseline="0" noProof="0">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rPr>
              <a:t>tedavi</a:t>
            </a:r>
            <a:r>
              <a:rPr kumimoji="0" lang="en-US" sz="1600" b="1" i="0" u="none" strike="noStrike" kern="1200" cap="none" spc="0" normalizeH="0" baseline="0" noProof="0">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rPr>
              <a:t> ajanları</a:t>
            </a:r>
            <a:r>
              <a:rPr kumimoji="0" lang="en-US" sz="1600" b="1" i="0" u="none" strike="noStrike" kern="1200" cap="none" spc="0" normalizeH="0" baseline="30000" noProof="0">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rPr>
              <a:t>1</a:t>
            </a:r>
            <a:endParaRPr kumimoji="0" lang="en-US" sz="1600" b="1" i="0" u="none" strike="noStrike" kern="1200" cap="none" spc="0" normalizeH="0" baseline="0" noProof="0">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endParaRPr>
          </a:p>
        </p:txBody>
      </p:sp>
      <p:grpSp>
        <p:nvGrpSpPr>
          <p:cNvPr id="30" name="Group 29">
            <a:extLst>
              <a:ext uri="{FF2B5EF4-FFF2-40B4-BE49-F238E27FC236}">
                <a16:creationId xmlns:a16="http://schemas.microsoft.com/office/drawing/2014/main" id="{21EE7E05-63D5-6932-5EA6-081E2BF2F47C}"/>
              </a:ext>
            </a:extLst>
          </p:cNvPr>
          <p:cNvGrpSpPr/>
          <p:nvPr/>
        </p:nvGrpSpPr>
        <p:grpSpPr>
          <a:xfrm>
            <a:off x="1765965" y="1801060"/>
            <a:ext cx="743526" cy="789996"/>
            <a:chOff x="2492874" y="1538356"/>
            <a:chExt cx="743526" cy="789996"/>
          </a:xfrm>
          <a:solidFill>
            <a:schemeClr val="bg1"/>
          </a:solidFill>
        </p:grpSpPr>
        <p:sp>
          <p:nvSpPr>
            <p:cNvPr id="37" name="Freeform: Shape 36">
              <a:extLst>
                <a:ext uri="{FF2B5EF4-FFF2-40B4-BE49-F238E27FC236}">
                  <a16:creationId xmlns:a16="http://schemas.microsoft.com/office/drawing/2014/main" id="{650DCA5D-90CD-0FFE-E723-6AB6EC1F78EB}"/>
                </a:ext>
              </a:extLst>
            </p:cNvPr>
            <p:cNvSpPr/>
            <p:nvPr/>
          </p:nvSpPr>
          <p:spPr>
            <a:xfrm>
              <a:off x="2678756" y="1538356"/>
              <a:ext cx="371763" cy="371763"/>
            </a:xfrm>
            <a:custGeom>
              <a:avLst/>
              <a:gdLst>
                <a:gd name="connsiteX0" fmla="*/ 371763 w 371763"/>
                <a:gd name="connsiteY0" fmla="*/ 185882 h 371763"/>
                <a:gd name="connsiteX1" fmla="*/ 185882 w 371763"/>
                <a:gd name="connsiteY1" fmla="*/ 371763 h 371763"/>
                <a:gd name="connsiteX2" fmla="*/ 0 w 371763"/>
                <a:gd name="connsiteY2" fmla="*/ 185882 h 371763"/>
                <a:gd name="connsiteX3" fmla="*/ 185882 w 371763"/>
                <a:gd name="connsiteY3" fmla="*/ 0 h 371763"/>
                <a:gd name="connsiteX4" fmla="*/ 371763 w 371763"/>
                <a:gd name="connsiteY4" fmla="*/ 185882 h 37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763" h="371763">
                  <a:moveTo>
                    <a:pt x="371763" y="185882"/>
                  </a:moveTo>
                  <a:cubicBezTo>
                    <a:pt x="371763" y="288541"/>
                    <a:pt x="288541" y="371763"/>
                    <a:pt x="185882" y="371763"/>
                  </a:cubicBezTo>
                  <a:cubicBezTo>
                    <a:pt x="83222" y="371763"/>
                    <a:pt x="0" y="288541"/>
                    <a:pt x="0" y="185882"/>
                  </a:cubicBezTo>
                  <a:cubicBezTo>
                    <a:pt x="0" y="83222"/>
                    <a:pt x="83222" y="0"/>
                    <a:pt x="185882" y="0"/>
                  </a:cubicBezTo>
                  <a:cubicBezTo>
                    <a:pt x="288541" y="0"/>
                    <a:pt x="371763" y="83222"/>
                    <a:pt x="371763" y="185882"/>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 name="Freeform: Shape 37">
              <a:extLst>
                <a:ext uri="{FF2B5EF4-FFF2-40B4-BE49-F238E27FC236}">
                  <a16:creationId xmlns:a16="http://schemas.microsoft.com/office/drawing/2014/main" id="{EC0466E1-5D96-2DC1-4DB4-C3B65A4E4B02}"/>
                </a:ext>
              </a:extLst>
            </p:cNvPr>
            <p:cNvSpPr/>
            <p:nvPr/>
          </p:nvSpPr>
          <p:spPr>
            <a:xfrm>
              <a:off x="2994985" y="2043140"/>
              <a:ext cx="53210" cy="53209"/>
            </a:xfrm>
            <a:custGeom>
              <a:avLst/>
              <a:gdLst>
                <a:gd name="connsiteX0" fmla="*/ 1 w 53210"/>
                <a:gd name="connsiteY0" fmla="*/ 26721 h 53209"/>
                <a:gd name="connsiteX1" fmla="*/ 26722 w 53210"/>
                <a:gd name="connsiteY1" fmla="*/ 53209 h 53209"/>
                <a:gd name="connsiteX2" fmla="*/ 53210 w 53210"/>
                <a:gd name="connsiteY2" fmla="*/ 26488 h 53209"/>
                <a:gd name="connsiteX3" fmla="*/ 26605 w 53210"/>
                <a:gd name="connsiteY3" fmla="*/ 0 h 53209"/>
                <a:gd name="connsiteX4" fmla="*/ 0 w 53210"/>
                <a:gd name="connsiteY4" fmla="*/ 26371 h 53209"/>
                <a:gd name="connsiteX5" fmla="*/ 1 w 53210"/>
                <a:gd name="connsiteY5" fmla="*/ 26721 h 53209"/>
                <a:gd name="connsiteX6" fmla="*/ 26605 w 53210"/>
                <a:gd name="connsiteY6" fmla="*/ 11734 h 53209"/>
                <a:gd name="connsiteX7" fmla="*/ 41708 w 53210"/>
                <a:gd name="connsiteY7" fmla="*/ 26605 h 53209"/>
                <a:gd name="connsiteX8" fmla="*/ 26838 w 53210"/>
                <a:gd name="connsiteY8" fmla="*/ 41706 h 53209"/>
                <a:gd name="connsiteX9" fmla="*/ 11735 w 53210"/>
                <a:gd name="connsiteY9" fmla="*/ 26837 h 53209"/>
                <a:gd name="connsiteX10" fmla="*/ 11735 w 53210"/>
                <a:gd name="connsiteY10" fmla="*/ 26721 h 53209"/>
                <a:gd name="connsiteX11" fmla="*/ 26489 w 53210"/>
                <a:gd name="connsiteY11" fmla="*/ 11734 h 53209"/>
                <a:gd name="connsiteX12" fmla="*/ 26605 w 53210"/>
                <a:gd name="connsiteY12" fmla="*/ 11734 h 5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210" h="53209">
                  <a:moveTo>
                    <a:pt x="1" y="26721"/>
                  </a:moveTo>
                  <a:cubicBezTo>
                    <a:pt x="65" y="41414"/>
                    <a:pt x="12029" y="53273"/>
                    <a:pt x="26722" y="53209"/>
                  </a:cubicBezTo>
                  <a:cubicBezTo>
                    <a:pt x="41414" y="53145"/>
                    <a:pt x="53274" y="41181"/>
                    <a:pt x="53210" y="26488"/>
                  </a:cubicBezTo>
                  <a:cubicBezTo>
                    <a:pt x="53146" y="11841"/>
                    <a:pt x="41253" y="0"/>
                    <a:pt x="26605" y="0"/>
                  </a:cubicBezTo>
                  <a:cubicBezTo>
                    <a:pt x="11977" y="-65"/>
                    <a:pt x="65" y="11742"/>
                    <a:pt x="0" y="26371"/>
                  </a:cubicBezTo>
                  <a:cubicBezTo>
                    <a:pt x="0" y="26487"/>
                    <a:pt x="0" y="26605"/>
                    <a:pt x="1" y="26721"/>
                  </a:cubicBezTo>
                  <a:close/>
                  <a:moveTo>
                    <a:pt x="26605" y="11734"/>
                  </a:moveTo>
                  <a:cubicBezTo>
                    <a:pt x="34882" y="11670"/>
                    <a:pt x="41643" y="18327"/>
                    <a:pt x="41708" y="26605"/>
                  </a:cubicBezTo>
                  <a:cubicBezTo>
                    <a:pt x="41772" y="34881"/>
                    <a:pt x="35114" y="41642"/>
                    <a:pt x="26838" y="41706"/>
                  </a:cubicBezTo>
                  <a:cubicBezTo>
                    <a:pt x="18561" y="41770"/>
                    <a:pt x="11800" y="35113"/>
                    <a:pt x="11735" y="26837"/>
                  </a:cubicBezTo>
                  <a:cubicBezTo>
                    <a:pt x="11735" y="26797"/>
                    <a:pt x="11735" y="26759"/>
                    <a:pt x="11735" y="26721"/>
                  </a:cubicBezTo>
                  <a:cubicBezTo>
                    <a:pt x="11671" y="18508"/>
                    <a:pt x="18277" y="11799"/>
                    <a:pt x="26489" y="11734"/>
                  </a:cubicBezTo>
                  <a:cubicBezTo>
                    <a:pt x="26528" y="11734"/>
                    <a:pt x="26567" y="11734"/>
                    <a:pt x="26605" y="11734"/>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 name="Freeform: Shape 38">
              <a:extLst>
                <a:ext uri="{FF2B5EF4-FFF2-40B4-BE49-F238E27FC236}">
                  <a16:creationId xmlns:a16="http://schemas.microsoft.com/office/drawing/2014/main" id="{AEAAF970-2F8B-EE48-049F-0E59C718DF8E}"/>
                </a:ext>
              </a:extLst>
            </p:cNvPr>
            <p:cNvSpPr/>
            <p:nvPr/>
          </p:nvSpPr>
          <p:spPr>
            <a:xfrm>
              <a:off x="2492874" y="1956589"/>
              <a:ext cx="743526" cy="371763"/>
            </a:xfrm>
            <a:custGeom>
              <a:avLst/>
              <a:gdLst>
                <a:gd name="connsiteX0" fmla="*/ 706350 w 743526"/>
                <a:gd name="connsiteY0" fmla="*/ 111529 h 371763"/>
                <a:gd name="connsiteX1" fmla="*/ 540102 w 743526"/>
                <a:gd name="connsiteY1" fmla="*/ 27766 h 371763"/>
                <a:gd name="connsiteX2" fmla="*/ 540102 w 743526"/>
                <a:gd name="connsiteY2" fmla="*/ 72842 h 371763"/>
                <a:gd name="connsiteX3" fmla="*/ 570540 w 743526"/>
                <a:gd name="connsiteY3" fmla="*/ 113272 h 371763"/>
                <a:gd name="connsiteX4" fmla="*/ 528717 w 743526"/>
                <a:gd name="connsiteY4" fmla="*/ 155095 h 371763"/>
                <a:gd name="connsiteX5" fmla="*/ 486893 w 743526"/>
                <a:gd name="connsiteY5" fmla="*/ 113272 h 371763"/>
                <a:gd name="connsiteX6" fmla="*/ 517331 w 743526"/>
                <a:gd name="connsiteY6" fmla="*/ 72842 h 371763"/>
                <a:gd name="connsiteX7" fmla="*/ 517331 w 743526"/>
                <a:gd name="connsiteY7" fmla="*/ 21028 h 371763"/>
                <a:gd name="connsiteX8" fmla="*/ 371763 w 743526"/>
                <a:gd name="connsiteY8" fmla="*/ 0 h 371763"/>
                <a:gd name="connsiteX9" fmla="*/ 221548 w 743526"/>
                <a:gd name="connsiteY9" fmla="*/ 22422 h 371763"/>
                <a:gd name="connsiteX10" fmla="*/ 221548 w 743526"/>
                <a:gd name="connsiteY10" fmla="*/ 82717 h 371763"/>
                <a:gd name="connsiteX11" fmla="*/ 293344 w 743526"/>
                <a:gd name="connsiteY11" fmla="*/ 165667 h 371763"/>
                <a:gd name="connsiteX12" fmla="*/ 285328 w 743526"/>
                <a:gd name="connsiteY12" fmla="*/ 179259 h 371763"/>
                <a:gd name="connsiteX13" fmla="*/ 285328 w 743526"/>
                <a:gd name="connsiteY13" fmla="*/ 277312 h 371763"/>
                <a:gd name="connsiteX14" fmla="*/ 264649 w 743526"/>
                <a:gd name="connsiteY14" fmla="*/ 300547 h 371763"/>
                <a:gd name="connsiteX15" fmla="*/ 253031 w 743526"/>
                <a:gd name="connsiteY15" fmla="*/ 308912 h 371763"/>
                <a:gd name="connsiteX16" fmla="*/ 249081 w 743526"/>
                <a:gd name="connsiteY16" fmla="*/ 308912 h 371763"/>
                <a:gd name="connsiteX17" fmla="*/ 231743 w 743526"/>
                <a:gd name="connsiteY17" fmla="*/ 294302 h 371763"/>
                <a:gd name="connsiteX18" fmla="*/ 246355 w 743526"/>
                <a:gd name="connsiteY18" fmla="*/ 276963 h 371763"/>
                <a:gd name="connsiteX19" fmla="*/ 249081 w 743526"/>
                <a:gd name="connsiteY19" fmla="*/ 276963 h 371763"/>
                <a:gd name="connsiteX20" fmla="*/ 253031 w 743526"/>
                <a:gd name="connsiteY20" fmla="*/ 276963 h 371763"/>
                <a:gd name="connsiteX21" fmla="*/ 264649 w 743526"/>
                <a:gd name="connsiteY21" fmla="*/ 284166 h 371763"/>
                <a:gd name="connsiteX22" fmla="*/ 269412 w 743526"/>
                <a:gd name="connsiteY22" fmla="*/ 276963 h 371763"/>
                <a:gd name="connsiteX23" fmla="*/ 269412 w 743526"/>
                <a:gd name="connsiteY23" fmla="*/ 179259 h 371763"/>
                <a:gd name="connsiteX24" fmla="*/ 261396 w 743526"/>
                <a:gd name="connsiteY24" fmla="*/ 165667 h 371763"/>
                <a:gd name="connsiteX25" fmla="*/ 209581 w 743526"/>
                <a:gd name="connsiteY25" fmla="*/ 113852 h 371763"/>
                <a:gd name="connsiteX26" fmla="*/ 157767 w 743526"/>
                <a:gd name="connsiteY26" fmla="*/ 165667 h 371763"/>
                <a:gd name="connsiteX27" fmla="*/ 149751 w 743526"/>
                <a:gd name="connsiteY27" fmla="*/ 179259 h 371763"/>
                <a:gd name="connsiteX28" fmla="*/ 149751 w 743526"/>
                <a:gd name="connsiteY28" fmla="*/ 277312 h 371763"/>
                <a:gd name="connsiteX29" fmla="*/ 154514 w 743526"/>
                <a:gd name="connsiteY29" fmla="*/ 284515 h 371763"/>
                <a:gd name="connsiteX30" fmla="*/ 166132 w 743526"/>
                <a:gd name="connsiteY30" fmla="*/ 277312 h 371763"/>
                <a:gd name="connsiteX31" fmla="*/ 170082 w 743526"/>
                <a:gd name="connsiteY31" fmla="*/ 277312 h 371763"/>
                <a:gd name="connsiteX32" fmla="*/ 184692 w 743526"/>
                <a:gd name="connsiteY32" fmla="*/ 294650 h 371763"/>
                <a:gd name="connsiteX33" fmla="*/ 170082 w 743526"/>
                <a:gd name="connsiteY33" fmla="*/ 309260 h 371763"/>
                <a:gd name="connsiteX34" fmla="*/ 166132 w 743526"/>
                <a:gd name="connsiteY34" fmla="*/ 309260 h 371763"/>
                <a:gd name="connsiteX35" fmla="*/ 154514 w 743526"/>
                <a:gd name="connsiteY35" fmla="*/ 300896 h 371763"/>
                <a:gd name="connsiteX36" fmla="*/ 133835 w 743526"/>
                <a:gd name="connsiteY36" fmla="*/ 277661 h 371763"/>
                <a:gd name="connsiteX37" fmla="*/ 133835 w 743526"/>
                <a:gd name="connsiteY37" fmla="*/ 179259 h 371763"/>
                <a:gd name="connsiteX38" fmla="*/ 125819 w 743526"/>
                <a:gd name="connsiteY38" fmla="*/ 165667 h 371763"/>
                <a:gd name="connsiteX39" fmla="*/ 197499 w 743526"/>
                <a:gd name="connsiteY39" fmla="*/ 82717 h 371763"/>
                <a:gd name="connsiteX40" fmla="*/ 197499 w 743526"/>
                <a:gd name="connsiteY40" fmla="*/ 29741 h 371763"/>
                <a:gd name="connsiteX41" fmla="*/ 37060 w 743526"/>
                <a:gd name="connsiteY41" fmla="*/ 111064 h 371763"/>
                <a:gd name="connsiteX42" fmla="*/ 0 w 743526"/>
                <a:gd name="connsiteY42" fmla="*/ 185882 h 371763"/>
                <a:gd name="connsiteX43" fmla="*/ 0 w 743526"/>
                <a:gd name="connsiteY43" fmla="*/ 371763 h 371763"/>
                <a:gd name="connsiteX44" fmla="*/ 743526 w 743526"/>
                <a:gd name="connsiteY44" fmla="*/ 371763 h 371763"/>
                <a:gd name="connsiteX45" fmla="*/ 743526 w 743526"/>
                <a:gd name="connsiteY45" fmla="*/ 185882 h 371763"/>
                <a:gd name="connsiteX46" fmla="*/ 706350 w 743526"/>
                <a:gd name="connsiteY46" fmla="*/ 111529 h 37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743526" h="371763">
                  <a:moveTo>
                    <a:pt x="706350" y="111529"/>
                  </a:moveTo>
                  <a:cubicBezTo>
                    <a:pt x="656744" y="73324"/>
                    <a:pt x="600325" y="44899"/>
                    <a:pt x="540102" y="27766"/>
                  </a:cubicBezTo>
                  <a:lnTo>
                    <a:pt x="540102" y="72842"/>
                  </a:lnTo>
                  <a:cubicBezTo>
                    <a:pt x="558105" y="78057"/>
                    <a:pt x="570505" y="94529"/>
                    <a:pt x="570540" y="113272"/>
                  </a:cubicBezTo>
                  <a:cubicBezTo>
                    <a:pt x="570540" y="136370"/>
                    <a:pt x="551815" y="155095"/>
                    <a:pt x="528717" y="155095"/>
                  </a:cubicBezTo>
                  <a:cubicBezTo>
                    <a:pt x="505619" y="155095"/>
                    <a:pt x="486893" y="136370"/>
                    <a:pt x="486893" y="113272"/>
                  </a:cubicBezTo>
                  <a:cubicBezTo>
                    <a:pt x="486928" y="94529"/>
                    <a:pt x="499329" y="78057"/>
                    <a:pt x="517331" y="72842"/>
                  </a:cubicBezTo>
                  <a:lnTo>
                    <a:pt x="517331" y="21028"/>
                  </a:lnTo>
                  <a:cubicBezTo>
                    <a:pt x="470028" y="7260"/>
                    <a:pt x="421030" y="182"/>
                    <a:pt x="371763" y="0"/>
                  </a:cubicBezTo>
                  <a:cubicBezTo>
                    <a:pt x="320924" y="850"/>
                    <a:pt x="270418" y="8389"/>
                    <a:pt x="221548" y="22422"/>
                  </a:cubicBezTo>
                  <a:lnTo>
                    <a:pt x="221548" y="82717"/>
                  </a:lnTo>
                  <a:cubicBezTo>
                    <a:pt x="262750" y="88714"/>
                    <a:pt x="293318" y="124029"/>
                    <a:pt x="293344" y="165667"/>
                  </a:cubicBezTo>
                  <a:cubicBezTo>
                    <a:pt x="293289" y="171304"/>
                    <a:pt x="290233" y="176483"/>
                    <a:pt x="285328" y="179259"/>
                  </a:cubicBezTo>
                  <a:lnTo>
                    <a:pt x="285328" y="277312"/>
                  </a:lnTo>
                  <a:cubicBezTo>
                    <a:pt x="285046" y="289072"/>
                    <a:pt x="276297" y="298902"/>
                    <a:pt x="264649" y="300547"/>
                  </a:cubicBezTo>
                  <a:cubicBezTo>
                    <a:pt x="263158" y="305674"/>
                    <a:pt x="258366" y="309124"/>
                    <a:pt x="253031" y="308912"/>
                  </a:cubicBezTo>
                  <a:lnTo>
                    <a:pt x="249081" y="308912"/>
                  </a:lnTo>
                  <a:cubicBezTo>
                    <a:pt x="240259" y="309665"/>
                    <a:pt x="232497" y="303124"/>
                    <a:pt x="231743" y="294302"/>
                  </a:cubicBezTo>
                  <a:cubicBezTo>
                    <a:pt x="230990" y="285479"/>
                    <a:pt x="237532" y="277716"/>
                    <a:pt x="246355" y="276963"/>
                  </a:cubicBezTo>
                  <a:cubicBezTo>
                    <a:pt x="247262" y="276886"/>
                    <a:pt x="248174" y="276886"/>
                    <a:pt x="249081" y="276963"/>
                  </a:cubicBezTo>
                  <a:lnTo>
                    <a:pt x="253031" y="276963"/>
                  </a:lnTo>
                  <a:cubicBezTo>
                    <a:pt x="258056" y="276591"/>
                    <a:pt x="262748" y="279500"/>
                    <a:pt x="264649" y="284166"/>
                  </a:cubicBezTo>
                  <a:cubicBezTo>
                    <a:pt x="267545" y="282947"/>
                    <a:pt x="269424" y="280106"/>
                    <a:pt x="269412" y="276963"/>
                  </a:cubicBezTo>
                  <a:lnTo>
                    <a:pt x="269412" y="179259"/>
                  </a:lnTo>
                  <a:cubicBezTo>
                    <a:pt x="264397" y="176596"/>
                    <a:pt x="261301" y="171344"/>
                    <a:pt x="261396" y="165667"/>
                  </a:cubicBezTo>
                  <a:cubicBezTo>
                    <a:pt x="261396" y="137050"/>
                    <a:pt x="238198" y="113852"/>
                    <a:pt x="209581" y="113852"/>
                  </a:cubicBezTo>
                  <a:cubicBezTo>
                    <a:pt x="180965" y="113852"/>
                    <a:pt x="157767" y="137050"/>
                    <a:pt x="157767" y="165667"/>
                  </a:cubicBezTo>
                  <a:cubicBezTo>
                    <a:pt x="157664" y="171290"/>
                    <a:pt x="154622" y="176448"/>
                    <a:pt x="149751" y="179259"/>
                  </a:cubicBezTo>
                  <a:lnTo>
                    <a:pt x="149751" y="277312"/>
                  </a:lnTo>
                  <a:cubicBezTo>
                    <a:pt x="149739" y="280455"/>
                    <a:pt x="151618" y="283295"/>
                    <a:pt x="154514" y="284515"/>
                  </a:cubicBezTo>
                  <a:cubicBezTo>
                    <a:pt x="156753" y="280147"/>
                    <a:pt x="161223" y="277375"/>
                    <a:pt x="166132" y="277312"/>
                  </a:cubicBezTo>
                  <a:lnTo>
                    <a:pt x="170082" y="277312"/>
                  </a:lnTo>
                  <a:cubicBezTo>
                    <a:pt x="178904" y="278065"/>
                    <a:pt x="185446" y="285828"/>
                    <a:pt x="184692" y="294650"/>
                  </a:cubicBezTo>
                  <a:cubicBezTo>
                    <a:pt x="184029" y="302427"/>
                    <a:pt x="177860" y="308597"/>
                    <a:pt x="170082" y="309260"/>
                  </a:cubicBezTo>
                  <a:lnTo>
                    <a:pt x="166132" y="309260"/>
                  </a:lnTo>
                  <a:cubicBezTo>
                    <a:pt x="160797" y="309473"/>
                    <a:pt x="156005" y="306023"/>
                    <a:pt x="154514" y="300896"/>
                  </a:cubicBezTo>
                  <a:cubicBezTo>
                    <a:pt x="142866" y="299251"/>
                    <a:pt x="134117" y="289421"/>
                    <a:pt x="133835" y="277661"/>
                  </a:cubicBezTo>
                  <a:lnTo>
                    <a:pt x="133835" y="179259"/>
                  </a:lnTo>
                  <a:cubicBezTo>
                    <a:pt x="128819" y="176596"/>
                    <a:pt x="125723" y="171344"/>
                    <a:pt x="125819" y="165667"/>
                  </a:cubicBezTo>
                  <a:cubicBezTo>
                    <a:pt x="125837" y="124068"/>
                    <a:pt x="156343" y="88767"/>
                    <a:pt x="197499" y="82717"/>
                  </a:cubicBezTo>
                  <a:lnTo>
                    <a:pt x="197499" y="29741"/>
                  </a:lnTo>
                  <a:cubicBezTo>
                    <a:pt x="140236" y="48630"/>
                    <a:pt x="86148" y="76046"/>
                    <a:pt x="37060" y="111064"/>
                  </a:cubicBezTo>
                  <a:cubicBezTo>
                    <a:pt x="14057" y="129139"/>
                    <a:pt x="440" y="156630"/>
                    <a:pt x="0" y="185882"/>
                  </a:cubicBezTo>
                  <a:lnTo>
                    <a:pt x="0" y="371763"/>
                  </a:lnTo>
                  <a:lnTo>
                    <a:pt x="743526" y="371763"/>
                  </a:lnTo>
                  <a:lnTo>
                    <a:pt x="743526" y="185882"/>
                  </a:lnTo>
                  <a:cubicBezTo>
                    <a:pt x="742920" y="156775"/>
                    <a:pt x="729271" y="129479"/>
                    <a:pt x="706350" y="111529"/>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34" name="Rectangle 33">
            <a:extLst>
              <a:ext uri="{FF2B5EF4-FFF2-40B4-BE49-F238E27FC236}">
                <a16:creationId xmlns:a16="http://schemas.microsoft.com/office/drawing/2014/main" id="{70D8CB26-37C2-94DD-9CEF-B515ADEB0094}"/>
              </a:ext>
            </a:extLst>
          </p:cNvPr>
          <p:cNvSpPr/>
          <p:nvPr/>
        </p:nvSpPr>
        <p:spPr>
          <a:xfrm>
            <a:off x="1028561" y="3293538"/>
            <a:ext cx="2137481" cy="1246495"/>
          </a:xfrm>
          <a:prstGeom prst="rect">
            <a:avLst/>
          </a:prstGeom>
          <a:effectLst/>
        </p:spPr>
        <p:txBody>
          <a:bodyPr wrap="square">
            <a:spAutoFit/>
          </a:bodyPr>
          <a:lstStyle/>
          <a:p>
            <a:pPr marL="180975" marR="0" lvl="1" indent="-171450" algn="l" defTabSz="914400" rtl="0" eaLnBrk="1" fontAlgn="ctr" latinLnBrk="0" hangingPunct="1">
              <a:lnSpc>
                <a:spcPct val="100000"/>
              </a:lnSpc>
              <a:spcBef>
                <a:spcPts val="20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000000"/>
                </a:solidFill>
                <a:effectLst/>
                <a:uLnTx/>
                <a:uFillTx/>
                <a:latin typeface="Arial" panose="020B0604020202020204"/>
                <a:ea typeface="Times New Roman" panose="02020603050405020304" pitchFamily="18" charset="0"/>
                <a:cs typeface="Calibri" panose="020F0502020204030204" pitchFamily="34" charset="0"/>
              </a:rPr>
              <a:t>Hidrasyon</a:t>
            </a:r>
            <a:endParaRPr kumimoji="0" lang="tr-TR" sz="1400" b="0" i="0" u="none" strike="noStrike" kern="1200" cap="none" spc="0" normalizeH="0" baseline="0" noProof="0">
              <a:ln>
                <a:noFill/>
              </a:ln>
              <a:solidFill>
                <a:srgbClr val="000000"/>
              </a:solidFill>
              <a:effectLst/>
              <a:uLnTx/>
              <a:uFillTx/>
              <a:latin typeface="Arial" panose="020B0604020202020204"/>
              <a:ea typeface="Times New Roman" panose="02020603050405020304" pitchFamily="18" charset="0"/>
              <a:cs typeface="Calibri" panose="020F0502020204030204" pitchFamily="34" charset="0"/>
            </a:endParaRPr>
          </a:p>
          <a:p>
            <a:pPr marL="180975" marR="0" lvl="1" indent="-171450" algn="l" defTabSz="914400" rtl="0" eaLnBrk="1" fontAlgn="ctr" latinLnBrk="0" hangingPunct="1">
              <a:lnSpc>
                <a:spcPct val="100000"/>
              </a:lnSpc>
              <a:spcBef>
                <a:spcPts val="20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000000"/>
                </a:solidFill>
                <a:effectLst/>
                <a:uLnTx/>
                <a:uFillTx/>
                <a:latin typeface="Arial" panose="020B0604020202020204"/>
                <a:ea typeface="Times New Roman" panose="02020603050405020304" pitchFamily="18" charset="0"/>
                <a:cs typeface="Calibri" panose="020F0502020204030204" pitchFamily="34" charset="0"/>
              </a:rPr>
              <a:t>Oksijen</a:t>
            </a:r>
            <a:r>
              <a:rPr kumimoji="0" lang="en-US" sz="1400" b="0" i="0" u="none" strike="noStrike" kern="1200" cap="none" spc="0" normalizeH="0" baseline="0" noProof="0">
                <a:ln>
                  <a:noFill/>
                </a:ln>
                <a:solidFill>
                  <a:srgbClr val="000000"/>
                </a:solidFill>
                <a:effectLst/>
                <a:uLnTx/>
                <a:uFillTx/>
                <a:latin typeface="Arial" panose="020B0604020202020204"/>
                <a:ea typeface="Times New Roman" panose="02020603050405020304" pitchFamily="18" charset="0"/>
                <a:cs typeface="Calibri" panose="020F0502020204030204" pitchFamily="34" charset="0"/>
              </a:rPr>
              <a:t> </a:t>
            </a:r>
            <a:r>
              <a:rPr kumimoji="0" lang="en-US" sz="1400" b="0" i="0" u="none" strike="noStrike" kern="1200" cap="none" spc="0" normalizeH="0" baseline="0" noProof="0" err="1">
                <a:ln>
                  <a:noFill/>
                </a:ln>
                <a:solidFill>
                  <a:srgbClr val="000000"/>
                </a:solidFill>
                <a:effectLst/>
                <a:uLnTx/>
                <a:uFillTx/>
                <a:latin typeface="Arial" panose="020B0604020202020204"/>
                <a:ea typeface="Times New Roman" panose="02020603050405020304" pitchFamily="18" charset="0"/>
                <a:cs typeface="Calibri" panose="020F0502020204030204" pitchFamily="34" charset="0"/>
              </a:rPr>
              <a:t>takviyesi</a:t>
            </a:r>
            <a:endParaRPr kumimoji="0" lang="tr-TR" sz="1400" b="0" i="0" u="none" strike="noStrike" kern="1200" cap="none" spc="0" normalizeH="0" baseline="0" noProof="0">
              <a:ln>
                <a:noFill/>
              </a:ln>
              <a:solidFill>
                <a:srgbClr val="000000"/>
              </a:solidFill>
              <a:effectLst/>
              <a:uLnTx/>
              <a:uFillTx/>
              <a:latin typeface="Arial" panose="020B0604020202020204"/>
              <a:ea typeface="Times New Roman" panose="02020603050405020304" pitchFamily="18" charset="0"/>
              <a:cs typeface="Calibri" panose="020F0502020204030204" pitchFamily="34" charset="0"/>
            </a:endParaRPr>
          </a:p>
          <a:p>
            <a:pPr marL="180975" marR="0" lvl="1" indent="-171450" algn="l" defTabSz="914400" rtl="0" eaLnBrk="1" fontAlgn="ctr" latinLnBrk="0" hangingPunct="1">
              <a:lnSpc>
                <a:spcPct val="100000"/>
              </a:lnSpc>
              <a:spcBef>
                <a:spcPts val="2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Times New Roman" panose="02020603050405020304" pitchFamily="18" charset="0"/>
                <a:cs typeface="Calibri" panose="020F0502020204030204" pitchFamily="34" charset="0"/>
              </a:rPr>
              <a:t>Hava </a:t>
            </a:r>
            <a:r>
              <a:rPr kumimoji="0" lang="en-US" sz="1400" b="0" i="0" u="none" strike="noStrike" kern="1200" cap="none" spc="0" normalizeH="0" baseline="0" noProof="0" err="1">
                <a:ln>
                  <a:noFill/>
                </a:ln>
                <a:solidFill>
                  <a:srgbClr val="000000"/>
                </a:solidFill>
                <a:effectLst/>
                <a:uLnTx/>
                <a:uFillTx/>
                <a:latin typeface="Arial" panose="020B0604020202020204"/>
                <a:ea typeface="Times New Roman" panose="02020603050405020304" pitchFamily="18" charset="0"/>
                <a:cs typeface="Calibri" panose="020F0502020204030204" pitchFamily="34" charset="0"/>
              </a:rPr>
              <a:t>yollarının</a:t>
            </a:r>
            <a:r>
              <a:rPr kumimoji="0" lang="en-US" sz="1400" b="0" i="0" u="none" strike="noStrike" kern="1200" cap="none" spc="0" normalizeH="0" baseline="0" noProof="0">
                <a:ln>
                  <a:noFill/>
                </a:ln>
                <a:solidFill>
                  <a:srgbClr val="000000"/>
                </a:solidFill>
                <a:effectLst/>
                <a:uLnTx/>
                <a:uFillTx/>
                <a:latin typeface="Arial" panose="020B0604020202020204"/>
                <a:ea typeface="Times New Roman" panose="02020603050405020304" pitchFamily="18" charset="0"/>
                <a:cs typeface="Calibri" panose="020F0502020204030204" pitchFamily="34" charset="0"/>
              </a:rPr>
              <a:t> aspire </a:t>
            </a:r>
            <a:r>
              <a:rPr kumimoji="0" lang="en-US" sz="1400" b="0" i="0" u="none" strike="noStrike" kern="1200" cap="none" spc="0" normalizeH="0" baseline="0" noProof="0" err="1">
                <a:ln>
                  <a:noFill/>
                </a:ln>
                <a:solidFill>
                  <a:srgbClr val="000000"/>
                </a:solidFill>
                <a:effectLst/>
                <a:uLnTx/>
                <a:uFillTx/>
                <a:latin typeface="Arial" panose="020B0604020202020204"/>
                <a:ea typeface="Times New Roman" panose="02020603050405020304" pitchFamily="18" charset="0"/>
                <a:cs typeface="Calibri" panose="020F0502020204030204" pitchFamily="34" charset="0"/>
              </a:rPr>
              <a:t>edilmes</a:t>
            </a:r>
            <a:r>
              <a:rPr kumimoji="0" lang="tr-TR" sz="1400" b="0" i="0" u="none" strike="noStrike" kern="1200" cap="none" spc="0" normalizeH="0" baseline="0" noProof="0">
                <a:ln>
                  <a:noFill/>
                </a:ln>
                <a:solidFill>
                  <a:srgbClr val="000000"/>
                </a:solidFill>
                <a:effectLst/>
                <a:uLnTx/>
                <a:uFillTx/>
                <a:latin typeface="Arial" panose="020B0604020202020204"/>
                <a:ea typeface="Times New Roman" panose="02020603050405020304" pitchFamily="18" charset="0"/>
                <a:cs typeface="Calibri" panose="020F0502020204030204" pitchFamily="34" charset="0"/>
              </a:rPr>
              <a:t>i</a:t>
            </a:r>
          </a:p>
          <a:p>
            <a:pPr marL="180975" marR="0" lvl="1" indent="-171450" algn="l" defTabSz="914400" rtl="0" eaLnBrk="1" fontAlgn="ctr" latinLnBrk="0" hangingPunct="1">
              <a:lnSpc>
                <a:spcPct val="100000"/>
              </a:lnSpc>
              <a:spcBef>
                <a:spcPts val="20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000000"/>
                </a:solidFill>
                <a:effectLst/>
                <a:uLnTx/>
                <a:uFillTx/>
                <a:latin typeface="Arial" panose="020B0604020202020204"/>
                <a:ea typeface="Times New Roman" panose="02020603050405020304" pitchFamily="18" charset="0"/>
                <a:cs typeface="Calibri" panose="020F0502020204030204" pitchFamily="34" charset="0"/>
              </a:rPr>
              <a:t>Mekanik</a:t>
            </a:r>
            <a:r>
              <a:rPr kumimoji="0" lang="en-US" sz="1400" b="0" i="0" u="none" strike="noStrike" kern="1200" cap="none" spc="0" normalizeH="0" baseline="0" noProof="0">
                <a:ln>
                  <a:noFill/>
                </a:ln>
                <a:solidFill>
                  <a:srgbClr val="000000"/>
                </a:solidFill>
                <a:effectLst/>
                <a:uLnTx/>
                <a:uFillTx/>
                <a:latin typeface="Arial" panose="020B0604020202020204"/>
                <a:ea typeface="Times New Roman" panose="02020603050405020304" pitchFamily="18" charset="0"/>
                <a:cs typeface="Calibri" panose="020F0502020204030204" pitchFamily="34" charset="0"/>
              </a:rPr>
              <a:t> </a:t>
            </a:r>
            <a:r>
              <a:rPr kumimoji="0" lang="en-US" sz="1400" b="0" i="0" u="none" strike="noStrike" kern="1200" cap="none" spc="0" normalizeH="0" baseline="0" noProof="0" err="1">
                <a:ln>
                  <a:noFill/>
                </a:ln>
                <a:solidFill>
                  <a:srgbClr val="000000"/>
                </a:solidFill>
                <a:effectLst/>
                <a:uLnTx/>
                <a:uFillTx/>
                <a:latin typeface="Arial" panose="020B0604020202020204"/>
                <a:ea typeface="Times New Roman" panose="02020603050405020304" pitchFamily="18" charset="0"/>
                <a:cs typeface="Calibri" panose="020F0502020204030204" pitchFamily="34" charset="0"/>
              </a:rPr>
              <a:t>ventilasyon</a:t>
            </a:r>
            <a:endParaRPr kumimoji="0" lang="en-US" sz="1400" b="0" i="0" u="none" strike="noStrike" kern="1200" cap="none" spc="0" normalizeH="0" baseline="0" noProof="0">
              <a:ln>
                <a:noFill/>
              </a:ln>
              <a:solidFill>
                <a:srgbClr val="000000"/>
              </a:solidFill>
              <a:effectLst/>
              <a:uLnTx/>
              <a:uFillTx/>
              <a:latin typeface="Arial" panose="020B0604020202020204"/>
              <a:ea typeface="Times New Roman" panose="02020603050405020304" pitchFamily="18" charset="0"/>
              <a:cs typeface="Calibri" panose="020F0502020204030204" pitchFamily="34" charset="0"/>
            </a:endParaRPr>
          </a:p>
        </p:txBody>
      </p:sp>
      <p:sp>
        <p:nvSpPr>
          <p:cNvPr id="33" name="CuadroTexto 62">
            <a:extLst>
              <a:ext uri="{FF2B5EF4-FFF2-40B4-BE49-F238E27FC236}">
                <a16:creationId xmlns:a16="http://schemas.microsoft.com/office/drawing/2014/main" id="{0D7268A2-BA65-394F-6FD2-6ACFBDB1ECF7}"/>
              </a:ext>
            </a:extLst>
          </p:cNvPr>
          <p:cNvSpPr txBox="1"/>
          <p:nvPr/>
        </p:nvSpPr>
        <p:spPr bwMode="gray">
          <a:xfrm>
            <a:off x="448385" y="2678371"/>
            <a:ext cx="3363328" cy="584775"/>
          </a:xfrm>
          <a:prstGeom prst="rect">
            <a:avLst/>
          </a:prstGeom>
          <a:noFill/>
          <a:ln>
            <a:noFill/>
          </a:ln>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rPr>
              <a:t>RSV </a:t>
            </a:r>
            <a:r>
              <a:rPr kumimoji="0" lang="en-US" sz="1600" b="1" i="0" u="none" strike="noStrike" kern="1200" cap="none" spc="0" normalizeH="0" baseline="0" noProof="0" err="1">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rPr>
              <a:t>yönetimi</a:t>
            </a:r>
            <a:r>
              <a:rPr kumimoji="0" lang="en-US" sz="1600" b="1" i="0" u="none" strike="noStrike" kern="1200" cap="none" spc="0" normalizeH="0" baseline="0" noProof="0">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rPr>
              <a:t>için</a:t>
            </a:r>
            <a:r>
              <a:rPr kumimoji="0" lang="en-US" sz="1600" b="1" i="0" u="none" strike="noStrike" kern="1200" cap="none" spc="0" normalizeH="0" baseline="0" noProof="0">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rPr>
              <a:t> </a:t>
            </a:r>
            <a:r>
              <a:rPr kumimoji="0" lang="en-US" sz="1600" b="1" i="0" u="none" strike="noStrike" kern="1200" cap="none" spc="0" normalizeH="0" baseline="0" noProof="0" err="1">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rPr>
              <a:t>güncel</a:t>
            </a:r>
            <a:r>
              <a:rPr kumimoji="0" lang="en-US" sz="1600" b="1" i="0" u="none" strike="noStrike" kern="1200" cap="none" spc="0" normalizeH="0" baseline="0" noProof="0">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rPr>
              <a:t> yaklaşımlar</a:t>
            </a:r>
            <a:r>
              <a:rPr kumimoji="0" lang="en-US" sz="1600" b="1" i="0" u="none" strike="noStrike" kern="1200" cap="none" spc="0" normalizeH="0" baseline="30000" noProof="0">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rPr>
              <a:t>1</a:t>
            </a:r>
            <a:endParaRPr kumimoji="0" lang="en-US" sz="1600" b="1" i="0" u="none" strike="noStrike" kern="1200" cap="none" spc="0" normalizeH="0" baseline="0" noProof="0">
              <a:ln>
                <a:noFill/>
              </a:ln>
              <a:solidFill>
                <a:srgbClr val="344068"/>
              </a:solidFill>
              <a:effectLst/>
              <a:uLnTx/>
              <a:uFillTx/>
              <a:latin typeface="Arial" panose="020B0604020202020204"/>
              <a:ea typeface="Times New Roman" panose="02020603050405020304" pitchFamily="18" charset="0"/>
              <a:cs typeface="Calibri" panose="020F0502020204030204" pitchFamily="34" charset="0"/>
            </a:endParaRPr>
          </a:p>
        </p:txBody>
      </p:sp>
      <p:sp>
        <p:nvSpPr>
          <p:cNvPr id="2" name="Content Placeholder 1">
            <a:extLst>
              <a:ext uri="{FF2B5EF4-FFF2-40B4-BE49-F238E27FC236}">
                <a16:creationId xmlns:a16="http://schemas.microsoft.com/office/drawing/2014/main" id="{D80307EC-85CF-EC0F-4392-7DF71D34EAB2}"/>
              </a:ext>
            </a:extLst>
          </p:cNvPr>
          <p:cNvSpPr txBox="1">
            <a:spLocks/>
          </p:cNvSpPr>
          <p:nvPr/>
        </p:nvSpPr>
        <p:spPr bwMode="gray">
          <a:xfrm>
            <a:off x="467234" y="4975105"/>
            <a:ext cx="11275462" cy="673206"/>
          </a:xfrm>
          <a:prstGeom prst="roundRect">
            <a:avLst/>
          </a:prstGeom>
          <a:solidFill>
            <a:schemeClr val="tx2"/>
          </a:solidFill>
          <a:ln>
            <a:noFill/>
          </a:ln>
          <a:effectLst>
            <a:outerShdw blurRad="50800" dist="38100" dir="2700000" algn="tl" rotWithShape="0">
              <a:prstClr val="black">
                <a:alpha val="40000"/>
              </a:prstClr>
            </a:outerShdw>
          </a:effectLst>
        </p:spPr>
        <p:txBody>
          <a:bodyPr vert="horz" lIns="45720" tIns="45720" rIns="45720" bIns="45720" rtlCol="0" anchor="t">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ctr" latinLnBrk="0" hangingPunct="1">
              <a:lnSpc>
                <a:spcPct val="107000"/>
              </a:lnSpc>
              <a:spcBef>
                <a:spcPts val="0"/>
              </a:spcBef>
              <a:spcAft>
                <a:spcPts val="0"/>
              </a:spcAft>
              <a:buClrTx/>
              <a:buSzPct val="100000"/>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RSV,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yanlış</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teşhisler</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bakteriyel</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ko-</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enfeksiyonlarla</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ilgili</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endişeler</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veya</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gereksiz</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antibiyotik</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tedavisinin</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zararlı</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etkilerinin</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göz</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ardı</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edilmesi</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nedeniyle</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gereksiz</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antibiyotik</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kullanımını</a:t>
            </a:r>
            <a:r>
              <a:rPr kumimoji="0" lang="en-US"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 </a:t>
            </a:r>
            <a:r>
              <a:rPr kumimoji="0" lang="en-US" sz="1600" b="1" i="0" u="none" strike="noStrike" kern="1200" cap="none" spc="0" normalizeH="0" baseline="0" noProof="0" err="1">
                <a:ln>
                  <a:noFill/>
                </a:ln>
                <a:solidFill>
                  <a:srgbClr val="FFFFFF"/>
                </a:solidFill>
                <a:effectLst/>
                <a:uLnTx/>
                <a:uFillTx/>
                <a:latin typeface="Arial" panose="020B0604020202020204"/>
                <a:ea typeface="Times New Roman" panose="02020603050405020304" pitchFamily="18" charset="0"/>
                <a:cs typeface="Calibri"/>
              </a:rPr>
              <a:t>artırabilir</a:t>
            </a:r>
            <a:r>
              <a:rPr kumimoji="0" lang="tr-TR" sz="1600" b="1"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a:rPr>
              <a:t>.</a:t>
            </a:r>
            <a:r>
              <a:rPr kumimoji="0" lang="en-US" sz="1600" b="1" i="0" u="none" strike="noStrike" kern="1200" cap="none" spc="0" normalizeH="0" baseline="30000" noProof="0">
                <a:ln>
                  <a:noFill/>
                </a:ln>
                <a:solidFill>
                  <a:srgbClr val="FFFFFF"/>
                </a:solidFill>
                <a:effectLst/>
                <a:uLnTx/>
                <a:uFillTx/>
                <a:latin typeface="Arial" panose="020B0604020202020204"/>
                <a:ea typeface="Times New Roman" panose="02020603050405020304" pitchFamily="18" charset="0"/>
                <a:cs typeface="Calibri"/>
              </a:rPr>
              <a:t>2</a:t>
            </a:r>
          </a:p>
        </p:txBody>
      </p:sp>
      <p:sp>
        <p:nvSpPr>
          <p:cNvPr id="3" name="Cross 2">
            <a:extLst>
              <a:ext uri="{FF2B5EF4-FFF2-40B4-BE49-F238E27FC236}">
                <a16:creationId xmlns:a16="http://schemas.microsoft.com/office/drawing/2014/main" id="{1CACDDF6-0158-A371-DFA9-FE14B8EFEE08}"/>
              </a:ext>
            </a:extLst>
          </p:cNvPr>
          <p:cNvSpPr/>
          <p:nvPr/>
        </p:nvSpPr>
        <p:spPr>
          <a:xfrm rot="2494922">
            <a:off x="9518964" y="1666081"/>
            <a:ext cx="1106424" cy="1106424"/>
          </a:xfrm>
          <a:prstGeom prst="plus">
            <a:avLst>
              <a:gd name="adj" fmla="val 44802"/>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4" name="Picture 3" descr="A black and blue logo&#10;&#10;AI-generated content may be incorrect.">
            <a:extLst>
              <a:ext uri="{FF2B5EF4-FFF2-40B4-BE49-F238E27FC236}">
                <a16:creationId xmlns:a16="http://schemas.microsoft.com/office/drawing/2014/main" id="{98A64F76-949C-E3F6-1302-AB0515D56224}"/>
              </a:ext>
            </a:extLst>
          </p:cNvPr>
          <p:cNvPicPr>
            <a:picLocks noChangeAspect="1"/>
          </p:cNvPicPr>
          <p:nvPr/>
        </p:nvPicPr>
        <p:blipFill>
          <a:blip r:embed="rId3"/>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3447837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8EFEE6-305C-9B3E-C18B-18FCB4BC56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31A0EA5-FD42-ACA1-E872-6AC73901EA46}"/>
              </a:ext>
            </a:extLst>
          </p:cNvPr>
          <p:cNvSpPr>
            <a:spLocks noGrp="1"/>
          </p:cNvSpPr>
          <p:nvPr>
            <p:ph type="title"/>
          </p:nvPr>
        </p:nvSpPr>
        <p:spPr>
          <a:xfrm>
            <a:off x="4339504" y="3023546"/>
            <a:ext cx="5636394" cy="405454"/>
          </a:xfrm>
        </p:spPr>
        <p:txBody>
          <a:bodyPr>
            <a:normAutofit fontScale="90000"/>
          </a:bodyPr>
          <a:lstStyle/>
          <a:p>
            <a:pPr marL="0" marR="0" lvl="0" indent="0" algn="l" defTabSz="914126" rtl="0" eaLnBrk="1" fontAlgn="auto" latinLnBrk="0" hangingPunct="1">
              <a:lnSpc>
                <a:spcPct val="85000"/>
              </a:lnSpc>
              <a:spcBef>
                <a:spcPts val="600"/>
              </a:spcBef>
              <a:spcAft>
                <a:spcPts val="0"/>
              </a:spcAft>
              <a:buClr>
                <a:srgbClr val="000000"/>
              </a:buClr>
              <a:buSzTx/>
              <a:buFontTx/>
              <a:buNone/>
              <a:tabLst/>
              <a:defRPr/>
            </a:pPr>
            <a:r>
              <a:rPr kumimoji="0" lang="en-US" sz="3600" b="1" i="0" u="none" strike="noStrike" kern="0" cap="none" spc="0" normalizeH="0" baseline="0" noProof="0" dirty="0">
                <a:ln>
                  <a:noFill/>
                </a:ln>
                <a:solidFill>
                  <a:schemeClr val="accent1"/>
                </a:solidFill>
                <a:effectLst/>
                <a:uLnTx/>
                <a:uFillTx/>
                <a:latin typeface="+mn-lt"/>
                <a:ea typeface="+mn-ea"/>
                <a:cs typeface="+mn-cs"/>
              </a:rPr>
              <a:t>RSV </a:t>
            </a:r>
            <a:r>
              <a:rPr kumimoji="0" lang="en-US" sz="3600" b="1" i="0" u="none" strike="noStrike" kern="0" cap="none" spc="0" normalizeH="0" baseline="0" noProof="0" dirty="0" err="1">
                <a:ln>
                  <a:noFill/>
                </a:ln>
                <a:solidFill>
                  <a:schemeClr val="accent1"/>
                </a:solidFill>
                <a:effectLst/>
                <a:uLnTx/>
                <a:uFillTx/>
                <a:latin typeface="+mn-lt"/>
                <a:ea typeface="+mn-ea"/>
                <a:cs typeface="+mn-cs"/>
              </a:rPr>
              <a:t>Morbiditesinin</a:t>
            </a:r>
            <a:r>
              <a:rPr kumimoji="0" lang="en-US" sz="3600" b="1" i="0" u="none" strike="noStrike" kern="0" cap="none" spc="0" normalizeH="0" baseline="0" noProof="0" dirty="0">
                <a:ln>
                  <a:noFill/>
                </a:ln>
                <a:solidFill>
                  <a:schemeClr val="accent1"/>
                </a:solidFill>
                <a:effectLst/>
                <a:uLnTx/>
                <a:uFillTx/>
                <a:latin typeface="+mn-lt"/>
                <a:ea typeface="+mn-ea"/>
                <a:cs typeface="+mn-cs"/>
              </a:rPr>
              <a:t> </a:t>
            </a:r>
            <a:r>
              <a:rPr kumimoji="0" lang="en-US" sz="3600" b="1" i="0" u="none" strike="noStrike" kern="0" cap="none" spc="0" normalizeH="0" baseline="0" noProof="0" dirty="0" err="1">
                <a:ln>
                  <a:noFill/>
                </a:ln>
                <a:solidFill>
                  <a:schemeClr val="accent1"/>
                </a:solidFill>
                <a:effectLst/>
                <a:uLnTx/>
                <a:uFillTx/>
                <a:latin typeface="+mn-lt"/>
                <a:ea typeface="+mn-ea"/>
                <a:cs typeface="+mn-cs"/>
              </a:rPr>
              <a:t>Akut</a:t>
            </a:r>
            <a:r>
              <a:rPr kumimoji="0" lang="en-US" sz="3600" b="1" i="0" u="none" strike="noStrike" kern="0" cap="none" spc="0" normalizeH="0" baseline="0" noProof="0" dirty="0">
                <a:ln>
                  <a:noFill/>
                </a:ln>
                <a:solidFill>
                  <a:schemeClr val="accent1"/>
                </a:solidFill>
                <a:effectLst/>
                <a:uLnTx/>
                <a:uFillTx/>
                <a:latin typeface="+mn-lt"/>
                <a:ea typeface="+mn-ea"/>
                <a:cs typeface="+mn-cs"/>
              </a:rPr>
              <a:t> </a:t>
            </a:r>
            <a:br>
              <a:rPr kumimoji="0" lang="en-US" sz="3600" b="1" i="0" u="none" strike="noStrike" kern="0" cap="none" spc="0" normalizeH="0" baseline="0" noProof="0" dirty="0">
                <a:ln>
                  <a:noFill/>
                </a:ln>
                <a:solidFill>
                  <a:schemeClr val="accent1"/>
                </a:solidFill>
                <a:effectLst/>
                <a:uLnTx/>
                <a:uFillTx/>
                <a:latin typeface="+mn-lt"/>
                <a:ea typeface="+mn-ea"/>
                <a:cs typeface="+mn-cs"/>
              </a:rPr>
            </a:br>
            <a:r>
              <a:rPr kumimoji="0" lang="en-US" sz="3600" b="1" i="0" u="none" strike="noStrike" kern="0" cap="none" spc="0" normalizeH="0" baseline="0" noProof="0" dirty="0" err="1">
                <a:ln>
                  <a:noFill/>
                </a:ln>
                <a:solidFill>
                  <a:schemeClr val="accent1"/>
                </a:solidFill>
                <a:effectLst/>
                <a:uLnTx/>
                <a:uFillTx/>
                <a:latin typeface="+mn-lt"/>
                <a:ea typeface="+mn-ea"/>
                <a:cs typeface="+mn-cs"/>
              </a:rPr>
              <a:t>Hastalığın</a:t>
            </a:r>
            <a:r>
              <a:rPr kumimoji="0" lang="en-US" sz="3600" b="1" i="0" u="none" strike="noStrike" kern="0" cap="none" spc="0" normalizeH="0" baseline="0" noProof="0" dirty="0">
                <a:ln>
                  <a:noFill/>
                </a:ln>
                <a:solidFill>
                  <a:schemeClr val="accent1"/>
                </a:solidFill>
                <a:effectLst/>
                <a:uLnTx/>
                <a:uFillTx/>
                <a:latin typeface="+mn-lt"/>
                <a:ea typeface="+mn-ea"/>
                <a:cs typeface="+mn-cs"/>
              </a:rPr>
              <a:t> </a:t>
            </a:r>
            <a:r>
              <a:rPr kumimoji="0" lang="en-US" sz="3600" b="1" i="0" u="none" strike="noStrike" kern="0" cap="none" spc="0" normalizeH="0" baseline="0" noProof="0" dirty="0" err="1">
                <a:ln>
                  <a:noFill/>
                </a:ln>
                <a:solidFill>
                  <a:schemeClr val="accent1"/>
                </a:solidFill>
                <a:effectLst/>
                <a:uLnTx/>
                <a:uFillTx/>
                <a:latin typeface="+mn-lt"/>
                <a:ea typeface="+mn-ea"/>
                <a:cs typeface="+mn-cs"/>
              </a:rPr>
              <a:t>Ötesindeki</a:t>
            </a:r>
            <a:r>
              <a:rPr kumimoji="0" lang="en-US" sz="3600" b="1" i="0" u="none" strike="noStrike" kern="0" cap="none" spc="0" normalizeH="0" baseline="0" noProof="0" dirty="0">
                <a:ln>
                  <a:noFill/>
                </a:ln>
                <a:solidFill>
                  <a:schemeClr val="accent1"/>
                </a:solidFill>
                <a:effectLst/>
                <a:uLnTx/>
                <a:uFillTx/>
                <a:latin typeface="+mn-lt"/>
                <a:ea typeface="+mn-ea"/>
                <a:cs typeface="+mn-cs"/>
              </a:rPr>
              <a:t> </a:t>
            </a:r>
            <a:r>
              <a:rPr kumimoji="0" lang="en-US" sz="3600" b="1" i="0" u="none" strike="noStrike" kern="0" cap="none" spc="0" normalizeH="0" baseline="0" noProof="0" dirty="0" err="1">
                <a:ln>
                  <a:noFill/>
                </a:ln>
                <a:solidFill>
                  <a:schemeClr val="accent1"/>
                </a:solidFill>
                <a:effectLst/>
                <a:uLnTx/>
                <a:uFillTx/>
                <a:latin typeface="+mn-lt"/>
                <a:ea typeface="+mn-ea"/>
                <a:cs typeface="+mn-cs"/>
              </a:rPr>
              <a:t>Etkisi</a:t>
            </a:r>
            <a:endParaRPr kumimoji="0" lang="en-GB" sz="2400" b="1" i="0" u="none" strike="noStrike" kern="0" cap="none" spc="0" normalizeH="0" baseline="30000" noProof="0" dirty="0">
              <a:ln>
                <a:noFill/>
              </a:ln>
              <a:solidFill>
                <a:schemeClr val="accent1"/>
              </a:solidFill>
              <a:effectLst/>
              <a:uLnTx/>
              <a:uFillTx/>
              <a:ea typeface="+mn-ea"/>
              <a:cs typeface="+mn-cs"/>
            </a:endParaRPr>
          </a:p>
        </p:txBody>
      </p:sp>
      <p:pic>
        <p:nvPicPr>
          <p:cNvPr id="4" name="Picture 3" descr="A black and blue logo&#10;&#10;AI-generated content may be incorrect.">
            <a:extLst>
              <a:ext uri="{FF2B5EF4-FFF2-40B4-BE49-F238E27FC236}">
                <a16:creationId xmlns:a16="http://schemas.microsoft.com/office/drawing/2014/main" id="{719DD765-0E62-B72E-C05E-6E42D461CF6F}"/>
              </a:ext>
            </a:extLst>
          </p:cNvPr>
          <p:cNvPicPr>
            <a:picLocks noChangeAspect="1"/>
          </p:cNvPicPr>
          <p:nvPr/>
        </p:nvPicPr>
        <p:blipFill>
          <a:blip r:embed="rId2"/>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35091724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8CCA44-7952-6938-A998-2FEE4DD3F15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A804616-3393-F601-CD59-1F7FF2FF27E7}"/>
              </a:ext>
            </a:extLst>
          </p:cNvPr>
          <p:cNvSpPr>
            <a:spLocks noGrp="1"/>
          </p:cNvSpPr>
          <p:nvPr>
            <p:ph type="title"/>
          </p:nvPr>
        </p:nvSpPr>
        <p:spPr/>
        <p:txBody>
          <a:bodyPr anchor="ctr"/>
          <a:lstStyle/>
          <a:p>
            <a:r>
              <a:rPr lang="tr-TR" sz="2400"/>
              <a:t>Y</a:t>
            </a:r>
            <a:r>
              <a:rPr lang="en-US" sz="2400" err="1"/>
              <a:t>aşlı</a:t>
            </a:r>
            <a:r>
              <a:rPr lang="en-US" sz="2400"/>
              <a:t> </a:t>
            </a:r>
            <a:r>
              <a:rPr lang="en-US" sz="2400" err="1"/>
              <a:t>yetişkinler</a:t>
            </a:r>
            <a:r>
              <a:rPr lang="en-US" sz="2400"/>
              <a:t>, </a:t>
            </a:r>
            <a:r>
              <a:rPr lang="en-US" sz="2400" err="1"/>
              <a:t>altta</a:t>
            </a:r>
            <a:r>
              <a:rPr lang="en-US" sz="2400"/>
              <a:t> </a:t>
            </a:r>
            <a:r>
              <a:rPr lang="en-US" sz="2400" err="1"/>
              <a:t>yatan</a:t>
            </a:r>
            <a:r>
              <a:rPr lang="en-US" sz="2400"/>
              <a:t> </a:t>
            </a:r>
            <a:r>
              <a:rPr lang="en-US" sz="2400" err="1"/>
              <a:t>hastalıkların</a:t>
            </a:r>
            <a:r>
              <a:rPr lang="en-US" sz="2400"/>
              <a:t> </a:t>
            </a:r>
            <a:r>
              <a:rPr lang="en-US" sz="2400" err="1"/>
              <a:t>kötüleşmesi</a:t>
            </a:r>
            <a:r>
              <a:rPr lang="en-US" sz="2400"/>
              <a:t> </a:t>
            </a:r>
            <a:r>
              <a:rPr lang="en-US" sz="2400" err="1"/>
              <a:t>ve</a:t>
            </a:r>
            <a:r>
              <a:rPr lang="en-US" sz="2400"/>
              <a:t> </a:t>
            </a:r>
            <a:r>
              <a:rPr lang="en-US" sz="2400" err="1"/>
              <a:t>sağlık</a:t>
            </a:r>
            <a:r>
              <a:rPr lang="en-US" sz="2400"/>
              <a:t> </a:t>
            </a:r>
            <a:r>
              <a:rPr lang="en-US" sz="2400" err="1"/>
              <a:t>durumunun</a:t>
            </a:r>
            <a:r>
              <a:rPr lang="en-US" sz="2400"/>
              <a:t> </a:t>
            </a:r>
            <a:r>
              <a:rPr lang="en-US" sz="2400" err="1"/>
              <a:t>bozulması</a:t>
            </a:r>
            <a:r>
              <a:rPr lang="en-US" sz="2400"/>
              <a:t> da </a:t>
            </a:r>
            <a:r>
              <a:rPr lang="en-US" sz="2400" err="1"/>
              <a:t>dahil</a:t>
            </a:r>
            <a:r>
              <a:rPr lang="en-US" sz="2400"/>
              <a:t> </a:t>
            </a:r>
            <a:r>
              <a:rPr lang="en-US" sz="2400" err="1"/>
              <a:t>olmak</a:t>
            </a:r>
            <a:r>
              <a:rPr lang="en-US" sz="2400"/>
              <a:t> </a:t>
            </a:r>
            <a:r>
              <a:rPr lang="en-US" sz="2400" err="1"/>
              <a:t>üzere</a:t>
            </a:r>
            <a:r>
              <a:rPr lang="en-US" sz="2400"/>
              <a:t> RSV </a:t>
            </a:r>
            <a:r>
              <a:rPr lang="en-US" sz="2400" err="1"/>
              <a:t>ile</a:t>
            </a:r>
            <a:r>
              <a:rPr lang="en-US" sz="2400"/>
              <a:t> </a:t>
            </a:r>
            <a:r>
              <a:rPr lang="en-US" sz="2400" err="1"/>
              <a:t>ilişkili</a:t>
            </a:r>
            <a:r>
              <a:rPr lang="en-US" sz="2400"/>
              <a:t> </a:t>
            </a:r>
            <a:r>
              <a:rPr lang="en-US" sz="2400" err="1"/>
              <a:t>komplikasyonlar</a:t>
            </a:r>
            <a:r>
              <a:rPr lang="en-US" sz="2400"/>
              <a:t> </a:t>
            </a:r>
            <a:r>
              <a:rPr lang="en-US" sz="2400" err="1"/>
              <a:t>riski</a:t>
            </a:r>
            <a:r>
              <a:rPr lang="en-US" sz="2400"/>
              <a:t> </a:t>
            </a:r>
            <a:r>
              <a:rPr lang="en-US" sz="2400" err="1"/>
              <a:t>altındadır</a:t>
            </a:r>
            <a:endParaRPr lang="en-US" sz="2400"/>
          </a:p>
        </p:txBody>
      </p:sp>
      <p:sp>
        <p:nvSpPr>
          <p:cNvPr id="2" name="Slide Number Placeholder 1">
            <a:extLst>
              <a:ext uri="{FF2B5EF4-FFF2-40B4-BE49-F238E27FC236}">
                <a16:creationId xmlns:a16="http://schemas.microsoft.com/office/drawing/2014/main" id="{65D15288-924D-2E08-EF62-40D2E68095FB}"/>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5" name="Text Placeholder 4">
            <a:extLst>
              <a:ext uri="{FF2B5EF4-FFF2-40B4-BE49-F238E27FC236}">
                <a16:creationId xmlns:a16="http://schemas.microsoft.com/office/drawing/2014/main" id="{7FDBCED5-5721-17AC-EA0F-8EFEA139DB55}"/>
              </a:ext>
            </a:extLst>
          </p:cNvPr>
          <p:cNvSpPr>
            <a:spLocks noGrp="1"/>
          </p:cNvSpPr>
          <p:nvPr>
            <p:ph type="body" sz="quarter" idx="4294967295"/>
          </p:nvPr>
        </p:nvSpPr>
        <p:spPr>
          <a:xfrm>
            <a:off x="412511" y="5994559"/>
            <a:ext cx="9804400" cy="347663"/>
          </a:xfrm>
        </p:spPr>
        <p:txBody>
          <a:bodyPr>
            <a:normAutofit fontScale="40000" lnSpcReduction="20000"/>
          </a:bodyPr>
          <a:lstStyle/>
          <a:p>
            <a:r>
              <a:rPr lang="en-US" dirty="0"/>
              <a:t>KOAH = </a:t>
            </a:r>
            <a:r>
              <a:rPr lang="en-US" dirty="0" err="1"/>
              <a:t>kronik</a:t>
            </a:r>
            <a:r>
              <a:rPr lang="en-US" dirty="0"/>
              <a:t> </a:t>
            </a:r>
            <a:r>
              <a:rPr lang="en-US" dirty="0" err="1"/>
              <a:t>obstrüktif</a:t>
            </a:r>
            <a:r>
              <a:rPr lang="en-US" dirty="0"/>
              <a:t> </a:t>
            </a:r>
            <a:r>
              <a:rPr lang="en-US" dirty="0" err="1"/>
              <a:t>akciğer</a:t>
            </a:r>
            <a:r>
              <a:rPr lang="en-US" dirty="0"/>
              <a:t> </a:t>
            </a:r>
            <a:r>
              <a:rPr lang="en-US" dirty="0" err="1"/>
              <a:t>hastalığı</a:t>
            </a:r>
            <a:r>
              <a:rPr lang="en-US" dirty="0"/>
              <a:t>.</a:t>
            </a:r>
            <a:endParaRPr lang="tr-TR" dirty="0"/>
          </a:p>
          <a:p>
            <a:r>
              <a:rPr lang="en-US" dirty="0" err="1"/>
              <a:t>Wildenbeest</a:t>
            </a:r>
            <a:r>
              <a:rPr lang="en-US" dirty="0"/>
              <a:t> JG, et al. </a:t>
            </a:r>
            <a:r>
              <a:rPr lang="en-US" i="1" dirty="0"/>
              <a:t>Lancet Respir Med</a:t>
            </a:r>
            <a:r>
              <a:rPr lang="en-US" dirty="0"/>
              <a:t>. 2024;12:822-836.</a:t>
            </a:r>
          </a:p>
        </p:txBody>
      </p:sp>
      <p:sp>
        <p:nvSpPr>
          <p:cNvPr id="6" name="Rectangle: Top Corners Rounded 5">
            <a:extLst>
              <a:ext uri="{FF2B5EF4-FFF2-40B4-BE49-F238E27FC236}">
                <a16:creationId xmlns:a16="http://schemas.microsoft.com/office/drawing/2014/main" id="{A22CB195-93AA-F8CB-5DC3-26CC74EE4A86}"/>
              </a:ext>
            </a:extLst>
          </p:cNvPr>
          <p:cNvSpPr/>
          <p:nvPr/>
        </p:nvSpPr>
        <p:spPr>
          <a:xfrm>
            <a:off x="304800" y="2214578"/>
            <a:ext cx="3474720" cy="524934"/>
          </a:xfrm>
          <a:prstGeom prst="round2Same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137160" rtlCol="0" anchor="ctr"/>
          <a:lstStyle/>
          <a:p>
            <a:pPr marL="0" marR="0" lvl="0" indent="0" algn="ctr" defTabSz="914400" rtl="0" eaLnBrk="1" fontAlgn="auto" latinLnBrk="0" hangingPunct="1">
              <a:lnSpc>
                <a:spcPct val="95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RSV </a:t>
            </a:r>
            <a:r>
              <a:rPr kumimoji="0" lang="en-US" sz="1600" b="1" i="0" u="none" strike="noStrike" kern="1200" cap="none" spc="0" normalizeH="0" baseline="0" noProof="0" err="1">
                <a:ln>
                  <a:noFill/>
                </a:ln>
                <a:solidFill>
                  <a:srgbClr val="FFFFFF"/>
                </a:solidFill>
                <a:effectLst/>
                <a:uLnTx/>
                <a:uFillTx/>
                <a:latin typeface="Arial" panose="020B0604020202020204"/>
                <a:ea typeface="+mn-ea"/>
                <a:cs typeface="+mn-cs"/>
              </a:rPr>
              <a:t>riski</a:t>
            </a: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US" sz="1600" b="1" i="0" u="none" strike="noStrike" kern="1200" cap="none" spc="0" normalizeH="0" baseline="0" noProof="0" err="1">
                <a:ln>
                  <a:noFill/>
                </a:ln>
                <a:solidFill>
                  <a:srgbClr val="FFFFFF"/>
                </a:solidFill>
                <a:effectLst/>
                <a:uLnTx/>
                <a:uFillTx/>
                <a:latin typeface="Arial" panose="020B0604020202020204"/>
                <a:ea typeface="+mn-ea"/>
                <a:cs typeface="+mn-cs"/>
              </a:rPr>
              <a:t>altındaki</a:t>
            </a: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US" sz="1600" b="1" i="0" u="none" strike="noStrike" kern="1200" cap="none" spc="0" normalizeH="0" baseline="0" noProof="0" err="1">
                <a:ln>
                  <a:noFill/>
                </a:ln>
                <a:solidFill>
                  <a:srgbClr val="FFFFFF"/>
                </a:solidFill>
                <a:effectLst/>
                <a:uLnTx/>
                <a:uFillTx/>
                <a:latin typeface="Arial" panose="020B0604020202020204"/>
                <a:ea typeface="+mn-ea"/>
                <a:cs typeface="+mn-cs"/>
              </a:rPr>
              <a:t>yetişkinler</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Top Corners Rounded 6">
            <a:extLst>
              <a:ext uri="{FF2B5EF4-FFF2-40B4-BE49-F238E27FC236}">
                <a16:creationId xmlns:a16="http://schemas.microsoft.com/office/drawing/2014/main" id="{C8E5841E-CB7D-09A4-068F-95233D6E4921}"/>
              </a:ext>
            </a:extLst>
          </p:cNvPr>
          <p:cNvSpPr/>
          <p:nvPr/>
        </p:nvSpPr>
        <p:spPr>
          <a:xfrm>
            <a:off x="4358640" y="2214578"/>
            <a:ext cx="3474720" cy="524934"/>
          </a:xfrm>
          <a:prstGeom prst="round2Same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137160" rtlCol="0" anchor="ctr"/>
          <a:lstStyle/>
          <a:p>
            <a:pPr marL="0" marR="0" lvl="0" indent="0" algn="ctr" defTabSz="914400" rtl="0" eaLnBrk="1" fontAlgn="auto" latinLnBrk="0" hangingPunct="1">
              <a:lnSpc>
                <a:spcPct val="95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Erken </a:t>
            </a:r>
            <a:r>
              <a:rPr kumimoji="0" lang="en-US" sz="1600" b="1" i="0" u="none" strike="noStrike" kern="1200" cap="none" spc="0" normalizeH="0" baseline="0" noProof="0" err="1">
                <a:ln>
                  <a:noFill/>
                </a:ln>
                <a:solidFill>
                  <a:srgbClr val="FFFFFF"/>
                </a:solidFill>
                <a:effectLst/>
                <a:uLnTx/>
                <a:uFillTx/>
                <a:latin typeface="Arial" panose="020B0604020202020204"/>
                <a:ea typeface="+mn-ea"/>
                <a:cs typeface="+mn-cs"/>
              </a:rPr>
              <a:t>komplikasyonlar</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Top Corners Rounded 8">
            <a:extLst>
              <a:ext uri="{FF2B5EF4-FFF2-40B4-BE49-F238E27FC236}">
                <a16:creationId xmlns:a16="http://schemas.microsoft.com/office/drawing/2014/main" id="{E038FCD1-282B-8CA9-7F6A-D1E9A813C2FB}"/>
              </a:ext>
            </a:extLst>
          </p:cNvPr>
          <p:cNvSpPr/>
          <p:nvPr/>
        </p:nvSpPr>
        <p:spPr>
          <a:xfrm>
            <a:off x="8412481" y="2214578"/>
            <a:ext cx="3474720" cy="524934"/>
          </a:xfrm>
          <a:prstGeom prst="round2Same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137160" rtlCol="0" anchor="ctr"/>
          <a:lstStyle/>
          <a:p>
            <a:pPr marL="0" marR="0" lvl="0" indent="0" algn="ctr" defTabSz="914400" rtl="0" eaLnBrk="1" fontAlgn="auto" latinLnBrk="0" hangingPunct="1">
              <a:lnSpc>
                <a:spcPct val="95000"/>
              </a:lnSpc>
              <a:spcBef>
                <a:spcPts val="600"/>
              </a:spcBef>
              <a:spcAft>
                <a:spcPts val="0"/>
              </a:spcAft>
              <a:buClrTx/>
              <a:buSzTx/>
              <a:buFontTx/>
              <a:buNone/>
              <a:tabLst/>
              <a:defRPr/>
            </a:pPr>
            <a:r>
              <a:rPr kumimoji="0" lang="en-US" sz="1600" b="1" i="0" u="none" strike="noStrike" kern="1200" cap="none" spc="0" normalizeH="0" baseline="0" noProof="0" err="1">
                <a:ln>
                  <a:noFill/>
                </a:ln>
                <a:solidFill>
                  <a:srgbClr val="FFFFFF"/>
                </a:solidFill>
                <a:effectLst/>
                <a:uLnTx/>
                <a:uFillTx/>
                <a:latin typeface="Arial" panose="020B0604020202020204"/>
                <a:ea typeface="+mn-ea"/>
                <a:cs typeface="+mn-cs"/>
              </a:rPr>
              <a:t>Geç</a:t>
            </a: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US" sz="1600" b="1" i="0" u="none" strike="noStrike" kern="1200" cap="none" spc="0" normalizeH="0" baseline="0" noProof="0" err="1">
                <a:ln>
                  <a:noFill/>
                </a:ln>
                <a:solidFill>
                  <a:srgbClr val="FFFFFF"/>
                </a:solidFill>
                <a:effectLst/>
                <a:uLnTx/>
                <a:uFillTx/>
                <a:latin typeface="Arial" panose="020B0604020202020204"/>
                <a:ea typeface="+mn-ea"/>
                <a:cs typeface="+mn-cs"/>
              </a:rPr>
              <a:t>komplikasyonlar</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id="{A98838E5-5DD5-7567-8FFD-25C1A7659308}"/>
              </a:ext>
            </a:extLst>
          </p:cNvPr>
          <p:cNvSpPr/>
          <p:nvPr/>
        </p:nvSpPr>
        <p:spPr>
          <a:xfrm>
            <a:off x="3985589" y="2292922"/>
            <a:ext cx="166982" cy="368247"/>
          </a:xfrm>
          <a:custGeom>
            <a:avLst/>
            <a:gdLst>
              <a:gd name="connsiteX0" fmla="*/ 0 w 127000"/>
              <a:gd name="connsiteY0" fmla="*/ 0 h 252412"/>
              <a:gd name="connsiteX1" fmla="*/ 127000 w 127000"/>
              <a:gd name="connsiteY1" fmla="*/ 127000 h 252412"/>
              <a:gd name="connsiteX2" fmla="*/ 1588 w 127000"/>
              <a:gd name="connsiteY2" fmla="*/ 252412 h 252412"/>
            </a:gdLst>
            <a:ahLst/>
            <a:cxnLst>
              <a:cxn ang="0">
                <a:pos x="connsiteX0" y="connsiteY0"/>
              </a:cxn>
              <a:cxn ang="0">
                <a:pos x="connsiteX1" y="connsiteY1"/>
              </a:cxn>
              <a:cxn ang="0">
                <a:pos x="connsiteX2" y="connsiteY2"/>
              </a:cxn>
            </a:cxnLst>
            <a:rect l="l" t="t" r="r" b="b"/>
            <a:pathLst>
              <a:path w="127000" h="252412">
                <a:moveTo>
                  <a:pt x="0" y="0"/>
                </a:moveTo>
                <a:lnTo>
                  <a:pt x="127000" y="127000"/>
                </a:lnTo>
                <a:lnTo>
                  <a:pt x="1588" y="252412"/>
                </a:lnTo>
              </a:path>
            </a:pathLst>
          </a:custGeom>
          <a:noFill/>
          <a:ln w="38100" cap="rnd">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Freeform: Shape 12">
            <a:extLst>
              <a:ext uri="{FF2B5EF4-FFF2-40B4-BE49-F238E27FC236}">
                <a16:creationId xmlns:a16="http://schemas.microsoft.com/office/drawing/2014/main" id="{81706159-E86A-DABC-4D92-03FCDCA81452}"/>
              </a:ext>
            </a:extLst>
          </p:cNvPr>
          <p:cNvSpPr/>
          <p:nvPr/>
        </p:nvSpPr>
        <p:spPr>
          <a:xfrm>
            <a:off x="8039429" y="2292922"/>
            <a:ext cx="166982" cy="368247"/>
          </a:xfrm>
          <a:custGeom>
            <a:avLst/>
            <a:gdLst>
              <a:gd name="connsiteX0" fmla="*/ 0 w 127000"/>
              <a:gd name="connsiteY0" fmla="*/ 0 h 252412"/>
              <a:gd name="connsiteX1" fmla="*/ 127000 w 127000"/>
              <a:gd name="connsiteY1" fmla="*/ 127000 h 252412"/>
              <a:gd name="connsiteX2" fmla="*/ 1588 w 127000"/>
              <a:gd name="connsiteY2" fmla="*/ 252412 h 252412"/>
            </a:gdLst>
            <a:ahLst/>
            <a:cxnLst>
              <a:cxn ang="0">
                <a:pos x="connsiteX0" y="connsiteY0"/>
              </a:cxn>
              <a:cxn ang="0">
                <a:pos x="connsiteX1" y="connsiteY1"/>
              </a:cxn>
              <a:cxn ang="0">
                <a:pos x="connsiteX2" y="connsiteY2"/>
              </a:cxn>
            </a:cxnLst>
            <a:rect l="l" t="t" r="r" b="b"/>
            <a:pathLst>
              <a:path w="127000" h="252412">
                <a:moveTo>
                  <a:pt x="0" y="0"/>
                </a:moveTo>
                <a:lnTo>
                  <a:pt x="127000" y="127000"/>
                </a:lnTo>
                <a:lnTo>
                  <a:pt x="1588" y="252412"/>
                </a:lnTo>
              </a:path>
            </a:pathLst>
          </a:custGeom>
          <a:noFill/>
          <a:ln w="38100" cap="rnd">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Top Corners Rounded 13">
            <a:extLst>
              <a:ext uri="{FF2B5EF4-FFF2-40B4-BE49-F238E27FC236}">
                <a16:creationId xmlns:a16="http://schemas.microsoft.com/office/drawing/2014/main" id="{876DEC53-6E45-19D6-14C7-7FA245E1F8F7}"/>
              </a:ext>
            </a:extLst>
          </p:cNvPr>
          <p:cNvSpPr/>
          <p:nvPr/>
        </p:nvSpPr>
        <p:spPr>
          <a:xfrm>
            <a:off x="304799" y="2789809"/>
            <a:ext cx="3474720" cy="3162299"/>
          </a:xfrm>
          <a:prstGeom prst="round2SameRect">
            <a:avLst>
              <a:gd name="adj1" fmla="val 0"/>
              <a:gd name="adj2" fmla="val 377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37160" tIns="91440" rtlCol="0" anchor="t"/>
          <a:lstStyle/>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err="1">
                <a:ln>
                  <a:noFill/>
                </a:ln>
                <a:solidFill>
                  <a:srgbClr val="000000"/>
                </a:solidFill>
                <a:effectLst/>
                <a:uLnTx/>
                <a:uFillTx/>
                <a:latin typeface="Arial" panose="020B0604020202020204"/>
                <a:ea typeface="+mn-ea"/>
                <a:cs typeface="+mn-cs"/>
              </a:rPr>
              <a:t>İleri</a:t>
            </a: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1" i="0" u="none" strike="noStrike" kern="1200" cap="none" spc="0" normalizeH="0" baseline="0" noProof="0" err="1">
                <a:ln>
                  <a:noFill/>
                </a:ln>
                <a:solidFill>
                  <a:srgbClr val="000000"/>
                </a:solidFill>
                <a:effectLst/>
                <a:uLnTx/>
                <a:uFillTx/>
                <a:latin typeface="Arial" panose="020B0604020202020204"/>
                <a:ea typeface="+mn-ea"/>
                <a:cs typeface="+mn-cs"/>
              </a:rPr>
              <a:t>yaş</a:t>
            </a:r>
            <a:endParaRPr kumimoji="0" lang="tr-TR" sz="1600" b="1"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KOAH</a:t>
            </a:r>
            <a:endParaRPr kumimoji="0" lang="tr-TR" sz="1600" b="1"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err="1">
                <a:ln>
                  <a:noFill/>
                </a:ln>
                <a:solidFill>
                  <a:srgbClr val="000000"/>
                </a:solidFill>
                <a:effectLst/>
                <a:uLnTx/>
                <a:uFillTx/>
                <a:latin typeface="Arial" panose="020B0604020202020204"/>
                <a:ea typeface="+mn-ea"/>
                <a:cs typeface="+mn-cs"/>
              </a:rPr>
              <a:t>Kronik</a:t>
            </a: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1" i="0" u="none" strike="noStrike" kern="1200" cap="none" spc="0" normalizeH="0" baseline="0" noProof="0" err="1">
                <a:ln>
                  <a:noFill/>
                </a:ln>
                <a:solidFill>
                  <a:srgbClr val="000000"/>
                </a:solidFill>
                <a:effectLst/>
                <a:uLnTx/>
                <a:uFillTx/>
                <a:latin typeface="Arial" panose="020B0604020202020204"/>
                <a:ea typeface="+mn-ea"/>
                <a:cs typeface="+mn-cs"/>
              </a:rPr>
              <a:t>kalp</a:t>
            </a: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1" i="0" u="none" strike="noStrike" kern="1200" cap="none" spc="0" normalizeH="0" baseline="0" noProof="0" err="1">
                <a:ln>
                  <a:noFill/>
                </a:ln>
                <a:solidFill>
                  <a:srgbClr val="000000"/>
                </a:solidFill>
                <a:effectLst/>
                <a:uLnTx/>
                <a:uFillTx/>
                <a:latin typeface="Arial" panose="020B0604020202020204"/>
                <a:ea typeface="+mn-ea"/>
                <a:cs typeface="+mn-cs"/>
              </a:rPr>
              <a:t>yetmezliği</a:t>
            </a:r>
            <a:endParaRPr kumimoji="0" lang="tr-TR" sz="1600" b="1"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Kronik</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böbrek</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hastalığı</a:t>
            </a:r>
            <a:endParaRPr kumimoji="0" lang="tr-TR"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İ</a:t>
            </a:r>
            <a:r>
              <a:rPr kumimoji="0" lang="tr-TR" sz="1600" b="0" i="0" u="none" strike="noStrike" kern="1200" cap="none" spc="0" normalizeH="0" baseline="0" noProof="0">
                <a:ln>
                  <a:noFill/>
                </a:ln>
                <a:solidFill>
                  <a:srgbClr val="000000"/>
                </a:solidFill>
                <a:effectLst/>
                <a:uLnTx/>
                <a:uFillTx/>
                <a:latin typeface="Arial" panose="020B0604020202020204"/>
                <a:ea typeface="+mn-ea"/>
                <a:cs typeface="+mn-cs"/>
              </a:rPr>
              <a:t>nme</a:t>
            </a: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İskemik</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kalp</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hastalığı</a:t>
            </a:r>
            <a:endParaRPr kumimoji="0" lang="tr-TR"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Diyabet</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Obezite</a:t>
            </a:r>
            <a:endParaRPr kumimoji="0" lang="tr-TR"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İmmünsüpresyon</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Rectangle: Top Corners Rounded 14">
            <a:extLst>
              <a:ext uri="{FF2B5EF4-FFF2-40B4-BE49-F238E27FC236}">
                <a16:creationId xmlns:a16="http://schemas.microsoft.com/office/drawing/2014/main" id="{88719AE0-BBB5-65AE-030C-67B62D2F399D}"/>
              </a:ext>
            </a:extLst>
          </p:cNvPr>
          <p:cNvSpPr/>
          <p:nvPr/>
        </p:nvSpPr>
        <p:spPr>
          <a:xfrm>
            <a:off x="4358640" y="2789809"/>
            <a:ext cx="3474720" cy="3162299"/>
          </a:xfrm>
          <a:prstGeom prst="round2SameRect">
            <a:avLst>
              <a:gd name="adj1" fmla="val 0"/>
              <a:gd name="adj2" fmla="val 377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37160" tIns="91440" rtlCol="0" anchor="t"/>
          <a:lstStyle/>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KOAH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alevlenmesi</a:t>
            </a:r>
            <a:endParaRPr kumimoji="0" lang="tr-TR"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Kalp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yetmezliği</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alevlenmesi</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Hipoksi</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Solunum</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yetmezliği</a:t>
            </a:r>
            <a:endParaRPr kumimoji="0" lang="tr-TR"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Bakteriyel</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ko-</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enfeksiyon</a:t>
            </a:r>
            <a:endParaRPr kumimoji="0" lang="tr-TR"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Delir</a:t>
            </a:r>
            <a:r>
              <a:rPr kumimoji="0" lang="tr-TR" sz="1600" b="0" i="0" u="none" strike="noStrike" kern="1200" cap="none" spc="0" normalizeH="0" baseline="0" noProof="0">
                <a:ln>
                  <a:noFill/>
                </a:ln>
                <a:solidFill>
                  <a:srgbClr val="000000"/>
                </a:solidFill>
                <a:effectLst/>
                <a:uLnTx/>
                <a:uFillTx/>
                <a:latin typeface="Arial" panose="020B0604020202020204"/>
                <a:ea typeface="+mn-ea"/>
                <a:cs typeface="+mn-cs"/>
              </a:rPr>
              <a:t>y</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um</a:t>
            </a: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Yoğun</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bakım</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yatışı</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Akut</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iskemik</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kardiyak</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olay</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Aritmi</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Rectangle: Top Corners Rounded 15">
            <a:extLst>
              <a:ext uri="{FF2B5EF4-FFF2-40B4-BE49-F238E27FC236}">
                <a16:creationId xmlns:a16="http://schemas.microsoft.com/office/drawing/2014/main" id="{A6FADEB3-ABE8-481B-3103-990E01FA8F53}"/>
              </a:ext>
            </a:extLst>
          </p:cNvPr>
          <p:cNvSpPr/>
          <p:nvPr/>
        </p:nvSpPr>
        <p:spPr>
          <a:xfrm>
            <a:off x="8412481" y="2789809"/>
            <a:ext cx="3474720" cy="3162299"/>
          </a:xfrm>
          <a:prstGeom prst="round2SameRect">
            <a:avLst>
              <a:gd name="adj1" fmla="val 0"/>
              <a:gd name="adj2" fmla="val 377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37160" tIns="91440" rtlCol="0" anchor="t"/>
          <a:lstStyle/>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İşlev</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ve</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bağımsızlık</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kaybı</a:t>
            </a:r>
            <a:endParaRPr kumimoji="0" lang="tr-TR"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Yorgunluk</a:t>
            </a:r>
            <a:endParaRPr kumimoji="0" lang="tr-TR"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Akciğer</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fonksiyonlarında</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bozulma</a:t>
            </a:r>
            <a:endParaRPr kumimoji="0" lang="tr-TR"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Kardiyak</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fonksiyonda</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bozulma</a:t>
            </a:r>
            <a:endParaRPr kumimoji="0" lang="tr-TR"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Geç</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kardiyovasküler</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olaylar</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örneğin</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iskemik</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olaylar</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miyokard</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enfarktüsü</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veya</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aritmiler</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a:t>
            </a:r>
            <a:endParaRPr kumimoji="0" lang="tr-TR"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95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Bakteriyel</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err="1">
                <a:ln>
                  <a:noFill/>
                </a:ln>
                <a:solidFill>
                  <a:srgbClr val="000000"/>
                </a:solidFill>
                <a:effectLst/>
                <a:uLnTx/>
                <a:uFillTx/>
                <a:latin typeface="Arial" panose="020B0604020202020204"/>
                <a:ea typeface="+mn-ea"/>
                <a:cs typeface="+mn-cs"/>
              </a:rPr>
              <a:t>enfeksiyon</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533" name="Graphic 532">
            <a:extLst>
              <a:ext uri="{FF2B5EF4-FFF2-40B4-BE49-F238E27FC236}">
                <a16:creationId xmlns:a16="http://schemas.microsoft.com/office/drawing/2014/main" id="{5C5F7AA1-A90D-BF9B-4685-08B799226F31}"/>
              </a:ext>
            </a:extLst>
          </p:cNvPr>
          <p:cNvPicPr>
            <a:picLocks/>
          </p:cNvPicPr>
          <p:nvPr/>
        </p:nvPicPr>
        <p:blipFill>
          <a:blip r:embed="rId3" cstate="print">
            <a:extLst>
              <a:ext uri="{96DAC541-7B7A-43D3-8B79-37D633B846F1}">
                <asvg:svgBlip xmlns:asvg="http://schemas.microsoft.com/office/drawing/2016/SVG/main" r:embed="rId4"/>
              </a:ext>
            </a:extLst>
          </a:blip>
          <a:stretch>
            <a:fillRect/>
          </a:stretch>
        </p:blipFill>
        <p:spPr>
          <a:xfrm>
            <a:off x="5711032" y="1378415"/>
            <a:ext cx="769937" cy="769937"/>
          </a:xfrm>
          <a:prstGeom prst="rect">
            <a:avLst/>
          </a:prstGeom>
        </p:spPr>
      </p:pic>
      <p:pic>
        <p:nvPicPr>
          <p:cNvPr id="534" name="Graphic 533">
            <a:extLst>
              <a:ext uri="{FF2B5EF4-FFF2-40B4-BE49-F238E27FC236}">
                <a16:creationId xmlns:a16="http://schemas.microsoft.com/office/drawing/2014/main" id="{828BB839-370F-6FA2-7D87-E5ED1041C8F2}"/>
              </a:ext>
            </a:extLst>
          </p:cNvPr>
          <p:cNvPicPr>
            <a:picLocks/>
          </p:cNvPicPr>
          <p:nvPr/>
        </p:nvPicPr>
        <p:blipFill>
          <a:blip r:embed="rId5" cstate="print">
            <a:extLst>
              <a:ext uri="{96DAC541-7B7A-43D3-8B79-37D633B846F1}">
                <asvg:svgBlip xmlns:asvg="http://schemas.microsoft.com/office/drawing/2016/SVG/main" r:embed="rId6"/>
              </a:ext>
            </a:extLst>
          </a:blip>
          <a:stretch>
            <a:fillRect/>
          </a:stretch>
        </p:blipFill>
        <p:spPr>
          <a:xfrm>
            <a:off x="9730741" y="1337776"/>
            <a:ext cx="838200" cy="838200"/>
          </a:xfrm>
          <a:prstGeom prst="rect">
            <a:avLst/>
          </a:prstGeom>
        </p:spPr>
      </p:pic>
      <p:pic>
        <p:nvPicPr>
          <p:cNvPr id="537" name="Graphic 536">
            <a:extLst>
              <a:ext uri="{FF2B5EF4-FFF2-40B4-BE49-F238E27FC236}">
                <a16:creationId xmlns:a16="http://schemas.microsoft.com/office/drawing/2014/main" id="{5245C67F-5566-7EA1-8B5C-B5B24C31698C}"/>
              </a:ext>
            </a:extLst>
          </p:cNvPr>
          <p:cNvPicPr>
            <a:picLocks/>
          </p:cNvPicPr>
          <p:nvPr/>
        </p:nvPicPr>
        <p:blipFill>
          <a:blip r:embed="rId7" cstate="print">
            <a:extLst>
              <a:ext uri="{96DAC541-7B7A-43D3-8B79-37D633B846F1}">
                <asvg:svgBlip xmlns:asvg="http://schemas.microsoft.com/office/drawing/2016/SVG/main" r:embed="rId8"/>
              </a:ext>
            </a:extLst>
          </a:blip>
          <a:stretch>
            <a:fillRect/>
          </a:stretch>
        </p:blipFill>
        <p:spPr>
          <a:xfrm>
            <a:off x="1601894" y="1295442"/>
            <a:ext cx="880533" cy="880533"/>
          </a:xfrm>
          <a:prstGeom prst="rect">
            <a:avLst/>
          </a:prstGeom>
        </p:spPr>
      </p:pic>
      <p:pic>
        <p:nvPicPr>
          <p:cNvPr id="3" name="Picture 2" descr="A black and blue logo&#10;&#10;AI-generated content may be incorrect.">
            <a:extLst>
              <a:ext uri="{FF2B5EF4-FFF2-40B4-BE49-F238E27FC236}">
                <a16:creationId xmlns:a16="http://schemas.microsoft.com/office/drawing/2014/main" id="{7911BC87-EDDE-CB47-5A67-51C49CD540E3}"/>
              </a:ext>
            </a:extLst>
          </p:cNvPr>
          <p:cNvPicPr>
            <a:picLocks noChangeAspect="1"/>
          </p:cNvPicPr>
          <p:nvPr/>
        </p:nvPicPr>
        <p:blipFill>
          <a:blip r:embed="rId9"/>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31005220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63EB58-3DC3-1E3B-5353-FE6E047C2DE0}"/>
            </a:ext>
          </a:extLst>
        </p:cNvPr>
        <p:cNvGrpSpPr/>
        <p:nvPr/>
      </p:nvGrpSpPr>
      <p:grpSpPr>
        <a:xfrm>
          <a:off x="0" y="0"/>
          <a:ext cx="0" cy="0"/>
          <a:chOff x="0" y="0"/>
          <a:chExt cx="0" cy="0"/>
        </a:xfrm>
      </p:grpSpPr>
      <p:sp>
        <p:nvSpPr>
          <p:cNvPr id="9" name="Text Placeholder 4">
            <a:extLst>
              <a:ext uri="{FF2B5EF4-FFF2-40B4-BE49-F238E27FC236}">
                <a16:creationId xmlns:a16="http://schemas.microsoft.com/office/drawing/2014/main" id="{9EBA2A9A-6587-591D-494E-70809926DF85}"/>
              </a:ext>
            </a:extLst>
          </p:cNvPr>
          <p:cNvSpPr txBox="1">
            <a:spLocks/>
          </p:cNvSpPr>
          <p:nvPr/>
        </p:nvSpPr>
        <p:spPr bwMode="gray">
          <a:xfrm>
            <a:off x="621058" y="1335505"/>
            <a:ext cx="7999445" cy="938719"/>
          </a:xfrm>
          <a:prstGeom prst="rect">
            <a:avLst/>
          </a:prstGeom>
          <a:solidFill>
            <a:schemeClr val="bg1"/>
          </a:solidFill>
          <a:effectLst>
            <a:outerShdw dist="12700" dir="16200000" rotWithShape="0">
              <a:schemeClr val="bg2">
                <a:lumMod val="90000"/>
              </a:schemeClr>
            </a:outerShdw>
          </a:effectLst>
        </p:spPr>
        <p:txBody>
          <a:bodyPr wrap="square" lIns="0" tIns="73152" rIns="0">
            <a:spAutoFit/>
          </a:bodyPr>
          <a:lstStyle>
            <a:defPPr>
              <a:defRPr lang="en-US"/>
            </a:defPPr>
            <a:lvl1pPr defTabSz="914400">
              <a:lnSpc>
                <a:spcPct val="95000"/>
              </a:lnSpc>
              <a:defRPr sz="1700" b="1">
                <a:solidFill>
                  <a:schemeClr val="accent2"/>
                </a:solidFill>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a:ln>
                  <a:noFill/>
                </a:ln>
                <a:solidFill>
                  <a:srgbClr val="1CADE4"/>
                </a:solidFill>
                <a:effectLst/>
                <a:uLnTx/>
                <a:uFillTx/>
                <a:latin typeface="Arial" panose="020B0604020202020204"/>
                <a:ea typeface="+mn-ea"/>
                <a:cs typeface="+mn-cs"/>
              </a:rPr>
              <a:t>≥60 </a:t>
            </a:r>
            <a:r>
              <a:rPr kumimoji="0" lang="en-US" sz="1600" b="1" i="0" u="none" strike="noStrike" kern="1200" cap="none" spc="0" normalizeH="0" baseline="0" noProof="0" err="1">
                <a:ln>
                  <a:noFill/>
                </a:ln>
                <a:solidFill>
                  <a:srgbClr val="1CADE4"/>
                </a:solidFill>
                <a:effectLst/>
                <a:uLnTx/>
                <a:uFillTx/>
                <a:latin typeface="Arial" panose="020B0604020202020204"/>
                <a:ea typeface="+mn-ea"/>
                <a:cs typeface="+mn-cs"/>
              </a:rPr>
              <a:t>Yaş</a:t>
            </a:r>
            <a:r>
              <a:rPr kumimoji="0" lang="en-US" sz="1600" b="1" i="0" u="none" strike="noStrike" kern="1200" cap="none" spc="0" normalizeH="0" baseline="0" noProof="0">
                <a:ln>
                  <a:noFill/>
                </a:ln>
                <a:solidFill>
                  <a:srgbClr val="1CADE4"/>
                </a:solidFill>
                <a:effectLst/>
                <a:uLnTx/>
                <a:uFillTx/>
                <a:latin typeface="Arial" panose="020B0604020202020204"/>
                <a:ea typeface="+mn-ea"/>
                <a:cs typeface="+mn-cs"/>
              </a:rPr>
              <a:t> </a:t>
            </a:r>
            <a:r>
              <a:rPr kumimoji="0" lang="en-US" sz="1600" b="1" i="0" u="none" strike="noStrike" kern="1200" cap="none" spc="0" normalizeH="0" baseline="0" noProof="0" err="1">
                <a:ln>
                  <a:noFill/>
                </a:ln>
                <a:solidFill>
                  <a:srgbClr val="1CADE4"/>
                </a:solidFill>
                <a:effectLst/>
                <a:uLnTx/>
                <a:uFillTx/>
                <a:latin typeface="Arial" panose="020B0604020202020204"/>
                <a:ea typeface="+mn-ea"/>
                <a:cs typeface="+mn-cs"/>
              </a:rPr>
              <a:t>Bireyler</a:t>
            </a:r>
            <a:r>
              <a:rPr kumimoji="0" lang="en-US" sz="1600" b="1" i="0" u="none" strike="noStrike" kern="1200" cap="none" spc="0" normalizeH="0" baseline="0" noProof="0">
                <a:ln>
                  <a:noFill/>
                </a:ln>
                <a:solidFill>
                  <a:srgbClr val="1CADE4"/>
                </a:solidFill>
                <a:effectLst/>
                <a:uLnTx/>
                <a:uFillTx/>
                <a:latin typeface="Arial" panose="020B0604020202020204"/>
                <a:ea typeface="+mn-ea"/>
                <a:cs typeface="+mn-cs"/>
              </a:rPr>
              <a:t> </a:t>
            </a:r>
            <a:r>
              <a:rPr kumimoji="0" lang="en-US" sz="1600" b="1" i="0" u="none" strike="noStrike" kern="1200" cap="none" spc="0" normalizeH="0" baseline="0" noProof="0" err="1">
                <a:ln>
                  <a:noFill/>
                </a:ln>
                <a:solidFill>
                  <a:srgbClr val="1CADE4"/>
                </a:solidFill>
                <a:effectLst/>
                <a:uLnTx/>
                <a:uFillTx/>
                <a:latin typeface="Arial" panose="020B0604020202020204"/>
                <a:ea typeface="+mn-ea"/>
                <a:cs typeface="+mn-cs"/>
              </a:rPr>
              <a:t>Arasında</a:t>
            </a:r>
            <a:r>
              <a:rPr kumimoji="0" lang="en-US" sz="1600" b="1" i="0" u="none" strike="noStrike" kern="1200" cap="none" spc="0" normalizeH="0" baseline="0" noProof="0">
                <a:ln>
                  <a:noFill/>
                </a:ln>
                <a:solidFill>
                  <a:srgbClr val="1CADE4"/>
                </a:solidFill>
                <a:effectLst/>
                <a:uLnTx/>
                <a:uFillTx/>
                <a:latin typeface="Arial" panose="020B0604020202020204"/>
                <a:ea typeface="+mn-ea"/>
                <a:cs typeface="+mn-cs"/>
              </a:rPr>
              <a:t> RSV </a:t>
            </a:r>
            <a:r>
              <a:rPr kumimoji="0" lang="en-US" sz="1600" b="1" i="0" u="none" strike="noStrike" kern="1200" cap="none" spc="0" normalizeH="0" baseline="0" noProof="0" err="1">
                <a:ln>
                  <a:noFill/>
                </a:ln>
                <a:solidFill>
                  <a:srgbClr val="1CADE4"/>
                </a:solidFill>
                <a:effectLst/>
                <a:uLnTx/>
                <a:uFillTx/>
                <a:latin typeface="Arial" panose="020B0604020202020204"/>
                <a:ea typeface="+mn-ea"/>
                <a:cs typeface="+mn-cs"/>
              </a:rPr>
              <a:t>Tanısı</a:t>
            </a:r>
            <a:r>
              <a:rPr kumimoji="0" lang="en-US" sz="1600" b="1" i="0" u="none" strike="noStrike" kern="1200" cap="none" spc="0" normalizeH="0" baseline="0" noProof="0">
                <a:ln>
                  <a:noFill/>
                </a:ln>
                <a:solidFill>
                  <a:srgbClr val="1CADE4"/>
                </a:solidFill>
                <a:effectLst/>
                <a:uLnTx/>
                <a:uFillTx/>
                <a:latin typeface="Arial" panose="020B0604020202020204"/>
                <a:ea typeface="+mn-ea"/>
                <a:cs typeface="+mn-cs"/>
              </a:rPr>
              <a:t> </a:t>
            </a:r>
            <a:r>
              <a:rPr kumimoji="0" lang="en-US" sz="1600" b="1" i="0" u="none" strike="noStrike" kern="1200" cap="none" spc="0" normalizeH="0" baseline="0" noProof="0" err="1">
                <a:ln>
                  <a:noFill/>
                </a:ln>
                <a:solidFill>
                  <a:srgbClr val="1CADE4"/>
                </a:solidFill>
                <a:effectLst/>
                <a:uLnTx/>
                <a:uFillTx/>
                <a:latin typeface="Arial" panose="020B0604020202020204"/>
                <a:ea typeface="+mn-ea"/>
                <a:cs typeface="+mn-cs"/>
              </a:rPr>
              <a:t>Sırasında</a:t>
            </a:r>
            <a:r>
              <a:rPr kumimoji="0" lang="en-US" sz="1600" b="1" i="0" u="none" strike="noStrike" kern="1200" cap="none" spc="0" normalizeH="0" baseline="0" noProof="0">
                <a:ln>
                  <a:noFill/>
                </a:ln>
                <a:solidFill>
                  <a:srgbClr val="1CADE4"/>
                </a:solidFill>
                <a:effectLst/>
                <a:uLnTx/>
                <a:uFillTx/>
                <a:latin typeface="Arial" panose="020B0604020202020204"/>
                <a:ea typeface="+mn-ea"/>
                <a:cs typeface="+mn-cs"/>
              </a:rPr>
              <a:t> </a:t>
            </a:r>
            <a:r>
              <a:rPr kumimoji="0" lang="en-US" sz="1600" b="1" i="0" u="none" strike="noStrike" kern="1200" cap="none" spc="0" normalizeH="0" baseline="0" noProof="0" err="1">
                <a:ln>
                  <a:noFill/>
                </a:ln>
                <a:solidFill>
                  <a:srgbClr val="1CADE4"/>
                </a:solidFill>
                <a:effectLst/>
                <a:uLnTx/>
                <a:uFillTx/>
                <a:latin typeface="Arial" panose="020B0604020202020204"/>
                <a:ea typeface="+mn-ea"/>
                <a:cs typeface="+mn-cs"/>
              </a:rPr>
              <a:t>ve</a:t>
            </a:r>
            <a:r>
              <a:rPr kumimoji="0" lang="en-US" sz="1600" b="1" i="0" u="none" strike="noStrike" kern="1200" cap="none" spc="0" normalizeH="0" baseline="0" noProof="0">
                <a:ln>
                  <a:noFill/>
                </a:ln>
                <a:solidFill>
                  <a:srgbClr val="1CADE4"/>
                </a:solidFill>
                <a:effectLst/>
                <a:uLnTx/>
                <a:uFillTx/>
                <a:latin typeface="Arial" panose="020B0604020202020204"/>
                <a:ea typeface="+mn-ea"/>
                <a:cs typeface="+mn-cs"/>
              </a:rPr>
              <a:t> </a:t>
            </a:r>
            <a:r>
              <a:rPr kumimoji="0" lang="en-US" sz="1600" b="1" i="0" u="none" strike="noStrike" kern="1200" cap="none" spc="0" normalizeH="0" baseline="0" noProof="0" err="1">
                <a:ln>
                  <a:noFill/>
                </a:ln>
                <a:solidFill>
                  <a:srgbClr val="1CADE4"/>
                </a:solidFill>
                <a:effectLst/>
                <a:uLnTx/>
                <a:uFillTx/>
                <a:latin typeface="Arial" panose="020B0604020202020204"/>
                <a:ea typeface="+mn-ea"/>
                <a:cs typeface="+mn-cs"/>
              </a:rPr>
              <a:t>Sonrasında</a:t>
            </a:r>
            <a:r>
              <a:rPr kumimoji="0" lang="en-US" sz="1600" b="1" i="0" u="none" strike="noStrike" kern="1200" cap="none" spc="0" normalizeH="0" baseline="0" noProof="0">
                <a:ln>
                  <a:noFill/>
                </a:ln>
                <a:solidFill>
                  <a:srgbClr val="1CADE4"/>
                </a:solidFill>
                <a:effectLst/>
                <a:uLnTx/>
                <a:uFillTx/>
                <a:latin typeface="Arial" panose="020B0604020202020204"/>
                <a:ea typeface="+mn-ea"/>
                <a:cs typeface="+mn-cs"/>
              </a:rPr>
              <a:t> </a:t>
            </a:r>
            <a:endParaRPr kumimoji="0" lang="tr-TR" sz="1600" b="1" i="0" u="none" strike="noStrike" kern="1200" cap="none" spc="0" normalizeH="0" baseline="0" noProof="0">
              <a:ln>
                <a:noFill/>
              </a:ln>
              <a:solidFill>
                <a:srgbClr val="1CADE4"/>
              </a:solidFill>
              <a:effectLst/>
              <a:uLnTx/>
              <a:uFillTx/>
              <a:latin typeface="Arial" panose="020B0604020202020204"/>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a:ln>
                  <a:noFill/>
                </a:ln>
                <a:solidFill>
                  <a:srgbClr val="1CADE4"/>
                </a:solidFill>
                <a:effectLst/>
                <a:uLnTx/>
                <a:uFillTx/>
                <a:latin typeface="Arial" panose="020B0604020202020204"/>
                <a:ea typeface="+mn-ea"/>
                <a:cs typeface="+mn-cs"/>
              </a:rPr>
              <a:t>6 Aya Kadar RSV </a:t>
            </a:r>
            <a:r>
              <a:rPr kumimoji="0" lang="en-US" sz="1600" b="1" i="0" u="none" strike="noStrike" kern="1200" cap="none" spc="0" normalizeH="0" baseline="0" noProof="0" err="1">
                <a:ln>
                  <a:noFill/>
                </a:ln>
                <a:solidFill>
                  <a:srgbClr val="1CADE4"/>
                </a:solidFill>
                <a:effectLst/>
                <a:uLnTx/>
                <a:uFillTx/>
                <a:latin typeface="Arial" panose="020B0604020202020204"/>
                <a:ea typeface="+mn-ea"/>
                <a:cs typeface="+mn-cs"/>
              </a:rPr>
              <a:t>ile</a:t>
            </a:r>
            <a:r>
              <a:rPr kumimoji="0" lang="en-US" sz="1600" b="1" i="0" u="none" strike="noStrike" kern="1200" cap="none" spc="0" normalizeH="0" baseline="0" noProof="0">
                <a:ln>
                  <a:noFill/>
                </a:ln>
                <a:solidFill>
                  <a:srgbClr val="1CADE4"/>
                </a:solidFill>
                <a:effectLst/>
                <a:uLnTx/>
                <a:uFillTx/>
                <a:latin typeface="Arial" panose="020B0604020202020204"/>
                <a:ea typeface="+mn-ea"/>
                <a:cs typeface="+mn-cs"/>
              </a:rPr>
              <a:t> </a:t>
            </a:r>
            <a:r>
              <a:rPr kumimoji="0" lang="en-US" sz="1600" b="1" i="0" u="none" strike="noStrike" kern="1200" cap="none" spc="0" normalizeH="0" baseline="0" noProof="0" err="1">
                <a:ln>
                  <a:noFill/>
                </a:ln>
                <a:solidFill>
                  <a:srgbClr val="1CADE4"/>
                </a:solidFill>
                <a:effectLst/>
                <a:uLnTx/>
                <a:uFillTx/>
                <a:latin typeface="Arial" panose="020B0604020202020204"/>
                <a:ea typeface="+mn-ea"/>
                <a:cs typeface="+mn-cs"/>
              </a:rPr>
              <a:t>İlişkili</a:t>
            </a:r>
            <a:r>
              <a:rPr kumimoji="0" lang="en-US" sz="1600" b="1" i="0" u="none" strike="noStrike" kern="1200" cap="none" spc="0" normalizeH="0" baseline="0" noProof="0">
                <a:ln>
                  <a:noFill/>
                </a:ln>
                <a:solidFill>
                  <a:srgbClr val="1CADE4"/>
                </a:solidFill>
                <a:effectLst/>
                <a:uLnTx/>
                <a:uFillTx/>
                <a:latin typeface="Arial" panose="020B0604020202020204"/>
                <a:ea typeface="+mn-ea"/>
                <a:cs typeface="+mn-cs"/>
              </a:rPr>
              <a:t> </a:t>
            </a:r>
            <a:r>
              <a:rPr kumimoji="0" lang="en-US" sz="1600" b="1" i="0" u="none" strike="noStrike" kern="1200" cap="none" spc="0" normalizeH="0" baseline="0" noProof="0" err="1">
                <a:ln>
                  <a:noFill/>
                </a:ln>
                <a:solidFill>
                  <a:srgbClr val="1CADE4"/>
                </a:solidFill>
                <a:effectLst/>
                <a:uLnTx/>
                <a:uFillTx/>
                <a:latin typeface="Arial" panose="020B0604020202020204"/>
                <a:ea typeface="+mn-ea"/>
                <a:cs typeface="+mn-cs"/>
              </a:rPr>
              <a:t>Komplikasyonlar</a:t>
            </a:r>
            <a:br>
              <a:rPr kumimoji="0" lang="en-US" sz="1600" b="1" i="0" u="none" strike="noStrike" kern="1200" cap="none" spc="0" normalizeH="0" baseline="0" noProof="0">
                <a:ln>
                  <a:noFill/>
                </a:ln>
                <a:solidFill>
                  <a:srgbClr val="0095FF"/>
                </a:solidFill>
                <a:effectLst/>
                <a:uLnTx/>
                <a:uFillTx/>
                <a:latin typeface="Arial" panose="020B0604020202020204"/>
                <a:ea typeface="+mn-ea"/>
                <a:cs typeface="+mn-cs"/>
              </a:rPr>
            </a:b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Amerika </a:t>
            </a:r>
            <a:r>
              <a:rPr kumimoji="0" lang="en-US" sz="1200" b="0" i="0" u="none" strike="noStrike" kern="1200" cap="none" spc="0" normalizeH="0" baseline="0" noProof="0" err="1">
                <a:ln>
                  <a:noFill/>
                </a:ln>
                <a:solidFill>
                  <a:srgbClr val="000000"/>
                </a:solidFill>
                <a:effectLst/>
                <a:uLnTx/>
                <a:uFillTx/>
                <a:latin typeface="Arial" panose="020B0604020202020204"/>
                <a:ea typeface="+mn-ea"/>
                <a:cs typeface="+mn-cs"/>
              </a:rPr>
              <a:t>Birleşik</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200" b="0" i="0" u="none" strike="noStrike" kern="1200" cap="none" spc="0" normalizeH="0" baseline="0" noProof="0" err="1">
                <a:ln>
                  <a:noFill/>
                </a:ln>
                <a:solidFill>
                  <a:srgbClr val="000000"/>
                </a:solidFill>
                <a:effectLst/>
                <a:uLnTx/>
                <a:uFillTx/>
                <a:latin typeface="Arial" panose="020B0604020202020204"/>
                <a:ea typeface="+mn-ea"/>
                <a:cs typeface="+mn-cs"/>
              </a:rPr>
              <a:t>Devletleri</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 2007-2019</a:t>
            </a:r>
          </a:p>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B55FC437-2317-027B-22A1-F06B237A5FB0}"/>
              </a:ext>
            </a:extLst>
          </p:cNvPr>
          <p:cNvSpPr>
            <a:spLocks noGrp="1"/>
          </p:cNvSpPr>
          <p:nvPr>
            <p:ph type="title"/>
          </p:nvPr>
        </p:nvSpPr>
        <p:spPr/>
        <p:txBody>
          <a:bodyPr>
            <a:normAutofit/>
          </a:bodyPr>
          <a:lstStyle/>
          <a:p>
            <a:r>
              <a:rPr lang="en-US" sz="2400" dirty="0" err="1"/>
              <a:t>Tıbbi</a:t>
            </a:r>
            <a:r>
              <a:rPr lang="en-US" sz="2400" dirty="0"/>
              <a:t> </a:t>
            </a:r>
            <a:r>
              <a:rPr lang="en-US" sz="2400" dirty="0" err="1"/>
              <a:t>gözetim</a:t>
            </a:r>
            <a:r>
              <a:rPr lang="en-US" sz="2400" dirty="0"/>
              <a:t> </a:t>
            </a:r>
            <a:r>
              <a:rPr lang="en-US" sz="2400" dirty="0" err="1"/>
              <a:t>altında</a:t>
            </a:r>
            <a:r>
              <a:rPr lang="en-US" sz="2400" dirty="0"/>
              <a:t> RSV </a:t>
            </a:r>
            <a:r>
              <a:rPr lang="en-US" sz="2400" dirty="0" err="1"/>
              <a:t>enfeksiyonu</a:t>
            </a:r>
            <a:r>
              <a:rPr lang="en-US" sz="2400" dirty="0"/>
              <a:t> </a:t>
            </a:r>
            <a:r>
              <a:rPr lang="en-US" sz="2400" dirty="0" err="1"/>
              <a:t>geçiren</a:t>
            </a:r>
            <a:r>
              <a:rPr lang="en-US" sz="2400" dirty="0"/>
              <a:t> </a:t>
            </a:r>
            <a:r>
              <a:rPr lang="en-US" sz="2400" dirty="0" err="1"/>
              <a:t>hastaların</a:t>
            </a:r>
            <a:r>
              <a:rPr lang="en-US" sz="2400" dirty="0"/>
              <a:t> </a:t>
            </a:r>
            <a:r>
              <a:rPr lang="en-US" sz="2400" dirty="0" err="1"/>
              <a:t>neredeyse</a:t>
            </a:r>
            <a:r>
              <a:rPr lang="en-US" sz="2400" dirty="0"/>
              <a:t> </a:t>
            </a:r>
            <a:r>
              <a:rPr lang="en-US" sz="2400" dirty="0" err="1"/>
              <a:t>yarısı</a:t>
            </a:r>
            <a:r>
              <a:rPr lang="en-US" sz="2400" dirty="0"/>
              <a:t>, </a:t>
            </a:r>
            <a:r>
              <a:rPr lang="en-US" sz="2400" dirty="0" err="1"/>
              <a:t>tanı</a:t>
            </a:r>
            <a:r>
              <a:rPr lang="en-US" sz="2400" dirty="0"/>
              <a:t> </a:t>
            </a:r>
            <a:r>
              <a:rPr lang="en-US" sz="2400" dirty="0" err="1"/>
              <a:t>konulduktan</a:t>
            </a:r>
            <a:r>
              <a:rPr lang="en-US" sz="2400" dirty="0"/>
              <a:t> </a:t>
            </a:r>
            <a:r>
              <a:rPr lang="en-US" sz="2400" dirty="0" err="1"/>
              <a:t>sonraki</a:t>
            </a:r>
            <a:r>
              <a:rPr lang="en-US" sz="2400" dirty="0"/>
              <a:t> 1 ay </a:t>
            </a:r>
            <a:r>
              <a:rPr lang="en-US" sz="2400" dirty="0" err="1"/>
              <a:t>içinde</a:t>
            </a:r>
            <a:r>
              <a:rPr lang="en-US" sz="2400" dirty="0"/>
              <a:t> RSV </a:t>
            </a:r>
            <a:r>
              <a:rPr lang="en-US" sz="2400" dirty="0" err="1"/>
              <a:t>ile</a:t>
            </a:r>
            <a:r>
              <a:rPr lang="en-US" sz="2400" dirty="0"/>
              <a:t> </a:t>
            </a:r>
            <a:r>
              <a:rPr lang="en-US" sz="2400" dirty="0" err="1"/>
              <a:t>ilişkili</a:t>
            </a:r>
            <a:r>
              <a:rPr lang="en-US" sz="2400" dirty="0"/>
              <a:t> </a:t>
            </a:r>
            <a:r>
              <a:rPr lang="en-US" sz="2400" dirty="0" err="1"/>
              <a:t>komplikasyonlar</a:t>
            </a:r>
            <a:r>
              <a:rPr lang="en-US" sz="2400" dirty="0"/>
              <a:t> </a:t>
            </a:r>
            <a:r>
              <a:rPr lang="en-US" sz="2400" dirty="0" err="1"/>
              <a:t>yaşamıştır</a:t>
            </a:r>
            <a:endParaRPr lang="en-US" sz="2400" dirty="0"/>
          </a:p>
        </p:txBody>
      </p:sp>
      <p:sp>
        <p:nvSpPr>
          <p:cNvPr id="4" name="Slide Number Placeholder 3">
            <a:extLst>
              <a:ext uri="{FF2B5EF4-FFF2-40B4-BE49-F238E27FC236}">
                <a16:creationId xmlns:a16="http://schemas.microsoft.com/office/drawing/2014/main" id="{B77018AC-7CC8-B2B8-17F0-70772F4F0EEC}"/>
              </a:ext>
            </a:extLst>
          </p:cNvPr>
          <p:cNvSpPr>
            <a:spLocks noGrp="1"/>
          </p:cNvSpPr>
          <p:nvPr>
            <p:ph type="sldNum" sz="quarter" idx="4"/>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8C13A29A-185B-4182-9583-7B13F1AC164D}" type="slidenum">
              <a:rPr kumimoji="0" lang="en-US" sz="900" b="0" i="0" u="none" strike="noStrike" kern="1200" cap="none" spc="0" normalizeH="0" baseline="0" noProof="0" smtClean="0">
                <a:ln>
                  <a:noFill/>
                </a:ln>
                <a:solidFill>
                  <a:srgbClr val="000000">
                    <a:tint val="82000"/>
                  </a:srgbClr>
                </a:solidFill>
                <a:effectLst/>
                <a:uLnTx/>
                <a:uFillTx/>
                <a:latin typeface="Arial" panose="020B0604020202020204"/>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a:ln>
                <a:noFill/>
              </a:ln>
              <a:solidFill>
                <a:srgbClr val="000000">
                  <a:tint val="82000"/>
                </a:srgbClr>
              </a:solidFill>
              <a:effectLst/>
              <a:uLnTx/>
              <a:uFillTx/>
              <a:latin typeface="Arial" panose="020B0604020202020204"/>
              <a:ea typeface="+mn-ea"/>
              <a:cs typeface="+mn-cs"/>
            </a:endParaRPr>
          </a:p>
        </p:txBody>
      </p:sp>
      <p:sp>
        <p:nvSpPr>
          <p:cNvPr id="3" name="Text Placeholder 2">
            <a:extLst>
              <a:ext uri="{FF2B5EF4-FFF2-40B4-BE49-F238E27FC236}">
                <a16:creationId xmlns:a16="http://schemas.microsoft.com/office/drawing/2014/main" id="{F042E34F-B24E-CC4A-3D34-DF15CF7EA0D9}"/>
              </a:ext>
            </a:extLst>
          </p:cNvPr>
          <p:cNvSpPr>
            <a:spLocks noGrp="1"/>
          </p:cNvSpPr>
          <p:nvPr>
            <p:ph type="body" sz="quarter" idx="4294967295"/>
          </p:nvPr>
        </p:nvSpPr>
        <p:spPr>
          <a:xfrm>
            <a:off x="0" y="6308725"/>
            <a:ext cx="10215563" cy="358775"/>
          </a:xfrm>
        </p:spPr>
        <p:txBody>
          <a:bodyPr>
            <a:normAutofit fontScale="40000" lnSpcReduction="20000"/>
          </a:bodyPr>
          <a:lstStyle/>
          <a:p>
            <a:r>
              <a:rPr lang="en-US" b="0" i="0">
                <a:effectLst/>
                <a:highlight>
                  <a:srgbClr val="FFFFFF"/>
                </a:highlight>
              </a:rPr>
              <a:t>RTI=</a:t>
            </a:r>
            <a:r>
              <a:rPr lang="en-US" b="0" i="0" err="1">
                <a:effectLst/>
                <a:highlight>
                  <a:srgbClr val="FFFFFF"/>
                </a:highlight>
              </a:rPr>
              <a:t>solunum</a:t>
            </a:r>
            <a:r>
              <a:rPr lang="en-US" b="0" i="0">
                <a:effectLst/>
                <a:highlight>
                  <a:srgbClr val="FFFFFF"/>
                </a:highlight>
              </a:rPr>
              <a:t> </a:t>
            </a:r>
            <a:r>
              <a:rPr lang="en-US" b="0" i="0" err="1">
                <a:effectLst/>
                <a:highlight>
                  <a:srgbClr val="FFFFFF"/>
                </a:highlight>
              </a:rPr>
              <a:t>yolu</a:t>
            </a:r>
            <a:r>
              <a:rPr lang="en-US" b="0" i="0">
                <a:effectLst/>
                <a:highlight>
                  <a:srgbClr val="FFFFFF"/>
                </a:highlight>
              </a:rPr>
              <a:t> </a:t>
            </a:r>
            <a:r>
              <a:rPr lang="en-US" b="0" i="0" err="1">
                <a:effectLst/>
                <a:highlight>
                  <a:srgbClr val="FFFFFF"/>
                </a:highlight>
              </a:rPr>
              <a:t>enfeksiyonu</a:t>
            </a:r>
            <a:r>
              <a:rPr lang="en-US" b="0" i="0">
                <a:effectLst/>
                <a:highlight>
                  <a:srgbClr val="FFFFFF"/>
                </a:highlight>
              </a:rPr>
              <a:t>.</a:t>
            </a:r>
          </a:p>
          <a:p>
            <a:r>
              <a:rPr lang="en-US" b="0" i="0" err="1">
                <a:effectLst/>
                <a:highlight>
                  <a:srgbClr val="FFFFFF"/>
                </a:highlight>
              </a:rPr>
              <a:t>DeMartino</a:t>
            </a:r>
            <a:r>
              <a:rPr lang="en-US" b="0" i="0">
                <a:effectLst/>
                <a:highlight>
                  <a:srgbClr val="FFFFFF"/>
                </a:highlight>
              </a:rPr>
              <a:t> JK, et al. </a:t>
            </a:r>
            <a:r>
              <a:rPr lang="en-US" b="0" i="1">
                <a:effectLst/>
                <a:highlight>
                  <a:srgbClr val="FFFFFF"/>
                </a:highlight>
              </a:rPr>
              <a:t>Open Forum Infect Dis</a:t>
            </a:r>
            <a:r>
              <a:rPr lang="en-US" b="0" i="0">
                <a:effectLst/>
                <a:highlight>
                  <a:srgbClr val="FFFFFF"/>
                </a:highlight>
              </a:rPr>
              <a:t>. 2023;10:ofad203. </a:t>
            </a:r>
            <a:endParaRPr lang="en-US"/>
          </a:p>
        </p:txBody>
      </p:sp>
      <p:graphicFrame>
        <p:nvGraphicFramePr>
          <p:cNvPr id="6" name="Chart 5">
            <a:extLst>
              <a:ext uri="{FF2B5EF4-FFF2-40B4-BE49-F238E27FC236}">
                <a16:creationId xmlns:a16="http://schemas.microsoft.com/office/drawing/2014/main" id="{3D8FAD81-AABA-A50E-4906-07E5FEFC5438}"/>
              </a:ext>
            </a:extLst>
          </p:cNvPr>
          <p:cNvGraphicFramePr/>
          <p:nvPr>
            <p:extLst>
              <p:ext uri="{D42A27DB-BD31-4B8C-83A1-F6EECF244321}">
                <p14:modId xmlns:p14="http://schemas.microsoft.com/office/powerpoint/2010/main" val="1683609056"/>
              </p:ext>
            </p:extLst>
          </p:nvPr>
        </p:nvGraphicFramePr>
        <p:xfrm>
          <a:off x="621058" y="2082195"/>
          <a:ext cx="9243391" cy="40670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Table 6">
            <a:extLst>
              <a:ext uri="{FF2B5EF4-FFF2-40B4-BE49-F238E27FC236}">
                <a16:creationId xmlns:a16="http://schemas.microsoft.com/office/drawing/2014/main" id="{9B64DB39-A364-F9B7-9501-AA81CF010D9C}"/>
              </a:ext>
            </a:extLst>
          </p:cNvPr>
          <p:cNvGraphicFramePr>
            <a:graphicFrameLocks noGrp="1"/>
          </p:cNvGraphicFramePr>
          <p:nvPr>
            <p:extLst>
              <p:ext uri="{D42A27DB-BD31-4B8C-83A1-F6EECF244321}">
                <p14:modId xmlns:p14="http://schemas.microsoft.com/office/powerpoint/2010/main" val="2081319177"/>
              </p:ext>
            </p:extLst>
          </p:nvPr>
        </p:nvGraphicFramePr>
        <p:xfrm>
          <a:off x="9596106" y="2242536"/>
          <a:ext cx="1996856" cy="3539494"/>
        </p:xfrm>
        <a:graphic>
          <a:graphicData uri="http://schemas.openxmlformats.org/drawingml/2006/table">
            <a:tbl>
              <a:tblPr firstRow="1" bandRow="1">
                <a:tableStyleId>{2D5ABB26-0587-4C30-8999-92F81FD0307C}</a:tableStyleId>
              </a:tblPr>
              <a:tblGrid>
                <a:gridCol w="1996856">
                  <a:extLst>
                    <a:ext uri="{9D8B030D-6E8A-4147-A177-3AD203B41FA5}">
                      <a16:colId xmlns:a16="http://schemas.microsoft.com/office/drawing/2014/main" val="3749515923"/>
                    </a:ext>
                  </a:extLst>
                </a:gridCol>
              </a:tblGrid>
              <a:tr h="505642">
                <a:tc>
                  <a:txBody>
                    <a:bodyPr/>
                    <a:lstStyle/>
                    <a:p>
                      <a:pPr algn="ctr"/>
                      <a:r>
                        <a:rPr lang="en-US" sz="1400" b="0">
                          <a:solidFill>
                            <a:schemeClr val="tx1"/>
                          </a:solidFill>
                        </a:rPr>
                        <a:t>1.0</a:t>
                      </a:r>
                    </a:p>
                  </a:txBody>
                  <a:tcPr anchor="ctr">
                    <a:lnL>
                      <a:noFill/>
                    </a:lnL>
                    <a:lnR>
                      <a:noFill/>
                    </a:lnR>
                    <a:lnT w="635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463756053"/>
                  </a:ext>
                </a:extLst>
              </a:tr>
              <a:tr h="505642">
                <a:tc>
                  <a:txBody>
                    <a:bodyPr/>
                    <a:lstStyle/>
                    <a:p>
                      <a:pPr algn="ctr"/>
                      <a:r>
                        <a:rPr lang="en-US" sz="1400" b="0" dirty="0">
                          <a:solidFill>
                            <a:schemeClr val="tx1"/>
                          </a:solidFill>
                        </a:rPr>
                        <a:t>1.0</a:t>
                      </a: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35345864"/>
                  </a:ext>
                </a:extLst>
              </a:tr>
              <a:tr h="505642">
                <a:tc>
                  <a:txBody>
                    <a:bodyPr/>
                    <a:lstStyle/>
                    <a:p>
                      <a:pPr algn="ctr"/>
                      <a:r>
                        <a:rPr lang="en-US" sz="1400" b="0">
                          <a:solidFill>
                            <a:schemeClr val="tx1"/>
                          </a:solidFill>
                        </a:rPr>
                        <a:t>1.2</a:t>
                      </a: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913373118"/>
                  </a:ext>
                </a:extLst>
              </a:tr>
              <a:tr h="505642">
                <a:tc>
                  <a:txBody>
                    <a:bodyPr/>
                    <a:lstStyle/>
                    <a:p>
                      <a:pPr algn="ctr"/>
                      <a:r>
                        <a:rPr lang="en-US" sz="1400" b="0">
                          <a:solidFill>
                            <a:schemeClr val="tx1"/>
                          </a:solidFill>
                        </a:rPr>
                        <a:t>1.4</a:t>
                      </a: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067036"/>
                  </a:ext>
                </a:extLst>
              </a:tr>
              <a:tr h="505642">
                <a:tc>
                  <a:txBody>
                    <a:bodyPr/>
                    <a:lstStyle/>
                    <a:p>
                      <a:pPr algn="ctr"/>
                      <a:r>
                        <a:rPr lang="en-US" sz="1400" b="0">
                          <a:solidFill>
                            <a:schemeClr val="tx1"/>
                          </a:solidFill>
                        </a:rPr>
                        <a:t>1.4</a:t>
                      </a: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24967793"/>
                  </a:ext>
                </a:extLst>
              </a:tr>
              <a:tr h="505642">
                <a:tc>
                  <a:txBody>
                    <a:bodyPr/>
                    <a:lstStyle/>
                    <a:p>
                      <a:pPr algn="ctr"/>
                      <a:r>
                        <a:rPr lang="en-US" sz="1400" b="0">
                          <a:solidFill>
                            <a:schemeClr val="tx1"/>
                          </a:solidFill>
                        </a:rPr>
                        <a:t>1.1</a:t>
                      </a: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76675635"/>
                  </a:ext>
                </a:extLst>
              </a:tr>
              <a:tr h="505642">
                <a:tc>
                  <a:txBody>
                    <a:bodyPr/>
                    <a:lstStyle/>
                    <a:p>
                      <a:pPr algn="ctr"/>
                      <a:r>
                        <a:rPr lang="en-US" sz="1400" b="0" dirty="0">
                          <a:solidFill>
                            <a:schemeClr val="tx1"/>
                          </a:solidFill>
                        </a:rPr>
                        <a:t>1.2</a:t>
                      </a: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265796647"/>
                  </a:ext>
                </a:extLst>
              </a:tr>
            </a:tbl>
          </a:graphicData>
        </a:graphic>
      </p:graphicFrame>
      <p:sp>
        <p:nvSpPr>
          <p:cNvPr id="10" name="TextBox 9">
            <a:extLst>
              <a:ext uri="{FF2B5EF4-FFF2-40B4-BE49-F238E27FC236}">
                <a16:creationId xmlns:a16="http://schemas.microsoft.com/office/drawing/2014/main" id="{B90EBA01-BF79-E3B8-2C97-420FBAFF0687}"/>
              </a:ext>
            </a:extLst>
          </p:cNvPr>
          <p:cNvSpPr txBox="1"/>
          <p:nvPr/>
        </p:nvSpPr>
        <p:spPr bwMode="gray">
          <a:xfrm>
            <a:off x="8974150" y="1353240"/>
            <a:ext cx="3217850" cy="711220"/>
          </a:xfrm>
          <a:prstGeom prst="rect">
            <a:avLst/>
          </a:prstGeom>
        </p:spPr>
        <p:txBody>
          <a:bodyPr wrap="square" lIns="45720" tIns="45720" rIns="45720" bIns="45720" rtlCol="0">
            <a:noAutofit/>
          </a:bodyPr>
          <a:lstStyle/>
          <a:p>
            <a:pPr marL="0" marR="0" lvl="0" indent="0" algn="ctr" defTabSz="228520"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dirty="0">
                <a:ln>
                  <a:noFill/>
                </a:ln>
                <a:solidFill>
                  <a:srgbClr val="1CADE4"/>
                </a:solidFill>
                <a:effectLst/>
                <a:uLnTx/>
                <a:uFillTx/>
                <a:latin typeface="Arial" panose="020B0604020202020204"/>
                <a:ea typeface="+mn-ea"/>
                <a:cs typeface="+mn-cs"/>
              </a:rPr>
              <a:t>RSV </a:t>
            </a:r>
            <a:r>
              <a:rPr kumimoji="0" lang="en-US" sz="1400" b="1" i="0" u="none" strike="noStrike" kern="1200" cap="none" spc="0" normalizeH="0" baseline="0" noProof="0" dirty="0" err="1">
                <a:ln>
                  <a:noFill/>
                </a:ln>
                <a:solidFill>
                  <a:srgbClr val="1CADE4"/>
                </a:solidFill>
                <a:effectLst/>
                <a:uLnTx/>
                <a:uFillTx/>
                <a:latin typeface="Arial" panose="020B0604020202020204"/>
                <a:ea typeface="+mn-ea"/>
                <a:cs typeface="+mn-cs"/>
              </a:rPr>
              <a:t>enfeksiyonu</a:t>
            </a:r>
            <a:r>
              <a:rPr kumimoji="0" lang="en-US" sz="1400" b="1" i="0" u="none" strike="noStrike" kern="1200" cap="none" spc="0" normalizeH="0" baseline="0" noProof="0" dirty="0">
                <a:ln>
                  <a:noFill/>
                </a:ln>
                <a:solidFill>
                  <a:srgbClr val="1CADE4"/>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1CADE4"/>
                </a:solidFill>
                <a:effectLst/>
                <a:uLnTx/>
                <a:uFillTx/>
                <a:latin typeface="Arial" panose="020B0604020202020204"/>
                <a:ea typeface="+mn-ea"/>
                <a:cs typeface="+mn-cs"/>
              </a:rPr>
              <a:t>ile</a:t>
            </a:r>
            <a:r>
              <a:rPr kumimoji="0" lang="en-US" sz="1400" b="1" i="0" u="none" strike="noStrike" kern="1200" cap="none" spc="0" normalizeH="0" baseline="0" noProof="0" dirty="0">
                <a:ln>
                  <a:noFill/>
                </a:ln>
                <a:solidFill>
                  <a:srgbClr val="1CADE4"/>
                </a:solidFill>
                <a:effectLst/>
                <a:uLnTx/>
                <a:uFillTx/>
                <a:latin typeface="Arial" panose="020B0604020202020204"/>
                <a:ea typeface="+mn-ea"/>
                <a:cs typeface="+mn-cs"/>
              </a:rPr>
              <a:t> RSV </a:t>
            </a:r>
            <a:r>
              <a:rPr kumimoji="0" lang="en-US" sz="1400" b="1" i="0" u="none" strike="noStrike" kern="1200" cap="none" spc="0" normalizeH="0" baseline="0" noProof="0" dirty="0" err="1">
                <a:ln>
                  <a:noFill/>
                </a:ln>
                <a:solidFill>
                  <a:srgbClr val="1CADE4"/>
                </a:solidFill>
                <a:effectLst/>
                <a:uLnTx/>
                <a:uFillTx/>
                <a:latin typeface="Arial" panose="020B0604020202020204"/>
                <a:ea typeface="+mn-ea"/>
                <a:cs typeface="+mn-cs"/>
              </a:rPr>
              <a:t>ile</a:t>
            </a:r>
            <a:r>
              <a:rPr kumimoji="0" lang="en-US" sz="1400" b="1" i="0" u="none" strike="noStrike" kern="1200" cap="none" spc="0" normalizeH="0" baseline="0" noProof="0" dirty="0">
                <a:ln>
                  <a:noFill/>
                </a:ln>
                <a:solidFill>
                  <a:srgbClr val="1CADE4"/>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1CADE4"/>
                </a:solidFill>
                <a:effectLst/>
                <a:uLnTx/>
                <a:uFillTx/>
                <a:latin typeface="Arial" panose="020B0604020202020204"/>
                <a:ea typeface="+mn-ea"/>
                <a:cs typeface="+mn-cs"/>
              </a:rPr>
              <a:t>ilişkili</a:t>
            </a:r>
            <a:r>
              <a:rPr kumimoji="0" lang="en-US" sz="1400" b="1" i="0" u="none" strike="noStrike" kern="1200" cap="none" spc="0" normalizeH="0" baseline="0" noProof="0" dirty="0">
                <a:ln>
                  <a:noFill/>
                </a:ln>
                <a:solidFill>
                  <a:srgbClr val="1CADE4"/>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1CADE4"/>
                </a:solidFill>
                <a:effectLst/>
                <a:uLnTx/>
                <a:uFillTx/>
                <a:latin typeface="Arial" panose="020B0604020202020204"/>
                <a:ea typeface="+mn-ea"/>
                <a:cs typeface="+mn-cs"/>
              </a:rPr>
              <a:t>komplikasyon</a:t>
            </a:r>
            <a:r>
              <a:rPr kumimoji="0" lang="en-US" sz="1400" b="1" i="0" u="none" strike="noStrike" kern="1200" cap="none" spc="0" normalizeH="0" baseline="0" noProof="0" dirty="0">
                <a:ln>
                  <a:noFill/>
                </a:ln>
                <a:solidFill>
                  <a:srgbClr val="1CADE4"/>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1CADE4"/>
                </a:solidFill>
                <a:effectLst/>
                <a:uLnTx/>
                <a:uFillTx/>
                <a:latin typeface="Arial" panose="020B0604020202020204"/>
                <a:ea typeface="+mn-ea"/>
                <a:cs typeface="+mn-cs"/>
              </a:rPr>
              <a:t>arasındaki</a:t>
            </a:r>
            <a:r>
              <a:rPr kumimoji="0" lang="en-US" sz="1400" b="1" i="0" u="none" strike="noStrike" kern="1200" cap="none" spc="0" normalizeH="0" baseline="0" noProof="0" dirty="0">
                <a:ln>
                  <a:noFill/>
                </a:ln>
                <a:solidFill>
                  <a:srgbClr val="1CADE4"/>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1CADE4"/>
                </a:solidFill>
                <a:effectLst/>
                <a:uLnTx/>
                <a:uFillTx/>
                <a:latin typeface="Arial" panose="020B0604020202020204"/>
                <a:ea typeface="+mn-ea"/>
                <a:cs typeface="+mn-cs"/>
              </a:rPr>
              <a:t>ortalama</a:t>
            </a:r>
            <a:r>
              <a:rPr kumimoji="0" lang="en-US" sz="1400" b="1" i="0" u="none" strike="noStrike" kern="1200" cap="none" spc="0" normalizeH="0" baseline="0" noProof="0" dirty="0">
                <a:ln>
                  <a:noFill/>
                </a:ln>
                <a:solidFill>
                  <a:srgbClr val="1CADE4"/>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1CADE4"/>
                </a:solidFill>
                <a:effectLst/>
                <a:uLnTx/>
                <a:uFillTx/>
                <a:latin typeface="Arial" panose="020B0604020202020204"/>
                <a:ea typeface="+mn-ea"/>
                <a:cs typeface="+mn-cs"/>
              </a:rPr>
              <a:t>süre</a:t>
            </a:r>
            <a:r>
              <a:rPr kumimoji="0" lang="en-US" sz="1400" b="1" i="0" u="none" strike="noStrike" kern="1200" cap="none" spc="0" normalizeH="0" baseline="0" noProof="0" dirty="0">
                <a:ln>
                  <a:noFill/>
                </a:ln>
                <a:solidFill>
                  <a:srgbClr val="1CADE4"/>
                </a:solidFill>
                <a:effectLst/>
                <a:uLnTx/>
                <a:uFillTx/>
                <a:latin typeface="Arial" panose="020B0604020202020204"/>
                <a:ea typeface="+mn-ea"/>
                <a:cs typeface="+mn-cs"/>
              </a:rPr>
              <a:t> </a:t>
            </a:r>
            <a:r>
              <a:rPr kumimoji="0" lang="en-US" sz="1200" b="0" i="0" u="none" strike="noStrike" kern="1200" cap="none" spc="0" normalizeH="0" baseline="0" noProof="0" dirty="0">
                <a:ln>
                  <a:noFill/>
                </a:ln>
                <a:solidFill>
                  <a:srgbClr val="1CADE4"/>
                </a:solidFill>
                <a:effectLst/>
                <a:uLnTx/>
                <a:uFillTx/>
                <a:latin typeface="Arial" panose="020B0604020202020204"/>
                <a:ea typeface="+mn-ea"/>
                <a:cs typeface="+mn-cs"/>
              </a:rPr>
              <a:t>(ay)</a:t>
            </a:r>
            <a:endParaRPr kumimoji="0" lang="en-US" sz="1400" b="0" i="0" u="none" strike="noStrike" kern="1200" cap="none" spc="0" normalizeH="0" baseline="0" noProof="0" dirty="0">
              <a:ln>
                <a:noFill/>
              </a:ln>
              <a:solidFill>
                <a:srgbClr val="1CADE4"/>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2F54373B-08ED-2BE1-CF57-0D2684BFDAFA}"/>
              </a:ext>
            </a:extLst>
          </p:cNvPr>
          <p:cNvSpPr/>
          <p:nvPr/>
        </p:nvSpPr>
        <p:spPr>
          <a:xfrm>
            <a:off x="599039" y="2225761"/>
            <a:ext cx="10971902" cy="456076"/>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8" name="Picture 7" descr="A black and blue logo&#10;&#10;AI-generated content may be incorrect.">
            <a:extLst>
              <a:ext uri="{FF2B5EF4-FFF2-40B4-BE49-F238E27FC236}">
                <a16:creationId xmlns:a16="http://schemas.microsoft.com/office/drawing/2014/main" id="{856F3A69-D62E-D670-AC9E-6B6DE5840571}"/>
              </a:ext>
            </a:extLst>
          </p:cNvPr>
          <p:cNvPicPr>
            <a:picLocks noChangeAspect="1"/>
          </p:cNvPicPr>
          <p:nvPr/>
        </p:nvPicPr>
        <p:blipFill>
          <a:blip r:embed="rId4"/>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12316332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A91BD4-8AF3-CE4A-E95F-D5A4AAC8853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ABCAAE3-E4EC-050C-7F6C-FCF32DE3622D}"/>
              </a:ext>
            </a:extLst>
          </p:cNvPr>
          <p:cNvSpPr>
            <a:spLocks noGrp="1"/>
          </p:cNvSpPr>
          <p:nvPr>
            <p:ph type="title"/>
          </p:nvPr>
        </p:nvSpPr>
        <p:spPr/>
        <p:txBody>
          <a:bodyPr/>
          <a:lstStyle/>
          <a:p>
            <a:r>
              <a:rPr lang="en-US" sz="2400" err="1"/>
              <a:t>KOAH'lı</a:t>
            </a:r>
            <a:r>
              <a:rPr lang="en-US" sz="2400"/>
              <a:t> </a:t>
            </a:r>
            <a:r>
              <a:rPr lang="en-US" sz="2400" err="1"/>
              <a:t>hastalarda</a:t>
            </a:r>
            <a:r>
              <a:rPr lang="en-US" sz="2400"/>
              <a:t> RSV, </a:t>
            </a:r>
            <a:r>
              <a:rPr lang="en-US" sz="2400" err="1"/>
              <a:t>KOAH'ı</a:t>
            </a:r>
            <a:r>
              <a:rPr lang="en-US" sz="2400"/>
              <a:t> </a:t>
            </a:r>
            <a:r>
              <a:rPr lang="en-US" sz="2400" err="1"/>
              <a:t>şiddetlendirebilir</a:t>
            </a:r>
            <a:r>
              <a:rPr lang="en-US" sz="2400"/>
              <a:t> </a:t>
            </a:r>
            <a:r>
              <a:rPr lang="en-US" sz="2400" err="1"/>
              <a:t>ve</a:t>
            </a:r>
            <a:r>
              <a:rPr lang="en-US" sz="2400"/>
              <a:t> </a:t>
            </a:r>
            <a:r>
              <a:rPr lang="en-US" sz="2400" err="1"/>
              <a:t>mortalite</a:t>
            </a:r>
            <a:r>
              <a:rPr lang="en-US" sz="2400"/>
              <a:t> </a:t>
            </a:r>
            <a:r>
              <a:rPr lang="en-US" sz="2400" err="1"/>
              <a:t>riskini</a:t>
            </a:r>
            <a:r>
              <a:rPr lang="en-US" sz="2400"/>
              <a:t> </a:t>
            </a:r>
            <a:r>
              <a:rPr lang="en-US" sz="2400" err="1"/>
              <a:t>artırabilir</a:t>
            </a:r>
            <a:endParaRPr lang="en-US" sz="2400"/>
          </a:p>
        </p:txBody>
      </p:sp>
      <p:sp>
        <p:nvSpPr>
          <p:cNvPr id="3" name="Text Placeholder 2">
            <a:extLst>
              <a:ext uri="{FF2B5EF4-FFF2-40B4-BE49-F238E27FC236}">
                <a16:creationId xmlns:a16="http://schemas.microsoft.com/office/drawing/2014/main" id="{2F668938-B823-4B81-47F0-3BE73F972605}"/>
              </a:ext>
            </a:extLst>
          </p:cNvPr>
          <p:cNvSpPr>
            <a:spLocks noGrp="1"/>
          </p:cNvSpPr>
          <p:nvPr>
            <p:ph type="body" sz="quarter" idx="4294967295"/>
          </p:nvPr>
        </p:nvSpPr>
        <p:spPr>
          <a:xfrm>
            <a:off x="334963" y="5910263"/>
            <a:ext cx="11857037" cy="347662"/>
          </a:xfrm>
        </p:spPr>
        <p:txBody>
          <a:bodyPr>
            <a:normAutofit fontScale="40000" lnSpcReduction="20000"/>
          </a:bodyPr>
          <a:lstStyle/>
          <a:p>
            <a:pPr marL="0" indent="0">
              <a:lnSpc>
                <a:spcPct val="100000"/>
              </a:lnSpc>
              <a:spcBef>
                <a:spcPts val="0"/>
              </a:spcBef>
            </a:pPr>
            <a:r>
              <a:rPr lang="en-US" dirty="0">
                <a:solidFill>
                  <a:srgbClr val="000000"/>
                </a:solidFill>
              </a:rPr>
              <a:t>*KOAH </a:t>
            </a:r>
            <a:r>
              <a:rPr lang="en-US" dirty="0" err="1">
                <a:solidFill>
                  <a:srgbClr val="000000"/>
                </a:solidFill>
              </a:rPr>
              <a:t>ilerlemesi</a:t>
            </a:r>
            <a:r>
              <a:rPr lang="en-US" dirty="0">
                <a:solidFill>
                  <a:srgbClr val="000000"/>
                </a:solidFill>
              </a:rPr>
              <a:t>, FE</a:t>
            </a:r>
            <a:r>
              <a:rPr lang="en-US" dirty="0">
                <a:solidFill>
                  <a:srgbClr val="000000"/>
                </a:solidFill>
                <a:ea typeface="Calibri" panose="020F0502020204030204" pitchFamily="34" charset="0"/>
              </a:rPr>
              <a:t>V</a:t>
            </a:r>
            <a:r>
              <a:rPr lang="en-US" baseline="-25000" dirty="0">
                <a:solidFill>
                  <a:srgbClr val="000000"/>
                </a:solidFill>
                <a:ea typeface="Calibri" panose="020F0502020204030204" pitchFamily="34" charset="0"/>
              </a:rPr>
              <a:t>1</a:t>
            </a:r>
            <a:r>
              <a:rPr lang="en-US" dirty="0">
                <a:solidFill>
                  <a:srgbClr val="000000"/>
                </a:solidFill>
              </a:rPr>
              <a:t>'de </a:t>
            </a:r>
            <a:r>
              <a:rPr lang="en-US" dirty="0" err="1">
                <a:solidFill>
                  <a:srgbClr val="000000"/>
                </a:solidFill>
              </a:rPr>
              <a:t>hızlandırılmış</a:t>
            </a:r>
            <a:r>
              <a:rPr lang="en-US" dirty="0">
                <a:solidFill>
                  <a:srgbClr val="000000"/>
                </a:solidFill>
              </a:rPr>
              <a:t> </a:t>
            </a:r>
            <a:r>
              <a:rPr lang="en-US" dirty="0" err="1">
                <a:solidFill>
                  <a:srgbClr val="000000"/>
                </a:solidFill>
              </a:rPr>
              <a:t>uzun</a:t>
            </a:r>
            <a:r>
              <a:rPr lang="en-US" dirty="0">
                <a:solidFill>
                  <a:srgbClr val="000000"/>
                </a:solidFill>
              </a:rPr>
              <a:t> </a:t>
            </a:r>
            <a:r>
              <a:rPr lang="en-US" dirty="0" err="1">
                <a:solidFill>
                  <a:srgbClr val="000000"/>
                </a:solidFill>
              </a:rPr>
              <a:t>vadeli</a:t>
            </a:r>
            <a:r>
              <a:rPr lang="en-US" dirty="0">
                <a:solidFill>
                  <a:srgbClr val="000000"/>
                </a:solidFill>
              </a:rPr>
              <a:t> </a:t>
            </a:r>
            <a:r>
              <a:rPr lang="en-US" dirty="0" err="1">
                <a:solidFill>
                  <a:srgbClr val="000000"/>
                </a:solidFill>
              </a:rPr>
              <a:t>düşüş</a:t>
            </a:r>
            <a:r>
              <a:rPr lang="en-US" dirty="0">
                <a:solidFill>
                  <a:srgbClr val="000000"/>
                </a:solidFill>
              </a:rPr>
              <a:t> </a:t>
            </a:r>
            <a:r>
              <a:rPr lang="en-US" dirty="0" err="1">
                <a:solidFill>
                  <a:srgbClr val="000000"/>
                </a:solidFill>
              </a:rPr>
              <a:t>olarak</a:t>
            </a:r>
            <a:r>
              <a:rPr lang="en-US" dirty="0">
                <a:solidFill>
                  <a:srgbClr val="000000"/>
                </a:solidFill>
              </a:rPr>
              <a:t> </a:t>
            </a:r>
            <a:r>
              <a:rPr lang="en-US" dirty="0" err="1">
                <a:solidFill>
                  <a:srgbClr val="000000"/>
                </a:solidFill>
              </a:rPr>
              <a:t>tanımlanır</a:t>
            </a:r>
            <a:r>
              <a:rPr lang="tr-TR" dirty="0">
                <a:solidFill>
                  <a:srgbClr val="000000"/>
                </a:solidFill>
              </a:rPr>
              <a:t>.</a:t>
            </a:r>
            <a:r>
              <a:rPr lang="en-US" baseline="30000" dirty="0">
                <a:solidFill>
                  <a:srgbClr val="000000"/>
                </a:solidFill>
                <a:ea typeface="Calibri" panose="020F0502020204030204" pitchFamily="34" charset="0"/>
              </a:rPr>
              <a:t>6</a:t>
            </a:r>
          </a:p>
          <a:p>
            <a:pPr marL="0" indent="0">
              <a:lnSpc>
                <a:spcPct val="100000"/>
              </a:lnSpc>
              <a:spcBef>
                <a:spcPts val="0"/>
              </a:spcBef>
            </a:pPr>
            <a:r>
              <a:rPr lang="en-US" dirty="0">
                <a:solidFill>
                  <a:srgbClr val="000000"/>
                </a:solidFill>
              </a:rPr>
              <a:t>KOAH = </a:t>
            </a:r>
            <a:r>
              <a:rPr lang="en-US" dirty="0" err="1">
                <a:solidFill>
                  <a:srgbClr val="000000"/>
                </a:solidFill>
              </a:rPr>
              <a:t>kronik</a:t>
            </a:r>
            <a:r>
              <a:rPr lang="en-US" dirty="0">
                <a:solidFill>
                  <a:srgbClr val="000000"/>
                </a:solidFill>
              </a:rPr>
              <a:t> </a:t>
            </a:r>
            <a:r>
              <a:rPr lang="en-US" dirty="0" err="1">
                <a:solidFill>
                  <a:srgbClr val="000000"/>
                </a:solidFill>
              </a:rPr>
              <a:t>obstrüktif</a:t>
            </a:r>
            <a:r>
              <a:rPr lang="en-US" dirty="0">
                <a:solidFill>
                  <a:srgbClr val="000000"/>
                </a:solidFill>
              </a:rPr>
              <a:t> </a:t>
            </a:r>
            <a:r>
              <a:rPr lang="en-US" dirty="0" err="1">
                <a:solidFill>
                  <a:srgbClr val="000000"/>
                </a:solidFill>
              </a:rPr>
              <a:t>akciğer</a:t>
            </a:r>
            <a:r>
              <a:rPr lang="en-US" dirty="0">
                <a:solidFill>
                  <a:srgbClr val="000000"/>
                </a:solidFill>
              </a:rPr>
              <a:t> </a:t>
            </a:r>
            <a:r>
              <a:rPr lang="en-US" dirty="0" err="1">
                <a:solidFill>
                  <a:srgbClr val="000000"/>
                </a:solidFill>
              </a:rPr>
              <a:t>hastalığı</a:t>
            </a:r>
            <a:r>
              <a:rPr lang="en-US" dirty="0">
                <a:solidFill>
                  <a:srgbClr val="000000"/>
                </a:solidFill>
              </a:rPr>
              <a:t>;</a:t>
            </a:r>
            <a:r>
              <a:rPr lang="tr-TR" dirty="0">
                <a:solidFill>
                  <a:srgbClr val="000000"/>
                </a:solidFill>
              </a:rPr>
              <a:t> </a:t>
            </a:r>
            <a:r>
              <a:rPr lang="en-US" dirty="0">
                <a:solidFill>
                  <a:srgbClr val="000000"/>
                </a:solidFill>
              </a:rPr>
              <a:t>FEV</a:t>
            </a:r>
            <a:r>
              <a:rPr lang="en-US" baseline="-25000" dirty="0">
                <a:solidFill>
                  <a:srgbClr val="000000"/>
                </a:solidFill>
              </a:rPr>
              <a:t>1</a:t>
            </a:r>
            <a:r>
              <a:rPr lang="en-US" dirty="0">
                <a:solidFill>
                  <a:srgbClr val="000000"/>
                </a:solidFill>
              </a:rPr>
              <a:t>=ilk </a:t>
            </a:r>
            <a:r>
              <a:rPr lang="en-US" dirty="0" err="1">
                <a:solidFill>
                  <a:srgbClr val="000000"/>
                </a:solidFill>
              </a:rPr>
              <a:t>saniyedeki</a:t>
            </a:r>
            <a:r>
              <a:rPr lang="en-US" dirty="0">
                <a:solidFill>
                  <a:srgbClr val="000000"/>
                </a:solidFill>
              </a:rPr>
              <a:t> </a:t>
            </a:r>
            <a:r>
              <a:rPr lang="en-US" dirty="0" err="1">
                <a:solidFill>
                  <a:srgbClr val="000000"/>
                </a:solidFill>
              </a:rPr>
              <a:t>zorlanmış</a:t>
            </a:r>
            <a:r>
              <a:rPr lang="en-US" dirty="0">
                <a:solidFill>
                  <a:srgbClr val="000000"/>
                </a:solidFill>
              </a:rPr>
              <a:t> </a:t>
            </a:r>
            <a:r>
              <a:rPr lang="en-US" dirty="0" err="1">
                <a:solidFill>
                  <a:srgbClr val="000000"/>
                </a:solidFill>
              </a:rPr>
              <a:t>ekspiratuar</a:t>
            </a:r>
            <a:r>
              <a:rPr lang="en-US" dirty="0">
                <a:solidFill>
                  <a:srgbClr val="000000"/>
                </a:solidFill>
              </a:rPr>
              <a:t> </a:t>
            </a:r>
            <a:r>
              <a:rPr lang="en-US" dirty="0" err="1">
                <a:solidFill>
                  <a:srgbClr val="000000"/>
                </a:solidFill>
              </a:rPr>
              <a:t>hacim</a:t>
            </a:r>
            <a:r>
              <a:rPr lang="en-US" dirty="0">
                <a:solidFill>
                  <a:srgbClr val="000000"/>
                </a:solidFill>
              </a:rPr>
              <a:t>; PCR=</a:t>
            </a:r>
            <a:r>
              <a:rPr lang="en-US" dirty="0" err="1">
                <a:solidFill>
                  <a:srgbClr val="000000"/>
                </a:solidFill>
              </a:rPr>
              <a:t>polimeraz</a:t>
            </a:r>
            <a:r>
              <a:rPr lang="en-US" dirty="0">
                <a:solidFill>
                  <a:srgbClr val="000000"/>
                </a:solidFill>
              </a:rPr>
              <a:t> </a:t>
            </a:r>
            <a:r>
              <a:rPr lang="en-US" dirty="0" err="1">
                <a:solidFill>
                  <a:srgbClr val="000000"/>
                </a:solidFill>
              </a:rPr>
              <a:t>zincir</a:t>
            </a:r>
            <a:r>
              <a:rPr lang="en-US" dirty="0">
                <a:solidFill>
                  <a:srgbClr val="000000"/>
                </a:solidFill>
              </a:rPr>
              <a:t> </a:t>
            </a:r>
            <a:r>
              <a:rPr lang="en-US" dirty="0" err="1">
                <a:solidFill>
                  <a:srgbClr val="000000"/>
                </a:solidFill>
              </a:rPr>
              <a:t>reaksiyonu</a:t>
            </a:r>
            <a:r>
              <a:rPr lang="en-US" dirty="0">
                <a:solidFill>
                  <a:srgbClr val="000000"/>
                </a:solidFill>
              </a:rPr>
              <a:t>.</a:t>
            </a:r>
            <a:endParaRPr lang="tr-TR" dirty="0">
              <a:solidFill>
                <a:srgbClr val="000000"/>
              </a:solidFill>
            </a:endParaRPr>
          </a:p>
          <a:p>
            <a:pPr marL="0" indent="0">
              <a:lnSpc>
                <a:spcPct val="100000"/>
              </a:lnSpc>
              <a:spcBef>
                <a:spcPts val="0"/>
              </a:spcBef>
            </a:pPr>
            <a:r>
              <a:rPr lang="en-US" b="1" dirty="0">
                <a:solidFill>
                  <a:srgbClr val="000000"/>
                </a:solidFill>
              </a:rPr>
              <a:t>1. </a:t>
            </a:r>
            <a:r>
              <a:rPr lang="en-US" b="0" i="0" dirty="0">
                <a:solidFill>
                  <a:srgbClr val="212121"/>
                </a:solidFill>
                <a:effectLst/>
              </a:rPr>
              <a:t>Wiseman DJ, et al. </a:t>
            </a:r>
            <a:r>
              <a:rPr lang="en-US" b="0" i="1" dirty="0">
                <a:solidFill>
                  <a:srgbClr val="212121"/>
                </a:solidFill>
                <a:effectLst/>
              </a:rPr>
              <a:t>Am J Respir Crit Care Med</a:t>
            </a:r>
            <a:r>
              <a:rPr lang="en-US" b="0" i="0" dirty="0">
                <a:solidFill>
                  <a:srgbClr val="212121"/>
                </a:solidFill>
                <a:effectLst/>
              </a:rPr>
              <a:t>.2024;210(8):994-1001</a:t>
            </a:r>
            <a:r>
              <a:rPr lang="en-US" b="0" i="0" dirty="0">
                <a:effectLst/>
              </a:rPr>
              <a:t>. </a:t>
            </a:r>
            <a:r>
              <a:rPr lang="en-US" b="1" i="0" dirty="0">
                <a:solidFill>
                  <a:srgbClr val="000000"/>
                </a:solidFill>
                <a:effectLst/>
              </a:rPr>
              <a:t>2</a:t>
            </a:r>
            <a:r>
              <a:rPr lang="en-US" b="1" dirty="0">
                <a:solidFill>
                  <a:srgbClr val="000000"/>
                </a:solidFill>
                <a:ea typeface="Calibri" panose="020F0502020204030204" pitchFamily="34" charset="0"/>
              </a:rPr>
              <a:t>.</a:t>
            </a:r>
            <a:r>
              <a:rPr lang="en-US" dirty="0">
                <a:solidFill>
                  <a:srgbClr val="000000"/>
                </a:solidFill>
                <a:ea typeface="Calibri" panose="020F0502020204030204" pitchFamily="34" charset="0"/>
              </a:rPr>
              <a:t> Borg I, et al. </a:t>
            </a:r>
            <a:r>
              <a:rPr lang="en-US" i="1" dirty="0" err="1">
                <a:solidFill>
                  <a:srgbClr val="000000"/>
                </a:solidFill>
                <a:ea typeface="Calibri" panose="020F0502020204030204" pitchFamily="34" charset="0"/>
              </a:rPr>
              <a:t>Eur</a:t>
            </a:r>
            <a:r>
              <a:rPr lang="en-US" i="1" dirty="0">
                <a:solidFill>
                  <a:srgbClr val="000000"/>
                </a:solidFill>
                <a:ea typeface="Calibri" panose="020F0502020204030204" pitchFamily="34" charset="0"/>
              </a:rPr>
              <a:t> Respir J</a:t>
            </a:r>
            <a:r>
              <a:rPr lang="en-US" dirty="0">
                <a:solidFill>
                  <a:srgbClr val="000000"/>
                </a:solidFill>
                <a:ea typeface="Calibri" panose="020F0502020204030204" pitchFamily="34" charset="0"/>
              </a:rPr>
              <a:t>. 2003;21:944–951. </a:t>
            </a:r>
            <a:r>
              <a:rPr lang="en-US" b="1" dirty="0">
                <a:solidFill>
                  <a:srgbClr val="000000"/>
                </a:solidFill>
                <a:ea typeface="Calibri" panose="020F0502020204030204" pitchFamily="34" charset="0"/>
              </a:rPr>
              <a:t>3.</a:t>
            </a:r>
            <a:r>
              <a:rPr lang="en-US" dirty="0">
                <a:solidFill>
                  <a:srgbClr val="000000"/>
                </a:solidFill>
                <a:ea typeface="Calibri" panose="020F0502020204030204" pitchFamily="34" charset="0"/>
              </a:rPr>
              <a:t> Rohde G, et al. </a:t>
            </a:r>
            <a:r>
              <a:rPr lang="en-US" i="1" dirty="0">
                <a:solidFill>
                  <a:srgbClr val="000000"/>
                </a:solidFill>
                <a:ea typeface="Calibri" panose="020F0502020204030204" pitchFamily="34" charset="0"/>
              </a:rPr>
              <a:t>Thorax. </a:t>
            </a:r>
            <a:r>
              <a:rPr lang="en-US" dirty="0">
                <a:solidFill>
                  <a:srgbClr val="000000"/>
                </a:solidFill>
                <a:ea typeface="Calibri" panose="020F0502020204030204" pitchFamily="34" charset="0"/>
              </a:rPr>
              <a:t>2003;58:37–42. </a:t>
            </a:r>
            <a:r>
              <a:rPr lang="en-US" b="1" dirty="0">
                <a:solidFill>
                  <a:srgbClr val="000000"/>
                </a:solidFill>
                <a:ea typeface="Calibri" panose="020F0502020204030204" pitchFamily="34" charset="0"/>
              </a:rPr>
              <a:t>4. </a:t>
            </a:r>
            <a:r>
              <a:rPr lang="en-US" b="0" i="0" dirty="0">
                <a:solidFill>
                  <a:srgbClr val="212121"/>
                </a:solidFill>
                <a:effectLst/>
              </a:rPr>
              <a:t>Anderson NW, et al. </a:t>
            </a:r>
            <a:r>
              <a:rPr lang="en-US" b="0" i="1" dirty="0" err="1">
                <a:solidFill>
                  <a:srgbClr val="212121"/>
                </a:solidFill>
                <a:effectLst/>
              </a:rPr>
              <a:t>Diagn</a:t>
            </a:r>
            <a:r>
              <a:rPr lang="en-US" b="0" i="1" dirty="0">
                <a:solidFill>
                  <a:srgbClr val="212121"/>
                </a:solidFill>
                <a:effectLst/>
              </a:rPr>
              <a:t> </a:t>
            </a:r>
            <a:r>
              <a:rPr lang="en-US" b="0" i="1" dirty="0" err="1">
                <a:solidFill>
                  <a:srgbClr val="212121"/>
                </a:solidFill>
                <a:effectLst/>
              </a:rPr>
              <a:t>Microbiol</a:t>
            </a:r>
            <a:r>
              <a:rPr lang="en-US" b="0" i="1" dirty="0">
                <a:solidFill>
                  <a:srgbClr val="212121"/>
                </a:solidFill>
                <a:effectLst/>
              </a:rPr>
              <a:t> Infect Dis</a:t>
            </a:r>
            <a:r>
              <a:rPr lang="en-US" b="0" i="0" dirty="0">
                <a:solidFill>
                  <a:srgbClr val="212121"/>
                </a:solidFill>
                <a:effectLst/>
              </a:rPr>
              <a:t>. 2016;85(3):367-371. </a:t>
            </a:r>
            <a:r>
              <a:rPr lang="en-US" b="1" i="0" dirty="0">
                <a:solidFill>
                  <a:srgbClr val="000000"/>
                </a:solidFill>
                <a:effectLst/>
              </a:rPr>
              <a:t>5</a:t>
            </a:r>
            <a:r>
              <a:rPr lang="en-US" b="1" dirty="0">
                <a:solidFill>
                  <a:srgbClr val="000000"/>
                </a:solidFill>
                <a:ea typeface="Calibri" panose="020F0502020204030204" pitchFamily="34" charset="0"/>
              </a:rPr>
              <a:t>. </a:t>
            </a:r>
            <a:r>
              <a:rPr lang="en-US" dirty="0">
                <a:solidFill>
                  <a:srgbClr val="000000"/>
                </a:solidFill>
                <a:ea typeface="Calibri" panose="020F0502020204030204" pitchFamily="34" charset="0"/>
              </a:rPr>
              <a:t>Soler-Cataluña JJ, et al. </a:t>
            </a:r>
            <a:r>
              <a:rPr lang="en-US" i="1" dirty="0">
                <a:solidFill>
                  <a:srgbClr val="000000"/>
                </a:solidFill>
                <a:ea typeface="Calibri" panose="020F0502020204030204" pitchFamily="34" charset="0"/>
              </a:rPr>
              <a:t>Thorax</a:t>
            </a:r>
            <a:r>
              <a:rPr lang="en-US" dirty="0">
                <a:solidFill>
                  <a:srgbClr val="000000"/>
                </a:solidFill>
                <a:ea typeface="Calibri" panose="020F0502020204030204" pitchFamily="34" charset="0"/>
              </a:rPr>
              <a:t>. 2005;60:925–931. </a:t>
            </a:r>
            <a:r>
              <a:rPr lang="en-US" b="1" dirty="0">
                <a:solidFill>
                  <a:srgbClr val="000000"/>
                </a:solidFill>
                <a:ea typeface="Calibri" panose="020F0502020204030204" pitchFamily="34" charset="0"/>
              </a:rPr>
              <a:t>6.</a:t>
            </a:r>
            <a:r>
              <a:rPr lang="en-US" dirty="0">
                <a:solidFill>
                  <a:srgbClr val="000000"/>
                </a:solidFill>
                <a:ea typeface="Calibri" panose="020F0502020204030204" pitchFamily="34" charset="0"/>
              </a:rPr>
              <a:t> </a:t>
            </a:r>
            <a:r>
              <a:rPr lang="en-US" dirty="0">
                <a:solidFill>
                  <a:srgbClr val="212121"/>
                </a:solidFill>
              </a:rPr>
              <a:t>Donaldson GC, et al. </a:t>
            </a:r>
            <a:r>
              <a:rPr lang="en-US" i="1" dirty="0">
                <a:solidFill>
                  <a:srgbClr val="212121"/>
                </a:solidFill>
              </a:rPr>
              <a:t>Thorax</a:t>
            </a:r>
            <a:r>
              <a:rPr lang="en-US" dirty="0">
                <a:solidFill>
                  <a:srgbClr val="212121"/>
                </a:solidFill>
              </a:rPr>
              <a:t>. 2002;57:847–852. </a:t>
            </a:r>
            <a:endParaRPr lang="en-US" dirty="0"/>
          </a:p>
        </p:txBody>
      </p:sp>
      <p:sp>
        <p:nvSpPr>
          <p:cNvPr id="17" name="Content Placeholder 1">
            <a:extLst>
              <a:ext uri="{FF2B5EF4-FFF2-40B4-BE49-F238E27FC236}">
                <a16:creationId xmlns:a16="http://schemas.microsoft.com/office/drawing/2014/main" id="{F0F499F8-F3D4-D780-77B7-5F5A690B01F2}"/>
              </a:ext>
            </a:extLst>
          </p:cNvPr>
          <p:cNvSpPr txBox="1">
            <a:spLocks/>
          </p:cNvSpPr>
          <p:nvPr/>
        </p:nvSpPr>
        <p:spPr bwMode="gray">
          <a:xfrm>
            <a:off x="446915" y="5130563"/>
            <a:ext cx="11295781" cy="577145"/>
          </a:xfrm>
          <a:prstGeom prst="roundRect">
            <a:avLst/>
          </a:prstGeom>
          <a:solidFill>
            <a:schemeClr val="tx2"/>
          </a:solidFill>
          <a:ln>
            <a:noFill/>
          </a:ln>
          <a:effectLst>
            <a:outerShdw blurRad="50800" dist="38100" dir="2700000" algn="tl" rotWithShape="0">
              <a:prstClr val="black">
                <a:alpha val="40000"/>
              </a:prstClr>
            </a:outerShdw>
          </a:effectLst>
        </p:spPr>
        <p:txBody>
          <a:bodyPr vert="horz" lIns="45720" tIns="45720" rIns="45720" bIns="45720" rtlCol="0" anchor="ctr" anchorCtr="0">
            <a:noAutofit/>
          </a:bodyPr>
          <a:lstStyle>
            <a:defPPr>
              <a:defRPr lang="en-US"/>
            </a:defPPr>
            <a:lvl1pPr algn="ctr" fontAlgn="ctr">
              <a:lnSpc>
                <a:spcPct val="107000"/>
              </a:lnSpc>
              <a:buSzPct val="100000"/>
              <a:defRPr sz="1600" b="1">
                <a:solidFill>
                  <a:srgbClr val="FFFFFF"/>
                </a:solidFill>
                <a:latin typeface="Arial" panose="020B0604020202020204"/>
                <a:cs typeface="Calibri" panose="020F0502020204030204" pitchFamily="34" charset="0"/>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525" marR="0" lvl="1"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err="1">
                <a:ln>
                  <a:noFill/>
                </a:ln>
                <a:solidFill>
                  <a:srgbClr val="FFFFFF"/>
                </a:solidFill>
                <a:effectLst/>
                <a:uLnTx/>
                <a:uFillTx/>
                <a:latin typeface="Arial" panose="020B0604020202020204"/>
                <a:ea typeface="+mn-ea"/>
                <a:cs typeface="+mn-cs"/>
              </a:rPr>
              <a:t>Tekrarlayan</a:t>
            </a: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US" sz="1800" b="1" i="0" u="none" strike="noStrike" kern="1200" cap="none" spc="0" normalizeH="0" baseline="0" noProof="0" err="1">
                <a:ln>
                  <a:noFill/>
                </a:ln>
                <a:solidFill>
                  <a:srgbClr val="FFFFFF"/>
                </a:solidFill>
                <a:effectLst/>
                <a:uLnTx/>
                <a:uFillTx/>
                <a:latin typeface="Arial" panose="020B0604020202020204"/>
                <a:ea typeface="+mn-ea"/>
                <a:cs typeface="+mn-cs"/>
              </a:rPr>
              <a:t>akut</a:t>
            </a: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US" sz="1800" b="1" i="0" u="none" strike="noStrike" kern="1200" cap="none" spc="0" normalizeH="0" baseline="0" noProof="0" err="1">
                <a:ln>
                  <a:noFill/>
                </a:ln>
                <a:solidFill>
                  <a:srgbClr val="FFFFFF"/>
                </a:solidFill>
                <a:effectLst/>
                <a:uLnTx/>
                <a:uFillTx/>
                <a:latin typeface="Arial" panose="020B0604020202020204"/>
                <a:ea typeface="+mn-ea"/>
                <a:cs typeface="+mn-cs"/>
              </a:rPr>
              <a:t>alevlenmeler</a:t>
            </a: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 KOAH </a:t>
            </a:r>
            <a:r>
              <a:rPr kumimoji="0" lang="en-US" sz="1800" b="1" i="0" u="none" strike="noStrike" kern="1200" cap="none" spc="0" normalizeH="0" baseline="0" noProof="0" err="1">
                <a:ln>
                  <a:noFill/>
                </a:ln>
                <a:solidFill>
                  <a:srgbClr val="FFFFFF"/>
                </a:solidFill>
                <a:effectLst/>
                <a:uLnTx/>
                <a:uFillTx/>
                <a:latin typeface="Arial" panose="020B0604020202020204"/>
                <a:ea typeface="+mn-ea"/>
                <a:cs typeface="+mn-cs"/>
              </a:rPr>
              <a:t>ilerlemesi</a:t>
            </a: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US" sz="1800" b="1" i="0" u="none" strike="noStrike" kern="1200" cap="none" spc="0" normalizeH="0" baseline="0" noProof="0" err="1">
                <a:ln>
                  <a:noFill/>
                </a:ln>
                <a:solidFill>
                  <a:srgbClr val="FFFFFF"/>
                </a:solidFill>
                <a:effectLst/>
                <a:uLnTx/>
                <a:uFillTx/>
                <a:latin typeface="Arial" panose="020B0604020202020204"/>
                <a:ea typeface="+mn-ea"/>
                <a:cs typeface="+mn-cs"/>
              </a:rPr>
              <a:t>ve</a:t>
            </a: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US" sz="1800" b="1" i="0" u="none" strike="noStrike" kern="1200" cap="none" spc="0" normalizeH="0" baseline="0" noProof="0" err="1">
                <a:ln>
                  <a:noFill/>
                </a:ln>
                <a:solidFill>
                  <a:srgbClr val="FFFFFF"/>
                </a:solidFill>
                <a:effectLst/>
                <a:uLnTx/>
                <a:uFillTx/>
                <a:latin typeface="Arial" panose="020B0604020202020204"/>
                <a:ea typeface="+mn-ea"/>
                <a:cs typeface="+mn-cs"/>
              </a:rPr>
              <a:t>daha</a:t>
            </a: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US" sz="1800" b="1" i="0" u="none" strike="noStrike" kern="1200" cap="none" spc="0" normalizeH="0" baseline="0" noProof="0" err="1">
                <a:ln>
                  <a:noFill/>
                </a:ln>
                <a:solidFill>
                  <a:srgbClr val="FFFFFF"/>
                </a:solidFill>
                <a:effectLst/>
                <a:uLnTx/>
                <a:uFillTx/>
                <a:latin typeface="Arial" panose="020B0604020202020204"/>
                <a:ea typeface="+mn-ea"/>
                <a:cs typeface="+mn-cs"/>
              </a:rPr>
              <a:t>yüksek</a:t>
            </a: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US" sz="1800" b="1" i="0" u="none" strike="noStrike" kern="1200" cap="none" spc="0" normalizeH="0" baseline="0" noProof="0" err="1">
                <a:ln>
                  <a:noFill/>
                </a:ln>
                <a:solidFill>
                  <a:srgbClr val="FFFFFF"/>
                </a:solidFill>
                <a:effectLst/>
                <a:uLnTx/>
                <a:uFillTx/>
                <a:latin typeface="Arial" panose="020B0604020202020204"/>
                <a:ea typeface="+mn-ea"/>
                <a:cs typeface="+mn-cs"/>
              </a:rPr>
              <a:t>mortalite</a:t>
            </a: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US" sz="1800" b="1" i="0" u="none" strike="noStrike" kern="1200" cap="none" spc="0" normalizeH="0" baseline="0" noProof="0" err="1">
                <a:ln>
                  <a:noFill/>
                </a:ln>
                <a:solidFill>
                  <a:srgbClr val="FFFFFF"/>
                </a:solidFill>
                <a:effectLst/>
                <a:uLnTx/>
                <a:uFillTx/>
                <a:latin typeface="Arial" panose="020B0604020202020204"/>
                <a:ea typeface="+mn-ea"/>
                <a:cs typeface="+mn-cs"/>
              </a:rPr>
              <a:t>oranları</a:t>
            </a: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US" sz="1800" b="1" i="0" u="none" strike="noStrike" kern="1200" cap="none" spc="0" normalizeH="0" baseline="0" noProof="0" err="1">
                <a:ln>
                  <a:noFill/>
                </a:ln>
                <a:solidFill>
                  <a:srgbClr val="FFFFFF"/>
                </a:solidFill>
                <a:effectLst/>
                <a:uLnTx/>
                <a:uFillTx/>
                <a:latin typeface="Arial" panose="020B0604020202020204"/>
                <a:ea typeface="+mn-ea"/>
                <a:cs typeface="+mn-cs"/>
              </a:rPr>
              <a:t>ile</a:t>
            </a: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 ilişkilidir</a:t>
            </a:r>
            <a:r>
              <a:rPr kumimoji="0" lang="en-US" sz="1800" b="1" i="0" u="none" strike="noStrike" kern="1200" cap="none" spc="0" normalizeH="0" baseline="30000" noProof="0">
                <a:ln>
                  <a:noFill/>
                </a:ln>
                <a:solidFill>
                  <a:srgbClr val="FFFFFF"/>
                </a:solidFill>
                <a:effectLst/>
                <a:uLnTx/>
                <a:uFillTx/>
                <a:latin typeface="Arial" panose="020B0604020202020204"/>
                <a:ea typeface="+mn-ea"/>
                <a:cs typeface="+mn-cs"/>
              </a:rPr>
              <a:t>5,6</a:t>
            </a: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a:t>
            </a:r>
          </a:p>
        </p:txBody>
      </p:sp>
      <p:sp>
        <p:nvSpPr>
          <p:cNvPr id="13" name="Freeform: Shape 24">
            <a:extLst>
              <a:ext uri="{FF2B5EF4-FFF2-40B4-BE49-F238E27FC236}">
                <a16:creationId xmlns:a16="http://schemas.microsoft.com/office/drawing/2014/main" id="{59E00188-46D2-91A6-BE1D-C130F1E726FE}"/>
              </a:ext>
            </a:extLst>
          </p:cNvPr>
          <p:cNvSpPr>
            <a:spLocks noChangeAspect="1"/>
          </p:cNvSpPr>
          <p:nvPr/>
        </p:nvSpPr>
        <p:spPr>
          <a:xfrm>
            <a:off x="1293721" y="1699738"/>
            <a:ext cx="1671184" cy="1671184"/>
          </a:xfrm>
          <a:custGeom>
            <a:avLst/>
            <a:gdLst>
              <a:gd name="connsiteX0" fmla="*/ 0 w 1631817"/>
              <a:gd name="connsiteY0" fmla="*/ 815909 h 1631817"/>
              <a:gd name="connsiteX1" fmla="*/ 815909 w 1631817"/>
              <a:gd name="connsiteY1" fmla="*/ 0 h 1631817"/>
              <a:gd name="connsiteX2" fmla="*/ 1631818 w 1631817"/>
              <a:gd name="connsiteY2" fmla="*/ 815909 h 1631817"/>
              <a:gd name="connsiteX3" fmla="*/ 815909 w 1631817"/>
              <a:gd name="connsiteY3" fmla="*/ 1631818 h 1631817"/>
              <a:gd name="connsiteX4" fmla="*/ 0 w 1631817"/>
              <a:gd name="connsiteY4" fmla="*/ 815909 h 1631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1817" h="1631817">
                <a:moveTo>
                  <a:pt x="0" y="815909"/>
                </a:moveTo>
                <a:cubicBezTo>
                  <a:pt x="0" y="365295"/>
                  <a:pt x="365295" y="0"/>
                  <a:pt x="815909" y="0"/>
                </a:cubicBezTo>
                <a:cubicBezTo>
                  <a:pt x="1266523" y="0"/>
                  <a:pt x="1631818" y="365295"/>
                  <a:pt x="1631818" y="815909"/>
                </a:cubicBezTo>
                <a:cubicBezTo>
                  <a:pt x="1631818" y="1266523"/>
                  <a:pt x="1266523" y="1631818"/>
                  <a:pt x="815909" y="1631818"/>
                </a:cubicBezTo>
                <a:cubicBezTo>
                  <a:pt x="365295" y="1631818"/>
                  <a:pt x="0" y="1266523"/>
                  <a:pt x="0" y="815909"/>
                </a:cubicBezTo>
                <a:close/>
              </a:path>
            </a:pathLst>
          </a:custGeom>
          <a:solidFill>
            <a:schemeClr val="tx2"/>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238974" tIns="238974" rIns="238974" bIns="238974"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en-US" sz="65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6" name="Group 15">
            <a:extLst>
              <a:ext uri="{FF2B5EF4-FFF2-40B4-BE49-F238E27FC236}">
                <a16:creationId xmlns:a16="http://schemas.microsoft.com/office/drawing/2014/main" id="{09660092-E752-5007-CE4F-1BA37F5FA35B}"/>
              </a:ext>
            </a:extLst>
          </p:cNvPr>
          <p:cNvGrpSpPr/>
          <p:nvPr/>
        </p:nvGrpSpPr>
        <p:grpSpPr>
          <a:xfrm>
            <a:off x="446914" y="2660753"/>
            <a:ext cx="3364798" cy="2267381"/>
            <a:chOff x="0" y="1483743"/>
            <a:chExt cx="12192000" cy="3071004"/>
          </a:xfrm>
        </p:grpSpPr>
        <p:sp>
          <p:nvSpPr>
            <p:cNvPr id="19" name="TextBox 18">
              <a:extLst>
                <a:ext uri="{FF2B5EF4-FFF2-40B4-BE49-F238E27FC236}">
                  <a16:creationId xmlns:a16="http://schemas.microsoft.com/office/drawing/2014/main" id="{8DB70DD8-73CF-7E09-9A43-8744F0701DD5}"/>
                </a:ext>
              </a:extLst>
            </p:cNvPr>
            <p:cNvSpPr txBox="1"/>
            <p:nvPr/>
          </p:nvSpPr>
          <p:spPr bwMode="gray">
            <a:xfrm>
              <a:off x="0" y="1483743"/>
              <a:ext cx="12191999" cy="3071004"/>
            </a:xfrm>
            <a:prstGeom prst="rect">
              <a:avLst/>
            </a:prstGeom>
            <a:solidFill>
              <a:schemeClr val="bg1">
                <a:lumMod val="95000"/>
              </a:schemeClr>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20" name="Straight Connector 19">
              <a:extLst>
                <a:ext uri="{FF2B5EF4-FFF2-40B4-BE49-F238E27FC236}">
                  <a16:creationId xmlns:a16="http://schemas.microsoft.com/office/drawing/2014/main" id="{BE2CFB6C-D244-729C-A87E-68A79EF2FE35}"/>
                </a:ext>
              </a:extLst>
            </p:cNvPr>
            <p:cNvCxnSpPr/>
            <p:nvPr/>
          </p:nvCxnSpPr>
          <p:spPr bwMode="gray">
            <a:xfrm>
              <a:off x="0" y="1483743"/>
              <a:ext cx="12192000" cy="0"/>
            </a:xfrm>
            <a:prstGeom prst="line">
              <a:avLst/>
            </a:prstGeom>
            <a:noFill/>
            <a:ln w="22225" cap="rnd">
              <a:solidFill>
                <a:schemeClr val="tx2"/>
              </a:solidFill>
              <a:prstDash val="solid"/>
              <a:round/>
              <a:headEnd/>
              <a:tailEnd/>
            </a:ln>
            <a:effectLst/>
          </p:spPr>
        </p:cxnSp>
        <p:cxnSp>
          <p:nvCxnSpPr>
            <p:cNvPr id="21" name="Straight Connector 20">
              <a:extLst>
                <a:ext uri="{FF2B5EF4-FFF2-40B4-BE49-F238E27FC236}">
                  <a16:creationId xmlns:a16="http://schemas.microsoft.com/office/drawing/2014/main" id="{20166CDD-86BA-7503-599D-C8BBF7E0250D}"/>
                </a:ext>
              </a:extLst>
            </p:cNvPr>
            <p:cNvCxnSpPr/>
            <p:nvPr/>
          </p:nvCxnSpPr>
          <p:spPr bwMode="gray">
            <a:xfrm>
              <a:off x="0" y="4554747"/>
              <a:ext cx="12192000" cy="0"/>
            </a:xfrm>
            <a:prstGeom prst="line">
              <a:avLst/>
            </a:prstGeom>
            <a:noFill/>
            <a:ln w="22225" cap="rnd">
              <a:solidFill>
                <a:schemeClr val="tx2"/>
              </a:solidFill>
              <a:prstDash val="solid"/>
              <a:round/>
              <a:headEnd/>
              <a:tailEnd/>
            </a:ln>
            <a:effectLst/>
          </p:spPr>
        </p:cxnSp>
      </p:grpSp>
      <p:sp>
        <p:nvSpPr>
          <p:cNvPr id="22" name="TextBox 21">
            <a:extLst>
              <a:ext uri="{FF2B5EF4-FFF2-40B4-BE49-F238E27FC236}">
                <a16:creationId xmlns:a16="http://schemas.microsoft.com/office/drawing/2014/main" id="{4357C7AC-131F-8BDD-3D85-ED3D1553091C}"/>
              </a:ext>
            </a:extLst>
          </p:cNvPr>
          <p:cNvSpPr txBox="1"/>
          <p:nvPr/>
        </p:nvSpPr>
        <p:spPr bwMode="gray">
          <a:xfrm>
            <a:off x="446914" y="2935261"/>
            <a:ext cx="3364798" cy="809687"/>
          </a:xfrm>
          <a:prstGeom prst="rect">
            <a:avLst/>
          </a:prstGeom>
        </p:spPr>
        <p:txBody>
          <a:bodyPr wrap="square" lIns="45720" tIns="45720" rIns="45720" bIns="45720" rtlCol="0">
            <a:noAutofit/>
          </a:bodyPr>
          <a:lstStyle/>
          <a:p>
            <a:pPr marL="9525" marR="0" lvl="1" indent="0" algn="ctr" defTabSz="914400" rtl="0" eaLnBrk="1" fontAlgn="base" latinLnBrk="0" hangingPunct="1">
              <a:lnSpc>
                <a:spcPct val="90000"/>
              </a:lnSpc>
              <a:spcBef>
                <a:spcPts val="600"/>
              </a:spcBef>
              <a:spcAft>
                <a:spcPct val="0"/>
              </a:spcAft>
              <a:buClrTx/>
              <a:buSzTx/>
              <a:buFontTx/>
              <a:buNone/>
              <a:tabLst/>
              <a:defRPr/>
            </a:pPr>
            <a:r>
              <a:rPr kumimoji="0" lang="en-US" sz="1800" b="1" i="0" u="none" strike="noStrike" kern="1200" cap="none" spc="0" normalizeH="0" baseline="0" noProof="0" dirty="0" err="1">
                <a:ln>
                  <a:noFill/>
                </a:ln>
                <a:solidFill>
                  <a:srgbClr val="1CADE4"/>
                </a:solidFill>
                <a:effectLst/>
                <a:uLnTx/>
                <a:uFillTx/>
                <a:latin typeface="Arial" panose="020B0604020202020204"/>
                <a:ea typeface="+mn-ea"/>
                <a:cs typeface="+mn-cs"/>
              </a:rPr>
              <a:t>Ayaktan</a:t>
            </a:r>
            <a:r>
              <a:rPr kumimoji="0" lang="en-US" sz="1800" b="1" i="0" u="none" strike="noStrike" kern="1200" cap="none" spc="0" normalizeH="0" baseline="0" noProof="0" dirty="0">
                <a:ln>
                  <a:noFill/>
                </a:ln>
                <a:solidFill>
                  <a:srgbClr val="1CADE4"/>
                </a:solidFill>
                <a:effectLst/>
                <a:uLnTx/>
                <a:uFillTx/>
                <a:latin typeface="Arial" panose="020B0604020202020204"/>
                <a:ea typeface="+mn-ea"/>
                <a:cs typeface="+mn-cs"/>
              </a:rPr>
              <a:t> </a:t>
            </a:r>
            <a:r>
              <a:rPr kumimoji="0" lang="en-US" sz="1800" b="1" i="0" u="none" strike="noStrike" kern="1200" cap="none" spc="0" normalizeH="0" baseline="0" noProof="0" dirty="0" err="1">
                <a:ln>
                  <a:noFill/>
                </a:ln>
                <a:solidFill>
                  <a:srgbClr val="1CADE4"/>
                </a:solidFill>
                <a:effectLst/>
                <a:uLnTx/>
                <a:uFillTx/>
                <a:latin typeface="Arial" panose="020B0604020202020204"/>
                <a:ea typeface="+mn-ea"/>
                <a:cs typeface="+mn-cs"/>
              </a:rPr>
              <a:t>hastalar</a:t>
            </a:r>
            <a:endParaRPr kumimoji="0" lang="tr-TR" sz="1800" b="1" i="0" u="none" strike="noStrike" kern="1200" cap="none" spc="0" normalizeH="0" baseline="0" noProof="0" dirty="0">
              <a:ln>
                <a:noFill/>
              </a:ln>
              <a:solidFill>
                <a:srgbClr val="1CADE4"/>
              </a:solidFill>
              <a:effectLst/>
              <a:uLnTx/>
              <a:uFillTx/>
              <a:latin typeface="Arial" panose="020B0604020202020204"/>
              <a:ea typeface="+mn-ea"/>
              <a:cs typeface="+mn-cs"/>
            </a:endParaRPr>
          </a:p>
          <a:p>
            <a:pPr marL="9525" marR="0" lvl="1" indent="0" algn="ctr" defTabSz="914400" rtl="0" eaLnBrk="1" fontAlgn="base" latinLnBrk="0" hangingPunct="1">
              <a:lnSpc>
                <a:spcPct val="90000"/>
              </a:lnSpc>
              <a:spcBef>
                <a:spcPts val="600"/>
              </a:spcBef>
              <a:spcAft>
                <a:spcPct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RSV'nin</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ayakta</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tedavi</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edilen</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KOAH </a:t>
            </a: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alevlenmelerinin</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1" i="0" u="none" strike="noStrike" kern="1200" cap="none" spc="0" normalizeH="0" baseline="0" noProof="0" dirty="0">
                <a:ln>
                  <a:noFill/>
                </a:ln>
                <a:solidFill>
                  <a:srgbClr val="1CADE4"/>
                </a:solidFill>
                <a:effectLst/>
                <a:uLnTx/>
                <a:uFillTx/>
                <a:latin typeface="Arial" panose="020B0604020202020204"/>
                <a:ea typeface="+mn-ea"/>
                <a:cs typeface="+mn-cs"/>
              </a:rPr>
              <a:t>%8.7’si </a:t>
            </a:r>
            <a:endParaRPr kumimoji="0" lang="tr-TR" sz="2800" b="1" i="0" u="none" strike="noStrike" kern="1200" cap="none" spc="0" normalizeH="0" baseline="0" noProof="0" dirty="0">
              <a:ln>
                <a:noFill/>
              </a:ln>
              <a:solidFill>
                <a:srgbClr val="1CADE4"/>
              </a:solidFill>
              <a:effectLst/>
              <a:uLnTx/>
              <a:uFillTx/>
              <a:latin typeface="Arial" panose="020B0604020202020204"/>
              <a:ea typeface="+mn-ea"/>
              <a:cs typeface="+mn-cs"/>
            </a:endParaRPr>
          </a:p>
          <a:p>
            <a:pPr marL="9525" marR="0" lvl="1" indent="0" algn="ctr" defTabSz="914400" rtl="0" eaLnBrk="1" fontAlgn="base" latinLnBrk="0" hangingPunct="1">
              <a:lnSpc>
                <a:spcPct val="90000"/>
              </a:lnSpc>
              <a:spcBef>
                <a:spcPts val="600"/>
              </a:spcBef>
              <a:spcAft>
                <a:spcPct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ile</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ilişkili</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olduğu</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bildirilmiştir</a:t>
            </a:r>
            <a:r>
              <a:rPr kumimoji="0" lang="en-US" sz="1800" b="0" i="0" u="none" strike="noStrike" kern="1200" cap="none" spc="0" normalizeH="0" baseline="30000" noProof="0" dirty="0">
                <a:ln>
                  <a:noFill/>
                </a:ln>
                <a:solidFill>
                  <a:srgbClr val="000000"/>
                </a:solidFill>
                <a:effectLst/>
                <a:uLnTx/>
                <a:uFillTx/>
                <a:latin typeface="Arial" panose="020B0604020202020204"/>
                <a:ea typeface="+mn-ea"/>
                <a:cs typeface="+mn-cs"/>
              </a:rPr>
              <a:t>1</a:t>
            </a:r>
            <a:endParaRPr kumimoji="0" lang="en-US" sz="1600" b="0" i="0" u="none" strike="noStrike" kern="1200" cap="none" spc="0" normalizeH="0" baseline="30000" noProof="0" dirty="0">
              <a:ln>
                <a:noFill/>
              </a:ln>
              <a:solidFill>
                <a:srgbClr val="000000"/>
              </a:solidFill>
              <a:effectLst/>
              <a:uLnTx/>
              <a:uFillTx/>
              <a:latin typeface="Arial" panose="020B0604020202020204"/>
              <a:ea typeface="+mn-ea"/>
              <a:cs typeface="+mn-cs"/>
            </a:endParaRPr>
          </a:p>
        </p:txBody>
      </p:sp>
      <p:pic>
        <p:nvPicPr>
          <p:cNvPr id="23" name="Graphic 22" descr="First aid kit with solid fill">
            <a:extLst>
              <a:ext uri="{FF2B5EF4-FFF2-40B4-BE49-F238E27FC236}">
                <a16:creationId xmlns:a16="http://schemas.microsoft.com/office/drawing/2014/main" id="{84D598A2-8F03-A5FD-6C2B-28469C9368A7}"/>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1675662" y="1778821"/>
            <a:ext cx="914400" cy="914400"/>
          </a:xfrm>
          <a:prstGeom prst="rect">
            <a:avLst/>
          </a:prstGeom>
        </p:spPr>
      </p:pic>
      <p:sp>
        <p:nvSpPr>
          <p:cNvPr id="24" name="Freeform: Shape 24">
            <a:extLst>
              <a:ext uri="{FF2B5EF4-FFF2-40B4-BE49-F238E27FC236}">
                <a16:creationId xmlns:a16="http://schemas.microsoft.com/office/drawing/2014/main" id="{F7116538-3291-3098-ED06-48EB6D3B9158}"/>
              </a:ext>
            </a:extLst>
          </p:cNvPr>
          <p:cNvSpPr>
            <a:spLocks noChangeAspect="1"/>
          </p:cNvSpPr>
          <p:nvPr/>
        </p:nvSpPr>
        <p:spPr>
          <a:xfrm>
            <a:off x="5259545" y="1699738"/>
            <a:ext cx="1671184" cy="1671184"/>
          </a:xfrm>
          <a:custGeom>
            <a:avLst/>
            <a:gdLst>
              <a:gd name="connsiteX0" fmla="*/ 0 w 1631817"/>
              <a:gd name="connsiteY0" fmla="*/ 815909 h 1631817"/>
              <a:gd name="connsiteX1" fmla="*/ 815909 w 1631817"/>
              <a:gd name="connsiteY1" fmla="*/ 0 h 1631817"/>
              <a:gd name="connsiteX2" fmla="*/ 1631818 w 1631817"/>
              <a:gd name="connsiteY2" fmla="*/ 815909 h 1631817"/>
              <a:gd name="connsiteX3" fmla="*/ 815909 w 1631817"/>
              <a:gd name="connsiteY3" fmla="*/ 1631818 h 1631817"/>
              <a:gd name="connsiteX4" fmla="*/ 0 w 1631817"/>
              <a:gd name="connsiteY4" fmla="*/ 815909 h 1631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1817" h="1631817">
                <a:moveTo>
                  <a:pt x="0" y="815909"/>
                </a:moveTo>
                <a:cubicBezTo>
                  <a:pt x="0" y="365295"/>
                  <a:pt x="365295" y="0"/>
                  <a:pt x="815909" y="0"/>
                </a:cubicBezTo>
                <a:cubicBezTo>
                  <a:pt x="1266523" y="0"/>
                  <a:pt x="1631818" y="365295"/>
                  <a:pt x="1631818" y="815909"/>
                </a:cubicBezTo>
                <a:cubicBezTo>
                  <a:pt x="1631818" y="1266523"/>
                  <a:pt x="1266523" y="1631818"/>
                  <a:pt x="815909" y="1631818"/>
                </a:cubicBezTo>
                <a:cubicBezTo>
                  <a:pt x="365295" y="1631818"/>
                  <a:pt x="0" y="1266523"/>
                  <a:pt x="0" y="815909"/>
                </a:cubicBezTo>
                <a:close/>
              </a:path>
            </a:pathLst>
          </a:custGeom>
          <a:solidFill>
            <a:schemeClr val="tx2"/>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238974" tIns="238974" rIns="238974" bIns="238974"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en-US" sz="65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5" name="Group 24">
            <a:extLst>
              <a:ext uri="{FF2B5EF4-FFF2-40B4-BE49-F238E27FC236}">
                <a16:creationId xmlns:a16="http://schemas.microsoft.com/office/drawing/2014/main" id="{D22FC4D8-4FEE-03B7-55C0-1E518DA93E22}"/>
              </a:ext>
            </a:extLst>
          </p:cNvPr>
          <p:cNvGrpSpPr/>
          <p:nvPr/>
        </p:nvGrpSpPr>
        <p:grpSpPr>
          <a:xfrm>
            <a:off x="4412738" y="2660753"/>
            <a:ext cx="3364798" cy="2267381"/>
            <a:chOff x="0" y="1483743"/>
            <a:chExt cx="12192000" cy="3071004"/>
          </a:xfrm>
        </p:grpSpPr>
        <p:sp>
          <p:nvSpPr>
            <p:cNvPr id="26" name="TextBox 25">
              <a:extLst>
                <a:ext uri="{FF2B5EF4-FFF2-40B4-BE49-F238E27FC236}">
                  <a16:creationId xmlns:a16="http://schemas.microsoft.com/office/drawing/2014/main" id="{07843568-FFAA-F3C2-7EE9-D7F4084FE371}"/>
                </a:ext>
              </a:extLst>
            </p:cNvPr>
            <p:cNvSpPr txBox="1"/>
            <p:nvPr/>
          </p:nvSpPr>
          <p:spPr bwMode="gray">
            <a:xfrm>
              <a:off x="0" y="1483743"/>
              <a:ext cx="12191999" cy="3071004"/>
            </a:xfrm>
            <a:prstGeom prst="rect">
              <a:avLst/>
            </a:prstGeom>
            <a:solidFill>
              <a:schemeClr val="bg1">
                <a:lumMod val="95000"/>
              </a:schemeClr>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27" name="Straight Connector 26">
              <a:extLst>
                <a:ext uri="{FF2B5EF4-FFF2-40B4-BE49-F238E27FC236}">
                  <a16:creationId xmlns:a16="http://schemas.microsoft.com/office/drawing/2014/main" id="{68C8864B-2776-11AC-AF66-DB3E244F3229}"/>
                </a:ext>
              </a:extLst>
            </p:cNvPr>
            <p:cNvCxnSpPr/>
            <p:nvPr/>
          </p:nvCxnSpPr>
          <p:spPr bwMode="gray">
            <a:xfrm>
              <a:off x="0" y="1483743"/>
              <a:ext cx="12192000" cy="0"/>
            </a:xfrm>
            <a:prstGeom prst="line">
              <a:avLst/>
            </a:prstGeom>
            <a:noFill/>
            <a:ln w="22225" cap="rnd">
              <a:solidFill>
                <a:schemeClr val="tx2"/>
              </a:solidFill>
              <a:prstDash val="solid"/>
              <a:round/>
              <a:headEnd/>
              <a:tailEnd/>
            </a:ln>
            <a:effectLst/>
          </p:spPr>
        </p:cxnSp>
        <p:cxnSp>
          <p:nvCxnSpPr>
            <p:cNvPr id="28" name="Straight Connector 27">
              <a:extLst>
                <a:ext uri="{FF2B5EF4-FFF2-40B4-BE49-F238E27FC236}">
                  <a16:creationId xmlns:a16="http://schemas.microsoft.com/office/drawing/2014/main" id="{78587C4F-77DE-205D-E1DF-AAF3E1C17F12}"/>
                </a:ext>
              </a:extLst>
            </p:cNvPr>
            <p:cNvCxnSpPr/>
            <p:nvPr/>
          </p:nvCxnSpPr>
          <p:spPr bwMode="gray">
            <a:xfrm>
              <a:off x="0" y="4554747"/>
              <a:ext cx="12192000" cy="0"/>
            </a:xfrm>
            <a:prstGeom prst="line">
              <a:avLst/>
            </a:prstGeom>
            <a:noFill/>
            <a:ln w="22225" cap="rnd">
              <a:solidFill>
                <a:schemeClr val="tx2"/>
              </a:solidFill>
              <a:prstDash val="solid"/>
              <a:round/>
              <a:headEnd/>
              <a:tailEnd/>
            </a:ln>
            <a:effectLst/>
          </p:spPr>
        </p:cxnSp>
      </p:grpSp>
      <p:sp>
        <p:nvSpPr>
          <p:cNvPr id="29" name="TextBox 28">
            <a:extLst>
              <a:ext uri="{FF2B5EF4-FFF2-40B4-BE49-F238E27FC236}">
                <a16:creationId xmlns:a16="http://schemas.microsoft.com/office/drawing/2014/main" id="{F51CAD7C-5595-BBBB-0D13-CD5AB27CC75D}"/>
              </a:ext>
            </a:extLst>
          </p:cNvPr>
          <p:cNvSpPr txBox="1"/>
          <p:nvPr/>
        </p:nvSpPr>
        <p:spPr bwMode="gray">
          <a:xfrm>
            <a:off x="4412738" y="2759781"/>
            <a:ext cx="3364798" cy="809687"/>
          </a:xfrm>
          <a:prstGeom prst="rect">
            <a:avLst/>
          </a:prstGeom>
        </p:spPr>
        <p:txBody>
          <a:bodyPr wrap="square" lIns="45720" tIns="45720" rIns="45720" bIns="45720" rtlCol="0">
            <a:noAutofit/>
          </a:bodyPr>
          <a:lstStyle/>
          <a:p>
            <a:pPr marL="9525" marR="0" lvl="1" indent="0" algn="ctr" defTabSz="914400" rtl="0" eaLnBrk="1" fontAlgn="base" latinLnBrk="0" hangingPunct="1">
              <a:lnSpc>
                <a:spcPct val="90000"/>
              </a:lnSpc>
              <a:spcBef>
                <a:spcPts val="600"/>
              </a:spcBef>
              <a:spcAft>
                <a:spcPct val="0"/>
              </a:spcAft>
              <a:buClrTx/>
              <a:buSzTx/>
              <a:buFontTx/>
              <a:buNone/>
              <a:tabLst/>
              <a:defRPr/>
            </a:pPr>
            <a:r>
              <a:rPr kumimoji="0" lang="en-US" sz="1800" b="1" i="0" u="none" strike="noStrike" kern="1200" cap="none" spc="0" normalizeH="0" baseline="0" noProof="0" dirty="0" err="1">
                <a:ln>
                  <a:noFill/>
                </a:ln>
                <a:solidFill>
                  <a:srgbClr val="1CADE4"/>
                </a:solidFill>
                <a:effectLst/>
                <a:uLnTx/>
                <a:uFillTx/>
                <a:latin typeface="Arial" panose="020B0604020202020204"/>
                <a:ea typeface="+mn-ea"/>
                <a:cs typeface="+mn-cs"/>
              </a:rPr>
              <a:t>Hastaneye</a:t>
            </a:r>
            <a:r>
              <a:rPr kumimoji="0" lang="en-US" sz="1800" b="1" i="0" u="none" strike="noStrike" kern="1200" cap="none" spc="0" normalizeH="0" baseline="0" noProof="0" dirty="0">
                <a:ln>
                  <a:noFill/>
                </a:ln>
                <a:solidFill>
                  <a:srgbClr val="1CADE4"/>
                </a:solidFill>
                <a:effectLst/>
                <a:uLnTx/>
                <a:uFillTx/>
                <a:latin typeface="Arial" panose="020B0604020202020204"/>
                <a:ea typeface="+mn-ea"/>
                <a:cs typeface="+mn-cs"/>
              </a:rPr>
              <a:t> </a:t>
            </a:r>
            <a:r>
              <a:rPr kumimoji="0" lang="en-US" sz="1800" b="1" i="0" u="none" strike="noStrike" kern="1200" cap="none" spc="0" normalizeH="0" baseline="0" noProof="0" dirty="0" err="1">
                <a:ln>
                  <a:noFill/>
                </a:ln>
                <a:solidFill>
                  <a:srgbClr val="1CADE4"/>
                </a:solidFill>
                <a:effectLst/>
                <a:uLnTx/>
                <a:uFillTx/>
                <a:latin typeface="Arial" panose="020B0604020202020204"/>
                <a:ea typeface="+mn-ea"/>
                <a:cs typeface="+mn-cs"/>
              </a:rPr>
              <a:t>yatışlar</a:t>
            </a:r>
            <a:endParaRPr kumimoji="0" lang="tr-TR" sz="1800" b="1" i="0" u="none" strike="noStrike" kern="1200" cap="none" spc="0" normalizeH="0" baseline="0" noProof="0" dirty="0">
              <a:ln>
                <a:noFill/>
              </a:ln>
              <a:solidFill>
                <a:srgbClr val="1CADE4"/>
              </a:solidFill>
              <a:effectLst/>
              <a:uLnTx/>
              <a:uFillTx/>
              <a:latin typeface="Arial" panose="020B0604020202020204"/>
              <a:ea typeface="+mn-ea"/>
              <a:cs typeface="+mn-cs"/>
            </a:endParaRPr>
          </a:p>
          <a:p>
            <a:pPr marL="9525" marR="0" lvl="1" indent="0" algn="ctr" defTabSz="914400" rtl="0" eaLnBrk="1" fontAlgn="base" latinLnBrk="0" hangingPunct="1">
              <a:lnSpc>
                <a:spcPct val="90000"/>
              </a:lnSpc>
              <a:spcBef>
                <a:spcPts val="600"/>
              </a:spcBef>
              <a:spcAft>
                <a:spcPct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Virüs</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kaynaklı</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KOAH </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alevlenmeleri</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nedeniyle</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hastaneye</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yatırılan</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yaşlı</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yetişkinler</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arasında</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endParaRPr kumimoji="0" lang="tr-TR"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9525" marR="0" lvl="1" indent="0" algn="ctr" defTabSz="914400" rtl="0" eaLnBrk="1" fontAlgn="base" latinLnBrk="0" hangingPunct="1">
              <a:lnSpc>
                <a:spcPct val="90000"/>
              </a:lnSpc>
              <a:spcBef>
                <a:spcPts val="600"/>
              </a:spcBef>
              <a:spcAft>
                <a:spcPct val="0"/>
              </a:spcAft>
              <a:buClrTx/>
              <a:buSzTx/>
              <a:buFontTx/>
              <a:buNone/>
              <a:tabLst/>
              <a:defRPr/>
            </a:pPr>
            <a:r>
              <a:rPr kumimoji="0" lang="en-US" sz="2800" b="1" i="0" u="none" strike="noStrike" kern="1200" cap="none" spc="0" normalizeH="0" baseline="0" noProof="0" dirty="0">
                <a:ln>
                  <a:noFill/>
                </a:ln>
                <a:solidFill>
                  <a:srgbClr val="1CADE4"/>
                </a:solidFill>
                <a:effectLst/>
                <a:uLnTx/>
                <a:uFillTx/>
                <a:latin typeface="Arial" panose="020B0604020202020204"/>
                <a:ea typeface="+mn-ea"/>
                <a:cs typeface="+mn-cs"/>
              </a:rPr>
              <a:t>%22-%28'inin</a:t>
            </a:r>
            <a:r>
              <a:rPr kumimoji="0" lang="en-US" sz="1800" b="0" i="0" u="none" strike="noStrike" kern="1200" cap="none" spc="0" normalizeH="0" baseline="0" noProof="0" dirty="0">
                <a:ln>
                  <a:noFill/>
                </a:ln>
                <a:solidFill>
                  <a:srgbClr val="1CADE4"/>
                </a:solidFill>
                <a:effectLst/>
                <a:uLnTx/>
                <a:uFillTx/>
                <a:latin typeface="Arial" panose="020B0604020202020204"/>
                <a:ea typeface="+mn-ea"/>
                <a:cs typeface="+mn-cs"/>
              </a:rPr>
              <a:t> </a:t>
            </a:r>
            <a:endParaRPr kumimoji="0" lang="tr-TR" sz="1800" b="0" i="0" u="none" strike="noStrike" kern="1200" cap="none" spc="0" normalizeH="0" baseline="0" noProof="0" dirty="0">
              <a:ln>
                <a:noFill/>
              </a:ln>
              <a:solidFill>
                <a:srgbClr val="1CADE4"/>
              </a:solidFill>
              <a:effectLst/>
              <a:uLnTx/>
              <a:uFillTx/>
              <a:latin typeface="Arial" panose="020B0604020202020204"/>
              <a:ea typeface="+mn-ea"/>
              <a:cs typeface="+mn-cs"/>
            </a:endParaRPr>
          </a:p>
          <a:p>
            <a:pPr marL="9525" marR="0" lvl="1" indent="0" algn="ctr" defTabSz="914400" rtl="0" eaLnBrk="1" fontAlgn="base" latinLnBrk="0" hangingPunct="1">
              <a:lnSpc>
                <a:spcPct val="90000"/>
              </a:lnSpc>
              <a:spcBef>
                <a:spcPts val="6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RSV </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enfeksiyonlarından</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kaynaklandığı</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bildirilmiştir</a:t>
            </a:r>
            <a:r>
              <a:rPr kumimoji="0" lang="en-US" sz="1600" b="0" i="0" u="none" strike="noStrike" kern="1200" cap="none" spc="0" normalizeH="0" baseline="30000" noProof="0" dirty="0">
                <a:ln>
                  <a:noFill/>
                </a:ln>
                <a:solidFill>
                  <a:srgbClr val="000000"/>
                </a:solidFill>
                <a:effectLst/>
                <a:uLnTx/>
                <a:uFillTx/>
                <a:latin typeface="Arial" panose="020B0604020202020204"/>
                <a:ea typeface="+mn-ea"/>
                <a:cs typeface="+mn-cs"/>
              </a:rPr>
              <a:t>2,3</a:t>
            </a:r>
          </a:p>
        </p:txBody>
      </p:sp>
      <p:sp>
        <p:nvSpPr>
          <p:cNvPr id="31" name="Freeform: Shape 24">
            <a:extLst>
              <a:ext uri="{FF2B5EF4-FFF2-40B4-BE49-F238E27FC236}">
                <a16:creationId xmlns:a16="http://schemas.microsoft.com/office/drawing/2014/main" id="{E6E2829D-E00C-516B-FBA3-A6A327BC5131}"/>
              </a:ext>
            </a:extLst>
          </p:cNvPr>
          <p:cNvSpPr>
            <a:spLocks noChangeAspect="1"/>
          </p:cNvSpPr>
          <p:nvPr/>
        </p:nvSpPr>
        <p:spPr>
          <a:xfrm>
            <a:off x="9225369" y="1699738"/>
            <a:ext cx="1671184" cy="1671184"/>
          </a:xfrm>
          <a:custGeom>
            <a:avLst/>
            <a:gdLst>
              <a:gd name="connsiteX0" fmla="*/ 0 w 1631817"/>
              <a:gd name="connsiteY0" fmla="*/ 815909 h 1631817"/>
              <a:gd name="connsiteX1" fmla="*/ 815909 w 1631817"/>
              <a:gd name="connsiteY1" fmla="*/ 0 h 1631817"/>
              <a:gd name="connsiteX2" fmla="*/ 1631818 w 1631817"/>
              <a:gd name="connsiteY2" fmla="*/ 815909 h 1631817"/>
              <a:gd name="connsiteX3" fmla="*/ 815909 w 1631817"/>
              <a:gd name="connsiteY3" fmla="*/ 1631818 h 1631817"/>
              <a:gd name="connsiteX4" fmla="*/ 0 w 1631817"/>
              <a:gd name="connsiteY4" fmla="*/ 815909 h 1631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1817" h="1631817">
                <a:moveTo>
                  <a:pt x="0" y="815909"/>
                </a:moveTo>
                <a:cubicBezTo>
                  <a:pt x="0" y="365295"/>
                  <a:pt x="365295" y="0"/>
                  <a:pt x="815909" y="0"/>
                </a:cubicBezTo>
                <a:cubicBezTo>
                  <a:pt x="1266523" y="0"/>
                  <a:pt x="1631818" y="365295"/>
                  <a:pt x="1631818" y="815909"/>
                </a:cubicBezTo>
                <a:cubicBezTo>
                  <a:pt x="1631818" y="1266523"/>
                  <a:pt x="1266523" y="1631818"/>
                  <a:pt x="815909" y="1631818"/>
                </a:cubicBezTo>
                <a:cubicBezTo>
                  <a:pt x="365295" y="1631818"/>
                  <a:pt x="0" y="1266523"/>
                  <a:pt x="0" y="815909"/>
                </a:cubicBezTo>
                <a:close/>
              </a:path>
            </a:pathLst>
          </a:custGeom>
          <a:solidFill>
            <a:schemeClr val="tx2"/>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238974" tIns="238974" rIns="238974" bIns="238974"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en-US" sz="65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2" name="Group 31">
            <a:extLst>
              <a:ext uri="{FF2B5EF4-FFF2-40B4-BE49-F238E27FC236}">
                <a16:creationId xmlns:a16="http://schemas.microsoft.com/office/drawing/2014/main" id="{38758866-5072-F633-DA6F-7DAB766A68B4}"/>
              </a:ext>
            </a:extLst>
          </p:cNvPr>
          <p:cNvGrpSpPr/>
          <p:nvPr/>
        </p:nvGrpSpPr>
        <p:grpSpPr>
          <a:xfrm>
            <a:off x="8378562" y="2660753"/>
            <a:ext cx="3364798" cy="2267381"/>
            <a:chOff x="0" y="1483743"/>
            <a:chExt cx="12192000" cy="3071004"/>
          </a:xfrm>
        </p:grpSpPr>
        <p:sp>
          <p:nvSpPr>
            <p:cNvPr id="33" name="TextBox 32">
              <a:extLst>
                <a:ext uri="{FF2B5EF4-FFF2-40B4-BE49-F238E27FC236}">
                  <a16:creationId xmlns:a16="http://schemas.microsoft.com/office/drawing/2014/main" id="{4A5473BE-DD3E-3125-3831-D0168681D27F}"/>
                </a:ext>
              </a:extLst>
            </p:cNvPr>
            <p:cNvSpPr txBox="1"/>
            <p:nvPr/>
          </p:nvSpPr>
          <p:spPr bwMode="gray">
            <a:xfrm>
              <a:off x="0" y="1483743"/>
              <a:ext cx="12191999" cy="3071004"/>
            </a:xfrm>
            <a:prstGeom prst="rect">
              <a:avLst/>
            </a:prstGeom>
            <a:solidFill>
              <a:schemeClr val="bg1">
                <a:lumMod val="95000"/>
              </a:schemeClr>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34" name="Straight Connector 33">
              <a:extLst>
                <a:ext uri="{FF2B5EF4-FFF2-40B4-BE49-F238E27FC236}">
                  <a16:creationId xmlns:a16="http://schemas.microsoft.com/office/drawing/2014/main" id="{21CB946C-7341-AB6B-BC10-01E67725D680}"/>
                </a:ext>
              </a:extLst>
            </p:cNvPr>
            <p:cNvCxnSpPr/>
            <p:nvPr/>
          </p:nvCxnSpPr>
          <p:spPr bwMode="gray">
            <a:xfrm>
              <a:off x="0" y="1483743"/>
              <a:ext cx="12192000" cy="0"/>
            </a:xfrm>
            <a:prstGeom prst="line">
              <a:avLst/>
            </a:prstGeom>
            <a:noFill/>
            <a:ln w="22225" cap="rnd">
              <a:solidFill>
                <a:schemeClr val="tx2"/>
              </a:solidFill>
              <a:prstDash val="solid"/>
              <a:round/>
              <a:headEnd/>
              <a:tailEnd/>
            </a:ln>
            <a:effectLst/>
          </p:spPr>
        </p:cxnSp>
        <p:cxnSp>
          <p:nvCxnSpPr>
            <p:cNvPr id="35" name="Straight Connector 34">
              <a:extLst>
                <a:ext uri="{FF2B5EF4-FFF2-40B4-BE49-F238E27FC236}">
                  <a16:creationId xmlns:a16="http://schemas.microsoft.com/office/drawing/2014/main" id="{D3A5E068-9118-B9E7-C41F-8677BD6EFD66}"/>
                </a:ext>
              </a:extLst>
            </p:cNvPr>
            <p:cNvCxnSpPr/>
            <p:nvPr/>
          </p:nvCxnSpPr>
          <p:spPr bwMode="gray">
            <a:xfrm>
              <a:off x="0" y="4554747"/>
              <a:ext cx="12192000" cy="0"/>
            </a:xfrm>
            <a:prstGeom prst="line">
              <a:avLst/>
            </a:prstGeom>
            <a:noFill/>
            <a:ln w="22225" cap="rnd">
              <a:solidFill>
                <a:schemeClr val="tx2"/>
              </a:solidFill>
              <a:prstDash val="solid"/>
              <a:round/>
              <a:headEnd/>
              <a:tailEnd/>
            </a:ln>
            <a:effectLst/>
          </p:spPr>
        </p:cxnSp>
      </p:grpSp>
      <p:sp>
        <p:nvSpPr>
          <p:cNvPr id="36" name="TextBox 35">
            <a:extLst>
              <a:ext uri="{FF2B5EF4-FFF2-40B4-BE49-F238E27FC236}">
                <a16:creationId xmlns:a16="http://schemas.microsoft.com/office/drawing/2014/main" id="{512B8D45-B67C-AC13-ABD8-CA7A93F28E0B}"/>
              </a:ext>
            </a:extLst>
          </p:cNvPr>
          <p:cNvSpPr txBox="1"/>
          <p:nvPr/>
        </p:nvSpPr>
        <p:spPr bwMode="gray">
          <a:xfrm>
            <a:off x="8378562" y="2935261"/>
            <a:ext cx="3364798" cy="809687"/>
          </a:xfrm>
          <a:prstGeom prst="rect">
            <a:avLst/>
          </a:prstGeom>
        </p:spPr>
        <p:txBody>
          <a:bodyPr wrap="square" lIns="45720" tIns="45720" rIns="45720" bIns="45720" rtlCol="0">
            <a:noAutofit/>
          </a:bodyPr>
          <a:lstStyle/>
          <a:p>
            <a:pPr marL="9525" marR="0" lvl="1" indent="0" algn="ctr" defTabSz="914400" rtl="0" eaLnBrk="1" fontAlgn="base" latinLnBrk="0" hangingPunct="1">
              <a:lnSpc>
                <a:spcPct val="90000"/>
              </a:lnSpc>
              <a:spcBef>
                <a:spcPts val="600"/>
              </a:spcBef>
              <a:spcAft>
                <a:spcPct val="0"/>
              </a:spcAft>
              <a:buClrTx/>
              <a:buSzTx/>
              <a:buFontTx/>
              <a:buNone/>
              <a:tabLst/>
              <a:defRPr/>
            </a:pPr>
            <a:r>
              <a:rPr kumimoji="0" lang="en-US" sz="1800" b="1" i="0" u="none" strike="noStrike" kern="1200" cap="none" spc="0" normalizeH="0" baseline="0" noProof="0" err="1">
                <a:ln>
                  <a:noFill/>
                </a:ln>
                <a:solidFill>
                  <a:srgbClr val="1CADE4"/>
                </a:solidFill>
                <a:effectLst/>
                <a:uLnTx/>
                <a:uFillTx/>
                <a:latin typeface="Arial" panose="020B0604020202020204"/>
                <a:ea typeface="+mn-ea"/>
                <a:cs typeface="+mn-cs"/>
              </a:rPr>
              <a:t>Mortalit</a:t>
            </a:r>
            <a:r>
              <a:rPr kumimoji="0" lang="tr-TR" sz="1800" b="1" i="0" u="none" strike="noStrike" kern="1200" cap="none" spc="0" normalizeH="0" baseline="0" noProof="0">
                <a:ln>
                  <a:noFill/>
                </a:ln>
                <a:solidFill>
                  <a:srgbClr val="1CADE4"/>
                </a:solidFill>
                <a:effectLst/>
                <a:uLnTx/>
                <a:uFillTx/>
                <a:latin typeface="Arial" panose="020B0604020202020204"/>
                <a:ea typeface="+mn-ea"/>
                <a:cs typeface="+mn-cs"/>
              </a:rPr>
              <a:t>e</a:t>
            </a:r>
            <a:endParaRPr kumimoji="0" lang="en-US" sz="1800" b="1" i="0" u="none" strike="noStrike" kern="1200" cap="none" spc="0" normalizeH="0" baseline="0" noProof="0">
              <a:ln>
                <a:noFill/>
              </a:ln>
              <a:solidFill>
                <a:srgbClr val="1CADE4"/>
              </a:solidFill>
              <a:effectLst/>
              <a:uLnTx/>
              <a:uFillTx/>
              <a:latin typeface="Arial" panose="020B0604020202020204"/>
              <a:ea typeface="+mn-ea"/>
              <a:cs typeface="+mn-cs"/>
            </a:endParaRPr>
          </a:p>
          <a:p>
            <a:pPr marL="9525" marR="0" lvl="1" indent="0" algn="ctr" defTabSz="914400" rtl="0" eaLnBrk="1" fontAlgn="base" latinLnBrk="0" hangingPunct="1">
              <a:lnSpc>
                <a:spcPct val="90000"/>
              </a:lnSpc>
              <a:spcBef>
                <a:spcPts val="60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Bir </a:t>
            </a:r>
            <a:r>
              <a:rPr kumimoji="0" lang="en-US" sz="1800" b="0" i="0" u="none" strike="noStrike" kern="1200" cap="none" spc="0" normalizeH="0" baseline="0" noProof="0" err="1">
                <a:ln>
                  <a:noFill/>
                </a:ln>
                <a:solidFill>
                  <a:srgbClr val="000000"/>
                </a:solidFill>
                <a:effectLst/>
                <a:uLnTx/>
                <a:uFillTx/>
                <a:latin typeface="Arial" panose="020B0604020202020204"/>
                <a:ea typeface="+mn-ea"/>
                <a:cs typeface="+mn-cs"/>
              </a:rPr>
              <a:t>retrospektif</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err="1">
                <a:ln>
                  <a:noFill/>
                </a:ln>
                <a:solidFill>
                  <a:srgbClr val="000000"/>
                </a:solidFill>
                <a:effectLst/>
                <a:uLnTx/>
                <a:uFillTx/>
                <a:latin typeface="Arial" panose="020B0604020202020204"/>
                <a:ea typeface="+mn-ea"/>
                <a:cs typeface="+mn-cs"/>
              </a:rPr>
              <a:t>çalışma</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 RSV </a:t>
            </a:r>
            <a:r>
              <a:rPr kumimoji="0" lang="en-US" sz="1800" b="0" i="0" u="none" strike="noStrike" kern="1200" cap="none" spc="0" normalizeH="0" baseline="0" noProof="0" err="1">
                <a:ln>
                  <a:noFill/>
                </a:ln>
                <a:solidFill>
                  <a:srgbClr val="000000"/>
                </a:solidFill>
                <a:effectLst/>
                <a:uLnTx/>
                <a:uFillTx/>
                <a:latin typeface="Arial" panose="020B0604020202020204"/>
                <a:ea typeface="+mn-ea"/>
                <a:cs typeface="+mn-cs"/>
              </a:rPr>
              <a:t>ile</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err="1">
                <a:ln>
                  <a:noFill/>
                </a:ln>
                <a:solidFill>
                  <a:srgbClr val="000000"/>
                </a:solidFill>
                <a:effectLst/>
                <a:uLnTx/>
                <a:uFillTx/>
                <a:latin typeface="Arial" panose="020B0604020202020204"/>
                <a:ea typeface="+mn-ea"/>
                <a:cs typeface="+mn-cs"/>
              </a:rPr>
              <a:t>ilişkili</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err="1">
                <a:ln>
                  <a:noFill/>
                </a:ln>
                <a:solidFill>
                  <a:srgbClr val="000000"/>
                </a:solidFill>
                <a:effectLst/>
                <a:uLnTx/>
                <a:uFillTx/>
                <a:latin typeface="Arial" panose="020B0604020202020204"/>
                <a:ea typeface="+mn-ea"/>
                <a:cs typeface="+mn-cs"/>
              </a:rPr>
              <a:t>hastaneye</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err="1">
                <a:ln>
                  <a:noFill/>
                </a:ln>
                <a:solidFill>
                  <a:srgbClr val="000000"/>
                </a:solidFill>
                <a:effectLst/>
                <a:uLnTx/>
                <a:uFillTx/>
                <a:latin typeface="Arial" panose="020B0604020202020204"/>
                <a:ea typeface="+mn-ea"/>
                <a:cs typeface="+mn-cs"/>
              </a:rPr>
              <a:t>yatışlarda</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 KOAH </a:t>
            </a:r>
            <a:r>
              <a:rPr kumimoji="0" lang="en-US" sz="1800" b="0" i="0" u="none" strike="noStrike" kern="1200" cap="none" spc="0" normalizeH="0" baseline="0" noProof="0" err="1">
                <a:ln>
                  <a:noFill/>
                </a:ln>
                <a:solidFill>
                  <a:srgbClr val="000000"/>
                </a:solidFill>
                <a:effectLst/>
                <a:uLnTx/>
                <a:uFillTx/>
                <a:latin typeface="Arial" panose="020B0604020202020204"/>
                <a:ea typeface="+mn-ea"/>
                <a:cs typeface="+mn-cs"/>
              </a:rPr>
              <a:t>hastaları</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err="1">
                <a:ln>
                  <a:noFill/>
                </a:ln>
                <a:solidFill>
                  <a:srgbClr val="000000"/>
                </a:solidFill>
                <a:effectLst/>
                <a:uLnTx/>
                <a:uFillTx/>
                <a:latin typeface="Arial" panose="020B0604020202020204"/>
                <a:ea typeface="+mn-ea"/>
                <a:cs typeface="+mn-cs"/>
              </a:rPr>
              <a:t>arasında</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 60 </a:t>
            </a:r>
            <a:r>
              <a:rPr kumimoji="0" lang="en-US" sz="1800" b="0" i="0" u="none" strike="noStrike" kern="1200" cap="none" spc="0" normalizeH="0" baseline="0" noProof="0" err="1">
                <a:ln>
                  <a:noFill/>
                </a:ln>
                <a:solidFill>
                  <a:srgbClr val="000000"/>
                </a:solidFill>
                <a:effectLst/>
                <a:uLnTx/>
                <a:uFillTx/>
                <a:latin typeface="Arial" panose="020B0604020202020204"/>
                <a:ea typeface="+mn-ea"/>
                <a:cs typeface="+mn-cs"/>
              </a:rPr>
              <a:t>günlük</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err="1">
                <a:ln>
                  <a:noFill/>
                </a:ln>
                <a:solidFill>
                  <a:srgbClr val="000000"/>
                </a:solidFill>
                <a:effectLst/>
                <a:uLnTx/>
                <a:uFillTx/>
                <a:latin typeface="Arial" panose="020B0604020202020204"/>
                <a:ea typeface="+mn-ea"/>
                <a:cs typeface="+mn-cs"/>
              </a:rPr>
              <a:t>mortalitenin</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2800" b="1" i="0" u="none" strike="noStrike" kern="1200" cap="none" spc="0" normalizeH="0" baseline="0" noProof="0">
                <a:ln>
                  <a:noFill/>
                </a:ln>
                <a:solidFill>
                  <a:srgbClr val="1CADE4"/>
                </a:solidFill>
                <a:effectLst/>
                <a:uLnTx/>
                <a:uFillTx/>
                <a:latin typeface="Arial" panose="020B0604020202020204"/>
                <a:ea typeface="+mn-ea"/>
                <a:cs typeface="+mn-cs"/>
              </a:rPr>
              <a:t>%12.8</a:t>
            </a:r>
            <a:r>
              <a:rPr kumimoji="0" lang="en-US" sz="1800" b="0" i="0" u="none" strike="noStrike" kern="1200" cap="none" spc="0" normalizeH="0" baseline="0" noProof="0">
                <a:ln>
                  <a:noFill/>
                </a:ln>
                <a:solidFill>
                  <a:srgbClr val="1CADE4"/>
                </a:solidFill>
                <a:effectLst/>
                <a:uLnTx/>
                <a:uFillTx/>
                <a:latin typeface="Arial" panose="020B0604020202020204"/>
                <a:ea typeface="+mn-ea"/>
                <a:cs typeface="+mn-cs"/>
              </a:rPr>
              <a:t> </a:t>
            </a:r>
            <a:r>
              <a:rPr kumimoji="0" lang="en-US" sz="1800" b="0" i="0" u="none" strike="noStrike" kern="1200" cap="none" spc="0" normalizeH="0" baseline="0" noProof="0" err="1">
                <a:ln>
                  <a:noFill/>
                </a:ln>
                <a:solidFill>
                  <a:srgbClr val="000000"/>
                </a:solidFill>
                <a:effectLst/>
                <a:uLnTx/>
                <a:uFillTx/>
                <a:latin typeface="Arial" panose="020B0604020202020204"/>
                <a:ea typeface="+mn-ea"/>
                <a:cs typeface="+mn-cs"/>
              </a:rPr>
              <a:t>olduğunu</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err="1">
                <a:ln>
                  <a:noFill/>
                </a:ln>
                <a:solidFill>
                  <a:srgbClr val="000000"/>
                </a:solidFill>
                <a:effectLst/>
                <a:uLnTx/>
                <a:uFillTx/>
                <a:latin typeface="Arial" panose="020B0604020202020204"/>
                <a:ea typeface="+mn-ea"/>
                <a:cs typeface="+mn-cs"/>
              </a:rPr>
              <a:t>bildirmiştir</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 (n=39)</a:t>
            </a:r>
            <a:r>
              <a:rPr kumimoji="0" lang="en-US" sz="1800" b="0" i="0" u="none" strike="noStrike" kern="1200" cap="none" spc="0" normalizeH="0" baseline="30000" noProof="0">
                <a:ln>
                  <a:noFill/>
                </a:ln>
                <a:solidFill>
                  <a:srgbClr val="000000"/>
                </a:solidFill>
                <a:effectLst/>
                <a:uLnTx/>
                <a:uFillTx/>
                <a:latin typeface="Arial" panose="020B0604020202020204"/>
                <a:ea typeface="+mn-ea"/>
                <a:cs typeface="+mn-cs"/>
              </a:rPr>
              <a:t>4</a:t>
            </a:r>
            <a:endParaRPr kumimoji="0" lang="en-US" sz="16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pic>
        <p:nvPicPr>
          <p:cNvPr id="38" name="Graphic 37" descr="Hospital outline">
            <a:extLst>
              <a:ext uri="{FF2B5EF4-FFF2-40B4-BE49-F238E27FC236}">
                <a16:creationId xmlns:a16="http://schemas.microsoft.com/office/drawing/2014/main" id="{AC81DCC8-5E8E-ABCA-7585-5B5462D0BE4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78937" y="1688707"/>
            <a:ext cx="1054829" cy="1054829"/>
          </a:xfrm>
          <a:prstGeom prst="rect">
            <a:avLst/>
          </a:prstGeom>
        </p:spPr>
      </p:pic>
      <p:pic>
        <p:nvPicPr>
          <p:cNvPr id="39" name="Picture 2" descr="Hospital bed - Free healthcare and medical icons">
            <a:extLst>
              <a:ext uri="{FF2B5EF4-FFF2-40B4-BE49-F238E27FC236}">
                <a16:creationId xmlns:a16="http://schemas.microsoft.com/office/drawing/2014/main" id="{6F7664E9-B586-EBEA-1BF5-830DA12A5C38}"/>
              </a:ext>
            </a:extLst>
          </p:cNvPr>
          <p:cNvPicPr>
            <a:picLocks noChangeAspect="1" noChangeArrowheads="1"/>
          </p:cNvPicPr>
          <p:nvPr/>
        </p:nvPicPr>
        <p:blipFill>
          <a:blip r:embed="rId7" cstate="print">
            <a:duotone>
              <a:schemeClr val="accent3">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704187" y="1807829"/>
            <a:ext cx="869141" cy="86914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A black and blue logo&#10;&#10;AI-generated content may be incorrect.">
            <a:extLst>
              <a:ext uri="{FF2B5EF4-FFF2-40B4-BE49-F238E27FC236}">
                <a16:creationId xmlns:a16="http://schemas.microsoft.com/office/drawing/2014/main" id="{298374CC-C155-73FD-8539-1D32F45B1522}"/>
              </a:ext>
            </a:extLst>
          </p:cNvPr>
          <p:cNvPicPr>
            <a:picLocks noChangeAspect="1"/>
          </p:cNvPicPr>
          <p:nvPr/>
        </p:nvPicPr>
        <p:blipFill>
          <a:blip r:embed="rId9"/>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12968750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38391-B4F9-D4F1-232F-39E23F7FCD1D}"/>
            </a:ext>
          </a:extLst>
        </p:cNvPr>
        <p:cNvGrpSpPr/>
        <p:nvPr/>
      </p:nvGrpSpPr>
      <p:grpSpPr>
        <a:xfrm>
          <a:off x="0" y="0"/>
          <a:ext cx="0" cy="0"/>
          <a:chOff x="0" y="0"/>
          <a:chExt cx="0" cy="0"/>
        </a:xfrm>
      </p:grpSpPr>
      <p:sp>
        <p:nvSpPr>
          <p:cNvPr id="89" name="Title 4">
            <a:extLst>
              <a:ext uri="{FF2B5EF4-FFF2-40B4-BE49-F238E27FC236}">
                <a16:creationId xmlns:a16="http://schemas.microsoft.com/office/drawing/2014/main" id="{93698811-E390-1942-7E92-49A2BDB927EE}"/>
              </a:ext>
            </a:extLst>
          </p:cNvPr>
          <p:cNvSpPr>
            <a:spLocks noGrp="1"/>
          </p:cNvSpPr>
          <p:nvPr>
            <p:ph type="title"/>
          </p:nvPr>
        </p:nvSpPr>
        <p:spPr/>
        <p:txBody>
          <a:bodyPr anchor="ctr"/>
          <a:lstStyle/>
          <a:p>
            <a:r>
              <a:rPr lang="en-US" sz="2400" err="1"/>
              <a:t>Kardiyovasküler</a:t>
            </a:r>
            <a:r>
              <a:rPr lang="en-US" sz="2400"/>
              <a:t> </a:t>
            </a:r>
            <a:r>
              <a:rPr lang="en-US" sz="2400" err="1"/>
              <a:t>hastalık</a:t>
            </a:r>
            <a:r>
              <a:rPr lang="en-US" sz="2400"/>
              <a:t>, </a:t>
            </a:r>
            <a:r>
              <a:rPr lang="en-US" sz="2400" err="1"/>
              <a:t>RSV'ye</a:t>
            </a:r>
            <a:r>
              <a:rPr lang="en-US" sz="2400"/>
              <a:t> </a:t>
            </a:r>
            <a:r>
              <a:rPr lang="en-US" sz="2400" err="1"/>
              <a:t>yatkınlığı</a:t>
            </a:r>
            <a:r>
              <a:rPr lang="en-US" sz="2400"/>
              <a:t> </a:t>
            </a:r>
            <a:r>
              <a:rPr lang="en-US" sz="2400" err="1"/>
              <a:t>artırabilir</a:t>
            </a:r>
            <a:r>
              <a:rPr lang="en-US" sz="2400"/>
              <a:t> </a:t>
            </a:r>
            <a:r>
              <a:rPr lang="en-US" sz="2400" err="1"/>
              <a:t>ve</a:t>
            </a:r>
            <a:r>
              <a:rPr lang="en-US" sz="2400"/>
              <a:t> RSV, </a:t>
            </a:r>
            <a:r>
              <a:rPr lang="en-US" sz="2400" err="1"/>
              <a:t>kardiyovasküler</a:t>
            </a:r>
            <a:r>
              <a:rPr lang="en-US" sz="2400"/>
              <a:t> </a:t>
            </a:r>
            <a:r>
              <a:rPr lang="en-US" sz="2400" err="1"/>
              <a:t>olay</a:t>
            </a:r>
            <a:r>
              <a:rPr lang="en-US" sz="2400"/>
              <a:t> </a:t>
            </a:r>
            <a:r>
              <a:rPr lang="en-US" sz="2400" err="1"/>
              <a:t>riskini</a:t>
            </a:r>
            <a:r>
              <a:rPr lang="en-US" sz="2400"/>
              <a:t> </a:t>
            </a:r>
            <a:r>
              <a:rPr lang="en-US" sz="2400" err="1"/>
              <a:t>yükseltebilir</a:t>
            </a:r>
            <a:endParaRPr lang="en-US" sz="2400"/>
          </a:p>
        </p:txBody>
      </p:sp>
      <p:sp>
        <p:nvSpPr>
          <p:cNvPr id="6" name="Slide Number Placeholder 5">
            <a:extLst>
              <a:ext uri="{FF2B5EF4-FFF2-40B4-BE49-F238E27FC236}">
                <a16:creationId xmlns:a16="http://schemas.microsoft.com/office/drawing/2014/main" id="{39EAF8B2-4353-6D30-5A90-F9F80A6454AC}"/>
              </a:ext>
            </a:extLst>
          </p:cNvPr>
          <p:cNvSpPr>
            <a:spLocks noGrp="1"/>
          </p:cNvSpPr>
          <p:nvPr>
            <p:ph type="sldNum" sz="quarter" idx="4"/>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8C13A29A-185B-4182-9583-7B13F1AC164D}" type="slidenum">
              <a:rPr kumimoji="0" lang="en-US" sz="900" b="0" i="0" u="none" strike="noStrike" kern="1200" cap="none" spc="0" normalizeH="0" baseline="0" noProof="0" smtClean="0">
                <a:ln>
                  <a:noFill/>
                </a:ln>
                <a:solidFill>
                  <a:srgbClr val="000000">
                    <a:tint val="82000"/>
                  </a:srgbClr>
                </a:solidFill>
                <a:effectLst/>
                <a:uLnTx/>
                <a:uFillTx/>
                <a:latin typeface="Arial" panose="020B0604020202020204"/>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a:ln>
                <a:noFill/>
              </a:ln>
              <a:solidFill>
                <a:srgbClr val="000000">
                  <a:tint val="82000"/>
                </a:srgbClr>
              </a:solidFill>
              <a:effectLst/>
              <a:uLnTx/>
              <a:uFillTx/>
              <a:latin typeface="Arial" panose="020B0604020202020204"/>
              <a:ea typeface="+mn-ea"/>
              <a:cs typeface="+mn-cs"/>
            </a:endParaRPr>
          </a:p>
        </p:txBody>
      </p:sp>
      <p:sp>
        <p:nvSpPr>
          <p:cNvPr id="2" name="Text Placeholder 2">
            <a:extLst>
              <a:ext uri="{FF2B5EF4-FFF2-40B4-BE49-F238E27FC236}">
                <a16:creationId xmlns:a16="http://schemas.microsoft.com/office/drawing/2014/main" id="{152BDDA1-9984-B296-AB34-280AFE355A0F}"/>
              </a:ext>
            </a:extLst>
          </p:cNvPr>
          <p:cNvSpPr>
            <a:spLocks noGrp="1"/>
          </p:cNvSpPr>
          <p:nvPr>
            <p:ph type="body" sz="quarter" idx="4294967295"/>
          </p:nvPr>
        </p:nvSpPr>
        <p:spPr>
          <a:xfrm>
            <a:off x="609630" y="5668652"/>
            <a:ext cx="10215563" cy="600075"/>
          </a:xfrm>
        </p:spPr>
        <p:txBody>
          <a:bodyPr>
            <a:normAutofit fontScale="25000" lnSpcReduction="20000"/>
          </a:bodyPr>
          <a:lstStyle/>
          <a:p>
            <a:pPr marL="9525" indent="-9525">
              <a:tabLst>
                <a:tab pos="228600" algn="l"/>
              </a:tabLst>
            </a:pPr>
            <a:r>
              <a:rPr lang="en-US" sz="900" dirty="0">
                <a:solidFill>
                  <a:schemeClr val="tx1"/>
                </a:solidFill>
                <a:effectLst/>
                <a:ea typeface="+mn-ea"/>
              </a:rPr>
              <a:t>*Meta-</a:t>
            </a:r>
            <a:r>
              <a:rPr lang="en-US" sz="900" dirty="0" err="1">
                <a:solidFill>
                  <a:schemeClr val="tx1"/>
                </a:solidFill>
                <a:effectLst/>
                <a:ea typeface="+mn-ea"/>
              </a:rPr>
              <a:t>analiz</a:t>
            </a:r>
            <a:r>
              <a:rPr lang="en-US" sz="900" dirty="0">
                <a:solidFill>
                  <a:schemeClr val="tx1"/>
                </a:solidFill>
                <a:effectLst/>
                <a:ea typeface="+mn-ea"/>
              </a:rPr>
              <a:t>, 1989-2015 </a:t>
            </a:r>
            <a:r>
              <a:rPr lang="en-US" sz="900" dirty="0" err="1">
                <a:solidFill>
                  <a:schemeClr val="tx1"/>
                </a:solidFill>
                <a:effectLst/>
                <a:ea typeface="+mn-ea"/>
              </a:rPr>
              <a:t>yılları</a:t>
            </a:r>
            <a:r>
              <a:rPr lang="en-US" sz="900" dirty="0">
                <a:solidFill>
                  <a:schemeClr val="tx1"/>
                </a:solidFill>
                <a:effectLst/>
                <a:ea typeface="+mn-ea"/>
              </a:rPr>
              <a:t> </a:t>
            </a:r>
            <a:r>
              <a:rPr lang="en-US" sz="900" dirty="0" err="1">
                <a:solidFill>
                  <a:schemeClr val="tx1"/>
                </a:solidFill>
                <a:effectLst/>
                <a:ea typeface="+mn-ea"/>
              </a:rPr>
              <a:t>arasında</a:t>
            </a:r>
            <a:r>
              <a:rPr lang="en-US" sz="900" dirty="0">
                <a:solidFill>
                  <a:schemeClr val="tx1"/>
                </a:solidFill>
                <a:effectLst/>
                <a:ea typeface="+mn-ea"/>
              </a:rPr>
              <a:t> </a:t>
            </a:r>
            <a:r>
              <a:rPr lang="en-US" sz="900" dirty="0" err="1">
                <a:solidFill>
                  <a:schemeClr val="tx1"/>
                </a:solidFill>
                <a:effectLst/>
                <a:ea typeface="+mn-ea"/>
              </a:rPr>
              <a:t>laboratuvar</a:t>
            </a:r>
            <a:r>
              <a:rPr lang="en-US" sz="900" dirty="0">
                <a:solidFill>
                  <a:schemeClr val="tx1"/>
                </a:solidFill>
                <a:effectLst/>
                <a:ea typeface="+mn-ea"/>
              </a:rPr>
              <a:t> </a:t>
            </a:r>
            <a:r>
              <a:rPr lang="en-US" sz="900" dirty="0" err="1">
                <a:solidFill>
                  <a:schemeClr val="tx1"/>
                </a:solidFill>
                <a:effectLst/>
                <a:ea typeface="+mn-ea"/>
              </a:rPr>
              <a:t>tarafından</a:t>
            </a:r>
            <a:r>
              <a:rPr lang="en-US" sz="900" dirty="0">
                <a:solidFill>
                  <a:schemeClr val="tx1"/>
                </a:solidFill>
                <a:effectLst/>
                <a:ea typeface="+mn-ea"/>
              </a:rPr>
              <a:t> </a:t>
            </a:r>
            <a:r>
              <a:rPr lang="en-US" sz="900" dirty="0" err="1">
                <a:solidFill>
                  <a:schemeClr val="tx1"/>
                </a:solidFill>
                <a:effectLst/>
                <a:ea typeface="+mn-ea"/>
              </a:rPr>
              <a:t>doğrulanmış</a:t>
            </a:r>
            <a:r>
              <a:rPr lang="en-US" sz="900" dirty="0">
                <a:solidFill>
                  <a:schemeClr val="tx1"/>
                </a:solidFill>
                <a:effectLst/>
                <a:ea typeface="+mn-ea"/>
              </a:rPr>
              <a:t> RSV </a:t>
            </a:r>
            <a:r>
              <a:rPr lang="en-US" sz="900" dirty="0" err="1">
                <a:solidFill>
                  <a:schemeClr val="tx1"/>
                </a:solidFill>
                <a:effectLst/>
                <a:ea typeface="+mn-ea"/>
              </a:rPr>
              <a:t>enfeksiyonu</a:t>
            </a:r>
            <a:r>
              <a:rPr lang="en-US" sz="900" dirty="0">
                <a:solidFill>
                  <a:schemeClr val="tx1"/>
                </a:solidFill>
                <a:effectLst/>
                <a:ea typeface="+mn-ea"/>
              </a:rPr>
              <a:t> </a:t>
            </a:r>
            <a:r>
              <a:rPr lang="en-US" sz="900" dirty="0" err="1">
                <a:solidFill>
                  <a:schemeClr val="tx1"/>
                </a:solidFill>
                <a:effectLst/>
                <a:ea typeface="+mn-ea"/>
              </a:rPr>
              <a:t>olan</a:t>
            </a:r>
            <a:r>
              <a:rPr lang="en-US" sz="900" dirty="0">
                <a:solidFill>
                  <a:schemeClr val="tx1"/>
                </a:solidFill>
                <a:effectLst/>
                <a:ea typeface="+mn-ea"/>
              </a:rPr>
              <a:t> </a:t>
            </a:r>
            <a:r>
              <a:rPr lang="en-US" sz="900" dirty="0" err="1">
                <a:solidFill>
                  <a:schemeClr val="tx1"/>
                </a:solidFill>
                <a:effectLst/>
                <a:ea typeface="+mn-ea"/>
              </a:rPr>
              <a:t>yetişkin</a:t>
            </a:r>
            <a:r>
              <a:rPr lang="en-US" sz="900" dirty="0">
                <a:solidFill>
                  <a:schemeClr val="tx1"/>
                </a:solidFill>
                <a:effectLst/>
                <a:ea typeface="+mn-ea"/>
              </a:rPr>
              <a:t> </a:t>
            </a:r>
            <a:r>
              <a:rPr lang="en-US" sz="900" dirty="0" err="1">
                <a:solidFill>
                  <a:schemeClr val="tx1"/>
                </a:solidFill>
                <a:effectLst/>
                <a:ea typeface="+mn-ea"/>
              </a:rPr>
              <a:t>veya</a:t>
            </a:r>
            <a:r>
              <a:rPr lang="en-US" sz="900" dirty="0">
                <a:solidFill>
                  <a:schemeClr val="tx1"/>
                </a:solidFill>
                <a:effectLst/>
                <a:ea typeface="+mn-ea"/>
              </a:rPr>
              <a:t> </a:t>
            </a:r>
            <a:r>
              <a:rPr lang="en-US" sz="900" dirty="0" err="1">
                <a:solidFill>
                  <a:schemeClr val="tx1"/>
                </a:solidFill>
                <a:effectLst/>
                <a:ea typeface="+mn-ea"/>
              </a:rPr>
              <a:t>yaşlılarda</a:t>
            </a:r>
            <a:r>
              <a:rPr lang="en-US" sz="900" dirty="0">
                <a:solidFill>
                  <a:schemeClr val="tx1"/>
                </a:solidFill>
                <a:effectLst/>
                <a:ea typeface="+mn-ea"/>
              </a:rPr>
              <a:t> </a:t>
            </a:r>
            <a:r>
              <a:rPr lang="en-US" sz="900" dirty="0" err="1">
                <a:solidFill>
                  <a:schemeClr val="tx1"/>
                </a:solidFill>
                <a:effectLst/>
                <a:ea typeface="+mn-ea"/>
              </a:rPr>
              <a:t>kardiyovasküler</a:t>
            </a:r>
            <a:r>
              <a:rPr lang="en-US" sz="900" dirty="0">
                <a:solidFill>
                  <a:schemeClr val="tx1"/>
                </a:solidFill>
                <a:effectLst/>
                <a:ea typeface="+mn-ea"/>
              </a:rPr>
              <a:t> </a:t>
            </a:r>
            <a:r>
              <a:rPr lang="en-US" sz="900" dirty="0" err="1">
                <a:solidFill>
                  <a:schemeClr val="tx1"/>
                </a:solidFill>
                <a:effectLst/>
                <a:ea typeface="+mn-ea"/>
              </a:rPr>
              <a:t>komplikasyonların</a:t>
            </a:r>
            <a:r>
              <a:rPr lang="en-US" sz="900" dirty="0">
                <a:solidFill>
                  <a:schemeClr val="tx1"/>
                </a:solidFill>
                <a:effectLst/>
                <a:ea typeface="+mn-ea"/>
              </a:rPr>
              <a:t> </a:t>
            </a:r>
            <a:r>
              <a:rPr lang="en-US" sz="900" dirty="0" err="1">
                <a:solidFill>
                  <a:schemeClr val="tx1"/>
                </a:solidFill>
                <a:effectLst/>
                <a:ea typeface="+mn-ea"/>
              </a:rPr>
              <a:t>teşhis</a:t>
            </a:r>
            <a:r>
              <a:rPr lang="en-US" sz="900" dirty="0">
                <a:solidFill>
                  <a:schemeClr val="tx1"/>
                </a:solidFill>
                <a:effectLst/>
                <a:ea typeface="+mn-ea"/>
              </a:rPr>
              <a:t> </a:t>
            </a:r>
            <a:r>
              <a:rPr lang="en-US" sz="900" dirty="0" err="1">
                <a:solidFill>
                  <a:schemeClr val="tx1"/>
                </a:solidFill>
                <a:effectLst/>
                <a:ea typeface="+mn-ea"/>
              </a:rPr>
              <a:t>edildiği</a:t>
            </a:r>
            <a:r>
              <a:rPr lang="en-US" sz="900" dirty="0">
                <a:solidFill>
                  <a:schemeClr val="tx1"/>
                </a:solidFill>
                <a:effectLst/>
                <a:ea typeface="+mn-ea"/>
              </a:rPr>
              <a:t> 6 </a:t>
            </a:r>
            <a:r>
              <a:rPr lang="en-US" sz="900" dirty="0" err="1">
                <a:solidFill>
                  <a:schemeClr val="tx1"/>
                </a:solidFill>
                <a:effectLst/>
                <a:ea typeface="+mn-ea"/>
              </a:rPr>
              <a:t>çalışmayı</a:t>
            </a:r>
            <a:r>
              <a:rPr lang="en-US" sz="900" dirty="0">
                <a:solidFill>
                  <a:schemeClr val="tx1"/>
                </a:solidFill>
                <a:effectLst/>
                <a:ea typeface="+mn-ea"/>
              </a:rPr>
              <a:t> </a:t>
            </a:r>
            <a:r>
              <a:rPr lang="en-US" sz="900" dirty="0" err="1">
                <a:solidFill>
                  <a:schemeClr val="tx1"/>
                </a:solidFill>
                <a:effectLst/>
                <a:ea typeface="+mn-ea"/>
              </a:rPr>
              <a:t>içermektedir</a:t>
            </a:r>
            <a:r>
              <a:rPr lang="en-US" sz="900" dirty="0">
                <a:solidFill>
                  <a:schemeClr val="tx1"/>
                </a:solidFill>
                <a:effectLst/>
                <a:ea typeface="+mn-ea"/>
              </a:rPr>
              <a:t>.</a:t>
            </a:r>
          </a:p>
          <a:p>
            <a:pPr marL="9525" indent="-9525">
              <a:tabLst>
                <a:tab pos="228600" algn="l"/>
              </a:tabLst>
            </a:pPr>
            <a:r>
              <a:rPr lang="en-US" sz="900" dirty="0">
                <a:solidFill>
                  <a:schemeClr val="tx1"/>
                </a:solidFill>
                <a:effectLst/>
                <a:ea typeface="+mn-ea"/>
              </a:rPr>
              <a:t>AF=</a:t>
            </a:r>
            <a:r>
              <a:rPr lang="en-US" sz="900" dirty="0" err="1">
                <a:solidFill>
                  <a:schemeClr val="tx1"/>
                </a:solidFill>
                <a:effectLst/>
                <a:ea typeface="+mn-ea"/>
              </a:rPr>
              <a:t>atriyal</a:t>
            </a:r>
            <a:r>
              <a:rPr lang="en-US" sz="900" dirty="0">
                <a:solidFill>
                  <a:schemeClr val="tx1"/>
                </a:solidFill>
                <a:effectLst/>
                <a:ea typeface="+mn-ea"/>
              </a:rPr>
              <a:t> </a:t>
            </a:r>
            <a:r>
              <a:rPr lang="en-US" sz="900" dirty="0" err="1">
                <a:solidFill>
                  <a:schemeClr val="tx1"/>
                </a:solidFill>
                <a:effectLst/>
                <a:ea typeface="+mn-ea"/>
              </a:rPr>
              <a:t>fibrilasyon</a:t>
            </a:r>
            <a:r>
              <a:rPr lang="en-US" sz="900" dirty="0">
                <a:solidFill>
                  <a:schemeClr val="tx1"/>
                </a:solidFill>
                <a:effectLst/>
                <a:ea typeface="+mn-ea"/>
              </a:rPr>
              <a:t>; AKY=</a:t>
            </a:r>
            <a:r>
              <a:rPr lang="en-US" sz="900" dirty="0" err="1">
                <a:solidFill>
                  <a:schemeClr val="tx1"/>
                </a:solidFill>
                <a:effectLst/>
                <a:ea typeface="+mn-ea"/>
              </a:rPr>
              <a:t>akut</a:t>
            </a:r>
            <a:r>
              <a:rPr lang="en-US" sz="900" dirty="0">
                <a:solidFill>
                  <a:schemeClr val="tx1"/>
                </a:solidFill>
                <a:effectLst/>
                <a:ea typeface="+mn-ea"/>
              </a:rPr>
              <a:t> </a:t>
            </a:r>
            <a:r>
              <a:rPr lang="en-US" sz="900" dirty="0" err="1">
                <a:solidFill>
                  <a:schemeClr val="tx1"/>
                </a:solidFill>
                <a:effectLst/>
                <a:ea typeface="+mn-ea"/>
              </a:rPr>
              <a:t>kalp</a:t>
            </a:r>
            <a:r>
              <a:rPr lang="en-US" sz="900" dirty="0">
                <a:solidFill>
                  <a:schemeClr val="tx1"/>
                </a:solidFill>
                <a:effectLst/>
                <a:ea typeface="+mn-ea"/>
              </a:rPr>
              <a:t> </a:t>
            </a:r>
            <a:r>
              <a:rPr lang="en-US" sz="900" dirty="0" err="1">
                <a:solidFill>
                  <a:schemeClr val="tx1"/>
                </a:solidFill>
                <a:effectLst/>
                <a:ea typeface="+mn-ea"/>
              </a:rPr>
              <a:t>yetmezliği</a:t>
            </a:r>
            <a:r>
              <a:rPr lang="en-US" sz="900" dirty="0">
                <a:solidFill>
                  <a:schemeClr val="tx1"/>
                </a:solidFill>
                <a:effectLst/>
                <a:ea typeface="+mn-ea"/>
              </a:rPr>
              <a:t>; KO=</a:t>
            </a:r>
            <a:r>
              <a:rPr lang="en-US" sz="900" dirty="0" err="1">
                <a:solidFill>
                  <a:schemeClr val="tx1"/>
                </a:solidFill>
                <a:effectLst/>
                <a:ea typeface="+mn-ea"/>
              </a:rPr>
              <a:t>koroner</a:t>
            </a:r>
            <a:r>
              <a:rPr lang="en-US" sz="900" dirty="0">
                <a:solidFill>
                  <a:schemeClr val="tx1"/>
                </a:solidFill>
                <a:effectLst/>
                <a:ea typeface="+mn-ea"/>
              </a:rPr>
              <a:t> </a:t>
            </a:r>
            <a:r>
              <a:rPr lang="en-US" sz="900" dirty="0" err="1">
                <a:solidFill>
                  <a:schemeClr val="tx1"/>
                </a:solidFill>
                <a:effectLst/>
                <a:ea typeface="+mn-ea"/>
              </a:rPr>
              <a:t>olay</a:t>
            </a:r>
            <a:r>
              <a:rPr lang="en-US" sz="900" dirty="0">
                <a:solidFill>
                  <a:schemeClr val="tx1"/>
                </a:solidFill>
                <a:effectLst/>
                <a:ea typeface="+mn-ea"/>
              </a:rPr>
              <a:t>; KKY=</a:t>
            </a:r>
            <a:r>
              <a:rPr lang="en-US" sz="900" dirty="0" err="1">
                <a:solidFill>
                  <a:schemeClr val="tx1"/>
                </a:solidFill>
                <a:effectLst/>
                <a:ea typeface="+mn-ea"/>
              </a:rPr>
              <a:t>konjestif</a:t>
            </a:r>
            <a:r>
              <a:rPr lang="en-US" sz="900" dirty="0">
                <a:solidFill>
                  <a:schemeClr val="tx1"/>
                </a:solidFill>
                <a:effectLst/>
                <a:ea typeface="+mn-ea"/>
              </a:rPr>
              <a:t> </a:t>
            </a:r>
            <a:r>
              <a:rPr lang="en-US" sz="900" dirty="0" err="1">
                <a:solidFill>
                  <a:schemeClr val="tx1"/>
                </a:solidFill>
                <a:effectLst/>
                <a:ea typeface="+mn-ea"/>
              </a:rPr>
              <a:t>kalp</a:t>
            </a:r>
            <a:r>
              <a:rPr lang="en-US" sz="900" dirty="0">
                <a:solidFill>
                  <a:schemeClr val="tx1"/>
                </a:solidFill>
                <a:effectLst/>
                <a:ea typeface="+mn-ea"/>
              </a:rPr>
              <a:t> </a:t>
            </a:r>
            <a:r>
              <a:rPr lang="en-US" sz="900" dirty="0" err="1">
                <a:solidFill>
                  <a:schemeClr val="tx1"/>
                </a:solidFill>
                <a:effectLst/>
                <a:ea typeface="+mn-ea"/>
              </a:rPr>
              <a:t>yetmezliği</a:t>
            </a:r>
            <a:r>
              <a:rPr lang="en-US" sz="900" dirty="0">
                <a:solidFill>
                  <a:schemeClr val="tx1"/>
                </a:solidFill>
                <a:effectLst/>
                <a:ea typeface="+mn-ea"/>
              </a:rPr>
              <a:t>; SVO=</a:t>
            </a:r>
            <a:r>
              <a:rPr lang="en-US" sz="900" dirty="0" err="1">
                <a:solidFill>
                  <a:schemeClr val="tx1"/>
                </a:solidFill>
                <a:effectLst/>
                <a:ea typeface="+mn-ea"/>
              </a:rPr>
              <a:t>serebrovasküler</a:t>
            </a:r>
            <a:r>
              <a:rPr lang="en-US" sz="900" dirty="0">
                <a:solidFill>
                  <a:schemeClr val="tx1"/>
                </a:solidFill>
                <a:effectLst/>
                <a:ea typeface="+mn-ea"/>
              </a:rPr>
              <a:t> </a:t>
            </a:r>
            <a:r>
              <a:rPr lang="en-US" sz="900" dirty="0" err="1">
                <a:solidFill>
                  <a:schemeClr val="tx1"/>
                </a:solidFill>
                <a:effectLst/>
                <a:ea typeface="+mn-ea"/>
              </a:rPr>
              <a:t>olay</a:t>
            </a:r>
            <a:r>
              <a:rPr lang="en-US" sz="900" dirty="0">
                <a:solidFill>
                  <a:schemeClr val="tx1"/>
                </a:solidFill>
                <a:effectLst/>
                <a:ea typeface="+mn-ea"/>
              </a:rPr>
              <a:t>; KVO=</a:t>
            </a:r>
            <a:r>
              <a:rPr lang="en-US" sz="900" dirty="0" err="1">
                <a:solidFill>
                  <a:schemeClr val="tx1"/>
                </a:solidFill>
                <a:effectLst/>
                <a:ea typeface="+mn-ea"/>
              </a:rPr>
              <a:t>kardiyovasküler</a:t>
            </a:r>
            <a:r>
              <a:rPr lang="en-US" sz="900" dirty="0">
                <a:solidFill>
                  <a:schemeClr val="tx1"/>
                </a:solidFill>
                <a:effectLst/>
                <a:ea typeface="+mn-ea"/>
              </a:rPr>
              <a:t> </a:t>
            </a:r>
            <a:r>
              <a:rPr lang="en-US" sz="900" dirty="0" err="1">
                <a:solidFill>
                  <a:schemeClr val="tx1"/>
                </a:solidFill>
                <a:effectLst/>
                <a:ea typeface="+mn-ea"/>
              </a:rPr>
              <a:t>olay</a:t>
            </a:r>
            <a:r>
              <a:rPr lang="en-US" sz="900" dirty="0">
                <a:solidFill>
                  <a:schemeClr val="tx1"/>
                </a:solidFill>
                <a:effectLst/>
                <a:ea typeface="+mn-ea"/>
              </a:rPr>
              <a:t>; IL=</a:t>
            </a:r>
            <a:r>
              <a:rPr lang="en-US" sz="900" dirty="0" err="1">
                <a:solidFill>
                  <a:schemeClr val="tx1"/>
                </a:solidFill>
                <a:effectLst/>
                <a:ea typeface="+mn-ea"/>
              </a:rPr>
              <a:t>interlökin</a:t>
            </a:r>
            <a:r>
              <a:rPr lang="en-US" sz="900" dirty="0">
                <a:solidFill>
                  <a:schemeClr val="tx1"/>
                </a:solidFill>
                <a:effectLst/>
                <a:ea typeface="+mn-ea"/>
              </a:rPr>
              <a:t>; MI=</a:t>
            </a:r>
            <a:r>
              <a:rPr lang="en-US" sz="900" dirty="0" err="1">
                <a:solidFill>
                  <a:schemeClr val="tx1"/>
                </a:solidFill>
                <a:effectLst/>
                <a:ea typeface="+mn-ea"/>
              </a:rPr>
              <a:t>miyokard</a:t>
            </a:r>
            <a:r>
              <a:rPr lang="en-US" sz="900" dirty="0">
                <a:solidFill>
                  <a:schemeClr val="tx1"/>
                </a:solidFill>
                <a:effectLst/>
                <a:ea typeface="+mn-ea"/>
              </a:rPr>
              <a:t> </a:t>
            </a:r>
            <a:r>
              <a:rPr lang="en-US" sz="900" dirty="0" err="1">
                <a:solidFill>
                  <a:schemeClr val="tx1"/>
                </a:solidFill>
                <a:effectLst/>
                <a:ea typeface="+mn-ea"/>
              </a:rPr>
              <a:t>enfarktüsü</a:t>
            </a:r>
            <a:r>
              <a:rPr lang="en-US" sz="900" dirty="0">
                <a:solidFill>
                  <a:schemeClr val="tx1"/>
                </a:solidFill>
                <a:effectLst/>
                <a:ea typeface="+mn-ea"/>
              </a:rPr>
              <a:t>; </a:t>
            </a:r>
          </a:p>
          <a:p>
            <a:pPr marL="9525" indent="-9525">
              <a:tabLst>
                <a:tab pos="228600" algn="l"/>
              </a:tabLst>
            </a:pPr>
            <a:r>
              <a:rPr lang="en-US" sz="900" dirty="0">
                <a:solidFill>
                  <a:schemeClr val="tx1"/>
                </a:solidFill>
                <a:effectLst/>
                <a:ea typeface="+mn-ea"/>
              </a:rPr>
              <a:t>TNF-a=</a:t>
            </a:r>
            <a:r>
              <a:rPr lang="en-US" sz="900" dirty="0" err="1">
                <a:solidFill>
                  <a:schemeClr val="tx1"/>
                </a:solidFill>
                <a:effectLst/>
                <a:ea typeface="+mn-ea"/>
              </a:rPr>
              <a:t>tümör</a:t>
            </a:r>
            <a:r>
              <a:rPr lang="en-US" sz="900" dirty="0">
                <a:solidFill>
                  <a:schemeClr val="tx1"/>
                </a:solidFill>
                <a:effectLst/>
                <a:ea typeface="+mn-ea"/>
              </a:rPr>
              <a:t> </a:t>
            </a:r>
            <a:r>
              <a:rPr lang="en-US" sz="900" dirty="0" err="1">
                <a:solidFill>
                  <a:schemeClr val="tx1"/>
                </a:solidFill>
                <a:effectLst/>
                <a:ea typeface="+mn-ea"/>
              </a:rPr>
              <a:t>nekroz</a:t>
            </a:r>
            <a:r>
              <a:rPr lang="en-US" sz="900" dirty="0">
                <a:solidFill>
                  <a:schemeClr val="tx1"/>
                </a:solidFill>
                <a:effectLst/>
                <a:ea typeface="+mn-ea"/>
              </a:rPr>
              <a:t> </a:t>
            </a:r>
            <a:r>
              <a:rPr lang="en-US" sz="900" dirty="0" err="1">
                <a:solidFill>
                  <a:schemeClr val="tx1"/>
                </a:solidFill>
                <a:effectLst/>
                <a:ea typeface="+mn-ea"/>
              </a:rPr>
              <a:t>faktörü</a:t>
            </a:r>
            <a:r>
              <a:rPr lang="en-US" sz="900" dirty="0">
                <a:solidFill>
                  <a:schemeClr val="tx1"/>
                </a:solidFill>
                <a:effectLst/>
                <a:ea typeface="+mn-ea"/>
              </a:rPr>
              <a:t> a.</a:t>
            </a:r>
          </a:p>
          <a:p>
            <a:pPr marL="9525" indent="-9525">
              <a:tabLst>
                <a:tab pos="228600" algn="l"/>
              </a:tabLst>
            </a:pPr>
            <a:r>
              <a:rPr lang="en-US" sz="900" dirty="0">
                <a:solidFill>
                  <a:schemeClr val="tx1"/>
                </a:solidFill>
                <a:effectLst/>
                <a:ea typeface="+mn-ea"/>
              </a:rPr>
              <a:t>Ivey KS, et al. </a:t>
            </a:r>
            <a:r>
              <a:rPr lang="en-US" sz="900" i="1" dirty="0">
                <a:ea typeface="+mn-ea"/>
              </a:rPr>
              <a:t>J Am Coll </a:t>
            </a:r>
            <a:r>
              <a:rPr lang="en-US" sz="900" i="1" dirty="0" err="1">
                <a:ea typeface="+mn-ea"/>
              </a:rPr>
              <a:t>Cardiol</a:t>
            </a:r>
            <a:r>
              <a:rPr lang="en-US" sz="900" i="1" dirty="0">
                <a:ea typeface="+mn-ea"/>
              </a:rPr>
              <a:t>. </a:t>
            </a:r>
            <a:r>
              <a:rPr lang="en-US" sz="900" dirty="0">
                <a:solidFill>
                  <a:schemeClr val="tx1"/>
                </a:solidFill>
                <a:effectLst/>
                <a:ea typeface="+mn-ea"/>
              </a:rPr>
              <a:t>2018;71:1574-1583.</a:t>
            </a:r>
            <a:endParaRPr lang="en-US" sz="900" dirty="0">
              <a:solidFill>
                <a:schemeClr val="tx1"/>
              </a:solidFill>
            </a:endParaRPr>
          </a:p>
        </p:txBody>
      </p:sp>
      <p:grpSp>
        <p:nvGrpSpPr>
          <p:cNvPr id="58" name="Group 57">
            <a:extLst>
              <a:ext uri="{FF2B5EF4-FFF2-40B4-BE49-F238E27FC236}">
                <a16:creationId xmlns:a16="http://schemas.microsoft.com/office/drawing/2014/main" id="{347778DF-8551-6841-04DE-384BF6E54413}"/>
              </a:ext>
            </a:extLst>
          </p:cNvPr>
          <p:cNvGrpSpPr/>
          <p:nvPr/>
        </p:nvGrpSpPr>
        <p:grpSpPr>
          <a:xfrm>
            <a:off x="2322465" y="1411624"/>
            <a:ext cx="8378732" cy="4239941"/>
            <a:chOff x="304800" y="2379102"/>
            <a:chExt cx="5453876" cy="3183498"/>
          </a:xfrm>
        </p:grpSpPr>
        <p:sp>
          <p:nvSpPr>
            <p:cNvPr id="33" name="Rounded Rectangle 32">
              <a:extLst>
                <a:ext uri="{FF2B5EF4-FFF2-40B4-BE49-F238E27FC236}">
                  <a16:creationId xmlns:a16="http://schemas.microsoft.com/office/drawing/2014/main" id="{818FFCF7-BD28-015C-6794-6A4522FA85E0}"/>
                </a:ext>
              </a:extLst>
            </p:cNvPr>
            <p:cNvSpPr/>
            <p:nvPr/>
          </p:nvSpPr>
          <p:spPr bwMode="gray">
            <a:xfrm>
              <a:off x="4596427" y="3632201"/>
              <a:ext cx="1162249" cy="730528"/>
            </a:xfrm>
            <a:prstGeom prst="roundRect">
              <a:avLst>
                <a:gd name="adj" fmla="val 11104"/>
              </a:avLst>
            </a:prstGeom>
            <a:solidFill>
              <a:schemeClr val="accent6"/>
            </a:solidFill>
            <a:ln w="19050" cap="flat" cmpd="sng" algn="ctr">
              <a:solidFill>
                <a:schemeClr val="accent6"/>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228520" rtl="0" eaLnBrk="1" fontAlgn="base" latinLnBrk="0" hangingPunct="1">
                <a:lnSpc>
                  <a:spcPct val="90000"/>
                </a:lnSpc>
                <a:spcBef>
                  <a:spcPts val="0"/>
                </a:spcBef>
                <a:spcAft>
                  <a:spcPct val="0"/>
                </a:spcAft>
                <a:buClr>
                  <a:srgbClr val="0095FF"/>
                </a:buClr>
                <a:buSzPct val="90000"/>
                <a:buFontTx/>
                <a:buNone/>
                <a:tabLst/>
                <a:defRPr/>
              </a:pPr>
              <a:endParaRPr kumimoji="0" lang="en-US" sz="900" b="1" i="0" u="none" strike="noStrike" kern="1200" cap="none" spc="0" normalizeH="0" baseline="0" noProof="0">
                <a:ln>
                  <a:noFill/>
                </a:ln>
                <a:solidFill>
                  <a:srgbClr val="A68AFF"/>
                </a:solidFill>
                <a:effectLst/>
                <a:uLnTx/>
                <a:uFillTx/>
                <a:latin typeface="Arial" panose="020B0604020202020204"/>
                <a:ea typeface="+mn-ea"/>
                <a:cs typeface="+mn-cs"/>
              </a:endParaRPr>
            </a:p>
          </p:txBody>
        </p:sp>
        <p:sp>
          <p:nvSpPr>
            <p:cNvPr id="8" name="Rounded Rectangle 7">
              <a:extLst>
                <a:ext uri="{FF2B5EF4-FFF2-40B4-BE49-F238E27FC236}">
                  <a16:creationId xmlns:a16="http://schemas.microsoft.com/office/drawing/2014/main" id="{F5BFAC7E-87E6-9884-FBEF-580173B73340}"/>
                </a:ext>
              </a:extLst>
            </p:cNvPr>
            <p:cNvSpPr/>
            <p:nvPr/>
          </p:nvSpPr>
          <p:spPr bwMode="gray">
            <a:xfrm>
              <a:off x="304800" y="3698240"/>
              <a:ext cx="890040" cy="598450"/>
            </a:xfrm>
            <a:prstGeom prst="roundRect">
              <a:avLst>
                <a:gd name="adj" fmla="val 11104"/>
              </a:avLst>
            </a:prstGeom>
            <a:solidFill>
              <a:schemeClr val="accent1"/>
            </a:solidFill>
            <a:ln w="190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228520" rtl="0" eaLnBrk="1" fontAlgn="auto" latinLnBrk="0" hangingPunct="1">
                <a:lnSpc>
                  <a:spcPct val="90000"/>
                </a:lnSpc>
                <a:spcBef>
                  <a:spcPts val="100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RSV Hastalığı</a:t>
              </a:r>
            </a:p>
          </p:txBody>
        </p:sp>
        <p:sp>
          <p:nvSpPr>
            <p:cNvPr id="23" name="TextBox 22">
              <a:extLst>
                <a:ext uri="{FF2B5EF4-FFF2-40B4-BE49-F238E27FC236}">
                  <a16:creationId xmlns:a16="http://schemas.microsoft.com/office/drawing/2014/main" id="{842F3C57-D629-8C41-774E-C6D30D7C527A}"/>
                </a:ext>
              </a:extLst>
            </p:cNvPr>
            <p:cNvSpPr txBox="1"/>
            <p:nvPr/>
          </p:nvSpPr>
          <p:spPr bwMode="gray">
            <a:xfrm>
              <a:off x="1515337" y="3531100"/>
              <a:ext cx="1117294" cy="332399"/>
            </a:xfrm>
            <a:prstGeom prst="rect">
              <a:avLst/>
            </a:prstGeom>
          </p:spPr>
          <p:txBody>
            <a:bodyPr wrap="none" lIns="0" tIns="0" rIns="0" bIns="0" rtlCol="0">
              <a:spAutoFit/>
            </a:bodyPr>
            <a:lstStyle/>
            <a:p>
              <a:pPr marL="0" marR="0" lvl="0" indent="0" algn="l" defTabSz="22852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0000"/>
                  </a:solidFill>
                  <a:effectLst/>
                  <a:uLnTx/>
                  <a:uFillTx/>
                  <a:latin typeface="Arial" panose="020B0604020202020204"/>
                  <a:ea typeface="+mn-ea"/>
                  <a:cs typeface="+mn-cs"/>
                </a:rPr>
                <a:t>Proinflamatuvar</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 </a:t>
              </a:r>
            </a:p>
            <a:p>
              <a:pPr marL="0" marR="0" lvl="0" indent="0" algn="l" defTabSz="22852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0000"/>
                  </a:solidFill>
                  <a:effectLst/>
                  <a:uLnTx/>
                  <a:uFillTx/>
                  <a:latin typeface="Arial" panose="020B0604020202020204"/>
                  <a:ea typeface="+mn-ea"/>
                  <a:cs typeface="+mn-cs"/>
                </a:rPr>
                <a:t>sitokinler</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91C4F1D4-D9B4-C80D-A8D3-617940FB01C3}"/>
                </a:ext>
              </a:extLst>
            </p:cNvPr>
            <p:cNvSpPr txBox="1"/>
            <p:nvPr/>
          </p:nvSpPr>
          <p:spPr bwMode="gray">
            <a:xfrm>
              <a:off x="1259332" y="4155848"/>
              <a:ext cx="1777282" cy="393185"/>
            </a:xfrm>
            <a:prstGeom prst="rect">
              <a:avLst/>
            </a:prstGeom>
          </p:spPr>
          <p:txBody>
            <a:bodyPr wrap="none" lIns="0" tIns="0" rIns="0" bIns="0" rtlCol="0">
              <a:noAutofit/>
            </a:bodyPr>
            <a:lstStyle/>
            <a:p>
              <a:pPr marL="0" marR="0" lvl="0" indent="0" algn="l" defTabSz="228520" rtl="0" eaLnBrk="1" fontAlgn="auto" latinLnBrk="0" hangingPunct="1">
                <a:lnSpc>
                  <a:spcPct val="90000"/>
                </a:lnSpc>
                <a:spcBef>
                  <a:spcPts val="400"/>
                </a:spcBef>
                <a:spcAft>
                  <a:spcPts val="0"/>
                </a:spcAft>
                <a:buClrTx/>
                <a:buSzTx/>
                <a:buFontTx/>
                <a:buNone/>
                <a:tabLst/>
                <a:defRPr/>
              </a:pPr>
              <a:r>
                <a:rPr kumimoji="0" lang="en-US" sz="1200" b="0" i="0" u="none" strike="noStrike" kern="1200" cap="none" spc="0" normalizeH="0" baseline="0" noProof="0" err="1">
                  <a:ln>
                    <a:noFill/>
                  </a:ln>
                  <a:solidFill>
                    <a:srgbClr val="000000"/>
                  </a:solidFill>
                  <a:effectLst/>
                  <a:uLnTx/>
                  <a:uFillTx/>
                  <a:latin typeface="Arial" panose="020B0604020202020204"/>
                  <a:ea typeface="+mn-ea"/>
                  <a:cs typeface="+mn-cs"/>
                </a:rPr>
                <a:t>Hiperkoagülabilite</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228520" rtl="0" eaLnBrk="1" fontAlgn="auto" latinLnBrk="0" hangingPunct="1">
                <a:lnSpc>
                  <a:spcPct val="90000"/>
                </a:lnSpc>
                <a:spcBef>
                  <a:spcPts val="400"/>
                </a:spcBef>
                <a:spcAft>
                  <a:spcPts val="0"/>
                </a:spcAft>
                <a:buClrTx/>
                <a:buSzTx/>
                <a:buFontTx/>
                <a:buNone/>
                <a:tabLst/>
                <a:defRPr/>
              </a:pPr>
              <a:r>
                <a:rPr kumimoji="0" lang="en-US" sz="1200" b="0" i="0" u="none" strike="noStrike" kern="1200" cap="none" spc="0" normalizeH="0" baseline="0" noProof="0" err="1">
                  <a:ln>
                    <a:noFill/>
                  </a:ln>
                  <a:solidFill>
                    <a:srgbClr val="000000"/>
                  </a:solidFill>
                  <a:effectLst/>
                  <a:uLnTx/>
                  <a:uFillTx/>
                  <a:latin typeface="Arial" panose="020B0604020202020204"/>
                  <a:ea typeface="+mn-ea"/>
                  <a:cs typeface="+mn-cs"/>
                </a:rPr>
                <a:t>Plak</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 destabilizasyonu</a:t>
              </a:r>
            </a:p>
          </p:txBody>
        </p:sp>
        <p:cxnSp>
          <p:nvCxnSpPr>
            <p:cNvPr id="27" name="Straight Connector 26">
              <a:extLst>
                <a:ext uri="{FF2B5EF4-FFF2-40B4-BE49-F238E27FC236}">
                  <a16:creationId xmlns:a16="http://schemas.microsoft.com/office/drawing/2014/main" id="{250204F9-A54E-F0AB-C44D-AF01492D3A15}"/>
                </a:ext>
              </a:extLst>
            </p:cNvPr>
            <p:cNvCxnSpPr>
              <a:cxnSpLocks/>
            </p:cNvCxnSpPr>
            <p:nvPr/>
          </p:nvCxnSpPr>
          <p:spPr bwMode="gray">
            <a:xfrm>
              <a:off x="1500456" y="4000585"/>
              <a:ext cx="1584209" cy="0"/>
            </a:xfrm>
            <a:prstGeom prst="line">
              <a:avLst/>
            </a:prstGeom>
            <a:noFill/>
            <a:ln w="6350" cap="rnd">
              <a:solidFill>
                <a:schemeClr val="bg1">
                  <a:lumMod val="75000"/>
                </a:schemeClr>
              </a:solidFill>
              <a:prstDash val="solid"/>
              <a:round/>
              <a:headEnd/>
              <a:tailEnd/>
            </a:ln>
            <a:effectLst/>
          </p:spPr>
        </p:cxnSp>
        <p:sp>
          <p:nvSpPr>
            <p:cNvPr id="29" name="TextBox 28">
              <a:extLst>
                <a:ext uri="{FF2B5EF4-FFF2-40B4-BE49-F238E27FC236}">
                  <a16:creationId xmlns:a16="http://schemas.microsoft.com/office/drawing/2014/main" id="{E90F8E2A-895D-47E3-B378-4C9B3E054F09}"/>
                </a:ext>
              </a:extLst>
            </p:cNvPr>
            <p:cNvSpPr txBox="1"/>
            <p:nvPr/>
          </p:nvSpPr>
          <p:spPr bwMode="gray">
            <a:xfrm>
              <a:off x="4842803" y="3702828"/>
              <a:ext cx="615621" cy="145586"/>
            </a:xfrm>
            <a:prstGeom prst="rect">
              <a:avLst/>
            </a:prstGeom>
          </p:spPr>
          <p:txBody>
            <a:bodyPr wrap="none" lIns="0" tIns="0" rIns="0" bIns="0" rtlCol="0">
              <a:spAutoFit/>
            </a:bodyPr>
            <a:lstStyle/>
            <a:p>
              <a:pPr marL="0" marR="0" lvl="0" indent="0" algn="l" defTabSz="228520"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Ölüm oranı</a:t>
              </a:r>
            </a:p>
          </p:txBody>
        </p:sp>
        <p:sp>
          <p:nvSpPr>
            <p:cNvPr id="31" name="TextBox 30">
              <a:extLst>
                <a:ext uri="{FF2B5EF4-FFF2-40B4-BE49-F238E27FC236}">
                  <a16:creationId xmlns:a16="http://schemas.microsoft.com/office/drawing/2014/main" id="{62253863-DAFF-0BBB-2FC3-A338554E9F54}"/>
                </a:ext>
              </a:extLst>
            </p:cNvPr>
            <p:cNvSpPr txBox="1"/>
            <p:nvPr/>
          </p:nvSpPr>
          <p:spPr bwMode="gray">
            <a:xfrm>
              <a:off x="4842803" y="3942481"/>
              <a:ext cx="777352" cy="323525"/>
            </a:xfrm>
            <a:prstGeom prst="rect">
              <a:avLst/>
            </a:prstGeom>
          </p:spPr>
          <p:txBody>
            <a:bodyPr wrap="none" lIns="0" tIns="0" r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FFFFF"/>
                  </a:solidFill>
                  <a:effectLst/>
                  <a:uLnTx/>
                  <a:uFillTx/>
                  <a:latin typeface="Arial" panose="020B0604020202020204"/>
                  <a:ea typeface="+mn-ea"/>
                  <a:cs typeface="+mn-cs"/>
                </a:rPr>
                <a:t>Sağlık</a:t>
              </a: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FFFFFF"/>
                  </a:solidFill>
                  <a:effectLst/>
                  <a:uLnTx/>
                  <a:uFillTx/>
                  <a:latin typeface="Arial" panose="020B0604020202020204"/>
                  <a:ea typeface="+mn-ea"/>
                  <a:cs typeface="+mn-cs"/>
                </a:rPr>
                <a:t>hizmeti</a:t>
              </a:r>
              <a:endPar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FFFFF"/>
                  </a:solidFill>
                  <a:effectLst/>
                  <a:uLnTx/>
                  <a:uFillTx/>
                  <a:latin typeface="Arial" panose="020B0604020202020204"/>
                  <a:ea typeface="+mn-ea"/>
                  <a:cs typeface="+mn-cs"/>
                </a:rPr>
                <a:t>kullanımı</a:t>
              </a:r>
              <a:endPar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 name="Rounded Rectangle 16">
              <a:extLst>
                <a:ext uri="{FF2B5EF4-FFF2-40B4-BE49-F238E27FC236}">
                  <a16:creationId xmlns:a16="http://schemas.microsoft.com/office/drawing/2014/main" id="{84D45D1F-D5C6-AE63-BA2F-8E7A99C0153D}"/>
                </a:ext>
              </a:extLst>
            </p:cNvPr>
            <p:cNvSpPr/>
            <p:nvPr/>
          </p:nvSpPr>
          <p:spPr bwMode="gray">
            <a:xfrm>
              <a:off x="3136431" y="3698240"/>
              <a:ext cx="890040" cy="598450"/>
            </a:xfrm>
            <a:prstGeom prst="roundRect">
              <a:avLst>
                <a:gd name="adj" fmla="val 11104"/>
              </a:avLst>
            </a:prstGeom>
            <a:solidFill>
              <a:schemeClr val="accent1"/>
            </a:solidFill>
            <a:ln w="190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228520" rtl="0" eaLnBrk="1" fontAlgn="auto" latinLnBrk="0" hangingPunct="1">
                <a:lnSpc>
                  <a:spcPct val="90000"/>
                </a:lnSpc>
                <a:spcBef>
                  <a:spcPts val="1000"/>
                </a:spcBef>
                <a:spcAft>
                  <a:spcPts val="0"/>
                </a:spcAft>
                <a:buClrTx/>
                <a:buSzTx/>
                <a:buFontTx/>
                <a:buNone/>
                <a:tabLst/>
                <a:defRPr/>
              </a:pPr>
              <a:r>
                <a:rPr kumimoji="0" lang="en-US" sz="1200" b="1" i="0" u="none" strike="noStrike" kern="1200" cap="none" spc="0" normalizeH="0" baseline="0" noProof="0" err="1">
                  <a:ln>
                    <a:noFill/>
                  </a:ln>
                  <a:solidFill>
                    <a:srgbClr val="FFFFFF"/>
                  </a:solidFill>
                  <a:effectLst/>
                  <a:uLnTx/>
                  <a:uFillTx/>
                  <a:latin typeface="Arial" panose="020B0604020202020204"/>
                  <a:ea typeface="+mn-ea"/>
                  <a:cs typeface="+mn-cs"/>
                </a:rPr>
                <a:t>Kalp</a:t>
              </a: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 Hastalığı</a:t>
              </a:r>
            </a:p>
          </p:txBody>
        </p:sp>
        <p:pic>
          <p:nvPicPr>
            <p:cNvPr id="65" name="Graphic 64">
              <a:extLst>
                <a:ext uri="{FF2B5EF4-FFF2-40B4-BE49-F238E27FC236}">
                  <a16:creationId xmlns:a16="http://schemas.microsoft.com/office/drawing/2014/main" id="{7DE7D87A-0C57-290F-F500-8B75B6C2DC04}"/>
                </a:ext>
              </a:extLst>
            </p:cNvPr>
            <p:cNvPicPr>
              <a:picLocks/>
            </p:cNvPicPr>
            <p:nvPr/>
          </p:nvPicPr>
          <p:blipFill>
            <a:blip r:embed="rId3" cstate="print">
              <a:extLst>
                <a:ext uri="{96DAC541-7B7A-43D3-8B79-37D633B846F1}">
                  <asvg:svgBlip xmlns:asvg="http://schemas.microsoft.com/office/drawing/2016/SVG/main" r:embed="rId4"/>
                </a:ext>
              </a:extLst>
            </a:blip>
            <a:stretch>
              <a:fillRect/>
            </a:stretch>
          </p:blipFill>
          <p:spPr>
            <a:xfrm>
              <a:off x="307836" y="3239475"/>
              <a:ext cx="449694" cy="449694"/>
            </a:xfrm>
            <a:prstGeom prst="rect">
              <a:avLst/>
            </a:prstGeom>
          </p:spPr>
        </p:pic>
        <p:pic>
          <p:nvPicPr>
            <p:cNvPr id="61" name="Graphic 60">
              <a:extLst>
                <a:ext uri="{FF2B5EF4-FFF2-40B4-BE49-F238E27FC236}">
                  <a16:creationId xmlns:a16="http://schemas.microsoft.com/office/drawing/2014/main" id="{962EB97E-1B00-D9FC-9B5A-3F3A03513DFE}"/>
                </a:ext>
              </a:extLst>
            </p:cNvPr>
            <p:cNvPicPr>
              <a:picLocks/>
            </p:cNvPicPr>
            <p:nvPr/>
          </p:nvPicPr>
          <p:blipFill>
            <a:blip r:embed="rId5" cstate="print">
              <a:extLst>
                <a:ext uri="{96DAC541-7B7A-43D3-8B79-37D633B846F1}">
                  <asvg:svgBlip xmlns:asvg="http://schemas.microsoft.com/office/drawing/2016/SVG/main" r:embed="rId6"/>
                </a:ext>
              </a:extLst>
            </a:blip>
            <a:stretch>
              <a:fillRect/>
            </a:stretch>
          </p:blipFill>
          <p:spPr>
            <a:xfrm>
              <a:off x="3605478" y="3270439"/>
              <a:ext cx="383170" cy="383170"/>
            </a:xfrm>
            <a:prstGeom prst="rect">
              <a:avLst/>
            </a:prstGeom>
          </p:spPr>
        </p:pic>
        <p:grpSp>
          <p:nvGrpSpPr>
            <p:cNvPr id="54" name="Group 53">
              <a:extLst>
                <a:ext uri="{FF2B5EF4-FFF2-40B4-BE49-F238E27FC236}">
                  <a16:creationId xmlns:a16="http://schemas.microsoft.com/office/drawing/2014/main" id="{9C76D797-BB25-EBF3-4D41-48D4E1B8A25E}"/>
                </a:ext>
              </a:extLst>
            </p:cNvPr>
            <p:cNvGrpSpPr/>
            <p:nvPr/>
          </p:nvGrpSpPr>
          <p:grpSpPr>
            <a:xfrm>
              <a:off x="743354" y="2579086"/>
              <a:ext cx="2841082" cy="2841082"/>
              <a:chOff x="768164" y="2373252"/>
              <a:chExt cx="3252750" cy="3252750"/>
            </a:xfrm>
          </p:grpSpPr>
          <p:sp>
            <p:nvSpPr>
              <p:cNvPr id="66" name="Arc 65">
                <a:extLst>
                  <a:ext uri="{FF2B5EF4-FFF2-40B4-BE49-F238E27FC236}">
                    <a16:creationId xmlns:a16="http://schemas.microsoft.com/office/drawing/2014/main" id="{2217F9E3-790C-99C7-977B-BA80381B6573}"/>
                  </a:ext>
                </a:extLst>
              </p:cNvPr>
              <p:cNvSpPr/>
              <p:nvPr/>
            </p:nvSpPr>
            <p:spPr>
              <a:xfrm>
                <a:off x="768164" y="2373252"/>
                <a:ext cx="3252750" cy="3252750"/>
              </a:xfrm>
              <a:prstGeom prst="arc">
                <a:avLst>
                  <a:gd name="adj1" fmla="val 11807489"/>
                  <a:gd name="adj2" fmla="val 20748279"/>
                </a:avLst>
              </a:prstGeom>
              <a:ln w="38100">
                <a:solidFill>
                  <a:schemeClr val="accent2"/>
                </a:solidFill>
                <a:tailEnd type="arrow" w="med" len="sm"/>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 name="Arc 66">
                <a:extLst>
                  <a:ext uri="{FF2B5EF4-FFF2-40B4-BE49-F238E27FC236}">
                    <a16:creationId xmlns:a16="http://schemas.microsoft.com/office/drawing/2014/main" id="{26C0ED70-1902-8421-A4E6-CD91051453EA}"/>
                  </a:ext>
                </a:extLst>
              </p:cNvPr>
              <p:cNvSpPr/>
              <p:nvPr/>
            </p:nvSpPr>
            <p:spPr>
              <a:xfrm>
                <a:off x="768164" y="2373252"/>
                <a:ext cx="3252750" cy="3252750"/>
              </a:xfrm>
              <a:prstGeom prst="arc">
                <a:avLst>
                  <a:gd name="adj1" fmla="val 881544"/>
                  <a:gd name="adj2" fmla="val 9942576"/>
                </a:avLst>
              </a:prstGeom>
              <a:ln w="38100">
                <a:solidFill>
                  <a:schemeClr val="accent2"/>
                </a:solidFill>
                <a:tailEnd type="arrow" w="med" len="sm"/>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1" name="TextBox 20">
              <a:extLst>
                <a:ext uri="{FF2B5EF4-FFF2-40B4-BE49-F238E27FC236}">
                  <a16:creationId xmlns:a16="http://schemas.microsoft.com/office/drawing/2014/main" id="{1F0C7B5E-B2F8-FC6B-1BE8-204522C9A544}"/>
                </a:ext>
              </a:extLst>
            </p:cNvPr>
            <p:cNvSpPr txBox="1"/>
            <p:nvPr/>
          </p:nvSpPr>
          <p:spPr bwMode="gray">
            <a:xfrm>
              <a:off x="1270402" y="2379102"/>
              <a:ext cx="1766212" cy="528320"/>
            </a:xfrm>
            <a:prstGeom prst="rect">
              <a:avLst/>
            </a:prstGeom>
            <a:solidFill>
              <a:schemeClr val="bg1"/>
            </a:solidFill>
          </p:spPr>
          <p:txBody>
            <a:bodyPr wrap="none" lIns="45720" tIns="45720" rIns="45720" bIns="45720" rtlCol="0" anchor="ctr">
              <a:noAutofit/>
            </a:bodyPr>
            <a:lstStyle/>
            <a:p>
              <a:pPr marL="0" marR="0" lvl="0" indent="0" algn="ctr" defTabSz="228520" rtl="0" eaLnBrk="1" fontAlgn="auto" latinLnBrk="0" hangingPunct="1">
                <a:lnSpc>
                  <a:spcPct val="90000"/>
                </a:lnSpc>
                <a:spcBef>
                  <a:spcPts val="1000"/>
                </a:spcBef>
                <a:spcAft>
                  <a:spcPts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Arial" panose="020B0604020202020204"/>
                  <a:ea typeface="+mn-ea"/>
                  <a:cs typeface="+mn-cs"/>
                </a:rPr>
                <a:t>Yaş</a:t>
              </a: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600" b="1" i="0" u="none" strike="noStrike" kern="1200" cap="none" spc="0" normalizeH="0" baseline="0" noProof="0" dirty="0" err="1">
                  <a:ln>
                    <a:noFill/>
                  </a:ln>
                  <a:solidFill>
                    <a:srgbClr val="000000"/>
                  </a:solidFill>
                  <a:effectLst/>
                  <a:uLnTx/>
                  <a:uFillTx/>
                  <a:latin typeface="Arial" panose="020B0604020202020204"/>
                  <a:ea typeface="+mn-ea"/>
                  <a:cs typeface="+mn-cs"/>
                </a:rPr>
                <a:t>Arttıkça</a:t>
              </a: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 Artan Risk</a:t>
              </a:r>
            </a:p>
          </p:txBody>
        </p:sp>
        <p:sp>
          <p:nvSpPr>
            <p:cNvPr id="22" name="TextBox 21">
              <a:extLst>
                <a:ext uri="{FF2B5EF4-FFF2-40B4-BE49-F238E27FC236}">
                  <a16:creationId xmlns:a16="http://schemas.microsoft.com/office/drawing/2014/main" id="{F30B71ED-5077-DF89-2A07-0A731BF98A80}"/>
                </a:ext>
              </a:extLst>
            </p:cNvPr>
            <p:cNvSpPr txBox="1"/>
            <p:nvPr/>
          </p:nvSpPr>
          <p:spPr bwMode="gray">
            <a:xfrm>
              <a:off x="1625229" y="5242624"/>
              <a:ext cx="1185583" cy="319976"/>
            </a:xfrm>
            <a:prstGeom prst="rect">
              <a:avLst/>
            </a:prstGeom>
            <a:solidFill>
              <a:schemeClr val="bg1"/>
            </a:solidFill>
          </p:spPr>
          <p:txBody>
            <a:bodyPr wrap="square" lIns="45720" tIns="45720" rIns="45720" bIns="45720" rtlCol="0" anchor="ctr">
              <a:noAutofit/>
            </a:bodyPr>
            <a:lstStyle/>
            <a:p>
              <a:pPr marL="0" marR="0" lvl="0" indent="0" algn="ctr" defTabSz="228520" rtl="0" eaLnBrk="1" fontAlgn="auto" latinLnBrk="0" hangingPunct="1">
                <a:lnSpc>
                  <a:spcPct val="90000"/>
                </a:lnSpc>
                <a:spcBef>
                  <a:spcPts val="10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Enfeksiyon Riski</a:t>
              </a:r>
            </a:p>
          </p:txBody>
        </p:sp>
        <p:cxnSp>
          <p:nvCxnSpPr>
            <p:cNvPr id="11" name="Straight Arrow Connector 10">
              <a:extLst>
                <a:ext uri="{FF2B5EF4-FFF2-40B4-BE49-F238E27FC236}">
                  <a16:creationId xmlns:a16="http://schemas.microsoft.com/office/drawing/2014/main" id="{6BBDE558-40FB-0859-25AF-D222C328AC17}"/>
                </a:ext>
              </a:extLst>
            </p:cNvPr>
            <p:cNvCxnSpPr>
              <a:cxnSpLocks/>
            </p:cNvCxnSpPr>
            <p:nvPr/>
          </p:nvCxnSpPr>
          <p:spPr>
            <a:xfrm>
              <a:off x="1309995" y="3999628"/>
              <a:ext cx="1761361" cy="0"/>
            </a:xfrm>
            <a:prstGeom prst="straightConnector1">
              <a:avLst/>
            </a:prstGeom>
            <a:ln w="57150" cap="rnd">
              <a:round/>
              <a:tailEnd type="arrow" w="med" len="sm"/>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0CEB91E6-19AD-7433-F2B9-9878962AB546}"/>
                </a:ext>
              </a:extLst>
            </p:cNvPr>
            <p:cNvCxnSpPr>
              <a:cxnSpLocks/>
            </p:cNvCxnSpPr>
            <p:nvPr/>
          </p:nvCxnSpPr>
          <p:spPr>
            <a:xfrm flipV="1">
              <a:off x="1414780" y="3546792"/>
              <a:ext cx="0" cy="320041"/>
            </a:xfrm>
            <a:prstGeom prst="straightConnector1">
              <a:avLst/>
            </a:prstGeom>
            <a:ln w="25400" cap="rnd">
              <a:solidFill>
                <a:schemeClr val="tx1"/>
              </a:solidFill>
              <a:round/>
              <a:tailEnd type="arrow" w="med" len="sm"/>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2255C20B-9507-6002-CF21-3F7E7DBEC316}"/>
                </a:ext>
              </a:extLst>
            </p:cNvPr>
            <p:cNvCxnSpPr>
              <a:cxnSpLocks/>
            </p:cNvCxnSpPr>
            <p:nvPr/>
          </p:nvCxnSpPr>
          <p:spPr>
            <a:xfrm>
              <a:off x="4119106" y="3999628"/>
              <a:ext cx="391160" cy="0"/>
            </a:xfrm>
            <a:prstGeom prst="straightConnector1">
              <a:avLst/>
            </a:prstGeom>
            <a:ln w="57150" cap="rnd">
              <a:round/>
              <a:tailEnd type="arrow" w="med" len="sm"/>
            </a:ln>
          </p:spPr>
          <p:style>
            <a:lnRef idx="2">
              <a:schemeClr val="accent1"/>
            </a:lnRef>
            <a:fillRef idx="0">
              <a:schemeClr val="accent1"/>
            </a:fillRef>
            <a:effectRef idx="1">
              <a:schemeClr val="accent1"/>
            </a:effectRef>
            <a:fontRef idx="minor">
              <a:schemeClr val="tx1"/>
            </a:fontRef>
          </p:style>
        </p:cxnSp>
        <p:cxnSp>
          <p:nvCxnSpPr>
            <p:cNvPr id="40" name="Straight Arrow Connector 39">
              <a:extLst>
                <a:ext uri="{FF2B5EF4-FFF2-40B4-BE49-F238E27FC236}">
                  <a16:creationId xmlns:a16="http://schemas.microsoft.com/office/drawing/2014/main" id="{B96CC743-1B23-DA21-3DBA-D1D6FB3050D0}"/>
                </a:ext>
              </a:extLst>
            </p:cNvPr>
            <p:cNvCxnSpPr>
              <a:cxnSpLocks/>
            </p:cNvCxnSpPr>
            <p:nvPr/>
          </p:nvCxnSpPr>
          <p:spPr>
            <a:xfrm flipV="1">
              <a:off x="4723553" y="3681730"/>
              <a:ext cx="0" cy="182880"/>
            </a:xfrm>
            <a:prstGeom prst="straightConnector1">
              <a:avLst/>
            </a:prstGeom>
            <a:ln w="25400" cap="rnd">
              <a:solidFill>
                <a:schemeClr val="bg1"/>
              </a:solidFill>
              <a:round/>
              <a:tailEnd type="arrow" w="med" len="sm"/>
            </a:ln>
          </p:spPr>
          <p:style>
            <a:lnRef idx="2">
              <a:schemeClr val="accent1"/>
            </a:lnRef>
            <a:fillRef idx="0">
              <a:schemeClr val="accent1"/>
            </a:fillRef>
            <a:effectRef idx="1">
              <a:schemeClr val="accent1"/>
            </a:effectRef>
            <a:fontRef idx="minor">
              <a:schemeClr val="tx1"/>
            </a:fontRef>
          </p:style>
        </p:cxnSp>
        <p:cxnSp>
          <p:nvCxnSpPr>
            <p:cNvPr id="44" name="Straight Arrow Connector 43">
              <a:extLst>
                <a:ext uri="{FF2B5EF4-FFF2-40B4-BE49-F238E27FC236}">
                  <a16:creationId xmlns:a16="http://schemas.microsoft.com/office/drawing/2014/main" id="{1997B8B5-3783-BBB4-F86F-2BA37A8016C1}"/>
                </a:ext>
              </a:extLst>
            </p:cNvPr>
            <p:cNvCxnSpPr>
              <a:cxnSpLocks/>
            </p:cNvCxnSpPr>
            <p:nvPr/>
          </p:nvCxnSpPr>
          <p:spPr>
            <a:xfrm flipV="1">
              <a:off x="4723553" y="3955203"/>
              <a:ext cx="0" cy="182880"/>
            </a:xfrm>
            <a:prstGeom prst="straightConnector1">
              <a:avLst/>
            </a:prstGeom>
            <a:ln w="25400" cap="rnd">
              <a:solidFill>
                <a:schemeClr val="bg1"/>
              </a:solidFill>
              <a:round/>
              <a:tailEnd type="arrow" w="med" len="sm"/>
            </a:ln>
          </p:spPr>
          <p:style>
            <a:lnRef idx="2">
              <a:schemeClr val="accent1"/>
            </a:lnRef>
            <a:fillRef idx="0">
              <a:schemeClr val="accent1"/>
            </a:fillRef>
            <a:effectRef idx="1">
              <a:schemeClr val="accent1"/>
            </a:effectRef>
            <a:fontRef idx="minor">
              <a:schemeClr val="tx1"/>
            </a:fontRef>
          </p:style>
        </p:cxnSp>
      </p:grpSp>
      <p:pic>
        <p:nvPicPr>
          <p:cNvPr id="3" name="Picture 2" descr="A black and blue logo&#10;&#10;AI-generated content may be incorrect.">
            <a:extLst>
              <a:ext uri="{FF2B5EF4-FFF2-40B4-BE49-F238E27FC236}">
                <a16:creationId xmlns:a16="http://schemas.microsoft.com/office/drawing/2014/main" id="{561C1F92-3B8B-5852-08BC-78B494EDFE76}"/>
              </a:ext>
            </a:extLst>
          </p:cNvPr>
          <p:cNvPicPr>
            <a:picLocks noChangeAspect="1"/>
          </p:cNvPicPr>
          <p:nvPr/>
        </p:nvPicPr>
        <p:blipFill>
          <a:blip r:embed="rId7"/>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31866659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9B7D4-046C-7197-DDE4-13730745404D}"/>
            </a:ext>
          </a:extLst>
        </p:cNvPr>
        <p:cNvGrpSpPr/>
        <p:nvPr/>
      </p:nvGrpSpPr>
      <p:grpSpPr>
        <a:xfrm>
          <a:off x="0" y="0"/>
          <a:ext cx="0" cy="0"/>
          <a:chOff x="0" y="0"/>
          <a:chExt cx="0" cy="0"/>
        </a:xfrm>
      </p:grpSpPr>
      <p:sp>
        <p:nvSpPr>
          <p:cNvPr id="4" name="Text Placeholder 4">
            <a:extLst>
              <a:ext uri="{FF2B5EF4-FFF2-40B4-BE49-F238E27FC236}">
                <a16:creationId xmlns:a16="http://schemas.microsoft.com/office/drawing/2014/main" id="{D6489E0B-5734-5821-D352-3AA398CD9330}"/>
              </a:ext>
            </a:extLst>
          </p:cNvPr>
          <p:cNvSpPr txBox="1">
            <a:spLocks/>
          </p:cNvSpPr>
          <p:nvPr/>
        </p:nvSpPr>
        <p:spPr bwMode="gray">
          <a:xfrm>
            <a:off x="613152" y="1300259"/>
            <a:ext cx="11439053" cy="543995"/>
          </a:xfrm>
          <a:prstGeom prst="rect">
            <a:avLst/>
          </a:prstGeom>
          <a:solidFill>
            <a:schemeClr val="bg1"/>
          </a:solidFill>
          <a:effectLst>
            <a:outerShdw dist="12700" dir="16200000" rotWithShape="0">
              <a:schemeClr val="bg2">
                <a:lumMod val="90000"/>
              </a:schemeClr>
            </a:outerShdw>
          </a:effectLst>
        </p:spPr>
        <p:txBody>
          <a:bodyPr wrap="square" lIns="0" tIns="73152" rIns="0">
            <a:spAutoFit/>
          </a:bodyPr>
          <a:lstStyle>
            <a:defPPr>
              <a:defRPr lang="en-US"/>
            </a:defPPr>
            <a:lvl1pPr defTabSz="914400">
              <a:lnSpc>
                <a:spcPct val="95000"/>
              </a:lnSpc>
              <a:defRPr sz="1700" b="1">
                <a:solidFill>
                  <a:schemeClr val="accent2"/>
                </a:solidFill>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CADE4"/>
                </a:solidFill>
                <a:effectLst/>
                <a:uLnTx/>
                <a:uFillTx/>
                <a:latin typeface="Arial" panose="020B0604020202020204"/>
                <a:ea typeface="+mn-ea"/>
                <a:cs typeface="+mn-cs"/>
              </a:rPr>
              <a:t>RSV </a:t>
            </a:r>
            <a:r>
              <a:rPr kumimoji="0" lang="en-US" sz="1700" b="1" i="0" u="none" strike="noStrike" kern="1200" cap="none" spc="0" normalizeH="0" baseline="0" noProof="0" dirty="0" err="1">
                <a:ln>
                  <a:noFill/>
                </a:ln>
                <a:solidFill>
                  <a:srgbClr val="1CADE4"/>
                </a:solidFill>
                <a:effectLst/>
                <a:uLnTx/>
                <a:uFillTx/>
                <a:latin typeface="Arial" panose="020B0604020202020204"/>
                <a:ea typeface="+mn-ea"/>
                <a:cs typeface="+mn-cs"/>
              </a:rPr>
              <a:t>Enfeksiyonu</a:t>
            </a:r>
            <a:r>
              <a:rPr kumimoji="0" lang="en-US" sz="1700" b="1" i="0" u="none" strike="noStrike" kern="1200" cap="none" spc="0" normalizeH="0" baseline="0" noProof="0" dirty="0">
                <a:ln>
                  <a:noFill/>
                </a:ln>
                <a:solidFill>
                  <a:srgbClr val="1CADE4"/>
                </a:solidFill>
                <a:effectLst/>
                <a:uLnTx/>
                <a:uFillTx/>
                <a:latin typeface="Arial" panose="020B0604020202020204"/>
                <a:ea typeface="+mn-ea"/>
                <a:cs typeface="+mn-cs"/>
              </a:rPr>
              <a:t> </a:t>
            </a:r>
            <a:r>
              <a:rPr kumimoji="0" lang="en-US" sz="1700" b="1" i="0" u="none" strike="noStrike" kern="1200" cap="none" spc="0" normalizeH="0" baseline="0" noProof="0" dirty="0" err="1">
                <a:ln>
                  <a:noFill/>
                </a:ln>
                <a:solidFill>
                  <a:srgbClr val="1CADE4"/>
                </a:solidFill>
                <a:effectLst/>
                <a:uLnTx/>
                <a:uFillTx/>
                <a:latin typeface="Arial" panose="020B0604020202020204"/>
                <a:ea typeface="+mn-ea"/>
                <a:cs typeface="+mn-cs"/>
              </a:rPr>
              <a:t>ile</a:t>
            </a:r>
            <a:r>
              <a:rPr kumimoji="0" lang="en-US" sz="1700" b="1" i="0" u="none" strike="noStrike" kern="1200" cap="none" spc="0" normalizeH="0" baseline="0" noProof="0" dirty="0">
                <a:ln>
                  <a:noFill/>
                </a:ln>
                <a:solidFill>
                  <a:srgbClr val="1CADE4"/>
                </a:solidFill>
                <a:effectLst/>
                <a:uLnTx/>
                <a:uFillTx/>
                <a:latin typeface="Arial" panose="020B0604020202020204"/>
                <a:ea typeface="+mn-ea"/>
                <a:cs typeface="+mn-cs"/>
              </a:rPr>
              <a:t> </a:t>
            </a:r>
            <a:r>
              <a:rPr kumimoji="0" lang="en-US" sz="1700" b="1" i="0" u="none" strike="noStrike" kern="1200" cap="none" spc="0" normalizeH="0" baseline="0" noProof="0" dirty="0" err="1">
                <a:ln>
                  <a:noFill/>
                </a:ln>
                <a:solidFill>
                  <a:srgbClr val="1CADE4"/>
                </a:solidFill>
                <a:effectLst/>
                <a:uLnTx/>
                <a:uFillTx/>
                <a:latin typeface="Arial" panose="020B0604020202020204"/>
                <a:ea typeface="+mn-ea"/>
                <a:cs typeface="+mn-cs"/>
              </a:rPr>
              <a:t>Hastaneye</a:t>
            </a:r>
            <a:r>
              <a:rPr kumimoji="0" lang="en-US" sz="1700" b="1" i="0" u="none" strike="noStrike" kern="1200" cap="none" spc="0" normalizeH="0" baseline="0" noProof="0" dirty="0">
                <a:ln>
                  <a:noFill/>
                </a:ln>
                <a:solidFill>
                  <a:srgbClr val="1CADE4"/>
                </a:solidFill>
                <a:effectLst/>
                <a:uLnTx/>
                <a:uFillTx/>
                <a:latin typeface="Arial" panose="020B0604020202020204"/>
                <a:ea typeface="+mn-ea"/>
                <a:cs typeface="+mn-cs"/>
              </a:rPr>
              <a:t> </a:t>
            </a:r>
            <a:r>
              <a:rPr kumimoji="0" lang="en-US" sz="1700" b="1" i="0" u="none" strike="noStrike" kern="1200" cap="none" spc="0" normalizeH="0" baseline="0" noProof="0" dirty="0" err="1">
                <a:ln>
                  <a:noFill/>
                </a:ln>
                <a:solidFill>
                  <a:srgbClr val="1CADE4"/>
                </a:solidFill>
                <a:effectLst/>
                <a:uLnTx/>
                <a:uFillTx/>
                <a:latin typeface="Arial" panose="020B0604020202020204"/>
                <a:ea typeface="+mn-ea"/>
                <a:cs typeface="+mn-cs"/>
              </a:rPr>
              <a:t>Yatırılan</a:t>
            </a:r>
            <a:r>
              <a:rPr kumimoji="0" lang="en-US" sz="1700" b="1" i="0" u="none" strike="noStrike" kern="1200" cap="none" spc="0" normalizeH="0" baseline="0" noProof="0" dirty="0">
                <a:ln>
                  <a:noFill/>
                </a:ln>
                <a:solidFill>
                  <a:srgbClr val="1CADE4"/>
                </a:solidFill>
                <a:effectLst/>
                <a:uLnTx/>
                <a:uFillTx/>
                <a:latin typeface="Arial" panose="020B0604020202020204"/>
                <a:ea typeface="+mn-ea"/>
                <a:cs typeface="+mn-cs"/>
              </a:rPr>
              <a:t> </a:t>
            </a:r>
            <a:r>
              <a:rPr kumimoji="0" lang="en-US" sz="1700" b="1" i="0" u="none" strike="noStrike" kern="1200" cap="none" spc="0" normalizeH="0" baseline="0" noProof="0" dirty="0" err="1">
                <a:ln>
                  <a:noFill/>
                </a:ln>
                <a:solidFill>
                  <a:srgbClr val="1CADE4"/>
                </a:solidFill>
                <a:effectLst/>
                <a:uLnTx/>
                <a:uFillTx/>
                <a:latin typeface="Arial" panose="020B0604020202020204"/>
                <a:ea typeface="+mn-ea"/>
                <a:cs typeface="+mn-cs"/>
              </a:rPr>
              <a:t>Yetişkinlerde</a:t>
            </a:r>
            <a:r>
              <a:rPr kumimoji="0" lang="en-US" sz="1700" b="1" i="0" u="none" strike="noStrike" kern="1200" cap="none" spc="0" normalizeH="0" baseline="0" noProof="0" dirty="0">
                <a:ln>
                  <a:noFill/>
                </a:ln>
                <a:solidFill>
                  <a:srgbClr val="1CADE4"/>
                </a:solidFill>
                <a:effectLst/>
                <a:uLnTx/>
                <a:uFillTx/>
                <a:latin typeface="Arial" panose="020B0604020202020204"/>
                <a:ea typeface="+mn-ea"/>
                <a:cs typeface="+mn-cs"/>
              </a:rPr>
              <a:t> </a:t>
            </a:r>
            <a:r>
              <a:rPr kumimoji="0" lang="en-US" sz="1700" b="1" i="0" u="none" strike="noStrike" kern="1200" cap="none" spc="0" normalizeH="0" baseline="0" noProof="0" dirty="0" err="1">
                <a:ln>
                  <a:noFill/>
                </a:ln>
                <a:solidFill>
                  <a:srgbClr val="1CADE4"/>
                </a:solidFill>
                <a:effectLst/>
                <a:uLnTx/>
                <a:uFillTx/>
                <a:latin typeface="Arial" panose="020B0604020202020204"/>
                <a:ea typeface="+mn-ea"/>
                <a:cs typeface="+mn-cs"/>
              </a:rPr>
              <a:t>Akut</a:t>
            </a:r>
            <a:r>
              <a:rPr kumimoji="0" lang="en-US" sz="1700" b="1" i="0" u="none" strike="noStrike" kern="1200" cap="none" spc="0" normalizeH="0" baseline="0" noProof="0" dirty="0">
                <a:ln>
                  <a:noFill/>
                </a:ln>
                <a:solidFill>
                  <a:srgbClr val="1CADE4"/>
                </a:solidFill>
                <a:effectLst/>
                <a:uLnTx/>
                <a:uFillTx/>
                <a:latin typeface="Arial" panose="020B0604020202020204"/>
                <a:ea typeface="+mn-ea"/>
                <a:cs typeface="+mn-cs"/>
              </a:rPr>
              <a:t> </a:t>
            </a:r>
            <a:r>
              <a:rPr kumimoji="0" lang="en-US" sz="1700" b="1" i="0" u="none" strike="noStrike" kern="1200" cap="none" spc="0" normalizeH="0" baseline="0" noProof="0" dirty="0" err="1">
                <a:ln>
                  <a:noFill/>
                </a:ln>
                <a:solidFill>
                  <a:srgbClr val="1CADE4"/>
                </a:solidFill>
                <a:effectLst/>
                <a:uLnTx/>
                <a:uFillTx/>
                <a:latin typeface="Arial" panose="020B0604020202020204"/>
                <a:ea typeface="+mn-ea"/>
                <a:cs typeface="+mn-cs"/>
              </a:rPr>
              <a:t>Kardiyak</a:t>
            </a:r>
            <a:r>
              <a:rPr kumimoji="0" lang="en-US" sz="1700" b="1" i="0" u="none" strike="noStrike" kern="1200" cap="none" spc="0" normalizeH="0" baseline="0" noProof="0" dirty="0">
                <a:ln>
                  <a:noFill/>
                </a:ln>
                <a:solidFill>
                  <a:srgbClr val="1CADE4"/>
                </a:solidFill>
                <a:effectLst/>
                <a:uLnTx/>
                <a:uFillTx/>
                <a:latin typeface="Arial" panose="020B0604020202020204"/>
                <a:ea typeface="+mn-ea"/>
                <a:cs typeface="+mn-cs"/>
              </a:rPr>
              <a:t> Olay </a:t>
            </a:r>
            <a:r>
              <a:rPr kumimoji="0" lang="en-US" sz="1700" b="1" i="0" u="none" strike="noStrike" kern="1200" cap="none" spc="0" normalizeH="0" baseline="0" noProof="0" dirty="0" err="1">
                <a:ln>
                  <a:noFill/>
                </a:ln>
                <a:solidFill>
                  <a:srgbClr val="1CADE4"/>
                </a:solidFill>
                <a:effectLst/>
                <a:uLnTx/>
                <a:uFillTx/>
                <a:latin typeface="Arial" panose="020B0604020202020204"/>
                <a:ea typeface="+mn-ea"/>
                <a:cs typeface="+mn-cs"/>
              </a:rPr>
              <a:t>Prevalansı</a:t>
            </a:r>
            <a:br>
              <a:rPr kumimoji="0" lang="en-US" sz="1700" b="1" i="0" u="none" strike="noStrike" kern="1200" cap="none" spc="0" normalizeH="0" baseline="0" noProof="0" dirty="0">
                <a:ln>
                  <a:noFill/>
                </a:ln>
                <a:solidFill>
                  <a:srgbClr val="0095FF"/>
                </a:solidFill>
                <a:effectLst/>
                <a:uLnTx/>
                <a:uFillTx/>
                <a:latin typeface="Arial" panose="020B0604020202020204"/>
                <a:ea typeface="+mn-ea"/>
                <a:cs typeface="+mn-cs"/>
              </a:rPr>
            </a:b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RSV-NET 2014-2015 </a:t>
            </a:r>
            <a:r>
              <a:rPr kumimoji="0" lang="en-US" sz="1100" b="0" i="0" u="none" strike="noStrike" kern="1200" cap="none" spc="0" normalizeH="0" baseline="0" noProof="0" dirty="0" err="1">
                <a:ln>
                  <a:noFill/>
                </a:ln>
                <a:solidFill>
                  <a:srgbClr val="000000"/>
                </a:solidFill>
                <a:effectLst/>
                <a:uLnTx/>
                <a:uFillTx/>
                <a:latin typeface="Arial" panose="020B0604020202020204"/>
                <a:ea typeface="+mn-ea"/>
                <a:cs typeface="+mn-cs"/>
              </a:rPr>
              <a:t>ila</a:t>
            </a: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 2017-2018 </a:t>
            </a:r>
            <a:r>
              <a:rPr kumimoji="0" lang="en-US" sz="1100" b="0" i="0" u="none" strike="noStrike" kern="1200" cap="none" spc="0" normalizeH="0" baseline="0" noProof="0" dirty="0" err="1">
                <a:ln>
                  <a:noFill/>
                </a:ln>
                <a:solidFill>
                  <a:srgbClr val="000000"/>
                </a:solidFill>
                <a:effectLst/>
                <a:uLnTx/>
                <a:uFillTx/>
                <a:latin typeface="Arial" panose="020B0604020202020204"/>
                <a:ea typeface="+mn-ea"/>
                <a:cs typeface="+mn-cs"/>
              </a:rPr>
              <a:t>ve</a:t>
            </a: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 2022-2023</a:t>
            </a: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63D2461E-A8CE-1096-2553-0D81491019D9}"/>
              </a:ext>
            </a:extLst>
          </p:cNvPr>
          <p:cNvSpPr>
            <a:spLocks noGrp="1"/>
          </p:cNvSpPr>
          <p:nvPr>
            <p:ph type="title"/>
          </p:nvPr>
        </p:nvSpPr>
        <p:spPr/>
        <p:txBody>
          <a:bodyPr>
            <a:normAutofit fontScale="90000"/>
          </a:bodyPr>
          <a:lstStyle/>
          <a:p>
            <a:r>
              <a:rPr lang="en-US"/>
              <a:t>RSV </a:t>
            </a:r>
            <a:r>
              <a:rPr lang="en-US" err="1"/>
              <a:t>ile</a:t>
            </a:r>
            <a:r>
              <a:rPr lang="en-US"/>
              <a:t> </a:t>
            </a:r>
            <a:r>
              <a:rPr lang="en-US" err="1"/>
              <a:t>hastaneye</a:t>
            </a:r>
            <a:r>
              <a:rPr lang="en-US"/>
              <a:t> </a:t>
            </a:r>
            <a:r>
              <a:rPr lang="en-US" err="1"/>
              <a:t>yatırılan</a:t>
            </a:r>
            <a:r>
              <a:rPr lang="en-US"/>
              <a:t> </a:t>
            </a:r>
            <a:r>
              <a:rPr lang="en-US" err="1"/>
              <a:t>yaşlı</a:t>
            </a:r>
            <a:r>
              <a:rPr lang="en-US"/>
              <a:t> </a:t>
            </a:r>
            <a:r>
              <a:rPr lang="en-US" err="1"/>
              <a:t>bireylerin</a:t>
            </a:r>
            <a:r>
              <a:rPr lang="en-US"/>
              <a:t> </a:t>
            </a:r>
            <a:r>
              <a:rPr lang="en-US" err="1"/>
              <a:t>neredeyse</a:t>
            </a:r>
            <a:r>
              <a:rPr lang="en-US"/>
              <a:t> </a:t>
            </a:r>
            <a:r>
              <a:rPr lang="en-US" err="1"/>
              <a:t>dörtte</a:t>
            </a:r>
            <a:r>
              <a:rPr lang="en-US"/>
              <a:t> </a:t>
            </a:r>
            <a:r>
              <a:rPr lang="en-US" err="1"/>
              <a:t>biri</a:t>
            </a:r>
            <a:r>
              <a:rPr lang="en-US"/>
              <a:t> </a:t>
            </a:r>
            <a:r>
              <a:rPr lang="en-US" err="1"/>
              <a:t>akut</a:t>
            </a:r>
            <a:r>
              <a:rPr lang="en-US"/>
              <a:t> </a:t>
            </a:r>
            <a:r>
              <a:rPr lang="en-US" err="1"/>
              <a:t>kardiyak</a:t>
            </a:r>
            <a:r>
              <a:rPr lang="en-US"/>
              <a:t> </a:t>
            </a:r>
            <a:r>
              <a:rPr lang="en-US" err="1"/>
              <a:t>olay</a:t>
            </a:r>
            <a:r>
              <a:rPr lang="en-US"/>
              <a:t> </a:t>
            </a:r>
            <a:r>
              <a:rPr lang="en-US" err="1"/>
              <a:t>yaşamaktadır</a:t>
            </a:r>
            <a:r>
              <a:rPr lang="en-US"/>
              <a:t>; </a:t>
            </a:r>
            <a:r>
              <a:rPr lang="en-US" err="1"/>
              <a:t>bu</a:t>
            </a:r>
            <a:r>
              <a:rPr lang="en-US"/>
              <a:t> </a:t>
            </a:r>
            <a:r>
              <a:rPr lang="en-US" err="1"/>
              <a:t>bireylerin</a:t>
            </a:r>
            <a:r>
              <a:rPr lang="en-US"/>
              <a:t> on </a:t>
            </a:r>
            <a:r>
              <a:rPr lang="en-US" err="1"/>
              <a:t>ikide</a:t>
            </a:r>
            <a:r>
              <a:rPr lang="en-US"/>
              <a:t> </a:t>
            </a:r>
            <a:r>
              <a:rPr lang="en-US" err="1"/>
              <a:t>birinin</a:t>
            </a:r>
            <a:r>
              <a:rPr lang="en-US"/>
              <a:t> </a:t>
            </a:r>
            <a:r>
              <a:rPr lang="en-US" err="1"/>
              <a:t>altta</a:t>
            </a:r>
            <a:r>
              <a:rPr lang="en-US"/>
              <a:t> </a:t>
            </a:r>
            <a:r>
              <a:rPr lang="en-US" err="1"/>
              <a:t>yatan</a:t>
            </a:r>
            <a:r>
              <a:rPr lang="en-US"/>
              <a:t> </a:t>
            </a:r>
            <a:r>
              <a:rPr lang="en-US" err="1"/>
              <a:t>bilinen</a:t>
            </a:r>
            <a:r>
              <a:rPr lang="en-US"/>
              <a:t> </a:t>
            </a:r>
            <a:r>
              <a:rPr lang="en-US" err="1"/>
              <a:t>kardiyovasküler</a:t>
            </a:r>
            <a:r>
              <a:rPr lang="en-US"/>
              <a:t> </a:t>
            </a:r>
            <a:r>
              <a:rPr lang="en-US" err="1"/>
              <a:t>hastalığı</a:t>
            </a:r>
            <a:r>
              <a:rPr lang="en-US"/>
              <a:t> </a:t>
            </a:r>
            <a:r>
              <a:rPr lang="en-US" err="1"/>
              <a:t>yoktur</a:t>
            </a:r>
            <a:endParaRPr lang="en-US"/>
          </a:p>
        </p:txBody>
      </p:sp>
      <p:sp>
        <p:nvSpPr>
          <p:cNvPr id="5" name="Slide Number Placeholder 4">
            <a:extLst>
              <a:ext uri="{FF2B5EF4-FFF2-40B4-BE49-F238E27FC236}">
                <a16:creationId xmlns:a16="http://schemas.microsoft.com/office/drawing/2014/main" id="{D30813B1-7D6D-2031-B3DA-7A6611DAC7EE}"/>
              </a:ext>
            </a:extLst>
          </p:cNvPr>
          <p:cNvSpPr>
            <a:spLocks noGrp="1"/>
          </p:cNvSpPr>
          <p:nvPr>
            <p:ph type="sldNum" sz="quarter" idx="4"/>
          </p:nvPr>
        </p:nvSpPr>
        <p:spPr/>
        <p:txBody>
          <a:bodyPr/>
          <a:lstStyle/>
          <a:p>
            <a:pPr lvl="0"/>
            <a:fld id="{8C13A29A-185B-4182-9583-7B13F1AC164D}" type="slidenum">
              <a:rPr lang="en-US" noProof="0" smtClean="0"/>
              <a:pPr lvl="0"/>
              <a:t>26</a:t>
            </a:fld>
            <a:endParaRPr lang="en-US" noProof="0"/>
          </a:p>
        </p:txBody>
      </p:sp>
      <p:sp>
        <p:nvSpPr>
          <p:cNvPr id="3" name="Text Placeholder 13">
            <a:extLst>
              <a:ext uri="{FF2B5EF4-FFF2-40B4-BE49-F238E27FC236}">
                <a16:creationId xmlns:a16="http://schemas.microsoft.com/office/drawing/2014/main" id="{C81F42BD-16F0-3387-DFE0-AC4D9E6904EC}"/>
              </a:ext>
            </a:extLst>
          </p:cNvPr>
          <p:cNvSpPr>
            <a:spLocks noGrp="1"/>
          </p:cNvSpPr>
          <p:nvPr>
            <p:ph type="body" sz="quarter" idx="4294967295"/>
          </p:nvPr>
        </p:nvSpPr>
        <p:spPr>
          <a:xfrm>
            <a:off x="478535" y="5828996"/>
            <a:ext cx="10215563" cy="358775"/>
          </a:xfrm>
        </p:spPr>
        <p:txBody>
          <a:bodyPr>
            <a:noAutofit/>
          </a:bodyPr>
          <a:lstStyle/>
          <a:p>
            <a:pPr marL="0" indent="0">
              <a:lnSpc>
                <a:spcPct val="100000"/>
              </a:lnSpc>
              <a:spcBef>
                <a:spcPts val="0"/>
              </a:spcBef>
              <a:buNone/>
            </a:pPr>
            <a:r>
              <a:rPr lang="en-US" sz="700" dirty="0">
                <a:solidFill>
                  <a:schemeClr val="bg1">
                    <a:lumMod val="50000"/>
                  </a:schemeClr>
                </a:solidFill>
              </a:rPr>
              <a:t>*KY, KAH, </a:t>
            </a:r>
            <a:r>
              <a:rPr lang="en-US" sz="700" dirty="0" err="1">
                <a:solidFill>
                  <a:schemeClr val="bg1">
                    <a:lumMod val="50000"/>
                  </a:schemeClr>
                </a:solidFill>
              </a:rPr>
              <a:t>atriyal</a:t>
            </a:r>
            <a:r>
              <a:rPr lang="en-US" sz="700" dirty="0">
                <a:solidFill>
                  <a:schemeClr val="bg1">
                    <a:lumMod val="50000"/>
                  </a:schemeClr>
                </a:solidFill>
              </a:rPr>
              <a:t> </a:t>
            </a:r>
            <a:r>
              <a:rPr lang="en-US" sz="700" dirty="0" err="1">
                <a:solidFill>
                  <a:schemeClr val="bg1">
                    <a:lumMod val="50000"/>
                  </a:schemeClr>
                </a:solidFill>
              </a:rPr>
              <a:t>fibrilasyon</a:t>
            </a:r>
            <a:r>
              <a:rPr lang="en-US" sz="700" dirty="0">
                <a:solidFill>
                  <a:schemeClr val="bg1">
                    <a:lumMod val="50000"/>
                  </a:schemeClr>
                </a:solidFill>
              </a:rPr>
              <a:t>, </a:t>
            </a:r>
            <a:r>
              <a:rPr lang="en-US" sz="700" dirty="0" err="1">
                <a:solidFill>
                  <a:schemeClr val="bg1">
                    <a:lumMod val="50000"/>
                  </a:schemeClr>
                </a:solidFill>
              </a:rPr>
              <a:t>aterosklerotik</a:t>
            </a:r>
            <a:r>
              <a:rPr lang="en-US" sz="700" dirty="0">
                <a:solidFill>
                  <a:schemeClr val="bg1">
                    <a:lumMod val="50000"/>
                  </a:schemeClr>
                </a:solidFill>
              </a:rPr>
              <a:t> KVH, </a:t>
            </a:r>
            <a:r>
              <a:rPr lang="en-US" sz="700" dirty="0" err="1">
                <a:solidFill>
                  <a:schemeClr val="bg1">
                    <a:lumMod val="50000"/>
                  </a:schemeClr>
                </a:solidFill>
              </a:rPr>
              <a:t>kardiyomiyopati</a:t>
            </a:r>
            <a:r>
              <a:rPr lang="en-US" sz="700" dirty="0">
                <a:solidFill>
                  <a:schemeClr val="bg1">
                    <a:lumMod val="50000"/>
                  </a:schemeClr>
                </a:solidFill>
              </a:rPr>
              <a:t>, </a:t>
            </a:r>
            <a:r>
              <a:rPr lang="en-US" sz="700" dirty="0" err="1">
                <a:solidFill>
                  <a:schemeClr val="bg1">
                    <a:lumMod val="50000"/>
                  </a:schemeClr>
                </a:solidFill>
              </a:rPr>
              <a:t>aort</a:t>
            </a:r>
            <a:r>
              <a:rPr lang="en-US" sz="700" dirty="0">
                <a:solidFill>
                  <a:schemeClr val="bg1">
                    <a:lumMod val="50000"/>
                  </a:schemeClr>
                </a:solidFill>
              </a:rPr>
              <a:t> </a:t>
            </a:r>
            <a:r>
              <a:rPr lang="en-US" sz="700" dirty="0" err="1">
                <a:solidFill>
                  <a:schemeClr val="bg1">
                    <a:lumMod val="50000"/>
                  </a:schemeClr>
                </a:solidFill>
              </a:rPr>
              <a:t>anevrizması</a:t>
            </a:r>
            <a:r>
              <a:rPr lang="en-US" sz="700" dirty="0">
                <a:solidFill>
                  <a:schemeClr val="bg1">
                    <a:lumMod val="50000"/>
                  </a:schemeClr>
                </a:solidFill>
              </a:rPr>
              <a:t>, </a:t>
            </a:r>
            <a:r>
              <a:rPr lang="en-US" sz="700" dirty="0" err="1">
                <a:solidFill>
                  <a:schemeClr val="bg1">
                    <a:lumMod val="50000"/>
                  </a:schemeClr>
                </a:solidFill>
              </a:rPr>
              <a:t>konjenital</a:t>
            </a:r>
            <a:r>
              <a:rPr lang="en-US" sz="700" dirty="0">
                <a:solidFill>
                  <a:schemeClr val="bg1">
                    <a:lumMod val="50000"/>
                  </a:schemeClr>
                </a:solidFill>
              </a:rPr>
              <a:t> </a:t>
            </a:r>
            <a:r>
              <a:rPr lang="en-US" sz="700" dirty="0" err="1">
                <a:solidFill>
                  <a:schemeClr val="bg1">
                    <a:lumMod val="50000"/>
                  </a:schemeClr>
                </a:solidFill>
              </a:rPr>
              <a:t>kalp</a:t>
            </a:r>
            <a:r>
              <a:rPr lang="en-US" sz="700" dirty="0">
                <a:solidFill>
                  <a:schemeClr val="bg1">
                    <a:lumMod val="50000"/>
                  </a:schemeClr>
                </a:solidFill>
              </a:rPr>
              <a:t> </a:t>
            </a:r>
            <a:r>
              <a:rPr lang="en-US" sz="700" dirty="0" err="1">
                <a:solidFill>
                  <a:schemeClr val="bg1">
                    <a:lumMod val="50000"/>
                  </a:schemeClr>
                </a:solidFill>
              </a:rPr>
              <a:t>hastalığı</a:t>
            </a:r>
            <a:r>
              <a:rPr lang="en-US" sz="700" dirty="0">
                <a:solidFill>
                  <a:schemeClr val="bg1">
                    <a:lumMod val="50000"/>
                  </a:schemeClr>
                </a:solidFill>
              </a:rPr>
              <a:t>, </a:t>
            </a:r>
            <a:r>
              <a:rPr lang="en-US" sz="700" dirty="0" err="1">
                <a:solidFill>
                  <a:schemeClr val="bg1">
                    <a:lumMod val="50000"/>
                  </a:schemeClr>
                </a:solidFill>
              </a:rPr>
              <a:t>aort</a:t>
            </a:r>
            <a:r>
              <a:rPr lang="en-US" sz="700" dirty="0">
                <a:solidFill>
                  <a:schemeClr val="bg1">
                    <a:lumMod val="50000"/>
                  </a:schemeClr>
                </a:solidFill>
              </a:rPr>
              <a:t> </a:t>
            </a:r>
            <a:r>
              <a:rPr lang="en-US" sz="700" dirty="0" err="1">
                <a:solidFill>
                  <a:schemeClr val="bg1">
                    <a:lumMod val="50000"/>
                  </a:schemeClr>
                </a:solidFill>
              </a:rPr>
              <a:t>stenozu</a:t>
            </a:r>
            <a:r>
              <a:rPr lang="en-US" sz="700" dirty="0">
                <a:solidFill>
                  <a:schemeClr val="bg1">
                    <a:lumMod val="50000"/>
                  </a:schemeClr>
                </a:solidFill>
              </a:rPr>
              <a:t> </a:t>
            </a:r>
            <a:r>
              <a:rPr lang="en-US" sz="700" dirty="0" err="1">
                <a:solidFill>
                  <a:schemeClr val="bg1">
                    <a:lumMod val="50000"/>
                  </a:schemeClr>
                </a:solidFill>
              </a:rPr>
              <a:t>ve</a:t>
            </a:r>
            <a:r>
              <a:rPr lang="en-US" sz="700" dirty="0">
                <a:solidFill>
                  <a:schemeClr val="bg1">
                    <a:lumMod val="50000"/>
                  </a:schemeClr>
                </a:solidFill>
              </a:rPr>
              <a:t> </a:t>
            </a:r>
            <a:r>
              <a:rPr lang="en-US" sz="700" dirty="0" err="1">
                <a:solidFill>
                  <a:schemeClr val="bg1">
                    <a:lumMod val="50000"/>
                  </a:schemeClr>
                </a:solidFill>
              </a:rPr>
              <a:t>diğer</a:t>
            </a:r>
            <a:r>
              <a:rPr lang="en-US" sz="700" dirty="0">
                <a:solidFill>
                  <a:schemeClr val="bg1">
                    <a:lumMod val="50000"/>
                  </a:schemeClr>
                </a:solidFill>
              </a:rPr>
              <a:t> </a:t>
            </a:r>
            <a:r>
              <a:rPr lang="en-US" sz="700" dirty="0" err="1">
                <a:solidFill>
                  <a:schemeClr val="bg1">
                    <a:lumMod val="50000"/>
                  </a:schemeClr>
                </a:solidFill>
              </a:rPr>
              <a:t>kardiyak</a:t>
            </a:r>
            <a:r>
              <a:rPr lang="en-US" sz="700" dirty="0">
                <a:solidFill>
                  <a:schemeClr val="bg1">
                    <a:lumMod val="50000"/>
                  </a:schemeClr>
                </a:solidFill>
              </a:rPr>
              <a:t> </a:t>
            </a:r>
            <a:r>
              <a:rPr lang="en-US" sz="700" dirty="0" err="1">
                <a:solidFill>
                  <a:schemeClr val="bg1">
                    <a:lumMod val="50000"/>
                  </a:schemeClr>
                </a:solidFill>
              </a:rPr>
              <a:t>hastalık</a:t>
            </a:r>
            <a:r>
              <a:rPr lang="en-US" sz="700" dirty="0">
                <a:solidFill>
                  <a:schemeClr val="bg1">
                    <a:lumMod val="50000"/>
                  </a:schemeClr>
                </a:solidFill>
              </a:rPr>
              <a:t> </a:t>
            </a:r>
            <a:r>
              <a:rPr lang="en-US" sz="700" dirty="0" err="1">
                <a:solidFill>
                  <a:schemeClr val="bg1">
                    <a:lumMod val="50000"/>
                  </a:schemeClr>
                </a:solidFill>
              </a:rPr>
              <a:t>öyküsünü</a:t>
            </a:r>
            <a:r>
              <a:rPr lang="en-US" sz="700" dirty="0">
                <a:solidFill>
                  <a:schemeClr val="bg1">
                    <a:lumMod val="50000"/>
                  </a:schemeClr>
                </a:solidFill>
              </a:rPr>
              <a:t> </a:t>
            </a:r>
            <a:r>
              <a:rPr lang="en-US" sz="700" dirty="0" err="1">
                <a:solidFill>
                  <a:schemeClr val="bg1">
                    <a:lumMod val="50000"/>
                  </a:schemeClr>
                </a:solidFill>
              </a:rPr>
              <a:t>içerir</a:t>
            </a:r>
            <a:r>
              <a:rPr lang="en-US" sz="700" dirty="0">
                <a:solidFill>
                  <a:schemeClr val="bg1">
                    <a:lumMod val="50000"/>
                  </a:schemeClr>
                </a:solidFill>
              </a:rPr>
              <a:t>.</a:t>
            </a:r>
          </a:p>
          <a:p>
            <a:pPr marL="0" indent="0">
              <a:lnSpc>
                <a:spcPct val="100000"/>
              </a:lnSpc>
              <a:spcBef>
                <a:spcPts val="0"/>
              </a:spcBef>
              <a:buNone/>
            </a:pPr>
            <a:r>
              <a:rPr lang="en-US" sz="700" dirty="0">
                <a:solidFill>
                  <a:schemeClr val="bg1">
                    <a:lumMod val="50000"/>
                  </a:schemeClr>
                </a:solidFill>
              </a:rPr>
              <a:t>†</a:t>
            </a:r>
            <a:r>
              <a:rPr lang="en-US" sz="700" dirty="0" err="1">
                <a:solidFill>
                  <a:schemeClr val="bg1">
                    <a:lumMod val="50000"/>
                  </a:schemeClr>
                </a:solidFill>
              </a:rPr>
              <a:t>Stres</a:t>
            </a:r>
            <a:r>
              <a:rPr lang="en-US" sz="700" dirty="0">
                <a:solidFill>
                  <a:schemeClr val="bg1">
                    <a:lumMod val="50000"/>
                  </a:schemeClr>
                </a:solidFill>
              </a:rPr>
              <a:t> </a:t>
            </a:r>
            <a:r>
              <a:rPr lang="en-US" sz="700" dirty="0" err="1">
                <a:solidFill>
                  <a:schemeClr val="bg1">
                    <a:lumMod val="50000"/>
                  </a:schemeClr>
                </a:solidFill>
              </a:rPr>
              <a:t>kardiyomiyopatisi</a:t>
            </a:r>
            <a:r>
              <a:rPr lang="en-US" sz="700" dirty="0">
                <a:solidFill>
                  <a:schemeClr val="bg1">
                    <a:lumMod val="50000"/>
                  </a:schemeClr>
                </a:solidFill>
              </a:rPr>
              <a:t>, viral </a:t>
            </a:r>
            <a:r>
              <a:rPr lang="en-US" sz="700" dirty="0" err="1">
                <a:solidFill>
                  <a:schemeClr val="bg1">
                    <a:lumMod val="50000"/>
                  </a:schemeClr>
                </a:solidFill>
              </a:rPr>
              <a:t>kardiyomiyopati</a:t>
            </a:r>
            <a:r>
              <a:rPr lang="en-US" sz="700" dirty="0">
                <a:solidFill>
                  <a:schemeClr val="bg1">
                    <a:lumMod val="50000"/>
                  </a:schemeClr>
                </a:solidFill>
              </a:rPr>
              <a:t>, </a:t>
            </a:r>
            <a:r>
              <a:rPr lang="en-US" sz="700" dirty="0" err="1">
                <a:solidFill>
                  <a:schemeClr val="bg1">
                    <a:lumMod val="50000"/>
                  </a:schemeClr>
                </a:solidFill>
              </a:rPr>
              <a:t>miyokardit</a:t>
            </a:r>
            <a:r>
              <a:rPr lang="en-US" sz="700" dirty="0">
                <a:solidFill>
                  <a:schemeClr val="bg1">
                    <a:lumMod val="50000"/>
                  </a:schemeClr>
                </a:solidFill>
              </a:rPr>
              <a:t>, </a:t>
            </a:r>
            <a:r>
              <a:rPr lang="en-US" sz="700" dirty="0" err="1">
                <a:solidFill>
                  <a:schemeClr val="bg1">
                    <a:lumMod val="50000"/>
                  </a:schemeClr>
                </a:solidFill>
              </a:rPr>
              <a:t>perikardit</a:t>
            </a:r>
            <a:r>
              <a:rPr lang="en-US" sz="700" dirty="0">
                <a:solidFill>
                  <a:schemeClr val="bg1">
                    <a:lumMod val="50000"/>
                  </a:schemeClr>
                </a:solidFill>
              </a:rPr>
              <a:t> </a:t>
            </a:r>
            <a:r>
              <a:rPr lang="en-US" sz="700" dirty="0" err="1">
                <a:solidFill>
                  <a:schemeClr val="bg1">
                    <a:lumMod val="50000"/>
                  </a:schemeClr>
                </a:solidFill>
              </a:rPr>
              <a:t>ve</a:t>
            </a:r>
            <a:r>
              <a:rPr lang="en-US" sz="700" dirty="0">
                <a:solidFill>
                  <a:schemeClr val="bg1">
                    <a:lumMod val="50000"/>
                  </a:schemeClr>
                </a:solidFill>
              </a:rPr>
              <a:t> </a:t>
            </a:r>
            <a:r>
              <a:rPr lang="en-US" sz="700" dirty="0" err="1">
                <a:solidFill>
                  <a:schemeClr val="bg1">
                    <a:lumMod val="50000"/>
                  </a:schemeClr>
                </a:solidFill>
              </a:rPr>
              <a:t>endokarditi</a:t>
            </a:r>
            <a:r>
              <a:rPr lang="en-US" sz="700" dirty="0">
                <a:solidFill>
                  <a:schemeClr val="bg1">
                    <a:lumMod val="50000"/>
                  </a:schemeClr>
                </a:solidFill>
              </a:rPr>
              <a:t> </a:t>
            </a:r>
            <a:r>
              <a:rPr lang="en-US" sz="700" dirty="0" err="1">
                <a:solidFill>
                  <a:schemeClr val="bg1">
                    <a:lumMod val="50000"/>
                  </a:schemeClr>
                </a:solidFill>
              </a:rPr>
              <a:t>içerir</a:t>
            </a:r>
            <a:r>
              <a:rPr lang="en-US" sz="700" dirty="0">
                <a:solidFill>
                  <a:schemeClr val="bg1">
                    <a:lumMod val="50000"/>
                  </a:schemeClr>
                </a:solidFill>
              </a:rPr>
              <a:t>. ‡75-84 </a:t>
            </a:r>
            <a:r>
              <a:rPr lang="en-US" sz="700" dirty="0" err="1">
                <a:solidFill>
                  <a:schemeClr val="bg1">
                    <a:lumMod val="50000"/>
                  </a:schemeClr>
                </a:solidFill>
              </a:rPr>
              <a:t>yaş</a:t>
            </a:r>
            <a:r>
              <a:rPr lang="en-US" sz="700" dirty="0">
                <a:solidFill>
                  <a:schemeClr val="bg1">
                    <a:lumMod val="50000"/>
                  </a:schemeClr>
                </a:solidFill>
              </a:rPr>
              <a:t> </a:t>
            </a:r>
            <a:r>
              <a:rPr lang="en-US" sz="700" dirty="0" err="1">
                <a:solidFill>
                  <a:schemeClr val="bg1">
                    <a:lumMod val="50000"/>
                  </a:schemeClr>
                </a:solidFill>
              </a:rPr>
              <a:t>arası</a:t>
            </a:r>
            <a:r>
              <a:rPr lang="en-US" sz="700" dirty="0">
                <a:solidFill>
                  <a:schemeClr val="bg1">
                    <a:lumMod val="50000"/>
                  </a:schemeClr>
                </a:solidFill>
              </a:rPr>
              <a:t> </a:t>
            </a:r>
            <a:r>
              <a:rPr lang="en-US" sz="700" dirty="0" err="1">
                <a:solidFill>
                  <a:schemeClr val="bg1">
                    <a:lumMod val="50000"/>
                  </a:schemeClr>
                </a:solidFill>
              </a:rPr>
              <a:t>hastalar</a:t>
            </a:r>
            <a:r>
              <a:rPr lang="en-US" sz="700" dirty="0">
                <a:solidFill>
                  <a:schemeClr val="bg1">
                    <a:lumMod val="50000"/>
                  </a:schemeClr>
                </a:solidFill>
              </a:rPr>
              <a:t> </a:t>
            </a:r>
            <a:r>
              <a:rPr lang="en-US" sz="700" dirty="0" err="1">
                <a:solidFill>
                  <a:schemeClr val="bg1">
                    <a:lumMod val="50000"/>
                  </a:schemeClr>
                </a:solidFill>
              </a:rPr>
              <a:t>için</a:t>
            </a:r>
            <a:r>
              <a:rPr lang="en-US" sz="700" dirty="0">
                <a:solidFill>
                  <a:schemeClr val="bg1">
                    <a:lumMod val="50000"/>
                  </a:schemeClr>
                </a:solidFill>
              </a:rPr>
              <a:t> p=0,04; ≥85 </a:t>
            </a:r>
            <a:r>
              <a:rPr lang="en-US" sz="700" dirty="0" err="1">
                <a:solidFill>
                  <a:schemeClr val="bg1">
                    <a:lumMod val="50000"/>
                  </a:schemeClr>
                </a:solidFill>
              </a:rPr>
              <a:t>yaş</a:t>
            </a:r>
            <a:r>
              <a:rPr lang="en-US" sz="700" dirty="0">
                <a:solidFill>
                  <a:schemeClr val="bg1">
                    <a:lumMod val="50000"/>
                  </a:schemeClr>
                </a:solidFill>
              </a:rPr>
              <a:t> </a:t>
            </a:r>
            <a:r>
              <a:rPr lang="en-US" sz="700" dirty="0" err="1">
                <a:solidFill>
                  <a:schemeClr val="bg1">
                    <a:lumMod val="50000"/>
                  </a:schemeClr>
                </a:solidFill>
              </a:rPr>
              <a:t>arası</a:t>
            </a:r>
            <a:r>
              <a:rPr lang="en-US" sz="700" dirty="0">
                <a:solidFill>
                  <a:schemeClr val="bg1">
                    <a:lumMod val="50000"/>
                  </a:schemeClr>
                </a:solidFill>
              </a:rPr>
              <a:t> </a:t>
            </a:r>
            <a:r>
              <a:rPr lang="en-US" sz="700" dirty="0" err="1">
                <a:solidFill>
                  <a:schemeClr val="bg1">
                    <a:lumMod val="50000"/>
                  </a:schemeClr>
                </a:solidFill>
              </a:rPr>
              <a:t>hastalar</a:t>
            </a:r>
            <a:r>
              <a:rPr lang="en-US" sz="700" dirty="0">
                <a:solidFill>
                  <a:schemeClr val="bg1">
                    <a:lumMod val="50000"/>
                  </a:schemeClr>
                </a:solidFill>
              </a:rPr>
              <a:t> </a:t>
            </a:r>
            <a:r>
              <a:rPr lang="en-US" sz="700" dirty="0" err="1">
                <a:solidFill>
                  <a:schemeClr val="bg1">
                    <a:lumMod val="50000"/>
                  </a:schemeClr>
                </a:solidFill>
              </a:rPr>
              <a:t>için</a:t>
            </a:r>
            <a:r>
              <a:rPr lang="en-US" sz="700" dirty="0">
                <a:solidFill>
                  <a:schemeClr val="bg1">
                    <a:lumMod val="50000"/>
                  </a:schemeClr>
                </a:solidFill>
              </a:rPr>
              <a:t> p&lt;0,001.</a:t>
            </a:r>
          </a:p>
          <a:p>
            <a:pPr marL="0" indent="0">
              <a:lnSpc>
                <a:spcPct val="100000"/>
              </a:lnSpc>
              <a:spcBef>
                <a:spcPts val="0"/>
              </a:spcBef>
              <a:buNone/>
            </a:pPr>
            <a:r>
              <a:rPr lang="en-US" sz="700" dirty="0">
                <a:solidFill>
                  <a:schemeClr val="bg1">
                    <a:lumMod val="50000"/>
                  </a:schemeClr>
                </a:solidFill>
              </a:rPr>
              <a:t>KVH=</a:t>
            </a:r>
            <a:r>
              <a:rPr lang="en-US" sz="700" dirty="0" err="1">
                <a:solidFill>
                  <a:schemeClr val="bg1">
                    <a:lumMod val="50000"/>
                  </a:schemeClr>
                </a:solidFill>
              </a:rPr>
              <a:t>kardiyovasküler</a:t>
            </a:r>
            <a:r>
              <a:rPr lang="en-US" sz="700" dirty="0">
                <a:solidFill>
                  <a:schemeClr val="bg1">
                    <a:lumMod val="50000"/>
                  </a:schemeClr>
                </a:solidFill>
              </a:rPr>
              <a:t> </a:t>
            </a:r>
            <a:r>
              <a:rPr lang="en-US" sz="700" dirty="0" err="1">
                <a:solidFill>
                  <a:schemeClr val="bg1">
                    <a:lumMod val="50000"/>
                  </a:schemeClr>
                </a:solidFill>
              </a:rPr>
              <a:t>hastalık</a:t>
            </a:r>
            <a:r>
              <a:rPr lang="en-US" sz="700" dirty="0">
                <a:solidFill>
                  <a:schemeClr val="bg1">
                    <a:lumMod val="50000"/>
                  </a:schemeClr>
                </a:solidFill>
              </a:rPr>
              <a:t>; KY=</a:t>
            </a:r>
            <a:r>
              <a:rPr lang="en-US" sz="700" dirty="0" err="1">
                <a:solidFill>
                  <a:schemeClr val="bg1">
                    <a:lumMod val="50000"/>
                  </a:schemeClr>
                </a:solidFill>
              </a:rPr>
              <a:t>kalp</a:t>
            </a:r>
            <a:r>
              <a:rPr lang="en-US" sz="700" dirty="0">
                <a:solidFill>
                  <a:schemeClr val="bg1">
                    <a:lumMod val="50000"/>
                  </a:schemeClr>
                </a:solidFill>
              </a:rPr>
              <a:t> </a:t>
            </a:r>
            <a:r>
              <a:rPr lang="en-US" sz="700" dirty="0" err="1">
                <a:solidFill>
                  <a:schemeClr val="bg1">
                    <a:lumMod val="50000"/>
                  </a:schemeClr>
                </a:solidFill>
              </a:rPr>
              <a:t>yetmezliği</a:t>
            </a:r>
            <a:r>
              <a:rPr lang="en-US" sz="700" dirty="0">
                <a:solidFill>
                  <a:schemeClr val="bg1">
                    <a:lumMod val="50000"/>
                  </a:schemeClr>
                </a:solidFill>
              </a:rPr>
              <a:t>; YBÜ=</a:t>
            </a:r>
            <a:r>
              <a:rPr lang="en-US" sz="700" dirty="0" err="1">
                <a:solidFill>
                  <a:schemeClr val="bg1">
                    <a:lumMod val="50000"/>
                  </a:schemeClr>
                </a:solidFill>
              </a:rPr>
              <a:t>yoğun</a:t>
            </a:r>
            <a:r>
              <a:rPr lang="en-US" sz="700" dirty="0">
                <a:solidFill>
                  <a:schemeClr val="bg1">
                    <a:lumMod val="50000"/>
                  </a:schemeClr>
                </a:solidFill>
              </a:rPr>
              <a:t> </a:t>
            </a:r>
            <a:r>
              <a:rPr lang="en-US" sz="700" dirty="0" err="1">
                <a:solidFill>
                  <a:schemeClr val="bg1">
                    <a:lumMod val="50000"/>
                  </a:schemeClr>
                </a:solidFill>
              </a:rPr>
              <a:t>bakım</a:t>
            </a:r>
            <a:r>
              <a:rPr lang="en-US" sz="700" dirty="0">
                <a:solidFill>
                  <a:schemeClr val="bg1">
                    <a:lumMod val="50000"/>
                  </a:schemeClr>
                </a:solidFill>
              </a:rPr>
              <a:t> </a:t>
            </a:r>
            <a:r>
              <a:rPr lang="en-US" sz="700" dirty="0" err="1">
                <a:solidFill>
                  <a:schemeClr val="bg1">
                    <a:lumMod val="50000"/>
                  </a:schemeClr>
                </a:solidFill>
              </a:rPr>
              <a:t>ünitesi</a:t>
            </a:r>
            <a:r>
              <a:rPr lang="en-US" sz="700" dirty="0">
                <a:solidFill>
                  <a:schemeClr val="bg1">
                    <a:lumMod val="50000"/>
                  </a:schemeClr>
                </a:solidFill>
              </a:rPr>
              <a:t>; İKH=</a:t>
            </a:r>
            <a:r>
              <a:rPr lang="en-US" sz="700" dirty="0" err="1">
                <a:solidFill>
                  <a:schemeClr val="bg1">
                    <a:lumMod val="50000"/>
                  </a:schemeClr>
                </a:solidFill>
              </a:rPr>
              <a:t>iskemik</a:t>
            </a:r>
            <a:r>
              <a:rPr lang="en-US" sz="700" dirty="0">
                <a:solidFill>
                  <a:schemeClr val="bg1">
                    <a:lumMod val="50000"/>
                  </a:schemeClr>
                </a:solidFill>
              </a:rPr>
              <a:t> </a:t>
            </a:r>
            <a:r>
              <a:rPr lang="en-US" sz="700" dirty="0" err="1">
                <a:solidFill>
                  <a:schemeClr val="bg1">
                    <a:lumMod val="50000"/>
                  </a:schemeClr>
                </a:solidFill>
              </a:rPr>
              <a:t>kalp</a:t>
            </a:r>
            <a:r>
              <a:rPr lang="en-US" sz="700" dirty="0">
                <a:solidFill>
                  <a:schemeClr val="bg1">
                    <a:lumMod val="50000"/>
                  </a:schemeClr>
                </a:solidFill>
              </a:rPr>
              <a:t> </a:t>
            </a:r>
            <a:r>
              <a:rPr lang="en-US" sz="700" dirty="0" err="1">
                <a:solidFill>
                  <a:schemeClr val="bg1">
                    <a:lumMod val="50000"/>
                  </a:schemeClr>
                </a:solidFill>
              </a:rPr>
              <a:t>hastalığı</a:t>
            </a:r>
            <a:r>
              <a:rPr lang="en-US" sz="700" dirty="0">
                <a:solidFill>
                  <a:schemeClr val="bg1">
                    <a:lumMod val="50000"/>
                  </a:schemeClr>
                </a:solidFill>
              </a:rPr>
              <a:t>.</a:t>
            </a:r>
          </a:p>
          <a:p>
            <a:pPr marL="0" indent="0">
              <a:lnSpc>
                <a:spcPct val="100000"/>
              </a:lnSpc>
              <a:spcBef>
                <a:spcPts val="0"/>
              </a:spcBef>
              <a:buNone/>
            </a:pPr>
            <a:r>
              <a:rPr lang="en-US" sz="700" dirty="0">
                <a:solidFill>
                  <a:schemeClr val="bg1">
                    <a:lumMod val="50000"/>
                  </a:schemeClr>
                </a:solidFill>
              </a:rPr>
              <a:t>Woodruff RC, et al. JAMA Intern Med. 2024;184:602-611. </a:t>
            </a:r>
          </a:p>
        </p:txBody>
      </p:sp>
      <p:sp>
        <p:nvSpPr>
          <p:cNvPr id="6" name="Rectangle: Rounded Corners 5">
            <a:extLst>
              <a:ext uri="{FF2B5EF4-FFF2-40B4-BE49-F238E27FC236}">
                <a16:creationId xmlns:a16="http://schemas.microsoft.com/office/drawing/2014/main" id="{995FDB82-5DD0-4E22-67CD-F38D87D62312}"/>
              </a:ext>
            </a:extLst>
          </p:cNvPr>
          <p:cNvSpPr/>
          <p:nvPr/>
        </p:nvSpPr>
        <p:spPr>
          <a:xfrm>
            <a:off x="995375" y="1973179"/>
            <a:ext cx="1051560" cy="3723401"/>
          </a:xfrm>
          <a:prstGeom prst="roundRect">
            <a:avLst>
              <a:gd name="adj" fmla="val 8134"/>
            </a:avLst>
          </a:prstGeom>
          <a:solidFill>
            <a:schemeClr val="bg1">
              <a:lumMod val="95000"/>
            </a:schemeClr>
          </a:solidFill>
          <a:ln w="1905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rIns="91440" rtlCol="0" anchor="t"/>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1" u="none" strike="noStrike" kern="1200" cap="none" spc="0" normalizeH="0" baseline="0" noProof="0">
              <a:ln>
                <a:noFill/>
              </a:ln>
              <a:solidFill>
                <a:srgbClr val="000097"/>
              </a:solidFill>
              <a:effectLst/>
              <a:uLnTx/>
              <a:uFillTx/>
              <a:latin typeface="Arial" panose="020B0604020202020204"/>
              <a:ea typeface="+mn-ea"/>
              <a:cs typeface="+mn-cs"/>
            </a:endParaRPr>
          </a:p>
        </p:txBody>
      </p:sp>
      <p:graphicFrame>
        <p:nvGraphicFramePr>
          <p:cNvPr id="7" name="Content Placeholder 16">
            <a:extLst>
              <a:ext uri="{FF2B5EF4-FFF2-40B4-BE49-F238E27FC236}">
                <a16:creationId xmlns:a16="http://schemas.microsoft.com/office/drawing/2014/main" id="{6B89C8EA-E19A-93DE-C2BA-284AF9FA62EB}"/>
              </a:ext>
            </a:extLst>
          </p:cNvPr>
          <p:cNvGraphicFramePr>
            <a:graphicFrameLocks/>
          </p:cNvGraphicFramePr>
          <p:nvPr>
            <p:extLst>
              <p:ext uri="{D42A27DB-BD31-4B8C-83A1-F6EECF244321}">
                <p14:modId xmlns:p14="http://schemas.microsoft.com/office/powerpoint/2010/main" val="2960674945"/>
              </p:ext>
            </p:extLst>
          </p:nvPr>
        </p:nvGraphicFramePr>
        <p:xfrm>
          <a:off x="569344" y="2048806"/>
          <a:ext cx="8479765" cy="3647774"/>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558B862F-24B3-9993-4434-9083AB271F79}"/>
              </a:ext>
            </a:extLst>
          </p:cNvPr>
          <p:cNvSpPr txBox="1"/>
          <p:nvPr/>
        </p:nvSpPr>
        <p:spPr>
          <a:xfrm rot="16200000">
            <a:off x="-376917" y="3273138"/>
            <a:ext cx="1710906" cy="347472"/>
          </a:xfrm>
          <a:prstGeom prst="rect">
            <a:avLst/>
          </a:prstGeom>
          <a:noFill/>
        </p:spPr>
        <p:txBody>
          <a:bodyPr wrap="none" rtlCol="0" anchor="b">
            <a:noAutofit/>
          </a:bodyPr>
          <a:lstStyle/>
          <a:p>
            <a:pPr marL="0" marR="0" lvl="0" indent="0" algn="ctr" defTabSz="914400" rtl="0" eaLnBrk="1" fontAlgn="auto" latinLnBrk="0" hangingPunct="1">
              <a:lnSpc>
                <a:spcPct val="95000"/>
              </a:lnSpc>
              <a:spcBef>
                <a:spcPts val="600"/>
              </a:spcBef>
              <a:spcAft>
                <a:spcPts val="0"/>
              </a:spcAft>
              <a:buClr>
                <a:srgbClr val="000000"/>
              </a:buClr>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Prevalans (%)</a:t>
            </a:r>
          </a:p>
        </p:txBody>
      </p:sp>
      <p:sp>
        <p:nvSpPr>
          <p:cNvPr id="16" name="TextBox 15">
            <a:extLst>
              <a:ext uri="{FF2B5EF4-FFF2-40B4-BE49-F238E27FC236}">
                <a16:creationId xmlns:a16="http://schemas.microsoft.com/office/drawing/2014/main" id="{71E407F2-1658-67D7-A78D-2998EFBB1F08}"/>
              </a:ext>
            </a:extLst>
          </p:cNvPr>
          <p:cNvSpPr txBox="1"/>
          <p:nvPr/>
        </p:nvSpPr>
        <p:spPr>
          <a:xfrm>
            <a:off x="8831923" y="5465706"/>
            <a:ext cx="156747" cy="85268"/>
          </a:xfrm>
          <a:prstGeom prst="rect">
            <a:avLst/>
          </a:prstGeom>
          <a:noFill/>
        </p:spPr>
        <p:txBody>
          <a:bodyPr wrap="none" lIns="0" tIns="0" rIns="0" bIns="0" rtlCol="0">
            <a:noAutofit/>
          </a:bodyPr>
          <a:lstStyle/>
          <a:p>
            <a:pPr marL="0" marR="0" lvl="0" indent="0" algn="ctr" defTabSz="914400" rtl="0" eaLnBrk="1" fontAlgn="auto" latinLnBrk="0" hangingPunct="1">
              <a:lnSpc>
                <a:spcPct val="95000"/>
              </a:lnSpc>
              <a:spcBef>
                <a:spcPts val="600"/>
              </a:spcBef>
              <a:spcAft>
                <a:spcPts val="0"/>
              </a:spcAft>
              <a:buClr>
                <a:srgbClr val="000000"/>
              </a:buClr>
              <a:buSzTx/>
              <a:buFontTx/>
              <a:buNone/>
              <a:tabLst/>
              <a:defRPr/>
            </a:pPr>
            <a:r>
              <a:rPr kumimoji="0" lang="en-US" sz="1400" b="0" i="0" u="none" strike="noStrike" kern="1200" cap="none" spc="0" normalizeH="0" baseline="30000" noProof="0" dirty="0">
                <a:ln>
                  <a:noFill/>
                </a:ln>
                <a:solidFill>
                  <a:srgbClr val="000000"/>
                </a:solidFill>
                <a:effectLst/>
                <a:uLnTx/>
                <a:uFillTx/>
                <a:latin typeface="Arial" panose="020B0604020202020204"/>
                <a:ea typeface="+mn-ea"/>
                <a:cs typeface="+mn-cs"/>
              </a:rPr>
              <a:t>†</a:t>
            </a:r>
          </a:p>
        </p:txBody>
      </p:sp>
      <p:sp>
        <p:nvSpPr>
          <p:cNvPr id="17" name="Text Placeholder 4">
            <a:extLst>
              <a:ext uri="{FF2B5EF4-FFF2-40B4-BE49-F238E27FC236}">
                <a16:creationId xmlns:a16="http://schemas.microsoft.com/office/drawing/2014/main" id="{801327CA-40B2-49AC-5B92-C8B1C8EEA03E}"/>
              </a:ext>
            </a:extLst>
          </p:cNvPr>
          <p:cNvSpPr txBox="1">
            <a:spLocks/>
          </p:cNvSpPr>
          <p:nvPr/>
        </p:nvSpPr>
        <p:spPr bwMode="gray">
          <a:xfrm>
            <a:off x="9049109" y="2221433"/>
            <a:ext cx="2863850" cy="3105217"/>
          </a:xfrm>
          <a:prstGeom prst="roundRect">
            <a:avLst>
              <a:gd name="adj" fmla="val 2994"/>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40" tIns="45715" rIns="91440" bIns="45715"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91440" marR="0" lvl="0" indent="0" algn="l" defTabSz="228520" rtl="0" eaLnBrk="0" fontAlgn="base" latinLnBrk="0" hangingPunct="0">
              <a:lnSpc>
                <a:spcPct val="90000"/>
              </a:lnSpc>
              <a:spcBef>
                <a:spcPts val="1000"/>
              </a:spcBef>
              <a:spcAft>
                <a:spcPct val="0"/>
              </a:spcAft>
              <a:buClrTx/>
              <a:buSzTx/>
              <a:buFontTx/>
              <a:buNone/>
              <a:tabLst/>
              <a:defRPr/>
            </a:pPr>
            <a:r>
              <a:rPr kumimoji="0" lang="en-US" sz="1600" i="0" u="none" strike="noStrike" kern="1200" cap="none" spc="0" normalizeH="0" baseline="0" noProof="0" dirty="0">
                <a:ln>
                  <a:noFill/>
                </a:ln>
                <a:solidFill>
                  <a:srgbClr val="C00000"/>
                </a:solidFill>
                <a:effectLst/>
                <a:uLnTx/>
                <a:uFillTx/>
                <a:latin typeface="Arial" panose="020B0604020202020204"/>
                <a:ea typeface="+mn-ea"/>
                <a:cs typeface="+mn-cs"/>
              </a:rPr>
              <a:t>75 </a:t>
            </a:r>
            <a:r>
              <a:rPr kumimoji="0" lang="en-US" sz="1600" i="0" u="none" strike="noStrike" kern="1200" cap="none" spc="0" normalizeH="0" baseline="0" noProof="0" dirty="0" err="1">
                <a:ln>
                  <a:noFill/>
                </a:ln>
                <a:solidFill>
                  <a:srgbClr val="C00000"/>
                </a:solidFill>
                <a:effectLst/>
                <a:uLnTx/>
                <a:uFillTx/>
                <a:latin typeface="Arial" panose="020B0604020202020204"/>
                <a:ea typeface="+mn-ea"/>
                <a:cs typeface="+mn-cs"/>
              </a:rPr>
              <a:t>yaş</a:t>
            </a:r>
            <a:r>
              <a:rPr kumimoji="0" lang="en-US" sz="1600" i="0" u="none" strike="noStrike" kern="1200" cap="none" spc="0" normalizeH="0" baseline="0" noProof="0" dirty="0">
                <a:ln>
                  <a:noFill/>
                </a:ln>
                <a:solidFill>
                  <a:srgbClr val="C00000"/>
                </a:solidFill>
                <a:effectLst/>
                <a:uLnTx/>
                <a:uFillTx/>
                <a:latin typeface="Arial" panose="020B0604020202020204"/>
                <a:ea typeface="+mn-ea"/>
                <a:cs typeface="+mn-cs"/>
              </a:rPr>
              <a:t> </a:t>
            </a:r>
            <a:r>
              <a:rPr kumimoji="0" lang="en-US" sz="1600" i="0" u="none" strike="noStrike" kern="1200" cap="none" spc="0" normalizeH="0" baseline="0" noProof="0" dirty="0" err="1">
                <a:ln>
                  <a:noFill/>
                </a:ln>
                <a:solidFill>
                  <a:srgbClr val="C00000"/>
                </a:solidFill>
                <a:effectLst/>
                <a:uLnTx/>
                <a:uFillTx/>
                <a:latin typeface="Arial" panose="020B0604020202020204"/>
                <a:ea typeface="+mn-ea"/>
                <a:cs typeface="+mn-cs"/>
              </a:rPr>
              <a:t>üstü</a:t>
            </a:r>
            <a:r>
              <a:rPr kumimoji="0" lang="en-US" sz="1600" i="0" u="none" strike="noStrike" kern="1200" cap="none" spc="0" normalizeH="0" baseline="0" noProof="0" dirty="0">
                <a:ln>
                  <a:noFill/>
                </a:ln>
                <a:solidFill>
                  <a:srgbClr val="C00000"/>
                </a:solidFill>
                <a:effectLst/>
                <a:uLnTx/>
                <a:uFillTx/>
                <a:latin typeface="Arial" panose="020B0604020202020204"/>
                <a:ea typeface="+mn-ea"/>
                <a:cs typeface="+mn-cs"/>
              </a:rPr>
              <a:t> </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yetişkinlerde</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600" i="0" u="none" strike="noStrike" kern="1200" cap="none" spc="0" normalizeH="0" baseline="0" noProof="0" dirty="0" err="1">
                <a:ln>
                  <a:noFill/>
                </a:ln>
                <a:solidFill>
                  <a:srgbClr val="C00000"/>
                </a:solidFill>
                <a:effectLst/>
                <a:uLnTx/>
                <a:uFillTx/>
                <a:latin typeface="Arial" panose="020B0604020202020204"/>
                <a:ea typeface="+mn-ea"/>
                <a:cs typeface="+mn-cs"/>
              </a:rPr>
              <a:t>akut</a:t>
            </a:r>
            <a:r>
              <a:rPr kumimoji="0" lang="en-US" sz="1600" i="0" u="none" strike="noStrike" kern="1200" cap="none" spc="0" normalizeH="0" baseline="0" noProof="0" dirty="0">
                <a:ln>
                  <a:noFill/>
                </a:ln>
                <a:solidFill>
                  <a:srgbClr val="C00000"/>
                </a:solidFill>
                <a:effectLst/>
                <a:uLnTx/>
                <a:uFillTx/>
                <a:latin typeface="Arial" panose="020B0604020202020204"/>
                <a:ea typeface="+mn-ea"/>
                <a:cs typeface="+mn-cs"/>
              </a:rPr>
              <a:t> </a:t>
            </a:r>
            <a:r>
              <a:rPr kumimoji="0" lang="en-US" sz="1600" i="0" u="none" strike="noStrike" kern="1200" cap="none" spc="0" normalizeH="0" baseline="0" noProof="0" dirty="0" err="1">
                <a:ln>
                  <a:noFill/>
                </a:ln>
                <a:solidFill>
                  <a:srgbClr val="C00000"/>
                </a:solidFill>
                <a:effectLst/>
                <a:uLnTx/>
                <a:uFillTx/>
                <a:latin typeface="Arial" panose="020B0604020202020204"/>
                <a:ea typeface="+mn-ea"/>
                <a:cs typeface="+mn-cs"/>
              </a:rPr>
              <a:t>kardiyak</a:t>
            </a:r>
            <a:r>
              <a:rPr kumimoji="0" lang="en-US" sz="1600" i="0" u="none" strike="noStrike" kern="1200" cap="none" spc="0" normalizeH="0" baseline="0" noProof="0" dirty="0">
                <a:ln>
                  <a:noFill/>
                </a:ln>
                <a:solidFill>
                  <a:srgbClr val="C00000"/>
                </a:solidFill>
                <a:effectLst/>
                <a:uLnTx/>
                <a:uFillTx/>
                <a:latin typeface="Arial" panose="020B0604020202020204"/>
                <a:ea typeface="+mn-ea"/>
                <a:cs typeface="+mn-cs"/>
              </a:rPr>
              <a:t> </a:t>
            </a:r>
            <a:r>
              <a:rPr kumimoji="0" lang="en-US" sz="1600" i="0" u="none" strike="noStrike" kern="1200" cap="none" spc="0" normalizeH="0" baseline="0" noProof="0" dirty="0" err="1">
                <a:ln>
                  <a:noFill/>
                </a:ln>
                <a:solidFill>
                  <a:srgbClr val="C00000"/>
                </a:solidFill>
                <a:effectLst/>
                <a:uLnTx/>
                <a:uFillTx/>
                <a:latin typeface="Arial" panose="020B0604020202020204"/>
                <a:ea typeface="+mn-ea"/>
                <a:cs typeface="+mn-cs"/>
              </a:rPr>
              <a:t>olay</a:t>
            </a:r>
            <a:r>
              <a:rPr kumimoji="0" lang="en-US" sz="1600" i="0" u="none" strike="noStrike" kern="1200" cap="none" spc="0" normalizeH="0" baseline="0" noProof="0" dirty="0">
                <a:ln>
                  <a:noFill/>
                </a:ln>
                <a:solidFill>
                  <a:srgbClr val="C00000"/>
                </a:solidFill>
                <a:effectLst/>
                <a:uLnTx/>
                <a:uFillTx/>
                <a:latin typeface="Arial" panose="020B0604020202020204"/>
                <a:ea typeface="+mn-ea"/>
                <a:cs typeface="+mn-cs"/>
              </a:rPr>
              <a:t> </a:t>
            </a:r>
            <a:r>
              <a:rPr kumimoji="0" lang="en-US" sz="1600" i="0" u="none" strike="noStrike" kern="1200" cap="none" spc="0" normalizeH="0" baseline="0" noProof="0" dirty="0" err="1">
                <a:ln>
                  <a:noFill/>
                </a:ln>
                <a:solidFill>
                  <a:srgbClr val="C00000"/>
                </a:solidFill>
                <a:effectLst/>
                <a:uLnTx/>
                <a:uFillTx/>
                <a:latin typeface="Arial" panose="020B0604020202020204"/>
                <a:ea typeface="+mn-ea"/>
                <a:cs typeface="+mn-cs"/>
              </a:rPr>
              <a:t>riski</a:t>
            </a:r>
            <a:r>
              <a:rPr kumimoji="0" lang="en-US" sz="1600" i="0" u="none" strike="noStrike" kern="1200" cap="none" spc="0" normalizeH="0" baseline="30000" noProof="0" dirty="0">
                <a:ln>
                  <a:noFill/>
                </a:ln>
                <a:solidFill>
                  <a:srgbClr val="C00000"/>
                </a:solidFill>
                <a:effectLst/>
                <a:uLnTx/>
                <a:uFillTx/>
                <a:latin typeface="Arial" panose="020B0604020202020204"/>
                <a:ea typeface="+mn-ea"/>
                <a:cs typeface="+mn-cs"/>
              </a:rPr>
              <a:t> </a:t>
            </a:r>
            <a:r>
              <a:rPr kumimoji="0" lang="en-US" sz="1600" i="0" u="none" strike="noStrike" kern="1200" cap="none" spc="0" normalizeH="0" baseline="0" noProof="0" dirty="0">
                <a:ln>
                  <a:noFill/>
                </a:ln>
                <a:solidFill>
                  <a:srgbClr val="C00000"/>
                </a:solidFill>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önemli</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ölçüde</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artmıştır</a:t>
            </a:r>
            <a:r>
              <a:rPr kumimoji="0" lang="en-US" sz="1600" b="0" i="0" u="none" strike="noStrike" kern="1200" cap="none" spc="0" normalizeH="0" baseline="30000" noProof="0" dirty="0">
                <a:ln>
                  <a:noFill/>
                </a:ln>
                <a:solidFill>
                  <a:srgbClr val="000000"/>
                </a:solidFill>
                <a:effectLst/>
                <a:uLnTx/>
                <a:uFillTx/>
                <a:latin typeface="Arial" panose="020B0604020202020204"/>
                <a:ea typeface="+mn-ea"/>
                <a:cs typeface="+mn-cs"/>
              </a:rPr>
              <a:t>‡</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p>
          <a:p>
            <a:pPr marL="91440" marR="0" lvl="0" indent="0" algn="l" defTabSz="228520" rtl="0" eaLnBrk="0" fontAlgn="base" latinLnBrk="0" hangingPunct="0">
              <a:lnSpc>
                <a:spcPct val="90000"/>
              </a:lnSpc>
              <a:spcBef>
                <a:spcPts val="1000"/>
              </a:spcBef>
              <a:spcAft>
                <a:spcPct val="0"/>
              </a:spcAft>
              <a:buClrTx/>
              <a:buSzTx/>
              <a:buFontTx/>
              <a:buNone/>
              <a:tabLst/>
              <a:defRPr/>
            </a:pPr>
            <a:br>
              <a:rPr kumimoji="0" lang="en-US" sz="1600" b="0" i="0" u="none" strike="noStrike" kern="1200" cap="none" spc="0" normalizeH="0" baseline="0" noProof="0" dirty="0">
                <a:ln>
                  <a:noFill/>
                </a:ln>
                <a:effectLst/>
                <a:uLnTx/>
                <a:uFillTx/>
                <a:latin typeface="Arial" panose="020B0604020202020204"/>
                <a:ea typeface="+mn-ea"/>
                <a:cs typeface="+mn-cs"/>
              </a:rPr>
            </a:br>
            <a:r>
              <a:rPr kumimoji="0" lang="en-US" sz="1600" b="0" i="0" u="none" strike="noStrike" kern="1200" cap="none" spc="0" normalizeH="0" baseline="0" noProof="0" dirty="0" err="1">
                <a:ln>
                  <a:noFill/>
                </a:ln>
                <a:effectLst/>
                <a:uLnTx/>
                <a:uFillTx/>
                <a:latin typeface="Arial" panose="020B0604020202020204"/>
                <a:ea typeface="+mn-ea"/>
                <a:cs typeface="+mn-cs"/>
              </a:rPr>
              <a:t>Akut</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kardiyak</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olay</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yaşayan</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hastalarda</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yoğun</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bakım</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ünitesine</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yatış</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invaziv</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mekanik</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ventilasyon</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ve</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hastane</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içi</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ölüm</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riski</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daha</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yüksektir</a:t>
            </a:r>
            <a:r>
              <a:rPr kumimoji="0" lang="tr-TR" sz="1600" b="0" i="0" u="none" strike="noStrike" kern="1200" cap="none" spc="0" normalizeH="0" baseline="0" noProof="0" dirty="0">
                <a:ln>
                  <a:noFill/>
                </a:ln>
                <a:effectLst/>
                <a:uLnTx/>
                <a:uFillTx/>
                <a:latin typeface="Arial" panose="020B0604020202020204"/>
                <a:ea typeface="+mn-ea"/>
                <a:cs typeface="+mn-cs"/>
              </a:rPr>
              <a:t>.</a:t>
            </a:r>
            <a:endParaRPr kumimoji="0" lang="en-US" sz="1600" b="0" i="0" u="none" strike="noStrike" kern="1200" cap="none" spc="0" normalizeH="0" baseline="0" noProof="0" dirty="0">
              <a:ln>
                <a:noFill/>
              </a:ln>
              <a:effectLst/>
              <a:uLnTx/>
              <a:uFillTx/>
              <a:latin typeface="Arial" panose="020B0604020202020204"/>
              <a:ea typeface="+mn-ea"/>
              <a:cs typeface="+mn-cs"/>
            </a:endParaRPr>
          </a:p>
        </p:txBody>
      </p:sp>
      <p:pic>
        <p:nvPicPr>
          <p:cNvPr id="12" name="Picture 11" descr="A black and blue logo&#10;&#10;AI-generated content may be incorrect.">
            <a:extLst>
              <a:ext uri="{FF2B5EF4-FFF2-40B4-BE49-F238E27FC236}">
                <a16:creationId xmlns:a16="http://schemas.microsoft.com/office/drawing/2014/main" id="{BD3DB404-F400-FE32-E227-65D424C70821}"/>
              </a:ext>
            </a:extLst>
          </p:cNvPr>
          <p:cNvPicPr>
            <a:picLocks noChangeAspect="1"/>
          </p:cNvPicPr>
          <p:nvPr/>
        </p:nvPicPr>
        <p:blipFill>
          <a:blip r:embed="rId4"/>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3232865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31AF7E-D9AF-EE91-267B-A62986099C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F49A2A-FC11-6D0F-6AB4-1057365134E9}"/>
              </a:ext>
            </a:extLst>
          </p:cNvPr>
          <p:cNvSpPr>
            <a:spLocks noGrp="1"/>
          </p:cNvSpPr>
          <p:nvPr>
            <p:ph type="title"/>
          </p:nvPr>
        </p:nvSpPr>
        <p:spPr>
          <a:xfrm>
            <a:off x="613151" y="195684"/>
            <a:ext cx="11323939" cy="842156"/>
          </a:xfrm>
        </p:spPr>
        <p:txBody>
          <a:bodyPr>
            <a:noAutofit/>
          </a:bodyPr>
          <a:lstStyle/>
          <a:p>
            <a:r>
              <a:rPr lang="en-US" dirty="0"/>
              <a:t>RSV </a:t>
            </a:r>
            <a:r>
              <a:rPr lang="en-US" dirty="0" err="1"/>
              <a:t>ile</a:t>
            </a:r>
            <a:r>
              <a:rPr lang="en-US" dirty="0"/>
              <a:t> </a:t>
            </a:r>
            <a:r>
              <a:rPr lang="en-US" dirty="0" err="1"/>
              <a:t>hastaneye</a:t>
            </a:r>
            <a:r>
              <a:rPr lang="en-US" dirty="0"/>
              <a:t> </a:t>
            </a:r>
            <a:r>
              <a:rPr lang="en-US" dirty="0" err="1"/>
              <a:t>yatırılan</a:t>
            </a:r>
            <a:r>
              <a:rPr lang="en-US" dirty="0"/>
              <a:t> </a:t>
            </a:r>
            <a:r>
              <a:rPr lang="en-US" dirty="0" err="1"/>
              <a:t>yaşlı</a:t>
            </a:r>
            <a:r>
              <a:rPr lang="en-US" dirty="0"/>
              <a:t> </a:t>
            </a:r>
            <a:r>
              <a:rPr lang="en-US" dirty="0" err="1"/>
              <a:t>yetişkinler</a:t>
            </a:r>
            <a:r>
              <a:rPr lang="en-US" dirty="0"/>
              <a:t> </a:t>
            </a:r>
            <a:r>
              <a:rPr lang="en-US" dirty="0" err="1"/>
              <a:t>akut</a:t>
            </a:r>
            <a:r>
              <a:rPr lang="en-US" dirty="0"/>
              <a:t> </a:t>
            </a:r>
            <a:r>
              <a:rPr lang="en-US" dirty="0" err="1"/>
              <a:t>fonksiyonel</a:t>
            </a:r>
            <a:r>
              <a:rPr lang="en-US" dirty="0"/>
              <a:t> </a:t>
            </a:r>
            <a:r>
              <a:rPr lang="en-US" dirty="0" err="1"/>
              <a:t>düşüş</a:t>
            </a:r>
            <a:r>
              <a:rPr lang="en-US" dirty="0"/>
              <a:t> </a:t>
            </a:r>
            <a:r>
              <a:rPr lang="en-US" dirty="0" err="1"/>
              <a:t>gösterir</a:t>
            </a:r>
            <a:r>
              <a:rPr lang="en-US" dirty="0"/>
              <a:t> </a:t>
            </a:r>
            <a:r>
              <a:rPr lang="en-US" dirty="0" err="1"/>
              <a:t>ve</a:t>
            </a:r>
            <a:r>
              <a:rPr lang="en-US" dirty="0"/>
              <a:t> </a:t>
            </a:r>
            <a:r>
              <a:rPr lang="en-US" dirty="0" err="1"/>
              <a:t>uzun</a:t>
            </a:r>
            <a:r>
              <a:rPr lang="en-US" dirty="0"/>
              <a:t> </a:t>
            </a:r>
            <a:r>
              <a:rPr lang="en-US" dirty="0" err="1"/>
              <a:t>süreli</a:t>
            </a:r>
            <a:r>
              <a:rPr lang="en-US" dirty="0"/>
              <a:t> </a:t>
            </a:r>
            <a:r>
              <a:rPr lang="en-US" dirty="0" err="1"/>
              <a:t>kayıplar</a:t>
            </a:r>
            <a:r>
              <a:rPr lang="en-US" dirty="0"/>
              <a:t> </a:t>
            </a:r>
            <a:r>
              <a:rPr lang="en-US" dirty="0" err="1"/>
              <a:t>yaşayabilir</a:t>
            </a:r>
            <a:endParaRPr lang="en-US" dirty="0"/>
          </a:p>
        </p:txBody>
      </p:sp>
      <p:sp>
        <p:nvSpPr>
          <p:cNvPr id="12" name="Text Placeholder 11">
            <a:extLst>
              <a:ext uri="{FF2B5EF4-FFF2-40B4-BE49-F238E27FC236}">
                <a16:creationId xmlns:a16="http://schemas.microsoft.com/office/drawing/2014/main" id="{FDB652FA-B2F6-BFF6-F5C1-F0DA271DAA28}"/>
              </a:ext>
            </a:extLst>
          </p:cNvPr>
          <p:cNvSpPr>
            <a:spLocks noGrp="1"/>
          </p:cNvSpPr>
          <p:nvPr>
            <p:ph type="body" sz="quarter" idx="4294967295"/>
          </p:nvPr>
        </p:nvSpPr>
        <p:spPr>
          <a:xfrm>
            <a:off x="613152" y="5930471"/>
            <a:ext cx="9805987" cy="347662"/>
          </a:xfrm>
        </p:spPr>
        <p:txBody>
          <a:bodyPr>
            <a:normAutofit fontScale="25000" lnSpcReduction="20000"/>
          </a:bodyPr>
          <a:lstStyle/>
          <a:p>
            <a:pPr marL="0" indent="0">
              <a:lnSpc>
                <a:spcPct val="120000"/>
              </a:lnSpc>
              <a:spcBef>
                <a:spcPts val="0"/>
              </a:spcBef>
              <a:buNone/>
            </a:pPr>
            <a:r>
              <a:rPr lang="en-US" dirty="0"/>
              <a:t>*</a:t>
            </a:r>
            <a:r>
              <a:rPr lang="en-US" dirty="0" err="1"/>
              <a:t>Yetişkinlerde</a:t>
            </a:r>
            <a:r>
              <a:rPr lang="en-US" dirty="0"/>
              <a:t> ≥18 </a:t>
            </a:r>
            <a:r>
              <a:rPr lang="en-US" dirty="0" err="1"/>
              <a:t>yaş</a:t>
            </a:r>
            <a:r>
              <a:rPr lang="en-US" dirty="0"/>
              <a:t> </a:t>
            </a:r>
            <a:r>
              <a:rPr lang="en-US" dirty="0" err="1"/>
              <a:t>grubunda</a:t>
            </a:r>
            <a:r>
              <a:rPr lang="en-US" dirty="0"/>
              <a:t> RSV </a:t>
            </a:r>
            <a:r>
              <a:rPr lang="en-US" dirty="0" err="1"/>
              <a:t>enfeksiyonu</a:t>
            </a:r>
            <a:r>
              <a:rPr lang="en-US" dirty="0"/>
              <a:t> </a:t>
            </a:r>
            <a:r>
              <a:rPr lang="en-US" dirty="0" err="1"/>
              <a:t>için</a:t>
            </a:r>
            <a:r>
              <a:rPr lang="en-US" dirty="0"/>
              <a:t> </a:t>
            </a:r>
            <a:r>
              <a:rPr lang="en-US" dirty="0" err="1"/>
              <a:t>sürveyans</a:t>
            </a:r>
            <a:r>
              <a:rPr lang="en-US" dirty="0"/>
              <a:t> </a:t>
            </a:r>
            <a:r>
              <a:rPr lang="en-US" dirty="0" err="1"/>
              <a:t>üç</a:t>
            </a:r>
            <a:r>
              <a:rPr lang="en-US" dirty="0"/>
              <a:t> </a:t>
            </a:r>
            <a:r>
              <a:rPr lang="en-US" dirty="0" err="1"/>
              <a:t>hastane</a:t>
            </a:r>
            <a:r>
              <a:rPr lang="en-US" dirty="0"/>
              <a:t> </a:t>
            </a:r>
            <a:r>
              <a:rPr lang="en-US" dirty="0" err="1"/>
              <a:t>sisteminde</a:t>
            </a:r>
            <a:r>
              <a:rPr lang="en-US" dirty="0"/>
              <a:t> </a:t>
            </a:r>
            <a:r>
              <a:rPr lang="en-US" dirty="0" err="1"/>
              <a:t>gerçekleştirildi</a:t>
            </a:r>
            <a:r>
              <a:rPr lang="en-US" dirty="0"/>
              <a:t>:</a:t>
            </a:r>
            <a:r>
              <a:rPr lang="tr-TR" dirty="0"/>
              <a:t> </a:t>
            </a:r>
            <a:r>
              <a:rPr lang="en-US" dirty="0"/>
              <a:t>New York-</a:t>
            </a:r>
            <a:r>
              <a:rPr lang="en-US" dirty="0" err="1"/>
              <a:t>Presbiteryen</a:t>
            </a:r>
            <a:r>
              <a:rPr lang="en-US" dirty="0"/>
              <a:t> </a:t>
            </a:r>
            <a:r>
              <a:rPr lang="en-US" dirty="0" err="1"/>
              <a:t>Hastanesi</a:t>
            </a:r>
            <a:r>
              <a:rPr lang="en-US" dirty="0"/>
              <a:t>, New York </a:t>
            </a:r>
            <a:r>
              <a:rPr lang="en-US" dirty="0" err="1"/>
              <a:t>City'deki</a:t>
            </a:r>
            <a:r>
              <a:rPr lang="en-US" dirty="0"/>
              <a:t> (NYC) Columbia </a:t>
            </a:r>
            <a:r>
              <a:rPr lang="en-US" dirty="0" err="1"/>
              <a:t>Üniversitesi</a:t>
            </a:r>
            <a:r>
              <a:rPr lang="en-US" dirty="0"/>
              <a:t> Irving </a:t>
            </a:r>
            <a:r>
              <a:rPr lang="en-US" dirty="0" err="1"/>
              <a:t>Tıp</a:t>
            </a:r>
            <a:r>
              <a:rPr lang="en-US" dirty="0"/>
              <a:t> </a:t>
            </a:r>
            <a:r>
              <a:rPr lang="en-US" dirty="0" err="1"/>
              <a:t>Merkezi</a:t>
            </a:r>
            <a:r>
              <a:rPr lang="en-US" dirty="0"/>
              <a:t> (NYP-CUIMC), Rochester </a:t>
            </a:r>
            <a:r>
              <a:rPr lang="en-US" dirty="0" err="1"/>
              <a:t>Üniversitesi</a:t>
            </a:r>
            <a:r>
              <a:rPr lang="en-US" dirty="0"/>
              <a:t> </a:t>
            </a:r>
            <a:r>
              <a:rPr lang="en-US" dirty="0" err="1"/>
              <a:t>Tıp</a:t>
            </a:r>
            <a:r>
              <a:rPr lang="en-US" dirty="0"/>
              <a:t> </a:t>
            </a:r>
            <a:r>
              <a:rPr lang="en-US" dirty="0" err="1"/>
              <a:t>Merkezi</a:t>
            </a:r>
            <a:r>
              <a:rPr lang="en-US" dirty="0"/>
              <a:t>, Strong Memorial </a:t>
            </a:r>
            <a:r>
              <a:rPr lang="en-US" dirty="0" err="1"/>
              <a:t>Hastanesi</a:t>
            </a:r>
            <a:r>
              <a:rPr lang="en-US" dirty="0"/>
              <a:t> (URMC) </a:t>
            </a:r>
            <a:r>
              <a:rPr lang="en-US" dirty="0" err="1"/>
              <a:t>ve</a:t>
            </a:r>
            <a:r>
              <a:rPr lang="en-US" dirty="0"/>
              <a:t> Rochester </a:t>
            </a:r>
            <a:r>
              <a:rPr lang="en-US" dirty="0" err="1"/>
              <a:t>Bölgesel</a:t>
            </a:r>
            <a:r>
              <a:rPr lang="en-US" dirty="0"/>
              <a:t> </a:t>
            </a:r>
            <a:r>
              <a:rPr lang="en-US" dirty="0" err="1"/>
              <a:t>Sağlık</a:t>
            </a:r>
            <a:r>
              <a:rPr lang="en-US" dirty="0"/>
              <a:t> Sistemi, Rochester Genel </a:t>
            </a:r>
            <a:r>
              <a:rPr lang="en-US" dirty="0" err="1"/>
              <a:t>Hastanesi</a:t>
            </a:r>
            <a:r>
              <a:rPr lang="en-US" dirty="0"/>
              <a:t> (RGH) Rochester, </a:t>
            </a:r>
            <a:r>
              <a:rPr lang="en-US" dirty="0" err="1"/>
              <a:t>NY'deki</a:t>
            </a:r>
            <a:r>
              <a:rPr lang="en-US" dirty="0"/>
              <a:t> </a:t>
            </a:r>
            <a:r>
              <a:rPr lang="en-US" dirty="0" err="1"/>
              <a:t>üç</a:t>
            </a:r>
            <a:r>
              <a:rPr lang="en-US" dirty="0"/>
              <a:t> </a:t>
            </a:r>
            <a:r>
              <a:rPr lang="en-US" dirty="0" err="1"/>
              <a:t>kış</a:t>
            </a:r>
            <a:r>
              <a:rPr lang="en-US" dirty="0"/>
              <a:t> </a:t>
            </a:r>
            <a:r>
              <a:rPr lang="en-US" dirty="0" err="1"/>
              <a:t>boyunca</a:t>
            </a:r>
            <a:r>
              <a:rPr lang="en-US" dirty="0"/>
              <a:t> </a:t>
            </a:r>
            <a:endParaRPr lang="tr-TR" dirty="0"/>
          </a:p>
          <a:p>
            <a:pPr marL="0" indent="0">
              <a:lnSpc>
                <a:spcPct val="120000"/>
              </a:lnSpc>
              <a:spcBef>
                <a:spcPts val="0"/>
              </a:spcBef>
              <a:buNone/>
            </a:pPr>
            <a:r>
              <a:rPr lang="en-US" dirty="0"/>
              <a:t>(</a:t>
            </a:r>
            <a:r>
              <a:rPr lang="pl-PL" dirty="0"/>
              <a:t>15 Ekim 2017 - 27 Mart 2020</a:t>
            </a:r>
            <a:r>
              <a:rPr lang="en-US" dirty="0"/>
              <a:t>).</a:t>
            </a:r>
          </a:p>
          <a:p>
            <a:pPr marL="0" indent="0">
              <a:lnSpc>
                <a:spcPct val="120000"/>
              </a:lnSpc>
              <a:spcBef>
                <a:spcPts val="0"/>
              </a:spcBef>
              <a:buNone/>
            </a:pPr>
            <a:r>
              <a:rPr lang="en-US" dirty="0"/>
              <a:t>Branche AR, et al. Influenza Other Respir Viruses. 2022;16:1151-1160.</a:t>
            </a:r>
          </a:p>
        </p:txBody>
      </p:sp>
      <p:grpSp>
        <p:nvGrpSpPr>
          <p:cNvPr id="10" name="Group 9">
            <a:extLst>
              <a:ext uri="{FF2B5EF4-FFF2-40B4-BE49-F238E27FC236}">
                <a16:creationId xmlns:a16="http://schemas.microsoft.com/office/drawing/2014/main" id="{1E5FD14A-9190-7DC2-E0EF-C3C9492FEB34}"/>
              </a:ext>
            </a:extLst>
          </p:cNvPr>
          <p:cNvGrpSpPr/>
          <p:nvPr/>
        </p:nvGrpSpPr>
        <p:grpSpPr>
          <a:xfrm>
            <a:off x="613152" y="1957445"/>
            <a:ext cx="8703683" cy="4517572"/>
            <a:chOff x="1092241" y="1088571"/>
            <a:chExt cx="6527759" cy="3388179"/>
          </a:xfrm>
        </p:grpSpPr>
        <p:graphicFrame>
          <p:nvGraphicFramePr>
            <p:cNvPr id="17" name="Chart 16">
              <a:extLst>
                <a:ext uri="{FF2B5EF4-FFF2-40B4-BE49-F238E27FC236}">
                  <a16:creationId xmlns:a16="http://schemas.microsoft.com/office/drawing/2014/main" id="{7B38C6D4-090C-3EBF-2B6E-419D6A1F562D}"/>
                </a:ext>
              </a:extLst>
            </p:cNvPr>
            <p:cNvGraphicFramePr>
              <a:graphicFrameLocks/>
            </p:cNvGraphicFramePr>
            <p:nvPr>
              <p:extLst>
                <p:ext uri="{D42A27DB-BD31-4B8C-83A1-F6EECF244321}">
                  <p14:modId xmlns:p14="http://schemas.microsoft.com/office/powerpoint/2010/main" val="2137028574"/>
                </p:ext>
              </p:extLst>
            </p:nvPr>
          </p:nvGraphicFramePr>
          <p:xfrm>
            <a:off x="1219200" y="1088571"/>
            <a:ext cx="6400800" cy="338817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FAF17265-27BB-4ECE-B2CC-232C6C4BD814}"/>
                </a:ext>
              </a:extLst>
            </p:cNvPr>
            <p:cNvSpPr txBox="1"/>
            <p:nvPr/>
          </p:nvSpPr>
          <p:spPr>
            <a:xfrm>
              <a:off x="2446025" y="3813599"/>
              <a:ext cx="514804" cy="23083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latin typeface="Arial" panose="020B0604020202020204"/>
                  <a:ea typeface="+mn-ea"/>
                  <a:cs typeface="Arial"/>
                  <a:sym typeface="Arial"/>
                </a:rPr>
                <a:t>n=271</a:t>
              </a:r>
            </a:p>
          </p:txBody>
        </p:sp>
        <p:sp>
          <p:nvSpPr>
            <p:cNvPr id="6" name="TextBox 5">
              <a:extLst>
                <a:ext uri="{FF2B5EF4-FFF2-40B4-BE49-F238E27FC236}">
                  <a16:creationId xmlns:a16="http://schemas.microsoft.com/office/drawing/2014/main" id="{7E2AAAC0-8DFE-A454-B54A-CCFC60A2A46F}"/>
                </a:ext>
              </a:extLst>
            </p:cNvPr>
            <p:cNvSpPr txBox="1"/>
            <p:nvPr/>
          </p:nvSpPr>
          <p:spPr>
            <a:xfrm>
              <a:off x="4365137" y="3678590"/>
              <a:ext cx="514804" cy="23083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latin typeface="Arial" panose="020B0604020202020204"/>
                  <a:ea typeface="+mn-ea"/>
                  <a:cs typeface="Arial"/>
                  <a:sym typeface="Arial"/>
                </a:rPr>
                <a:t>n=290</a:t>
              </a:r>
            </a:p>
          </p:txBody>
        </p:sp>
        <p:sp>
          <p:nvSpPr>
            <p:cNvPr id="16" name="TextBox 15">
              <a:extLst>
                <a:ext uri="{FF2B5EF4-FFF2-40B4-BE49-F238E27FC236}">
                  <a16:creationId xmlns:a16="http://schemas.microsoft.com/office/drawing/2014/main" id="{6B3CD952-F644-E570-7803-EC6425DF6CC2}"/>
                </a:ext>
              </a:extLst>
            </p:cNvPr>
            <p:cNvSpPr txBox="1"/>
            <p:nvPr/>
          </p:nvSpPr>
          <p:spPr>
            <a:xfrm>
              <a:off x="6310108" y="3813599"/>
              <a:ext cx="514804" cy="23083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latin typeface="Arial" panose="020B0604020202020204"/>
                  <a:ea typeface="+mn-ea"/>
                  <a:cs typeface="Arial"/>
                  <a:sym typeface="Arial"/>
                </a:rPr>
                <a:t>n=224</a:t>
              </a:r>
            </a:p>
          </p:txBody>
        </p:sp>
        <p:sp>
          <p:nvSpPr>
            <p:cNvPr id="3" name="TextBox 2">
              <a:extLst>
                <a:ext uri="{FF2B5EF4-FFF2-40B4-BE49-F238E27FC236}">
                  <a16:creationId xmlns:a16="http://schemas.microsoft.com/office/drawing/2014/main" id="{FC2423DE-1BFF-11BF-3303-0325208B0B75}"/>
                </a:ext>
              </a:extLst>
            </p:cNvPr>
            <p:cNvSpPr txBox="1"/>
            <p:nvPr/>
          </p:nvSpPr>
          <p:spPr>
            <a:xfrm rot="16200000">
              <a:off x="435210" y="2153481"/>
              <a:ext cx="1567977" cy="25391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0" cap="none" spc="0" normalizeH="0" baseline="0" noProof="0" err="1">
                  <a:ln>
                    <a:noFill/>
                  </a:ln>
                  <a:solidFill>
                    <a:srgbClr val="344068"/>
                  </a:solidFill>
                  <a:effectLst/>
                  <a:uLnTx/>
                  <a:uFillTx/>
                  <a:latin typeface="Arial" panose="020B0604020202020204"/>
                  <a:ea typeface="+mn-ea"/>
                  <a:cs typeface="Arial"/>
                  <a:sym typeface="Arial"/>
                </a:rPr>
                <a:t>Bağımsız</a:t>
              </a:r>
              <a:r>
                <a:rPr kumimoji="0" lang="en-US" sz="1600" b="1" i="0" u="none" strike="noStrike" kern="0" cap="none" spc="0" normalizeH="0" baseline="0" noProof="0">
                  <a:ln>
                    <a:noFill/>
                  </a:ln>
                  <a:solidFill>
                    <a:srgbClr val="344068"/>
                  </a:solidFill>
                  <a:effectLst/>
                  <a:uLnTx/>
                  <a:uFillTx/>
                  <a:latin typeface="Arial" panose="020B0604020202020204"/>
                  <a:ea typeface="+mn-ea"/>
                  <a:cs typeface="Arial"/>
                  <a:sym typeface="Arial"/>
                </a:rPr>
                <a:t> </a:t>
              </a:r>
              <a:r>
                <a:rPr kumimoji="0" lang="en-US" sz="1600" b="1" i="0" u="none" strike="noStrike" kern="0" cap="none" spc="0" normalizeH="0" baseline="0" noProof="0" err="1">
                  <a:ln>
                    <a:noFill/>
                  </a:ln>
                  <a:solidFill>
                    <a:srgbClr val="344068"/>
                  </a:solidFill>
                  <a:effectLst/>
                  <a:uLnTx/>
                  <a:uFillTx/>
                  <a:latin typeface="Arial" panose="020B0604020202020204"/>
                  <a:ea typeface="+mn-ea"/>
                  <a:cs typeface="Arial"/>
                  <a:sym typeface="Arial"/>
                </a:rPr>
                <a:t>yaşama</a:t>
              </a:r>
              <a:r>
                <a:rPr kumimoji="0" lang="en-US" sz="1600" b="1" i="0" u="none" strike="noStrike" kern="0" cap="none" spc="0" normalizeH="0" baseline="0" noProof="0">
                  <a:ln>
                    <a:noFill/>
                  </a:ln>
                  <a:solidFill>
                    <a:srgbClr val="344068"/>
                  </a:solidFill>
                  <a:effectLst/>
                  <a:uLnTx/>
                  <a:uFillTx/>
                  <a:latin typeface="Arial" panose="020B0604020202020204"/>
                  <a:ea typeface="+mn-ea"/>
                  <a:cs typeface="Arial"/>
                  <a:sym typeface="Arial"/>
                </a:rPr>
                <a:t>(%)</a:t>
              </a:r>
            </a:p>
          </p:txBody>
        </p:sp>
      </p:grpSp>
      <p:sp>
        <p:nvSpPr>
          <p:cNvPr id="7" name="TextBox 6">
            <a:extLst>
              <a:ext uri="{FF2B5EF4-FFF2-40B4-BE49-F238E27FC236}">
                <a16:creationId xmlns:a16="http://schemas.microsoft.com/office/drawing/2014/main" id="{0BCA2A3C-52E4-2212-D1EC-A1D5A96AEA22}"/>
              </a:ext>
            </a:extLst>
          </p:cNvPr>
          <p:cNvSpPr txBox="1"/>
          <p:nvPr/>
        </p:nvSpPr>
        <p:spPr bwMode="gray">
          <a:xfrm>
            <a:off x="567559" y="1450992"/>
            <a:ext cx="8809522" cy="338554"/>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err="1">
                <a:ln>
                  <a:noFill/>
                </a:ln>
                <a:solidFill>
                  <a:srgbClr val="344068"/>
                </a:solidFill>
                <a:effectLst/>
                <a:uLnTx/>
                <a:uFillTx/>
                <a:latin typeface="Arial" panose="020B0604020202020204"/>
                <a:ea typeface="+mn-ea"/>
                <a:cs typeface="+mn-cs"/>
              </a:rPr>
              <a:t>Laboratuvar</a:t>
            </a:r>
            <a:r>
              <a:rPr kumimoji="0" lang="en-GB" sz="1600" b="1" i="0" u="none" strike="noStrike" kern="1200" cap="none" spc="0" normalizeH="0" baseline="0" noProof="0">
                <a:ln>
                  <a:noFill/>
                </a:ln>
                <a:solidFill>
                  <a:srgbClr val="344068"/>
                </a:solidFill>
                <a:effectLst/>
                <a:uLnTx/>
                <a:uFillTx/>
                <a:latin typeface="Arial" panose="020B0604020202020204"/>
                <a:ea typeface="+mn-ea"/>
                <a:cs typeface="+mn-cs"/>
              </a:rPr>
              <a:t> </a:t>
            </a:r>
            <a:r>
              <a:rPr kumimoji="0" lang="en-GB" sz="1600" b="1" i="0" u="none" strike="noStrike" kern="1200" cap="none" spc="0" normalizeH="0" baseline="0" noProof="0" err="1">
                <a:ln>
                  <a:noFill/>
                </a:ln>
                <a:solidFill>
                  <a:srgbClr val="344068"/>
                </a:solidFill>
                <a:effectLst/>
                <a:uLnTx/>
                <a:uFillTx/>
                <a:latin typeface="Arial" panose="020B0604020202020204"/>
                <a:ea typeface="+mn-ea"/>
                <a:cs typeface="+mn-cs"/>
              </a:rPr>
              <a:t>onaylı</a:t>
            </a:r>
            <a:r>
              <a:rPr kumimoji="0" lang="en-GB" sz="1600" b="1" i="0" u="none" strike="noStrike" kern="1200" cap="none" spc="0" normalizeH="0" baseline="0" noProof="0">
                <a:ln>
                  <a:noFill/>
                </a:ln>
                <a:solidFill>
                  <a:srgbClr val="344068"/>
                </a:solidFill>
                <a:effectLst/>
                <a:uLnTx/>
                <a:uFillTx/>
                <a:latin typeface="Arial" panose="020B0604020202020204"/>
                <a:ea typeface="+mn-ea"/>
                <a:cs typeface="+mn-cs"/>
              </a:rPr>
              <a:t> RSV </a:t>
            </a:r>
            <a:r>
              <a:rPr kumimoji="0" lang="en-GB" sz="1600" b="1" i="0" u="none" strike="noStrike" kern="1200" cap="none" spc="0" normalizeH="0" baseline="0" noProof="0" err="1">
                <a:ln>
                  <a:noFill/>
                </a:ln>
                <a:solidFill>
                  <a:srgbClr val="344068"/>
                </a:solidFill>
                <a:effectLst/>
                <a:uLnTx/>
                <a:uFillTx/>
                <a:latin typeface="Arial" panose="020B0604020202020204"/>
                <a:ea typeface="+mn-ea"/>
                <a:cs typeface="+mn-cs"/>
              </a:rPr>
              <a:t>ile</a:t>
            </a:r>
            <a:r>
              <a:rPr kumimoji="0" lang="en-GB" sz="1600" b="1" i="0" u="none" strike="noStrike" kern="1200" cap="none" spc="0" normalizeH="0" baseline="0" noProof="0">
                <a:ln>
                  <a:noFill/>
                </a:ln>
                <a:solidFill>
                  <a:srgbClr val="344068"/>
                </a:solidFill>
                <a:effectLst/>
                <a:uLnTx/>
                <a:uFillTx/>
                <a:latin typeface="Arial" panose="020B0604020202020204"/>
                <a:ea typeface="+mn-ea"/>
                <a:cs typeface="+mn-cs"/>
              </a:rPr>
              <a:t> </a:t>
            </a:r>
            <a:r>
              <a:rPr kumimoji="0" lang="en-GB" sz="1600" b="1" i="0" u="none" strike="noStrike" kern="1200" cap="none" spc="0" normalizeH="0" baseline="0" noProof="0" err="1">
                <a:ln>
                  <a:noFill/>
                </a:ln>
                <a:solidFill>
                  <a:srgbClr val="344068"/>
                </a:solidFill>
                <a:effectLst/>
                <a:uLnTx/>
                <a:uFillTx/>
                <a:latin typeface="Arial" panose="020B0604020202020204"/>
                <a:ea typeface="+mn-ea"/>
                <a:cs typeface="+mn-cs"/>
              </a:rPr>
              <a:t>hastaneye</a:t>
            </a:r>
            <a:r>
              <a:rPr kumimoji="0" lang="en-GB" sz="1600" b="1" i="0" u="none" strike="noStrike" kern="1200" cap="none" spc="0" normalizeH="0" baseline="0" noProof="0">
                <a:ln>
                  <a:noFill/>
                </a:ln>
                <a:solidFill>
                  <a:srgbClr val="344068"/>
                </a:solidFill>
                <a:effectLst/>
                <a:uLnTx/>
                <a:uFillTx/>
                <a:latin typeface="Arial" panose="020B0604020202020204"/>
                <a:ea typeface="+mn-ea"/>
                <a:cs typeface="+mn-cs"/>
              </a:rPr>
              <a:t> </a:t>
            </a:r>
            <a:r>
              <a:rPr kumimoji="0" lang="en-GB" sz="1600" b="1" i="0" u="none" strike="noStrike" kern="1200" cap="none" spc="0" normalizeH="0" baseline="0" noProof="0" err="1">
                <a:ln>
                  <a:noFill/>
                </a:ln>
                <a:solidFill>
                  <a:srgbClr val="344068"/>
                </a:solidFill>
                <a:effectLst/>
                <a:uLnTx/>
                <a:uFillTx/>
                <a:latin typeface="Arial" panose="020B0604020202020204"/>
                <a:ea typeface="+mn-ea"/>
                <a:cs typeface="+mn-cs"/>
              </a:rPr>
              <a:t>yatırılan</a:t>
            </a:r>
            <a:r>
              <a:rPr kumimoji="0" lang="en-GB" sz="1600" b="1" i="0" u="none" strike="noStrike" kern="1200" cap="none" spc="0" normalizeH="0" baseline="0" noProof="0">
                <a:ln>
                  <a:noFill/>
                </a:ln>
                <a:solidFill>
                  <a:srgbClr val="344068"/>
                </a:solidFill>
                <a:effectLst/>
                <a:uLnTx/>
                <a:uFillTx/>
                <a:latin typeface="Arial" panose="020B0604020202020204"/>
                <a:ea typeface="+mn-ea"/>
                <a:cs typeface="+mn-cs"/>
              </a:rPr>
              <a:t> ≥60 </a:t>
            </a:r>
            <a:r>
              <a:rPr kumimoji="0" lang="en-GB" sz="1600" b="1" i="0" u="none" strike="noStrike" kern="1200" cap="none" spc="0" normalizeH="0" baseline="0" noProof="0" err="1">
                <a:ln>
                  <a:noFill/>
                </a:ln>
                <a:solidFill>
                  <a:srgbClr val="344068"/>
                </a:solidFill>
                <a:effectLst/>
                <a:uLnTx/>
                <a:uFillTx/>
                <a:latin typeface="Arial" panose="020B0604020202020204"/>
                <a:ea typeface="+mn-ea"/>
                <a:cs typeface="+mn-cs"/>
              </a:rPr>
              <a:t>yaş</a:t>
            </a:r>
            <a:r>
              <a:rPr kumimoji="0" lang="en-GB" sz="1600" b="1" i="0" u="none" strike="noStrike" kern="1200" cap="none" spc="0" normalizeH="0" baseline="0" noProof="0">
                <a:ln>
                  <a:noFill/>
                </a:ln>
                <a:solidFill>
                  <a:srgbClr val="344068"/>
                </a:solidFill>
                <a:effectLst/>
                <a:uLnTx/>
                <a:uFillTx/>
                <a:latin typeface="Arial" panose="020B0604020202020204"/>
                <a:ea typeface="+mn-ea"/>
                <a:cs typeface="+mn-cs"/>
              </a:rPr>
              <a:t> </a:t>
            </a:r>
            <a:r>
              <a:rPr kumimoji="0" lang="tr-TR" sz="1600" b="1" i="0" u="none" strike="noStrike" kern="1200" cap="none" spc="0" normalizeH="0" baseline="0" noProof="0">
                <a:ln>
                  <a:noFill/>
                </a:ln>
                <a:solidFill>
                  <a:srgbClr val="344068"/>
                </a:solidFill>
                <a:effectLst/>
                <a:uLnTx/>
                <a:uFillTx/>
                <a:latin typeface="Arial" panose="020B0604020202020204"/>
                <a:ea typeface="+mn-ea"/>
                <a:cs typeface="+mn-cs"/>
              </a:rPr>
              <a:t>ve üzeri</a:t>
            </a:r>
            <a:r>
              <a:rPr kumimoji="0" lang="en-GB" sz="1600" b="1" i="0" u="none" strike="noStrike" kern="1200" cap="none" spc="0" normalizeH="0" baseline="0" noProof="0">
                <a:ln>
                  <a:noFill/>
                </a:ln>
                <a:solidFill>
                  <a:srgbClr val="344068"/>
                </a:solidFill>
                <a:effectLst/>
                <a:uLnTx/>
                <a:uFillTx/>
                <a:latin typeface="Arial" panose="020B0604020202020204"/>
                <a:ea typeface="+mn-ea"/>
                <a:cs typeface="+mn-cs"/>
              </a:rPr>
              <a:t> </a:t>
            </a:r>
            <a:r>
              <a:rPr kumimoji="0" lang="en-GB" sz="1600" b="1" i="0" u="none" strike="noStrike" kern="1200" cap="none" spc="0" normalizeH="0" baseline="0" noProof="0" err="1">
                <a:ln>
                  <a:noFill/>
                </a:ln>
                <a:solidFill>
                  <a:srgbClr val="344068"/>
                </a:solidFill>
                <a:effectLst/>
                <a:uLnTx/>
                <a:uFillTx/>
                <a:latin typeface="Arial" panose="020B0604020202020204"/>
                <a:ea typeface="+mn-ea"/>
                <a:cs typeface="+mn-cs"/>
              </a:rPr>
              <a:t>yetişkinler</a:t>
            </a:r>
            <a:r>
              <a:rPr kumimoji="0" lang="en-GB" sz="1600" b="1" i="0" u="none" strike="noStrike" kern="1200" cap="none" spc="0" normalizeH="0" baseline="0" noProof="0">
                <a:ln>
                  <a:noFill/>
                </a:ln>
                <a:solidFill>
                  <a:srgbClr val="344068"/>
                </a:solidFill>
                <a:effectLst/>
                <a:uLnTx/>
                <a:uFillTx/>
                <a:latin typeface="Arial" panose="020B0604020202020204"/>
                <a:ea typeface="+mn-ea"/>
                <a:cs typeface="+mn-cs"/>
              </a:rPr>
              <a:t> (2017–2020)*</a:t>
            </a:r>
            <a:endParaRPr kumimoji="0" lang="en-US" sz="1600" b="1" i="0" u="none" strike="noStrike" kern="1200" cap="none" spc="0" normalizeH="0" baseline="0" noProof="0">
              <a:ln>
                <a:noFill/>
              </a:ln>
              <a:solidFill>
                <a:srgbClr val="344068"/>
              </a:solidFill>
              <a:effectLst/>
              <a:uLnTx/>
              <a:uFillTx/>
              <a:latin typeface="Arial" panose="020B0604020202020204"/>
              <a:ea typeface="+mn-ea"/>
              <a:cs typeface="+mn-cs"/>
            </a:endParaRPr>
          </a:p>
        </p:txBody>
      </p:sp>
      <p:sp>
        <p:nvSpPr>
          <p:cNvPr id="9" name="Arrow: Pentagon 8">
            <a:extLst>
              <a:ext uri="{FF2B5EF4-FFF2-40B4-BE49-F238E27FC236}">
                <a16:creationId xmlns:a16="http://schemas.microsoft.com/office/drawing/2014/main" id="{C18C0A39-D0B5-E30C-3BEE-1B03FF2AF1DE}"/>
              </a:ext>
            </a:extLst>
          </p:cNvPr>
          <p:cNvSpPr/>
          <p:nvPr/>
        </p:nvSpPr>
        <p:spPr>
          <a:xfrm>
            <a:off x="9486114" y="2192304"/>
            <a:ext cx="2450977" cy="3335409"/>
          </a:xfrm>
          <a:prstGeom prst="homePlate">
            <a:avLst>
              <a:gd name="adj" fmla="val 10552"/>
            </a:avLst>
          </a:prstGeom>
          <a:solidFill>
            <a:schemeClr val="bg1">
              <a:lumMod val="95000"/>
            </a:schemeClr>
          </a:solidFill>
          <a:ln w="38100">
            <a:noFill/>
          </a:ln>
          <a:effectLst/>
        </p:spPr>
        <p:txBody>
          <a:bodyPr wrap="square" rIns="243840" rtlCol="0" anchor="ctr">
            <a:noAutofit/>
          </a:bodyPr>
          <a:lstStyle>
            <a:defPPr>
              <a:defRPr lang="en-US"/>
            </a:defPPr>
            <a:lvl1pPr marL="0" indent="0" algn="l" defTabSz="228520" rtl="0" eaLnBrk="1" latinLnBrk="0" hangingPunct="1">
              <a:defRPr sz="1100" kern="1200">
                <a:solidFill>
                  <a:schemeClr val="tx1"/>
                </a:solidFill>
                <a:latin typeface="+mn-lt"/>
                <a:ea typeface="+mn-ea"/>
                <a:cs typeface="+mn-cs"/>
              </a:defRPr>
            </a:lvl1pPr>
            <a:lvl2pPr marL="457200" indent="0" algn="l" defTabSz="228520" rtl="0" eaLnBrk="1" latinLnBrk="0" hangingPunct="1">
              <a:defRPr sz="1100" kern="1200">
                <a:solidFill>
                  <a:schemeClr val="tx1"/>
                </a:solidFill>
                <a:latin typeface="+mn-lt"/>
                <a:ea typeface="+mn-ea"/>
                <a:cs typeface="+mn-cs"/>
              </a:defRPr>
            </a:lvl2pPr>
            <a:lvl3pPr marL="914400" indent="0" algn="l" defTabSz="228520" rtl="0" eaLnBrk="1" latinLnBrk="0" hangingPunct="1">
              <a:defRPr sz="1100" kern="1200">
                <a:solidFill>
                  <a:schemeClr val="tx1"/>
                </a:solidFill>
                <a:latin typeface="+mn-lt"/>
                <a:ea typeface="+mn-ea"/>
                <a:cs typeface="+mn-cs"/>
              </a:defRPr>
            </a:lvl3pPr>
            <a:lvl4pPr marL="1371600" indent="0" algn="l" defTabSz="228520" rtl="0" eaLnBrk="1" latinLnBrk="0" hangingPunct="1">
              <a:defRPr sz="1100" kern="1200">
                <a:solidFill>
                  <a:schemeClr val="tx1"/>
                </a:solidFill>
                <a:latin typeface="+mn-lt"/>
                <a:ea typeface="+mn-ea"/>
                <a:cs typeface="+mn-cs"/>
              </a:defRPr>
            </a:lvl4pPr>
            <a:lvl5pPr marL="1828800" indent="0" algn="l" defTabSz="228520" rtl="0" eaLnBrk="1" latinLnBrk="0" hangingPunct="1">
              <a:defRPr sz="1100" kern="1200">
                <a:solidFill>
                  <a:schemeClr val="tx1"/>
                </a:solidFill>
                <a:latin typeface="+mn-lt"/>
                <a:ea typeface="+mn-ea"/>
                <a:cs typeface="+mn-cs"/>
              </a:defRPr>
            </a:lvl5pPr>
            <a:lvl6pPr marL="2286000" indent="0" algn="l" defTabSz="228520" rtl="0" eaLnBrk="1" latinLnBrk="0" hangingPunct="1">
              <a:defRPr sz="1100" kern="1200">
                <a:solidFill>
                  <a:schemeClr val="tx1"/>
                </a:solidFill>
                <a:latin typeface="+mn-lt"/>
                <a:ea typeface="+mn-ea"/>
                <a:cs typeface="+mn-cs"/>
              </a:defRPr>
            </a:lvl6pPr>
            <a:lvl7pPr marL="2743200" indent="0" algn="l" defTabSz="228520" rtl="0" eaLnBrk="1" latinLnBrk="0" hangingPunct="1">
              <a:defRPr sz="1100" kern="1200">
                <a:solidFill>
                  <a:schemeClr val="tx1"/>
                </a:solidFill>
                <a:latin typeface="+mn-lt"/>
                <a:ea typeface="+mn-ea"/>
                <a:cs typeface="+mn-cs"/>
              </a:defRPr>
            </a:lvl7pPr>
            <a:lvl8pPr marL="3200400" indent="0" algn="l" defTabSz="228520" rtl="0" eaLnBrk="1" latinLnBrk="0" hangingPunct="1">
              <a:defRPr sz="1100" kern="1200">
                <a:solidFill>
                  <a:schemeClr val="tx1"/>
                </a:solidFill>
                <a:latin typeface="+mn-lt"/>
                <a:ea typeface="+mn-ea"/>
                <a:cs typeface="+mn-cs"/>
              </a:defRPr>
            </a:lvl8pPr>
            <a:lvl9pPr marL="3657600" indent="0" algn="l" defTabSz="228520" rtl="0" eaLnBrk="1" latinLnBrk="0" hangingPunct="1">
              <a:defRPr sz="1100" kern="1200">
                <a:solidFill>
                  <a:schemeClr val="tx1"/>
                </a:solidFill>
                <a:latin typeface="+mn-lt"/>
                <a:ea typeface="+mn-ea"/>
                <a:cs typeface="+mn-cs"/>
              </a:defRPr>
            </a:lvl9pPr>
          </a:lstStyle>
          <a:p>
            <a:pPr marL="0" marR="0" lvl="0" indent="0" algn="ctr" defTabSz="1219140" rtl="0" eaLnBrk="1" fontAlgn="auto" latinLnBrk="0" hangingPunct="1">
              <a:lnSpc>
                <a:spcPct val="100000"/>
              </a:lnSpc>
              <a:spcBef>
                <a:spcPts val="0"/>
              </a:spcBef>
              <a:spcAft>
                <a:spcPts val="0"/>
              </a:spcAft>
              <a:buClrTx/>
              <a:buSzTx/>
              <a:buFont typeface="Arial"/>
              <a:buNone/>
              <a:tabLst/>
              <a:defRPr/>
            </a:pPr>
            <a:r>
              <a:rPr kumimoji="0" lang="en-US" sz="1600" b="0" i="0" u="none" strike="noStrike" kern="1200" cap="none" spc="0" normalizeH="0" baseline="0" noProof="0" dirty="0" err="1">
                <a:ln>
                  <a:noFill/>
                </a:ln>
                <a:effectLst/>
                <a:uLnTx/>
                <a:uFillTx/>
                <a:latin typeface="Arial" panose="020B0604020202020204"/>
                <a:ea typeface="+mn-ea"/>
                <a:cs typeface="+mn-cs"/>
              </a:rPr>
              <a:t>Taburcu</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olduktan</a:t>
            </a:r>
            <a:r>
              <a:rPr kumimoji="0" lang="en-US" sz="1600" b="0" i="0" u="none" strike="noStrike" kern="1200" cap="none" spc="0" normalizeH="0" baseline="0" noProof="0" dirty="0">
                <a:ln>
                  <a:noFill/>
                </a:ln>
                <a:effectLst/>
                <a:uLnTx/>
                <a:uFillTx/>
                <a:latin typeface="Arial" panose="020B0604020202020204"/>
                <a:ea typeface="+mn-ea"/>
                <a:cs typeface="+mn-cs"/>
              </a:rPr>
              <a:t> 6 ay </a:t>
            </a:r>
            <a:r>
              <a:rPr kumimoji="0" lang="en-US" sz="1600" b="0" i="0" u="none" strike="noStrike" kern="1200" cap="none" spc="0" normalizeH="0" baseline="0" noProof="0" dirty="0" err="1">
                <a:ln>
                  <a:noFill/>
                </a:ln>
                <a:effectLst/>
                <a:uLnTx/>
                <a:uFillTx/>
                <a:latin typeface="Arial" panose="020B0604020202020204"/>
                <a:ea typeface="+mn-ea"/>
                <a:cs typeface="+mn-cs"/>
              </a:rPr>
              <a:t>sonra</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1" i="0" u="none" strike="noStrike" kern="1200" cap="none" spc="0" normalizeH="0" baseline="0" noProof="0" dirty="0" err="1">
                <a:ln>
                  <a:noFill/>
                </a:ln>
                <a:solidFill>
                  <a:srgbClr val="C00000"/>
                </a:solidFill>
                <a:effectLst/>
                <a:uLnTx/>
                <a:uFillTx/>
                <a:latin typeface="Arial" panose="020B0604020202020204"/>
                <a:ea typeface="+mn-ea"/>
                <a:cs typeface="+mn-cs"/>
              </a:rPr>
              <a:t>bağımsız</a:t>
            </a:r>
            <a:r>
              <a:rPr kumimoji="0" lang="en-US" sz="1600" b="1" i="0" u="none" strike="noStrike" kern="1200" cap="none" spc="0" normalizeH="0" baseline="0" noProof="0" dirty="0">
                <a:ln>
                  <a:noFill/>
                </a:ln>
                <a:solidFill>
                  <a:srgbClr val="C00000"/>
                </a:solidFill>
                <a:effectLst/>
                <a:uLnTx/>
                <a:uFillTx/>
                <a:latin typeface="Arial" panose="020B0604020202020204"/>
                <a:ea typeface="+mn-ea"/>
                <a:cs typeface="+mn-cs"/>
              </a:rPr>
              <a:t> </a:t>
            </a:r>
            <a:r>
              <a:rPr kumimoji="0" lang="en-US" sz="1600" b="1" i="0" u="none" strike="noStrike" kern="1200" cap="none" spc="0" normalizeH="0" baseline="0" noProof="0" dirty="0" err="1">
                <a:ln>
                  <a:noFill/>
                </a:ln>
                <a:solidFill>
                  <a:srgbClr val="C00000"/>
                </a:solidFill>
                <a:effectLst/>
                <a:uLnTx/>
                <a:uFillTx/>
                <a:latin typeface="Arial" panose="020B0604020202020204"/>
                <a:ea typeface="+mn-ea"/>
                <a:cs typeface="+mn-cs"/>
              </a:rPr>
              <a:t>yaşayabilen</a:t>
            </a:r>
            <a:r>
              <a:rPr kumimoji="0" lang="en-US" sz="1600" b="1" i="0" u="none" strike="noStrike" kern="1200" cap="none" spc="0" normalizeH="0" baseline="0" noProof="0" dirty="0">
                <a:ln>
                  <a:noFill/>
                </a:ln>
                <a:solidFill>
                  <a:srgbClr val="C00000"/>
                </a:solidFill>
                <a:effectLst/>
                <a:uLnTx/>
                <a:uFillTx/>
                <a:latin typeface="Arial" panose="020B0604020202020204"/>
                <a:ea typeface="+mn-ea"/>
                <a:cs typeface="+mn-cs"/>
              </a:rPr>
              <a:t> </a:t>
            </a:r>
            <a:r>
              <a:rPr kumimoji="0" lang="en-US" sz="1600" b="1" i="0" u="none" strike="noStrike" kern="1200" cap="none" spc="0" normalizeH="0" baseline="0" noProof="0" dirty="0" err="1">
                <a:ln>
                  <a:noFill/>
                </a:ln>
                <a:solidFill>
                  <a:srgbClr val="C00000"/>
                </a:solidFill>
                <a:effectLst/>
                <a:uLnTx/>
                <a:uFillTx/>
                <a:latin typeface="Arial" panose="020B0604020202020204"/>
                <a:ea typeface="+mn-ea"/>
                <a:cs typeface="+mn-cs"/>
              </a:rPr>
              <a:t>bireylerin</a:t>
            </a:r>
            <a:r>
              <a:rPr kumimoji="0" lang="en-US" sz="1600" b="1" i="0" u="none" strike="noStrike" kern="1200" cap="none" spc="0" normalizeH="0" baseline="0" noProof="0" dirty="0">
                <a:ln>
                  <a:noFill/>
                </a:ln>
                <a:solidFill>
                  <a:srgbClr val="C00000"/>
                </a:solidFill>
                <a:effectLst/>
                <a:uLnTx/>
                <a:uFillTx/>
                <a:latin typeface="Arial" panose="020B0604020202020204"/>
                <a:ea typeface="+mn-ea"/>
                <a:cs typeface="+mn-cs"/>
              </a:rPr>
              <a:t> </a:t>
            </a:r>
            <a:r>
              <a:rPr kumimoji="0" lang="en-US" sz="1600" b="1" i="0" u="none" strike="noStrike" kern="1200" cap="none" spc="0" normalizeH="0" baseline="0" noProof="0" dirty="0" err="1">
                <a:ln>
                  <a:noFill/>
                </a:ln>
                <a:solidFill>
                  <a:srgbClr val="C00000"/>
                </a:solidFill>
                <a:effectLst/>
                <a:uLnTx/>
                <a:uFillTx/>
                <a:latin typeface="Arial" panose="020B0604020202020204"/>
                <a:ea typeface="+mn-ea"/>
                <a:cs typeface="+mn-cs"/>
              </a:rPr>
              <a:t>oranı</a:t>
            </a:r>
            <a:r>
              <a:rPr kumimoji="0" lang="en-US" sz="1600" b="1" i="0" u="none" strike="noStrike" kern="1200" cap="none" spc="0" normalizeH="0" baseline="0" noProof="0" dirty="0">
                <a:ln>
                  <a:noFill/>
                </a:ln>
                <a:effectLst/>
                <a:uLnTx/>
                <a:uFillTx/>
                <a:latin typeface="Arial" panose="020B0604020202020204"/>
                <a:ea typeface="+mn-ea"/>
                <a:cs typeface="+mn-cs"/>
              </a:rPr>
              <a:t>,</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daha</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önce</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bağımsız</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yaşayanlara</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0" i="0" u="none" strike="noStrike" kern="1200" cap="none" spc="0" normalizeH="0" baseline="0" noProof="0" dirty="0" err="1">
                <a:ln>
                  <a:noFill/>
                </a:ln>
                <a:effectLst/>
                <a:uLnTx/>
                <a:uFillTx/>
                <a:latin typeface="Arial" panose="020B0604020202020204"/>
                <a:ea typeface="+mn-ea"/>
                <a:cs typeface="+mn-cs"/>
              </a:rPr>
              <a:t>göre</a:t>
            </a:r>
            <a:r>
              <a:rPr kumimoji="0" lang="en-US" sz="1600" b="0" i="0" u="none" strike="noStrike" kern="1200" cap="none" spc="0" normalizeH="0" baseline="0" noProof="0" dirty="0">
                <a:ln>
                  <a:noFill/>
                </a:ln>
                <a:effectLst/>
                <a:uLnTx/>
                <a:uFillTx/>
                <a:latin typeface="Arial" panose="020B0604020202020204"/>
                <a:ea typeface="+mn-ea"/>
                <a:cs typeface="+mn-cs"/>
              </a:rPr>
              <a:t> </a:t>
            </a:r>
            <a:r>
              <a:rPr kumimoji="0" lang="en-US" sz="1600" b="1" i="0" u="none" strike="noStrike" kern="1200" cap="none" spc="0" normalizeH="0" baseline="0" noProof="0" dirty="0">
                <a:ln>
                  <a:noFill/>
                </a:ln>
                <a:solidFill>
                  <a:srgbClr val="C00000"/>
                </a:solidFill>
                <a:effectLst/>
                <a:uLnTx/>
                <a:uFillTx/>
                <a:latin typeface="Arial" panose="020B0604020202020204"/>
                <a:ea typeface="+mn-ea"/>
                <a:cs typeface="+mn-cs"/>
              </a:rPr>
              <a:t>%20 </a:t>
            </a:r>
            <a:r>
              <a:rPr kumimoji="0" lang="en-US" sz="1600" b="1" i="0" u="none" strike="noStrike" kern="1200" cap="none" spc="0" normalizeH="0" baseline="0" noProof="0" dirty="0" err="1">
                <a:ln>
                  <a:noFill/>
                </a:ln>
                <a:solidFill>
                  <a:srgbClr val="C00000"/>
                </a:solidFill>
                <a:effectLst/>
                <a:uLnTx/>
                <a:uFillTx/>
                <a:latin typeface="Arial" panose="020B0604020202020204"/>
                <a:ea typeface="+mn-ea"/>
                <a:cs typeface="+mn-cs"/>
              </a:rPr>
              <a:t>azalmıştır</a:t>
            </a:r>
            <a:r>
              <a:rPr kumimoji="0" lang="en-US" sz="1600" b="1" i="0" u="none" strike="noStrike" kern="1200" cap="none" spc="0" normalizeH="0" baseline="0" noProof="0" dirty="0">
                <a:ln>
                  <a:noFill/>
                </a:ln>
                <a:solidFill>
                  <a:srgbClr val="C00000"/>
                </a:solidFill>
                <a:effectLst/>
                <a:uLnTx/>
                <a:uFillTx/>
                <a:latin typeface="Arial" panose="020B0604020202020204"/>
                <a:ea typeface="+mn-ea"/>
                <a:cs typeface="+mn-cs"/>
              </a:rPr>
              <a:t> </a:t>
            </a:r>
            <a:br>
              <a:rPr kumimoji="0" lang="en-US" sz="1600" b="1" i="0" u="none" strike="noStrike" kern="1200" cap="none" spc="0" normalizeH="0" baseline="0" noProof="0" dirty="0">
                <a:ln>
                  <a:noFill/>
                </a:ln>
                <a:effectLst/>
                <a:uLnTx/>
                <a:uFillTx/>
                <a:latin typeface="Arial" panose="020B0604020202020204"/>
                <a:ea typeface="+mn-ea"/>
                <a:cs typeface="+mn-cs"/>
              </a:rPr>
            </a:br>
            <a:r>
              <a:rPr kumimoji="0" lang="en-US" sz="1200" i="1" u="none" strike="noStrike" kern="1200" cap="none" spc="0" normalizeH="0" baseline="0" noProof="0" dirty="0">
                <a:ln>
                  <a:noFill/>
                </a:ln>
                <a:effectLst/>
                <a:uLnTx/>
                <a:uFillTx/>
                <a:latin typeface="Arial" panose="020B0604020202020204"/>
                <a:ea typeface="+mn-ea"/>
                <a:cs typeface="+mn-cs"/>
              </a:rPr>
              <a:t>(%40 vs. %32)</a:t>
            </a:r>
            <a:endParaRPr kumimoji="0" lang="en-US" i="1" u="none" strike="noStrike" kern="1200" cap="none" spc="0" normalizeH="0" baseline="30000" noProof="0" dirty="0">
              <a:ln>
                <a:noFill/>
              </a:ln>
              <a:effectLst/>
              <a:uLnTx/>
              <a:uFillTx/>
              <a:latin typeface="Arial" panose="020B0604020202020204"/>
              <a:ea typeface="+mn-ea"/>
              <a:cs typeface="+mn-cs"/>
              <a:sym typeface="Arial"/>
            </a:endParaRPr>
          </a:p>
        </p:txBody>
      </p:sp>
      <p:pic>
        <p:nvPicPr>
          <p:cNvPr id="11" name="Picture 10" descr="A black and blue logo&#10;&#10;AI-generated content may be incorrect.">
            <a:extLst>
              <a:ext uri="{FF2B5EF4-FFF2-40B4-BE49-F238E27FC236}">
                <a16:creationId xmlns:a16="http://schemas.microsoft.com/office/drawing/2014/main" id="{7554328C-F90E-698B-07CC-65F17EF46738}"/>
              </a:ext>
            </a:extLst>
          </p:cNvPr>
          <p:cNvPicPr>
            <a:picLocks noChangeAspect="1"/>
          </p:cNvPicPr>
          <p:nvPr/>
        </p:nvPicPr>
        <p:blipFill>
          <a:blip r:embed="rId4"/>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14216852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DFE57C-03BE-D39C-61AE-7065CF6FE0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15F760-A567-CBFF-A023-079DD4C5C944}"/>
              </a:ext>
            </a:extLst>
          </p:cNvPr>
          <p:cNvSpPr>
            <a:spLocks noGrp="1"/>
          </p:cNvSpPr>
          <p:nvPr>
            <p:ph type="title"/>
          </p:nvPr>
        </p:nvSpPr>
        <p:spPr>
          <a:xfrm>
            <a:off x="4366001" y="2417999"/>
            <a:ext cx="6597273" cy="2022002"/>
          </a:xfrm>
        </p:spPr>
        <p:txBody>
          <a:bodyPr>
            <a:normAutofit/>
          </a:bodyPr>
          <a:lstStyle/>
          <a:p>
            <a:r>
              <a:rPr lang="en-US" dirty="0" err="1">
                <a:solidFill>
                  <a:schemeClr val="accent1"/>
                </a:solidFill>
              </a:rPr>
              <a:t>Yaşlı</a:t>
            </a:r>
            <a:r>
              <a:rPr lang="en-US" dirty="0">
                <a:solidFill>
                  <a:schemeClr val="accent1"/>
                </a:solidFill>
              </a:rPr>
              <a:t> </a:t>
            </a:r>
            <a:r>
              <a:rPr lang="en-US" dirty="0" err="1">
                <a:solidFill>
                  <a:schemeClr val="accent1"/>
                </a:solidFill>
              </a:rPr>
              <a:t>Erişkinlerde</a:t>
            </a:r>
            <a:r>
              <a:rPr lang="en-US" dirty="0">
                <a:solidFill>
                  <a:schemeClr val="accent1"/>
                </a:solidFill>
              </a:rPr>
              <a:t> RSV</a:t>
            </a:r>
            <a:br>
              <a:rPr lang="en-US" dirty="0">
                <a:solidFill>
                  <a:schemeClr val="accent1"/>
                </a:solidFill>
              </a:rPr>
            </a:br>
            <a:r>
              <a:rPr lang="en-US" dirty="0" err="1">
                <a:solidFill>
                  <a:schemeClr val="accent1"/>
                </a:solidFill>
              </a:rPr>
              <a:t>Hastalık</a:t>
            </a:r>
            <a:r>
              <a:rPr lang="en-US" dirty="0">
                <a:solidFill>
                  <a:schemeClr val="accent1"/>
                </a:solidFill>
              </a:rPr>
              <a:t> </a:t>
            </a:r>
            <a:r>
              <a:rPr lang="en-US" dirty="0" err="1">
                <a:solidFill>
                  <a:schemeClr val="accent1"/>
                </a:solidFill>
              </a:rPr>
              <a:t>Yükü</a:t>
            </a:r>
            <a:endParaRPr lang="en-US" dirty="0">
              <a:solidFill>
                <a:schemeClr val="accent1"/>
              </a:solidFill>
            </a:endParaRPr>
          </a:p>
        </p:txBody>
      </p:sp>
      <p:pic>
        <p:nvPicPr>
          <p:cNvPr id="4" name="Picture 3" descr="A black and blue logo&#10;&#10;AI-generated content may be incorrect.">
            <a:extLst>
              <a:ext uri="{FF2B5EF4-FFF2-40B4-BE49-F238E27FC236}">
                <a16:creationId xmlns:a16="http://schemas.microsoft.com/office/drawing/2014/main" id="{81D80D71-423C-C0B7-5C1A-EDCCC92A8B9E}"/>
              </a:ext>
            </a:extLst>
          </p:cNvPr>
          <p:cNvPicPr>
            <a:picLocks noChangeAspect="1"/>
          </p:cNvPicPr>
          <p:nvPr/>
        </p:nvPicPr>
        <p:blipFill>
          <a:blip r:embed="rId2"/>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27910444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C4DDC-6DC1-2714-26C6-7BC812D64037}"/>
              </a:ext>
            </a:extLst>
          </p:cNvPr>
          <p:cNvSpPr>
            <a:spLocks noGrp="1"/>
          </p:cNvSpPr>
          <p:nvPr>
            <p:ph type="title"/>
          </p:nvPr>
        </p:nvSpPr>
        <p:spPr/>
        <p:txBody>
          <a:bodyPr/>
          <a:lstStyle/>
          <a:p>
            <a:r>
              <a:rPr lang="en-US" sz="2400"/>
              <a:t>RSV, </a:t>
            </a:r>
            <a:r>
              <a:rPr lang="en-US" sz="2400" err="1"/>
              <a:t>tüm</a:t>
            </a:r>
            <a:r>
              <a:rPr lang="en-US" sz="2400"/>
              <a:t> </a:t>
            </a:r>
            <a:r>
              <a:rPr lang="en-US" sz="2400" err="1"/>
              <a:t>dünyada</a:t>
            </a:r>
            <a:r>
              <a:rPr lang="en-US" sz="2400"/>
              <a:t> </a:t>
            </a:r>
            <a:r>
              <a:rPr lang="en-US" sz="2400" err="1"/>
              <a:t>yetişkinlerde</a:t>
            </a:r>
            <a:r>
              <a:rPr lang="en-US" sz="2400"/>
              <a:t> </a:t>
            </a:r>
            <a:r>
              <a:rPr lang="en-US" sz="2400" err="1"/>
              <a:t>giderek</a:t>
            </a:r>
            <a:r>
              <a:rPr lang="en-US" sz="2400"/>
              <a:t> </a:t>
            </a:r>
            <a:r>
              <a:rPr lang="en-US" sz="2400" err="1"/>
              <a:t>daha</a:t>
            </a:r>
            <a:r>
              <a:rPr lang="en-US" sz="2400"/>
              <a:t> </a:t>
            </a:r>
            <a:r>
              <a:rPr lang="en-US" sz="2400" err="1"/>
              <a:t>önemli</a:t>
            </a:r>
            <a:r>
              <a:rPr lang="en-US" sz="2400"/>
              <a:t> </a:t>
            </a:r>
            <a:r>
              <a:rPr lang="en-US" sz="2400" err="1"/>
              <a:t>bir</a:t>
            </a:r>
            <a:r>
              <a:rPr lang="en-US" sz="2400"/>
              <a:t> </a:t>
            </a:r>
            <a:r>
              <a:rPr lang="en-US" sz="2400" err="1"/>
              <a:t>patojen</a:t>
            </a:r>
            <a:r>
              <a:rPr lang="en-US" sz="2400"/>
              <a:t> </a:t>
            </a:r>
            <a:r>
              <a:rPr lang="en-US" sz="2400" err="1"/>
              <a:t>olarak</a:t>
            </a:r>
            <a:r>
              <a:rPr lang="en-US" sz="2400"/>
              <a:t> </a:t>
            </a:r>
            <a:r>
              <a:rPr lang="en-US" sz="2400" err="1"/>
              <a:t>kabul</a:t>
            </a:r>
            <a:r>
              <a:rPr lang="en-US" sz="2400"/>
              <a:t> </a:t>
            </a:r>
            <a:r>
              <a:rPr lang="en-US" sz="2400" err="1"/>
              <a:t>edilmektedir</a:t>
            </a:r>
            <a:endParaRPr lang="en-US" sz="2400"/>
          </a:p>
        </p:txBody>
      </p:sp>
      <p:sp>
        <p:nvSpPr>
          <p:cNvPr id="5" name="Text Placeholder 4">
            <a:extLst>
              <a:ext uri="{FF2B5EF4-FFF2-40B4-BE49-F238E27FC236}">
                <a16:creationId xmlns:a16="http://schemas.microsoft.com/office/drawing/2014/main" id="{95C7BCE7-CE72-A779-EBDE-6E716440DF81}"/>
              </a:ext>
            </a:extLst>
          </p:cNvPr>
          <p:cNvSpPr>
            <a:spLocks noGrp="1"/>
          </p:cNvSpPr>
          <p:nvPr>
            <p:ph type="body" sz="quarter" idx="4294967295"/>
          </p:nvPr>
        </p:nvSpPr>
        <p:spPr>
          <a:xfrm>
            <a:off x="613152" y="5959144"/>
            <a:ext cx="9804400" cy="347662"/>
          </a:xfrm>
        </p:spPr>
        <p:txBody>
          <a:bodyPr>
            <a:normAutofit fontScale="32500" lnSpcReduction="20000"/>
          </a:bodyPr>
          <a:lstStyle/>
          <a:p>
            <a:pPr marL="0" indent="0">
              <a:lnSpc>
                <a:spcPct val="120000"/>
              </a:lnSpc>
              <a:spcBef>
                <a:spcPts val="0"/>
              </a:spcBef>
              <a:buNone/>
            </a:pPr>
            <a:r>
              <a:rPr lang="en-US" dirty="0">
                <a:solidFill>
                  <a:srgbClr val="212121"/>
                </a:solidFill>
              </a:rPr>
              <a:t>YBÜ = </a:t>
            </a:r>
            <a:r>
              <a:rPr lang="en-US" dirty="0" err="1">
                <a:solidFill>
                  <a:srgbClr val="212121"/>
                </a:solidFill>
              </a:rPr>
              <a:t>yoğun</a:t>
            </a:r>
            <a:r>
              <a:rPr lang="en-US" dirty="0">
                <a:solidFill>
                  <a:srgbClr val="212121"/>
                </a:solidFill>
              </a:rPr>
              <a:t> </a:t>
            </a:r>
            <a:r>
              <a:rPr lang="en-US" dirty="0" err="1">
                <a:solidFill>
                  <a:srgbClr val="212121"/>
                </a:solidFill>
              </a:rPr>
              <a:t>bakım</a:t>
            </a:r>
            <a:r>
              <a:rPr lang="en-US" dirty="0">
                <a:solidFill>
                  <a:srgbClr val="212121"/>
                </a:solidFill>
              </a:rPr>
              <a:t> </a:t>
            </a:r>
            <a:r>
              <a:rPr lang="en-US" dirty="0" err="1">
                <a:solidFill>
                  <a:srgbClr val="212121"/>
                </a:solidFill>
              </a:rPr>
              <a:t>ünitesi</a:t>
            </a:r>
            <a:r>
              <a:rPr lang="en-US" dirty="0">
                <a:solidFill>
                  <a:srgbClr val="212121"/>
                </a:solidFill>
              </a:rPr>
              <a:t>;</a:t>
            </a:r>
            <a:r>
              <a:rPr lang="tr-TR" dirty="0">
                <a:solidFill>
                  <a:srgbClr val="212121"/>
                </a:solidFill>
              </a:rPr>
              <a:t> SYE</a:t>
            </a:r>
            <a:r>
              <a:rPr lang="en-US" dirty="0">
                <a:solidFill>
                  <a:srgbClr val="212121"/>
                </a:solidFill>
              </a:rPr>
              <a:t>=</a:t>
            </a:r>
            <a:r>
              <a:rPr lang="en-US" dirty="0" err="1">
                <a:solidFill>
                  <a:srgbClr val="212121"/>
                </a:solidFill>
              </a:rPr>
              <a:t>solunum</a:t>
            </a:r>
            <a:r>
              <a:rPr lang="en-US" dirty="0">
                <a:solidFill>
                  <a:srgbClr val="212121"/>
                </a:solidFill>
              </a:rPr>
              <a:t> </a:t>
            </a:r>
            <a:r>
              <a:rPr lang="en-US" dirty="0" err="1">
                <a:solidFill>
                  <a:srgbClr val="212121"/>
                </a:solidFill>
              </a:rPr>
              <a:t>yolu</a:t>
            </a:r>
            <a:r>
              <a:rPr lang="en-US" dirty="0">
                <a:solidFill>
                  <a:srgbClr val="212121"/>
                </a:solidFill>
              </a:rPr>
              <a:t> </a:t>
            </a:r>
            <a:r>
              <a:rPr lang="en-US" dirty="0" err="1">
                <a:solidFill>
                  <a:srgbClr val="212121"/>
                </a:solidFill>
              </a:rPr>
              <a:t>enfeksiyonu</a:t>
            </a:r>
            <a:r>
              <a:rPr lang="en-US" dirty="0">
                <a:solidFill>
                  <a:srgbClr val="212121"/>
                </a:solidFill>
              </a:rPr>
              <a:t>.</a:t>
            </a:r>
            <a:endParaRPr lang="tr-TR" dirty="0">
              <a:solidFill>
                <a:srgbClr val="212121"/>
              </a:solidFill>
            </a:endParaRPr>
          </a:p>
          <a:p>
            <a:pPr marL="0" indent="0">
              <a:lnSpc>
                <a:spcPct val="120000"/>
              </a:lnSpc>
              <a:spcBef>
                <a:spcPts val="0"/>
              </a:spcBef>
              <a:buNone/>
            </a:pPr>
            <a:r>
              <a:rPr lang="en-US" dirty="0">
                <a:solidFill>
                  <a:srgbClr val="212121"/>
                </a:solidFill>
              </a:rPr>
              <a:t>*</a:t>
            </a:r>
            <a:r>
              <a:rPr lang="en-US" dirty="0" err="1">
                <a:solidFill>
                  <a:srgbClr val="212121"/>
                </a:solidFill>
              </a:rPr>
              <a:t>Yaşlı</a:t>
            </a:r>
            <a:r>
              <a:rPr lang="en-US" dirty="0">
                <a:solidFill>
                  <a:srgbClr val="212121"/>
                </a:solidFill>
              </a:rPr>
              <a:t> </a:t>
            </a:r>
            <a:r>
              <a:rPr lang="en-US" dirty="0" err="1">
                <a:solidFill>
                  <a:srgbClr val="212121"/>
                </a:solidFill>
              </a:rPr>
              <a:t>yetişkinler</a:t>
            </a:r>
            <a:r>
              <a:rPr lang="en-US" dirty="0">
                <a:solidFill>
                  <a:srgbClr val="212121"/>
                </a:solidFill>
              </a:rPr>
              <a:t> (60 </a:t>
            </a:r>
            <a:r>
              <a:rPr lang="en-US" dirty="0" err="1">
                <a:solidFill>
                  <a:srgbClr val="212121"/>
                </a:solidFill>
              </a:rPr>
              <a:t>veya</a:t>
            </a:r>
            <a:r>
              <a:rPr lang="en-US" dirty="0">
                <a:solidFill>
                  <a:srgbClr val="212121"/>
                </a:solidFill>
              </a:rPr>
              <a:t> 65 </a:t>
            </a:r>
            <a:r>
              <a:rPr lang="tr-TR" dirty="0">
                <a:solidFill>
                  <a:srgbClr val="212121"/>
                </a:solidFill>
              </a:rPr>
              <a:t>yaş ve üzeri)</a:t>
            </a:r>
            <a:endParaRPr lang="en-US" b="0" i="0" dirty="0">
              <a:solidFill>
                <a:srgbClr val="212121"/>
              </a:solidFill>
              <a:effectLst/>
            </a:endParaRPr>
          </a:p>
          <a:p>
            <a:pPr marL="0" indent="0" algn="l">
              <a:lnSpc>
                <a:spcPct val="120000"/>
              </a:lnSpc>
              <a:spcBef>
                <a:spcPts val="0"/>
              </a:spcBef>
              <a:buNone/>
            </a:pPr>
            <a:r>
              <a:rPr lang="en-US" b="0" i="0" dirty="0" err="1">
                <a:solidFill>
                  <a:srgbClr val="212121"/>
                </a:solidFill>
                <a:effectLst/>
              </a:rPr>
              <a:t>Wildenbeest</a:t>
            </a:r>
            <a:r>
              <a:rPr lang="en-US" b="0" i="0" dirty="0">
                <a:solidFill>
                  <a:srgbClr val="212121"/>
                </a:solidFill>
                <a:effectLst/>
              </a:rPr>
              <a:t> JG, et al. </a:t>
            </a:r>
            <a:r>
              <a:rPr lang="en-US" b="0" i="1" dirty="0">
                <a:solidFill>
                  <a:srgbClr val="212121"/>
                </a:solidFill>
                <a:effectLst/>
              </a:rPr>
              <a:t>Lancet</a:t>
            </a:r>
            <a:r>
              <a:rPr lang="en-US" dirty="0">
                <a:solidFill>
                  <a:srgbClr val="212121"/>
                </a:solidFill>
              </a:rPr>
              <a:t> </a:t>
            </a:r>
            <a:r>
              <a:rPr lang="en-US" i="1" dirty="0">
                <a:solidFill>
                  <a:srgbClr val="212121"/>
                </a:solidFill>
              </a:rPr>
              <a:t>Respir Med</a:t>
            </a:r>
            <a:r>
              <a:rPr lang="en-US" dirty="0">
                <a:solidFill>
                  <a:srgbClr val="212121"/>
                </a:solidFill>
              </a:rPr>
              <a:t>. </a:t>
            </a:r>
            <a:r>
              <a:rPr lang="en-US" b="0" i="0" dirty="0">
                <a:solidFill>
                  <a:srgbClr val="212121"/>
                </a:solidFill>
                <a:effectLst/>
              </a:rPr>
              <a:t>2024;12(10):822-836.</a:t>
            </a:r>
          </a:p>
        </p:txBody>
      </p:sp>
      <p:grpSp>
        <p:nvGrpSpPr>
          <p:cNvPr id="3" name="Group 2">
            <a:extLst>
              <a:ext uri="{FF2B5EF4-FFF2-40B4-BE49-F238E27FC236}">
                <a16:creationId xmlns:a16="http://schemas.microsoft.com/office/drawing/2014/main" id="{026CF4A7-34CE-3727-E5BF-29BB9C484684}"/>
              </a:ext>
            </a:extLst>
          </p:cNvPr>
          <p:cNvGrpSpPr/>
          <p:nvPr/>
        </p:nvGrpSpPr>
        <p:grpSpPr>
          <a:xfrm>
            <a:off x="816379" y="1280770"/>
            <a:ext cx="10340439" cy="4870630"/>
            <a:chOff x="299357" y="999139"/>
            <a:chExt cx="11374483" cy="5357693"/>
          </a:xfrm>
        </p:grpSpPr>
        <p:grpSp>
          <p:nvGrpSpPr>
            <p:cNvPr id="27" name="Group 26">
              <a:extLst>
                <a:ext uri="{FF2B5EF4-FFF2-40B4-BE49-F238E27FC236}">
                  <a16:creationId xmlns:a16="http://schemas.microsoft.com/office/drawing/2014/main" id="{D6CE0DEF-AD59-8B85-CFAB-3A270F9FDD52}"/>
                </a:ext>
              </a:extLst>
            </p:cNvPr>
            <p:cNvGrpSpPr/>
            <p:nvPr/>
          </p:nvGrpSpPr>
          <p:grpSpPr>
            <a:xfrm>
              <a:off x="498561" y="1035440"/>
              <a:ext cx="10998220" cy="5321392"/>
              <a:chOff x="1760803" y="1512870"/>
              <a:chExt cx="8987987" cy="4295480"/>
            </a:xfrm>
            <a:solidFill>
              <a:schemeClr val="bg1">
                <a:lumMod val="85000"/>
                <a:alpha val="57647"/>
              </a:schemeClr>
            </a:solidFill>
          </p:grpSpPr>
          <p:sp>
            <p:nvSpPr>
              <p:cNvPr id="28" name="Freeform 65">
                <a:extLst>
                  <a:ext uri="{FF2B5EF4-FFF2-40B4-BE49-F238E27FC236}">
                    <a16:creationId xmlns:a16="http://schemas.microsoft.com/office/drawing/2014/main" id="{8C71D383-91B4-0017-3BDA-40B48A29C492}"/>
                  </a:ext>
                </a:extLst>
              </p:cNvPr>
              <p:cNvSpPr>
                <a:spLocks noEditPoints="1"/>
              </p:cNvSpPr>
              <p:nvPr/>
            </p:nvSpPr>
            <p:spPr bwMode="auto">
              <a:xfrm>
                <a:off x="3254689" y="4045297"/>
                <a:ext cx="29160" cy="13458"/>
              </a:xfrm>
              <a:custGeom>
                <a:avLst/>
                <a:gdLst>
                  <a:gd name="T0" fmla="*/ 2 w 13"/>
                  <a:gd name="T1" fmla="*/ 0 h 6"/>
                  <a:gd name="T2" fmla="*/ 2 w 13"/>
                  <a:gd name="T3" fmla="*/ 0 h 6"/>
                  <a:gd name="T4" fmla="*/ 0 w 13"/>
                  <a:gd name="T5" fmla="*/ 2 h 6"/>
                  <a:gd name="T6" fmla="*/ 0 w 13"/>
                  <a:gd name="T7" fmla="*/ 3 h 6"/>
                  <a:gd name="T8" fmla="*/ 2 w 13"/>
                  <a:gd name="T9" fmla="*/ 3 h 6"/>
                  <a:gd name="T10" fmla="*/ 2 w 13"/>
                  <a:gd name="T11" fmla="*/ 3 h 6"/>
                  <a:gd name="T12" fmla="*/ 4 w 13"/>
                  <a:gd name="T13" fmla="*/ 3 h 6"/>
                  <a:gd name="T14" fmla="*/ 4 w 13"/>
                  <a:gd name="T15" fmla="*/ 0 h 6"/>
                  <a:gd name="T16" fmla="*/ 2 w 13"/>
                  <a:gd name="T17" fmla="*/ 0 h 6"/>
                  <a:gd name="T18" fmla="*/ 2 w 13"/>
                  <a:gd name="T19" fmla="*/ 0 h 6"/>
                  <a:gd name="T20" fmla="*/ 2 w 13"/>
                  <a:gd name="T21" fmla="*/ 0 h 6"/>
                  <a:gd name="T22" fmla="*/ 2 w 13"/>
                  <a:gd name="T23" fmla="*/ 0 h 6"/>
                  <a:gd name="T24" fmla="*/ 2 w 13"/>
                  <a:gd name="T25" fmla="*/ 0 h 6"/>
                  <a:gd name="T26" fmla="*/ 2 w 13"/>
                  <a:gd name="T27" fmla="*/ 0 h 6"/>
                  <a:gd name="T28" fmla="*/ 2 w 13"/>
                  <a:gd name="T29" fmla="*/ 0 h 6"/>
                  <a:gd name="T30" fmla="*/ 2 w 13"/>
                  <a:gd name="T31" fmla="*/ 0 h 6"/>
                  <a:gd name="T32" fmla="*/ 2 w 13"/>
                  <a:gd name="T33" fmla="*/ 0 h 6"/>
                  <a:gd name="T34" fmla="*/ 2 w 13"/>
                  <a:gd name="T35" fmla="*/ 0 h 6"/>
                  <a:gd name="T36" fmla="*/ 2 w 13"/>
                  <a:gd name="T37" fmla="*/ 0 h 6"/>
                  <a:gd name="T38" fmla="*/ 12 w 13"/>
                  <a:gd name="T39" fmla="*/ 3 h 6"/>
                  <a:gd name="T40" fmla="*/ 12 w 13"/>
                  <a:gd name="T41" fmla="*/ 3 h 6"/>
                  <a:gd name="T42" fmla="*/ 10 w 13"/>
                  <a:gd name="T43" fmla="*/ 5 h 6"/>
                  <a:gd name="T44" fmla="*/ 10 w 13"/>
                  <a:gd name="T45" fmla="*/ 6 h 6"/>
                  <a:gd name="T46" fmla="*/ 10 w 13"/>
                  <a:gd name="T47" fmla="*/ 6 h 6"/>
                  <a:gd name="T48" fmla="*/ 12 w 13"/>
                  <a:gd name="T49" fmla="*/ 6 h 6"/>
                  <a:gd name="T50" fmla="*/ 12 w 13"/>
                  <a:gd name="T51" fmla="*/ 5 h 6"/>
                  <a:gd name="T52" fmla="*/ 13 w 13"/>
                  <a:gd name="T53" fmla="*/ 3 h 6"/>
                  <a:gd name="T54" fmla="*/ 13 w 13"/>
                  <a:gd name="T55" fmla="*/ 3 h 6"/>
                  <a:gd name="T56" fmla="*/ 12 w 13"/>
                  <a:gd name="T57" fmla="*/ 3 h 6"/>
                  <a:gd name="T58" fmla="*/ 12 w 13"/>
                  <a:gd name="T59" fmla="*/ 3 h 6"/>
                  <a:gd name="T60" fmla="*/ 12 w 13"/>
                  <a:gd name="T61" fmla="*/ 3 h 6"/>
                  <a:gd name="T62" fmla="*/ 12 w 13"/>
                  <a:gd name="T63" fmla="*/ 3 h 6"/>
                  <a:gd name="T64" fmla="*/ 12 w 13"/>
                  <a:gd name="T65" fmla="*/ 3 h 6"/>
                  <a:gd name="T66" fmla="*/ 12 w 13"/>
                  <a:gd name="T67" fmla="*/ 3 h 6"/>
                  <a:gd name="T68" fmla="*/ 12 w 13"/>
                  <a:gd name="T69" fmla="*/ 3 h 6"/>
                  <a:gd name="T70" fmla="*/ 12 w 13"/>
                  <a:gd name="T71" fmla="*/ 3 h 6"/>
                  <a:gd name="T72" fmla="*/ 12 w 13"/>
                  <a:gd name="T73" fmla="*/ 3 h 6"/>
                  <a:gd name="T74" fmla="*/ 12 w 13"/>
                  <a:gd name="T7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 h="6">
                    <a:moveTo>
                      <a:pt x="2" y="0"/>
                    </a:moveTo>
                    <a:lnTo>
                      <a:pt x="2" y="0"/>
                    </a:lnTo>
                    <a:lnTo>
                      <a:pt x="0" y="2"/>
                    </a:lnTo>
                    <a:lnTo>
                      <a:pt x="0" y="3"/>
                    </a:lnTo>
                    <a:lnTo>
                      <a:pt x="2" y="3"/>
                    </a:lnTo>
                    <a:lnTo>
                      <a:pt x="2" y="3"/>
                    </a:lnTo>
                    <a:lnTo>
                      <a:pt x="4" y="3"/>
                    </a:lnTo>
                    <a:lnTo>
                      <a:pt x="4" y="0"/>
                    </a:lnTo>
                    <a:lnTo>
                      <a:pt x="2" y="0"/>
                    </a:lnTo>
                    <a:lnTo>
                      <a:pt x="2" y="0"/>
                    </a:lnTo>
                    <a:lnTo>
                      <a:pt x="2" y="0"/>
                    </a:lnTo>
                    <a:lnTo>
                      <a:pt x="2" y="0"/>
                    </a:lnTo>
                    <a:lnTo>
                      <a:pt x="2" y="0"/>
                    </a:lnTo>
                    <a:lnTo>
                      <a:pt x="2" y="0"/>
                    </a:lnTo>
                    <a:lnTo>
                      <a:pt x="2" y="0"/>
                    </a:lnTo>
                    <a:lnTo>
                      <a:pt x="2" y="0"/>
                    </a:lnTo>
                    <a:lnTo>
                      <a:pt x="2" y="0"/>
                    </a:lnTo>
                    <a:lnTo>
                      <a:pt x="2" y="0"/>
                    </a:lnTo>
                    <a:lnTo>
                      <a:pt x="2" y="0"/>
                    </a:lnTo>
                    <a:close/>
                    <a:moveTo>
                      <a:pt x="12" y="3"/>
                    </a:moveTo>
                    <a:lnTo>
                      <a:pt x="12" y="3"/>
                    </a:lnTo>
                    <a:lnTo>
                      <a:pt x="10" y="5"/>
                    </a:lnTo>
                    <a:lnTo>
                      <a:pt x="10" y="6"/>
                    </a:lnTo>
                    <a:lnTo>
                      <a:pt x="10" y="6"/>
                    </a:lnTo>
                    <a:lnTo>
                      <a:pt x="12" y="6"/>
                    </a:lnTo>
                    <a:lnTo>
                      <a:pt x="12" y="5"/>
                    </a:lnTo>
                    <a:lnTo>
                      <a:pt x="13" y="3"/>
                    </a:lnTo>
                    <a:lnTo>
                      <a:pt x="13" y="3"/>
                    </a:lnTo>
                    <a:lnTo>
                      <a:pt x="12" y="3"/>
                    </a:lnTo>
                    <a:lnTo>
                      <a:pt x="12" y="3"/>
                    </a:lnTo>
                    <a:lnTo>
                      <a:pt x="12" y="3"/>
                    </a:lnTo>
                    <a:lnTo>
                      <a:pt x="12" y="3"/>
                    </a:lnTo>
                    <a:lnTo>
                      <a:pt x="12" y="3"/>
                    </a:lnTo>
                    <a:lnTo>
                      <a:pt x="12" y="3"/>
                    </a:lnTo>
                    <a:lnTo>
                      <a:pt x="12" y="3"/>
                    </a:lnTo>
                    <a:lnTo>
                      <a:pt x="12" y="3"/>
                    </a:lnTo>
                    <a:lnTo>
                      <a:pt x="12" y="3"/>
                    </a:lnTo>
                    <a:lnTo>
                      <a:pt x="12" y="3"/>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29" name="Freeform 8">
                <a:extLst>
                  <a:ext uri="{FF2B5EF4-FFF2-40B4-BE49-F238E27FC236}">
                    <a16:creationId xmlns:a16="http://schemas.microsoft.com/office/drawing/2014/main" id="{BF21E388-1398-7AEC-4156-0E1C19D3ACF9}"/>
                  </a:ext>
                </a:extLst>
              </p:cNvPr>
              <p:cNvSpPr>
                <a:spLocks/>
              </p:cNvSpPr>
              <p:nvPr/>
            </p:nvSpPr>
            <p:spPr bwMode="auto">
              <a:xfrm>
                <a:off x="3750408" y="3385833"/>
                <a:ext cx="103181" cy="76264"/>
              </a:xfrm>
              <a:custGeom>
                <a:avLst/>
                <a:gdLst>
                  <a:gd name="T0" fmla="*/ 2 w 46"/>
                  <a:gd name="T1" fmla="*/ 27 h 34"/>
                  <a:gd name="T2" fmla="*/ 3 w 46"/>
                  <a:gd name="T3" fmla="*/ 24 h 34"/>
                  <a:gd name="T4" fmla="*/ 0 w 46"/>
                  <a:gd name="T5" fmla="*/ 18 h 34"/>
                  <a:gd name="T6" fmla="*/ 3 w 46"/>
                  <a:gd name="T7" fmla="*/ 18 h 34"/>
                  <a:gd name="T8" fmla="*/ 3 w 46"/>
                  <a:gd name="T9" fmla="*/ 15 h 34"/>
                  <a:gd name="T10" fmla="*/ 3 w 46"/>
                  <a:gd name="T11" fmla="*/ 15 h 34"/>
                  <a:gd name="T12" fmla="*/ 5 w 46"/>
                  <a:gd name="T13" fmla="*/ 11 h 34"/>
                  <a:gd name="T14" fmla="*/ 5 w 46"/>
                  <a:gd name="T15" fmla="*/ 10 h 34"/>
                  <a:gd name="T16" fmla="*/ 5 w 46"/>
                  <a:gd name="T17" fmla="*/ 7 h 34"/>
                  <a:gd name="T18" fmla="*/ 5 w 46"/>
                  <a:gd name="T19" fmla="*/ 3 h 34"/>
                  <a:gd name="T20" fmla="*/ 5 w 46"/>
                  <a:gd name="T21" fmla="*/ 2 h 34"/>
                  <a:gd name="T22" fmla="*/ 10 w 46"/>
                  <a:gd name="T23" fmla="*/ 0 h 34"/>
                  <a:gd name="T24" fmla="*/ 13 w 46"/>
                  <a:gd name="T25" fmla="*/ 0 h 34"/>
                  <a:gd name="T26" fmla="*/ 16 w 46"/>
                  <a:gd name="T27" fmla="*/ 0 h 34"/>
                  <a:gd name="T28" fmla="*/ 22 w 46"/>
                  <a:gd name="T29" fmla="*/ 2 h 34"/>
                  <a:gd name="T30" fmla="*/ 25 w 46"/>
                  <a:gd name="T31" fmla="*/ 3 h 34"/>
                  <a:gd name="T32" fmla="*/ 27 w 46"/>
                  <a:gd name="T33" fmla="*/ 3 h 34"/>
                  <a:gd name="T34" fmla="*/ 27 w 46"/>
                  <a:gd name="T35" fmla="*/ 5 h 34"/>
                  <a:gd name="T36" fmla="*/ 33 w 46"/>
                  <a:gd name="T37" fmla="*/ 8 h 34"/>
                  <a:gd name="T38" fmla="*/ 35 w 46"/>
                  <a:gd name="T39" fmla="*/ 8 h 34"/>
                  <a:gd name="T40" fmla="*/ 37 w 46"/>
                  <a:gd name="T41" fmla="*/ 10 h 34"/>
                  <a:gd name="T42" fmla="*/ 33 w 46"/>
                  <a:gd name="T43" fmla="*/ 10 h 34"/>
                  <a:gd name="T44" fmla="*/ 32 w 46"/>
                  <a:gd name="T45" fmla="*/ 11 h 34"/>
                  <a:gd name="T46" fmla="*/ 32 w 46"/>
                  <a:gd name="T47" fmla="*/ 11 h 34"/>
                  <a:gd name="T48" fmla="*/ 35 w 46"/>
                  <a:gd name="T49" fmla="*/ 11 h 34"/>
                  <a:gd name="T50" fmla="*/ 38 w 46"/>
                  <a:gd name="T51" fmla="*/ 11 h 34"/>
                  <a:gd name="T52" fmla="*/ 43 w 46"/>
                  <a:gd name="T53" fmla="*/ 15 h 34"/>
                  <a:gd name="T54" fmla="*/ 45 w 46"/>
                  <a:gd name="T55" fmla="*/ 18 h 34"/>
                  <a:gd name="T56" fmla="*/ 46 w 46"/>
                  <a:gd name="T57" fmla="*/ 21 h 34"/>
                  <a:gd name="T58" fmla="*/ 43 w 46"/>
                  <a:gd name="T59" fmla="*/ 24 h 34"/>
                  <a:gd name="T60" fmla="*/ 41 w 46"/>
                  <a:gd name="T61" fmla="*/ 24 h 34"/>
                  <a:gd name="T62" fmla="*/ 40 w 46"/>
                  <a:gd name="T63" fmla="*/ 21 h 34"/>
                  <a:gd name="T64" fmla="*/ 37 w 46"/>
                  <a:gd name="T65" fmla="*/ 21 h 34"/>
                  <a:gd name="T66" fmla="*/ 33 w 46"/>
                  <a:gd name="T67" fmla="*/ 21 h 34"/>
                  <a:gd name="T68" fmla="*/ 32 w 46"/>
                  <a:gd name="T69" fmla="*/ 21 h 34"/>
                  <a:gd name="T70" fmla="*/ 30 w 46"/>
                  <a:gd name="T71" fmla="*/ 21 h 34"/>
                  <a:gd name="T72" fmla="*/ 25 w 46"/>
                  <a:gd name="T73" fmla="*/ 21 h 34"/>
                  <a:gd name="T74" fmla="*/ 22 w 46"/>
                  <a:gd name="T75" fmla="*/ 24 h 34"/>
                  <a:gd name="T76" fmla="*/ 19 w 46"/>
                  <a:gd name="T77" fmla="*/ 24 h 34"/>
                  <a:gd name="T78" fmla="*/ 16 w 46"/>
                  <a:gd name="T79" fmla="*/ 24 h 34"/>
                  <a:gd name="T80" fmla="*/ 16 w 46"/>
                  <a:gd name="T81" fmla="*/ 21 h 34"/>
                  <a:gd name="T82" fmla="*/ 14 w 46"/>
                  <a:gd name="T83" fmla="*/ 24 h 34"/>
                  <a:gd name="T84" fmla="*/ 13 w 46"/>
                  <a:gd name="T85" fmla="*/ 24 h 34"/>
                  <a:gd name="T86" fmla="*/ 11 w 46"/>
                  <a:gd name="T87" fmla="*/ 24 h 34"/>
                  <a:gd name="T88" fmla="*/ 6 w 46"/>
                  <a:gd name="T89" fmla="*/ 34 h 34"/>
                  <a:gd name="T90" fmla="*/ 3 w 46"/>
                  <a:gd name="T91" fmla="*/ 30 h 34"/>
                  <a:gd name="T92" fmla="*/ 3 w 46"/>
                  <a:gd name="T93" fmla="*/ 29 h 34"/>
                  <a:gd name="T94" fmla="*/ 2 w 46"/>
                  <a:gd name="T95" fmla="*/ 27 h 34"/>
                  <a:gd name="T96" fmla="*/ 2 w 46"/>
                  <a:gd name="T97" fmla="*/ 27 h 34"/>
                  <a:gd name="T98" fmla="*/ 2 w 46"/>
                  <a:gd name="T99" fmla="*/ 27 h 34"/>
                  <a:gd name="T100" fmla="*/ 2 w 46"/>
                  <a:gd name="T101" fmla="*/ 27 h 34"/>
                  <a:gd name="T102" fmla="*/ 2 w 46"/>
                  <a:gd name="T103" fmla="*/ 2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 h="34">
                    <a:moveTo>
                      <a:pt x="2" y="27"/>
                    </a:moveTo>
                    <a:lnTo>
                      <a:pt x="2" y="27"/>
                    </a:lnTo>
                    <a:lnTo>
                      <a:pt x="3" y="24"/>
                    </a:lnTo>
                    <a:lnTo>
                      <a:pt x="3" y="24"/>
                    </a:lnTo>
                    <a:lnTo>
                      <a:pt x="3" y="24"/>
                    </a:lnTo>
                    <a:lnTo>
                      <a:pt x="0" y="18"/>
                    </a:lnTo>
                    <a:lnTo>
                      <a:pt x="0" y="18"/>
                    </a:lnTo>
                    <a:lnTo>
                      <a:pt x="3" y="18"/>
                    </a:lnTo>
                    <a:lnTo>
                      <a:pt x="5" y="15"/>
                    </a:lnTo>
                    <a:lnTo>
                      <a:pt x="3" y="15"/>
                    </a:lnTo>
                    <a:lnTo>
                      <a:pt x="3" y="15"/>
                    </a:lnTo>
                    <a:lnTo>
                      <a:pt x="3" y="15"/>
                    </a:lnTo>
                    <a:lnTo>
                      <a:pt x="5" y="11"/>
                    </a:lnTo>
                    <a:lnTo>
                      <a:pt x="5" y="11"/>
                    </a:lnTo>
                    <a:lnTo>
                      <a:pt x="5" y="10"/>
                    </a:lnTo>
                    <a:lnTo>
                      <a:pt x="5" y="10"/>
                    </a:lnTo>
                    <a:lnTo>
                      <a:pt x="5" y="8"/>
                    </a:lnTo>
                    <a:lnTo>
                      <a:pt x="5" y="7"/>
                    </a:lnTo>
                    <a:lnTo>
                      <a:pt x="5" y="7"/>
                    </a:lnTo>
                    <a:lnTo>
                      <a:pt x="5" y="3"/>
                    </a:lnTo>
                    <a:lnTo>
                      <a:pt x="5" y="2"/>
                    </a:lnTo>
                    <a:lnTo>
                      <a:pt x="5" y="2"/>
                    </a:lnTo>
                    <a:lnTo>
                      <a:pt x="6" y="0"/>
                    </a:lnTo>
                    <a:lnTo>
                      <a:pt x="10" y="0"/>
                    </a:lnTo>
                    <a:lnTo>
                      <a:pt x="13" y="0"/>
                    </a:lnTo>
                    <a:lnTo>
                      <a:pt x="13" y="0"/>
                    </a:lnTo>
                    <a:lnTo>
                      <a:pt x="16" y="0"/>
                    </a:lnTo>
                    <a:lnTo>
                      <a:pt x="16" y="0"/>
                    </a:lnTo>
                    <a:lnTo>
                      <a:pt x="16" y="0"/>
                    </a:lnTo>
                    <a:lnTo>
                      <a:pt x="22" y="2"/>
                    </a:lnTo>
                    <a:lnTo>
                      <a:pt x="22" y="2"/>
                    </a:lnTo>
                    <a:lnTo>
                      <a:pt x="25" y="3"/>
                    </a:lnTo>
                    <a:lnTo>
                      <a:pt x="25" y="3"/>
                    </a:lnTo>
                    <a:lnTo>
                      <a:pt x="27" y="3"/>
                    </a:lnTo>
                    <a:lnTo>
                      <a:pt x="27" y="5"/>
                    </a:lnTo>
                    <a:lnTo>
                      <a:pt x="27" y="5"/>
                    </a:lnTo>
                    <a:lnTo>
                      <a:pt x="29" y="8"/>
                    </a:lnTo>
                    <a:lnTo>
                      <a:pt x="33" y="8"/>
                    </a:lnTo>
                    <a:lnTo>
                      <a:pt x="33" y="8"/>
                    </a:lnTo>
                    <a:lnTo>
                      <a:pt x="35" y="8"/>
                    </a:lnTo>
                    <a:lnTo>
                      <a:pt x="37" y="10"/>
                    </a:lnTo>
                    <a:lnTo>
                      <a:pt x="37" y="10"/>
                    </a:lnTo>
                    <a:lnTo>
                      <a:pt x="35" y="10"/>
                    </a:lnTo>
                    <a:lnTo>
                      <a:pt x="33" y="10"/>
                    </a:lnTo>
                    <a:lnTo>
                      <a:pt x="33" y="10"/>
                    </a:lnTo>
                    <a:lnTo>
                      <a:pt x="32" y="11"/>
                    </a:lnTo>
                    <a:lnTo>
                      <a:pt x="30" y="11"/>
                    </a:lnTo>
                    <a:lnTo>
                      <a:pt x="32" y="11"/>
                    </a:lnTo>
                    <a:lnTo>
                      <a:pt x="32" y="11"/>
                    </a:lnTo>
                    <a:lnTo>
                      <a:pt x="35" y="11"/>
                    </a:lnTo>
                    <a:lnTo>
                      <a:pt x="38" y="11"/>
                    </a:lnTo>
                    <a:lnTo>
                      <a:pt x="38" y="11"/>
                    </a:lnTo>
                    <a:lnTo>
                      <a:pt x="40" y="11"/>
                    </a:lnTo>
                    <a:lnTo>
                      <a:pt x="43" y="15"/>
                    </a:lnTo>
                    <a:lnTo>
                      <a:pt x="45" y="18"/>
                    </a:lnTo>
                    <a:lnTo>
                      <a:pt x="45" y="18"/>
                    </a:lnTo>
                    <a:lnTo>
                      <a:pt x="46" y="18"/>
                    </a:lnTo>
                    <a:lnTo>
                      <a:pt x="46" y="21"/>
                    </a:lnTo>
                    <a:lnTo>
                      <a:pt x="43" y="24"/>
                    </a:lnTo>
                    <a:lnTo>
                      <a:pt x="43" y="24"/>
                    </a:lnTo>
                    <a:lnTo>
                      <a:pt x="41" y="24"/>
                    </a:lnTo>
                    <a:lnTo>
                      <a:pt x="41" y="24"/>
                    </a:lnTo>
                    <a:lnTo>
                      <a:pt x="40" y="21"/>
                    </a:lnTo>
                    <a:lnTo>
                      <a:pt x="40" y="21"/>
                    </a:lnTo>
                    <a:lnTo>
                      <a:pt x="38" y="21"/>
                    </a:lnTo>
                    <a:lnTo>
                      <a:pt x="37" y="21"/>
                    </a:lnTo>
                    <a:lnTo>
                      <a:pt x="37" y="21"/>
                    </a:lnTo>
                    <a:lnTo>
                      <a:pt x="33" y="21"/>
                    </a:lnTo>
                    <a:lnTo>
                      <a:pt x="33" y="21"/>
                    </a:lnTo>
                    <a:lnTo>
                      <a:pt x="32" y="21"/>
                    </a:lnTo>
                    <a:lnTo>
                      <a:pt x="30" y="21"/>
                    </a:lnTo>
                    <a:lnTo>
                      <a:pt x="30" y="21"/>
                    </a:lnTo>
                    <a:lnTo>
                      <a:pt x="27" y="21"/>
                    </a:lnTo>
                    <a:lnTo>
                      <a:pt x="25" y="21"/>
                    </a:lnTo>
                    <a:lnTo>
                      <a:pt x="25" y="24"/>
                    </a:lnTo>
                    <a:lnTo>
                      <a:pt x="22" y="24"/>
                    </a:lnTo>
                    <a:lnTo>
                      <a:pt x="22" y="24"/>
                    </a:lnTo>
                    <a:lnTo>
                      <a:pt x="19" y="24"/>
                    </a:lnTo>
                    <a:lnTo>
                      <a:pt x="19" y="24"/>
                    </a:lnTo>
                    <a:lnTo>
                      <a:pt x="16" y="24"/>
                    </a:lnTo>
                    <a:lnTo>
                      <a:pt x="16" y="21"/>
                    </a:lnTo>
                    <a:lnTo>
                      <a:pt x="16" y="21"/>
                    </a:lnTo>
                    <a:lnTo>
                      <a:pt x="16" y="24"/>
                    </a:lnTo>
                    <a:lnTo>
                      <a:pt x="14" y="24"/>
                    </a:lnTo>
                    <a:lnTo>
                      <a:pt x="14" y="24"/>
                    </a:lnTo>
                    <a:lnTo>
                      <a:pt x="13" y="24"/>
                    </a:lnTo>
                    <a:lnTo>
                      <a:pt x="11" y="24"/>
                    </a:lnTo>
                    <a:lnTo>
                      <a:pt x="11" y="24"/>
                    </a:lnTo>
                    <a:lnTo>
                      <a:pt x="10" y="29"/>
                    </a:lnTo>
                    <a:lnTo>
                      <a:pt x="6" y="34"/>
                    </a:lnTo>
                    <a:lnTo>
                      <a:pt x="6" y="34"/>
                    </a:lnTo>
                    <a:lnTo>
                      <a:pt x="3" y="30"/>
                    </a:lnTo>
                    <a:lnTo>
                      <a:pt x="3" y="30"/>
                    </a:lnTo>
                    <a:lnTo>
                      <a:pt x="3" y="29"/>
                    </a:lnTo>
                    <a:lnTo>
                      <a:pt x="2" y="27"/>
                    </a:lnTo>
                    <a:lnTo>
                      <a:pt x="2" y="27"/>
                    </a:lnTo>
                    <a:lnTo>
                      <a:pt x="2" y="27"/>
                    </a:lnTo>
                    <a:lnTo>
                      <a:pt x="2" y="27"/>
                    </a:lnTo>
                    <a:lnTo>
                      <a:pt x="2" y="27"/>
                    </a:lnTo>
                    <a:lnTo>
                      <a:pt x="2" y="27"/>
                    </a:lnTo>
                    <a:lnTo>
                      <a:pt x="2" y="27"/>
                    </a:lnTo>
                    <a:lnTo>
                      <a:pt x="2" y="27"/>
                    </a:lnTo>
                    <a:lnTo>
                      <a:pt x="2" y="27"/>
                    </a:lnTo>
                    <a:lnTo>
                      <a:pt x="2" y="27"/>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30" name="Freeform 10">
                <a:extLst>
                  <a:ext uri="{FF2B5EF4-FFF2-40B4-BE49-F238E27FC236}">
                    <a16:creationId xmlns:a16="http://schemas.microsoft.com/office/drawing/2014/main" id="{81C475E7-7596-B1FF-472F-731A8DF8D903}"/>
                  </a:ext>
                </a:extLst>
              </p:cNvPr>
              <p:cNvSpPr>
                <a:spLocks noEditPoints="1"/>
              </p:cNvSpPr>
              <p:nvPr/>
            </p:nvSpPr>
            <p:spPr bwMode="auto">
              <a:xfrm>
                <a:off x="3404975" y="3280409"/>
                <a:ext cx="291599" cy="105424"/>
              </a:xfrm>
              <a:custGeom>
                <a:avLst/>
                <a:gdLst>
                  <a:gd name="T0" fmla="*/ 122 w 130"/>
                  <a:gd name="T1" fmla="*/ 36 h 47"/>
                  <a:gd name="T2" fmla="*/ 110 w 130"/>
                  <a:gd name="T3" fmla="*/ 36 h 47"/>
                  <a:gd name="T4" fmla="*/ 113 w 130"/>
                  <a:gd name="T5" fmla="*/ 33 h 47"/>
                  <a:gd name="T6" fmla="*/ 111 w 130"/>
                  <a:gd name="T7" fmla="*/ 30 h 47"/>
                  <a:gd name="T8" fmla="*/ 103 w 130"/>
                  <a:gd name="T9" fmla="*/ 27 h 47"/>
                  <a:gd name="T10" fmla="*/ 100 w 130"/>
                  <a:gd name="T11" fmla="*/ 27 h 47"/>
                  <a:gd name="T12" fmla="*/ 99 w 130"/>
                  <a:gd name="T13" fmla="*/ 25 h 47"/>
                  <a:gd name="T14" fmla="*/ 94 w 130"/>
                  <a:gd name="T15" fmla="*/ 25 h 47"/>
                  <a:gd name="T16" fmla="*/ 95 w 130"/>
                  <a:gd name="T17" fmla="*/ 22 h 47"/>
                  <a:gd name="T18" fmla="*/ 92 w 130"/>
                  <a:gd name="T19" fmla="*/ 20 h 47"/>
                  <a:gd name="T20" fmla="*/ 89 w 130"/>
                  <a:gd name="T21" fmla="*/ 17 h 47"/>
                  <a:gd name="T22" fmla="*/ 86 w 130"/>
                  <a:gd name="T23" fmla="*/ 16 h 47"/>
                  <a:gd name="T24" fmla="*/ 79 w 130"/>
                  <a:gd name="T25" fmla="*/ 12 h 47"/>
                  <a:gd name="T26" fmla="*/ 68 w 130"/>
                  <a:gd name="T27" fmla="*/ 9 h 47"/>
                  <a:gd name="T28" fmla="*/ 65 w 130"/>
                  <a:gd name="T29" fmla="*/ 3 h 47"/>
                  <a:gd name="T30" fmla="*/ 57 w 130"/>
                  <a:gd name="T31" fmla="*/ 3 h 47"/>
                  <a:gd name="T32" fmla="*/ 51 w 130"/>
                  <a:gd name="T33" fmla="*/ 1 h 47"/>
                  <a:gd name="T34" fmla="*/ 45 w 130"/>
                  <a:gd name="T35" fmla="*/ 3 h 47"/>
                  <a:gd name="T36" fmla="*/ 37 w 130"/>
                  <a:gd name="T37" fmla="*/ 1 h 47"/>
                  <a:gd name="T38" fmla="*/ 21 w 130"/>
                  <a:gd name="T39" fmla="*/ 3 h 47"/>
                  <a:gd name="T40" fmla="*/ 8 w 130"/>
                  <a:gd name="T41" fmla="*/ 11 h 47"/>
                  <a:gd name="T42" fmla="*/ 8 w 130"/>
                  <a:gd name="T43" fmla="*/ 17 h 47"/>
                  <a:gd name="T44" fmla="*/ 0 w 130"/>
                  <a:gd name="T45" fmla="*/ 19 h 47"/>
                  <a:gd name="T46" fmla="*/ 5 w 130"/>
                  <a:gd name="T47" fmla="*/ 20 h 47"/>
                  <a:gd name="T48" fmla="*/ 13 w 130"/>
                  <a:gd name="T49" fmla="*/ 14 h 47"/>
                  <a:gd name="T50" fmla="*/ 19 w 130"/>
                  <a:gd name="T51" fmla="*/ 12 h 47"/>
                  <a:gd name="T52" fmla="*/ 33 w 130"/>
                  <a:gd name="T53" fmla="*/ 6 h 47"/>
                  <a:gd name="T54" fmla="*/ 40 w 130"/>
                  <a:gd name="T55" fmla="*/ 11 h 47"/>
                  <a:gd name="T56" fmla="*/ 38 w 130"/>
                  <a:gd name="T57" fmla="*/ 12 h 47"/>
                  <a:gd name="T58" fmla="*/ 45 w 130"/>
                  <a:gd name="T59" fmla="*/ 14 h 47"/>
                  <a:gd name="T60" fmla="*/ 48 w 130"/>
                  <a:gd name="T61" fmla="*/ 16 h 47"/>
                  <a:gd name="T62" fmla="*/ 56 w 130"/>
                  <a:gd name="T63" fmla="*/ 14 h 47"/>
                  <a:gd name="T64" fmla="*/ 59 w 130"/>
                  <a:gd name="T65" fmla="*/ 20 h 47"/>
                  <a:gd name="T66" fmla="*/ 67 w 130"/>
                  <a:gd name="T67" fmla="*/ 23 h 47"/>
                  <a:gd name="T68" fmla="*/ 76 w 130"/>
                  <a:gd name="T69" fmla="*/ 23 h 47"/>
                  <a:gd name="T70" fmla="*/ 79 w 130"/>
                  <a:gd name="T71" fmla="*/ 30 h 47"/>
                  <a:gd name="T72" fmla="*/ 86 w 130"/>
                  <a:gd name="T73" fmla="*/ 36 h 47"/>
                  <a:gd name="T74" fmla="*/ 92 w 130"/>
                  <a:gd name="T75" fmla="*/ 36 h 47"/>
                  <a:gd name="T76" fmla="*/ 94 w 130"/>
                  <a:gd name="T77" fmla="*/ 39 h 47"/>
                  <a:gd name="T78" fmla="*/ 86 w 130"/>
                  <a:gd name="T79" fmla="*/ 46 h 47"/>
                  <a:gd name="T80" fmla="*/ 106 w 130"/>
                  <a:gd name="T81" fmla="*/ 46 h 47"/>
                  <a:gd name="T82" fmla="*/ 118 w 130"/>
                  <a:gd name="T83" fmla="*/ 46 h 47"/>
                  <a:gd name="T84" fmla="*/ 130 w 130"/>
                  <a:gd name="T85" fmla="*/ 42 h 47"/>
                  <a:gd name="T86" fmla="*/ 129 w 130"/>
                  <a:gd name="T87" fmla="*/ 41 h 47"/>
                  <a:gd name="T88" fmla="*/ 129 w 130"/>
                  <a:gd name="T89" fmla="*/ 41 h 47"/>
                  <a:gd name="T90" fmla="*/ 129 w 130"/>
                  <a:gd name="T91" fmla="*/ 41 h 47"/>
                  <a:gd name="T92" fmla="*/ 21 w 130"/>
                  <a:gd name="T93" fmla="*/ 20 h 47"/>
                  <a:gd name="T94" fmla="*/ 19 w 130"/>
                  <a:gd name="T95" fmla="*/ 23 h 47"/>
                  <a:gd name="T96" fmla="*/ 25 w 130"/>
                  <a:gd name="T97" fmla="*/ 25 h 47"/>
                  <a:gd name="T98" fmla="*/ 27 w 130"/>
                  <a:gd name="T99" fmla="*/ 20 h 47"/>
                  <a:gd name="T100" fmla="*/ 25 w 130"/>
                  <a:gd name="T101" fmla="*/ 19 h 47"/>
                  <a:gd name="T102" fmla="*/ 25 w 130"/>
                  <a:gd name="T103" fmla="*/ 19 h 47"/>
                  <a:gd name="T104" fmla="*/ 25 w 130"/>
                  <a:gd name="T105"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 h="47">
                    <a:moveTo>
                      <a:pt x="129" y="41"/>
                    </a:moveTo>
                    <a:lnTo>
                      <a:pt x="126" y="39"/>
                    </a:lnTo>
                    <a:lnTo>
                      <a:pt x="122" y="36"/>
                    </a:lnTo>
                    <a:lnTo>
                      <a:pt x="121" y="36"/>
                    </a:lnTo>
                    <a:lnTo>
                      <a:pt x="116" y="36"/>
                    </a:lnTo>
                    <a:lnTo>
                      <a:pt x="110" y="36"/>
                    </a:lnTo>
                    <a:lnTo>
                      <a:pt x="113" y="33"/>
                    </a:lnTo>
                    <a:lnTo>
                      <a:pt x="111" y="33"/>
                    </a:lnTo>
                    <a:lnTo>
                      <a:pt x="113" y="33"/>
                    </a:lnTo>
                    <a:lnTo>
                      <a:pt x="113" y="30"/>
                    </a:lnTo>
                    <a:lnTo>
                      <a:pt x="113" y="30"/>
                    </a:lnTo>
                    <a:lnTo>
                      <a:pt x="111" y="30"/>
                    </a:lnTo>
                    <a:lnTo>
                      <a:pt x="110" y="30"/>
                    </a:lnTo>
                    <a:lnTo>
                      <a:pt x="106" y="30"/>
                    </a:lnTo>
                    <a:lnTo>
                      <a:pt x="103" y="27"/>
                    </a:lnTo>
                    <a:lnTo>
                      <a:pt x="103" y="27"/>
                    </a:lnTo>
                    <a:lnTo>
                      <a:pt x="103" y="30"/>
                    </a:lnTo>
                    <a:lnTo>
                      <a:pt x="100" y="27"/>
                    </a:lnTo>
                    <a:lnTo>
                      <a:pt x="100" y="27"/>
                    </a:lnTo>
                    <a:lnTo>
                      <a:pt x="99" y="27"/>
                    </a:lnTo>
                    <a:lnTo>
                      <a:pt x="99" y="25"/>
                    </a:lnTo>
                    <a:lnTo>
                      <a:pt x="97" y="23"/>
                    </a:lnTo>
                    <a:lnTo>
                      <a:pt x="95" y="23"/>
                    </a:lnTo>
                    <a:lnTo>
                      <a:pt x="94" y="25"/>
                    </a:lnTo>
                    <a:lnTo>
                      <a:pt x="94" y="22"/>
                    </a:lnTo>
                    <a:lnTo>
                      <a:pt x="95" y="23"/>
                    </a:lnTo>
                    <a:lnTo>
                      <a:pt x="95" y="22"/>
                    </a:lnTo>
                    <a:lnTo>
                      <a:pt x="94" y="20"/>
                    </a:lnTo>
                    <a:lnTo>
                      <a:pt x="91" y="19"/>
                    </a:lnTo>
                    <a:lnTo>
                      <a:pt x="92" y="20"/>
                    </a:lnTo>
                    <a:lnTo>
                      <a:pt x="89" y="20"/>
                    </a:lnTo>
                    <a:lnTo>
                      <a:pt x="89" y="19"/>
                    </a:lnTo>
                    <a:lnTo>
                      <a:pt x="89" y="17"/>
                    </a:lnTo>
                    <a:lnTo>
                      <a:pt x="86" y="19"/>
                    </a:lnTo>
                    <a:lnTo>
                      <a:pt x="86" y="17"/>
                    </a:lnTo>
                    <a:lnTo>
                      <a:pt x="86" y="16"/>
                    </a:lnTo>
                    <a:lnTo>
                      <a:pt x="83" y="16"/>
                    </a:lnTo>
                    <a:lnTo>
                      <a:pt x="83" y="14"/>
                    </a:lnTo>
                    <a:lnTo>
                      <a:pt x="79" y="12"/>
                    </a:lnTo>
                    <a:lnTo>
                      <a:pt x="76" y="11"/>
                    </a:lnTo>
                    <a:lnTo>
                      <a:pt x="72" y="11"/>
                    </a:lnTo>
                    <a:lnTo>
                      <a:pt x="68" y="9"/>
                    </a:lnTo>
                    <a:lnTo>
                      <a:pt x="67" y="6"/>
                    </a:lnTo>
                    <a:lnTo>
                      <a:pt x="64" y="6"/>
                    </a:lnTo>
                    <a:lnTo>
                      <a:pt x="65" y="3"/>
                    </a:lnTo>
                    <a:lnTo>
                      <a:pt x="62" y="3"/>
                    </a:lnTo>
                    <a:lnTo>
                      <a:pt x="59" y="3"/>
                    </a:lnTo>
                    <a:lnTo>
                      <a:pt x="57" y="3"/>
                    </a:lnTo>
                    <a:lnTo>
                      <a:pt x="56" y="3"/>
                    </a:lnTo>
                    <a:lnTo>
                      <a:pt x="54" y="1"/>
                    </a:lnTo>
                    <a:lnTo>
                      <a:pt x="51" y="1"/>
                    </a:lnTo>
                    <a:lnTo>
                      <a:pt x="48" y="1"/>
                    </a:lnTo>
                    <a:lnTo>
                      <a:pt x="48" y="0"/>
                    </a:lnTo>
                    <a:lnTo>
                      <a:pt x="45" y="3"/>
                    </a:lnTo>
                    <a:lnTo>
                      <a:pt x="43" y="1"/>
                    </a:lnTo>
                    <a:lnTo>
                      <a:pt x="40" y="1"/>
                    </a:lnTo>
                    <a:lnTo>
                      <a:pt x="37" y="1"/>
                    </a:lnTo>
                    <a:lnTo>
                      <a:pt x="30" y="1"/>
                    </a:lnTo>
                    <a:lnTo>
                      <a:pt x="24" y="3"/>
                    </a:lnTo>
                    <a:lnTo>
                      <a:pt x="21" y="3"/>
                    </a:lnTo>
                    <a:lnTo>
                      <a:pt x="19" y="3"/>
                    </a:lnTo>
                    <a:lnTo>
                      <a:pt x="13" y="6"/>
                    </a:lnTo>
                    <a:lnTo>
                      <a:pt x="8" y="11"/>
                    </a:lnTo>
                    <a:lnTo>
                      <a:pt x="6" y="12"/>
                    </a:lnTo>
                    <a:lnTo>
                      <a:pt x="6" y="14"/>
                    </a:lnTo>
                    <a:lnTo>
                      <a:pt x="8" y="17"/>
                    </a:lnTo>
                    <a:lnTo>
                      <a:pt x="5" y="17"/>
                    </a:lnTo>
                    <a:lnTo>
                      <a:pt x="3" y="17"/>
                    </a:lnTo>
                    <a:lnTo>
                      <a:pt x="0" y="19"/>
                    </a:lnTo>
                    <a:lnTo>
                      <a:pt x="3" y="19"/>
                    </a:lnTo>
                    <a:lnTo>
                      <a:pt x="5" y="19"/>
                    </a:lnTo>
                    <a:lnTo>
                      <a:pt x="5" y="20"/>
                    </a:lnTo>
                    <a:lnTo>
                      <a:pt x="8" y="19"/>
                    </a:lnTo>
                    <a:lnTo>
                      <a:pt x="10" y="17"/>
                    </a:lnTo>
                    <a:lnTo>
                      <a:pt x="13" y="14"/>
                    </a:lnTo>
                    <a:lnTo>
                      <a:pt x="16" y="14"/>
                    </a:lnTo>
                    <a:lnTo>
                      <a:pt x="19" y="14"/>
                    </a:lnTo>
                    <a:lnTo>
                      <a:pt x="19" y="12"/>
                    </a:lnTo>
                    <a:lnTo>
                      <a:pt x="25" y="8"/>
                    </a:lnTo>
                    <a:lnTo>
                      <a:pt x="29" y="6"/>
                    </a:lnTo>
                    <a:lnTo>
                      <a:pt x="33" y="6"/>
                    </a:lnTo>
                    <a:lnTo>
                      <a:pt x="40" y="8"/>
                    </a:lnTo>
                    <a:lnTo>
                      <a:pt x="41" y="9"/>
                    </a:lnTo>
                    <a:lnTo>
                      <a:pt x="40" y="11"/>
                    </a:lnTo>
                    <a:lnTo>
                      <a:pt x="38" y="11"/>
                    </a:lnTo>
                    <a:lnTo>
                      <a:pt x="35" y="11"/>
                    </a:lnTo>
                    <a:lnTo>
                      <a:pt x="38" y="12"/>
                    </a:lnTo>
                    <a:lnTo>
                      <a:pt x="41" y="14"/>
                    </a:lnTo>
                    <a:lnTo>
                      <a:pt x="43" y="14"/>
                    </a:lnTo>
                    <a:lnTo>
                      <a:pt x="45" y="14"/>
                    </a:lnTo>
                    <a:lnTo>
                      <a:pt x="45" y="16"/>
                    </a:lnTo>
                    <a:lnTo>
                      <a:pt x="48" y="12"/>
                    </a:lnTo>
                    <a:lnTo>
                      <a:pt x="48" y="16"/>
                    </a:lnTo>
                    <a:lnTo>
                      <a:pt x="51" y="16"/>
                    </a:lnTo>
                    <a:lnTo>
                      <a:pt x="54" y="16"/>
                    </a:lnTo>
                    <a:lnTo>
                      <a:pt x="56" y="14"/>
                    </a:lnTo>
                    <a:lnTo>
                      <a:pt x="56" y="17"/>
                    </a:lnTo>
                    <a:lnTo>
                      <a:pt x="57" y="17"/>
                    </a:lnTo>
                    <a:lnTo>
                      <a:pt x="59" y="20"/>
                    </a:lnTo>
                    <a:lnTo>
                      <a:pt x="62" y="22"/>
                    </a:lnTo>
                    <a:lnTo>
                      <a:pt x="64" y="22"/>
                    </a:lnTo>
                    <a:lnTo>
                      <a:pt x="67" y="23"/>
                    </a:lnTo>
                    <a:lnTo>
                      <a:pt x="70" y="23"/>
                    </a:lnTo>
                    <a:lnTo>
                      <a:pt x="73" y="23"/>
                    </a:lnTo>
                    <a:lnTo>
                      <a:pt x="76" y="23"/>
                    </a:lnTo>
                    <a:lnTo>
                      <a:pt x="78" y="23"/>
                    </a:lnTo>
                    <a:lnTo>
                      <a:pt x="78" y="27"/>
                    </a:lnTo>
                    <a:lnTo>
                      <a:pt x="79" y="30"/>
                    </a:lnTo>
                    <a:lnTo>
                      <a:pt x="79" y="30"/>
                    </a:lnTo>
                    <a:lnTo>
                      <a:pt x="83" y="33"/>
                    </a:lnTo>
                    <a:lnTo>
                      <a:pt x="86" y="36"/>
                    </a:lnTo>
                    <a:lnTo>
                      <a:pt x="89" y="36"/>
                    </a:lnTo>
                    <a:lnTo>
                      <a:pt x="91" y="36"/>
                    </a:lnTo>
                    <a:lnTo>
                      <a:pt x="92" y="36"/>
                    </a:lnTo>
                    <a:lnTo>
                      <a:pt x="92" y="36"/>
                    </a:lnTo>
                    <a:lnTo>
                      <a:pt x="92" y="38"/>
                    </a:lnTo>
                    <a:lnTo>
                      <a:pt x="94" y="39"/>
                    </a:lnTo>
                    <a:lnTo>
                      <a:pt x="92" y="41"/>
                    </a:lnTo>
                    <a:lnTo>
                      <a:pt x="89" y="44"/>
                    </a:lnTo>
                    <a:lnTo>
                      <a:pt x="86" y="46"/>
                    </a:lnTo>
                    <a:lnTo>
                      <a:pt x="86" y="47"/>
                    </a:lnTo>
                    <a:lnTo>
                      <a:pt x="95" y="47"/>
                    </a:lnTo>
                    <a:lnTo>
                      <a:pt x="106" y="46"/>
                    </a:lnTo>
                    <a:lnTo>
                      <a:pt x="113" y="47"/>
                    </a:lnTo>
                    <a:lnTo>
                      <a:pt x="116" y="46"/>
                    </a:lnTo>
                    <a:lnTo>
                      <a:pt x="118" y="46"/>
                    </a:lnTo>
                    <a:lnTo>
                      <a:pt x="118" y="47"/>
                    </a:lnTo>
                    <a:lnTo>
                      <a:pt x="126" y="44"/>
                    </a:lnTo>
                    <a:lnTo>
                      <a:pt x="130" y="42"/>
                    </a:lnTo>
                    <a:lnTo>
                      <a:pt x="129" y="41"/>
                    </a:lnTo>
                    <a:lnTo>
                      <a:pt x="129" y="41"/>
                    </a:lnTo>
                    <a:lnTo>
                      <a:pt x="129" y="41"/>
                    </a:lnTo>
                    <a:lnTo>
                      <a:pt x="129" y="41"/>
                    </a:lnTo>
                    <a:lnTo>
                      <a:pt x="129" y="41"/>
                    </a:lnTo>
                    <a:lnTo>
                      <a:pt x="129" y="41"/>
                    </a:lnTo>
                    <a:lnTo>
                      <a:pt x="129" y="41"/>
                    </a:lnTo>
                    <a:lnTo>
                      <a:pt x="129" y="41"/>
                    </a:lnTo>
                    <a:lnTo>
                      <a:pt x="129" y="41"/>
                    </a:lnTo>
                    <a:close/>
                    <a:moveTo>
                      <a:pt x="25" y="19"/>
                    </a:moveTo>
                    <a:lnTo>
                      <a:pt x="22" y="19"/>
                    </a:lnTo>
                    <a:lnTo>
                      <a:pt x="21" y="20"/>
                    </a:lnTo>
                    <a:lnTo>
                      <a:pt x="22" y="23"/>
                    </a:lnTo>
                    <a:lnTo>
                      <a:pt x="21" y="23"/>
                    </a:lnTo>
                    <a:lnTo>
                      <a:pt x="19" y="23"/>
                    </a:lnTo>
                    <a:lnTo>
                      <a:pt x="21" y="25"/>
                    </a:lnTo>
                    <a:lnTo>
                      <a:pt x="22" y="25"/>
                    </a:lnTo>
                    <a:lnTo>
                      <a:pt x="25" y="25"/>
                    </a:lnTo>
                    <a:lnTo>
                      <a:pt x="27" y="23"/>
                    </a:lnTo>
                    <a:lnTo>
                      <a:pt x="29" y="23"/>
                    </a:lnTo>
                    <a:lnTo>
                      <a:pt x="27" y="20"/>
                    </a:lnTo>
                    <a:lnTo>
                      <a:pt x="25" y="19"/>
                    </a:lnTo>
                    <a:lnTo>
                      <a:pt x="25" y="19"/>
                    </a:lnTo>
                    <a:lnTo>
                      <a:pt x="25" y="19"/>
                    </a:lnTo>
                    <a:lnTo>
                      <a:pt x="25" y="19"/>
                    </a:lnTo>
                    <a:lnTo>
                      <a:pt x="25" y="19"/>
                    </a:lnTo>
                    <a:lnTo>
                      <a:pt x="25" y="19"/>
                    </a:lnTo>
                    <a:lnTo>
                      <a:pt x="25" y="19"/>
                    </a:lnTo>
                    <a:lnTo>
                      <a:pt x="25" y="19"/>
                    </a:lnTo>
                    <a:lnTo>
                      <a:pt x="25" y="19"/>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31" name="Freeform 12">
                <a:extLst>
                  <a:ext uri="{FF2B5EF4-FFF2-40B4-BE49-F238E27FC236}">
                    <a16:creationId xmlns:a16="http://schemas.microsoft.com/office/drawing/2014/main" id="{F07AC141-42E6-0210-3753-52F23A6CD9E9}"/>
                  </a:ext>
                </a:extLst>
              </p:cNvPr>
              <p:cNvSpPr>
                <a:spLocks/>
              </p:cNvSpPr>
              <p:nvPr/>
            </p:nvSpPr>
            <p:spPr bwMode="auto">
              <a:xfrm>
                <a:off x="3683116" y="3385833"/>
                <a:ext cx="80750" cy="60563"/>
              </a:xfrm>
              <a:custGeom>
                <a:avLst/>
                <a:gdLst>
                  <a:gd name="T0" fmla="*/ 5 w 36"/>
                  <a:gd name="T1" fmla="*/ 18 h 27"/>
                  <a:gd name="T2" fmla="*/ 11 w 36"/>
                  <a:gd name="T3" fmla="*/ 18 h 27"/>
                  <a:gd name="T4" fmla="*/ 11 w 36"/>
                  <a:gd name="T5" fmla="*/ 21 h 27"/>
                  <a:gd name="T6" fmla="*/ 13 w 36"/>
                  <a:gd name="T7" fmla="*/ 21 h 27"/>
                  <a:gd name="T8" fmla="*/ 19 w 36"/>
                  <a:gd name="T9" fmla="*/ 21 h 27"/>
                  <a:gd name="T10" fmla="*/ 22 w 36"/>
                  <a:gd name="T11" fmla="*/ 21 h 27"/>
                  <a:gd name="T12" fmla="*/ 24 w 36"/>
                  <a:gd name="T13" fmla="*/ 21 h 27"/>
                  <a:gd name="T14" fmla="*/ 27 w 36"/>
                  <a:gd name="T15" fmla="*/ 18 h 27"/>
                  <a:gd name="T16" fmla="*/ 27 w 36"/>
                  <a:gd name="T17" fmla="*/ 18 h 27"/>
                  <a:gd name="T18" fmla="*/ 24 w 36"/>
                  <a:gd name="T19" fmla="*/ 15 h 27"/>
                  <a:gd name="T20" fmla="*/ 22 w 36"/>
                  <a:gd name="T21" fmla="*/ 11 h 27"/>
                  <a:gd name="T22" fmla="*/ 22 w 36"/>
                  <a:gd name="T23" fmla="*/ 5 h 27"/>
                  <a:gd name="T24" fmla="*/ 19 w 36"/>
                  <a:gd name="T25" fmla="*/ 3 h 27"/>
                  <a:gd name="T26" fmla="*/ 14 w 36"/>
                  <a:gd name="T27" fmla="*/ 3 h 27"/>
                  <a:gd name="T28" fmla="*/ 16 w 36"/>
                  <a:gd name="T29" fmla="*/ 2 h 27"/>
                  <a:gd name="T30" fmla="*/ 22 w 36"/>
                  <a:gd name="T31" fmla="*/ 0 h 27"/>
                  <a:gd name="T32" fmla="*/ 28 w 36"/>
                  <a:gd name="T33" fmla="*/ 2 h 27"/>
                  <a:gd name="T34" fmla="*/ 36 w 36"/>
                  <a:gd name="T35" fmla="*/ 3 h 27"/>
                  <a:gd name="T36" fmla="*/ 36 w 36"/>
                  <a:gd name="T37" fmla="*/ 5 h 27"/>
                  <a:gd name="T38" fmla="*/ 36 w 36"/>
                  <a:gd name="T39" fmla="*/ 10 h 27"/>
                  <a:gd name="T40" fmla="*/ 36 w 36"/>
                  <a:gd name="T41" fmla="*/ 11 h 27"/>
                  <a:gd name="T42" fmla="*/ 33 w 36"/>
                  <a:gd name="T43" fmla="*/ 15 h 27"/>
                  <a:gd name="T44" fmla="*/ 33 w 36"/>
                  <a:gd name="T45" fmla="*/ 15 h 27"/>
                  <a:gd name="T46" fmla="*/ 36 w 36"/>
                  <a:gd name="T47" fmla="*/ 15 h 27"/>
                  <a:gd name="T48" fmla="*/ 32 w 36"/>
                  <a:gd name="T49" fmla="*/ 18 h 27"/>
                  <a:gd name="T50" fmla="*/ 33 w 36"/>
                  <a:gd name="T51" fmla="*/ 24 h 27"/>
                  <a:gd name="T52" fmla="*/ 33 w 36"/>
                  <a:gd name="T53" fmla="*/ 27 h 27"/>
                  <a:gd name="T54" fmla="*/ 32 w 36"/>
                  <a:gd name="T55" fmla="*/ 24 h 27"/>
                  <a:gd name="T56" fmla="*/ 22 w 36"/>
                  <a:gd name="T57" fmla="*/ 24 h 27"/>
                  <a:gd name="T58" fmla="*/ 19 w 36"/>
                  <a:gd name="T59" fmla="*/ 24 h 27"/>
                  <a:gd name="T60" fmla="*/ 11 w 36"/>
                  <a:gd name="T61" fmla="*/ 24 h 27"/>
                  <a:gd name="T62" fmla="*/ 8 w 36"/>
                  <a:gd name="T63" fmla="*/ 26 h 27"/>
                  <a:gd name="T64" fmla="*/ 5 w 36"/>
                  <a:gd name="T65" fmla="*/ 26 h 27"/>
                  <a:gd name="T66" fmla="*/ 2 w 36"/>
                  <a:gd name="T67" fmla="*/ 24 h 27"/>
                  <a:gd name="T68" fmla="*/ 2 w 36"/>
                  <a:gd name="T69" fmla="*/ 21 h 27"/>
                  <a:gd name="T70" fmla="*/ 5 w 36"/>
                  <a:gd name="T71" fmla="*/ 18 h 27"/>
                  <a:gd name="T72" fmla="*/ 5 w 36"/>
                  <a:gd name="T73" fmla="*/ 18 h 27"/>
                  <a:gd name="T74" fmla="*/ 5 w 36"/>
                  <a:gd name="T75" fmla="*/ 18 h 27"/>
                  <a:gd name="T76" fmla="*/ 5 w 36"/>
                  <a:gd name="T77" fmla="*/ 18 h 27"/>
                  <a:gd name="T78" fmla="*/ 5 w 36"/>
                  <a:gd name="T79"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 h="27">
                    <a:moveTo>
                      <a:pt x="5" y="18"/>
                    </a:moveTo>
                    <a:lnTo>
                      <a:pt x="5" y="18"/>
                    </a:lnTo>
                    <a:lnTo>
                      <a:pt x="8" y="18"/>
                    </a:lnTo>
                    <a:lnTo>
                      <a:pt x="11" y="18"/>
                    </a:lnTo>
                    <a:lnTo>
                      <a:pt x="11" y="18"/>
                    </a:lnTo>
                    <a:lnTo>
                      <a:pt x="11" y="21"/>
                    </a:lnTo>
                    <a:lnTo>
                      <a:pt x="11" y="21"/>
                    </a:lnTo>
                    <a:lnTo>
                      <a:pt x="13" y="21"/>
                    </a:lnTo>
                    <a:lnTo>
                      <a:pt x="13" y="21"/>
                    </a:lnTo>
                    <a:lnTo>
                      <a:pt x="19" y="21"/>
                    </a:lnTo>
                    <a:lnTo>
                      <a:pt x="19" y="21"/>
                    </a:lnTo>
                    <a:lnTo>
                      <a:pt x="22" y="21"/>
                    </a:lnTo>
                    <a:lnTo>
                      <a:pt x="24" y="21"/>
                    </a:lnTo>
                    <a:lnTo>
                      <a:pt x="24" y="21"/>
                    </a:lnTo>
                    <a:lnTo>
                      <a:pt x="25" y="21"/>
                    </a:lnTo>
                    <a:lnTo>
                      <a:pt x="27" y="18"/>
                    </a:lnTo>
                    <a:lnTo>
                      <a:pt x="27" y="18"/>
                    </a:lnTo>
                    <a:lnTo>
                      <a:pt x="27" y="18"/>
                    </a:lnTo>
                    <a:lnTo>
                      <a:pt x="25" y="15"/>
                    </a:lnTo>
                    <a:lnTo>
                      <a:pt x="24" y="15"/>
                    </a:lnTo>
                    <a:lnTo>
                      <a:pt x="22" y="11"/>
                    </a:lnTo>
                    <a:lnTo>
                      <a:pt x="22" y="11"/>
                    </a:lnTo>
                    <a:lnTo>
                      <a:pt x="22" y="7"/>
                    </a:lnTo>
                    <a:lnTo>
                      <a:pt x="22" y="5"/>
                    </a:lnTo>
                    <a:lnTo>
                      <a:pt x="19" y="3"/>
                    </a:lnTo>
                    <a:lnTo>
                      <a:pt x="19" y="3"/>
                    </a:lnTo>
                    <a:lnTo>
                      <a:pt x="16" y="3"/>
                    </a:lnTo>
                    <a:lnTo>
                      <a:pt x="14" y="3"/>
                    </a:lnTo>
                    <a:lnTo>
                      <a:pt x="16" y="2"/>
                    </a:lnTo>
                    <a:lnTo>
                      <a:pt x="16" y="2"/>
                    </a:lnTo>
                    <a:lnTo>
                      <a:pt x="19" y="0"/>
                    </a:lnTo>
                    <a:lnTo>
                      <a:pt x="22" y="0"/>
                    </a:lnTo>
                    <a:lnTo>
                      <a:pt x="28" y="2"/>
                    </a:lnTo>
                    <a:lnTo>
                      <a:pt x="28" y="2"/>
                    </a:lnTo>
                    <a:lnTo>
                      <a:pt x="33" y="2"/>
                    </a:lnTo>
                    <a:lnTo>
                      <a:pt x="36" y="3"/>
                    </a:lnTo>
                    <a:lnTo>
                      <a:pt x="36" y="5"/>
                    </a:lnTo>
                    <a:lnTo>
                      <a:pt x="36" y="5"/>
                    </a:lnTo>
                    <a:lnTo>
                      <a:pt x="36" y="8"/>
                    </a:lnTo>
                    <a:lnTo>
                      <a:pt x="36" y="10"/>
                    </a:lnTo>
                    <a:lnTo>
                      <a:pt x="36" y="10"/>
                    </a:lnTo>
                    <a:lnTo>
                      <a:pt x="36" y="11"/>
                    </a:lnTo>
                    <a:lnTo>
                      <a:pt x="36" y="11"/>
                    </a:lnTo>
                    <a:lnTo>
                      <a:pt x="33" y="15"/>
                    </a:lnTo>
                    <a:lnTo>
                      <a:pt x="33" y="15"/>
                    </a:lnTo>
                    <a:lnTo>
                      <a:pt x="33" y="15"/>
                    </a:lnTo>
                    <a:lnTo>
                      <a:pt x="36" y="15"/>
                    </a:lnTo>
                    <a:lnTo>
                      <a:pt x="36" y="15"/>
                    </a:lnTo>
                    <a:lnTo>
                      <a:pt x="33" y="18"/>
                    </a:lnTo>
                    <a:lnTo>
                      <a:pt x="32" y="18"/>
                    </a:lnTo>
                    <a:lnTo>
                      <a:pt x="32" y="18"/>
                    </a:lnTo>
                    <a:lnTo>
                      <a:pt x="33" y="24"/>
                    </a:lnTo>
                    <a:lnTo>
                      <a:pt x="33" y="24"/>
                    </a:lnTo>
                    <a:lnTo>
                      <a:pt x="33" y="27"/>
                    </a:lnTo>
                    <a:lnTo>
                      <a:pt x="33" y="27"/>
                    </a:lnTo>
                    <a:lnTo>
                      <a:pt x="32" y="24"/>
                    </a:lnTo>
                    <a:lnTo>
                      <a:pt x="28" y="24"/>
                    </a:lnTo>
                    <a:lnTo>
                      <a:pt x="22" y="24"/>
                    </a:lnTo>
                    <a:lnTo>
                      <a:pt x="22" y="24"/>
                    </a:lnTo>
                    <a:lnTo>
                      <a:pt x="19" y="24"/>
                    </a:lnTo>
                    <a:lnTo>
                      <a:pt x="14" y="24"/>
                    </a:lnTo>
                    <a:lnTo>
                      <a:pt x="11" y="24"/>
                    </a:lnTo>
                    <a:lnTo>
                      <a:pt x="8" y="26"/>
                    </a:lnTo>
                    <a:lnTo>
                      <a:pt x="8" y="26"/>
                    </a:lnTo>
                    <a:lnTo>
                      <a:pt x="8" y="26"/>
                    </a:lnTo>
                    <a:lnTo>
                      <a:pt x="5" y="26"/>
                    </a:lnTo>
                    <a:lnTo>
                      <a:pt x="2" y="24"/>
                    </a:lnTo>
                    <a:lnTo>
                      <a:pt x="2" y="24"/>
                    </a:lnTo>
                    <a:lnTo>
                      <a:pt x="0" y="21"/>
                    </a:lnTo>
                    <a:lnTo>
                      <a:pt x="2" y="21"/>
                    </a:lnTo>
                    <a:lnTo>
                      <a:pt x="2" y="18"/>
                    </a:lnTo>
                    <a:lnTo>
                      <a:pt x="5" y="18"/>
                    </a:lnTo>
                    <a:lnTo>
                      <a:pt x="5" y="18"/>
                    </a:lnTo>
                    <a:lnTo>
                      <a:pt x="5" y="18"/>
                    </a:lnTo>
                    <a:lnTo>
                      <a:pt x="5" y="18"/>
                    </a:lnTo>
                    <a:lnTo>
                      <a:pt x="5" y="18"/>
                    </a:lnTo>
                    <a:lnTo>
                      <a:pt x="5" y="18"/>
                    </a:lnTo>
                    <a:lnTo>
                      <a:pt x="5" y="18"/>
                    </a:lnTo>
                    <a:lnTo>
                      <a:pt x="5" y="18"/>
                    </a:lnTo>
                    <a:lnTo>
                      <a:pt x="5" y="18"/>
                    </a:lnTo>
                    <a:lnTo>
                      <a:pt x="5" y="1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32" name="Freeform 14">
                <a:extLst>
                  <a:ext uri="{FF2B5EF4-FFF2-40B4-BE49-F238E27FC236}">
                    <a16:creationId xmlns:a16="http://schemas.microsoft.com/office/drawing/2014/main" id="{EA850C77-4443-EA19-6AB6-AF940C29C48A}"/>
                  </a:ext>
                </a:extLst>
              </p:cNvPr>
              <p:cNvSpPr>
                <a:spLocks noEditPoints="1"/>
              </p:cNvSpPr>
              <p:nvPr/>
            </p:nvSpPr>
            <p:spPr bwMode="auto">
              <a:xfrm>
                <a:off x="3597879" y="3159283"/>
                <a:ext cx="145800" cy="195147"/>
              </a:xfrm>
              <a:custGeom>
                <a:avLst/>
                <a:gdLst>
                  <a:gd name="T0" fmla="*/ 8 w 65"/>
                  <a:gd name="T1" fmla="*/ 31 h 87"/>
                  <a:gd name="T2" fmla="*/ 5 w 65"/>
                  <a:gd name="T3" fmla="*/ 28 h 87"/>
                  <a:gd name="T4" fmla="*/ 1 w 65"/>
                  <a:gd name="T5" fmla="*/ 35 h 87"/>
                  <a:gd name="T6" fmla="*/ 5 w 65"/>
                  <a:gd name="T7" fmla="*/ 36 h 87"/>
                  <a:gd name="T8" fmla="*/ 5 w 65"/>
                  <a:gd name="T9" fmla="*/ 36 h 87"/>
                  <a:gd name="T10" fmla="*/ 5 w 65"/>
                  <a:gd name="T11" fmla="*/ 36 h 87"/>
                  <a:gd name="T12" fmla="*/ 1 w 65"/>
                  <a:gd name="T13" fmla="*/ 4 h 87"/>
                  <a:gd name="T14" fmla="*/ 11 w 65"/>
                  <a:gd name="T15" fmla="*/ 3 h 87"/>
                  <a:gd name="T16" fmla="*/ 8 w 65"/>
                  <a:gd name="T17" fmla="*/ 3 h 87"/>
                  <a:gd name="T18" fmla="*/ 8 w 65"/>
                  <a:gd name="T19" fmla="*/ 3 h 87"/>
                  <a:gd name="T20" fmla="*/ 8 w 65"/>
                  <a:gd name="T21" fmla="*/ 39 h 87"/>
                  <a:gd name="T22" fmla="*/ 8 w 65"/>
                  <a:gd name="T23" fmla="*/ 44 h 87"/>
                  <a:gd name="T24" fmla="*/ 11 w 65"/>
                  <a:gd name="T25" fmla="*/ 44 h 87"/>
                  <a:gd name="T26" fmla="*/ 11 w 65"/>
                  <a:gd name="T27" fmla="*/ 39 h 87"/>
                  <a:gd name="T28" fmla="*/ 8 w 65"/>
                  <a:gd name="T29" fmla="*/ 39 h 87"/>
                  <a:gd name="T30" fmla="*/ 8 w 65"/>
                  <a:gd name="T31" fmla="*/ 39 h 87"/>
                  <a:gd name="T32" fmla="*/ 16 w 65"/>
                  <a:gd name="T33" fmla="*/ 1 h 87"/>
                  <a:gd name="T34" fmla="*/ 14 w 65"/>
                  <a:gd name="T35" fmla="*/ 0 h 87"/>
                  <a:gd name="T36" fmla="*/ 14 w 65"/>
                  <a:gd name="T37" fmla="*/ 0 h 87"/>
                  <a:gd name="T38" fmla="*/ 14 w 65"/>
                  <a:gd name="T39" fmla="*/ 0 h 87"/>
                  <a:gd name="T40" fmla="*/ 17 w 65"/>
                  <a:gd name="T41" fmla="*/ 16 h 87"/>
                  <a:gd name="T42" fmla="*/ 20 w 65"/>
                  <a:gd name="T43" fmla="*/ 4 h 87"/>
                  <a:gd name="T44" fmla="*/ 20 w 65"/>
                  <a:gd name="T45" fmla="*/ 6 h 87"/>
                  <a:gd name="T46" fmla="*/ 20 w 65"/>
                  <a:gd name="T47" fmla="*/ 6 h 87"/>
                  <a:gd name="T48" fmla="*/ 28 w 65"/>
                  <a:gd name="T49" fmla="*/ 28 h 87"/>
                  <a:gd name="T50" fmla="*/ 27 w 65"/>
                  <a:gd name="T51" fmla="*/ 31 h 87"/>
                  <a:gd name="T52" fmla="*/ 27 w 65"/>
                  <a:gd name="T53" fmla="*/ 31 h 87"/>
                  <a:gd name="T54" fmla="*/ 27 w 65"/>
                  <a:gd name="T55" fmla="*/ 31 h 87"/>
                  <a:gd name="T56" fmla="*/ 24 w 65"/>
                  <a:gd name="T57" fmla="*/ 22 h 87"/>
                  <a:gd name="T58" fmla="*/ 24 w 65"/>
                  <a:gd name="T59" fmla="*/ 22 h 87"/>
                  <a:gd name="T60" fmla="*/ 24 w 65"/>
                  <a:gd name="T61" fmla="*/ 22 h 87"/>
                  <a:gd name="T62" fmla="*/ 27 w 65"/>
                  <a:gd name="T63" fmla="*/ 25 h 87"/>
                  <a:gd name="T64" fmla="*/ 27 w 65"/>
                  <a:gd name="T65" fmla="*/ 25 h 87"/>
                  <a:gd name="T66" fmla="*/ 27 w 65"/>
                  <a:gd name="T67" fmla="*/ 25 h 87"/>
                  <a:gd name="T68" fmla="*/ 36 w 65"/>
                  <a:gd name="T69" fmla="*/ 36 h 87"/>
                  <a:gd name="T70" fmla="*/ 36 w 65"/>
                  <a:gd name="T71" fmla="*/ 36 h 87"/>
                  <a:gd name="T72" fmla="*/ 36 w 65"/>
                  <a:gd name="T73" fmla="*/ 36 h 87"/>
                  <a:gd name="T74" fmla="*/ 38 w 65"/>
                  <a:gd name="T75" fmla="*/ 52 h 87"/>
                  <a:gd name="T76" fmla="*/ 38 w 65"/>
                  <a:gd name="T77" fmla="*/ 52 h 87"/>
                  <a:gd name="T78" fmla="*/ 38 w 65"/>
                  <a:gd name="T79" fmla="*/ 52 h 87"/>
                  <a:gd name="T80" fmla="*/ 38 w 65"/>
                  <a:gd name="T81" fmla="*/ 57 h 87"/>
                  <a:gd name="T82" fmla="*/ 38 w 65"/>
                  <a:gd name="T83" fmla="*/ 55 h 87"/>
                  <a:gd name="T84" fmla="*/ 38 w 65"/>
                  <a:gd name="T85" fmla="*/ 55 h 87"/>
                  <a:gd name="T86" fmla="*/ 38 w 65"/>
                  <a:gd name="T87" fmla="*/ 55 h 87"/>
                  <a:gd name="T88" fmla="*/ 43 w 65"/>
                  <a:gd name="T89" fmla="*/ 47 h 87"/>
                  <a:gd name="T90" fmla="*/ 43 w 65"/>
                  <a:gd name="T91" fmla="*/ 47 h 87"/>
                  <a:gd name="T92" fmla="*/ 43 w 65"/>
                  <a:gd name="T93" fmla="*/ 47 h 87"/>
                  <a:gd name="T94" fmla="*/ 52 w 65"/>
                  <a:gd name="T95" fmla="*/ 62 h 87"/>
                  <a:gd name="T96" fmla="*/ 52 w 65"/>
                  <a:gd name="T97" fmla="*/ 63 h 87"/>
                  <a:gd name="T98" fmla="*/ 52 w 65"/>
                  <a:gd name="T99" fmla="*/ 63 h 87"/>
                  <a:gd name="T100" fmla="*/ 52 w 65"/>
                  <a:gd name="T101" fmla="*/ 63 h 87"/>
                  <a:gd name="T102" fmla="*/ 47 w 65"/>
                  <a:gd name="T103" fmla="*/ 41 h 87"/>
                  <a:gd name="T104" fmla="*/ 47 w 65"/>
                  <a:gd name="T105" fmla="*/ 41 h 87"/>
                  <a:gd name="T106" fmla="*/ 47 w 65"/>
                  <a:gd name="T107" fmla="*/ 41 h 87"/>
                  <a:gd name="T108" fmla="*/ 52 w 65"/>
                  <a:gd name="T109" fmla="*/ 84 h 87"/>
                  <a:gd name="T110" fmla="*/ 59 w 65"/>
                  <a:gd name="T111" fmla="*/ 84 h 87"/>
                  <a:gd name="T112" fmla="*/ 59 w 65"/>
                  <a:gd name="T113" fmla="*/ 84 h 87"/>
                  <a:gd name="T114" fmla="*/ 59 w 65"/>
                  <a:gd name="T115" fmla="*/ 84 h 87"/>
                  <a:gd name="T116" fmla="*/ 63 w 65"/>
                  <a:gd name="T117" fmla="*/ 65 h 87"/>
                  <a:gd name="T118" fmla="*/ 65 w 65"/>
                  <a:gd name="T119" fmla="*/ 65 h 87"/>
                  <a:gd name="T120" fmla="*/ 63 w 65"/>
                  <a:gd name="T121" fmla="*/ 65 h 87"/>
                  <a:gd name="T122" fmla="*/ 63 w 65"/>
                  <a:gd name="T123"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87">
                    <a:moveTo>
                      <a:pt x="5" y="36"/>
                    </a:moveTo>
                    <a:lnTo>
                      <a:pt x="8" y="35"/>
                    </a:lnTo>
                    <a:lnTo>
                      <a:pt x="8" y="35"/>
                    </a:lnTo>
                    <a:lnTo>
                      <a:pt x="8" y="31"/>
                    </a:lnTo>
                    <a:lnTo>
                      <a:pt x="8" y="28"/>
                    </a:lnTo>
                    <a:lnTo>
                      <a:pt x="8" y="25"/>
                    </a:lnTo>
                    <a:lnTo>
                      <a:pt x="5" y="25"/>
                    </a:lnTo>
                    <a:lnTo>
                      <a:pt x="5" y="28"/>
                    </a:lnTo>
                    <a:lnTo>
                      <a:pt x="5" y="31"/>
                    </a:lnTo>
                    <a:lnTo>
                      <a:pt x="3" y="31"/>
                    </a:lnTo>
                    <a:lnTo>
                      <a:pt x="3" y="35"/>
                    </a:lnTo>
                    <a:lnTo>
                      <a:pt x="1" y="35"/>
                    </a:lnTo>
                    <a:lnTo>
                      <a:pt x="3" y="35"/>
                    </a:lnTo>
                    <a:lnTo>
                      <a:pt x="5" y="35"/>
                    </a:lnTo>
                    <a:lnTo>
                      <a:pt x="5" y="36"/>
                    </a:lnTo>
                    <a:lnTo>
                      <a:pt x="5" y="36"/>
                    </a:lnTo>
                    <a:lnTo>
                      <a:pt x="5" y="36"/>
                    </a:lnTo>
                    <a:lnTo>
                      <a:pt x="5" y="36"/>
                    </a:lnTo>
                    <a:lnTo>
                      <a:pt x="5" y="36"/>
                    </a:lnTo>
                    <a:lnTo>
                      <a:pt x="5" y="36"/>
                    </a:lnTo>
                    <a:lnTo>
                      <a:pt x="5" y="36"/>
                    </a:lnTo>
                    <a:lnTo>
                      <a:pt x="5" y="36"/>
                    </a:lnTo>
                    <a:lnTo>
                      <a:pt x="5" y="36"/>
                    </a:lnTo>
                    <a:lnTo>
                      <a:pt x="5" y="36"/>
                    </a:lnTo>
                    <a:close/>
                    <a:moveTo>
                      <a:pt x="8" y="3"/>
                    </a:moveTo>
                    <a:lnTo>
                      <a:pt x="5" y="3"/>
                    </a:lnTo>
                    <a:lnTo>
                      <a:pt x="3" y="4"/>
                    </a:lnTo>
                    <a:lnTo>
                      <a:pt x="1" y="4"/>
                    </a:lnTo>
                    <a:lnTo>
                      <a:pt x="0" y="4"/>
                    </a:lnTo>
                    <a:lnTo>
                      <a:pt x="3" y="6"/>
                    </a:lnTo>
                    <a:lnTo>
                      <a:pt x="8" y="4"/>
                    </a:lnTo>
                    <a:lnTo>
                      <a:pt x="11" y="3"/>
                    </a:lnTo>
                    <a:lnTo>
                      <a:pt x="14" y="1"/>
                    </a:lnTo>
                    <a:lnTo>
                      <a:pt x="11" y="3"/>
                    </a:lnTo>
                    <a:lnTo>
                      <a:pt x="8" y="3"/>
                    </a:lnTo>
                    <a:lnTo>
                      <a:pt x="8" y="3"/>
                    </a:lnTo>
                    <a:lnTo>
                      <a:pt x="8" y="3"/>
                    </a:lnTo>
                    <a:lnTo>
                      <a:pt x="8" y="3"/>
                    </a:lnTo>
                    <a:lnTo>
                      <a:pt x="8" y="3"/>
                    </a:lnTo>
                    <a:lnTo>
                      <a:pt x="8" y="3"/>
                    </a:lnTo>
                    <a:lnTo>
                      <a:pt x="8" y="3"/>
                    </a:lnTo>
                    <a:lnTo>
                      <a:pt x="8" y="3"/>
                    </a:lnTo>
                    <a:lnTo>
                      <a:pt x="8" y="3"/>
                    </a:lnTo>
                    <a:close/>
                    <a:moveTo>
                      <a:pt x="8" y="39"/>
                    </a:moveTo>
                    <a:lnTo>
                      <a:pt x="8" y="38"/>
                    </a:lnTo>
                    <a:lnTo>
                      <a:pt x="5" y="41"/>
                    </a:lnTo>
                    <a:lnTo>
                      <a:pt x="8" y="43"/>
                    </a:lnTo>
                    <a:lnTo>
                      <a:pt x="8" y="44"/>
                    </a:lnTo>
                    <a:lnTo>
                      <a:pt x="8" y="46"/>
                    </a:lnTo>
                    <a:lnTo>
                      <a:pt x="8" y="46"/>
                    </a:lnTo>
                    <a:lnTo>
                      <a:pt x="8" y="46"/>
                    </a:lnTo>
                    <a:lnTo>
                      <a:pt x="11" y="44"/>
                    </a:lnTo>
                    <a:lnTo>
                      <a:pt x="9" y="44"/>
                    </a:lnTo>
                    <a:lnTo>
                      <a:pt x="11" y="43"/>
                    </a:lnTo>
                    <a:lnTo>
                      <a:pt x="11" y="41"/>
                    </a:lnTo>
                    <a:lnTo>
                      <a:pt x="11" y="39"/>
                    </a:lnTo>
                    <a:lnTo>
                      <a:pt x="8" y="41"/>
                    </a:lnTo>
                    <a:lnTo>
                      <a:pt x="8" y="39"/>
                    </a:lnTo>
                    <a:lnTo>
                      <a:pt x="8" y="39"/>
                    </a:lnTo>
                    <a:lnTo>
                      <a:pt x="8" y="39"/>
                    </a:lnTo>
                    <a:lnTo>
                      <a:pt x="8" y="39"/>
                    </a:lnTo>
                    <a:lnTo>
                      <a:pt x="8" y="39"/>
                    </a:lnTo>
                    <a:lnTo>
                      <a:pt x="8" y="39"/>
                    </a:lnTo>
                    <a:lnTo>
                      <a:pt x="8" y="39"/>
                    </a:lnTo>
                    <a:lnTo>
                      <a:pt x="8" y="39"/>
                    </a:lnTo>
                    <a:lnTo>
                      <a:pt x="8" y="39"/>
                    </a:lnTo>
                    <a:close/>
                    <a:moveTo>
                      <a:pt x="14" y="0"/>
                    </a:moveTo>
                    <a:lnTo>
                      <a:pt x="16" y="1"/>
                    </a:lnTo>
                    <a:lnTo>
                      <a:pt x="17" y="4"/>
                    </a:lnTo>
                    <a:lnTo>
                      <a:pt x="20" y="4"/>
                    </a:lnTo>
                    <a:lnTo>
                      <a:pt x="17" y="0"/>
                    </a:lnTo>
                    <a:lnTo>
                      <a:pt x="14" y="0"/>
                    </a:lnTo>
                    <a:lnTo>
                      <a:pt x="14" y="0"/>
                    </a:lnTo>
                    <a:lnTo>
                      <a:pt x="14" y="0"/>
                    </a:lnTo>
                    <a:lnTo>
                      <a:pt x="14" y="0"/>
                    </a:lnTo>
                    <a:lnTo>
                      <a:pt x="14" y="0"/>
                    </a:lnTo>
                    <a:lnTo>
                      <a:pt x="14" y="0"/>
                    </a:lnTo>
                    <a:lnTo>
                      <a:pt x="14" y="0"/>
                    </a:lnTo>
                    <a:lnTo>
                      <a:pt x="14" y="0"/>
                    </a:lnTo>
                    <a:lnTo>
                      <a:pt x="14" y="0"/>
                    </a:lnTo>
                    <a:close/>
                    <a:moveTo>
                      <a:pt x="20" y="6"/>
                    </a:moveTo>
                    <a:lnTo>
                      <a:pt x="17" y="9"/>
                    </a:lnTo>
                    <a:lnTo>
                      <a:pt x="16" y="14"/>
                    </a:lnTo>
                    <a:lnTo>
                      <a:pt x="17" y="16"/>
                    </a:lnTo>
                    <a:lnTo>
                      <a:pt x="17" y="12"/>
                    </a:lnTo>
                    <a:lnTo>
                      <a:pt x="20" y="9"/>
                    </a:lnTo>
                    <a:lnTo>
                      <a:pt x="20" y="8"/>
                    </a:lnTo>
                    <a:lnTo>
                      <a:pt x="20" y="4"/>
                    </a:lnTo>
                    <a:lnTo>
                      <a:pt x="20" y="6"/>
                    </a:lnTo>
                    <a:lnTo>
                      <a:pt x="20" y="6"/>
                    </a:lnTo>
                    <a:lnTo>
                      <a:pt x="20" y="6"/>
                    </a:lnTo>
                    <a:lnTo>
                      <a:pt x="20" y="6"/>
                    </a:lnTo>
                    <a:lnTo>
                      <a:pt x="20" y="6"/>
                    </a:lnTo>
                    <a:lnTo>
                      <a:pt x="20" y="6"/>
                    </a:lnTo>
                    <a:lnTo>
                      <a:pt x="20" y="6"/>
                    </a:lnTo>
                    <a:lnTo>
                      <a:pt x="20" y="6"/>
                    </a:lnTo>
                    <a:lnTo>
                      <a:pt x="20" y="6"/>
                    </a:lnTo>
                    <a:close/>
                    <a:moveTo>
                      <a:pt x="27" y="31"/>
                    </a:moveTo>
                    <a:lnTo>
                      <a:pt x="27" y="31"/>
                    </a:lnTo>
                    <a:lnTo>
                      <a:pt x="28" y="28"/>
                    </a:lnTo>
                    <a:lnTo>
                      <a:pt x="28" y="28"/>
                    </a:lnTo>
                    <a:lnTo>
                      <a:pt x="28" y="25"/>
                    </a:lnTo>
                    <a:lnTo>
                      <a:pt x="27" y="28"/>
                    </a:lnTo>
                    <a:lnTo>
                      <a:pt x="27" y="31"/>
                    </a:lnTo>
                    <a:lnTo>
                      <a:pt x="27" y="31"/>
                    </a:lnTo>
                    <a:lnTo>
                      <a:pt x="27" y="31"/>
                    </a:lnTo>
                    <a:lnTo>
                      <a:pt x="27" y="31"/>
                    </a:lnTo>
                    <a:lnTo>
                      <a:pt x="27" y="31"/>
                    </a:lnTo>
                    <a:lnTo>
                      <a:pt x="27" y="31"/>
                    </a:lnTo>
                    <a:lnTo>
                      <a:pt x="27" y="31"/>
                    </a:lnTo>
                    <a:lnTo>
                      <a:pt x="27" y="31"/>
                    </a:lnTo>
                    <a:lnTo>
                      <a:pt x="27" y="31"/>
                    </a:lnTo>
                    <a:close/>
                    <a:moveTo>
                      <a:pt x="24" y="22"/>
                    </a:moveTo>
                    <a:lnTo>
                      <a:pt x="24" y="22"/>
                    </a:lnTo>
                    <a:lnTo>
                      <a:pt x="24" y="20"/>
                    </a:lnTo>
                    <a:lnTo>
                      <a:pt x="24" y="22"/>
                    </a:lnTo>
                    <a:lnTo>
                      <a:pt x="24" y="22"/>
                    </a:lnTo>
                    <a:lnTo>
                      <a:pt x="24" y="22"/>
                    </a:lnTo>
                    <a:lnTo>
                      <a:pt x="24" y="22"/>
                    </a:lnTo>
                    <a:lnTo>
                      <a:pt x="24" y="22"/>
                    </a:lnTo>
                    <a:lnTo>
                      <a:pt x="24" y="22"/>
                    </a:lnTo>
                    <a:lnTo>
                      <a:pt x="24" y="22"/>
                    </a:lnTo>
                    <a:lnTo>
                      <a:pt x="24" y="22"/>
                    </a:lnTo>
                    <a:lnTo>
                      <a:pt x="24" y="22"/>
                    </a:lnTo>
                    <a:close/>
                    <a:moveTo>
                      <a:pt x="27" y="25"/>
                    </a:moveTo>
                    <a:lnTo>
                      <a:pt x="28" y="25"/>
                    </a:lnTo>
                    <a:lnTo>
                      <a:pt x="25" y="22"/>
                    </a:lnTo>
                    <a:lnTo>
                      <a:pt x="27" y="25"/>
                    </a:lnTo>
                    <a:lnTo>
                      <a:pt x="27" y="25"/>
                    </a:lnTo>
                    <a:lnTo>
                      <a:pt x="27" y="25"/>
                    </a:lnTo>
                    <a:lnTo>
                      <a:pt x="27" y="25"/>
                    </a:lnTo>
                    <a:lnTo>
                      <a:pt x="27" y="25"/>
                    </a:lnTo>
                    <a:lnTo>
                      <a:pt x="27" y="25"/>
                    </a:lnTo>
                    <a:lnTo>
                      <a:pt x="27" y="25"/>
                    </a:lnTo>
                    <a:lnTo>
                      <a:pt x="27" y="25"/>
                    </a:lnTo>
                    <a:lnTo>
                      <a:pt x="27" y="25"/>
                    </a:lnTo>
                    <a:close/>
                    <a:moveTo>
                      <a:pt x="36" y="36"/>
                    </a:moveTo>
                    <a:lnTo>
                      <a:pt x="33" y="31"/>
                    </a:lnTo>
                    <a:lnTo>
                      <a:pt x="36" y="38"/>
                    </a:lnTo>
                    <a:lnTo>
                      <a:pt x="36" y="36"/>
                    </a:lnTo>
                    <a:lnTo>
                      <a:pt x="36" y="36"/>
                    </a:lnTo>
                    <a:lnTo>
                      <a:pt x="36" y="36"/>
                    </a:lnTo>
                    <a:lnTo>
                      <a:pt x="36" y="36"/>
                    </a:lnTo>
                    <a:lnTo>
                      <a:pt x="36" y="36"/>
                    </a:lnTo>
                    <a:lnTo>
                      <a:pt x="36" y="36"/>
                    </a:lnTo>
                    <a:lnTo>
                      <a:pt x="36" y="36"/>
                    </a:lnTo>
                    <a:lnTo>
                      <a:pt x="36" y="36"/>
                    </a:lnTo>
                    <a:lnTo>
                      <a:pt x="36" y="36"/>
                    </a:lnTo>
                    <a:close/>
                    <a:moveTo>
                      <a:pt x="38" y="52"/>
                    </a:moveTo>
                    <a:lnTo>
                      <a:pt x="38" y="50"/>
                    </a:lnTo>
                    <a:lnTo>
                      <a:pt x="36" y="47"/>
                    </a:lnTo>
                    <a:lnTo>
                      <a:pt x="38" y="52"/>
                    </a:lnTo>
                    <a:lnTo>
                      <a:pt x="38" y="52"/>
                    </a:lnTo>
                    <a:lnTo>
                      <a:pt x="38" y="52"/>
                    </a:lnTo>
                    <a:lnTo>
                      <a:pt x="38" y="52"/>
                    </a:lnTo>
                    <a:lnTo>
                      <a:pt x="38" y="52"/>
                    </a:lnTo>
                    <a:lnTo>
                      <a:pt x="38" y="52"/>
                    </a:lnTo>
                    <a:lnTo>
                      <a:pt x="38" y="52"/>
                    </a:lnTo>
                    <a:lnTo>
                      <a:pt x="38" y="52"/>
                    </a:lnTo>
                    <a:lnTo>
                      <a:pt x="38" y="52"/>
                    </a:lnTo>
                    <a:close/>
                    <a:moveTo>
                      <a:pt x="38" y="55"/>
                    </a:moveTo>
                    <a:lnTo>
                      <a:pt x="38" y="54"/>
                    </a:lnTo>
                    <a:lnTo>
                      <a:pt x="36" y="54"/>
                    </a:lnTo>
                    <a:lnTo>
                      <a:pt x="38" y="57"/>
                    </a:lnTo>
                    <a:lnTo>
                      <a:pt x="41" y="57"/>
                    </a:lnTo>
                    <a:lnTo>
                      <a:pt x="41" y="57"/>
                    </a:lnTo>
                    <a:lnTo>
                      <a:pt x="40" y="57"/>
                    </a:lnTo>
                    <a:lnTo>
                      <a:pt x="38" y="55"/>
                    </a:lnTo>
                    <a:lnTo>
                      <a:pt x="38" y="55"/>
                    </a:lnTo>
                    <a:lnTo>
                      <a:pt x="38" y="55"/>
                    </a:lnTo>
                    <a:lnTo>
                      <a:pt x="38" y="55"/>
                    </a:lnTo>
                    <a:lnTo>
                      <a:pt x="38" y="55"/>
                    </a:lnTo>
                    <a:lnTo>
                      <a:pt x="38" y="55"/>
                    </a:lnTo>
                    <a:lnTo>
                      <a:pt x="38" y="55"/>
                    </a:lnTo>
                    <a:lnTo>
                      <a:pt x="38" y="55"/>
                    </a:lnTo>
                    <a:lnTo>
                      <a:pt x="38" y="55"/>
                    </a:lnTo>
                    <a:close/>
                    <a:moveTo>
                      <a:pt x="43" y="47"/>
                    </a:moveTo>
                    <a:lnTo>
                      <a:pt x="43" y="46"/>
                    </a:lnTo>
                    <a:lnTo>
                      <a:pt x="41" y="47"/>
                    </a:lnTo>
                    <a:lnTo>
                      <a:pt x="43" y="47"/>
                    </a:lnTo>
                    <a:lnTo>
                      <a:pt x="43" y="47"/>
                    </a:lnTo>
                    <a:lnTo>
                      <a:pt x="43" y="47"/>
                    </a:lnTo>
                    <a:lnTo>
                      <a:pt x="43" y="47"/>
                    </a:lnTo>
                    <a:lnTo>
                      <a:pt x="43" y="47"/>
                    </a:lnTo>
                    <a:lnTo>
                      <a:pt x="43" y="47"/>
                    </a:lnTo>
                    <a:lnTo>
                      <a:pt x="43" y="47"/>
                    </a:lnTo>
                    <a:lnTo>
                      <a:pt x="43" y="47"/>
                    </a:lnTo>
                    <a:lnTo>
                      <a:pt x="43" y="47"/>
                    </a:lnTo>
                    <a:close/>
                    <a:moveTo>
                      <a:pt x="52" y="63"/>
                    </a:moveTo>
                    <a:lnTo>
                      <a:pt x="52" y="62"/>
                    </a:lnTo>
                    <a:lnTo>
                      <a:pt x="52" y="60"/>
                    </a:lnTo>
                    <a:lnTo>
                      <a:pt x="52" y="62"/>
                    </a:lnTo>
                    <a:lnTo>
                      <a:pt x="52" y="63"/>
                    </a:lnTo>
                    <a:lnTo>
                      <a:pt x="47" y="68"/>
                    </a:lnTo>
                    <a:lnTo>
                      <a:pt x="52" y="65"/>
                    </a:lnTo>
                    <a:lnTo>
                      <a:pt x="52" y="63"/>
                    </a:lnTo>
                    <a:lnTo>
                      <a:pt x="52" y="63"/>
                    </a:lnTo>
                    <a:lnTo>
                      <a:pt x="52" y="63"/>
                    </a:lnTo>
                    <a:lnTo>
                      <a:pt x="52" y="63"/>
                    </a:lnTo>
                    <a:lnTo>
                      <a:pt x="52" y="63"/>
                    </a:lnTo>
                    <a:lnTo>
                      <a:pt x="52" y="63"/>
                    </a:lnTo>
                    <a:lnTo>
                      <a:pt x="52" y="63"/>
                    </a:lnTo>
                    <a:lnTo>
                      <a:pt x="52" y="63"/>
                    </a:lnTo>
                    <a:lnTo>
                      <a:pt x="52" y="63"/>
                    </a:lnTo>
                    <a:close/>
                    <a:moveTo>
                      <a:pt x="47" y="41"/>
                    </a:moveTo>
                    <a:lnTo>
                      <a:pt x="47" y="43"/>
                    </a:lnTo>
                    <a:lnTo>
                      <a:pt x="49" y="41"/>
                    </a:lnTo>
                    <a:lnTo>
                      <a:pt x="47" y="41"/>
                    </a:lnTo>
                    <a:lnTo>
                      <a:pt x="47" y="41"/>
                    </a:lnTo>
                    <a:lnTo>
                      <a:pt x="47" y="41"/>
                    </a:lnTo>
                    <a:lnTo>
                      <a:pt x="47" y="41"/>
                    </a:lnTo>
                    <a:lnTo>
                      <a:pt x="47" y="41"/>
                    </a:lnTo>
                    <a:lnTo>
                      <a:pt x="47" y="41"/>
                    </a:lnTo>
                    <a:lnTo>
                      <a:pt x="47" y="41"/>
                    </a:lnTo>
                    <a:lnTo>
                      <a:pt x="47" y="41"/>
                    </a:lnTo>
                    <a:lnTo>
                      <a:pt x="47" y="41"/>
                    </a:lnTo>
                    <a:close/>
                    <a:moveTo>
                      <a:pt x="59" y="84"/>
                    </a:moveTo>
                    <a:lnTo>
                      <a:pt x="55" y="81"/>
                    </a:lnTo>
                    <a:lnTo>
                      <a:pt x="52" y="84"/>
                    </a:lnTo>
                    <a:lnTo>
                      <a:pt x="52" y="84"/>
                    </a:lnTo>
                    <a:lnTo>
                      <a:pt x="52" y="87"/>
                    </a:lnTo>
                    <a:lnTo>
                      <a:pt x="55" y="87"/>
                    </a:lnTo>
                    <a:lnTo>
                      <a:pt x="59" y="84"/>
                    </a:lnTo>
                    <a:lnTo>
                      <a:pt x="59" y="84"/>
                    </a:lnTo>
                    <a:lnTo>
                      <a:pt x="60" y="81"/>
                    </a:lnTo>
                    <a:lnTo>
                      <a:pt x="59" y="81"/>
                    </a:lnTo>
                    <a:lnTo>
                      <a:pt x="59" y="84"/>
                    </a:lnTo>
                    <a:lnTo>
                      <a:pt x="59" y="84"/>
                    </a:lnTo>
                    <a:lnTo>
                      <a:pt x="59" y="84"/>
                    </a:lnTo>
                    <a:lnTo>
                      <a:pt x="59" y="84"/>
                    </a:lnTo>
                    <a:lnTo>
                      <a:pt x="59" y="84"/>
                    </a:lnTo>
                    <a:lnTo>
                      <a:pt x="59" y="84"/>
                    </a:lnTo>
                    <a:lnTo>
                      <a:pt x="59" y="84"/>
                    </a:lnTo>
                    <a:lnTo>
                      <a:pt x="59" y="84"/>
                    </a:lnTo>
                    <a:lnTo>
                      <a:pt x="59" y="84"/>
                    </a:lnTo>
                    <a:close/>
                    <a:moveTo>
                      <a:pt x="63" y="65"/>
                    </a:moveTo>
                    <a:lnTo>
                      <a:pt x="62" y="65"/>
                    </a:lnTo>
                    <a:lnTo>
                      <a:pt x="62" y="66"/>
                    </a:lnTo>
                    <a:lnTo>
                      <a:pt x="65" y="66"/>
                    </a:lnTo>
                    <a:lnTo>
                      <a:pt x="65" y="65"/>
                    </a:lnTo>
                    <a:lnTo>
                      <a:pt x="63" y="65"/>
                    </a:lnTo>
                    <a:lnTo>
                      <a:pt x="63" y="65"/>
                    </a:lnTo>
                    <a:lnTo>
                      <a:pt x="63" y="65"/>
                    </a:lnTo>
                    <a:lnTo>
                      <a:pt x="63" y="65"/>
                    </a:lnTo>
                    <a:lnTo>
                      <a:pt x="63" y="65"/>
                    </a:lnTo>
                    <a:lnTo>
                      <a:pt x="63" y="65"/>
                    </a:lnTo>
                    <a:lnTo>
                      <a:pt x="63" y="65"/>
                    </a:lnTo>
                    <a:lnTo>
                      <a:pt x="63" y="65"/>
                    </a:lnTo>
                    <a:lnTo>
                      <a:pt x="63" y="65"/>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33" name="Freeform 16">
                <a:extLst>
                  <a:ext uri="{FF2B5EF4-FFF2-40B4-BE49-F238E27FC236}">
                    <a16:creationId xmlns:a16="http://schemas.microsoft.com/office/drawing/2014/main" id="{40D73A3D-2A99-A77B-9CD3-C7EC14D6152A}"/>
                  </a:ext>
                </a:extLst>
              </p:cNvPr>
              <p:cNvSpPr>
                <a:spLocks/>
              </p:cNvSpPr>
              <p:nvPr/>
            </p:nvSpPr>
            <p:spPr bwMode="auto">
              <a:xfrm>
                <a:off x="3573206" y="3432938"/>
                <a:ext cx="56077" cy="24674"/>
              </a:xfrm>
              <a:custGeom>
                <a:avLst/>
                <a:gdLst>
                  <a:gd name="T0" fmla="*/ 0 w 25"/>
                  <a:gd name="T1" fmla="*/ 3 h 11"/>
                  <a:gd name="T2" fmla="*/ 0 w 25"/>
                  <a:gd name="T3" fmla="*/ 3 h 11"/>
                  <a:gd name="T4" fmla="*/ 3 w 25"/>
                  <a:gd name="T5" fmla="*/ 0 h 11"/>
                  <a:gd name="T6" fmla="*/ 4 w 25"/>
                  <a:gd name="T7" fmla="*/ 0 h 11"/>
                  <a:gd name="T8" fmla="*/ 14 w 25"/>
                  <a:gd name="T9" fmla="*/ 0 h 11"/>
                  <a:gd name="T10" fmla="*/ 14 w 25"/>
                  <a:gd name="T11" fmla="*/ 0 h 11"/>
                  <a:gd name="T12" fmla="*/ 22 w 25"/>
                  <a:gd name="T13" fmla="*/ 3 h 11"/>
                  <a:gd name="T14" fmla="*/ 22 w 25"/>
                  <a:gd name="T15" fmla="*/ 3 h 11"/>
                  <a:gd name="T16" fmla="*/ 25 w 25"/>
                  <a:gd name="T17" fmla="*/ 5 h 11"/>
                  <a:gd name="T18" fmla="*/ 25 w 25"/>
                  <a:gd name="T19" fmla="*/ 8 h 11"/>
                  <a:gd name="T20" fmla="*/ 25 w 25"/>
                  <a:gd name="T21" fmla="*/ 8 h 11"/>
                  <a:gd name="T22" fmla="*/ 22 w 25"/>
                  <a:gd name="T23" fmla="*/ 8 h 11"/>
                  <a:gd name="T24" fmla="*/ 22 w 25"/>
                  <a:gd name="T25" fmla="*/ 8 h 11"/>
                  <a:gd name="T26" fmla="*/ 22 w 25"/>
                  <a:gd name="T27" fmla="*/ 8 h 11"/>
                  <a:gd name="T28" fmla="*/ 19 w 25"/>
                  <a:gd name="T29" fmla="*/ 8 h 11"/>
                  <a:gd name="T30" fmla="*/ 19 w 25"/>
                  <a:gd name="T31" fmla="*/ 8 h 11"/>
                  <a:gd name="T32" fmla="*/ 19 w 25"/>
                  <a:gd name="T33" fmla="*/ 6 h 11"/>
                  <a:gd name="T34" fmla="*/ 19 w 25"/>
                  <a:gd name="T35" fmla="*/ 6 h 11"/>
                  <a:gd name="T36" fmla="*/ 19 w 25"/>
                  <a:gd name="T37" fmla="*/ 6 h 11"/>
                  <a:gd name="T38" fmla="*/ 16 w 25"/>
                  <a:gd name="T39" fmla="*/ 8 h 11"/>
                  <a:gd name="T40" fmla="*/ 16 w 25"/>
                  <a:gd name="T41" fmla="*/ 8 h 11"/>
                  <a:gd name="T42" fmla="*/ 14 w 25"/>
                  <a:gd name="T43" fmla="*/ 8 h 11"/>
                  <a:gd name="T44" fmla="*/ 14 w 25"/>
                  <a:gd name="T45" fmla="*/ 9 h 11"/>
                  <a:gd name="T46" fmla="*/ 14 w 25"/>
                  <a:gd name="T47" fmla="*/ 11 h 11"/>
                  <a:gd name="T48" fmla="*/ 14 w 25"/>
                  <a:gd name="T49" fmla="*/ 11 h 11"/>
                  <a:gd name="T50" fmla="*/ 12 w 25"/>
                  <a:gd name="T51" fmla="*/ 9 h 11"/>
                  <a:gd name="T52" fmla="*/ 11 w 25"/>
                  <a:gd name="T53" fmla="*/ 9 h 11"/>
                  <a:gd name="T54" fmla="*/ 11 w 25"/>
                  <a:gd name="T55" fmla="*/ 9 h 11"/>
                  <a:gd name="T56" fmla="*/ 8 w 25"/>
                  <a:gd name="T57" fmla="*/ 8 h 11"/>
                  <a:gd name="T58" fmla="*/ 4 w 25"/>
                  <a:gd name="T59" fmla="*/ 8 h 11"/>
                  <a:gd name="T60" fmla="*/ 4 w 25"/>
                  <a:gd name="T61" fmla="*/ 8 h 11"/>
                  <a:gd name="T62" fmla="*/ 4 w 25"/>
                  <a:gd name="T63" fmla="*/ 5 h 11"/>
                  <a:gd name="T64" fmla="*/ 4 w 25"/>
                  <a:gd name="T65" fmla="*/ 5 h 11"/>
                  <a:gd name="T66" fmla="*/ 1 w 25"/>
                  <a:gd name="T67" fmla="*/ 3 h 11"/>
                  <a:gd name="T68" fmla="*/ 0 w 25"/>
                  <a:gd name="T69" fmla="*/ 3 h 11"/>
                  <a:gd name="T70" fmla="*/ 0 w 25"/>
                  <a:gd name="T71" fmla="*/ 3 h 11"/>
                  <a:gd name="T72" fmla="*/ 0 w 25"/>
                  <a:gd name="T73" fmla="*/ 3 h 11"/>
                  <a:gd name="T74" fmla="*/ 0 w 25"/>
                  <a:gd name="T75" fmla="*/ 3 h 11"/>
                  <a:gd name="T76" fmla="*/ 0 w 25"/>
                  <a:gd name="T77" fmla="*/ 3 h 11"/>
                  <a:gd name="T78" fmla="*/ 0 w 25"/>
                  <a:gd name="T79" fmla="*/ 3 h 11"/>
                  <a:gd name="T80" fmla="*/ 0 w 25"/>
                  <a:gd name="T81" fmla="*/ 3 h 11"/>
                  <a:gd name="T82" fmla="*/ 0 w 25"/>
                  <a:gd name="T83" fmla="*/ 3 h 11"/>
                  <a:gd name="T84" fmla="*/ 0 w 25"/>
                  <a:gd name="T85" fmla="*/ 3 h 11"/>
                  <a:gd name="T86" fmla="*/ 0 w 25"/>
                  <a:gd name="T8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 h="11">
                    <a:moveTo>
                      <a:pt x="0" y="3"/>
                    </a:moveTo>
                    <a:lnTo>
                      <a:pt x="0" y="3"/>
                    </a:lnTo>
                    <a:lnTo>
                      <a:pt x="3" y="0"/>
                    </a:lnTo>
                    <a:lnTo>
                      <a:pt x="4" y="0"/>
                    </a:lnTo>
                    <a:lnTo>
                      <a:pt x="14" y="0"/>
                    </a:lnTo>
                    <a:lnTo>
                      <a:pt x="14" y="0"/>
                    </a:lnTo>
                    <a:lnTo>
                      <a:pt x="22" y="3"/>
                    </a:lnTo>
                    <a:lnTo>
                      <a:pt x="22" y="3"/>
                    </a:lnTo>
                    <a:lnTo>
                      <a:pt x="25" y="5"/>
                    </a:lnTo>
                    <a:lnTo>
                      <a:pt x="25" y="8"/>
                    </a:lnTo>
                    <a:lnTo>
                      <a:pt x="25" y="8"/>
                    </a:lnTo>
                    <a:lnTo>
                      <a:pt x="22" y="8"/>
                    </a:lnTo>
                    <a:lnTo>
                      <a:pt x="22" y="8"/>
                    </a:lnTo>
                    <a:lnTo>
                      <a:pt x="22" y="8"/>
                    </a:lnTo>
                    <a:lnTo>
                      <a:pt x="19" y="8"/>
                    </a:lnTo>
                    <a:lnTo>
                      <a:pt x="19" y="8"/>
                    </a:lnTo>
                    <a:lnTo>
                      <a:pt x="19" y="6"/>
                    </a:lnTo>
                    <a:lnTo>
                      <a:pt x="19" y="6"/>
                    </a:lnTo>
                    <a:lnTo>
                      <a:pt x="19" y="6"/>
                    </a:lnTo>
                    <a:lnTo>
                      <a:pt x="16" y="8"/>
                    </a:lnTo>
                    <a:lnTo>
                      <a:pt x="16" y="8"/>
                    </a:lnTo>
                    <a:lnTo>
                      <a:pt x="14" y="8"/>
                    </a:lnTo>
                    <a:lnTo>
                      <a:pt x="14" y="9"/>
                    </a:lnTo>
                    <a:lnTo>
                      <a:pt x="14" y="11"/>
                    </a:lnTo>
                    <a:lnTo>
                      <a:pt x="14" y="11"/>
                    </a:lnTo>
                    <a:lnTo>
                      <a:pt x="12" y="9"/>
                    </a:lnTo>
                    <a:lnTo>
                      <a:pt x="11" y="9"/>
                    </a:lnTo>
                    <a:lnTo>
                      <a:pt x="11" y="9"/>
                    </a:lnTo>
                    <a:lnTo>
                      <a:pt x="8" y="8"/>
                    </a:lnTo>
                    <a:lnTo>
                      <a:pt x="4" y="8"/>
                    </a:lnTo>
                    <a:lnTo>
                      <a:pt x="4" y="8"/>
                    </a:lnTo>
                    <a:lnTo>
                      <a:pt x="4" y="5"/>
                    </a:lnTo>
                    <a:lnTo>
                      <a:pt x="4" y="5"/>
                    </a:lnTo>
                    <a:lnTo>
                      <a:pt x="1" y="3"/>
                    </a:lnTo>
                    <a:lnTo>
                      <a:pt x="0" y="3"/>
                    </a:lnTo>
                    <a:lnTo>
                      <a:pt x="0" y="3"/>
                    </a:lnTo>
                    <a:lnTo>
                      <a:pt x="0" y="3"/>
                    </a:lnTo>
                    <a:lnTo>
                      <a:pt x="0" y="3"/>
                    </a:lnTo>
                    <a:lnTo>
                      <a:pt x="0" y="3"/>
                    </a:lnTo>
                    <a:lnTo>
                      <a:pt x="0" y="3"/>
                    </a:lnTo>
                    <a:lnTo>
                      <a:pt x="0" y="3"/>
                    </a:lnTo>
                    <a:lnTo>
                      <a:pt x="0" y="3"/>
                    </a:lnTo>
                    <a:lnTo>
                      <a:pt x="0" y="3"/>
                    </a:lnTo>
                    <a:lnTo>
                      <a:pt x="0" y="3"/>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34" name="Freeform 18">
                <a:extLst>
                  <a:ext uri="{FF2B5EF4-FFF2-40B4-BE49-F238E27FC236}">
                    <a16:creationId xmlns:a16="http://schemas.microsoft.com/office/drawing/2014/main" id="{E0981A4D-F3AD-CCD0-0CF1-2E3C489C1D4E}"/>
                  </a:ext>
                </a:extLst>
              </p:cNvPr>
              <p:cNvSpPr>
                <a:spLocks/>
              </p:cNvSpPr>
              <p:nvPr/>
            </p:nvSpPr>
            <p:spPr bwMode="auto">
              <a:xfrm>
                <a:off x="3884992" y="3432938"/>
                <a:ext cx="42619" cy="17945"/>
              </a:xfrm>
              <a:custGeom>
                <a:avLst/>
                <a:gdLst>
                  <a:gd name="T0" fmla="*/ 15 w 19"/>
                  <a:gd name="T1" fmla="*/ 6 h 8"/>
                  <a:gd name="T2" fmla="*/ 15 w 19"/>
                  <a:gd name="T3" fmla="*/ 6 h 8"/>
                  <a:gd name="T4" fmla="*/ 8 w 19"/>
                  <a:gd name="T5" fmla="*/ 8 h 8"/>
                  <a:gd name="T6" fmla="*/ 2 w 19"/>
                  <a:gd name="T7" fmla="*/ 6 h 8"/>
                  <a:gd name="T8" fmla="*/ 2 w 19"/>
                  <a:gd name="T9" fmla="*/ 6 h 8"/>
                  <a:gd name="T10" fmla="*/ 2 w 19"/>
                  <a:gd name="T11" fmla="*/ 6 h 8"/>
                  <a:gd name="T12" fmla="*/ 0 w 19"/>
                  <a:gd name="T13" fmla="*/ 6 h 8"/>
                  <a:gd name="T14" fmla="*/ 0 w 19"/>
                  <a:gd name="T15" fmla="*/ 5 h 8"/>
                  <a:gd name="T16" fmla="*/ 0 w 19"/>
                  <a:gd name="T17" fmla="*/ 5 h 8"/>
                  <a:gd name="T18" fmla="*/ 2 w 19"/>
                  <a:gd name="T19" fmla="*/ 3 h 8"/>
                  <a:gd name="T20" fmla="*/ 2 w 19"/>
                  <a:gd name="T21" fmla="*/ 3 h 8"/>
                  <a:gd name="T22" fmla="*/ 0 w 19"/>
                  <a:gd name="T23" fmla="*/ 3 h 8"/>
                  <a:gd name="T24" fmla="*/ 0 w 19"/>
                  <a:gd name="T25" fmla="*/ 0 h 8"/>
                  <a:gd name="T26" fmla="*/ 0 w 19"/>
                  <a:gd name="T27" fmla="*/ 0 h 8"/>
                  <a:gd name="T28" fmla="*/ 0 w 19"/>
                  <a:gd name="T29" fmla="*/ 0 h 8"/>
                  <a:gd name="T30" fmla="*/ 2 w 19"/>
                  <a:gd name="T31" fmla="*/ 0 h 8"/>
                  <a:gd name="T32" fmla="*/ 8 w 19"/>
                  <a:gd name="T33" fmla="*/ 0 h 8"/>
                  <a:gd name="T34" fmla="*/ 15 w 19"/>
                  <a:gd name="T35" fmla="*/ 0 h 8"/>
                  <a:gd name="T36" fmla="*/ 15 w 19"/>
                  <a:gd name="T37" fmla="*/ 0 h 8"/>
                  <a:gd name="T38" fmla="*/ 18 w 19"/>
                  <a:gd name="T39" fmla="*/ 0 h 8"/>
                  <a:gd name="T40" fmla="*/ 19 w 19"/>
                  <a:gd name="T41" fmla="*/ 0 h 8"/>
                  <a:gd name="T42" fmla="*/ 19 w 19"/>
                  <a:gd name="T43" fmla="*/ 3 h 8"/>
                  <a:gd name="T44" fmla="*/ 19 w 19"/>
                  <a:gd name="T45" fmla="*/ 3 h 8"/>
                  <a:gd name="T46" fmla="*/ 18 w 19"/>
                  <a:gd name="T47" fmla="*/ 5 h 8"/>
                  <a:gd name="T48" fmla="*/ 15 w 19"/>
                  <a:gd name="T49" fmla="*/ 6 h 8"/>
                  <a:gd name="T50" fmla="*/ 15 w 19"/>
                  <a:gd name="T51" fmla="*/ 6 h 8"/>
                  <a:gd name="T52" fmla="*/ 15 w 19"/>
                  <a:gd name="T53" fmla="*/ 6 h 8"/>
                  <a:gd name="T54" fmla="*/ 15 w 19"/>
                  <a:gd name="T55" fmla="*/ 6 h 8"/>
                  <a:gd name="T56" fmla="*/ 15 w 19"/>
                  <a:gd name="T57" fmla="*/ 6 h 8"/>
                  <a:gd name="T58" fmla="*/ 15 w 19"/>
                  <a:gd name="T59" fmla="*/ 6 h 8"/>
                  <a:gd name="T60" fmla="*/ 15 w 19"/>
                  <a:gd name="T61" fmla="*/ 6 h 8"/>
                  <a:gd name="T62" fmla="*/ 15 w 19"/>
                  <a:gd name="T63" fmla="*/ 6 h 8"/>
                  <a:gd name="T64" fmla="*/ 15 w 19"/>
                  <a:gd name="T65" fmla="*/ 6 h 8"/>
                  <a:gd name="T66" fmla="*/ 15 w 19"/>
                  <a:gd name="T6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8">
                    <a:moveTo>
                      <a:pt x="15" y="6"/>
                    </a:moveTo>
                    <a:lnTo>
                      <a:pt x="15" y="6"/>
                    </a:lnTo>
                    <a:lnTo>
                      <a:pt x="8" y="8"/>
                    </a:lnTo>
                    <a:lnTo>
                      <a:pt x="2" y="6"/>
                    </a:lnTo>
                    <a:lnTo>
                      <a:pt x="2" y="6"/>
                    </a:lnTo>
                    <a:lnTo>
                      <a:pt x="2" y="6"/>
                    </a:lnTo>
                    <a:lnTo>
                      <a:pt x="0" y="6"/>
                    </a:lnTo>
                    <a:lnTo>
                      <a:pt x="0" y="5"/>
                    </a:lnTo>
                    <a:lnTo>
                      <a:pt x="0" y="5"/>
                    </a:lnTo>
                    <a:lnTo>
                      <a:pt x="2" y="3"/>
                    </a:lnTo>
                    <a:lnTo>
                      <a:pt x="2" y="3"/>
                    </a:lnTo>
                    <a:lnTo>
                      <a:pt x="0" y="3"/>
                    </a:lnTo>
                    <a:lnTo>
                      <a:pt x="0" y="0"/>
                    </a:lnTo>
                    <a:lnTo>
                      <a:pt x="0" y="0"/>
                    </a:lnTo>
                    <a:lnTo>
                      <a:pt x="0" y="0"/>
                    </a:lnTo>
                    <a:lnTo>
                      <a:pt x="2" y="0"/>
                    </a:lnTo>
                    <a:lnTo>
                      <a:pt x="8" y="0"/>
                    </a:lnTo>
                    <a:lnTo>
                      <a:pt x="15" y="0"/>
                    </a:lnTo>
                    <a:lnTo>
                      <a:pt x="15" y="0"/>
                    </a:lnTo>
                    <a:lnTo>
                      <a:pt x="18" y="0"/>
                    </a:lnTo>
                    <a:lnTo>
                      <a:pt x="19" y="0"/>
                    </a:lnTo>
                    <a:lnTo>
                      <a:pt x="19" y="3"/>
                    </a:lnTo>
                    <a:lnTo>
                      <a:pt x="19" y="3"/>
                    </a:lnTo>
                    <a:lnTo>
                      <a:pt x="18" y="5"/>
                    </a:lnTo>
                    <a:lnTo>
                      <a:pt x="15" y="6"/>
                    </a:lnTo>
                    <a:lnTo>
                      <a:pt x="15" y="6"/>
                    </a:lnTo>
                    <a:lnTo>
                      <a:pt x="15" y="6"/>
                    </a:lnTo>
                    <a:lnTo>
                      <a:pt x="15" y="6"/>
                    </a:lnTo>
                    <a:lnTo>
                      <a:pt x="15" y="6"/>
                    </a:lnTo>
                    <a:lnTo>
                      <a:pt x="15" y="6"/>
                    </a:lnTo>
                    <a:lnTo>
                      <a:pt x="15" y="6"/>
                    </a:lnTo>
                    <a:lnTo>
                      <a:pt x="15" y="6"/>
                    </a:lnTo>
                    <a:lnTo>
                      <a:pt x="15" y="6"/>
                    </a:lnTo>
                    <a:lnTo>
                      <a:pt x="15" y="6"/>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35" name="Freeform 56">
                <a:extLst>
                  <a:ext uri="{FF2B5EF4-FFF2-40B4-BE49-F238E27FC236}">
                    <a16:creationId xmlns:a16="http://schemas.microsoft.com/office/drawing/2014/main" id="{3F9EA210-0590-36B1-276E-DDBE61ADE249}"/>
                  </a:ext>
                </a:extLst>
              </p:cNvPr>
              <p:cNvSpPr>
                <a:spLocks noEditPoints="1"/>
              </p:cNvSpPr>
              <p:nvPr/>
            </p:nvSpPr>
            <p:spPr bwMode="auto">
              <a:xfrm>
                <a:off x="4033035" y="3480043"/>
                <a:ext cx="26917" cy="91966"/>
              </a:xfrm>
              <a:custGeom>
                <a:avLst/>
                <a:gdLst>
                  <a:gd name="T0" fmla="*/ 0 w 12"/>
                  <a:gd name="T1" fmla="*/ 0 h 41"/>
                  <a:gd name="T2" fmla="*/ 0 w 12"/>
                  <a:gd name="T3" fmla="*/ 1 h 41"/>
                  <a:gd name="T4" fmla="*/ 1 w 12"/>
                  <a:gd name="T5" fmla="*/ 0 h 41"/>
                  <a:gd name="T6" fmla="*/ 1 w 12"/>
                  <a:gd name="T7" fmla="*/ 0 h 41"/>
                  <a:gd name="T8" fmla="*/ 1 w 12"/>
                  <a:gd name="T9" fmla="*/ 0 h 41"/>
                  <a:gd name="T10" fmla="*/ 1 w 12"/>
                  <a:gd name="T11" fmla="*/ 0 h 41"/>
                  <a:gd name="T12" fmla="*/ 1 w 12"/>
                  <a:gd name="T13" fmla="*/ 0 h 41"/>
                  <a:gd name="T14" fmla="*/ 11 w 12"/>
                  <a:gd name="T15" fmla="*/ 28 h 41"/>
                  <a:gd name="T16" fmla="*/ 9 w 12"/>
                  <a:gd name="T17" fmla="*/ 27 h 41"/>
                  <a:gd name="T18" fmla="*/ 12 w 12"/>
                  <a:gd name="T19" fmla="*/ 31 h 41"/>
                  <a:gd name="T20" fmla="*/ 12 w 12"/>
                  <a:gd name="T21" fmla="*/ 31 h 41"/>
                  <a:gd name="T22" fmla="*/ 12 w 12"/>
                  <a:gd name="T23" fmla="*/ 31 h 41"/>
                  <a:gd name="T24" fmla="*/ 12 w 12"/>
                  <a:gd name="T25" fmla="*/ 31 h 41"/>
                  <a:gd name="T26" fmla="*/ 12 w 12"/>
                  <a:gd name="T27" fmla="*/ 31 h 41"/>
                  <a:gd name="T28" fmla="*/ 9 w 12"/>
                  <a:gd name="T29" fmla="*/ 19 h 41"/>
                  <a:gd name="T30" fmla="*/ 7 w 12"/>
                  <a:gd name="T31" fmla="*/ 20 h 41"/>
                  <a:gd name="T32" fmla="*/ 9 w 12"/>
                  <a:gd name="T33" fmla="*/ 22 h 41"/>
                  <a:gd name="T34" fmla="*/ 9 w 12"/>
                  <a:gd name="T35" fmla="*/ 20 h 41"/>
                  <a:gd name="T36" fmla="*/ 9 w 12"/>
                  <a:gd name="T37" fmla="*/ 20 h 41"/>
                  <a:gd name="T38" fmla="*/ 9 w 12"/>
                  <a:gd name="T39" fmla="*/ 20 h 41"/>
                  <a:gd name="T40" fmla="*/ 9 w 12"/>
                  <a:gd name="T41" fmla="*/ 20 h 41"/>
                  <a:gd name="T42" fmla="*/ 7 w 12"/>
                  <a:gd name="T43" fmla="*/ 7 h 41"/>
                  <a:gd name="T44" fmla="*/ 6 w 12"/>
                  <a:gd name="T45" fmla="*/ 6 h 41"/>
                  <a:gd name="T46" fmla="*/ 1 w 12"/>
                  <a:gd name="T47" fmla="*/ 7 h 41"/>
                  <a:gd name="T48" fmla="*/ 0 w 12"/>
                  <a:gd name="T49" fmla="*/ 12 h 41"/>
                  <a:gd name="T50" fmla="*/ 3 w 12"/>
                  <a:gd name="T51" fmla="*/ 11 h 41"/>
                  <a:gd name="T52" fmla="*/ 7 w 12"/>
                  <a:gd name="T53" fmla="*/ 9 h 41"/>
                  <a:gd name="T54" fmla="*/ 7 w 12"/>
                  <a:gd name="T55" fmla="*/ 7 h 41"/>
                  <a:gd name="T56" fmla="*/ 7 w 12"/>
                  <a:gd name="T57" fmla="*/ 7 h 41"/>
                  <a:gd name="T58" fmla="*/ 7 w 12"/>
                  <a:gd name="T59" fmla="*/ 7 h 41"/>
                  <a:gd name="T60" fmla="*/ 7 w 12"/>
                  <a:gd name="T61" fmla="*/ 7 h 41"/>
                  <a:gd name="T62" fmla="*/ 12 w 12"/>
                  <a:gd name="T63" fmla="*/ 41 h 41"/>
                  <a:gd name="T64" fmla="*/ 12 w 12"/>
                  <a:gd name="T65" fmla="*/ 38 h 41"/>
                  <a:gd name="T66" fmla="*/ 11 w 12"/>
                  <a:gd name="T67" fmla="*/ 41 h 41"/>
                  <a:gd name="T68" fmla="*/ 12 w 12"/>
                  <a:gd name="T69" fmla="*/ 41 h 41"/>
                  <a:gd name="T70" fmla="*/ 12 w 12"/>
                  <a:gd name="T71" fmla="*/ 41 h 41"/>
                  <a:gd name="T72" fmla="*/ 12 w 12"/>
                  <a:gd name="T73" fmla="*/ 41 h 41"/>
                  <a:gd name="T74" fmla="*/ 12 w 12"/>
                  <a:gd name="T7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41">
                    <a:moveTo>
                      <a:pt x="1" y="0"/>
                    </a:moveTo>
                    <a:lnTo>
                      <a:pt x="0" y="0"/>
                    </a:lnTo>
                    <a:lnTo>
                      <a:pt x="0" y="1"/>
                    </a:lnTo>
                    <a:lnTo>
                      <a:pt x="0" y="1"/>
                    </a:lnTo>
                    <a:lnTo>
                      <a:pt x="1" y="1"/>
                    </a:lnTo>
                    <a:lnTo>
                      <a:pt x="1" y="0"/>
                    </a:lnTo>
                    <a:lnTo>
                      <a:pt x="1" y="0"/>
                    </a:lnTo>
                    <a:lnTo>
                      <a:pt x="1" y="0"/>
                    </a:lnTo>
                    <a:lnTo>
                      <a:pt x="1" y="0"/>
                    </a:lnTo>
                    <a:lnTo>
                      <a:pt x="1" y="0"/>
                    </a:lnTo>
                    <a:lnTo>
                      <a:pt x="1" y="0"/>
                    </a:lnTo>
                    <a:lnTo>
                      <a:pt x="1" y="0"/>
                    </a:lnTo>
                    <a:lnTo>
                      <a:pt x="1" y="0"/>
                    </a:lnTo>
                    <a:lnTo>
                      <a:pt x="1" y="0"/>
                    </a:lnTo>
                    <a:close/>
                    <a:moveTo>
                      <a:pt x="12" y="31"/>
                    </a:moveTo>
                    <a:lnTo>
                      <a:pt x="11" y="28"/>
                    </a:lnTo>
                    <a:lnTo>
                      <a:pt x="9" y="27"/>
                    </a:lnTo>
                    <a:lnTo>
                      <a:pt x="9" y="27"/>
                    </a:lnTo>
                    <a:lnTo>
                      <a:pt x="11" y="31"/>
                    </a:lnTo>
                    <a:lnTo>
                      <a:pt x="12" y="31"/>
                    </a:lnTo>
                    <a:lnTo>
                      <a:pt x="12" y="31"/>
                    </a:lnTo>
                    <a:lnTo>
                      <a:pt x="12" y="31"/>
                    </a:lnTo>
                    <a:lnTo>
                      <a:pt x="12" y="31"/>
                    </a:lnTo>
                    <a:lnTo>
                      <a:pt x="12" y="31"/>
                    </a:lnTo>
                    <a:lnTo>
                      <a:pt x="12" y="31"/>
                    </a:lnTo>
                    <a:lnTo>
                      <a:pt x="12" y="31"/>
                    </a:lnTo>
                    <a:lnTo>
                      <a:pt x="12" y="31"/>
                    </a:lnTo>
                    <a:lnTo>
                      <a:pt x="12" y="31"/>
                    </a:lnTo>
                    <a:close/>
                    <a:moveTo>
                      <a:pt x="9" y="20"/>
                    </a:moveTo>
                    <a:lnTo>
                      <a:pt x="9" y="19"/>
                    </a:lnTo>
                    <a:lnTo>
                      <a:pt x="7" y="17"/>
                    </a:lnTo>
                    <a:lnTo>
                      <a:pt x="7" y="20"/>
                    </a:lnTo>
                    <a:lnTo>
                      <a:pt x="7" y="22"/>
                    </a:lnTo>
                    <a:lnTo>
                      <a:pt x="9" y="22"/>
                    </a:lnTo>
                    <a:lnTo>
                      <a:pt x="9" y="20"/>
                    </a:lnTo>
                    <a:lnTo>
                      <a:pt x="9" y="20"/>
                    </a:lnTo>
                    <a:lnTo>
                      <a:pt x="9" y="20"/>
                    </a:lnTo>
                    <a:lnTo>
                      <a:pt x="9" y="20"/>
                    </a:lnTo>
                    <a:lnTo>
                      <a:pt x="9" y="20"/>
                    </a:lnTo>
                    <a:lnTo>
                      <a:pt x="9" y="20"/>
                    </a:lnTo>
                    <a:lnTo>
                      <a:pt x="9" y="20"/>
                    </a:lnTo>
                    <a:lnTo>
                      <a:pt x="9" y="20"/>
                    </a:lnTo>
                    <a:lnTo>
                      <a:pt x="9" y="20"/>
                    </a:lnTo>
                    <a:close/>
                    <a:moveTo>
                      <a:pt x="7" y="7"/>
                    </a:moveTo>
                    <a:lnTo>
                      <a:pt x="6" y="7"/>
                    </a:lnTo>
                    <a:lnTo>
                      <a:pt x="6" y="6"/>
                    </a:lnTo>
                    <a:lnTo>
                      <a:pt x="3" y="7"/>
                    </a:lnTo>
                    <a:lnTo>
                      <a:pt x="1" y="7"/>
                    </a:lnTo>
                    <a:lnTo>
                      <a:pt x="0" y="11"/>
                    </a:lnTo>
                    <a:lnTo>
                      <a:pt x="0" y="12"/>
                    </a:lnTo>
                    <a:lnTo>
                      <a:pt x="3" y="12"/>
                    </a:lnTo>
                    <a:lnTo>
                      <a:pt x="3" y="11"/>
                    </a:lnTo>
                    <a:lnTo>
                      <a:pt x="6" y="11"/>
                    </a:lnTo>
                    <a:lnTo>
                      <a:pt x="7" y="9"/>
                    </a:lnTo>
                    <a:lnTo>
                      <a:pt x="7" y="7"/>
                    </a:lnTo>
                    <a:lnTo>
                      <a:pt x="7" y="7"/>
                    </a:lnTo>
                    <a:lnTo>
                      <a:pt x="7" y="7"/>
                    </a:lnTo>
                    <a:lnTo>
                      <a:pt x="7" y="7"/>
                    </a:lnTo>
                    <a:lnTo>
                      <a:pt x="7" y="7"/>
                    </a:lnTo>
                    <a:lnTo>
                      <a:pt x="7" y="7"/>
                    </a:lnTo>
                    <a:lnTo>
                      <a:pt x="7" y="7"/>
                    </a:lnTo>
                    <a:lnTo>
                      <a:pt x="7" y="7"/>
                    </a:lnTo>
                    <a:lnTo>
                      <a:pt x="7" y="7"/>
                    </a:lnTo>
                    <a:close/>
                    <a:moveTo>
                      <a:pt x="12" y="41"/>
                    </a:moveTo>
                    <a:lnTo>
                      <a:pt x="12" y="41"/>
                    </a:lnTo>
                    <a:lnTo>
                      <a:pt x="12" y="38"/>
                    </a:lnTo>
                    <a:lnTo>
                      <a:pt x="12" y="38"/>
                    </a:lnTo>
                    <a:lnTo>
                      <a:pt x="11" y="41"/>
                    </a:lnTo>
                    <a:lnTo>
                      <a:pt x="12" y="41"/>
                    </a:lnTo>
                    <a:lnTo>
                      <a:pt x="12" y="41"/>
                    </a:lnTo>
                    <a:lnTo>
                      <a:pt x="12" y="41"/>
                    </a:lnTo>
                    <a:lnTo>
                      <a:pt x="12" y="41"/>
                    </a:lnTo>
                    <a:lnTo>
                      <a:pt x="12" y="41"/>
                    </a:lnTo>
                    <a:lnTo>
                      <a:pt x="12" y="41"/>
                    </a:lnTo>
                    <a:lnTo>
                      <a:pt x="12" y="41"/>
                    </a:lnTo>
                    <a:lnTo>
                      <a:pt x="12" y="41"/>
                    </a:lnTo>
                    <a:lnTo>
                      <a:pt x="12" y="4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36" name="Freeform 61">
                <a:extLst>
                  <a:ext uri="{FF2B5EF4-FFF2-40B4-BE49-F238E27FC236}">
                    <a16:creationId xmlns:a16="http://schemas.microsoft.com/office/drawing/2014/main" id="{E3D0673A-83BB-31FF-4EC5-858543976A56}"/>
                  </a:ext>
                </a:extLst>
              </p:cNvPr>
              <p:cNvSpPr>
                <a:spLocks/>
              </p:cNvSpPr>
              <p:nvPr/>
            </p:nvSpPr>
            <p:spPr bwMode="auto">
              <a:xfrm>
                <a:off x="3945555" y="3444153"/>
                <a:ext cx="8972" cy="2244"/>
              </a:xfrm>
              <a:custGeom>
                <a:avLst/>
                <a:gdLst>
                  <a:gd name="T0" fmla="*/ 4 w 4"/>
                  <a:gd name="T1" fmla="*/ 0 h 1"/>
                  <a:gd name="T2" fmla="*/ 0 w 4"/>
                  <a:gd name="T3" fmla="*/ 0 h 1"/>
                  <a:gd name="T4" fmla="*/ 0 w 4"/>
                  <a:gd name="T5" fmla="*/ 1 h 1"/>
                  <a:gd name="T6" fmla="*/ 4 w 4"/>
                  <a:gd name="T7" fmla="*/ 1 h 1"/>
                  <a:gd name="T8" fmla="*/ 4 w 4"/>
                  <a:gd name="T9" fmla="*/ 0 h 1"/>
                  <a:gd name="T10" fmla="*/ 4 w 4"/>
                  <a:gd name="T11" fmla="*/ 0 h 1"/>
                  <a:gd name="T12" fmla="*/ 4 w 4"/>
                  <a:gd name="T13" fmla="*/ 0 h 1"/>
                  <a:gd name="T14" fmla="*/ 4 w 4"/>
                  <a:gd name="T15" fmla="*/ 0 h 1"/>
                  <a:gd name="T16" fmla="*/ 4 w 4"/>
                  <a:gd name="T17" fmla="*/ 0 h 1"/>
                  <a:gd name="T18" fmla="*/ 4 w 4"/>
                  <a:gd name="T19" fmla="*/ 0 h 1"/>
                  <a:gd name="T20" fmla="*/ 4 w 4"/>
                  <a:gd name="T21" fmla="*/ 0 h 1"/>
                  <a:gd name="T22" fmla="*/ 4 w 4"/>
                  <a:gd name="T23" fmla="*/ 0 h 1"/>
                  <a:gd name="T24" fmla="*/ 4 w 4"/>
                  <a:gd name="T25" fmla="*/ 0 h 1"/>
                  <a:gd name="T26" fmla="*/ 4 w 4"/>
                  <a:gd name="T2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
                    <a:moveTo>
                      <a:pt x="4" y="0"/>
                    </a:moveTo>
                    <a:lnTo>
                      <a:pt x="0" y="0"/>
                    </a:lnTo>
                    <a:lnTo>
                      <a:pt x="0" y="1"/>
                    </a:lnTo>
                    <a:lnTo>
                      <a:pt x="4" y="1"/>
                    </a:lnTo>
                    <a:lnTo>
                      <a:pt x="4" y="0"/>
                    </a:lnTo>
                    <a:lnTo>
                      <a:pt x="4" y="0"/>
                    </a:lnTo>
                    <a:lnTo>
                      <a:pt x="4" y="0"/>
                    </a:lnTo>
                    <a:lnTo>
                      <a:pt x="4" y="0"/>
                    </a:lnTo>
                    <a:lnTo>
                      <a:pt x="4" y="0"/>
                    </a:lnTo>
                    <a:lnTo>
                      <a:pt x="4" y="0"/>
                    </a:lnTo>
                    <a:lnTo>
                      <a:pt x="4" y="0"/>
                    </a:lnTo>
                    <a:lnTo>
                      <a:pt x="4" y="0"/>
                    </a:lnTo>
                    <a:lnTo>
                      <a:pt x="4" y="0"/>
                    </a:lnTo>
                    <a:lnTo>
                      <a:pt x="4" y="0"/>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37" name="Freeform 62">
                <a:extLst>
                  <a:ext uri="{FF2B5EF4-FFF2-40B4-BE49-F238E27FC236}">
                    <a16:creationId xmlns:a16="http://schemas.microsoft.com/office/drawing/2014/main" id="{3B82AD86-90C6-B770-76A1-BD68CABBB221}"/>
                  </a:ext>
                </a:extLst>
              </p:cNvPr>
              <p:cNvSpPr>
                <a:spLocks noEditPoints="1"/>
              </p:cNvSpPr>
              <p:nvPr/>
            </p:nvSpPr>
            <p:spPr bwMode="auto">
              <a:xfrm>
                <a:off x="3840131" y="3607898"/>
                <a:ext cx="24674" cy="6730"/>
              </a:xfrm>
              <a:custGeom>
                <a:avLst/>
                <a:gdLst>
                  <a:gd name="T0" fmla="*/ 1 w 11"/>
                  <a:gd name="T1" fmla="*/ 0 h 3"/>
                  <a:gd name="T2" fmla="*/ 0 w 11"/>
                  <a:gd name="T3" fmla="*/ 0 h 3"/>
                  <a:gd name="T4" fmla="*/ 0 w 11"/>
                  <a:gd name="T5" fmla="*/ 0 h 3"/>
                  <a:gd name="T6" fmla="*/ 1 w 11"/>
                  <a:gd name="T7" fmla="*/ 1 h 3"/>
                  <a:gd name="T8" fmla="*/ 5 w 11"/>
                  <a:gd name="T9" fmla="*/ 3 h 3"/>
                  <a:gd name="T10" fmla="*/ 1 w 11"/>
                  <a:gd name="T11" fmla="*/ 1 h 3"/>
                  <a:gd name="T12" fmla="*/ 1 w 11"/>
                  <a:gd name="T13" fmla="*/ 0 h 3"/>
                  <a:gd name="T14" fmla="*/ 1 w 11"/>
                  <a:gd name="T15" fmla="*/ 0 h 3"/>
                  <a:gd name="T16" fmla="*/ 1 w 11"/>
                  <a:gd name="T17" fmla="*/ 0 h 3"/>
                  <a:gd name="T18" fmla="*/ 1 w 11"/>
                  <a:gd name="T19" fmla="*/ 0 h 3"/>
                  <a:gd name="T20" fmla="*/ 1 w 11"/>
                  <a:gd name="T21" fmla="*/ 0 h 3"/>
                  <a:gd name="T22" fmla="*/ 1 w 11"/>
                  <a:gd name="T23" fmla="*/ 0 h 3"/>
                  <a:gd name="T24" fmla="*/ 1 w 11"/>
                  <a:gd name="T25" fmla="*/ 0 h 3"/>
                  <a:gd name="T26" fmla="*/ 1 w 11"/>
                  <a:gd name="T27" fmla="*/ 0 h 3"/>
                  <a:gd name="T28" fmla="*/ 1 w 11"/>
                  <a:gd name="T29" fmla="*/ 0 h 3"/>
                  <a:gd name="T30" fmla="*/ 11 w 11"/>
                  <a:gd name="T31" fmla="*/ 0 h 3"/>
                  <a:gd name="T32" fmla="*/ 9 w 11"/>
                  <a:gd name="T33" fmla="*/ 0 h 3"/>
                  <a:gd name="T34" fmla="*/ 8 w 11"/>
                  <a:gd name="T35" fmla="*/ 0 h 3"/>
                  <a:gd name="T36" fmla="*/ 8 w 11"/>
                  <a:gd name="T37" fmla="*/ 1 h 3"/>
                  <a:gd name="T38" fmla="*/ 9 w 11"/>
                  <a:gd name="T39" fmla="*/ 1 h 3"/>
                  <a:gd name="T40" fmla="*/ 11 w 11"/>
                  <a:gd name="T41" fmla="*/ 3 h 3"/>
                  <a:gd name="T42" fmla="*/ 11 w 11"/>
                  <a:gd name="T43" fmla="*/ 1 h 3"/>
                  <a:gd name="T44" fmla="*/ 11 w 11"/>
                  <a:gd name="T45" fmla="*/ 0 h 3"/>
                  <a:gd name="T46" fmla="*/ 11 w 11"/>
                  <a:gd name="T47" fmla="*/ 0 h 3"/>
                  <a:gd name="T48" fmla="*/ 11 w 11"/>
                  <a:gd name="T49" fmla="*/ 0 h 3"/>
                  <a:gd name="T50" fmla="*/ 11 w 11"/>
                  <a:gd name="T51" fmla="*/ 0 h 3"/>
                  <a:gd name="T52" fmla="*/ 11 w 11"/>
                  <a:gd name="T53" fmla="*/ 0 h 3"/>
                  <a:gd name="T54" fmla="*/ 11 w 11"/>
                  <a:gd name="T55" fmla="*/ 0 h 3"/>
                  <a:gd name="T56" fmla="*/ 11 w 11"/>
                  <a:gd name="T57" fmla="*/ 0 h 3"/>
                  <a:gd name="T58" fmla="*/ 11 w 11"/>
                  <a:gd name="T59" fmla="*/ 0 h 3"/>
                  <a:gd name="T60" fmla="*/ 11 w 11"/>
                  <a:gd name="T6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 h="3">
                    <a:moveTo>
                      <a:pt x="1" y="0"/>
                    </a:moveTo>
                    <a:lnTo>
                      <a:pt x="0" y="0"/>
                    </a:lnTo>
                    <a:lnTo>
                      <a:pt x="0" y="0"/>
                    </a:lnTo>
                    <a:lnTo>
                      <a:pt x="1" y="1"/>
                    </a:lnTo>
                    <a:lnTo>
                      <a:pt x="5" y="3"/>
                    </a:lnTo>
                    <a:lnTo>
                      <a:pt x="1" y="1"/>
                    </a:lnTo>
                    <a:lnTo>
                      <a:pt x="1" y="0"/>
                    </a:lnTo>
                    <a:lnTo>
                      <a:pt x="1" y="0"/>
                    </a:lnTo>
                    <a:lnTo>
                      <a:pt x="1" y="0"/>
                    </a:lnTo>
                    <a:lnTo>
                      <a:pt x="1" y="0"/>
                    </a:lnTo>
                    <a:lnTo>
                      <a:pt x="1" y="0"/>
                    </a:lnTo>
                    <a:lnTo>
                      <a:pt x="1" y="0"/>
                    </a:lnTo>
                    <a:lnTo>
                      <a:pt x="1" y="0"/>
                    </a:lnTo>
                    <a:lnTo>
                      <a:pt x="1" y="0"/>
                    </a:lnTo>
                    <a:lnTo>
                      <a:pt x="1" y="0"/>
                    </a:lnTo>
                    <a:close/>
                    <a:moveTo>
                      <a:pt x="11" y="0"/>
                    </a:moveTo>
                    <a:lnTo>
                      <a:pt x="9" y="0"/>
                    </a:lnTo>
                    <a:lnTo>
                      <a:pt x="8" y="0"/>
                    </a:lnTo>
                    <a:lnTo>
                      <a:pt x="8" y="1"/>
                    </a:lnTo>
                    <a:lnTo>
                      <a:pt x="9" y="1"/>
                    </a:lnTo>
                    <a:lnTo>
                      <a:pt x="11" y="3"/>
                    </a:lnTo>
                    <a:lnTo>
                      <a:pt x="11" y="1"/>
                    </a:lnTo>
                    <a:lnTo>
                      <a:pt x="11" y="0"/>
                    </a:lnTo>
                    <a:lnTo>
                      <a:pt x="11" y="0"/>
                    </a:lnTo>
                    <a:lnTo>
                      <a:pt x="11" y="0"/>
                    </a:lnTo>
                    <a:lnTo>
                      <a:pt x="11" y="0"/>
                    </a:lnTo>
                    <a:lnTo>
                      <a:pt x="11" y="0"/>
                    </a:lnTo>
                    <a:lnTo>
                      <a:pt x="11" y="0"/>
                    </a:lnTo>
                    <a:lnTo>
                      <a:pt x="11" y="0"/>
                    </a:lnTo>
                    <a:lnTo>
                      <a:pt x="11" y="0"/>
                    </a:lnTo>
                    <a:lnTo>
                      <a:pt x="11" y="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38" name="Freeform 23">
                <a:extLst>
                  <a:ext uri="{FF2B5EF4-FFF2-40B4-BE49-F238E27FC236}">
                    <a16:creationId xmlns:a16="http://schemas.microsoft.com/office/drawing/2014/main" id="{D22E6240-8ED7-FD35-0BB7-78FC8F1BF5D1}"/>
                  </a:ext>
                </a:extLst>
              </p:cNvPr>
              <p:cNvSpPr>
                <a:spLocks/>
              </p:cNvSpPr>
              <p:nvPr/>
            </p:nvSpPr>
            <p:spPr bwMode="auto">
              <a:xfrm>
                <a:off x="3223286" y="3565279"/>
                <a:ext cx="67292" cy="38133"/>
              </a:xfrm>
              <a:custGeom>
                <a:avLst/>
                <a:gdLst>
                  <a:gd name="T0" fmla="*/ 30 w 30"/>
                  <a:gd name="T1" fmla="*/ 6 h 17"/>
                  <a:gd name="T2" fmla="*/ 29 w 30"/>
                  <a:gd name="T3" fmla="*/ 6 h 17"/>
                  <a:gd name="T4" fmla="*/ 27 w 30"/>
                  <a:gd name="T5" fmla="*/ 6 h 17"/>
                  <a:gd name="T6" fmla="*/ 26 w 30"/>
                  <a:gd name="T7" fmla="*/ 6 h 17"/>
                  <a:gd name="T8" fmla="*/ 26 w 30"/>
                  <a:gd name="T9" fmla="*/ 4 h 17"/>
                  <a:gd name="T10" fmla="*/ 21 w 30"/>
                  <a:gd name="T11" fmla="*/ 6 h 17"/>
                  <a:gd name="T12" fmla="*/ 21 w 30"/>
                  <a:gd name="T13" fmla="*/ 4 h 17"/>
                  <a:gd name="T14" fmla="*/ 18 w 30"/>
                  <a:gd name="T15" fmla="*/ 3 h 17"/>
                  <a:gd name="T16" fmla="*/ 18 w 30"/>
                  <a:gd name="T17" fmla="*/ 1 h 17"/>
                  <a:gd name="T18" fmla="*/ 11 w 30"/>
                  <a:gd name="T19" fmla="*/ 0 h 17"/>
                  <a:gd name="T20" fmla="*/ 10 w 30"/>
                  <a:gd name="T21" fmla="*/ 0 h 17"/>
                  <a:gd name="T22" fmla="*/ 6 w 30"/>
                  <a:gd name="T23" fmla="*/ 0 h 17"/>
                  <a:gd name="T24" fmla="*/ 6 w 30"/>
                  <a:gd name="T25" fmla="*/ 1 h 17"/>
                  <a:gd name="T26" fmla="*/ 3 w 30"/>
                  <a:gd name="T27" fmla="*/ 4 h 17"/>
                  <a:gd name="T28" fmla="*/ 3 w 30"/>
                  <a:gd name="T29" fmla="*/ 4 h 17"/>
                  <a:gd name="T30" fmla="*/ 0 w 30"/>
                  <a:gd name="T31" fmla="*/ 6 h 17"/>
                  <a:gd name="T32" fmla="*/ 0 w 30"/>
                  <a:gd name="T33" fmla="*/ 6 h 17"/>
                  <a:gd name="T34" fmla="*/ 0 w 30"/>
                  <a:gd name="T35" fmla="*/ 9 h 17"/>
                  <a:gd name="T36" fmla="*/ 3 w 30"/>
                  <a:gd name="T37" fmla="*/ 12 h 17"/>
                  <a:gd name="T38" fmla="*/ 6 w 30"/>
                  <a:gd name="T39" fmla="*/ 12 h 17"/>
                  <a:gd name="T40" fmla="*/ 10 w 30"/>
                  <a:gd name="T41" fmla="*/ 12 h 17"/>
                  <a:gd name="T42" fmla="*/ 14 w 30"/>
                  <a:gd name="T43" fmla="*/ 16 h 17"/>
                  <a:gd name="T44" fmla="*/ 18 w 30"/>
                  <a:gd name="T45" fmla="*/ 16 h 17"/>
                  <a:gd name="T46" fmla="*/ 21 w 30"/>
                  <a:gd name="T47" fmla="*/ 16 h 17"/>
                  <a:gd name="T48" fmla="*/ 21 w 30"/>
                  <a:gd name="T49" fmla="*/ 17 h 17"/>
                  <a:gd name="T50" fmla="*/ 24 w 30"/>
                  <a:gd name="T51" fmla="*/ 17 h 17"/>
                  <a:gd name="T52" fmla="*/ 26 w 30"/>
                  <a:gd name="T53" fmla="*/ 17 h 17"/>
                  <a:gd name="T54" fmla="*/ 27 w 30"/>
                  <a:gd name="T55" fmla="*/ 17 h 17"/>
                  <a:gd name="T56" fmla="*/ 29 w 30"/>
                  <a:gd name="T57" fmla="*/ 16 h 17"/>
                  <a:gd name="T58" fmla="*/ 29 w 30"/>
                  <a:gd name="T59" fmla="*/ 14 h 17"/>
                  <a:gd name="T60" fmla="*/ 29 w 30"/>
                  <a:gd name="T61" fmla="*/ 12 h 17"/>
                  <a:gd name="T62" fmla="*/ 29 w 30"/>
                  <a:gd name="T63" fmla="*/ 12 h 17"/>
                  <a:gd name="T64" fmla="*/ 30 w 30"/>
                  <a:gd name="T65" fmla="*/ 11 h 17"/>
                  <a:gd name="T66" fmla="*/ 30 w 30"/>
                  <a:gd name="T67" fmla="*/ 8 h 17"/>
                  <a:gd name="T68" fmla="*/ 30 w 30"/>
                  <a:gd name="T69" fmla="*/ 6 h 17"/>
                  <a:gd name="T70" fmla="*/ 30 w 30"/>
                  <a:gd name="T71" fmla="*/ 6 h 17"/>
                  <a:gd name="T72" fmla="*/ 30 w 30"/>
                  <a:gd name="T73" fmla="*/ 6 h 17"/>
                  <a:gd name="T74" fmla="*/ 30 w 30"/>
                  <a:gd name="T75" fmla="*/ 6 h 17"/>
                  <a:gd name="T76" fmla="*/ 30 w 30"/>
                  <a:gd name="T77" fmla="*/ 6 h 17"/>
                  <a:gd name="T78" fmla="*/ 30 w 30"/>
                  <a:gd name="T79" fmla="*/ 6 h 17"/>
                  <a:gd name="T80" fmla="*/ 30 w 30"/>
                  <a:gd name="T81" fmla="*/ 6 h 17"/>
                  <a:gd name="T82" fmla="*/ 30 w 30"/>
                  <a:gd name="T83" fmla="*/ 6 h 17"/>
                  <a:gd name="T84" fmla="*/ 30 w 30"/>
                  <a:gd name="T85"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 h="17">
                    <a:moveTo>
                      <a:pt x="30" y="6"/>
                    </a:moveTo>
                    <a:lnTo>
                      <a:pt x="29" y="6"/>
                    </a:lnTo>
                    <a:lnTo>
                      <a:pt x="27" y="6"/>
                    </a:lnTo>
                    <a:lnTo>
                      <a:pt x="26" y="6"/>
                    </a:lnTo>
                    <a:lnTo>
                      <a:pt x="26" y="4"/>
                    </a:lnTo>
                    <a:lnTo>
                      <a:pt x="21" y="6"/>
                    </a:lnTo>
                    <a:lnTo>
                      <a:pt x="21" y="4"/>
                    </a:lnTo>
                    <a:lnTo>
                      <a:pt x="18" y="3"/>
                    </a:lnTo>
                    <a:lnTo>
                      <a:pt x="18" y="1"/>
                    </a:lnTo>
                    <a:lnTo>
                      <a:pt x="11" y="0"/>
                    </a:lnTo>
                    <a:lnTo>
                      <a:pt x="10" y="0"/>
                    </a:lnTo>
                    <a:lnTo>
                      <a:pt x="6" y="0"/>
                    </a:lnTo>
                    <a:lnTo>
                      <a:pt x="6" y="1"/>
                    </a:lnTo>
                    <a:lnTo>
                      <a:pt x="3" y="4"/>
                    </a:lnTo>
                    <a:lnTo>
                      <a:pt x="3" y="4"/>
                    </a:lnTo>
                    <a:lnTo>
                      <a:pt x="0" y="6"/>
                    </a:lnTo>
                    <a:lnTo>
                      <a:pt x="0" y="6"/>
                    </a:lnTo>
                    <a:lnTo>
                      <a:pt x="0" y="9"/>
                    </a:lnTo>
                    <a:lnTo>
                      <a:pt x="3" y="12"/>
                    </a:lnTo>
                    <a:lnTo>
                      <a:pt x="6" y="12"/>
                    </a:lnTo>
                    <a:lnTo>
                      <a:pt x="10" y="12"/>
                    </a:lnTo>
                    <a:lnTo>
                      <a:pt x="14" y="16"/>
                    </a:lnTo>
                    <a:lnTo>
                      <a:pt x="18" y="16"/>
                    </a:lnTo>
                    <a:lnTo>
                      <a:pt x="21" y="16"/>
                    </a:lnTo>
                    <a:lnTo>
                      <a:pt x="21" y="17"/>
                    </a:lnTo>
                    <a:lnTo>
                      <a:pt x="24" y="17"/>
                    </a:lnTo>
                    <a:lnTo>
                      <a:pt x="26" y="17"/>
                    </a:lnTo>
                    <a:lnTo>
                      <a:pt x="27" y="17"/>
                    </a:lnTo>
                    <a:lnTo>
                      <a:pt x="29" y="16"/>
                    </a:lnTo>
                    <a:lnTo>
                      <a:pt x="29" y="14"/>
                    </a:lnTo>
                    <a:lnTo>
                      <a:pt x="29" y="12"/>
                    </a:lnTo>
                    <a:lnTo>
                      <a:pt x="29" y="12"/>
                    </a:lnTo>
                    <a:lnTo>
                      <a:pt x="30" y="11"/>
                    </a:lnTo>
                    <a:lnTo>
                      <a:pt x="30" y="8"/>
                    </a:lnTo>
                    <a:lnTo>
                      <a:pt x="30" y="6"/>
                    </a:lnTo>
                    <a:lnTo>
                      <a:pt x="30" y="6"/>
                    </a:lnTo>
                    <a:lnTo>
                      <a:pt x="30" y="6"/>
                    </a:lnTo>
                    <a:lnTo>
                      <a:pt x="30" y="6"/>
                    </a:lnTo>
                    <a:lnTo>
                      <a:pt x="30" y="6"/>
                    </a:lnTo>
                    <a:lnTo>
                      <a:pt x="30" y="6"/>
                    </a:lnTo>
                    <a:lnTo>
                      <a:pt x="30" y="6"/>
                    </a:lnTo>
                    <a:lnTo>
                      <a:pt x="30" y="6"/>
                    </a:lnTo>
                    <a:lnTo>
                      <a:pt x="30" y="6"/>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39" name="Freeform 21">
                <a:extLst>
                  <a:ext uri="{FF2B5EF4-FFF2-40B4-BE49-F238E27FC236}">
                    <a16:creationId xmlns:a16="http://schemas.microsoft.com/office/drawing/2014/main" id="{6B4D7324-DFD9-0B5C-6B1F-34F3C9CE2249}"/>
                  </a:ext>
                </a:extLst>
              </p:cNvPr>
              <p:cNvSpPr>
                <a:spLocks/>
              </p:cNvSpPr>
              <p:nvPr/>
            </p:nvSpPr>
            <p:spPr bwMode="auto">
              <a:xfrm>
                <a:off x="3254689" y="3432938"/>
                <a:ext cx="42619" cy="85236"/>
              </a:xfrm>
              <a:custGeom>
                <a:avLst/>
                <a:gdLst>
                  <a:gd name="T0" fmla="*/ 12 w 19"/>
                  <a:gd name="T1" fmla="*/ 3 h 38"/>
                  <a:gd name="T2" fmla="*/ 8 w 19"/>
                  <a:gd name="T3" fmla="*/ 8 h 38"/>
                  <a:gd name="T4" fmla="*/ 7 w 19"/>
                  <a:gd name="T5" fmla="*/ 6 h 38"/>
                  <a:gd name="T6" fmla="*/ 7 w 19"/>
                  <a:gd name="T7" fmla="*/ 8 h 38"/>
                  <a:gd name="T8" fmla="*/ 7 w 19"/>
                  <a:gd name="T9" fmla="*/ 11 h 38"/>
                  <a:gd name="T10" fmla="*/ 5 w 19"/>
                  <a:gd name="T11" fmla="*/ 13 h 38"/>
                  <a:gd name="T12" fmla="*/ 4 w 19"/>
                  <a:gd name="T13" fmla="*/ 19 h 38"/>
                  <a:gd name="T14" fmla="*/ 0 w 19"/>
                  <a:gd name="T15" fmla="*/ 38 h 38"/>
                  <a:gd name="T16" fmla="*/ 4 w 19"/>
                  <a:gd name="T17" fmla="*/ 38 h 38"/>
                  <a:gd name="T18" fmla="*/ 7 w 19"/>
                  <a:gd name="T19" fmla="*/ 35 h 38"/>
                  <a:gd name="T20" fmla="*/ 8 w 19"/>
                  <a:gd name="T21" fmla="*/ 32 h 38"/>
                  <a:gd name="T22" fmla="*/ 12 w 19"/>
                  <a:gd name="T23" fmla="*/ 28 h 38"/>
                  <a:gd name="T24" fmla="*/ 13 w 19"/>
                  <a:gd name="T25" fmla="*/ 25 h 38"/>
                  <a:gd name="T26" fmla="*/ 13 w 19"/>
                  <a:gd name="T27" fmla="*/ 28 h 38"/>
                  <a:gd name="T28" fmla="*/ 15 w 19"/>
                  <a:gd name="T29" fmla="*/ 24 h 38"/>
                  <a:gd name="T30" fmla="*/ 15 w 19"/>
                  <a:gd name="T31" fmla="*/ 19 h 38"/>
                  <a:gd name="T32" fmla="*/ 16 w 19"/>
                  <a:gd name="T33" fmla="*/ 11 h 38"/>
                  <a:gd name="T34" fmla="*/ 18 w 19"/>
                  <a:gd name="T35" fmla="*/ 5 h 38"/>
                  <a:gd name="T36" fmla="*/ 19 w 19"/>
                  <a:gd name="T37" fmla="*/ 3 h 38"/>
                  <a:gd name="T38" fmla="*/ 18 w 19"/>
                  <a:gd name="T39" fmla="*/ 3 h 38"/>
                  <a:gd name="T40" fmla="*/ 16 w 19"/>
                  <a:gd name="T41" fmla="*/ 3 h 38"/>
                  <a:gd name="T42" fmla="*/ 18 w 19"/>
                  <a:gd name="T43" fmla="*/ 0 h 38"/>
                  <a:gd name="T44" fmla="*/ 15 w 19"/>
                  <a:gd name="T45" fmla="*/ 0 h 38"/>
                  <a:gd name="T46" fmla="*/ 12 w 19"/>
                  <a:gd name="T47" fmla="*/ 3 h 38"/>
                  <a:gd name="T48" fmla="*/ 12 w 19"/>
                  <a:gd name="T49" fmla="*/ 3 h 38"/>
                  <a:gd name="T50" fmla="*/ 12 w 19"/>
                  <a:gd name="T51" fmla="*/ 3 h 38"/>
                  <a:gd name="T52" fmla="*/ 12 w 19"/>
                  <a:gd name="T53" fmla="*/ 3 h 38"/>
                  <a:gd name="T54" fmla="*/ 12 w 19"/>
                  <a:gd name="T55" fmla="*/ 3 h 38"/>
                  <a:gd name="T56" fmla="*/ 12 w 19"/>
                  <a:gd name="T57" fmla="*/ 3 h 38"/>
                  <a:gd name="T58" fmla="*/ 12 w 19"/>
                  <a:gd name="T59" fmla="*/ 3 h 38"/>
                  <a:gd name="T60" fmla="*/ 12 w 19"/>
                  <a:gd name="T61" fmla="*/ 3 h 38"/>
                  <a:gd name="T62" fmla="*/ 12 w 19"/>
                  <a:gd name="T63"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 h="38">
                    <a:moveTo>
                      <a:pt x="12" y="3"/>
                    </a:moveTo>
                    <a:lnTo>
                      <a:pt x="8" y="8"/>
                    </a:lnTo>
                    <a:lnTo>
                      <a:pt x="7" y="6"/>
                    </a:lnTo>
                    <a:lnTo>
                      <a:pt x="7" y="8"/>
                    </a:lnTo>
                    <a:lnTo>
                      <a:pt x="7" y="11"/>
                    </a:lnTo>
                    <a:lnTo>
                      <a:pt x="5" y="13"/>
                    </a:lnTo>
                    <a:lnTo>
                      <a:pt x="4" y="19"/>
                    </a:lnTo>
                    <a:lnTo>
                      <a:pt x="0" y="38"/>
                    </a:lnTo>
                    <a:lnTo>
                      <a:pt x="4" y="38"/>
                    </a:lnTo>
                    <a:lnTo>
                      <a:pt x="7" y="35"/>
                    </a:lnTo>
                    <a:lnTo>
                      <a:pt x="8" y="32"/>
                    </a:lnTo>
                    <a:lnTo>
                      <a:pt x="12" y="28"/>
                    </a:lnTo>
                    <a:lnTo>
                      <a:pt x="13" y="25"/>
                    </a:lnTo>
                    <a:lnTo>
                      <a:pt x="13" y="28"/>
                    </a:lnTo>
                    <a:lnTo>
                      <a:pt x="15" y="24"/>
                    </a:lnTo>
                    <a:lnTo>
                      <a:pt x="15" y="19"/>
                    </a:lnTo>
                    <a:lnTo>
                      <a:pt x="16" y="11"/>
                    </a:lnTo>
                    <a:lnTo>
                      <a:pt x="18" y="5"/>
                    </a:lnTo>
                    <a:lnTo>
                      <a:pt x="19" y="3"/>
                    </a:lnTo>
                    <a:lnTo>
                      <a:pt x="18" y="3"/>
                    </a:lnTo>
                    <a:lnTo>
                      <a:pt x="16" y="3"/>
                    </a:lnTo>
                    <a:lnTo>
                      <a:pt x="18" y="0"/>
                    </a:lnTo>
                    <a:lnTo>
                      <a:pt x="15" y="0"/>
                    </a:lnTo>
                    <a:lnTo>
                      <a:pt x="12" y="3"/>
                    </a:lnTo>
                    <a:lnTo>
                      <a:pt x="12" y="3"/>
                    </a:lnTo>
                    <a:lnTo>
                      <a:pt x="12" y="3"/>
                    </a:lnTo>
                    <a:lnTo>
                      <a:pt x="12" y="3"/>
                    </a:lnTo>
                    <a:lnTo>
                      <a:pt x="12" y="3"/>
                    </a:lnTo>
                    <a:lnTo>
                      <a:pt x="12" y="3"/>
                    </a:lnTo>
                    <a:lnTo>
                      <a:pt x="12" y="3"/>
                    </a:lnTo>
                    <a:lnTo>
                      <a:pt x="12" y="3"/>
                    </a:lnTo>
                    <a:lnTo>
                      <a:pt x="12" y="3"/>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40" name="Freeform 24">
                <a:extLst>
                  <a:ext uri="{FF2B5EF4-FFF2-40B4-BE49-F238E27FC236}">
                    <a16:creationId xmlns:a16="http://schemas.microsoft.com/office/drawing/2014/main" id="{E26D4B3F-0BFE-DF28-35CE-70289D1A197E}"/>
                  </a:ext>
                </a:extLst>
              </p:cNvPr>
              <p:cNvSpPr>
                <a:spLocks noEditPoints="1"/>
              </p:cNvSpPr>
              <p:nvPr/>
            </p:nvSpPr>
            <p:spPr bwMode="auto">
              <a:xfrm>
                <a:off x="3247960" y="3495744"/>
                <a:ext cx="179446" cy="114397"/>
              </a:xfrm>
              <a:custGeom>
                <a:avLst/>
                <a:gdLst>
                  <a:gd name="T0" fmla="*/ 38 w 80"/>
                  <a:gd name="T1" fmla="*/ 4 h 51"/>
                  <a:gd name="T2" fmla="*/ 38 w 80"/>
                  <a:gd name="T3" fmla="*/ 0 h 51"/>
                  <a:gd name="T4" fmla="*/ 38 w 80"/>
                  <a:gd name="T5" fmla="*/ 0 h 51"/>
                  <a:gd name="T6" fmla="*/ 38 w 80"/>
                  <a:gd name="T7" fmla="*/ 0 h 51"/>
                  <a:gd name="T8" fmla="*/ 38 w 80"/>
                  <a:gd name="T9" fmla="*/ 0 h 51"/>
                  <a:gd name="T10" fmla="*/ 38 w 80"/>
                  <a:gd name="T11" fmla="*/ 0 h 51"/>
                  <a:gd name="T12" fmla="*/ 76 w 80"/>
                  <a:gd name="T13" fmla="*/ 20 h 51"/>
                  <a:gd name="T14" fmla="*/ 76 w 80"/>
                  <a:gd name="T15" fmla="*/ 20 h 51"/>
                  <a:gd name="T16" fmla="*/ 73 w 80"/>
                  <a:gd name="T17" fmla="*/ 18 h 51"/>
                  <a:gd name="T18" fmla="*/ 70 w 80"/>
                  <a:gd name="T19" fmla="*/ 16 h 51"/>
                  <a:gd name="T20" fmla="*/ 70 w 80"/>
                  <a:gd name="T21" fmla="*/ 18 h 51"/>
                  <a:gd name="T22" fmla="*/ 67 w 80"/>
                  <a:gd name="T23" fmla="*/ 13 h 51"/>
                  <a:gd name="T24" fmla="*/ 73 w 80"/>
                  <a:gd name="T25" fmla="*/ 16 h 51"/>
                  <a:gd name="T26" fmla="*/ 67 w 80"/>
                  <a:gd name="T27" fmla="*/ 10 h 51"/>
                  <a:gd name="T28" fmla="*/ 61 w 80"/>
                  <a:gd name="T29" fmla="*/ 10 h 51"/>
                  <a:gd name="T30" fmla="*/ 57 w 80"/>
                  <a:gd name="T31" fmla="*/ 10 h 51"/>
                  <a:gd name="T32" fmla="*/ 48 w 80"/>
                  <a:gd name="T33" fmla="*/ 7 h 51"/>
                  <a:gd name="T34" fmla="*/ 45 w 80"/>
                  <a:gd name="T35" fmla="*/ 10 h 51"/>
                  <a:gd name="T36" fmla="*/ 38 w 80"/>
                  <a:gd name="T37" fmla="*/ 10 h 51"/>
                  <a:gd name="T38" fmla="*/ 29 w 80"/>
                  <a:gd name="T39" fmla="*/ 10 h 51"/>
                  <a:gd name="T40" fmla="*/ 22 w 80"/>
                  <a:gd name="T41" fmla="*/ 10 h 51"/>
                  <a:gd name="T42" fmla="*/ 18 w 80"/>
                  <a:gd name="T43" fmla="*/ 10 h 51"/>
                  <a:gd name="T44" fmla="*/ 15 w 80"/>
                  <a:gd name="T45" fmla="*/ 12 h 51"/>
                  <a:gd name="T46" fmla="*/ 10 w 80"/>
                  <a:gd name="T47" fmla="*/ 18 h 51"/>
                  <a:gd name="T48" fmla="*/ 3 w 80"/>
                  <a:gd name="T49" fmla="*/ 21 h 51"/>
                  <a:gd name="T50" fmla="*/ 3 w 80"/>
                  <a:gd name="T51" fmla="*/ 26 h 51"/>
                  <a:gd name="T52" fmla="*/ 0 w 80"/>
                  <a:gd name="T53" fmla="*/ 31 h 51"/>
                  <a:gd name="T54" fmla="*/ 7 w 80"/>
                  <a:gd name="T55" fmla="*/ 34 h 51"/>
                  <a:gd name="T56" fmla="*/ 10 w 80"/>
                  <a:gd name="T57" fmla="*/ 37 h 51"/>
                  <a:gd name="T58" fmla="*/ 15 w 80"/>
                  <a:gd name="T59" fmla="*/ 37 h 51"/>
                  <a:gd name="T60" fmla="*/ 18 w 80"/>
                  <a:gd name="T61" fmla="*/ 37 h 51"/>
                  <a:gd name="T62" fmla="*/ 19 w 80"/>
                  <a:gd name="T63" fmla="*/ 39 h 51"/>
                  <a:gd name="T64" fmla="*/ 19 w 80"/>
                  <a:gd name="T65" fmla="*/ 43 h 51"/>
                  <a:gd name="T66" fmla="*/ 22 w 80"/>
                  <a:gd name="T67" fmla="*/ 45 h 51"/>
                  <a:gd name="T68" fmla="*/ 22 w 80"/>
                  <a:gd name="T69" fmla="*/ 48 h 51"/>
                  <a:gd name="T70" fmla="*/ 24 w 80"/>
                  <a:gd name="T71" fmla="*/ 51 h 51"/>
                  <a:gd name="T72" fmla="*/ 29 w 80"/>
                  <a:gd name="T73" fmla="*/ 48 h 51"/>
                  <a:gd name="T74" fmla="*/ 30 w 80"/>
                  <a:gd name="T75" fmla="*/ 47 h 51"/>
                  <a:gd name="T76" fmla="*/ 32 w 80"/>
                  <a:gd name="T77" fmla="*/ 42 h 51"/>
                  <a:gd name="T78" fmla="*/ 34 w 80"/>
                  <a:gd name="T79" fmla="*/ 39 h 51"/>
                  <a:gd name="T80" fmla="*/ 38 w 80"/>
                  <a:gd name="T81" fmla="*/ 39 h 51"/>
                  <a:gd name="T82" fmla="*/ 42 w 80"/>
                  <a:gd name="T83" fmla="*/ 35 h 51"/>
                  <a:gd name="T84" fmla="*/ 45 w 80"/>
                  <a:gd name="T85" fmla="*/ 35 h 51"/>
                  <a:gd name="T86" fmla="*/ 51 w 80"/>
                  <a:gd name="T87" fmla="*/ 31 h 51"/>
                  <a:gd name="T88" fmla="*/ 53 w 80"/>
                  <a:gd name="T89" fmla="*/ 27 h 51"/>
                  <a:gd name="T90" fmla="*/ 56 w 80"/>
                  <a:gd name="T91" fmla="*/ 24 h 51"/>
                  <a:gd name="T92" fmla="*/ 59 w 80"/>
                  <a:gd name="T93" fmla="*/ 24 h 51"/>
                  <a:gd name="T94" fmla="*/ 62 w 80"/>
                  <a:gd name="T95" fmla="*/ 27 h 51"/>
                  <a:gd name="T96" fmla="*/ 73 w 80"/>
                  <a:gd name="T97" fmla="*/ 24 h 51"/>
                  <a:gd name="T98" fmla="*/ 76 w 80"/>
                  <a:gd name="T99" fmla="*/ 23 h 51"/>
                  <a:gd name="T100" fmla="*/ 76 w 80"/>
                  <a:gd name="T101" fmla="*/ 21 h 51"/>
                  <a:gd name="T102" fmla="*/ 76 w 80"/>
                  <a:gd name="T103" fmla="*/ 21 h 51"/>
                  <a:gd name="T104" fmla="*/ 76 w 80"/>
                  <a:gd name="T105" fmla="*/ 21 h 51"/>
                  <a:gd name="T106" fmla="*/ 76 w 80"/>
                  <a:gd name="T107" fmla="*/ 21 h 51"/>
                  <a:gd name="T108" fmla="*/ 76 w 80"/>
                  <a:gd name="T109"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 h="51">
                    <a:moveTo>
                      <a:pt x="38" y="0"/>
                    </a:moveTo>
                    <a:lnTo>
                      <a:pt x="38" y="4"/>
                    </a:lnTo>
                    <a:lnTo>
                      <a:pt x="42" y="0"/>
                    </a:lnTo>
                    <a:lnTo>
                      <a:pt x="38" y="0"/>
                    </a:lnTo>
                    <a:lnTo>
                      <a:pt x="38" y="0"/>
                    </a:lnTo>
                    <a:lnTo>
                      <a:pt x="38" y="0"/>
                    </a:lnTo>
                    <a:lnTo>
                      <a:pt x="38" y="0"/>
                    </a:lnTo>
                    <a:lnTo>
                      <a:pt x="38" y="0"/>
                    </a:lnTo>
                    <a:lnTo>
                      <a:pt x="38" y="0"/>
                    </a:lnTo>
                    <a:lnTo>
                      <a:pt x="38" y="0"/>
                    </a:lnTo>
                    <a:lnTo>
                      <a:pt x="38" y="0"/>
                    </a:lnTo>
                    <a:lnTo>
                      <a:pt x="38" y="0"/>
                    </a:lnTo>
                    <a:close/>
                    <a:moveTo>
                      <a:pt x="76" y="21"/>
                    </a:moveTo>
                    <a:lnTo>
                      <a:pt x="76" y="20"/>
                    </a:lnTo>
                    <a:lnTo>
                      <a:pt x="76" y="18"/>
                    </a:lnTo>
                    <a:lnTo>
                      <a:pt x="76" y="20"/>
                    </a:lnTo>
                    <a:lnTo>
                      <a:pt x="73" y="20"/>
                    </a:lnTo>
                    <a:lnTo>
                      <a:pt x="73" y="18"/>
                    </a:lnTo>
                    <a:lnTo>
                      <a:pt x="73" y="18"/>
                    </a:lnTo>
                    <a:lnTo>
                      <a:pt x="70" y="16"/>
                    </a:lnTo>
                    <a:lnTo>
                      <a:pt x="70" y="16"/>
                    </a:lnTo>
                    <a:lnTo>
                      <a:pt x="70" y="18"/>
                    </a:lnTo>
                    <a:lnTo>
                      <a:pt x="68" y="16"/>
                    </a:lnTo>
                    <a:lnTo>
                      <a:pt x="67" y="13"/>
                    </a:lnTo>
                    <a:lnTo>
                      <a:pt x="70" y="15"/>
                    </a:lnTo>
                    <a:lnTo>
                      <a:pt x="73" y="16"/>
                    </a:lnTo>
                    <a:lnTo>
                      <a:pt x="70" y="13"/>
                    </a:lnTo>
                    <a:lnTo>
                      <a:pt x="67" y="10"/>
                    </a:lnTo>
                    <a:lnTo>
                      <a:pt x="64" y="10"/>
                    </a:lnTo>
                    <a:lnTo>
                      <a:pt x="61" y="10"/>
                    </a:lnTo>
                    <a:lnTo>
                      <a:pt x="59" y="7"/>
                    </a:lnTo>
                    <a:lnTo>
                      <a:pt x="57" y="10"/>
                    </a:lnTo>
                    <a:lnTo>
                      <a:pt x="53" y="10"/>
                    </a:lnTo>
                    <a:lnTo>
                      <a:pt x="48" y="7"/>
                    </a:lnTo>
                    <a:lnTo>
                      <a:pt x="45" y="7"/>
                    </a:lnTo>
                    <a:lnTo>
                      <a:pt x="45" y="10"/>
                    </a:lnTo>
                    <a:lnTo>
                      <a:pt x="42" y="10"/>
                    </a:lnTo>
                    <a:lnTo>
                      <a:pt x="38" y="10"/>
                    </a:lnTo>
                    <a:lnTo>
                      <a:pt x="34" y="10"/>
                    </a:lnTo>
                    <a:lnTo>
                      <a:pt x="29" y="10"/>
                    </a:lnTo>
                    <a:lnTo>
                      <a:pt x="24" y="10"/>
                    </a:lnTo>
                    <a:lnTo>
                      <a:pt x="22" y="10"/>
                    </a:lnTo>
                    <a:lnTo>
                      <a:pt x="21" y="10"/>
                    </a:lnTo>
                    <a:lnTo>
                      <a:pt x="18" y="10"/>
                    </a:lnTo>
                    <a:lnTo>
                      <a:pt x="16" y="12"/>
                    </a:lnTo>
                    <a:lnTo>
                      <a:pt x="15" y="12"/>
                    </a:lnTo>
                    <a:lnTo>
                      <a:pt x="11" y="13"/>
                    </a:lnTo>
                    <a:lnTo>
                      <a:pt x="10" y="18"/>
                    </a:lnTo>
                    <a:lnTo>
                      <a:pt x="3" y="20"/>
                    </a:lnTo>
                    <a:lnTo>
                      <a:pt x="3" y="21"/>
                    </a:lnTo>
                    <a:lnTo>
                      <a:pt x="3" y="24"/>
                    </a:lnTo>
                    <a:lnTo>
                      <a:pt x="3" y="26"/>
                    </a:lnTo>
                    <a:lnTo>
                      <a:pt x="0" y="27"/>
                    </a:lnTo>
                    <a:lnTo>
                      <a:pt x="0" y="31"/>
                    </a:lnTo>
                    <a:lnTo>
                      <a:pt x="7" y="32"/>
                    </a:lnTo>
                    <a:lnTo>
                      <a:pt x="7" y="34"/>
                    </a:lnTo>
                    <a:lnTo>
                      <a:pt x="10" y="35"/>
                    </a:lnTo>
                    <a:lnTo>
                      <a:pt x="10" y="37"/>
                    </a:lnTo>
                    <a:lnTo>
                      <a:pt x="15" y="35"/>
                    </a:lnTo>
                    <a:lnTo>
                      <a:pt x="15" y="37"/>
                    </a:lnTo>
                    <a:lnTo>
                      <a:pt x="16" y="37"/>
                    </a:lnTo>
                    <a:lnTo>
                      <a:pt x="18" y="37"/>
                    </a:lnTo>
                    <a:lnTo>
                      <a:pt x="19" y="37"/>
                    </a:lnTo>
                    <a:lnTo>
                      <a:pt x="19" y="39"/>
                    </a:lnTo>
                    <a:lnTo>
                      <a:pt x="19" y="42"/>
                    </a:lnTo>
                    <a:lnTo>
                      <a:pt x="19" y="43"/>
                    </a:lnTo>
                    <a:lnTo>
                      <a:pt x="21" y="45"/>
                    </a:lnTo>
                    <a:lnTo>
                      <a:pt x="22" y="45"/>
                    </a:lnTo>
                    <a:lnTo>
                      <a:pt x="22" y="47"/>
                    </a:lnTo>
                    <a:lnTo>
                      <a:pt x="22" y="48"/>
                    </a:lnTo>
                    <a:lnTo>
                      <a:pt x="24" y="50"/>
                    </a:lnTo>
                    <a:lnTo>
                      <a:pt x="24" y="51"/>
                    </a:lnTo>
                    <a:lnTo>
                      <a:pt x="27" y="50"/>
                    </a:lnTo>
                    <a:lnTo>
                      <a:pt x="29" y="48"/>
                    </a:lnTo>
                    <a:lnTo>
                      <a:pt x="29" y="47"/>
                    </a:lnTo>
                    <a:lnTo>
                      <a:pt x="30" y="47"/>
                    </a:lnTo>
                    <a:lnTo>
                      <a:pt x="32" y="45"/>
                    </a:lnTo>
                    <a:lnTo>
                      <a:pt x="32" y="42"/>
                    </a:lnTo>
                    <a:lnTo>
                      <a:pt x="32" y="39"/>
                    </a:lnTo>
                    <a:lnTo>
                      <a:pt x="34" y="39"/>
                    </a:lnTo>
                    <a:lnTo>
                      <a:pt x="35" y="39"/>
                    </a:lnTo>
                    <a:lnTo>
                      <a:pt x="38" y="39"/>
                    </a:lnTo>
                    <a:lnTo>
                      <a:pt x="38" y="37"/>
                    </a:lnTo>
                    <a:lnTo>
                      <a:pt x="42" y="35"/>
                    </a:lnTo>
                    <a:lnTo>
                      <a:pt x="45" y="39"/>
                    </a:lnTo>
                    <a:lnTo>
                      <a:pt x="45" y="35"/>
                    </a:lnTo>
                    <a:lnTo>
                      <a:pt x="46" y="34"/>
                    </a:lnTo>
                    <a:lnTo>
                      <a:pt x="51" y="31"/>
                    </a:lnTo>
                    <a:lnTo>
                      <a:pt x="53" y="31"/>
                    </a:lnTo>
                    <a:lnTo>
                      <a:pt x="53" y="27"/>
                    </a:lnTo>
                    <a:lnTo>
                      <a:pt x="54" y="27"/>
                    </a:lnTo>
                    <a:lnTo>
                      <a:pt x="56" y="24"/>
                    </a:lnTo>
                    <a:lnTo>
                      <a:pt x="57" y="24"/>
                    </a:lnTo>
                    <a:lnTo>
                      <a:pt x="59" y="24"/>
                    </a:lnTo>
                    <a:lnTo>
                      <a:pt x="61" y="26"/>
                    </a:lnTo>
                    <a:lnTo>
                      <a:pt x="62" y="27"/>
                    </a:lnTo>
                    <a:lnTo>
                      <a:pt x="65" y="26"/>
                    </a:lnTo>
                    <a:lnTo>
                      <a:pt x="73" y="24"/>
                    </a:lnTo>
                    <a:lnTo>
                      <a:pt x="76" y="23"/>
                    </a:lnTo>
                    <a:lnTo>
                      <a:pt x="76" y="23"/>
                    </a:lnTo>
                    <a:lnTo>
                      <a:pt x="80" y="23"/>
                    </a:lnTo>
                    <a:lnTo>
                      <a:pt x="76" y="21"/>
                    </a:lnTo>
                    <a:lnTo>
                      <a:pt x="76" y="21"/>
                    </a:lnTo>
                    <a:lnTo>
                      <a:pt x="76" y="21"/>
                    </a:lnTo>
                    <a:lnTo>
                      <a:pt x="76" y="21"/>
                    </a:lnTo>
                    <a:lnTo>
                      <a:pt x="76" y="21"/>
                    </a:lnTo>
                    <a:lnTo>
                      <a:pt x="76" y="21"/>
                    </a:lnTo>
                    <a:lnTo>
                      <a:pt x="76" y="21"/>
                    </a:lnTo>
                    <a:lnTo>
                      <a:pt x="76" y="21"/>
                    </a:lnTo>
                    <a:lnTo>
                      <a:pt x="76" y="2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41" name="Freeform 6">
                <a:extLst>
                  <a:ext uri="{FF2B5EF4-FFF2-40B4-BE49-F238E27FC236}">
                    <a16:creationId xmlns:a16="http://schemas.microsoft.com/office/drawing/2014/main" id="{3033FBF9-2244-DE0A-BBF2-0C5196B1740F}"/>
                  </a:ext>
                </a:extLst>
              </p:cNvPr>
              <p:cNvSpPr>
                <a:spLocks/>
              </p:cNvSpPr>
              <p:nvPr/>
            </p:nvSpPr>
            <p:spPr bwMode="auto">
              <a:xfrm>
                <a:off x="3167210" y="3450883"/>
                <a:ext cx="116639" cy="134584"/>
              </a:xfrm>
              <a:custGeom>
                <a:avLst/>
                <a:gdLst>
                  <a:gd name="T0" fmla="*/ 25 w 52"/>
                  <a:gd name="T1" fmla="*/ 0 h 60"/>
                  <a:gd name="T2" fmla="*/ 22 w 52"/>
                  <a:gd name="T3" fmla="*/ 1 h 60"/>
                  <a:gd name="T4" fmla="*/ 20 w 52"/>
                  <a:gd name="T5" fmla="*/ 8 h 60"/>
                  <a:gd name="T6" fmla="*/ 17 w 52"/>
                  <a:gd name="T7" fmla="*/ 9 h 60"/>
                  <a:gd name="T8" fmla="*/ 17 w 52"/>
                  <a:gd name="T9" fmla="*/ 13 h 60"/>
                  <a:gd name="T10" fmla="*/ 22 w 52"/>
                  <a:gd name="T11" fmla="*/ 17 h 60"/>
                  <a:gd name="T12" fmla="*/ 25 w 52"/>
                  <a:gd name="T13" fmla="*/ 20 h 60"/>
                  <a:gd name="T14" fmla="*/ 20 w 52"/>
                  <a:gd name="T15" fmla="*/ 27 h 60"/>
                  <a:gd name="T16" fmla="*/ 11 w 52"/>
                  <a:gd name="T17" fmla="*/ 27 h 60"/>
                  <a:gd name="T18" fmla="*/ 8 w 52"/>
                  <a:gd name="T19" fmla="*/ 27 h 60"/>
                  <a:gd name="T20" fmla="*/ 3 w 52"/>
                  <a:gd name="T21" fmla="*/ 38 h 60"/>
                  <a:gd name="T22" fmla="*/ 1 w 52"/>
                  <a:gd name="T23" fmla="*/ 43 h 60"/>
                  <a:gd name="T24" fmla="*/ 0 w 52"/>
                  <a:gd name="T25" fmla="*/ 47 h 60"/>
                  <a:gd name="T26" fmla="*/ 6 w 52"/>
                  <a:gd name="T27" fmla="*/ 54 h 60"/>
                  <a:gd name="T28" fmla="*/ 14 w 52"/>
                  <a:gd name="T29" fmla="*/ 57 h 60"/>
                  <a:gd name="T30" fmla="*/ 25 w 52"/>
                  <a:gd name="T31" fmla="*/ 60 h 60"/>
                  <a:gd name="T32" fmla="*/ 25 w 52"/>
                  <a:gd name="T33" fmla="*/ 57 h 60"/>
                  <a:gd name="T34" fmla="*/ 28 w 52"/>
                  <a:gd name="T35" fmla="*/ 55 h 60"/>
                  <a:gd name="T36" fmla="*/ 31 w 52"/>
                  <a:gd name="T37" fmla="*/ 51 h 60"/>
                  <a:gd name="T38" fmla="*/ 35 w 52"/>
                  <a:gd name="T39" fmla="*/ 51 h 60"/>
                  <a:gd name="T40" fmla="*/ 38 w 52"/>
                  <a:gd name="T41" fmla="*/ 46 h 60"/>
                  <a:gd name="T42" fmla="*/ 38 w 52"/>
                  <a:gd name="T43" fmla="*/ 41 h 60"/>
                  <a:gd name="T44" fmla="*/ 44 w 52"/>
                  <a:gd name="T45" fmla="*/ 38 h 60"/>
                  <a:gd name="T46" fmla="*/ 51 w 52"/>
                  <a:gd name="T47" fmla="*/ 32 h 60"/>
                  <a:gd name="T48" fmla="*/ 47 w 52"/>
                  <a:gd name="T49" fmla="*/ 30 h 60"/>
                  <a:gd name="T50" fmla="*/ 47 w 52"/>
                  <a:gd name="T51" fmla="*/ 32 h 60"/>
                  <a:gd name="T52" fmla="*/ 44 w 52"/>
                  <a:gd name="T53" fmla="*/ 30 h 60"/>
                  <a:gd name="T54" fmla="*/ 39 w 52"/>
                  <a:gd name="T55" fmla="*/ 30 h 60"/>
                  <a:gd name="T56" fmla="*/ 44 w 52"/>
                  <a:gd name="T57" fmla="*/ 5 h 60"/>
                  <a:gd name="T58" fmla="*/ 31 w 52"/>
                  <a:gd name="T59" fmla="*/ 1 h 60"/>
                  <a:gd name="T60" fmla="*/ 31 w 52"/>
                  <a:gd name="T61" fmla="*/ 1 h 60"/>
                  <a:gd name="T62" fmla="*/ 31 w 52"/>
                  <a:gd name="T63" fmla="*/ 1 h 60"/>
                  <a:gd name="T64" fmla="*/ 31 w 52"/>
                  <a:gd name="T65" fmla="*/ 1 h 60"/>
                  <a:gd name="T66" fmla="*/ 31 w 52"/>
                  <a:gd name="T67" fmla="*/ 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60">
                    <a:moveTo>
                      <a:pt x="31" y="1"/>
                    </a:moveTo>
                    <a:lnTo>
                      <a:pt x="25" y="0"/>
                    </a:lnTo>
                    <a:lnTo>
                      <a:pt x="24" y="0"/>
                    </a:lnTo>
                    <a:lnTo>
                      <a:pt x="22" y="1"/>
                    </a:lnTo>
                    <a:lnTo>
                      <a:pt x="20" y="5"/>
                    </a:lnTo>
                    <a:lnTo>
                      <a:pt x="20" y="8"/>
                    </a:lnTo>
                    <a:lnTo>
                      <a:pt x="19" y="9"/>
                    </a:lnTo>
                    <a:lnTo>
                      <a:pt x="17" y="9"/>
                    </a:lnTo>
                    <a:lnTo>
                      <a:pt x="14" y="9"/>
                    </a:lnTo>
                    <a:lnTo>
                      <a:pt x="17" y="13"/>
                    </a:lnTo>
                    <a:lnTo>
                      <a:pt x="20" y="16"/>
                    </a:lnTo>
                    <a:lnTo>
                      <a:pt x="22" y="17"/>
                    </a:lnTo>
                    <a:lnTo>
                      <a:pt x="24" y="20"/>
                    </a:lnTo>
                    <a:lnTo>
                      <a:pt x="25" y="20"/>
                    </a:lnTo>
                    <a:lnTo>
                      <a:pt x="25" y="27"/>
                    </a:lnTo>
                    <a:lnTo>
                      <a:pt x="20" y="27"/>
                    </a:lnTo>
                    <a:lnTo>
                      <a:pt x="16" y="27"/>
                    </a:lnTo>
                    <a:lnTo>
                      <a:pt x="11" y="27"/>
                    </a:lnTo>
                    <a:lnTo>
                      <a:pt x="8" y="27"/>
                    </a:lnTo>
                    <a:lnTo>
                      <a:pt x="8" y="27"/>
                    </a:lnTo>
                    <a:lnTo>
                      <a:pt x="3" y="36"/>
                    </a:lnTo>
                    <a:lnTo>
                      <a:pt x="3" y="38"/>
                    </a:lnTo>
                    <a:lnTo>
                      <a:pt x="3" y="41"/>
                    </a:lnTo>
                    <a:lnTo>
                      <a:pt x="1" y="43"/>
                    </a:lnTo>
                    <a:lnTo>
                      <a:pt x="1" y="46"/>
                    </a:lnTo>
                    <a:lnTo>
                      <a:pt x="0" y="47"/>
                    </a:lnTo>
                    <a:lnTo>
                      <a:pt x="0" y="47"/>
                    </a:lnTo>
                    <a:lnTo>
                      <a:pt x="6" y="54"/>
                    </a:lnTo>
                    <a:lnTo>
                      <a:pt x="8" y="55"/>
                    </a:lnTo>
                    <a:lnTo>
                      <a:pt x="14" y="57"/>
                    </a:lnTo>
                    <a:lnTo>
                      <a:pt x="19" y="57"/>
                    </a:lnTo>
                    <a:lnTo>
                      <a:pt x="25" y="60"/>
                    </a:lnTo>
                    <a:lnTo>
                      <a:pt x="25" y="57"/>
                    </a:lnTo>
                    <a:lnTo>
                      <a:pt x="25" y="57"/>
                    </a:lnTo>
                    <a:lnTo>
                      <a:pt x="28" y="55"/>
                    </a:lnTo>
                    <a:lnTo>
                      <a:pt x="28" y="55"/>
                    </a:lnTo>
                    <a:lnTo>
                      <a:pt x="31" y="52"/>
                    </a:lnTo>
                    <a:lnTo>
                      <a:pt x="31" y="51"/>
                    </a:lnTo>
                    <a:lnTo>
                      <a:pt x="35" y="51"/>
                    </a:lnTo>
                    <a:lnTo>
                      <a:pt x="35" y="51"/>
                    </a:lnTo>
                    <a:lnTo>
                      <a:pt x="36" y="47"/>
                    </a:lnTo>
                    <a:lnTo>
                      <a:pt x="38" y="46"/>
                    </a:lnTo>
                    <a:lnTo>
                      <a:pt x="38" y="44"/>
                    </a:lnTo>
                    <a:lnTo>
                      <a:pt x="38" y="41"/>
                    </a:lnTo>
                    <a:lnTo>
                      <a:pt x="39" y="40"/>
                    </a:lnTo>
                    <a:lnTo>
                      <a:pt x="44" y="38"/>
                    </a:lnTo>
                    <a:lnTo>
                      <a:pt x="47" y="33"/>
                    </a:lnTo>
                    <a:lnTo>
                      <a:pt x="51" y="32"/>
                    </a:lnTo>
                    <a:lnTo>
                      <a:pt x="52" y="32"/>
                    </a:lnTo>
                    <a:lnTo>
                      <a:pt x="47" y="30"/>
                    </a:lnTo>
                    <a:lnTo>
                      <a:pt x="49" y="30"/>
                    </a:lnTo>
                    <a:lnTo>
                      <a:pt x="47" y="32"/>
                    </a:lnTo>
                    <a:lnTo>
                      <a:pt x="46" y="30"/>
                    </a:lnTo>
                    <a:lnTo>
                      <a:pt x="44" y="30"/>
                    </a:lnTo>
                    <a:lnTo>
                      <a:pt x="43" y="30"/>
                    </a:lnTo>
                    <a:lnTo>
                      <a:pt x="39" y="30"/>
                    </a:lnTo>
                    <a:lnTo>
                      <a:pt x="43" y="11"/>
                    </a:lnTo>
                    <a:lnTo>
                      <a:pt x="44" y="5"/>
                    </a:lnTo>
                    <a:lnTo>
                      <a:pt x="44" y="1"/>
                    </a:lnTo>
                    <a:lnTo>
                      <a:pt x="31" y="1"/>
                    </a:lnTo>
                    <a:lnTo>
                      <a:pt x="31" y="1"/>
                    </a:lnTo>
                    <a:lnTo>
                      <a:pt x="31" y="1"/>
                    </a:lnTo>
                    <a:lnTo>
                      <a:pt x="31" y="1"/>
                    </a:lnTo>
                    <a:lnTo>
                      <a:pt x="31" y="1"/>
                    </a:lnTo>
                    <a:lnTo>
                      <a:pt x="31" y="1"/>
                    </a:lnTo>
                    <a:lnTo>
                      <a:pt x="31" y="1"/>
                    </a:lnTo>
                    <a:lnTo>
                      <a:pt x="31" y="1"/>
                    </a:lnTo>
                    <a:lnTo>
                      <a:pt x="31" y="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42" name="Freeform 26">
                <a:extLst>
                  <a:ext uri="{FF2B5EF4-FFF2-40B4-BE49-F238E27FC236}">
                    <a16:creationId xmlns:a16="http://schemas.microsoft.com/office/drawing/2014/main" id="{F214770D-16B6-C64B-E98E-1745F1D75137}"/>
                  </a:ext>
                </a:extLst>
              </p:cNvPr>
              <p:cNvSpPr>
                <a:spLocks/>
              </p:cNvSpPr>
              <p:nvPr/>
            </p:nvSpPr>
            <p:spPr bwMode="auto">
              <a:xfrm>
                <a:off x="3290579" y="3547335"/>
                <a:ext cx="136827" cy="134584"/>
              </a:xfrm>
              <a:custGeom>
                <a:avLst/>
                <a:gdLst>
                  <a:gd name="T0" fmla="*/ 26 w 61"/>
                  <a:gd name="T1" fmla="*/ 54 h 60"/>
                  <a:gd name="T2" fmla="*/ 19 w 61"/>
                  <a:gd name="T3" fmla="*/ 46 h 60"/>
                  <a:gd name="T4" fmla="*/ 23 w 61"/>
                  <a:gd name="T5" fmla="*/ 43 h 60"/>
                  <a:gd name="T6" fmla="*/ 23 w 61"/>
                  <a:gd name="T7" fmla="*/ 39 h 60"/>
                  <a:gd name="T8" fmla="*/ 29 w 61"/>
                  <a:gd name="T9" fmla="*/ 46 h 60"/>
                  <a:gd name="T10" fmla="*/ 34 w 61"/>
                  <a:gd name="T11" fmla="*/ 54 h 60"/>
                  <a:gd name="T12" fmla="*/ 30 w 61"/>
                  <a:gd name="T13" fmla="*/ 55 h 60"/>
                  <a:gd name="T14" fmla="*/ 29 w 61"/>
                  <a:gd name="T15" fmla="*/ 55 h 60"/>
                  <a:gd name="T16" fmla="*/ 35 w 61"/>
                  <a:gd name="T17" fmla="*/ 55 h 60"/>
                  <a:gd name="T18" fmla="*/ 38 w 61"/>
                  <a:gd name="T19" fmla="*/ 57 h 60"/>
                  <a:gd name="T20" fmla="*/ 40 w 61"/>
                  <a:gd name="T21" fmla="*/ 58 h 60"/>
                  <a:gd name="T22" fmla="*/ 43 w 61"/>
                  <a:gd name="T23" fmla="*/ 60 h 60"/>
                  <a:gd name="T24" fmla="*/ 46 w 61"/>
                  <a:gd name="T25" fmla="*/ 60 h 60"/>
                  <a:gd name="T26" fmla="*/ 48 w 61"/>
                  <a:gd name="T27" fmla="*/ 58 h 60"/>
                  <a:gd name="T28" fmla="*/ 46 w 61"/>
                  <a:gd name="T29" fmla="*/ 54 h 60"/>
                  <a:gd name="T30" fmla="*/ 48 w 61"/>
                  <a:gd name="T31" fmla="*/ 47 h 60"/>
                  <a:gd name="T32" fmla="*/ 49 w 61"/>
                  <a:gd name="T33" fmla="*/ 44 h 60"/>
                  <a:gd name="T34" fmla="*/ 49 w 61"/>
                  <a:gd name="T35" fmla="*/ 39 h 60"/>
                  <a:gd name="T36" fmla="*/ 49 w 61"/>
                  <a:gd name="T37" fmla="*/ 36 h 60"/>
                  <a:gd name="T38" fmla="*/ 51 w 61"/>
                  <a:gd name="T39" fmla="*/ 33 h 60"/>
                  <a:gd name="T40" fmla="*/ 54 w 61"/>
                  <a:gd name="T41" fmla="*/ 24 h 60"/>
                  <a:gd name="T42" fmla="*/ 57 w 61"/>
                  <a:gd name="T43" fmla="*/ 12 h 60"/>
                  <a:gd name="T44" fmla="*/ 57 w 61"/>
                  <a:gd name="T45" fmla="*/ 8 h 60"/>
                  <a:gd name="T46" fmla="*/ 57 w 61"/>
                  <a:gd name="T47" fmla="*/ 3 h 60"/>
                  <a:gd name="T48" fmla="*/ 57 w 61"/>
                  <a:gd name="T49" fmla="*/ 1 h 60"/>
                  <a:gd name="T50" fmla="*/ 61 w 61"/>
                  <a:gd name="T51" fmla="*/ 0 h 60"/>
                  <a:gd name="T52" fmla="*/ 57 w 61"/>
                  <a:gd name="T53" fmla="*/ 0 h 60"/>
                  <a:gd name="T54" fmla="*/ 46 w 61"/>
                  <a:gd name="T55" fmla="*/ 3 h 60"/>
                  <a:gd name="T56" fmla="*/ 42 w 61"/>
                  <a:gd name="T57" fmla="*/ 3 h 60"/>
                  <a:gd name="T58" fmla="*/ 38 w 61"/>
                  <a:gd name="T59" fmla="*/ 1 h 60"/>
                  <a:gd name="T60" fmla="*/ 35 w 61"/>
                  <a:gd name="T61" fmla="*/ 4 h 60"/>
                  <a:gd name="T62" fmla="*/ 34 w 61"/>
                  <a:gd name="T63" fmla="*/ 8 h 60"/>
                  <a:gd name="T64" fmla="*/ 27 w 61"/>
                  <a:gd name="T65" fmla="*/ 11 h 60"/>
                  <a:gd name="T66" fmla="*/ 26 w 61"/>
                  <a:gd name="T67" fmla="*/ 16 h 60"/>
                  <a:gd name="T68" fmla="*/ 19 w 61"/>
                  <a:gd name="T69" fmla="*/ 14 h 60"/>
                  <a:gd name="T70" fmla="*/ 16 w 61"/>
                  <a:gd name="T71" fmla="*/ 16 h 60"/>
                  <a:gd name="T72" fmla="*/ 13 w 61"/>
                  <a:gd name="T73" fmla="*/ 16 h 60"/>
                  <a:gd name="T74" fmla="*/ 13 w 61"/>
                  <a:gd name="T75" fmla="*/ 22 h 60"/>
                  <a:gd name="T76" fmla="*/ 10 w 61"/>
                  <a:gd name="T77" fmla="*/ 24 h 60"/>
                  <a:gd name="T78" fmla="*/ 8 w 61"/>
                  <a:gd name="T79" fmla="*/ 27 h 60"/>
                  <a:gd name="T80" fmla="*/ 3 w 61"/>
                  <a:gd name="T81" fmla="*/ 28 h 60"/>
                  <a:gd name="T82" fmla="*/ 0 w 61"/>
                  <a:gd name="T83" fmla="*/ 30 h 60"/>
                  <a:gd name="T84" fmla="*/ 7 w 61"/>
                  <a:gd name="T85" fmla="*/ 36 h 60"/>
                  <a:gd name="T86" fmla="*/ 16 w 61"/>
                  <a:gd name="T87" fmla="*/ 47 h 60"/>
                  <a:gd name="T88" fmla="*/ 23 w 61"/>
                  <a:gd name="T89" fmla="*/ 54 h 60"/>
                  <a:gd name="T90" fmla="*/ 23 w 61"/>
                  <a:gd name="T91" fmla="*/ 55 h 60"/>
                  <a:gd name="T92" fmla="*/ 23 w 61"/>
                  <a:gd name="T93" fmla="*/ 54 h 60"/>
                  <a:gd name="T94" fmla="*/ 23 w 61"/>
                  <a:gd name="T95" fmla="*/ 54 h 60"/>
                  <a:gd name="T96" fmla="*/ 23 w 61"/>
                  <a:gd name="T97" fmla="*/ 54 h 60"/>
                  <a:gd name="T98" fmla="*/ 23 w 61"/>
                  <a:gd name="T99" fmla="*/ 5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 h="60">
                    <a:moveTo>
                      <a:pt x="23" y="54"/>
                    </a:moveTo>
                    <a:lnTo>
                      <a:pt x="26" y="54"/>
                    </a:lnTo>
                    <a:lnTo>
                      <a:pt x="23" y="49"/>
                    </a:lnTo>
                    <a:lnTo>
                      <a:pt x="19" y="46"/>
                    </a:lnTo>
                    <a:lnTo>
                      <a:pt x="19" y="43"/>
                    </a:lnTo>
                    <a:lnTo>
                      <a:pt x="23" y="43"/>
                    </a:lnTo>
                    <a:lnTo>
                      <a:pt x="23" y="39"/>
                    </a:lnTo>
                    <a:lnTo>
                      <a:pt x="23" y="39"/>
                    </a:lnTo>
                    <a:lnTo>
                      <a:pt x="26" y="43"/>
                    </a:lnTo>
                    <a:lnTo>
                      <a:pt x="29" y="46"/>
                    </a:lnTo>
                    <a:lnTo>
                      <a:pt x="34" y="52"/>
                    </a:lnTo>
                    <a:lnTo>
                      <a:pt x="34" y="54"/>
                    </a:lnTo>
                    <a:lnTo>
                      <a:pt x="34" y="55"/>
                    </a:lnTo>
                    <a:lnTo>
                      <a:pt x="30" y="55"/>
                    </a:lnTo>
                    <a:lnTo>
                      <a:pt x="26" y="54"/>
                    </a:lnTo>
                    <a:lnTo>
                      <a:pt x="29" y="55"/>
                    </a:lnTo>
                    <a:lnTo>
                      <a:pt x="32" y="57"/>
                    </a:lnTo>
                    <a:lnTo>
                      <a:pt x="35" y="55"/>
                    </a:lnTo>
                    <a:lnTo>
                      <a:pt x="37" y="55"/>
                    </a:lnTo>
                    <a:lnTo>
                      <a:pt x="38" y="57"/>
                    </a:lnTo>
                    <a:lnTo>
                      <a:pt x="40" y="57"/>
                    </a:lnTo>
                    <a:lnTo>
                      <a:pt x="40" y="58"/>
                    </a:lnTo>
                    <a:lnTo>
                      <a:pt x="42" y="60"/>
                    </a:lnTo>
                    <a:lnTo>
                      <a:pt x="43" y="60"/>
                    </a:lnTo>
                    <a:lnTo>
                      <a:pt x="45" y="60"/>
                    </a:lnTo>
                    <a:lnTo>
                      <a:pt x="46" y="60"/>
                    </a:lnTo>
                    <a:lnTo>
                      <a:pt x="48" y="60"/>
                    </a:lnTo>
                    <a:lnTo>
                      <a:pt x="48" y="58"/>
                    </a:lnTo>
                    <a:lnTo>
                      <a:pt x="48" y="57"/>
                    </a:lnTo>
                    <a:lnTo>
                      <a:pt x="46" y="54"/>
                    </a:lnTo>
                    <a:lnTo>
                      <a:pt x="46" y="52"/>
                    </a:lnTo>
                    <a:lnTo>
                      <a:pt x="48" y="47"/>
                    </a:lnTo>
                    <a:lnTo>
                      <a:pt x="49" y="46"/>
                    </a:lnTo>
                    <a:lnTo>
                      <a:pt x="49" y="44"/>
                    </a:lnTo>
                    <a:lnTo>
                      <a:pt x="48" y="44"/>
                    </a:lnTo>
                    <a:lnTo>
                      <a:pt x="49" y="39"/>
                    </a:lnTo>
                    <a:lnTo>
                      <a:pt x="49" y="39"/>
                    </a:lnTo>
                    <a:lnTo>
                      <a:pt x="49" y="36"/>
                    </a:lnTo>
                    <a:lnTo>
                      <a:pt x="49" y="33"/>
                    </a:lnTo>
                    <a:lnTo>
                      <a:pt x="51" y="33"/>
                    </a:lnTo>
                    <a:lnTo>
                      <a:pt x="51" y="30"/>
                    </a:lnTo>
                    <a:lnTo>
                      <a:pt x="54" y="24"/>
                    </a:lnTo>
                    <a:lnTo>
                      <a:pt x="54" y="17"/>
                    </a:lnTo>
                    <a:lnTo>
                      <a:pt x="57" y="12"/>
                    </a:lnTo>
                    <a:lnTo>
                      <a:pt x="57" y="9"/>
                    </a:lnTo>
                    <a:lnTo>
                      <a:pt x="57" y="8"/>
                    </a:lnTo>
                    <a:lnTo>
                      <a:pt x="57" y="4"/>
                    </a:lnTo>
                    <a:lnTo>
                      <a:pt x="57" y="3"/>
                    </a:lnTo>
                    <a:lnTo>
                      <a:pt x="57" y="1"/>
                    </a:lnTo>
                    <a:lnTo>
                      <a:pt x="57" y="1"/>
                    </a:lnTo>
                    <a:lnTo>
                      <a:pt x="61" y="1"/>
                    </a:lnTo>
                    <a:lnTo>
                      <a:pt x="61" y="0"/>
                    </a:lnTo>
                    <a:lnTo>
                      <a:pt x="57" y="0"/>
                    </a:lnTo>
                    <a:lnTo>
                      <a:pt x="57" y="0"/>
                    </a:lnTo>
                    <a:lnTo>
                      <a:pt x="54" y="1"/>
                    </a:lnTo>
                    <a:lnTo>
                      <a:pt x="46" y="3"/>
                    </a:lnTo>
                    <a:lnTo>
                      <a:pt x="43" y="4"/>
                    </a:lnTo>
                    <a:lnTo>
                      <a:pt x="42" y="3"/>
                    </a:lnTo>
                    <a:lnTo>
                      <a:pt x="40" y="1"/>
                    </a:lnTo>
                    <a:lnTo>
                      <a:pt x="38" y="1"/>
                    </a:lnTo>
                    <a:lnTo>
                      <a:pt x="37" y="1"/>
                    </a:lnTo>
                    <a:lnTo>
                      <a:pt x="35" y="4"/>
                    </a:lnTo>
                    <a:lnTo>
                      <a:pt x="34" y="4"/>
                    </a:lnTo>
                    <a:lnTo>
                      <a:pt x="34" y="8"/>
                    </a:lnTo>
                    <a:lnTo>
                      <a:pt x="32" y="8"/>
                    </a:lnTo>
                    <a:lnTo>
                      <a:pt x="27" y="11"/>
                    </a:lnTo>
                    <a:lnTo>
                      <a:pt x="26" y="12"/>
                    </a:lnTo>
                    <a:lnTo>
                      <a:pt x="26" y="16"/>
                    </a:lnTo>
                    <a:lnTo>
                      <a:pt x="23" y="12"/>
                    </a:lnTo>
                    <a:lnTo>
                      <a:pt x="19" y="14"/>
                    </a:lnTo>
                    <a:lnTo>
                      <a:pt x="19" y="16"/>
                    </a:lnTo>
                    <a:lnTo>
                      <a:pt x="16" y="16"/>
                    </a:lnTo>
                    <a:lnTo>
                      <a:pt x="15" y="16"/>
                    </a:lnTo>
                    <a:lnTo>
                      <a:pt x="13" y="16"/>
                    </a:lnTo>
                    <a:lnTo>
                      <a:pt x="13" y="19"/>
                    </a:lnTo>
                    <a:lnTo>
                      <a:pt x="13" y="22"/>
                    </a:lnTo>
                    <a:lnTo>
                      <a:pt x="11" y="24"/>
                    </a:lnTo>
                    <a:lnTo>
                      <a:pt x="10" y="24"/>
                    </a:lnTo>
                    <a:lnTo>
                      <a:pt x="10" y="25"/>
                    </a:lnTo>
                    <a:lnTo>
                      <a:pt x="8" y="27"/>
                    </a:lnTo>
                    <a:lnTo>
                      <a:pt x="5" y="28"/>
                    </a:lnTo>
                    <a:lnTo>
                      <a:pt x="3" y="28"/>
                    </a:lnTo>
                    <a:lnTo>
                      <a:pt x="0" y="27"/>
                    </a:lnTo>
                    <a:lnTo>
                      <a:pt x="0" y="30"/>
                    </a:lnTo>
                    <a:lnTo>
                      <a:pt x="2" y="31"/>
                    </a:lnTo>
                    <a:lnTo>
                      <a:pt x="7" y="36"/>
                    </a:lnTo>
                    <a:lnTo>
                      <a:pt x="11" y="43"/>
                    </a:lnTo>
                    <a:lnTo>
                      <a:pt x="16" y="47"/>
                    </a:lnTo>
                    <a:lnTo>
                      <a:pt x="19" y="51"/>
                    </a:lnTo>
                    <a:lnTo>
                      <a:pt x="23" y="54"/>
                    </a:lnTo>
                    <a:lnTo>
                      <a:pt x="23" y="55"/>
                    </a:lnTo>
                    <a:lnTo>
                      <a:pt x="23" y="55"/>
                    </a:lnTo>
                    <a:lnTo>
                      <a:pt x="23" y="54"/>
                    </a:lnTo>
                    <a:lnTo>
                      <a:pt x="23" y="54"/>
                    </a:lnTo>
                    <a:lnTo>
                      <a:pt x="23" y="54"/>
                    </a:lnTo>
                    <a:lnTo>
                      <a:pt x="23" y="54"/>
                    </a:lnTo>
                    <a:lnTo>
                      <a:pt x="23" y="54"/>
                    </a:lnTo>
                    <a:lnTo>
                      <a:pt x="23" y="54"/>
                    </a:lnTo>
                    <a:lnTo>
                      <a:pt x="23" y="54"/>
                    </a:lnTo>
                    <a:lnTo>
                      <a:pt x="23" y="54"/>
                    </a:lnTo>
                    <a:lnTo>
                      <a:pt x="23" y="5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43" name="Freeform 28">
                <a:extLst>
                  <a:ext uri="{FF2B5EF4-FFF2-40B4-BE49-F238E27FC236}">
                    <a16:creationId xmlns:a16="http://schemas.microsoft.com/office/drawing/2014/main" id="{D7FE4404-403A-DB86-043C-3B8BE33AF321}"/>
                  </a:ext>
                </a:extLst>
              </p:cNvPr>
              <p:cNvSpPr>
                <a:spLocks/>
              </p:cNvSpPr>
              <p:nvPr/>
            </p:nvSpPr>
            <p:spPr bwMode="auto">
              <a:xfrm>
                <a:off x="3333197" y="3668460"/>
                <a:ext cx="94209" cy="98695"/>
              </a:xfrm>
              <a:custGeom>
                <a:avLst/>
                <a:gdLst>
                  <a:gd name="T0" fmla="*/ 35 w 42"/>
                  <a:gd name="T1" fmla="*/ 41 h 44"/>
                  <a:gd name="T2" fmla="*/ 38 w 42"/>
                  <a:gd name="T3" fmla="*/ 38 h 44"/>
                  <a:gd name="T4" fmla="*/ 38 w 42"/>
                  <a:gd name="T5" fmla="*/ 33 h 44"/>
                  <a:gd name="T6" fmla="*/ 38 w 42"/>
                  <a:gd name="T7" fmla="*/ 31 h 44"/>
                  <a:gd name="T8" fmla="*/ 38 w 42"/>
                  <a:gd name="T9" fmla="*/ 23 h 44"/>
                  <a:gd name="T10" fmla="*/ 40 w 42"/>
                  <a:gd name="T11" fmla="*/ 23 h 44"/>
                  <a:gd name="T12" fmla="*/ 42 w 42"/>
                  <a:gd name="T13" fmla="*/ 23 h 44"/>
                  <a:gd name="T14" fmla="*/ 38 w 42"/>
                  <a:gd name="T15" fmla="*/ 20 h 44"/>
                  <a:gd name="T16" fmla="*/ 32 w 42"/>
                  <a:gd name="T17" fmla="*/ 14 h 44"/>
                  <a:gd name="T18" fmla="*/ 30 w 42"/>
                  <a:gd name="T19" fmla="*/ 8 h 44"/>
                  <a:gd name="T20" fmla="*/ 29 w 42"/>
                  <a:gd name="T21" fmla="*/ 4 h 44"/>
                  <a:gd name="T22" fmla="*/ 27 w 42"/>
                  <a:gd name="T23" fmla="*/ 6 h 44"/>
                  <a:gd name="T24" fmla="*/ 24 w 42"/>
                  <a:gd name="T25" fmla="*/ 6 h 44"/>
                  <a:gd name="T26" fmla="*/ 21 w 42"/>
                  <a:gd name="T27" fmla="*/ 4 h 44"/>
                  <a:gd name="T28" fmla="*/ 19 w 42"/>
                  <a:gd name="T29" fmla="*/ 3 h 44"/>
                  <a:gd name="T30" fmla="*/ 16 w 42"/>
                  <a:gd name="T31" fmla="*/ 1 h 44"/>
                  <a:gd name="T32" fmla="*/ 10 w 42"/>
                  <a:gd name="T33" fmla="*/ 1 h 44"/>
                  <a:gd name="T34" fmla="*/ 4 w 42"/>
                  <a:gd name="T35" fmla="*/ 0 h 44"/>
                  <a:gd name="T36" fmla="*/ 4 w 42"/>
                  <a:gd name="T37" fmla="*/ 1 h 44"/>
                  <a:gd name="T38" fmla="*/ 0 w 42"/>
                  <a:gd name="T39" fmla="*/ 4 h 44"/>
                  <a:gd name="T40" fmla="*/ 4 w 42"/>
                  <a:gd name="T41" fmla="*/ 8 h 44"/>
                  <a:gd name="T42" fmla="*/ 0 w 42"/>
                  <a:gd name="T43" fmla="*/ 14 h 44"/>
                  <a:gd name="T44" fmla="*/ 4 w 42"/>
                  <a:gd name="T45" fmla="*/ 17 h 44"/>
                  <a:gd name="T46" fmla="*/ 7 w 42"/>
                  <a:gd name="T47" fmla="*/ 20 h 44"/>
                  <a:gd name="T48" fmla="*/ 10 w 42"/>
                  <a:gd name="T49" fmla="*/ 23 h 44"/>
                  <a:gd name="T50" fmla="*/ 11 w 42"/>
                  <a:gd name="T51" fmla="*/ 17 h 44"/>
                  <a:gd name="T52" fmla="*/ 8 w 42"/>
                  <a:gd name="T53" fmla="*/ 14 h 44"/>
                  <a:gd name="T54" fmla="*/ 10 w 42"/>
                  <a:gd name="T55" fmla="*/ 14 h 44"/>
                  <a:gd name="T56" fmla="*/ 15 w 42"/>
                  <a:gd name="T57" fmla="*/ 17 h 44"/>
                  <a:gd name="T58" fmla="*/ 16 w 42"/>
                  <a:gd name="T59" fmla="*/ 23 h 44"/>
                  <a:gd name="T60" fmla="*/ 21 w 42"/>
                  <a:gd name="T61" fmla="*/ 23 h 44"/>
                  <a:gd name="T62" fmla="*/ 27 w 42"/>
                  <a:gd name="T63" fmla="*/ 28 h 44"/>
                  <a:gd name="T64" fmla="*/ 29 w 42"/>
                  <a:gd name="T65" fmla="*/ 33 h 44"/>
                  <a:gd name="T66" fmla="*/ 27 w 42"/>
                  <a:gd name="T67" fmla="*/ 36 h 44"/>
                  <a:gd name="T68" fmla="*/ 32 w 42"/>
                  <a:gd name="T69" fmla="*/ 41 h 44"/>
                  <a:gd name="T70" fmla="*/ 32 w 42"/>
                  <a:gd name="T71" fmla="*/ 38 h 44"/>
                  <a:gd name="T72" fmla="*/ 32 w 42"/>
                  <a:gd name="T73" fmla="*/ 35 h 44"/>
                  <a:gd name="T74" fmla="*/ 35 w 42"/>
                  <a:gd name="T75" fmla="*/ 39 h 44"/>
                  <a:gd name="T76" fmla="*/ 35 w 42"/>
                  <a:gd name="T77" fmla="*/ 43 h 44"/>
                  <a:gd name="T78" fmla="*/ 35 w 42"/>
                  <a:gd name="T79" fmla="*/ 43 h 44"/>
                  <a:gd name="T80" fmla="*/ 35 w 42"/>
                  <a:gd name="T81" fmla="*/ 43 h 44"/>
                  <a:gd name="T82" fmla="*/ 35 w 42"/>
                  <a:gd name="T83" fmla="*/ 43 h 44"/>
                  <a:gd name="T84" fmla="*/ 35 w 42"/>
                  <a:gd name="T85" fmla="*/ 43 h 44"/>
                  <a:gd name="T86" fmla="*/ 35 w 42"/>
                  <a:gd name="T87" fmla="*/ 4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44">
                    <a:moveTo>
                      <a:pt x="35" y="43"/>
                    </a:moveTo>
                    <a:lnTo>
                      <a:pt x="35" y="41"/>
                    </a:lnTo>
                    <a:lnTo>
                      <a:pt x="35" y="39"/>
                    </a:lnTo>
                    <a:lnTo>
                      <a:pt x="38" y="38"/>
                    </a:lnTo>
                    <a:lnTo>
                      <a:pt x="38" y="35"/>
                    </a:lnTo>
                    <a:lnTo>
                      <a:pt x="38" y="33"/>
                    </a:lnTo>
                    <a:lnTo>
                      <a:pt x="38" y="33"/>
                    </a:lnTo>
                    <a:lnTo>
                      <a:pt x="38" y="31"/>
                    </a:lnTo>
                    <a:lnTo>
                      <a:pt x="35" y="30"/>
                    </a:lnTo>
                    <a:lnTo>
                      <a:pt x="38" y="23"/>
                    </a:lnTo>
                    <a:lnTo>
                      <a:pt x="38" y="23"/>
                    </a:lnTo>
                    <a:lnTo>
                      <a:pt x="40" y="23"/>
                    </a:lnTo>
                    <a:lnTo>
                      <a:pt x="42" y="23"/>
                    </a:lnTo>
                    <a:lnTo>
                      <a:pt x="42" y="23"/>
                    </a:lnTo>
                    <a:lnTo>
                      <a:pt x="42" y="23"/>
                    </a:lnTo>
                    <a:lnTo>
                      <a:pt x="38" y="20"/>
                    </a:lnTo>
                    <a:lnTo>
                      <a:pt x="35" y="17"/>
                    </a:lnTo>
                    <a:lnTo>
                      <a:pt x="32" y="14"/>
                    </a:lnTo>
                    <a:lnTo>
                      <a:pt x="32" y="11"/>
                    </a:lnTo>
                    <a:lnTo>
                      <a:pt x="30" y="8"/>
                    </a:lnTo>
                    <a:lnTo>
                      <a:pt x="30" y="8"/>
                    </a:lnTo>
                    <a:lnTo>
                      <a:pt x="29" y="4"/>
                    </a:lnTo>
                    <a:lnTo>
                      <a:pt x="29" y="6"/>
                    </a:lnTo>
                    <a:lnTo>
                      <a:pt x="27" y="6"/>
                    </a:lnTo>
                    <a:lnTo>
                      <a:pt x="26" y="6"/>
                    </a:lnTo>
                    <a:lnTo>
                      <a:pt x="24" y="6"/>
                    </a:lnTo>
                    <a:lnTo>
                      <a:pt x="23" y="6"/>
                    </a:lnTo>
                    <a:lnTo>
                      <a:pt x="21" y="4"/>
                    </a:lnTo>
                    <a:lnTo>
                      <a:pt x="21" y="3"/>
                    </a:lnTo>
                    <a:lnTo>
                      <a:pt x="19" y="3"/>
                    </a:lnTo>
                    <a:lnTo>
                      <a:pt x="18" y="1"/>
                    </a:lnTo>
                    <a:lnTo>
                      <a:pt x="16" y="1"/>
                    </a:lnTo>
                    <a:lnTo>
                      <a:pt x="13" y="3"/>
                    </a:lnTo>
                    <a:lnTo>
                      <a:pt x="10" y="1"/>
                    </a:lnTo>
                    <a:lnTo>
                      <a:pt x="7" y="0"/>
                    </a:lnTo>
                    <a:lnTo>
                      <a:pt x="4" y="0"/>
                    </a:lnTo>
                    <a:lnTo>
                      <a:pt x="4" y="1"/>
                    </a:lnTo>
                    <a:lnTo>
                      <a:pt x="4" y="1"/>
                    </a:lnTo>
                    <a:lnTo>
                      <a:pt x="0" y="3"/>
                    </a:lnTo>
                    <a:lnTo>
                      <a:pt x="0" y="4"/>
                    </a:lnTo>
                    <a:lnTo>
                      <a:pt x="4" y="4"/>
                    </a:lnTo>
                    <a:lnTo>
                      <a:pt x="4" y="8"/>
                    </a:lnTo>
                    <a:lnTo>
                      <a:pt x="0" y="11"/>
                    </a:lnTo>
                    <a:lnTo>
                      <a:pt x="0" y="14"/>
                    </a:lnTo>
                    <a:lnTo>
                      <a:pt x="0" y="17"/>
                    </a:lnTo>
                    <a:lnTo>
                      <a:pt x="4" y="17"/>
                    </a:lnTo>
                    <a:lnTo>
                      <a:pt x="7" y="20"/>
                    </a:lnTo>
                    <a:lnTo>
                      <a:pt x="7" y="20"/>
                    </a:lnTo>
                    <a:lnTo>
                      <a:pt x="8" y="23"/>
                    </a:lnTo>
                    <a:lnTo>
                      <a:pt x="10" y="23"/>
                    </a:lnTo>
                    <a:lnTo>
                      <a:pt x="11" y="20"/>
                    </a:lnTo>
                    <a:lnTo>
                      <a:pt x="11" y="17"/>
                    </a:lnTo>
                    <a:lnTo>
                      <a:pt x="10" y="17"/>
                    </a:lnTo>
                    <a:lnTo>
                      <a:pt x="8" y="14"/>
                    </a:lnTo>
                    <a:lnTo>
                      <a:pt x="7" y="11"/>
                    </a:lnTo>
                    <a:lnTo>
                      <a:pt x="10" y="14"/>
                    </a:lnTo>
                    <a:lnTo>
                      <a:pt x="11" y="17"/>
                    </a:lnTo>
                    <a:lnTo>
                      <a:pt x="15" y="17"/>
                    </a:lnTo>
                    <a:lnTo>
                      <a:pt x="15" y="20"/>
                    </a:lnTo>
                    <a:lnTo>
                      <a:pt x="16" y="23"/>
                    </a:lnTo>
                    <a:lnTo>
                      <a:pt x="18" y="23"/>
                    </a:lnTo>
                    <a:lnTo>
                      <a:pt x="21" y="23"/>
                    </a:lnTo>
                    <a:lnTo>
                      <a:pt x="23" y="25"/>
                    </a:lnTo>
                    <a:lnTo>
                      <a:pt x="27" y="28"/>
                    </a:lnTo>
                    <a:lnTo>
                      <a:pt x="29" y="30"/>
                    </a:lnTo>
                    <a:lnTo>
                      <a:pt x="29" y="33"/>
                    </a:lnTo>
                    <a:lnTo>
                      <a:pt x="27" y="35"/>
                    </a:lnTo>
                    <a:lnTo>
                      <a:pt x="27" y="36"/>
                    </a:lnTo>
                    <a:lnTo>
                      <a:pt x="29" y="39"/>
                    </a:lnTo>
                    <a:lnTo>
                      <a:pt x="32" y="41"/>
                    </a:lnTo>
                    <a:lnTo>
                      <a:pt x="32" y="39"/>
                    </a:lnTo>
                    <a:lnTo>
                      <a:pt x="32" y="38"/>
                    </a:lnTo>
                    <a:lnTo>
                      <a:pt x="30" y="35"/>
                    </a:lnTo>
                    <a:lnTo>
                      <a:pt x="32" y="35"/>
                    </a:lnTo>
                    <a:lnTo>
                      <a:pt x="32" y="36"/>
                    </a:lnTo>
                    <a:lnTo>
                      <a:pt x="35" y="39"/>
                    </a:lnTo>
                    <a:lnTo>
                      <a:pt x="32" y="41"/>
                    </a:lnTo>
                    <a:lnTo>
                      <a:pt x="35" y="43"/>
                    </a:lnTo>
                    <a:lnTo>
                      <a:pt x="35" y="44"/>
                    </a:lnTo>
                    <a:lnTo>
                      <a:pt x="35" y="43"/>
                    </a:lnTo>
                    <a:lnTo>
                      <a:pt x="35" y="43"/>
                    </a:lnTo>
                    <a:lnTo>
                      <a:pt x="35" y="43"/>
                    </a:lnTo>
                    <a:lnTo>
                      <a:pt x="35" y="43"/>
                    </a:lnTo>
                    <a:lnTo>
                      <a:pt x="35" y="43"/>
                    </a:lnTo>
                    <a:lnTo>
                      <a:pt x="35" y="43"/>
                    </a:lnTo>
                    <a:lnTo>
                      <a:pt x="35" y="43"/>
                    </a:lnTo>
                    <a:lnTo>
                      <a:pt x="35" y="43"/>
                    </a:lnTo>
                    <a:lnTo>
                      <a:pt x="35" y="43"/>
                    </a:lnTo>
                    <a:lnTo>
                      <a:pt x="35" y="43"/>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44" name="Freeform 30">
                <a:extLst>
                  <a:ext uri="{FF2B5EF4-FFF2-40B4-BE49-F238E27FC236}">
                    <a16:creationId xmlns:a16="http://schemas.microsoft.com/office/drawing/2014/main" id="{F6B32633-ACA4-CEB9-46F9-A64616574D70}"/>
                  </a:ext>
                </a:extLst>
              </p:cNvPr>
              <p:cNvSpPr>
                <a:spLocks noEditPoints="1"/>
              </p:cNvSpPr>
              <p:nvPr/>
            </p:nvSpPr>
            <p:spPr bwMode="auto">
              <a:xfrm>
                <a:off x="3409461" y="3717808"/>
                <a:ext cx="165988" cy="78508"/>
              </a:xfrm>
              <a:custGeom>
                <a:avLst/>
                <a:gdLst>
                  <a:gd name="T0" fmla="*/ 17 w 74"/>
                  <a:gd name="T1" fmla="*/ 33 h 35"/>
                  <a:gd name="T2" fmla="*/ 14 w 74"/>
                  <a:gd name="T3" fmla="*/ 30 h 35"/>
                  <a:gd name="T4" fmla="*/ 14 w 74"/>
                  <a:gd name="T5" fmla="*/ 30 h 35"/>
                  <a:gd name="T6" fmla="*/ 14 w 74"/>
                  <a:gd name="T7" fmla="*/ 30 h 35"/>
                  <a:gd name="T8" fmla="*/ 52 w 74"/>
                  <a:gd name="T9" fmla="*/ 21 h 35"/>
                  <a:gd name="T10" fmla="*/ 52 w 74"/>
                  <a:gd name="T11" fmla="*/ 19 h 35"/>
                  <a:gd name="T12" fmla="*/ 52 w 74"/>
                  <a:gd name="T13" fmla="*/ 21 h 35"/>
                  <a:gd name="T14" fmla="*/ 52 w 74"/>
                  <a:gd name="T15" fmla="*/ 21 h 35"/>
                  <a:gd name="T16" fmla="*/ 52 w 74"/>
                  <a:gd name="T17" fmla="*/ 21 h 35"/>
                  <a:gd name="T18" fmla="*/ 71 w 74"/>
                  <a:gd name="T19" fmla="*/ 14 h 35"/>
                  <a:gd name="T20" fmla="*/ 68 w 74"/>
                  <a:gd name="T21" fmla="*/ 11 h 35"/>
                  <a:gd name="T22" fmla="*/ 58 w 74"/>
                  <a:gd name="T23" fmla="*/ 3 h 35"/>
                  <a:gd name="T24" fmla="*/ 46 w 74"/>
                  <a:gd name="T25" fmla="*/ 0 h 35"/>
                  <a:gd name="T26" fmla="*/ 38 w 74"/>
                  <a:gd name="T27" fmla="*/ 6 h 35"/>
                  <a:gd name="T28" fmla="*/ 25 w 74"/>
                  <a:gd name="T29" fmla="*/ 13 h 35"/>
                  <a:gd name="T30" fmla="*/ 17 w 74"/>
                  <a:gd name="T31" fmla="*/ 9 h 35"/>
                  <a:gd name="T32" fmla="*/ 17 w 74"/>
                  <a:gd name="T33" fmla="*/ 9 h 35"/>
                  <a:gd name="T34" fmla="*/ 11 w 74"/>
                  <a:gd name="T35" fmla="*/ 6 h 35"/>
                  <a:gd name="T36" fmla="*/ 8 w 74"/>
                  <a:gd name="T37" fmla="*/ 0 h 35"/>
                  <a:gd name="T38" fmla="*/ 4 w 74"/>
                  <a:gd name="T39" fmla="*/ 0 h 35"/>
                  <a:gd name="T40" fmla="*/ 1 w 74"/>
                  <a:gd name="T41" fmla="*/ 8 h 35"/>
                  <a:gd name="T42" fmla="*/ 3 w 74"/>
                  <a:gd name="T43" fmla="*/ 11 h 35"/>
                  <a:gd name="T44" fmla="*/ 1 w 74"/>
                  <a:gd name="T45" fmla="*/ 17 h 35"/>
                  <a:gd name="T46" fmla="*/ 1 w 74"/>
                  <a:gd name="T47" fmla="*/ 21 h 35"/>
                  <a:gd name="T48" fmla="*/ 3 w 74"/>
                  <a:gd name="T49" fmla="*/ 22 h 35"/>
                  <a:gd name="T50" fmla="*/ 8 w 74"/>
                  <a:gd name="T51" fmla="*/ 19 h 35"/>
                  <a:gd name="T52" fmla="*/ 11 w 74"/>
                  <a:gd name="T53" fmla="*/ 21 h 35"/>
                  <a:gd name="T54" fmla="*/ 17 w 74"/>
                  <a:gd name="T55" fmla="*/ 27 h 35"/>
                  <a:gd name="T56" fmla="*/ 22 w 74"/>
                  <a:gd name="T57" fmla="*/ 27 h 35"/>
                  <a:gd name="T58" fmla="*/ 23 w 74"/>
                  <a:gd name="T59" fmla="*/ 24 h 35"/>
                  <a:gd name="T60" fmla="*/ 27 w 74"/>
                  <a:gd name="T61" fmla="*/ 35 h 35"/>
                  <a:gd name="T62" fmla="*/ 33 w 74"/>
                  <a:gd name="T63" fmla="*/ 33 h 35"/>
                  <a:gd name="T64" fmla="*/ 38 w 74"/>
                  <a:gd name="T65" fmla="*/ 30 h 35"/>
                  <a:gd name="T66" fmla="*/ 33 w 74"/>
                  <a:gd name="T67" fmla="*/ 21 h 35"/>
                  <a:gd name="T68" fmla="*/ 39 w 74"/>
                  <a:gd name="T69" fmla="*/ 17 h 35"/>
                  <a:gd name="T70" fmla="*/ 46 w 74"/>
                  <a:gd name="T71" fmla="*/ 9 h 35"/>
                  <a:gd name="T72" fmla="*/ 52 w 74"/>
                  <a:gd name="T73" fmla="*/ 9 h 35"/>
                  <a:gd name="T74" fmla="*/ 58 w 74"/>
                  <a:gd name="T75" fmla="*/ 19 h 35"/>
                  <a:gd name="T76" fmla="*/ 62 w 74"/>
                  <a:gd name="T77" fmla="*/ 17 h 35"/>
                  <a:gd name="T78" fmla="*/ 65 w 74"/>
                  <a:gd name="T79" fmla="*/ 21 h 35"/>
                  <a:gd name="T80" fmla="*/ 62 w 74"/>
                  <a:gd name="T81" fmla="*/ 19 h 35"/>
                  <a:gd name="T82" fmla="*/ 58 w 74"/>
                  <a:gd name="T83" fmla="*/ 24 h 35"/>
                  <a:gd name="T84" fmla="*/ 63 w 74"/>
                  <a:gd name="T85" fmla="*/ 33 h 35"/>
                  <a:gd name="T86" fmla="*/ 65 w 74"/>
                  <a:gd name="T87" fmla="*/ 33 h 35"/>
                  <a:gd name="T88" fmla="*/ 66 w 74"/>
                  <a:gd name="T89" fmla="*/ 27 h 35"/>
                  <a:gd name="T90" fmla="*/ 74 w 74"/>
                  <a:gd name="T91" fmla="*/ 24 h 35"/>
                  <a:gd name="T92" fmla="*/ 71 w 74"/>
                  <a:gd name="T93" fmla="*/ 17 h 35"/>
                  <a:gd name="T94" fmla="*/ 71 w 74"/>
                  <a:gd name="T95" fmla="*/ 17 h 35"/>
                  <a:gd name="T96" fmla="*/ 71 w 74"/>
                  <a:gd name="T9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4" h="35">
                    <a:moveTo>
                      <a:pt x="14" y="30"/>
                    </a:moveTo>
                    <a:lnTo>
                      <a:pt x="14" y="33"/>
                    </a:lnTo>
                    <a:lnTo>
                      <a:pt x="17" y="33"/>
                    </a:lnTo>
                    <a:lnTo>
                      <a:pt x="17" y="30"/>
                    </a:lnTo>
                    <a:lnTo>
                      <a:pt x="14" y="30"/>
                    </a:lnTo>
                    <a:lnTo>
                      <a:pt x="14" y="30"/>
                    </a:lnTo>
                    <a:lnTo>
                      <a:pt x="14" y="30"/>
                    </a:lnTo>
                    <a:lnTo>
                      <a:pt x="14" y="30"/>
                    </a:lnTo>
                    <a:lnTo>
                      <a:pt x="14" y="30"/>
                    </a:lnTo>
                    <a:lnTo>
                      <a:pt x="14" y="30"/>
                    </a:lnTo>
                    <a:lnTo>
                      <a:pt x="14" y="30"/>
                    </a:lnTo>
                    <a:lnTo>
                      <a:pt x="14" y="30"/>
                    </a:lnTo>
                    <a:lnTo>
                      <a:pt x="14" y="30"/>
                    </a:lnTo>
                    <a:lnTo>
                      <a:pt x="14" y="30"/>
                    </a:lnTo>
                    <a:close/>
                    <a:moveTo>
                      <a:pt x="52" y="21"/>
                    </a:moveTo>
                    <a:lnTo>
                      <a:pt x="52" y="19"/>
                    </a:lnTo>
                    <a:lnTo>
                      <a:pt x="52" y="17"/>
                    </a:lnTo>
                    <a:lnTo>
                      <a:pt x="52" y="19"/>
                    </a:lnTo>
                    <a:lnTo>
                      <a:pt x="52" y="21"/>
                    </a:lnTo>
                    <a:lnTo>
                      <a:pt x="52" y="21"/>
                    </a:lnTo>
                    <a:lnTo>
                      <a:pt x="52" y="21"/>
                    </a:lnTo>
                    <a:lnTo>
                      <a:pt x="52" y="21"/>
                    </a:lnTo>
                    <a:lnTo>
                      <a:pt x="52" y="21"/>
                    </a:lnTo>
                    <a:lnTo>
                      <a:pt x="52" y="21"/>
                    </a:lnTo>
                    <a:lnTo>
                      <a:pt x="52" y="21"/>
                    </a:lnTo>
                    <a:lnTo>
                      <a:pt x="52" y="21"/>
                    </a:lnTo>
                    <a:lnTo>
                      <a:pt x="52" y="21"/>
                    </a:lnTo>
                    <a:close/>
                    <a:moveTo>
                      <a:pt x="71" y="17"/>
                    </a:moveTo>
                    <a:lnTo>
                      <a:pt x="71" y="16"/>
                    </a:lnTo>
                    <a:lnTo>
                      <a:pt x="71" y="14"/>
                    </a:lnTo>
                    <a:lnTo>
                      <a:pt x="73" y="14"/>
                    </a:lnTo>
                    <a:lnTo>
                      <a:pt x="70" y="13"/>
                    </a:lnTo>
                    <a:lnTo>
                      <a:pt x="68" y="11"/>
                    </a:lnTo>
                    <a:lnTo>
                      <a:pt x="65" y="6"/>
                    </a:lnTo>
                    <a:lnTo>
                      <a:pt x="62" y="5"/>
                    </a:lnTo>
                    <a:lnTo>
                      <a:pt x="58" y="3"/>
                    </a:lnTo>
                    <a:lnTo>
                      <a:pt x="52" y="1"/>
                    </a:lnTo>
                    <a:lnTo>
                      <a:pt x="52" y="0"/>
                    </a:lnTo>
                    <a:lnTo>
                      <a:pt x="46" y="0"/>
                    </a:lnTo>
                    <a:lnTo>
                      <a:pt x="43" y="1"/>
                    </a:lnTo>
                    <a:lnTo>
                      <a:pt x="43" y="3"/>
                    </a:lnTo>
                    <a:lnTo>
                      <a:pt x="38" y="6"/>
                    </a:lnTo>
                    <a:lnTo>
                      <a:pt x="33" y="8"/>
                    </a:lnTo>
                    <a:lnTo>
                      <a:pt x="27" y="11"/>
                    </a:lnTo>
                    <a:lnTo>
                      <a:pt x="25" y="13"/>
                    </a:lnTo>
                    <a:lnTo>
                      <a:pt x="20" y="13"/>
                    </a:lnTo>
                    <a:lnTo>
                      <a:pt x="19" y="11"/>
                    </a:lnTo>
                    <a:lnTo>
                      <a:pt x="17" y="9"/>
                    </a:lnTo>
                    <a:lnTo>
                      <a:pt x="17" y="8"/>
                    </a:lnTo>
                    <a:lnTo>
                      <a:pt x="14" y="8"/>
                    </a:lnTo>
                    <a:lnTo>
                      <a:pt x="17" y="9"/>
                    </a:lnTo>
                    <a:lnTo>
                      <a:pt x="11" y="9"/>
                    </a:lnTo>
                    <a:lnTo>
                      <a:pt x="11" y="9"/>
                    </a:lnTo>
                    <a:lnTo>
                      <a:pt x="11" y="6"/>
                    </a:lnTo>
                    <a:lnTo>
                      <a:pt x="8" y="6"/>
                    </a:lnTo>
                    <a:lnTo>
                      <a:pt x="8" y="3"/>
                    </a:lnTo>
                    <a:lnTo>
                      <a:pt x="8" y="0"/>
                    </a:lnTo>
                    <a:lnTo>
                      <a:pt x="6" y="0"/>
                    </a:lnTo>
                    <a:lnTo>
                      <a:pt x="6" y="1"/>
                    </a:lnTo>
                    <a:lnTo>
                      <a:pt x="4" y="0"/>
                    </a:lnTo>
                    <a:lnTo>
                      <a:pt x="4" y="0"/>
                    </a:lnTo>
                    <a:lnTo>
                      <a:pt x="3" y="0"/>
                    </a:lnTo>
                    <a:lnTo>
                      <a:pt x="1" y="8"/>
                    </a:lnTo>
                    <a:lnTo>
                      <a:pt x="4" y="9"/>
                    </a:lnTo>
                    <a:lnTo>
                      <a:pt x="4" y="11"/>
                    </a:lnTo>
                    <a:lnTo>
                      <a:pt x="3" y="11"/>
                    </a:lnTo>
                    <a:lnTo>
                      <a:pt x="3" y="13"/>
                    </a:lnTo>
                    <a:lnTo>
                      <a:pt x="3" y="16"/>
                    </a:lnTo>
                    <a:lnTo>
                      <a:pt x="1" y="17"/>
                    </a:lnTo>
                    <a:lnTo>
                      <a:pt x="0" y="19"/>
                    </a:lnTo>
                    <a:lnTo>
                      <a:pt x="1" y="21"/>
                    </a:lnTo>
                    <a:lnTo>
                      <a:pt x="1" y="21"/>
                    </a:lnTo>
                    <a:lnTo>
                      <a:pt x="1" y="22"/>
                    </a:lnTo>
                    <a:lnTo>
                      <a:pt x="1" y="24"/>
                    </a:lnTo>
                    <a:lnTo>
                      <a:pt x="3" y="22"/>
                    </a:lnTo>
                    <a:lnTo>
                      <a:pt x="3" y="19"/>
                    </a:lnTo>
                    <a:lnTo>
                      <a:pt x="6" y="19"/>
                    </a:lnTo>
                    <a:lnTo>
                      <a:pt x="8" y="19"/>
                    </a:lnTo>
                    <a:lnTo>
                      <a:pt x="8" y="19"/>
                    </a:lnTo>
                    <a:lnTo>
                      <a:pt x="11" y="21"/>
                    </a:lnTo>
                    <a:lnTo>
                      <a:pt x="11" y="21"/>
                    </a:lnTo>
                    <a:lnTo>
                      <a:pt x="14" y="21"/>
                    </a:lnTo>
                    <a:lnTo>
                      <a:pt x="17" y="24"/>
                    </a:lnTo>
                    <a:lnTo>
                      <a:pt x="17" y="27"/>
                    </a:lnTo>
                    <a:lnTo>
                      <a:pt x="19" y="27"/>
                    </a:lnTo>
                    <a:lnTo>
                      <a:pt x="22" y="30"/>
                    </a:lnTo>
                    <a:lnTo>
                      <a:pt x="22" y="27"/>
                    </a:lnTo>
                    <a:lnTo>
                      <a:pt x="22" y="24"/>
                    </a:lnTo>
                    <a:lnTo>
                      <a:pt x="23" y="27"/>
                    </a:lnTo>
                    <a:lnTo>
                      <a:pt x="23" y="24"/>
                    </a:lnTo>
                    <a:lnTo>
                      <a:pt x="25" y="27"/>
                    </a:lnTo>
                    <a:lnTo>
                      <a:pt x="25" y="30"/>
                    </a:lnTo>
                    <a:lnTo>
                      <a:pt x="27" y="35"/>
                    </a:lnTo>
                    <a:lnTo>
                      <a:pt x="28" y="35"/>
                    </a:lnTo>
                    <a:lnTo>
                      <a:pt x="30" y="33"/>
                    </a:lnTo>
                    <a:lnTo>
                      <a:pt x="33" y="33"/>
                    </a:lnTo>
                    <a:lnTo>
                      <a:pt x="36" y="33"/>
                    </a:lnTo>
                    <a:lnTo>
                      <a:pt x="38" y="30"/>
                    </a:lnTo>
                    <a:lnTo>
                      <a:pt x="38" y="30"/>
                    </a:lnTo>
                    <a:lnTo>
                      <a:pt x="36" y="27"/>
                    </a:lnTo>
                    <a:lnTo>
                      <a:pt x="33" y="22"/>
                    </a:lnTo>
                    <a:lnTo>
                      <a:pt x="33" y="21"/>
                    </a:lnTo>
                    <a:lnTo>
                      <a:pt x="35" y="19"/>
                    </a:lnTo>
                    <a:lnTo>
                      <a:pt x="36" y="19"/>
                    </a:lnTo>
                    <a:lnTo>
                      <a:pt x="39" y="17"/>
                    </a:lnTo>
                    <a:lnTo>
                      <a:pt x="43" y="13"/>
                    </a:lnTo>
                    <a:lnTo>
                      <a:pt x="43" y="11"/>
                    </a:lnTo>
                    <a:lnTo>
                      <a:pt x="46" y="9"/>
                    </a:lnTo>
                    <a:lnTo>
                      <a:pt x="49" y="9"/>
                    </a:lnTo>
                    <a:lnTo>
                      <a:pt x="52" y="9"/>
                    </a:lnTo>
                    <a:lnTo>
                      <a:pt x="52" y="9"/>
                    </a:lnTo>
                    <a:lnTo>
                      <a:pt x="55" y="13"/>
                    </a:lnTo>
                    <a:lnTo>
                      <a:pt x="57" y="16"/>
                    </a:lnTo>
                    <a:lnTo>
                      <a:pt x="58" y="19"/>
                    </a:lnTo>
                    <a:lnTo>
                      <a:pt x="58" y="16"/>
                    </a:lnTo>
                    <a:lnTo>
                      <a:pt x="60" y="17"/>
                    </a:lnTo>
                    <a:lnTo>
                      <a:pt x="62" y="17"/>
                    </a:lnTo>
                    <a:lnTo>
                      <a:pt x="62" y="16"/>
                    </a:lnTo>
                    <a:lnTo>
                      <a:pt x="63" y="17"/>
                    </a:lnTo>
                    <a:lnTo>
                      <a:pt x="65" y="21"/>
                    </a:lnTo>
                    <a:lnTo>
                      <a:pt x="66" y="22"/>
                    </a:lnTo>
                    <a:lnTo>
                      <a:pt x="63" y="21"/>
                    </a:lnTo>
                    <a:lnTo>
                      <a:pt x="62" y="19"/>
                    </a:lnTo>
                    <a:lnTo>
                      <a:pt x="60" y="22"/>
                    </a:lnTo>
                    <a:lnTo>
                      <a:pt x="60" y="24"/>
                    </a:lnTo>
                    <a:lnTo>
                      <a:pt x="58" y="24"/>
                    </a:lnTo>
                    <a:lnTo>
                      <a:pt x="60" y="30"/>
                    </a:lnTo>
                    <a:lnTo>
                      <a:pt x="62" y="30"/>
                    </a:lnTo>
                    <a:lnTo>
                      <a:pt x="63" y="33"/>
                    </a:lnTo>
                    <a:lnTo>
                      <a:pt x="63" y="33"/>
                    </a:lnTo>
                    <a:lnTo>
                      <a:pt x="65" y="35"/>
                    </a:lnTo>
                    <a:lnTo>
                      <a:pt x="65" y="33"/>
                    </a:lnTo>
                    <a:lnTo>
                      <a:pt x="66" y="33"/>
                    </a:lnTo>
                    <a:lnTo>
                      <a:pt x="66" y="30"/>
                    </a:lnTo>
                    <a:lnTo>
                      <a:pt x="66" y="27"/>
                    </a:lnTo>
                    <a:lnTo>
                      <a:pt x="68" y="30"/>
                    </a:lnTo>
                    <a:lnTo>
                      <a:pt x="73" y="27"/>
                    </a:lnTo>
                    <a:lnTo>
                      <a:pt x="74" y="24"/>
                    </a:lnTo>
                    <a:lnTo>
                      <a:pt x="74" y="22"/>
                    </a:lnTo>
                    <a:lnTo>
                      <a:pt x="71" y="17"/>
                    </a:lnTo>
                    <a:lnTo>
                      <a:pt x="71" y="17"/>
                    </a:lnTo>
                    <a:lnTo>
                      <a:pt x="71" y="17"/>
                    </a:lnTo>
                    <a:lnTo>
                      <a:pt x="71" y="17"/>
                    </a:lnTo>
                    <a:lnTo>
                      <a:pt x="71" y="17"/>
                    </a:lnTo>
                    <a:lnTo>
                      <a:pt x="71" y="17"/>
                    </a:lnTo>
                    <a:lnTo>
                      <a:pt x="71" y="17"/>
                    </a:lnTo>
                    <a:lnTo>
                      <a:pt x="71" y="17"/>
                    </a:lnTo>
                    <a:lnTo>
                      <a:pt x="71" y="17"/>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45" name="Freeform 235">
                <a:extLst>
                  <a:ext uri="{FF2B5EF4-FFF2-40B4-BE49-F238E27FC236}">
                    <a16:creationId xmlns:a16="http://schemas.microsoft.com/office/drawing/2014/main" id="{41D527A3-E8B3-CB5E-CBE1-67D979033DDE}"/>
                  </a:ext>
                </a:extLst>
              </p:cNvPr>
              <p:cNvSpPr>
                <a:spLocks noEditPoints="1"/>
              </p:cNvSpPr>
              <p:nvPr/>
            </p:nvSpPr>
            <p:spPr bwMode="auto">
              <a:xfrm>
                <a:off x="2604198" y="2973109"/>
                <a:ext cx="744700" cy="583198"/>
              </a:xfrm>
              <a:custGeom>
                <a:avLst/>
                <a:gdLst>
                  <a:gd name="T0" fmla="*/ 300 w 332"/>
                  <a:gd name="T1" fmla="*/ 164 h 260"/>
                  <a:gd name="T2" fmla="*/ 284 w 332"/>
                  <a:gd name="T3" fmla="*/ 184 h 260"/>
                  <a:gd name="T4" fmla="*/ 267 w 332"/>
                  <a:gd name="T5" fmla="*/ 205 h 260"/>
                  <a:gd name="T6" fmla="*/ 252 w 332"/>
                  <a:gd name="T7" fmla="*/ 205 h 260"/>
                  <a:gd name="T8" fmla="*/ 224 w 332"/>
                  <a:gd name="T9" fmla="*/ 202 h 260"/>
                  <a:gd name="T10" fmla="*/ 209 w 332"/>
                  <a:gd name="T11" fmla="*/ 191 h 260"/>
                  <a:gd name="T12" fmla="*/ 197 w 332"/>
                  <a:gd name="T13" fmla="*/ 153 h 260"/>
                  <a:gd name="T14" fmla="*/ 203 w 332"/>
                  <a:gd name="T15" fmla="*/ 121 h 260"/>
                  <a:gd name="T16" fmla="*/ 209 w 332"/>
                  <a:gd name="T17" fmla="*/ 105 h 260"/>
                  <a:gd name="T18" fmla="*/ 208 w 332"/>
                  <a:gd name="T19" fmla="*/ 95 h 260"/>
                  <a:gd name="T20" fmla="*/ 192 w 332"/>
                  <a:gd name="T21" fmla="*/ 83 h 260"/>
                  <a:gd name="T22" fmla="*/ 181 w 332"/>
                  <a:gd name="T23" fmla="*/ 48 h 260"/>
                  <a:gd name="T24" fmla="*/ 154 w 332"/>
                  <a:gd name="T25" fmla="*/ 52 h 260"/>
                  <a:gd name="T26" fmla="*/ 136 w 332"/>
                  <a:gd name="T27" fmla="*/ 29 h 260"/>
                  <a:gd name="T28" fmla="*/ 101 w 332"/>
                  <a:gd name="T29" fmla="*/ 14 h 260"/>
                  <a:gd name="T30" fmla="*/ 1 w 332"/>
                  <a:gd name="T31" fmla="*/ 11 h 260"/>
                  <a:gd name="T32" fmla="*/ 3 w 332"/>
                  <a:gd name="T33" fmla="*/ 25 h 260"/>
                  <a:gd name="T34" fmla="*/ 5 w 332"/>
                  <a:gd name="T35" fmla="*/ 45 h 260"/>
                  <a:gd name="T36" fmla="*/ 14 w 332"/>
                  <a:gd name="T37" fmla="*/ 72 h 260"/>
                  <a:gd name="T38" fmla="*/ 11 w 332"/>
                  <a:gd name="T39" fmla="*/ 72 h 260"/>
                  <a:gd name="T40" fmla="*/ 8 w 332"/>
                  <a:gd name="T41" fmla="*/ 76 h 260"/>
                  <a:gd name="T42" fmla="*/ 16 w 332"/>
                  <a:gd name="T43" fmla="*/ 86 h 260"/>
                  <a:gd name="T44" fmla="*/ 30 w 332"/>
                  <a:gd name="T45" fmla="*/ 105 h 260"/>
                  <a:gd name="T46" fmla="*/ 43 w 332"/>
                  <a:gd name="T47" fmla="*/ 130 h 260"/>
                  <a:gd name="T48" fmla="*/ 55 w 332"/>
                  <a:gd name="T49" fmla="*/ 133 h 260"/>
                  <a:gd name="T50" fmla="*/ 43 w 332"/>
                  <a:gd name="T51" fmla="*/ 118 h 260"/>
                  <a:gd name="T52" fmla="*/ 40 w 332"/>
                  <a:gd name="T53" fmla="*/ 87 h 260"/>
                  <a:gd name="T54" fmla="*/ 36 w 332"/>
                  <a:gd name="T55" fmla="*/ 79 h 260"/>
                  <a:gd name="T56" fmla="*/ 28 w 332"/>
                  <a:gd name="T57" fmla="*/ 57 h 260"/>
                  <a:gd name="T58" fmla="*/ 19 w 332"/>
                  <a:gd name="T59" fmla="*/ 33 h 260"/>
                  <a:gd name="T60" fmla="*/ 30 w 332"/>
                  <a:gd name="T61" fmla="*/ 18 h 260"/>
                  <a:gd name="T62" fmla="*/ 43 w 332"/>
                  <a:gd name="T63" fmla="*/ 24 h 260"/>
                  <a:gd name="T64" fmla="*/ 43 w 332"/>
                  <a:gd name="T65" fmla="*/ 48 h 260"/>
                  <a:gd name="T66" fmla="*/ 49 w 332"/>
                  <a:gd name="T67" fmla="*/ 67 h 260"/>
                  <a:gd name="T68" fmla="*/ 55 w 332"/>
                  <a:gd name="T69" fmla="*/ 76 h 260"/>
                  <a:gd name="T70" fmla="*/ 67 w 332"/>
                  <a:gd name="T71" fmla="*/ 86 h 260"/>
                  <a:gd name="T72" fmla="*/ 65 w 332"/>
                  <a:gd name="T73" fmla="*/ 95 h 260"/>
                  <a:gd name="T74" fmla="*/ 70 w 332"/>
                  <a:gd name="T75" fmla="*/ 103 h 260"/>
                  <a:gd name="T76" fmla="*/ 78 w 332"/>
                  <a:gd name="T77" fmla="*/ 118 h 260"/>
                  <a:gd name="T78" fmla="*/ 100 w 332"/>
                  <a:gd name="T79" fmla="*/ 156 h 260"/>
                  <a:gd name="T80" fmla="*/ 98 w 332"/>
                  <a:gd name="T81" fmla="*/ 175 h 260"/>
                  <a:gd name="T82" fmla="*/ 106 w 332"/>
                  <a:gd name="T83" fmla="*/ 195 h 260"/>
                  <a:gd name="T84" fmla="*/ 133 w 332"/>
                  <a:gd name="T85" fmla="*/ 211 h 260"/>
                  <a:gd name="T86" fmla="*/ 165 w 332"/>
                  <a:gd name="T87" fmla="*/ 230 h 260"/>
                  <a:gd name="T88" fmla="*/ 186 w 332"/>
                  <a:gd name="T89" fmla="*/ 243 h 260"/>
                  <a:gd name="T90" fmla="*/ 219 w 332"/>
                  <a:gd name="T91" fmla="*/ 237 h 260"/>
                  <a:gd name="T92" fmla="*/ 227 w 332"/>
                  <a:gd name="T93" fmla="*/ 237 h 260"/>
                  <a:gd name="T94" fmla="*/ 251 w 332"/>
                  <a:gd name="T95" fmla="*/ 260 h 260"/>
                  <a:gd name="T96" fmla="*/ 259 w 332"/>
                  <a:gd name="T97" fmla="*/ 240 h 260"/>
                  <a:gd name="T98" fmla="*/ 271 w 332"/>
                  <a:gd name="T99" fmla="*/ 229 h 260"/>
                  <a:gd name="T100" fmla="*/ 275 w 332"/>
                  <a:gd name="T101" fmla="*/ 213 h 260"/>
                  <a:gd name="T102" fmla="*/ 298 w 332"/>
                  <a:gd name="T103" fmla="*/ 213 h 260"/>
                  <a:gd name="T104" fmla="*/ 311 w 332"/>
                  <a:gd name="T105" fmla="*/ 208 h 260"/>
                  <a:gd name="T106" fmla="*/ 317 w 332"/>
                  <a:gd name="T107" fmla="*/ 189 h 260"/>
                  <a:gd name="T108" fmla="*/ 332 w 332"/>
                  <a:gd name="T109" fmla="*/ 164 h 260"/>
                  <a:gd name="T110" fmla="*/ 330 w 332"/>
                  <a:gd name="T111" fmla="*/ 160 h 260"/>
                  <a:gd name="T112" fmla="*/ 200 w 332"/>
                  <a:gd name="T113" fmla="*/ 15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2" h="260">
                    <a:moveTo>
                      <a:pt x="330" y="160"/>
                    </a:moveTo>
                    <a:lnTo>
                      <a:pt x="325" y="160"/>
                    </a:lnTo>
                    <a:lnTo>
                      <a:pt x="324" y="162"/>
                    </a:lnTo>
                    <a:lnTo>
                      <a:pt x="322" y="162"/>
                    </a:lnTo>
                    <a:lnTo>
                      <a:pt x="317" y="160"/>
                    </a:lnTo>
                    <a:lnTo>
                      <a:pt x="314" y="160"/>
                    </a:lnTo>
                    <a:lnTo>
                      <a:pt x="311" y="160"/>
                    </a:lnTo>
                    <a:lnTo>
                      <a:pt x="300" y="164"/>
                    </a:lnTo>
                    <a:lnTo>
                      <a:pt x="294" y="164"/>
                    </a:lnTo>
                    <a:lnTo>
                      <a:pt x="287" y="167"/>
                    </a:lnTo>
                    <a:lnTo>
                      <a:pt x="287" y="170"/>
                    </a:lnTo>
                    <a:lnTo>
                      <a:pt x="287" y="170"/>
                    </a:lnTo>
                    <a:lnTo>
                      <a:pt x="286" y="173"/>
                    </a:lnTo>
                    <a:lnTo>
                      <a:pt x="284" y="178"/>
                    </a:lnTo>
                    <a:lnTo>
                      <a:pt x="284" y="181"/>
                    </a:lnTo>
                    <a:lnTo>
                      <a:pt x="284" y="184"/>
                    </a:lnTo>
                    <a:lnTo>
                      <a:pt x="279" y="187"/>
                    </a:lnTo>
                    <a:lnTo>
                      <a:pt x="278" y="192"/>
                    </a:lnTo>
                    <a:lnTo>
                      <a:pt x="275" y="195"/>
                    </a:lnTo>
                    <a:lnTo>
                      <a:pt x="271" y="195"/>
                    </a:lnTo>
                    <a:lnTo>
                      <a:pt x="268" y="199"/>
                    </a:lnTo>
                    <a:lnTo>
                      <a:pt x="270" y="202"/>
                    </a:lnTo>
                    <a:lnTo>
                      <a:pt x="268" y="205"/>
                    </a:lnTo>
                    <a:lnTo>
                      <a:pt x="267" y="205"/>
                    </a:lnTo>
                    <a:lnTo>
                      <a:pt x="265" y="205"/>
                    </a:lnTo>
                    <a:lnTo>
                      <a:pt x="262" y="205"/>
                    </a:lnTo>
                    <a:lnTo>
                      <a:pt x="262" y="205"/>
                    </a:lnTo>
                    <a:lnTo>
                      <a:pt x="262" y="202"/>
                    </a:lnTo>
                    <a:lnTo>
                      <a:pt x="262" y="202"/>
                    </a:lnTo>
                    <a:lnTo>
                      <a:pt x="257" y="202"/>
                    </a:lnTo>
                    <a:lnTo>
                      <a:pt x="254" y="202"/>
                    </a:lnTo>
                    <a:lnTo>
                      <a:pt x="252" y="205"/>
                    </a:lnTo>
                    <a:lnTo>
                      <a:pt x="251" y="205"/>
                    </a:lnTo>
                    <a:lnTo>
                      <a:pt x="246" y="205"/>
                    </a:lnTo>
                    <a:lnTo>
                      <a:pt x="240" y="206"/>
                    </a:lnTo>
                    <a:lnTo>
                      <a:pt x="238" y="208"/>
                    </a:lnTo>
                    <a:lnTo>
                      <a:pt x="235" y="208"/>
                    </a:lnTo>
                    <a:lnTo>
                      <a:pt x="232" y="208"/>
                    </a:lnTo>
                    <a:lnTo>
                      <a:pt x="228" y="208"/>
                    </a:lnTo>
                    <a:lnTo>
                      <a:pt x="224" y="202"/>
                    </a:lnTo>
                    <a:lnTo>
                      <a:pt x="219" y="202"/>
                    </a:lnTo>
                    <a:lnTo>
                      <a:pt x="214" y="202"/>
                    </a:lnTo>
                    <a:lnTo>
                      <a:pt x="213" y="202"/>
                    </a:lnTo>
                    <a:lnTo>
                      <a:pt x="213" y="199"/>
                    </a:lnTo>
                    <a:lnTo>
                      <a:pt x="214" y="199"/>
                    </a:lnTo>
                    <a:lnTo>
                      <a:pt x="213" y="199"/>
                    </a:lnTo>
                    <a:lnTo>
                      <a:pt x="211" y="195"/>
                    </a:lnTo>
                    <a:lnTo>
                      <a:pt x="209" y="191"/>
                    </a:lnTo>
                    <a:lnTo>
                      <a:pt x="206" y="183"/>
                    </a:lnTo>
                    <a:lnTo>
                      <a:pt x="203" y="176"/>
                    </a:lnTo>
                    <a:lnTo>
                      <a:pt x="200" y="170"/>
                    </a:lnTo>
                    <a:lnTo>
                      <a:pt x="200" y="164"/>
                    </a:lnTo>
                    <a:lnTo>
                      <a:pt x="200" y="162"/>
                    </a:lnTo>
                    <a:lnTo>
                      <a:pt x="197" y="160"/>
                    </a:lnTo>
                    <a:lnTo>
                      <a:pt x="197" y="156"/>
                    </a:lnTo>
                    <a:lnTo>
                      <a:pt x="197" y="153"/>
                    </a:lnTo>
                    <a:lnTo>
                      <a:pt x="197" y="148"/>
                    </a:lnTo>
                    <a:lnTo>
                      <a:pt x="200" y="143"/>
                    </a:lnTo>
                    <a:lnTo>
                      <a:pt x="200" y="138"/>
                    </a:lnTo>
                    <a:lnTo>
                      <a:pt x="203" y="133"/>
                    </a:lnTo>
                    <a:lnTo>
                      <a:pt x="203" y="130"/>
                    </a:lnTo>
                    <a:lnTo>
                      <a:pt x="200" y="129"/>
                    </a:lnTo>
                    <a:lnTo>
                      <a:pt x="203" y="127"/>
                    </a:lnTo>
                    <a:lnTo>
                      <a:pt x="203" y="121"/>
                    </a:lnTo>
                    <a:lnTo>
                      <a:pt x="203" y="118"/>
                    </a:lnTo>
                    <a:lnTo>
                      <a:pt x="203" y="118"/>
                    </a:lnTo>
                    <a:lnTo>
                      <a:pt x="206" y="114"/>
                    </a:lnTo>
                    <a:lnTo>
                      <a:pt x="206" y="111"/>
                    </a:lnTo>
                    <a:lnTo>
                      <a:pt x="206" y="108"/>
                    </a:lnTo>
                    <a:lnTo>
                      <a:pt x="206" y="105"/>
                    </a:lnTo>
                    <a:lnTo>
                      <a:pt x="208" y="105"/>
                    </a:lnTo>
                    <a:lnTo>
                      <a:pt x="209" y="105"/>
                    </a:lnTo>
                    <a:lnTo>
                      <a:pt x="209" y="105"/>
                    </a:lnTo>
                    <a:lnTo>
                      <a:pt x="209" y="108"/>
                    </a:lnTo>
                    <a:lnTo>
                      <a:pt x="216" y="97"/>
                    </a:lnTo>
                    <a:lnTo>
                      <a:pt x="213" y="99"/>
                    </a:lnTo>
                    <a:lnTo>
                      <a:pt x="213" y="99"/>
                    </a:lnTo>
                    <a:lnTo>
                      <a:pt x="213" y="99"/>
                    </a:lnTo>
                    <a:lnTo>
                      <a:pt x="209" y="97"/>
                    </a:lnTo>
                    <a:lnTo>
                      <a:pt x="208" y="95"/>
                    </a:lnTo>
                    <a:lnTo>
                      <a:pt x="206" y="95"/>
                    </a:lnTo>
                    <a:lnTo>
                      <a:pt x="203" y="95"/>
                    </a:lnTo>
                    <a:lnTo>
                      <a:pt x="200" y="92"/>
                    </a:lnTo>
                    <a:lnTo>
                      <a:pt x="197" y="91"/>
                    </a:lnTo>
                    <a:lnTo>
                      <a:pt x="195" y="91"/>
                    </a:lnTo>
                    <a:lnTo>
                      <a:pt x="194" y="89"/>
                    </a:lnTo>
                    <a:lnTo>
                      <a:pt x="192" y="84"/>
                    </a:lnTo>
                    <a:lnTo>
                      <a:pt x="192" y="83"/>
                    </a:lnTo>
                    <a:lnTo>
                      <a:pt x="192" y="76"/>
                    </a:lnTo>
                    <a:lnTo>
                      <a:pt x="192" y="73"/>
                    </a:lnTo>
                    <a:lnTo>
                      <a:pt x="190" y="72"/>
                    </a:lnTo>
                    <a:lnTo>
                      <a:pt x="187" y="65"/>
                    </a:lnTo>
                    <a:lnTo>
                      <a:pt x="184" y="59"/>
                    </a:lnTo>
                    <a:lnTo>
                      <a:pt x="184" y="52"/>
                    </a:lnTo>
                    <a:lnTo>
                      <a:pt x="182" y="49"/>
                    </a:lnTo>
                    <a:lnTo>
                      <a:pt x="181" y="48"/>
                    </a:lnTo>
                    <a:lnTo>
                      <a:pt x="176" y="41"/>
                    </a:lnTo>
                    <a:lnTo>
                      <a:pt x="175" y="41"/>
                    </a:lnTo>
                    <a:lnTo>
                      <a:pt x="168" y="41"/>
                    </a:lnTo>
                    <a:lnTo>
                      <a:pt x="162" y="41"/>
                    </a:lnTo>
                    <a:lnTo>
                      <a:pt x="160" y="45"/>
                    </a:lnTo>
                    <a:lnTo>
                      <a:pt x="159" y="48"/>
                    </a:lnTo>
                    <a:lnTo>
                      <a:pt x="155" y="51"/>
                    </a:lnTo>
                    <a:lnTo>
                      <a:pt x="154" y="52"/>
                    </a:lnTo>
                    <a:lnTo>
                      <a:pt x="151" y="52"/>
                    </a:lnTo>
                    <a:lnTo>
                      <a:pt x="148" y="51"/>
                    </a:lnTo>
                    <a:lnTo>
                      <a:pt x="143" y="48"/>
                    </a:lnTo>
                    <a:lnTo>
                      <a:pt x="140" y="45"/>
                    </a:lnTo>
                    <a:lnTo>
                      <a:pt x="140" y="38"/>
                    </a:lnTo>
                    <a:lnTo>
                      <a:pt x="140" y="37"/>
                    </a:lnTo>
                    <a:lnTo>
                      <a:pt x="140" y="32"/>
                    </a:lnTo>
                    <a:lnTo>
                      <a:pt x="136" y="29"/>
                    </a:lnTo>
                    <a:lnTo>
                      <a:pt x="133" y="27"/>
                    </a:lnTo>
                    <a:lnTo>
                      <a:pt x="133" y="24"/>
                    </a:lnTo>
                    <a:lnTo>
                      <a:pt x="130" y="21"/>
                    </a:lnTo>
                    <a:lnTo>
                      <a:pt x="127" y="18"/>
                    </a:lnTo>
                    <a:lnTo>
                      <a:pt x="125" y="14"/>
                    </a:lnTo>
                    <a:lnTo>
                      <a:pt x="125" y="14"/>
                    </a:lnTo>
                    <a:lnTo>
                      <a:pt x="124" y="14"/>
                    </a:lnTo>
                    <a:lnTo>
                      <a:pt x="101" y="14"/>
                    </a:lnTo>
                    <a:lnTo>
                      <a:pt x="101" y="21"/>
                    </a:lnTo>
                    <a:lnTo>
                      <a:pt x="68" y="21"/>
                    </a:lnTo>
                    <a:lnTo>
                      <a:pt x="28" y="3"/>
                    </a:lnTo>
                    <a:lnTo>
                      <a:pt x="30" y="0"/>
                    </a:lnTo>
                    <a:lnTo>
                      <a:pt x="0" y="3"/>
                    </a:lnTo>
                    <a:lnTo>
                      <a:pt x="1" y="6"/>
                    </a:lnTo>
                    <a:lnTo>
                      <a:pt x="0" y="10"/>
                    </a:lnTo>
                    <a:lnTo>
                      <a:pt x="1" y="11"/>
                    </a:lnTo>
                    <a:lnTo>
                      <a:pt x="3" y="13"/>
                    </a:lnTo>
                    <a:lnTo>
                      <a:pt x="1" y="14"/>
                    </a:lnTo>
                    <a:lnTo>
                      <a:pt x="1" y="14"/>
                    </a:lnTo>
                    <a:lnTo>
                      <a:pt x="1" y="18"/>
                    </a:lnTo>
                    <a:lnTo>
                      <a:pt x="1" y="21"/>
                    </a:lnTo>
                    <a:lnTo>
                      <a:pt x="3" y="21"/>
                    </a:lnTo>
                    <a:lnTo>
                      <a:pt x="1" y="24"/>
                    </a:lnTo>
                    <a:lnTo>
                      <a:pt x="3" y="25"/>
                    </a:lnTo>
                    <a:lnTo>
                      <a:pt x="3" y="27"/>
                    </a:lnTo>
                    <a:lnTo>
                      <a:pt x="3" y="29"/>
                    </a:lnTo>
                    <a:lnTo>
                      <a:pt x="3" y="32"/>
                    </a:lnTo>
                    <a:lnTo>
                      <a:pt x="5" y="33"/>
                    </a:lnTo>
                    <a:lnTo>
                      <a:pt x="5" y="37"/>
                    </a:lnTo>
                    <a:lnTo>
                      <a:pt x="3" y="38"/>
                    </a:lnTo>
                    <a:lnTo>
                      <a:pt x="3" y="38"/>
                    </a:lnTo>
                    <a:lnTo>
                      <a:pt x="5" y="45"/>
                    </a:lnTo>
                    <a:lnTo>
                      <a:pt x="8" y="48"/>
                    </a:lnTo>
                    <a:lnTo>
                      <a:pt x="14" y="52"/>
                    </a:lnTo>
                    <a:lnTo>
                      <a:pt x="16" y="59"/>
                    </a:lnTo>
                    <a:lnTo>
                      <a:pt x="16" y="62"/>
                    </a:lnTo>
                    <a:lnTo>
                      <a:pt x="16" y="65"/>
                    </a:lnTo>
                    <a:lnTo>
                      <a:pt x="14" y="68"/>
                    </a:lnTo>
                    <a:lnTo>
                      <a:pt x="14" y="70"/>
                    </a:lnTo>
                    <a:lnTo>
                      <a:pt x="14" y="72"/>
                    </a:lnTo>
                    <a:lnTo>
                      <a:pt x="14" y="72"/>
                    </a:lnTo>
                    <a:lnTo>
                      <a:pt x="14" y="68"/>
                    </a:lnTo>
                    <a:lnTo>
                      <a:pt x="16" y="70"/>
                    </a:lnTo>
                    <a:lnTo>
                      <a:pt x="16" y="73"/>
                    </a:lnTo>
                    <a:lnTo>
                      <a:pt x="14" y="76"/>
                    </a:lnTo>
                    <a:lnTo>
                      <a:pt x="14" y="73"/>
                    </a:lnTo>
                    <a:lnTo>
                      <a:pt x="14" y="73"/>
                    </a:lnTo>
                    <a:lnTo>
                      <a:pt x="11" y="72"/>
                    </a:lnTo>
                    <a:lnTo>
                      <a:pt x="11" y="70"/>
                    </a:lnTo>
                    <a:lnTo>
                      <a:pt x="8" y="72"/>
                    </a:lnTo>
                    <a:lnTo>
                      <a:pt x="8" y="72"/>
                    </a:lnTo>
                    <a:lnTo>
                      <a:pt x="3" y="70"/>
                    </a:lnTo>
                    <a:lnTo>
                      <a:pt x="3" y="73"/>
                    </a:lnTo>
                    <a:lnTo>
                      <a:pt x="5" y="73"/>
                    </a:lnTo>
                    <a:lnTo>
                      <a:pt x="5" y="76"/>
                    </a:lnTo>
                    <a:lnTo>
                      <a:pt x="8" y="76"/>
                    </a:lnTo>
                    <a:lnTo>
                      <a:pt x="8" y="79"/>
                    </a:lnTo>
                    <a:lnTo>
                      <a:pt x="8" y="79"/>
                    </a:lnTo>
                    <a:lnTo>
                      <a:pt x="11" y="79"/>
                    </a:lnTo>
                    <a:lnTo>
                      <a:pt x="11" y="83"/>
                    </a:lnTo>
                    <a:lnTo>
                      <a:pt x="14" y="83"/>
                    </a:lnTo>
                    <a:lnTo>
                      <a:pt x="14" y="84"/>
                    </a:lnTo>
                    <a:lnTo>
                      <a:pt x="14" y="86"/>
                    </a:lnTo>
                    <a:lnTo>
                      <a:pt x="16" y="86"/>
                    </a:lnTo>
                    <a:lnTo>
                      <a:pt x="17" y="86"/>
                    </a:lnTo>
                    <a:lnTo>
                      <a:pt x="19" y="84"/>
                    </a:lnTo>
                    <a:lnTo>
                      <a:pt x="21" y="84"/>
                    </a:lnTo>
                    <a:lnTo>
                      <a:pt x="24" y="89"/>
                    </a:lnTo>
                    <a:lnTo>
                      <a:pt x="27" y="92"/>
                    </a:lnTo>
                    <a:lnTo>
                      <a:pt x="30" y="95"/>
                    </a:lnTo>
                    <a:lnTo>
                      <a:pt x="30" y="100"/>
                    </a:lnTo>
                    <a:lnTo>
                      <a:pt x="30" y="105"/>
                    </a:lnTo>
                    <a:lnTo>
                      <a:pt x="27" y="108"/>
                    </a:lnTo>
                    <a:lnTo>
                      <a:pt x="27" y="111"/>
                    </a:lnTo>
                    <a:lnTo>
                      <a:pt x="27" y="114"/>
                    </a:lnTo>
                    <a:lnTo>
                      <a:pt x="28" y="114"/>
                    </a:lnTo>
                    <a:lnTo>
                      <a:pt x="32" y="118"/>
                    </a:lnTo>
                    <a:lnTo>
                      <a:pt x="36" y="121"/>
                    </a:lnTo>
                    <a:lnTo>
                      <a:pt x="40" y="124"/>
                    </a:lnTo>
                    <a:lnTo>
                      <a:pt x="43" y="130"/>
                    </a:lnTo>
                    <a:lnTo>
                      <a:pt x="46" y="133"/>
                    </a:lnTo>
                    <a:lnTo>
                      <a:pt x="46" y="138"/>
                    </a:lnTo>
                    <a:lnTo>
                      <a:pt x="46" y="140"/>
                    </a:lnTo>
                    <a:lnTo>
                      <a:pt x="49" y="140"/>
                    </a:lnTo>
                    <a:lnTo>
                      <a:pt x="51" y="140"/>
                    </a:lnTo>
                    <a:lnTo>
                      <a:pt x="55" y="137"/>
                    </a:lnTo>
                    <a:lnTo>
                      <a:pt x="55" y="135"/>
                    </a:lnTo>
                    <a:lnTo>
                      <a:pt x="55" y="133"/>
                    </a:lnTo>
                    <a:lnTo>
                      <a:pt x="54" y="130"/>
                    </a:lnTo>
                    <a:lnTo>
                      <a:pt x="52" y="126"/>
                    </a:lnTo>
                    <a:lnTo>
                      <a:pt x="49" y="119"/>
                    </a:lnTo>
                    <a:lnTo>
                      <a:pt x="49" y="122"/>
                    </a:lnTo>
                    <a:lnTo>
                      <a:pt x="46" y="122"/>
                    </a:lnTo>
                    <a:lnTo>
                      <a:pt x="46" y="121"/>
                    </a:lnTo>
                    <a:lnTo>
                      <a:pt x="43" y="119"/>
                    </a:lnTo>
                    <a:lnTo>
                      <a:pt x="43" y="118"/>
                    </a:lnTo>
                    <a:lnTo>
                      <a:pt x="43" y="114"/>
                    </a:lnTo>
                    <a:lnTo>
                      <a:pt x="46" y="111"/>
                    </a:lnTo>
                    <a:lnTo>
                      <a:pt x="43" y="108"/>
                    </a:lnTo>
                    <a:lnTo>
                      <a:pt x="43" y="103"/>
                    </a:lnTo>
                    <a:lnTo>
                      <a:pt x="43" y="103"/>
                    </a:lnTo>
                    <a:lnTo>
                      <a:pt x="43" y="100"/>
                    </a:lnTo>
                    <a:lnTo>
                      <a:pt x="40" y="94"/>
                    </a:lnTo>
                    <a:lnTo>
                      <a:pt x="40" y="87"/>
                    </a:lnTo>
                    <a:lnTo>
                      <a:pt x="40" y="84"/>
                    </a:lnTo>
                    <a:lnTo>
                      <a:pt x="38" y="83"/>
                    </a:lnTo>
                    <a:lnTo>
                      <a:pt x="38" y="86"/>
                    </a:lnTo>
                    <a:lnTo>
                      <a:pt x="38" y="87"/>
                    </a:lnTo>
                    <a:lnTo>
                      <a:pt x="36" y="84"/>
                    </a:lnTo>
                    <a:lnTo>
                      <a:pt x="36" y="83"/>
                    </a:lnTo>
                    <a:lnTo>
                      <a:pt x="38" y="79"/>
                    </a:lnTo>
                    <a:lnTo>
                      <a:pt x="36" y="79"/>
                    </a:lnTo>
                    <a:lnTo>
                      <a:pt x="35" y="76"/>
                    </a:lnTo>
                    <a:lnTo>
                      <a:pt x="32" y="73"/>
                    </a:lnTo>
                    <a:lnTo>
                      <a:pt x="32" y="70"/>
                    </a:lnTo>
                    <a:lnTo>
                      <a:pt x="30" y="67"/>
                    </a:lnTo>
                    <a:lnTo>
                      <a:pt x="32" y="62"/>
                    </a:lnTo>
                    <a:lnTo>
                      <a:pt x="32" y="60"/>
                    </a:lnTo>
                    <a:lnTo>
                      <a:pt x="30" y="60"/>
                    </a:lnTo>
                    <a:lnTo>
                      <a:pt x="28" y="57"/>
                    </a:lnTo>
                    <a:lnTo>
                      <a:pt x="28" y="54"/>
                    </a:lnTo>
                    <a:lnTo>
                      <a:pt x="27" y="54"/>
                    </a:lnTo>
                    <a:lnTo>
                      <a:pt x="25" y="54"/>
                    </a:lnTo>
                    <a:lnTo>
                      <a:pt x="25" y="48"/>
                    </a:lnTo>
                    <a:lnTo>
                      <a:pt x="22" y="45"/>
                    </a:lnTo>
                    <a:lnTo>
                      <a:pt x="19" y="38"/>
                    </a:lnTo>
                    <a:lnTo>
                      <a:pt x="17" y="37"/>
                    </a:lnTo>
                    <a:lnTo>
                      <a:pt x="19" y="33"/>
                    </a:lnTo>
                    <a:lnTo>
                      <a:pt x="21" y="27"/>
                    </a:lnTo>
                    <a:lnTo>
                      <a:pt x="19" y="24"/>
                    </a:lnTo>
                    <a:lnTo>
                      <a:pt x="21" y="21"/>
                    </a:lnTo>
                    <a:lnTo>
                      <a:pt x="24" y="14"/>
                    </a:lnTo>
                    <a:lnTo>
                      <a:pt x="22" y="13"/>
                    </a:lnTo>
                    <a:lnTo>
                      <a:pt x="22" y="11"/>
                    </a:lnTo>
                    <a:lnTo>
                      <a:pt x="28" y="14"/>
                    </a:lnTo>
                    <a:lnTo>
                      <a:pt x="30" y="18"/>
                    </a:lnTo>
                    <a:lnTo>
                      <a:pt x="32" y="18"/>
                    </a:lnTo>
                    <a:lnTo>
                      <a:pt x="35" y="14"/>
                    </a:lnTo>
                    <a:lnTo>
                      <a:pt x="36" y="18"/>
                    </a:lnTo>
                    <a:lnTo>
                      <a:pt x="36" y="18"/>
                    </a:lnTo>
                    <a:lnTo>
                      <a:pt x="36" y="21"/>
                    </a:lnTo>
                    <a:lnTo>
                      <a:pt x="38" y="21"/>
                    </a:lnTo>
                    <a:lnTo>
                      <a:pt x="40" y="21"/>
                    </a:lnTo>
                    <a:lnTo>
                      <a:pt x="43" y="24"/>
                    </a:lnTo>
                    <a:lnTo>
                      <a:pt x="40" y="24"/>
                    </a:lnTo>
                    <a:lnTo>
                      <a:pt x="40" y="27"/>
                    </a:lnTo>
                    <a:lnTo>
                      <a:pt x="40" y="32"/>
                    </a:lnTo>
                    <a:lnTo>
                      <a:pt x="40" y="37"/>
                    </a:lnTo>
                    <a:lnTo>
                      <a:pt x="40" y="38"/>
                    </a:lnTo>
                    <a:lnTo>
                      <a:pt x="43" y="45"/>
                    </a:lnTo>
                    <a:lnTo>
                      <a:pt x="43" y="48"/>
                    </a:lnTo>
                    <a:lnTo>
                      <a:pt x="43" y="48"/>
                    </a:lnTo>
                    <a:lnTo>
                      <a:pt x="43" y="48"/>
                    </a:lnTo>
                    <a:lnTo>
                      <a:pt x="43" y="51"/>
                    </a:lnTo>
                    <a:lnTo>
                      <a:pt x="43" y="52"/>
                    </a:lnTo>
                    <a:lnTo>
                      <a:pt x="43" y="54"/>
                    </a:lnTo>
                    <a:lnTo>
                      <a:pt x="46" y="57"/>
                    </a:lnTo>
                    <a:lnTo>
                      <a:pt x="46" y="60"/>
                    </a:lnTo>
                    <a:lnTo>
                      <a:pt x="49" y="64"/>
                    </a:lnTo>
                    <a:lnTo>
                      <a:pt x="49" y="67"/>
                    </a:lnTo>
                    <a:lnTo>
                      <a:pt x="52" y="68"/>
                    </a:lnTo>
                    <a:lnTo>
                      <a:pt x="54" y="70"/>
                    </a:lnTo>
                    <a:lnTo>
                      <a:pt x="54" y="68"/>
                    </a:lnTo>
                    <a:lnTo>
                      <a:pt x="55" y="70"/>
                    </a:lnTo>
                    <a:lnTo>
                      <a:pt x="59" y="70"/>
                    </a:lnTo>
                    <a:lnTo>
                      <a:pt x="57" y="72"/>
                    </a:lnTo>
                    <a:lnTo>
                      <a:pt x="55" y="73"/>
                    </a:lnTo>
                    <a:lnTo>
                      <a:pt x="55" y="76"/>
                    </a:lnTo>
                    <a:lnTo>
                      <a:pt x="57" y="79"/>
                    </a:lnTo>
                    <a:lnTo>
                      <a:pt x="59" y="79"/>
                    </a:lnTo>
                    <a:lnTo>
                      <a:pt x="62" y="79"/>
                    </a:lnTo>
                    <a:lnTo>
                      <a:pt x="62" y="83"/>
                    </a:lnTo>
                    <a:lnTo>
                      <a:pt x="62" y="83"/>
                    </a:lnTo>
                    <a:lnTo>
                      <a:pt x="63" y="86"/>
                    </a:lnTo>
                    <a:lnTo>
                      <a:pt x="65" y="86"/>
                    </a:lnTo>
                    <a:lnTo>
                      <a:pt x="67" y="86"/>
                    </a:lnTo>
                    <a:lnTo>
                      <a:pt x="68" y="89"/>
                    </a:lnTo>
                    <a:lnTo>
                      <a:pt x="68" y="91"/>
                    </a:lnTo>
                    <a:lnTo>
                      <a:pt x="70" y="91"/>
                    </a:lnTo>
                    <a:lnTo>
                      <a:pt x="70" y="92"/>
                    </a:lnTo>
                    <a:lnTo>
                      <a:pt x="68" y="92"/>
                    </a:lnTo>
                    <a:lnTo>
                      <a:pt x="68" y="94"/>
                    </a:lnTo>
                    <a:lnTo>
                      <a:pt x="67" y="94"/>
                    </a:lnTo>
                    <a:lnTo>
                      <a:pt x="65" y="95"/>
                    </a:lnTo>
                    <a:lnTo>
                      <a:pt x="63" y="102"/>
                    </a:lnTo>
                    <a:lnTo>
                      <a:pt x="65" y="100"/>
                    </a:lnTo>
                    <a:lnTo>
                      <a:pt x="65" y="102"/>
                    </a:lnTo>
                    <a:lnTo>
                      <a:pt x="67" y="102"/>
                    </a:lnTo>
                    <a:lnTo>
                      <a:pt x="70" y="102"/>
                    </a:lnTo>
                    <a:lnTo>
                      <a:pt x="68" y="103"/>
                    </a:lnTo>
                    <a:lnTo>
                      <a:pt x="68" y="105"/>
                    </a:lnTo>
                    <a:lnTo>
                      <a:pt x="70" y="103"/>
                    </a:lnTo>
                    <a:lnTo>
                      <a:pt x="71" y="105"/>
                    </a:lnTo>
                    <a:lnTo>
                      <a:pt x="74" y="108"/>
                    </a:lnTo>
                    <a:lnTo>
                      <a:pt x="74" y="108"/>
                    </a:lnTo>
                    <a:lnTo>
                      <a:pt x="74" y="108"/>
                    </a:lnTo>
                    <a:lnTo>
                      <a:pt x="78" y="108"/>
                    </a:lnTo>
                    <a:lnTo>
                      <a:pt x="78" y="111"/>
                    </a:lnTo>
                    <a:lnTo>
                      <a:pt x="78" y="114"/>
                    </a:lnTo>
                    <a:lnTo>
                      <a:pt x="78" y="118"/>
                    </a:lnTo>
                    <a:lnTo>
                      <a:pt x="81" y="118"/>
                    </a:lnTo>
                    <a:lnTo>
                      <a:pt x="86" y="126"/>
                    </a:lnTo>
                    <a:lnTo>
                      <a:pt x="92" y="133"/>
                    </a:lnTo>
                    <a:lnTo>
                      <a:pt x="97" y="140"/>
                    </a:lnTo>
                    <a:lnTo>
                      <a:pt x="100" y="143"/>
                    </a:lnTo>
                    <a:lnTo>
                      <a:pt x="100" y="148"/>
                    </a:lnTo>
                    <a:lnTo>
                      <a:pt x="100" y="153"/>
                    </a:lnTo>
                    <a:lnTo>
                      <a:pt x="100" y="156"/>
                    </a:lnTo>
                    <a:lnTo>
                      <a:pt x="105" y="162"/>
                    </a:lnTo>
                    <a:lnTo>
                      <a:pt x="105" y="164"/>
                    </a:lnTo>
                    <a:lnTo>
                      <a:pt x="101" y="167"/>
                    </a:lnTo>
                    <a:lnTo>
                      <a:pt x="98" y="173"/>
                    </a:lnTo>
                    <a:lnTo>
                      <a:pt x="100" y="173"/>
                    </a:lnTo>
                    <a:lnTo>
                      <a:pt x="101" y="173"/>
                    </a:lnTo>
                    <a:lnTo>
                      <a:pt x="101" y="173"/>
                    </a:lnTo>
                    <a:lnTo>
                      <a:pt x="98" y="175"/>
                    </a:lnTo>
                    <a:lnTo>
                      <a:pt x="97" y="175"/>
                    </a:lnTo>
                    <a:lnTo>
                      <a:pt x="95" y="176"/>
                    </a:lnTo>
                    <a:lnTo>
                      <a:pt x="95" y="179"/>
                    </a:lnTo>
                    <a:lnTo>
                      <a:pt x="97" y="183"/>
                    </a:lnTo>
                    <a:lnTo>
                      <a:pt x="100" y="189"/>
                    </a:lnTo>
                    <a:lnTo>
                      <a:pt x="101" y="192"/>
                    </a:lnTo>
                    <a:lnTo>
                      <a:pt x="106" y="195"/>
                    </a:lnTo>
                    <a:lnTo>
                      <a:pt x="106" y="195"/>
                    </a:lnTo>
                    <a:lnTo>
                      <a:pt x="109" y="195"/>
                    </a:lnTo>
                    <a:lnTo>
                      <a:pt x="113" y="199"/>
                    </a:lnTo>
                    <a:lnTo>
                      <a:pt x="116" y="202"/>
                    </a:lnTo>
                    <a:lnTo>
                      <a:pt x="116" y="205"/>
                    </a:lnTo>
                    <a:lnTo>
                      <a:pt x="121" y="208"/>
                    </a:lnTo>
                    <a:lnTo>
                      <a:pt x="125" y="210"/>
                    </a:lnTo>
                    <a:lnTo>
                      <a:pt x="130" y="211"/>
                    </a:lnTo>
                    <a:lnTo>
                      <a:pt x="133" y="211"/>
                    </a:lnTo>
                    <a:lnTo>
                      <a:pt x="133" y="211"/>
                    </a:lnTo>
                    <a:lnTo>
                      <a:pt x="136" y="213"/>
                    </a:lnTo>
                    <a:lnTo>
                      <a:pt x="140" y="216"/>
                    </a:lnTo>
                    <a:lnTo>
                      <a:pt x="143" y="221"/>
                    </a:lnTo>
                    <a:lnTo>
                      <a:pt x="149" y="224"/>
                    </a:lnTo>
                    <a:lnTo>
                      <a:pt x="157" y="227"/>
                    </a:lnTo>
                    <a:lnTo>
                      <a:pt x="162" y="230"/>
                    </a:lnTo>
                    <a:lnTo>
                      <a:pt x="165" y="230"/>
                    </a:lnTo>
                    <a:lnTo>
                      <a:pt x="171" y="230"/>
                    </a:lnTo>
                    <a:lnTo>
                      <a:pt x="171" y="233"/>
                    </a:lnTo>
                    <a:lnTo>
                      <a:pt x="175" y="233"/>
                    </a:lnTo>
                    <a:lnTo>
                      <a:pt x="176" y="237"/>
                    </a:lnTo>
                    <a:lnTo>
                      <a:pt x="178" y="237"/>
                    </a:lnTo>
                    <a:lnTo>
                      <a:pt x="181" y="240"/>
                    </a:lnTo>
                    <a:lnTo>
                      <a:pt x="182" y="240"/>
                    </a:lnTo>
                    <a:lnTo>
                      <a:pt x="186" y="243"/>
                    </a:lnTo>
                    <a:lnTo>
                      <a:pt x="190" y="243"/>
                    </a:lnTo>
                    <a:lnTo>
                      <a:pt x="194" y="243"/>
                    </a:lnTo>
                    <a:lnTo>
                      <a:pt x="197" y="245"/>
                    </a:lnTo>
                    <a:lnTo>
                      <a:pt x="200" y="245"/>
                    </a:lnTo>
                    <a:lnTo>
                      <a:pt x="211" y="243"/>
                    </a:lnTo>
                    <a:lnTo>
                      <a:pt x="216" y="240"/>
                    </a:lnTo>
                    <a:lnTo>
                      <a:pt x="222" y="237"/>
                    </a:lnTo>
                    <a:lnTo>
                      <a:pt x="219" y="237"/>
                    </a:lnTo>
                    <a:lnTo>
                      <a:pt x="221" y="233"/>
                    </a:lnTo>
                    <a:lnTo>
                      <a:pt x="222" y="233"/>
                    </a:lnTo>
                    <a:lnTo>
                      <a:pt x="222" y="237"/>
                    </a:lnTo>
                    <a:lnTo>
                      <a:pt x="225" y="237"/>
                    </a:lnTo>
                    <a:lnTo>
                      <a:pt x="222" y="237"/>
                    </a:lnTo>
                    <a:lnTo>
                      <a:pt x="228" y="240"/>
                    </a:lnTo>
                    <a:lnTo>
                      <a:pt x="227" y="237"/>
                    </a:lnTo>
                    <a:lnTo>
                      <a:pt x="227" y="237"/>
                    </a:lnTo>
                    <a:lnTo>
                      <a:pt x="232" y="240"/>
                    </a:lnTo>
                    <a:lnTo>
                      <a:pt x="238" y="245"/>
                    </a:lnTo>
                    <a:lnTo>
                      <a:pt x="241" y="249"/>
                    </a:lnTo>
                    <a:lnTo>
                      <a:pt x="244" y="251"/>
                    </a:lnTo>
                    <a:lnTo>
                      <a:pt x="246" y="254"/>
                    </a:lnTo>
                    <a:lnTo>
                      <a:pt x="248" y="257"/>
                    </a:lnTo>
                    <a:lnTo>
                      <a:pt x="251" y="260"/>
                    </a:lnTo>
                    <a:lnTo>
                      <a:pt x="251" y="260"/>
                    </a:lnTo>
                    <a:lnTo>
                      <a:pt x="251" y="260"/>
                    </a:lnTo>
                    <a:lnTo>
                      <a:pt x="252" y="259"/>
                    </a:lnTo>
                    <a:lnTo>
                      <a:pt x="252" y="256"/>
                    </a:lnTo>
                    <a:lnTo>
                      <a:pt x="254" y="254"/>
                    </a:lnTo>
                    <a:lnTo>
                      <a:pt x="254" y="251"/>
                    </a:lnTo>
                    <a:lnTo>
                      <a:pt x="254" y="249"/>
                    </a:lnTo>
                    <a:lnTo>
                      <a:pt x="259" y="240"/>
                    </a:lnTo>
                    <a:lnTo>
                      <a:pt x="259" y="240"/>
                    </a:lnTo>
                    <a:lnTo>
                      <a:pt x="262" y="240"/>
                    </a:lnTo>
                    <a:lnTo>
                      <a:pt x="267" y="240"/>
                    </a:lnTo>
                    <a:lnTo>
                      <a:pt x="271" y="240"/>
                    </a:lnTo>
                    <a:lnTo>
                      <a:pt x="276" y="240"/>
                    </a:lnTo>
                    <a:lnTo>
                      <a:pt x="276" y="233"/>
                    </a:lnTo>
                    <a:lnTo>
                      <a:pt x="275" y="233"/>
                    </a:lnTo>
                    <a:lnTo>
                      <a:pt x="273" y="230"/>
                    </a:lnTo>
                    <a:lnTo>
                      <a:pt x="271" y="229"/>
                    </a:lnTo>
                    <a:lnTo>
                      <a:pt x="268" y="226"/>
                    </a:lnTo>
                    <a:lnTo>
                      <a:pt x="265" y="222"/>
                    </a:lnTo>
                    <a:lnTo>
                      <a:pt x="268" y="222"/>
                    </a:lnTo>
                    <a:lnTo>
                      <a:pt x="270" y="222"/>
                    </a:lnTo>
                    <a:lnTo>
                      <a:pt x="271" y="221"/>
                    </a:lnTo>
                    <a:lnTo>
                      <a:pt x="271" y="218"/>
                    </a:lnTo>
                    <a:lnTo>
                      <a:pt x="273" y="214"/>
                    </a:lnTo>
                    <a:lnTo>
                      <a:pt x="275" y="213"/>
                    </a:lnTo>
                    <a:lnTo>
                      <a:pt x="278" y="213"/>
                    </a:lnTo>
                    <a:lnTo>
                      <a:pt x="284" y="214"/>
                    </a:lnTo>
                    <a:lnTo>
                      <a:pt x="295" y="214"/>
                    </a:lnTo>
                    <a:lnTo>
                      <a:pt x="295" y="218"/>
                    </a:lnTo>
                    <a:lnTo>
                      <a:pt x="295" y="216"/>
                    </a:lnTo>
                    <a:lnTo>
                      <a:pt x="297" y="213"/>
                    </a:lnTo>
                    <a:lnTo>
                      <a:pt x="297" y="211"/>
                    </a:lnTo>
                    <a:lnTo>
                      <a:pt x="298" y="213"/>
                    </a:lnTo>
                    <a:lnTo>
                      <a:pt x="302" y="208"/>
                    </a:lnTo>
                    <a:lnTo>
                      <a:pt x="305" y="205"/>
                    </a:lnTo>
                    <a:lnTo>
                      <a:pt x="308" y="205"/>
                    </a:lnTo>
                    <a:lnTo>
                      <a:pt x="308" y="202"/>
                    </a:lnTo>
                    <a:lnTo>
                      <a:pt x="311" y="199"/>
                    </a:lnTo>
                    <a:lnTo>
                      <a:pt x="311" y="205"/>
                    </a:lnTo>
                    <a:lnTo>
                      <a:pt x="311" y="208"/>
                    </a:lnTo>
                    <a:lnTo>
                      <a:pt x="311" y="208"/>
                    </a:lnTo>
                    <a:lnTo>
                      <a:pt x="314" y="205"/>
                    </a:lnTo>
                    <a:lnTo>
                      <a:pt x="314" y="199"/>
                    </a:lnTo>
                    <a:lnTo>
                      <a:pt x="321" y="192"/>
                    </a:lnTo>
                    <a:lnTo>
                      <a:pt x="317" y="194"/>
                    </a:lnTo>
                    <a:lnTo>
                      <a:pt x="317" y="192"/>
                    </a:lnTo>
                    <a:lnTo>
                      <a:pt x="317" y="191"/>
                    </a:lnTo>
                    <a:lnTo>
                      <a:pt x="321" y="189"/>
                    </a:lnTo>
                    <a:lnTo>
                      <a:pt x="317" y="189"/>
                    </a:lnTo>
                    <a:lnTo>
                      <a:pt x="321" y="186"/>
                    </a:lnTo>
                    <a:lnTo>
                      <a:pt x="321" y="184"/>
                    </a:lnTo>
                    <a:lnTo>
                      <a:pt x="321" y="183"/>
                    </a:lnTo>
                    <a:lnTo>
                      <a:pt x="321" y="181"/>
                    </a:lnTo>
                    <a:lnTo>
                      <a:pt x="324" y="176"/>
                    </a:lnTo>
                    <a:lnTo>
                      <a:pt x="329" y="173"/>
                    </a:lnTo>
                    <a:lnTo>
                      <a:pt x="332" y="167"/>
                    </a:lnTo>
                    <a:lnTo>
                      <a:pt x="332" y="164"/>
                    </a:lnTo>
                    <a:lnTo>
                      <a:pt x="332" y="162"/>
                    </a:lnTo>
                    <a:lnTo>
                      <a:pt x="330" y="160"/>
                    </a:lnTo>
                    <a:lnTo>
                      <a:pt x="330" y="160"/>
                    </a:lnTo>
                    <a:lnTo>
                      <a:pt x="330" y="160"/>
                    </a:lnTo>
                    <a:lnTo>
                      <a:pt x="330" y="160"/>
                    </a:lnTo>
                    <a:lnTo>
                      <a:pt x="330" y="160"/>
                    </a:lnTo>
                    <a:lnTo>
                      <a:pt x="330" y="160"/>
                    </a:lnTo>
                    <a:lnTo>
                      <a:pt x="330" y="160"/>
                    </a:lnTo>
                    <a:lnTo>
                      <a:pt x="330" y="160"/>
                    </a:lnTo>
                    <a:lnTo>
                      <a:pt x="330" y="160"/>
                    </a:lnTo>
                    <a:close/>
                    <a:moveTo>
                      <a:pt x="200" y="157"/>
                    </a:moveTo>
                    <a:lnTo>
                      <a:pt x="197" y="153"/>
                    </a:lnTo>
                    <a:lnTo>
                      <a:pt x="200" y="160"/>
                    </a:lnTo>
                    <a:lnTo>
                      <a:pt x="200" y="157"/>
                    </a:lnTo>
                    <a:lnTo>
                      <a:pt x="200" y="157"/>
                    </a:lnTo>
                    <a:lnTo>
                      <a:pt x="200" y="157"/>
                    </a:lnTo>
                    <a:lnTo>
                      <a:pt x="200" y="157"/>
                    </a:lnTo>
                    <a:lnTo>
                      <a:pt x="200" y="157"/>
                    </a:lnTo>
                    <a:lnTo>
                      <a:pt x="200" y="157"/>
                    </a:lnTo>
                    <a:lnTo>
                      <a:pt x="200" y="157"/>
                    </a:lnTo>
                    <a:lnTo>
                      <a:pt x="200" y="157"/>
                    </a:lnTo>
                    <a:lnTo>
                      <a:pt x="200" y="157"/>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46" name="Freeform 58">
                <a:extLst>
                  <a:ext uri="{FF2B5EF4-FFF2-40B4-BE49-F238E27FC236}">
                    <a16:creationId xmlns:a16="http://schemas.microsoft.com/office/drawing/2014/main" id="{307D9620-3793-D6C8-57D5-ECE560A5DABE}"/>
                  </a:ext>
                </a:extLst>
              </p:cNvPr>
              <p:cNvSpPr>
                <a:spLocks noEditPoints="1"/>
              </p:cNvSpPr>
              <p:nvPr/>
            </p:nvSpPr>
            <p:spPr bwMode="auto">
              <a:xfrm>
                <a:off x="4033035" y="3652759"/>
                <a:ext cx="33646" cy="35889"/>
              </a:xfrm>
              <a:custGeom>
                <a:avLst/>
                <a:gdLst>
                  <a:gd name="T0" fmla="*/ 15 w 15"/>
                  <a:gd name="T1" fmla="*/ 0 h 16"/>
                  <a:gd name="T2" fmla="*/ 12 w 15"/>
                  <a:gd name="T3" fmla="*/ 4 h 16"/>
                  <a:gd name="T4" fmla="*/ 12 w 15"/>
                  <a:gd name="T5" fmla="*/ 5 h 16"/>
                  <a:gd name="T6" fmla="*/ 15 w 15"/>
                  <a:gd name="T7" fmla="*/ 2 h 16"/>
                  <a:gd name="T8" fmla="*/ 15 w 15"/>
                  <a:gd name="T9" fmla="*/ 0 h 16"/>
                  <a:gd name="T10" fmla="*/ 15 w 15"/>
                  <a:gd name="T11" fmla="*/ 0 h 16"/>
                  <a:gd name="T12" fmla="*/ 15 w 15"/>
                  <a:gd name="T13" fmla="*/ 0 h 16"/>
                  <a:gd name="T14" fmla="*/ 15 w 15"/>
                  <a:gd name="T15" fmla="*/ 0 h 16"/>
                  <a:gd name="T16" fmla="*/ 15 w 15"/>
                  <a:gd name="T17" fmla="*/ 0 h 16"/>
                  <a:gd name="T18" fmla="*/ 15 w 15"/>
                  <a:gd name="T19" fmla="*/ 0 h 16"/>
                  <a:gd name="T20" fmla="*/ 15 w 15"/>
                  <a:gd name="T21" fmla="*/ 0 h 16"/>
                  <a:gd name="T22" fmla="*/ 15 w 15"/>
                  <a:gd name="T23" fmla="*/ 0 h 16"/>
                  <a:gd name="T24" fmla="*/ 15 w 15"/>
                  <a:gd name="T25" fmla="*/ 0 h 16"/>
                  <a:gd name="T26" fmla="*/ 15 w 15"/>
                  <a:gd name="T27" fmla="*/ 0 h 16"/>
                  <a:gd name="T28" fmla="*/ 15 w 15"/>
                  <a:gd name="T29" fmla="*/ 0 h 16"/>
                  <a:gd name="T30" fmla="*/ 3 w 15"/>
                  <a:gd name="T31" fmla="*/ 8 h 16"/>
                  <a:gd name="T32" fmla="*/ 3 w 15"/>
                  <a:gd name="T33" fmla="*/ 8 h 16"/>
                  <a:gd name="T34" fmla="*/ 3 w 15"/>
                  <a:gd name="T35" fmla="*/ 10 h 16"/>
                  <a:gd name="T36" fmla="*/ 4 w 15"/>
                  <a:gd name="T37" fmla="*/ 10 h 16"/>
                  <a:gd name="T38" fmla="*/ 4 w 15"/>
                  <a:gd name="T39" fmla="*/ 10 h 16"/>
                  <a:gd name="T40" fmla="*/ 4 w 15"/>
                  <a:gd name="T41" fmla="*/ 10 h 16"/>
                  <a:gd name="T42" fmla="*/ 4 w 15"/>
                  <a:gd name="T43" fmla="*/ 13 h 16"/>
                  <a:gd name="T44" fmla="*/ 3 w 15"/>
                  <a:gd name="T45" fmla="*/ 15 h 16"/>
                  <a:gd name="T46" fmla="*/ 0 w 15"/>
                  <a:gd name="T47" fmla="*/ 15 h 16"/>
                  <a:gd name="T48" fmla="*/ 0 w 15"/>
                  <a:gd name="T49" fmla="*/ 16 h 16"/>
                  <a:gd name="T50" fmla="*/ 9 w 15"/>
                  <a:gd name="T51" fmla="*/ 15 h 16"/>
                  <a:gd name="T52" fmla="*/ 9 w 15"/>
                  <a:gd name="T53" fmla="*/ 15 h 16"/>
                  <a:gd name="T54" fmla="*/ 11 w 15"/>
                  <a:gd name="T55" fmla="*/ 13 h 16"/>
                  <a:gd name="T56" fmla="*/ 9 w 15"/>
                  <a:gd name="T57" fmla="*/ 13 h 16"/>
                  <a:gd name="T58" fmla="*/ 9 w 15"/>
                  <a:gd name="T59" fmla="*/ 11 h 16"/>
                  <a:gd name="T60" fmla="*/ 9 w 15"/>
                  <a:gd name="T61" fmla="*/ 8 h 16"/>
                  <a:gd name="T62" fmla="*/ 11 w 15"/>
                  <a:gd name="T63" fmla="*/ 8 h 16"/>
                  <a:gd name="T64" fmla="*/ 11 w 15"/>
                  <a:gd name="T65" fmla="*/ 8 h 16"/>
                  <a:gd name="T66" fmla="*/ 4 w 15"/>
                  <a:gd name="T67" fmla="*/ 8 h 16"/>
                  <a:gd name="T68" fmla="*/ 3 w 15"/>
                  <a:gd name="T69" fmla="*/ 8 h 16"/>
                  <a:gd name="T70" fmla="*/ 3 w 15"/>
                  <a:gd name="T71" fmla="*/ 8 h 16"/>
                  <a:gd name="T72" fmla="*/ 3 w 15"/>
                  <a:gd name="T73" fmla="*/ 8 h 16"/>
                  <a:gd name="T74" fmla="*/ 3 w 15"/>
                  <a:gd name="T75" fmla="*/ 8 h 16"/>
                  <a:gd name="T76" fmla="*/ 3 w 15"/>
                  <a:gd name="T77" fmla="*/ 8 h 16"/>
                  <a:gd name="T78" fmla="*/ 3 w 15"/>
                  <a:gd name="T79" fmla="*/ 8 h 16"/>
                  <a:gd name="T80" fmla="*/ 3 w 15"/>
                  <a:gd name="T81" fmla="*/ 8 h 16"/>
                  <a:gd name="T82" fmla="*/ 3 w 15"/>
                  <a:gd name="T83" fmla="*/ 8 h 16"/>
                  <a:gd name="T84" fmla="*/ 3 w 15"/>
                  <a:gd name="T85" fmla="*/ 8 h 16"/>
                  <a:gd name="T86" fmla="*/ 3 w 15"/>
                  <a:gd name="T8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 h="16">
                    <a:moveTo>
                      <a:pt x="15" y="0"/>
                    </a:moveTo>
                    <a:lnTo>
                      <a:pt x="12" y="4"/>
                    </a:lnTo>
                    <a:lnTo>
                      <a:pt x="12" y="5"/>
                    </a:lnTo>
                    <a:lnTo>
                      <a:pt x="15" y="2"/>
                    </a:lnTo>
                    <a:lnTo>
                      <a:pt x="15" y="0"/>
                    </a:lnTo>
                    <a:lnTo>
                      <a:pt x="15" y="0"/>
                    </a:lnTo>
                    <a:lnTo>
                      <a:pt x="15" y="0"/>
                    </a:lnTo>
                    <a:lnTo>
                      <a:pt x="15" y="0"/>
                    </a:lnTo>
                    <a:lnTo>
                      <a:pt x="15" y="0"/>
                    </a:lnTo>
                    <a:lnTo>
                      <a:pt x="15" y="0"/>
                    </a:lnTo>
                    <a:lnTo>
                      <a:pt x="15" y="0"/>
                    </a:lnTo>
                    <a:lnTo>
                      <a:pt x="15" y="0"/>
                    </a:lnTo>
                    <a:lnTo>
                      <a:pt x="15" y="0"/>
                    </a:lnTo>
                    <a:lnTo>
                      <a:pt x="15" y="0"/>
                    </a:lnTo>
                    <a:lnTo>
                      <a:pt x="15" y="0"/>
                    </a:lnTo>
                    <a:close/>
                    <a:moveTo>
                      <a:pt x="3" y="8"/>
                    </a:moveTo>
                    <a:lnTo>
                      <a:pt x="3" y="8"/>
                    </a:lnTo>
                    <a:lnTo>
                      <a:pt x="3" y="10"/>
                    </a:lnTo>
                    <a:lnTo>
                      <a:pt x="4" y="10"/>
                    </a:lnTo>
                    <a:lnTo>
                      <a:pt x="4" y="10"/>
                    </a:lnTo>
                    <a:lnTo>
                      <a:pt x="4" y="10"/>
                    </a:lnTo>
                    <a:lnTo>
                      <a:pt x="4" y="13"/>
                    </a:lnTo>
                    <a:lnTo>
                      <a:pt x="3" y="15"/>
                    </a:lnTo>
                    <a:lnTo>
                      <a:pt x="0" y="15"/>
                    </a:lnTo>
                    <a:lnTo>
                      <a:pt x="0" y="16"/>
                    </a:lnTo>
                    <a:lnTo>
                      <a:pt x="9" y="15"/>
                    </a:lnTo>
                    <a:lnTo>
                      <a:pt x="9" y="15"/>
                    </a:lnTo>
                    <a:lnTo>
                      <a:pt x="11" y="13"/>
                    </a:lnTo>
                    <a:lnTo>
                      <a:pt x="9" y="13"/>
                    </a:lnTo>
                    <a:lnTo>
                      <a:pt x="9" y="11"/>
                    </a:lnTo>
                    <a:lnTo>
                      <a:pt x="9" y="8"/>
                    </a:lnTo>
                    <a:lnTo>
                      <a:pt x="11" y="8"/>
                    </a:lnTo>
                    <a:lnTo>
                      <a:pt x="11" y="8"/>
                    </a:lnTo>
                    <a:lnTo>
                      <a:pt x="4" y="8"/>
                    </a:lnTo>
                    <a:lnTo>
                      <a:pt x="3" y="8"/>
                    </a:lnTo>
                    <a:lnTo>
                      <a:pt x="3" y="8"/>
                    </a:lnTo>
                    <a:lnTo>
                      <a:pt x="3" y="8"/>
                    </a:lnTo>
                    <a:lnTo>
                      <a:pt x="3" y="8"/>
                    </a:lnTo>
                    <a:lnTo>
                      <a:pt x="3" y="8"/>
                    </a:lnTo>
                    <a:lnTo>
                      <a:pt x="3" y="8"/>
                    </a:lnTo>
                    <a:lnTo>
                      <a:pt x="3" y="8"/>
                    </a:lnTo>
                    <a:lnTo>
                      <a:pt x="3" y="8"/>
                    </a:lnTo>
                    <a:lnTo>
                      <a:pt x="3" y="8"/>
                    </a:lnTo>
                    <a:lnTo>
                      <a:pt x="3" y="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47" name="Freeform 32">
                <a:extLst>
                  <a:ext uri="{FF2B5EF4-FFF2-40B4-BE49-F238E27FC236}">
                    <a16:creationId xmlns:a16="http://schemas.microsoft.com/office/drawing/2014/main" id="{A06729C4-45A7-20FA-39CC-BB06BCA96C7C}"/>
                  </a:ext>
                </a:extLst>
              </p:cNvPr>
              <p:cNvSpPr>
                <a:spLocks noEditPoints="1"/>
              </p:cNvSpPr>
              <p:nvPr/>
            </p:nvSpPr>
            <p:spPr bwMode="auto">
              <a:xfrm>
                <a:off x="3687603" y="3632571"/>
                <a:ext cx="383565" cy="372349"/>
              </a:xfrm>
              <a:custGeom>
                <a:avLst/>
                <a:gdLst>
                  <a:gd name="T0" fmla="*/ 166 w 171"/>
                  <a:gd name="T1" fmla="*/ 52 h 166"/>
                  <a:gd name="T2" fmla="*/ 154 w 171"/>
                  <a:gd name="T3" fmla="*/ 55 h 166"/>
                  <a:gd name="T4" fmla="*/ 155 w 171"/>
                  <a:gd name="T5" fmla="*/ 52 h 166"/>
                  <a:gd name="T6" fmla="*/ 155 w 171"/>
                  <a:gd name="T7" fmla="*/ 39 h 166"/>
                  <a:gd name="T8" fmla="*/ 146 w 171"/>
                  <a:gd name="T9" fmla="*/ 39 h 166"/>
                  <a:gd name="T10" fmla="*/ 142 w 171"/>
                  <a:gd name="T11" fmla="*/ 36 h 166"/>
                  <a:gd name="T12" fmla="*/ 136 w 171"/>
                  <a:gd name="T13" fmla="*/ 30 h 166"/>
                  <a:gd name="T14" fmla="*/ 134 w 171"/>
                  <a:gd name="T15" fmla="*/ 27 h 166"/>
                  <a:gd name="T16" fmla="*/ 147 w 171"/>
                  <a:gd name="T17" fmla="*/ 22 h 166"/>
                  <a:gd name="T18" fmla="*/ 115 w 171"/>
                  <a:gd name="T19" fmla="*/ 24 h 166"/>
                  <a:gd name="T20" fmla="*/ 117 w 171"/>
                  <a:gd name="T21" fmla="*/ 27 h 166"/>
                  <a:gd name="T22" fmla="*/ 103 w 171"/>
                  <a:gd name="T23" fmla="*/ 30 h 166"/>
                  <a:gd name="T24" fmla="*/ 84 w 171"/>
                  <a:gd name="T25" fmla="*/ 24 h 166"/>
                  <a:gd name="T26" fmla="*/ 65 w 171"/>
                  <a:gd name="T27" fmla="*/ 14 h 166"/>
                  <a:gd name="T28" fmla="*/ 47 w 171"/>
                  <a:gd name="T29" fmla="*/ 9 h 166"/>
                  <a:gd name="T30" fmla="*/ 41 w 171"/>
                  <a:gd name="T31" fmla="*/ 13 h 166"/>
                  <a:gd name="T32" fmla="*/ 25 w 171"/>
                  <a:gd name="T33" fmla="*/ 24 h 166"/>
                  <a:gd name="T34" fmla="*/ 25 w 171"/>
                  <a:gd name="T35" fmla="*/ 46 h 166"/>
                  <a:gd name="T36" fmla="*/ 17 w 171"/>
                  <a:gd name="T37" fmla="*/ 33 h 166"/>
                  <a:gd name="T38" fmla="*/ 22 w 171"/>
                  <a:gd name="T39" fmla="*/ 19 h 166"/>
                  <a:gd name="T40" fmla="*/ 20 w 171"/>
                  <a:gd name="T41" fmla="*/ 9 h 166"/>
                  <a:gd name="T42" fmla="*/ 23 w 171"/>
                  <a:gd name="T43" fmla="*/ 6 h 166"/>
                  <a:gd name="T44" fmla="*/ 6 w 171"/>
                  <a:gd name="T45" fmla="*/ 33 h 166"/>
                  <a:gd name="T46" fmla="*/ 6 w 171"/>
                  <a:gd name="T47" fmla="*/ 46 h 166"/>
                  <a:gd name="T48" fmla="*/ 9 w 171"/>
                  <a:gd name="T49" fmla="*/ 65 h 166"/>
                  <a:gd name="T50" fmla="*/ 19 w 171"/>
                  <a:gd name="T51" fmla="*/ 76 h 166"/>
                  <a:gd name="T52" fmla="*/ 31 w 171"/>
                  <a:gd name="T53" fmla="*/ 74 h 166"/>
                  <a:gd name="T54" fmla="*/ 46 w 171"/>
                  <a:gd name="T55" fmla="*/ 86 h 166"/>
                  <a:gd name="T56" fmla="*/ 61 w 171"/>
                  <a:gd name="T57" fmla="*/ 86 h 166"/>
                  <a:gd name="T58" fmla="*/ 69 w 171"/>
                  <a:gd name="T59" fmla="*/ 92 h 166"/>
                  <a:gd name="T60" fmla="*/ 69 w 171"/>
                  <a:gd name="T61" fmla="*/ 124 h 166"/>
                  <a:gd name="T62" fmla="*/ 65 w 171"/>
                  <a:gd name="T63" fmla="*/ 136 h 166"/>
                  <a:gd name="T64" fmla="*/ 77 w 171"/>
                  <a:gd name="T65" fmla="*/ 155 h 166"/>
                  <a:gd name="T66" fmla="*/ 87 w 171"/>
                  <a:gd name="T67" fmla="*/ 165 h 166"/>
                  <a:gd name="T68" fmla="*/ 96 w 171"/>
                  <a:gd name="T69" fmla="*/ 165 h 166"/>
                  <a:gd name="T70" fmla="*/ 111 w 171"/>
                  <a:gd name="T71" fmla="*/ 155 h 166"/>
                  <a:gd name="T72" fmla="*/ 123 w 171"/>
                  <a:gd name="T73" fmla="*/ 143 h 166"/>
                  <a:gd name="T74" fmla="*/ 112 w 171"/>
                  <a:gd name="T75" fmla="*/ 127 h 166"/>
                  <a:gd name="T76" fmla="*/ 107 w 171"/>
                  <a:gd name="T77" fmla="*/ 116 h 166"/>
                  <a:gd name="T78" fmla="*/ 117 w 171"/>
                  <a:gd name="T79" fmla="*/ 120 h 166"/>
                  <a:gd name="T80" fmla="*/ 131 w 171"/>
                  <a:gd name="T81" fmla="*/ 124 h 166"/>
                  <a:gd name="T82" fmla="*/ 136 w 171"/>
                  <a:gd name="T83" fmla="*/ 117 h 166"/>
                  <a:gd name="T84" fmla="*/ 155 w 171"/>
                  <a:gd name="T85" fmla="*/ 111 h 166"/>
                  <a:gd name="T86" fmla="*/ 154 w 171"/>
                  <a:gd name="T87" fmla="*/ 97 h 166"/>
                  <a:gd name="T88" fmla="*/ 157 w 171"/>
                  <a:gd name="T89" fmla="*/ 79 h 166"/>
                  <a:gd name="T90" fmla="*/ 163 w 171"/>
                  <a:gd name="T91" fmla="*/ 73 h 166"/>
                  <a:gd name="T92" fmla="*/ 169 w 171"/>
                  <a:gd name="T93" fmla="*/ 59 h 166"/>
                  <a:gd name="T94" fmla="*/ 169 w 171"/>
                  <a:gd name="T95" fmla="*/ 55 h 166"/>
                  <a:gd name="T96" fmla="*/ 169 w 171"/>
                  <a:gd name="T97" fmla="*/ 55 h 166"/>
                  <a:gd name="T98" fmla="*/ 134 w 171"/>
                  <a:gd name="T99" fmla="*/ 33 h 166"/>
                  <a:gd name="T100" fmla="*/ 134 w 171"/>
                  <a:gd name="T101" fmla="*/ 33 h 166"/>
                  <a:gd name="T102" fmla="*/ 41 w 171"/>
                  <a:gd name="T103" fmla="*/ 9 h 166"/>
                  <a:gd name="T104" fmla="*/ 47 w 171"/>
                  <a:gd name="T105" fmla="*/ 1 h 166"/>
                  <a:gd name="T106" fmla="*/ 47 w 171"/>
                  <a:gd name="T107" fmla="*/ 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 h="166">
                    <a:moveTo>
                      <a:pt x="169" y="55"/>
                    </a:moveTo>
                    <a:lnTo>
                      <a:pt x="169" y="54"/>
                    </a:lnTo>
                    <a:lnTo>
                      <a:pt x="168" y="52"/>
                    </a:lnTo>
                    <a:lnTo>
                      <a:pt x="168" y="52"/>
                    </a:lnTo>
                    <a:lnTo>
                      <a:pt x="168" y="52"/>
                    </a:lnTo>
                    <a:lnTo>
                      <a:pt x="166" y="52"/>
                    </a:lnTo>
                    <a:lnTo>
                      <a:pt x="163" y="54"/>
                    </a:lnTo>
                    <a:lnTo>
                      <a:pt x="163" y="54"/>
                    </a:lnTo>
                    <a:lnTo>
                      <a:pt x="160" y="54"/>
                    </a:lnTo>
                    <a:lnTo>
                      <a:pt x="157" y="54"/>
                    </a:lnTo>
                    <a:lnTo>
                      <a:pt x="155" y="55"/>
                    </a:lnTo>
                    <a:lnTo>
                      <a:pt x="154" y="55"/>
                    </a:lnTo>
                    <a:lnTo>
                      <a:pt x="150" y="54"/>
                    </a:lnTo>
                    <a:lnTo>
                      <a:pt x="147" y="54"/>
                    </a:lnTo>
                    <a:lnTo>
                      <a:pt x="150" y="52"/>
                    </a:lnTo>
                    <a:lnTo>
                      <a:pt x="154" y="54"/>
                    </a:lnTo>
                    <a:lnTo>
                      <a:pt x="154" y="52"/>
                    </a:lnTo>
                    <a:lnTo>
                      <a:pt x="155" y="52"/>
                    </a:lnTo>
                    <a:lnTo>
                      <a:pt x="157" y="49"/>
                    </a:lnTo>
                    <a:lnTo>
                      <a:pt x="157" y="44"/>
                    </a:lnTo>
                    <a:lnTo>
                      <a:pt x="160" y="43"/>
                    </a:lnTo>
                    <a:lnTo>
                      <a:pt x="160" y="41"/>
                    </a:lnTo>
                    <a:lnTo>
                      <a:pt x="157" y="39"/>
                    </a:lnTo>
                    <a:lnTo>
                      <a:pt x="155" y="39"/>
                    </a:lnTo>
                    <a:lnTo>
                      <a:pt x="152" y="36"/>
                    </a:lnTo>
                    <a:lnTo>
                      <a:pt x="150" y="36"/>
                    </a:lnTo>
                    <a:lnTo>
                      <a:pt x="149" y="36"/>
                    </a:lnTo>
                    <a:lnTo>
                      <a:pt x="147" y="36"/>
                    </a:lnTo>
                    <a:lnTo>
                      <a:pt x="147" y="36"/>
                    </a:lnTo>
                    <a:lnTo>
                      <a:pt x="146" y="39"/>
                    </a:lnTo>
                    <a:lnTo>
                      <a:pt x="147" y="36"/>
                    </a:lnTo>
                    <a:lnTo>
                      <a:pt x="146" y="33"/>
                    </a:lnTo>
                    <a:lnTo>
                      <a:pt x="142" y="33"/>
                    </a:lnTo>
                    <a:lnTo>
                      <a:pt x="141" y="33"/>
                    </a:lnTo>
                    <a:lnTo>
                      <a:pt x="142" y="33"/>
                    </a:lnTo>
                    <a:lnTo>
                      <a:pt x="142" y="36"/>
                    </a:lnTo>
                    <a:lnTo>
                      <a:pt x="141" y="33"/>
                    </a:lnTo>
                    <a:lnTo>
                      <a:pt x="141" y="36"/>
                    </a:lnTo>
                    <a:lnTo>
                      <a:pt x="139" y="36"/>
                    </a:lnTo>
                    <a:lnTo>
                      <a:pt x="139" y="33"/>
                    </a:lnTo>
                    <a:lnTo>
                      <a:pt x="138" y="30"/>
                    </a:lnTo>
                    <a:lnTo>
                      <a:pt x="136" y="30"/>
                    </a:lnTo>
                    <a:lnTo>
                      <a:pt x="136" y="30"/>
                    </a:lnTo>
                    <a:lnTo>
                      <a:pt x="134" y="27"/>
                    </a:lnTo>
                    <a:lnTo>
                      <a:pt x="134" y="27"/>
                    </a:lnTo>
                    <a:lnTo>
                      <a:pt x="131" y="27"/>
                    </a:lnTo>
                    <a:lnTo>
                      <a:pt x="134" y="27"/>
                    </a:lnTo>
                    <a:lnTo>
                      <a:pt x="134" y="27"/>
                    </a:lnTo>
                    <a:lnTo>
                      <a:pt x="134" y="25"/>
                    </a:lnTo>
                    <a:lnTo>
                      <a:pt x="134" y="25"/>
                    </a:lnTo>
                    <a:lnTo>
                      <a:pt x="136" y="25"/>
                    </a:lnTo>
                    <a:lnTo>
                      <a:pt x="141" y="25"/>
                    </a:lnTo>
                    <a:lnTo>
                      <a:pt x="144" y="24"/>
                    </a:lnTo>
                    <a:lnTo>
                      <a:pt x="147" y="22"/>
                    </a:lnTo>
                    <a:lnTo>
                      <a:pt x="138" y="24"/>
                    </a:lnTo>
                    <a:lnTo>
                      <a:pt x="128" y="24"/>
                    </a:lnTo>
                    <a:lnTo>
                      <a:pt x="123" y="24"/>
                    </a:lnTo>
                    <a:lnTo>
                      <a:pt x="122" y="24"/>
                    </a:lnTo>
                    <a:lnTo>
                      <a:pt x="119" y="24"/>
                    </a:lnTo>
                    <a:lnTo>
                      <a:pt x="115" y="24"/>
                    </a:lnTo>
                    <a:lnTo>
                      <a:pt x="117" y="25"/>
                    </a:lnTo>
                    <a:lnTo>
                      <a:pt x="120" y="25"/>
                    </a:lnTo>
                    <a:lnTo>
                      <a:pt x="122" y="25"/>
                    </a:lnTo>
                    <a:lnTo>
                      <a:pt x="123" y="27"/>
                    </a:lnTo>
                    <a:lnTo>
                      <a:pt x="120" y="27"/>
                    </a:lnTo>
                    <a:lnTo>
                      <a:pt x="117" y="27"/>
                    </a:lnTo>
                    <a:lnTo>
                      <a:pt x="115" y="27"/>
                    </a:lnTo>
                    <a:lnTo>
                      <a:pt x="112" y="30"/>
                    </a:lnTo>
                    <a:lnTo>
                      <a:pt x="109" y="30"/>
                    </a:lnTo>
                    <a:lnTo>
                      <a:pt x="106" y="33"/>
                    </a:lnTo>
                    <a:lnTo>
                      <a:pt x="104" y="30"/>
                    </a:lnTo>
                    <a:lnTo>
                      <a:pt x="103" y="30"/>
                    </a:lnTo>
                    <a:lnTo>
                      <a:pt x="101" y="30"/>
                    </a:lnTo>
                    <a:lnTo>
                      <a:pt x="96" y="30"/>
                    </a:lnTo>
                    <a:lnTo>
                      <a:pt x="93" y="27"/>
                    </a:lnTo>
                    <a:lnTo>
                      <a:pt x="90" y="25"/>
                    </a:lnTo>
                    <a:lnTo>
                      <a:pt x="90" y="24"/>
                    </a:lnTo>
                    <a:lnTo>
                      <a:pt x="84" y="24"/>
                    </a:lnTo>
                    <a:lnTo>
                      <a:pt x="76" y="25"/>
                    </a:lnTo>
                    <a:lnTo>
                      <a:pt x="66" y="27"/>
                    </a:lnTo>
                    <a:lnTo>
                      <a:pt x="65" y="25"/>
                    </a:lnTo>
                    <a:lnTo>
                      <a:pt x="65" y="22"/>
                    </a:lnTo>
                    <a:lnTo>
                      <a:pt x="65" y="17"/>
                    </a:lnTo>
                    <a:lnTo>
                      <a:pt x="65" y="14"/>
                    </a:lnTo>
                    <a:lnTo>
                      <a:pt x="61" y="13"/>
                    </a:lnTo>
                    <a:lnTo>
                      <a:pt x="55" y="11"/>
                    </a:lnTo>
                    <a:lnTo>
                      <a:pt x="52" y="11"/>
                    </a:lnTo>
                    <a:lnTo>
                      <a:pt x="49" y="11"/>
                    </a:lnTo>
                    <a:lnTo>
                      <a:pt x="47" y="8"/>
                    </a:lnTo>
                    <a:lnTo>
                      <a:pt x="47" y="9"/>
                    </a:lnTo>
                    <a:lnTo>
                      <a:pt x="47" y="11"/>
                    </a:lnTo>
                    <a:lnTo>
                      <a:pt x="46" y="11"/>
                    </a:lnTo>
                    <a:lnTo>
                      <a:pt x="42" y="9"/>
                    </a:lnTo>
                    <a:lnTo>
                      <a:pt x="44" y="11"/>
                    </a:lnTo>
                    <a:lnTo>
                      <a:pt x="41" y="13"/>
                    </a:lnTo>
                    <a:lnTo>
                      <a:pt x="41" y="13"/>
                    </a:lnTo>
                    <a:lnTo>
                      <a:pt x="34" y="16"/>
                    </a:lnTo>
                    <a:lnTo>
                      <a:pt x="31" y="16"/>
                    </a:lnTo>
                    <a:lnTo>
                      <a:pt x="28" y="19"/>
                    </a:lnTo>
                    <a:lnTo>
                      <a:pt x="26" y="20"/>
                    </a:lnTo>
                    <a:lnTo>
                      <a:pt x="25" y="22"/>
                    </a:lnTo>
                    <a:lnTo>
                      <a:pt x="25" y="24"/>
                    </a:lnTo>
                    <a:lnTo>
                      <a:pt x="25" y="25"/>
                    </a:lnTo>
                    <a:lnTo>
                      <a:pt x="26" y="30"/>
                    </a:lnTo>
                    <a:lnTo>
                      <a:pt x="30" y="33"/>
                    </a:lnTo>
                    <a:lnTo>
                      <a:pt x="30" y="39"/>
                    </a:lnTo>
                    <a:lnTo>
                      <a:pt x="28" y="43"/>
                    </a:lnTo>
                    <a:lnTo>
                      <a:pt x="25" y="46"/>
                    </a:lnTo>
                    <a:lnTo>
                      <a:pt x="22" y="46"/>
                    </a:lnTo>
                    <a:lnTo>
                      <a:pt x="20" y="44"/>
                    </a:lnTo>
                    <a:lnTo>
                      <a:pt x="20" y="43"/>
                    </a:lnTo>
                    <a:lnTo>
                      <a:pt x="20" y="41"/>
                    </a:lnTo>
                    <a:lnTo>
                      <a:pt x="17" y="39"/>
                    </a:lnTo>
                    <a:lnTo>
                      <a:pt x="17" y="33"/>
                    </a:lnTo>
                    <a:lnTo>
                      <a:pt x="20" y="30"/>
                    </a:lnTo>
                    <a:lnTo>
                      <a:pt x="22" y="27"/>
                    </a:lnTo>
                    <a:lnTo>
                      <a:pt x="23" y="25"/>
                    </a:lnTo>
                    <a:lnTo>
                      <a:pt x="23" y="24"/>
                    </a:lnTo>
                    <a:lnTo>
                      <a:pt x="23" y="20"/>
                    </a:lnTo>
                    <a:lnTo>
                      <a:pt x="22" y="19"/>
                    </a:lnTo>
                    <a:lnTo>
                      <a:pt x="23" y="17"/>
                    </a:lnTo>
                    <a:lnTo>
                      <a:pt x="22" y="16"/>
                    </a:lnTo>
                    <a:lnTo>
                      <a:pt x="20" y="14"/>
                    </a:lnTo>
                    <a:lnTo>
                      <a:pt x="20" y="14"/>
                    </a:lnTo>
                    <a:lnTo>
                      <a:pt x="20" y="13"/>
                    </a:lnTo>
                    <a:lnTo>
                      <a:pt x="20" y="9"/>
                    </a:lnTo>
                    <a:lnTo>
                      <a:pt x="23" y="8"/>
                    </a:lnTo>
                    <a:lnTo>
                      <a:pt x="25" y="8"/>
                    </a:lnTo>
                    <a:lnTo>
                      <a:pt x="25" y="8"/>
                    </a:lnTo>
                    <a:lnTo>
                      <a:pt x="26" y="6"/>
                    </a:lnTo>
                    <a:lnTo>
                      <a:pt x="28" y="5"/>
                    </a:lnTo>
                    <a:lnTo>
                      <a:pt x="23" y="6"/>
                    </a:lnTo>
                    <a:lnTo>
                      <a:pt x="20" y="8"/>
                    </a:lnTo>
                    <a:lnTo>
                      <a:pt x="19" y="11"/>
                    </a:lnTo>
                    <a:lnTo>
                      <a:pt x="14" y="14"/>
                    </a:lnTo>
                    <a:lnTo>
                      <a:pt x="9" y="19"/>
                    </a:lnTo>
                    <a:lnTo>
                      <a:pt x="9" y="25"/>
                    </a:lnTo>
                    <a:lnTo>
                      <a:pt x="6" y="33"/>
                    </a:lnTo>
                    <a:lnTo>
                      <a:pt x="3" y="39"/>
                    </a:lnTo>
                    <a:lnTo>
                      <a:pt x="0" y="44"/>
                    </a:lnTo>
                    <a:lnTo>
                      <a:pt x="3" y="44"/>
                    </a:lnTo>
                    <a:lnTo>
                      <a:pt x="6" y="43"/>
                    </a:lnTo>
                    <a:lnTo>
                      <a:pt x="6" y="44"/>
                    </a:lnTo>
                    <a:lnTo>
                      <a:pt x="6" y="46"/>
                    </a:lnTo>
                    <a:lnTo>
                      <a:pt x="9" y="47"/>
                    </a:lnTo>
                    <a:lnTo>
                      <a:pt x="9" y="52"/>
                    </a:lnTo>
                    <a:lnTo>
                      <a:pt x="11" y="57"/>
                    </a:lnTo>
                    <a:lnTo>
                      <a:pt x="12" y="59"/>
                    </a:lnTo>
                    <a:lnTo>
                      <a:pt x="11" y="62"/>
                    </a:lnTo>
                    <a:lnTo>
                      <a:pt x="9" y="65"/>
                    </a:lnTo>
                    <a:lnTo>
                      <a:pt x="9" y="68"/>
                    </a:lnTo>
                    <a:lnTo>
                      <a:pt x="12" y="71"/>
                    </a:lnTo>
                    <a:lnTo>
                      <a:pt x="14" y="71"/>
                    </a:lnTo>
                    <a:lnTo>
                      <a:pt x="14" y="74"/>
                    </a:lnTo>
                    <a:lnTo>
                      <a:pt x="15" y="76"/>
                    </a:lnTo>
                    <a:lnTo>
                      <a:pt x="19" y="76"/>
                    </a:lnTo>
                    <a:lnTo>
                      <a:pt x="20" y="74"/>
                    </a:lnTo>
                    <a:lnTo>
                      <a:pt x="22" y="76"/>
                    </a:lnTo>
                    <a:lnTo>
                      <a:pt x="25" y="76"/>
                    </a:lnTo>
                    <a:lnTo>
                      <a:pt x="28" y="76"/>
                    </a:lnTo>
                    <a:lnTo>
                      <a:pt x="31" y="74"/>
                    </a:lnTo>
                    <a:lnTo>
                      <a:pt x="31" y="74"/>
                    </a:lnTo>
                    <a:lnTo>
                      <a:pt x="34" y="76"/>
                    </a:lnTo>
                    <a:lnTo>
                      <a:pt x="38" y="76"/>
                    </a:lnTo>
                    <a:lnTo>
                      <a:pt x="41" y="76"/>
                    </a:lnTo>
                    <a:lnTo>
                      <a:pt x="41" y="78"/>
                    </a:lnTo>
                    <a:lnTo>
                      <a:pt x="44" y="84"/>
                    </a:lnTo>
                    <a:lnTo>
                      <a:pt x="46" y="86"/>
                    </a:lnTo>
                    <a:lnTo>
                      <a:pt x="47" y="89"/>
                    </a:lnTo>
                    <a:lnTo>
                      <a:pt x="50" y="89"/>
                    </a:lnTo>
                    <a:lnTo>
                      <a:pt x="53" y="89"/>
                    </a:lnTo>
                    <a:lnTo>
                      <a:pt x="55" y="89"/>
                    </a:lnTo>
                    <a:lnTo>
                      <a:pt x="58" y="89"/>
                    </a:lnTo>
                    <a:lnTo>
                      <a:pt x="61" y="86"/>
                    </a:lnTo>
                    <a:lnTo>
                      <a:pt x="65" y="86"/>
                    </a:lnTo>
                    <a:lnTo>
                      <a:pt x="69" y="86"/>
                    </a:lnTo>
                    <a:lnTo>
                      <a:pt x="71" y="86"/>
                    </a:lnTo>
                    <a:lnTo>
                      <a:pt x="73" y="89"/>
                    </a:lnTo>
                    <a:lnTo>
                      <a:pt x="73" y="89"/>
                    </a:lnTo>
                    <a:lnTo>
                      <a:pt x="69" y="92"/>
                    </a:lnTo>
                    <a:lnTo>
                      <a:pt x="69" y="97"/>
                    </a:lnTo>
                    <a:lnTo>
                      <a:pt x="68" y="100"/>
                    </a:lnTo>
                    <a:lnTo>
                      <a:pt x="66" y="101"/>
                    </a:lnTo>
                    <a:lnTo>
                      <a:pt x="66" y="113"/>
                    </a:lnTo>
                    <a:lnTo>
                      <a:pt x="68" y="117"/>
                    </a:lnTo>
                    <a:lnTo>
                      <a:pt x="69" y="124"/>
                    </a:lnTo>
                    <a:lnTo>
                      <a:pt x="73" y="127"/>
                    </a:lnTo>
                    <a:lnTo>
                      <a:pt x="73" y="130"/>
                    </a:lnTo>
                    <a:lnTo>
                      <a:pt x="71" y="130"/>
                    </a:lnTo>
                    <a:lnTo>
                      <a:pt x="68" y="133"/>
                    </a:lnTo>
                    <a:lnTo>
                      <a:pt x="66" y="135"/>
                    </a:lnTo>
                    <a:lnTo>
                      <a:pt x="65" y="136"/>
                    </a:lnTo>
                    <a:lnTo>
                      <a:pt x="68" y="136"/>
                    </a:lnTo>
                    <a:lnTo>
                      <a:pt x="71" y="138"/>
                    </a:lnTo>
                    <a:lnTo>
                      <a:pt x="74" y="144"/>
                    </a:lnTo>
                    <a:lnTo>
                      <a:pt x="76" y="149"/>
                    </a:lnTo>
                    <a:lnTo>
                      <a:pt x="77" y="152"/>
                    </a:lnTo>
                    <a:lnTo>
                      <a:pt x="77" y="155"/>
                    </a:lnTo>
                    <a:lnTo>
                      <a:pt x="79" y="159"/>
                    </a:lnTo>
                    <a:lnTo>
                      <a:pt x="82" y="162"/>
                    </a:lnTo>
                    <a:lnTo>
                      <a:pt x="82" y="162"/>
                    </a:lnTo>
                    <a:lnTo>
                      <a:pt x="82" y="162"/>
                    </a:lnTo>
                    <a:lnTo>
                      <a:pt x="85" y="165"/>
                    </a:lnTo>
                    <a:lnTo>
                      <a:pt x="87" y="165"/>
                    </a:lnTo>
                    <a:lnTo>
                      <a:pt x="88" y="165"/>
                    </a:lnTo>
                    <a:lnTo>
                      <a:pt x="93" y="162"/>
                    </a:lnTo>
                    <a:lnTo>
                      <a:pt x="93" y="162"/>
                    </a:lnTo>
                    <a:lnTo>
                      <a:pt x="96" y="163"/>
                    </a:lnTo>
                    <a:lnTo>
                      <a:pt x="96" y="166"/>
                    </a:lnTo>
                    <a:lnTo>
                      <a:pt x="96" y="165"/>
                    </a:lnTo>
                    <a:lnTo>
                      <a:pt x="100" y="162"/>
                    </a:lnTo>
                    <a:lnTo>
                      <a:pt x="100" y="162"/>
                    </a:lnTo>
                    <a:lnTo>
                      <a:pt x="103" y="159"/>
                    </a:lnTo>
                    <a:lnTo>
                      <a:pt x="107" y="155"/>
                    </a:lnTo>
                    <a:lnTo>
                      <a:pt x="109" y="155"/>
                    </a:lnTo>
                    <a:lnTo>
                      <a:pt x="111" y="155"/>
                    </a:lnTo>
                    <a:lnTo>
                      <a:pt x="112" y="152"/>
                    </a:lnTo>
                    <a:lnTo>
                      <a:pt x="114" y="151"/>
                    </a:lnTo>
                    <a:lnTo>
                      <a:pt x="115" y="149"/>
                    </a:lnTo>
                    <a:lnTo>
                      <a:pt x="119" y="147"/>
                    </a:lnTo>
                    <a:lnTo>
                      <a:pt x="122" y="146"/>
                    </a:lnTo>
                    <a:lnTo>
                      <a:pt x="123" y="143"/>
                    </a:lnTo>
                    <a:lnTo>
                      <a:pt x="120" y="141"/>
                    </a:lnTo>
                    <a:lnTo>
                      <a:pt x="117" y="141"/>
                    </a:lnTo>
                    <a:lnTo>
                      <a:pt x="115" y="141"/>
                    </a:lnTo>
                    <a:lnTo>
                      <a:pt x="115" y="136"/>
                    </a:lnTo>
                    <a:lnTo>
                      <a:pt x="114" y="133"/>
                    </a:lnTo>
                    <a:lnTo>
                      <a:pt x="112" y="127"/>
                    </a:lnTo>
                    <a:lnTo>
                      <a:pt x="112" y="124"/>
                    </a:lnTo>
                    <a:lnTo>
                      <a:pt x="109" y="120"/>
                    </a:lnTo>
                    <a:lnTo>
                      <a:pt x="106" y="117"/>
                    </a:lnTo>
                    <a:lnTo>
                      <a:pt x="106" y="117"/>
                    </a:lnTo>
                    <a:lnTo>
                      <a:pt x="106" y="116"/>
                    </a:lnTo>
                    <a:lnTo>
                      <a:pt x="107" y="116"/>
                    </a:lnTo>
                    <a:lnTo>
                      <a:pt x="109" y="117"/>
                    </a:lnTo>
                    <a:lnTo>
                      <a:pt x="112" y="117"/>
                    </a:lnTo>
                    <a:lnTo>
                      <a:pt x="114" y="117"/>
                    </a:lnTo>
                    <a:lnTo>
                      <a:pt x="115" y="117"/>
                    </a:lnTo>
                    <a:lnTo>
                      <a:pt x="115" y="120"/>
                    </a:lnTo>
                    <a:lnTo>
                      <a:pt x="117" y="120"/>
                    </a:lnTo>
                    <a:lnTo>
                      <a:pt x="122" y="120"/>
                    </a:lnTo>
                    <a:lnTo>
                      <a:pt x="123" y="120"/>
                    </a:lnTo>
                    <a:lnTo>
                      <a:pt x="125" y="120"/>
                    </a:lnTo>
                    <a:lnTo>
                      <a:pt x="125" y="120"/>
                    </a:lnTo>
                    <a:lnTo>
                      <a:pt x="128" y="124"/>
                    </a:lnTo>
                    <a:lnTo>
                      <a:pt x="131" y="124"/>
                    </a:lnTo>
                    <a:lnTo>
                      <a:pt x="131" y="124"/>
                    </a:lnTo>
                    <a:lnTo>
                      <a:pt x="131" y="124"/>
                    </a:lnTo>
                    <a:lnTo>
                      <a:pt x="131" y="117"/>
                    </a:lnTo>
                    <a:lnTo>
                      <a:pt x="134" y="117"/>
                    </a:lnTo>
                    <a:lnTo>
                      <a:pt x="134" y="117"/>
                    </a:lnTo>
                    <a:lnTo>
                      <a:pt x="136" y="117"/>
                    </a:lnTo>
                    <a:lnTo>
                      <a:pt x="139" y="117"/>
                    </a:lnTo>
                    <a:lnTo>
                      <a:pt x="144" y="116"/>
                    </a:lnTo>
                    <a:lnTo>
                      <a:pt x="147" y="113"/>
                    </a:lnTo>
                    <a:lnTo>
                      <a:pt x="152" y="111"/>
                    </a:lnTo>
                    <a:lnTo>
                      <a:pt x="154" y="113"/>
                    </a:lnTo>
                    <a:lnTo>
                      <a:pt x="155" y="111"/>
                    </a:lnTo>
                    <a:lnTo>
                      <a:pt x="157" y="106"/>
                    </a:lnTo>
                    <a:lnTo>
                      <a:pt x="158" y="106"/>
                    </a:lnTo>
                    <a:lnTo>
                      <a:pt x="158" y="106"/>
                    </a:lnTo>
                    <a:lnTo>
                      <a:pt x="158" y="103"/>
                    </a:lnTo>
                    <a:lnTo>
                      <a:pt x="157" y="101"/>
                    </a:lnTo>
                    <a:lnTo>
                      <a:pt x="154" y="97"/>
                    </a:lnTo>
                    <a:lnTo>
                      <a:pt x="150" y="92"/>
                    </a:lnTo>
                    <a:lnTo>
                      <a:pt x="152" y="89"/>
                    </a:lnTo>
                    <a:lnTo>
                      <a:pt x="154" y="84"/>
                    </a:lnTo>
                    <a:lnTo>
                      <a:pt x="154" y="81"/>
                    </a:lnTo>
                    <a:lnTo>
                      <a:pt x="155" y="79"/>
                    </a:lnTo>
                    <a:lnTo>
                      <a:pt x="157" y="79"/>
                    </a:lnTo>
                    <a:lnTo>
                      <a:pt x="157" y="79"/>
                    </a:lnTo>
                    <a:lnTo>
                      <a:pt x="160" y="79"/>
                    </a:lnTo>
                    <a:lnTo>
                      <a:pt x="160" y="78"/>
                    </a:lnTo>
                    <a:lnTo>
                      <a:pt x="163" y="76"/>
                    </a:lnTo>
                    <a:lnTo>
                      <a:pt x="163" y="74"/>
                    </a:lnTo>
                    <a:lnTo>
                      <a:pt x="163" y="73"/>
                    </a:lnTo>
                    <a:lnTo>
                      <a:pt x="160" y="73"/>
                    </a:lnTo>
                    <a:lnTo>
                      <a:pt x="160" y="71"/>
                    </a:lnTo>
                    <a:lnTo>
                      <a:pt x="160" y="68"/>
                    </a:lnTo>
                    <a:lnTo>
                      <a:pt x="160" y="65"/>
                    </a:lnTo>
                    <a:lnTo>
                      <a:pt x="163" y="62"/>
                    </a:lnTo>
                    <a:lnTo>
                      <a:pt x="169" y="59"/>
                    </a:lnTo>
                    <a:lnTo>
                      <a:pt x="171" y="59"/>
                    </a:lnTo>
                    <a:lnTo>
                      <a:pt x="171" y="57"/>
                    </a:lnTo>
                    <a:lnTo>
                      <a:pt x="171" y="57"/>
                    </a:lnTo>
                    <a:lnTo>
                      <a:pt x="169" y="55"/>
                    </a:lnTo>
                    <a:lnTo>
                      <a:pt x="169" y="55"/>
                    </a:lnTo>
                    <a:lnTo>
                      <a:pt x="169" y="55"/>
                    </a:lnTo>
                    <a:lnTo>
                      <a:pt x="169" y="55"/>
                    </a:lnTo>
                    <a:lnTo>
                      <a:pt x="169" y="55"/>
                    </a:lnTo>
                    <a:lnTo>
                      <a:pt x="169" y="55"/>
                    </a:lnTo>
                    <a:lnTo>
                      <a:pt x="169" y="55"/>
                    </a:lnTo>
                    <a:lnTo>
                      <a:pt x="169" y="55"/>
                    </a:lnTo>
                    <a:lnTo>
                      <a:pt x="169" y="55"/>
                    </a:lnTo>
                    <a:close/>
                    <a:moveTo>
                      <a:pt x="134" y="33"/>
                    </a:moveTo>
                    <a:lnTo>
                      <a:pt x="131" y="30"/>
                    </a:lnTo>
                    <a:lnTo>
                      <a:pt x="134" y="33"/>
                    </a:lnTo>
                    <a:lnTo>
                      <a:pt x="134" y="33"/>
                    </a:lnTo>
                    <a:lnTo>
                      <a:pt x="134" y="33"/>
                    </a:lnTo>
                    <a:lnTo>
                      <a:pt x="134" y="33"/>
                    </a:lnTo>
                    <a:lnTo>
                      <a:pt x="134" y="33"/>
                    </a:lnTo>
                    <a:lnTo>
                      <a:pt x="134" y="33"/>
                    </a:lnTo>
                    <a:lnTo>
                      <a:pt x="134" y="33"/>
                    </a:lnTo>
                    <a:lnTo>
                      <a:pt x="134" y="33"/>
                    </a:lnTo>
                    <a:lnTo>
                      <a:pt x="134" y="33"/>
                    </a:lnTo>
                    <a:lnTo>
                      <a:pt x="134" y="33"/>
                    </a:lnTo>
                    <a:close/>
                    <a:moveTo>
                      <a:pt x="47" y="1"/>
                    </a:moveTo>
                    <a:lnTo>
                      <a:pt x="46" y="0"/>
                    </a:lnTo>
                    <a:lnTo>
                      <a:pt x="44" y="0"/>
                    </a:lnTo>
                    <a:lnTo>
                      <a:pt x="42" y="0"/>
                    </a:lnTo>
                    <a:lnTo>
                      <a:pt x="42" y="5"/>
                    </a:lnTo>
                    <a:lnTo>
                      <a:pt x="41" y="9"/>
                    </a:lnTo>
                    <a:lnTo>
                      <a:pt x="44" y="8"/>
                    </a:lnTo>
                    <a:lnTo>
                      <a:pt x="47" y="8"/>
                    </a:lnTo>
                    <a:lnTo>
                      <a:pt x="47" y="5"/>
                    </a:lnTo>
                    <a:lnTo>
                      <a:pt x="47" y="1"/>
                    </a:lnTo>
                    <a:lnTo>
                      <a:pt x="47" y="1"/>
                    </a:lnTo>
                    <a:lnTo>
                      <a:pt x="47" y="1"/>
                    </a:lnTo>
                    <a:lnTo>
                      <a:pt x="47" y="1"/>
                    </a:lnTo>
                    <a:lnTo>
                      <a:pt x="47" y="1"/>
                    </a:lnTo>
                    <a:lnTo>
                      <a:pt x="47" y="1"/>
                    </a:lnTo>
                    <a:lnTo>
                      <a:pt x="47" y="1"/>
                    </a:lnTo>
                    <a:lnTo>
                      <a:pt x="47" y="1"/>
                    </a:lnTo>
                    <a:lnTo>
                      <a:pt x="47" y="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48" name="Freeform 35">
                <a:extLst>
                  <a:ext uri="{FF2B5EF4-FFF2-40B4-BE49-F238E27FC236}">
                    <a16:creationId xmlns:a16="http://schemas.microsoft.com/office/drawing/2014/main" id="{41EBB23D-608E-E949-86DC-7166451EBD95}"/>
                  </a:ext>
                </a:extLst>
              </p:cNvPr>
              <p:cNvSpPr>
                <a:spLocks/>
              </p:cNvSpPr>
              <p:nvPr/>
            </p:nvSpPr>
            <p:spPr bwMode="auto">
              <a:xfrm>
                <a:off x="4118272" y="3832204"/>
                <a:ext cx="116639" cy="139071"/>
              </a:xfrm>
              <a:custGeom>
                <a:avLst/>
                <a:gdLst>
                  <a:gd name="T0" fmla="*/ 27 w 52"/>
                  <a:gd name="T1" fmla="*/ 60 h 62"/>
                  <a:gd name="T2" fmla="*/ 23 w 52"/>
                  <a:gd name="T3" fmla="*/ 57 h 62"/>
                  <a:gd name="T4" fmla="*/ 23 w 52"/>
                  <a:gd name="T5" fmla="*/ 54 h 62"/>
                  <a:gd name="T6" fmla="*/ 27 w 52"/>
                  <a:gd name="T7" fmla="*/ 52 h 62"/>
                  <a:gd name="T8" fmla="*/ 33 w 52"/>
                  <a:gd name="T9" fmla="*/ 51 h 62"/>
                  <a:gd name="T10" fmla="*/ 38 w 52"/>
                  <a:gd name="T11" fmla="*/ 51 h 62"/>
                  <a:gd name="T12" fmla="*/ 41 w 52"/>
                  <a:gd name="T13" fmla="*/ 52 h 62"/>
                  <a:gd name="T14" fmla="*/ 46 w 52"/>
                  <a:gd name="T15" fmla="*/ 51 h 62"/>
                  <a:gd name="T16" fmla="*/ 49 w 52"/>
                  <a:gd name="T17" fmla="*/ 44 h 62"/>
                  <a:gd name="T18" fmla="*/ 50 w 52"/>
                  <a:gd name="T19" fmla="*/ 38 h 62"/>
                  <a:gd name="T20" fmla="*/ 47 w 52"/>
                  <a:gd name="T21" fmla="*/ 31 h 62"/>
                  <a:gd name="T22" fmla="*/ 46 w 52"/>
                  <a:gd name="T23" fmla="*/ 20 h 62"/>
                  <a:gd name="T24" fmla="*/ 49 w 52"/>
                  <a:gd name="T25" fmla="*/ 11 h 62"/>
                  <a:gd name="T26" fmla="*/ 50 w 52"/>
                  <a:gd name="T27" fmla="*/ 8 h 62"/>
                  <a:gd name="T28" fmla="*/ 50 w 52"/>
                  <a:gd name="T29" fmla="*/ 3 h 62"/>
                  <a:gd name="T30" fmla="*/ 42 w 52"/>
                  <a:gd name="T31" fmla="*/ 0 h 62"/>
                  <a:gd name="T32" fmla="*/ 38 w 52"/>
                  <a:gd name="T33" fmla="*/ 3 h 62"/>
                  <a:gd name="T34" fmla="*/ 38 w 52"/>
                  <a:gd name="T35" fmla="*/ 3 h 62"/>
                  <a:gd name="T36" fmla="*/ 36 w 52"/>
                  <a:gd name="T37" fmla="*/ 3 h 62"/>
                  <a:gd name="T38" fmla="*/ 30 w 52"/>
                  <a:gd name="T39" fmla="*/ 3 h 62"/>
                  <a:gd name="T40" fmla="*/ 27 w 52"/>
                  <a:gd name="T41" fmla="*/ 3 h 62"/>
                  <a:gd name="T42" fmla="*/ 27 w 52"/>
                  <a:gd name="T43" fmla="*/ 3 h 62"/>
                  <a:gd name="T44" fmla="*/ 17 w 52"/>
                  <a:gd name="T45" fmla="*/ 3 h 62"/>
                  <a:gd name="T46" fmla="*/ 11 w 52"/>
                  <a:gd name="T47" fmla="*/ 6 h 62"/>
                  <a:gd name="T48" fmla="*/ 11 w 52"/>
                  <a:gd name="T49" fmla="*/ 8 h 62"/>
                  <a:gd name="T50" fmla="*/ 9 w 52"/>
                  <a:gd name="T51" fmla="*/ 12 h 62"/>
                  <a:gd name="T52" fmla="*/ 3 w 52"/>
                  <a:gd name="T53" fmla="*/ 16 h 62"/>
                  <a:gd name="T54" fmla="*/ 0 w 52"/>
                  <a:gd name="T55" fmla="*/ 19 h 62"/>
                  <a:gd name="T56" fmla="*/ 0 w 52"/>
                  <a:gd name="T57" fmla="*/ 31 h 62"/>
                  <a:gd name="T58" fmla="*/ 4 w 52"/>
                  <a:gd name="T59" fmla="*/ 38 h 62"/>
                  <a:gd name="T60" fmla="*/ 8 w 52"/>
                  <a:gd name="T61" fmla="*/ 38 h 62"/>
                  <a:gd name="T62" fmla="*/ 9 w 52"/>
                  <a:gd name="T63" fmla="*/ 46 h 62"/>
                  <a:gd name="T64" fmla="*/ 14 w 52"/>
                  <a:gd name="T65" fmla="*/ 54 h 62"/>
                  <a:gd name="T66" fmla="*/ 15 w 52"/>
                  <a:gd name="T67" fmla="*/ 57 h 62"/>
                  <a:gd name="T68" fmla="*/ 23 w 52"/>
                  <a:gd name="T69" fmla="*/ 62 h 62"/>
                  <a:gd name="T70" fmla="*/ 23 w 52"/>
                  <a:gd name="T71" fmla="*/ 62 h 62"/>
                  <a:gd name="T72" fmla="*/ 23 w 52"/>
                  <a:gd name="T73" fmla="*/ 62 h 62"/>
                  <a:gd name="T74" fmla="*/ 23 w 52"/>
                  <a:gd name="T75" fmla="*/ 62 h 62"/>
                  <a:gd name="T76" fmla="*/ 23 w 52"/>
                  <a:gd name="T7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62">
                    <a:moveTo>
                      <a:pt x="23" y="62"/>
                    </a:moveTo>
                    <a:lnTo>
                      <a:pt x="27" y="60"/>
                    </a:lnTo>
                    <a:lnTo>
                      <a:pt x="27" y="58"/>
                    </a:lnTo>
                    <a:lnTo>
                      <a:pt x="23" y="57"/>
                    </a:lnTo>
                    <a:lnTo>
                      <a:pt x="23" y="55"/>
                    </a:lnTo>
                    <a:lnTo>
                      <a:pt x="23" y="54"/>
                    </a:lnTo>
                    <a:lnTo>
                      <a:pt x="27" y="52"/>
                    </a:lnTo>
                    <a:lnTo>
                      <a:pt x="27" y="52"/>
                    </a:lnTo>
                    <a:lnTo>
                      <a:pt x="30" y="52"/>
                    </a:lnTo>
                    <a:lnTo>
                      <a:pt x="33" y="51"/>
                    </a:lnTo>
                    <a:lnTo>
                      <a:pt x="38" y="51"/>
                    </a:lnTo>
                    <a:lnTo>
                      <a:pt x="38" y="51"/>
                    </a:lnTo>
                    <a:lnTo>
                      <a:pt x="39" y="52"/>
                    </a:lnTo>
                    <a:lnTo>
                      <a:pt x="41" y="52"/>
                    </a:lnTo>
                    <a:lnTo>
                      <a:pt x="42" y="54"/>
                    </a:lnTo>
                    <a:lnTo>
                      <a:pt x="46" y="51"/>
                    </a:lnTo>
                    <a:lnTo>
                      <a:pt x="47" y="49"/>
                    </a:lnTo>
                    <a:lnTo>
                      <a:pt x="49" y="44"/>
                    </a:lnTo>
                    <a:lnTo>
                      <a:pt x="49" y="41"/>
                    </a:lnTo>
                    <a:lnTo>
                      <a:pt x="50" y="38"/>
                    </a:lnTo>
                    <a:lnTo>
                      <a:pt x="50" y="35"/>
                    </a:lnTo>
                    <a:lnTo>
                      <a:pt x="47" y="31"/>
                    </a:lnTo>
                    <a:lnTo>
                      <a:pt x="46" y="27"/>
                    </a:lnTo>
                    <a:lnTo>
                      <a:pt x="46" y="20"/>
                    </a:lnTo>
                    <a:lnTo>
                      <a:pt x="46" y="16"/>
                    </a:lnTo>
                    <a:lnTo>
                      <a:pt x="49" y="11"/>
                    </a:lnTo>
                    <a:lnTo>
                      <a:pt x="50" y="9"/>
                    </a:lnTo>
                    <a:lnTo>
                      <a:pt x="50" y="8"/>
                    </a:lnTo>
                    <a:lnTo>
                      <a:pt x="52" y="6"/>
                    </a:lnTo>
                    <a:lnTo>
                      <a:pt x="50" y="3"/>
                    </a:lnTo>
                    <a:lnTo>
                      <a:pt x="47" y="3"/>
                    </a:lnTo>
                    <a:lnTo>
                      <a:pt x="42" y="0"/>
                    </a:lnTo>
                    <a:lnTo>
                      <a:pt x="39" y="0"/>
                    </a:lnTo>
                    <a:lnTo>
                      <a:pt x="38" y="3"/>
                    </a:lnTo>
                    <a:lnTo>
                      <a:pt x="41" y="3"/>
                    </a:lnTo>
                    <a:lnTo>
                      <a:pt x="38" y="3"/>
                    </a:lnTo>
                    <a:lnTo>
                      <a:pt x="36" y="3"/>
                    </a:lnTo>
                    <a:lnTo>
                      <a:pt x="36" y="3"/>
                    </a:lnTo>
                    <a:lnTo>
                      <a:pt x="35" y="3"/>
                    </a:lnTo>
                    <a:lnTo>
                      <a:pt x="30" y="3"/>
                    </a:lnTo>
                    <a:lnTo>
                      <a:pt x="30" y="3"/>
                    </a:lnTo>
                    <a:lnTo>
                      <a:pt x="27" y="3"/>
                    </a:lnTo>
                    <a:lnTo>
                      <a:pt x="27" y="6"/>
                    </a:lnTo>
                    <a:lnTo>
                      <a:pt x="27" y="3"/>
                    </a:lnTo>
                    <a:lnTo>
                      <a:pt x="23" y="3"/>
                    </a:lnTo>
                    <a:lnTo>
                      <a:pt x="17" y="3"/>
                    </a:lnTo>
                    <a:lnTo>
                      <a:pt x="14" y="3"/>
                    </a:lnTo>
                    <a:lnTo>
                      <a:pt x="11" y="6"/>
                    </a:lnTo>
                    <a:lnTo>
                      <a:pt x="11" y="6"/>
                    </a:lnTo>
                    <a:lnTo>
                      <a:pt x="11" y="8"/>
                    </a:lnTo>
                    <a:lnTo>
                      <a:pt x="9" y="11"/>
                    </a:lnTo>
                    <a:lnTo>
                      <a:pt x="9" y="12"/>
                    </a:lnTo>
                    <a:lnTo>
                      <a:pt x="8" y="16"/>
                    </a:lnTo>
                    <a:lnTo>
                      <a:pt x="3" y="16"/>
                    </a:lnTo>
                    <a:lnTo>
                      <a:pt x="0" y="16"/>
                    </a:lnTo>
                    <a:lnTo>
                      <a:pt x="0" y="19"/>
                    </a:lnTo>
                    <a:lnTo>
                      <a:pt x="0" y="28"/>
                    </a:lnTo>
                    <a:lnTo>
                      <a:pt x="0" y="31"/>
                    </a:lnTo>
                    <a:lnTo>
                      <a:pt x="3" y="35"/>
                    </a:lnTo>
                    <a:lnTo>
                      <a:pt x="4" y="38"/>
                    </a:lnTo>
                    <a:lnTo>
                      <a:pt x="6" y="41"/>
                    </a:lnTo>
                    <a:lnTo>
                      <a:pt x="8" y="38"/>
                    </a:lnTo>
                    <a:lnTo>
                      <a:pt x="9" y="41"/>
                    </a:lnTo>
                    <a:lnTo>
                      <a:pt x="9" y="46"/>
                    </a:lnTo>
                    <a:lnTo>
                      <a:pt x="11" y="49"/>
                    </a:lnTo>
                    <a:lnTo>
                      <a:pt x="14" y="54"/>
                    </a:lnTo>
                    <a:lnTo>
                      <a:pt x="14" y="55"/>
                    </a:lnTo>
                    <a:lnTo>
                      <a:pt x="15" y="57"/>
                    </a:lnTo>
                    <a:lnTo>
                      <a:pt x="19" y="60"/>
                    </a:lnTo>
                    <a:lnTo>
                      <a:pt x="23" y="62"/>
                    </a:lnTo>
                    <a:lnTo>
                      <a:pt x="23" y="62"/>
                    </a:lnTo>
                    <a:lnTo>
                      <a:pt x="23" y="62"/>
                    </a:lnTo>
                    <a:lnTo>
                      <a:pt x="23" y="62"/>
                    </a:lnTo>
                    <a:lnTo>
                      <a:pt x="23" y="62"/>
                    </a:lnTo>
                    <a:lnTo>
                      <a:pt x="23" y="62"/>
                    </a:lnTo>
                    <a:lnTo>
                      <a:pt x="23" y="62"/>
                    </a:lnTo>
                    <a:lnTo>
                      <a:pt x="23" y="62"/>
                    </a:lnTo>
                    <a:lnTo>
                      <a:pt x="23" y="62"/>
                    </a:lnTo>
                    <a:lnTo>
                      <a:pt x="23" y="62"/>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49" name="Freeform 36">
                <a:extLst>
                  <a:ext uri="{FF2B5EF4-FFF2-40B4-BE49-F238E27FC236}">
                    <a16:creationId xmlns:a16="http://schemas.microsoft.com/office/drawing/2014/main" id="{5ECA2406-67DF-B43A-306D-76F2B6C078BE}"/>
                  </a:ext>
                </a:extLst>
              </p:cNvPr>
              <p:cNvSpPr>
                <a:spLocks/>
              </p:cNvSpPr>
              <p:nvPr/>
            </p:nvSpPr>
            <p:spPr bwMode="auto">
              <a:xfrm>
                <a:off x="4212480" y="3845663"/>
                <a:ext cx="82994" cy="114397"/>
              </a:xfrm>
              <a:custGeom>
                <a:avLst/>
                <a:gdLst>
                  <a:gd name="T0" fmla="*/ 7 w 37"/>
                  <a:gd name="T1" fmla="*/ 3 h 51"/>
                  <a:gd name="T2" fmla="*/ 5 w 37"/>
                  <a:gd name="T3" fmla="*/ 5 h 51"/>
                  <a:gd name="T4" fmla="*/ 2 w 37"/>
                  <a:gd name="T5" fmla="*/ 10 h 51"/>
                  <a:gd name="T6" fmla="*/ 2 w 37"/>
                  <a:gd name="T7" fmla="*/ 14 h 51"/>
                  <a:gd name="T8" fmla="*/ 2 w 37"/>
                  <a:gd name="T9" fmla="*/ 21 h 51"/>
                  <a:gd name="T10" fmla="*/ 5 w 37"/>
                  <a:gd name="T11" fmla="*/ 25 h 51"/>
                  <a:gd name="T12" fmla="*/ 7 w 37"/>
                  <a:gd name="T13" fmla="*/ 29 h 51"/>
                  <a:gd name="T14" fmla="*/ 7 w 37"/>
                  <a:gd name="T15" fmla="*/ 32 h 51"/>
                  <a:gd name="T16" fmla="*/ 5 w 37"/>
                  <a:gd name="T17" fmla="*/ 35 h 51"/>
                  <a:gd name="T18" fmla="*/ 5 w 37"/>
                  <a:gd name="T19" fmla="*/ 38 h 51"/>
                  <a:gd name="T20" fmla="*/ 5 w 37"/>
                  <a:gd name="T21" fmla="*/ 43 h 51"/>
                  <a:gd name="T22" fmla="*/ 4 w 37"/>
                  <a:gd name="T23" fmla="*/ 45 h 51"/>
                  <a:gd name="T24" fmla="*/ 0 w 37"/>
                  <a:gd name="T25" fmla="*/ 48 h 51"/>
                  <a:gd name="T26" fmla="*/ 2 w 37"/>
                  <a:gd name="T27" fmla="*/ 49 h 51"/>
                  <a:gd name="T28" fmla="*/ 5 w 37"/>
                  <a:gd name="T29" fmla="*/ 51 h 51"/>
                  <a:gd name="T30" fmla="*/ 5 w 37"/>
                  <a:gd name="T31" fmla="*/ 51 h 51"/>
                  <a:gd name="T32" fmla="*/ 10 w 37"/>
                  <a:gd name="T33" fmla="*/ 48 h 51"/>
                  <a:gd name="T34" fmla="*/ 12 w 37"/>
                  <a:gd name="T35" fmla="*/ 49 h 51"/>
                  <a:gd name="T36" fmla="*/ 15 w 37"/>
                  <a:gd name="T37" fmla="*/ 49 h 51"/>
                  <a:gd name="T38" fmla="*/ 16 w 37"/>
                  <a:gd name="T39" fmla="*/ 49 h 51"/>
                  <a:gd name="T40" fmla="*/ 20 w 37"/>
                  <a:gd name="T41" fmla="*/ 49 h 51"/>
                  <a:gd name="T42" fmla="*/ 21 w 37"/>
                  <a:gd name="T43" fmla="*/ 49 h 51"/>
                  <a:gd name="T44" fmla="*/ 24 w 37"/>
                  <a:gd name="T45" fmla="*/ 46 h 51"/>
                  <a:gd name="T46" fmla="*/ 29 w 37"/>
                  <a:gd name="T47" fmla="*/ 35 h 51"/>
                  <a:gd name="T48" fmla="*/ 35 w 37"/>
                  <a:gd name="T49" fmla="*/ 25 h 51"/>
                  <a:gd name="T50" fmla="*/ 37 w 37"/>
                  <a:gd name="T51" fmla="*/ 21 h 51"/>
                  <a:gd name="T52" fmla="*/ 37 w 37"/>
                  <a:gd name="T53" fmla="*/ 19 h 51"/>
                  <a:gd name="T54" fmla="*/ 35 w 37"/>
                  <a:gd name="T55" fmla="*/ 16 h 51"/>
                  <a:gd name="T56" fmla="*/ 35 w 37"/>
                  <a:gd name="T57" fmla="*/ 14 h 51"/>
                  <a:gd name="T58" fmla="*/ 35 w 37"/>
                  <a:gd name="T59" fmla="*/ 16 h 51"/>
                  <a:gd name="T60" fmla="*/ 32 w 37"/>
                  <a:gd name="T61" fmla="*/ 14 h 51"/>
                  <a:gd name="T62" fmla="*/ 29 w 37"/>
                  <a:gd name="T63" fmla="*/ 13 h 51"/>
                  <a:gd name="T64" fmla="*/ 29 w 37"/>
                  <a:gd name="T65" fmla="*/ 13 h 51"/>
                  <a:gd name="T66" fmla="*/ 29 w 37"/>
                  <a:gd name="T67" fmla="*/ 11 h 51"/>
                  <a:gd name="T68" fmla="*/ 29 w 37"/>
                  <a:gd name="T69" fmla="*/ 10 h 51"/>
                  <a:gd name="T70" fmla="*/ 26 w 37"/>
                  <a:gd name="T71" fmla="*/ 8 h 51"/>
                  <a:gd name="T72" fmla="*/ 23 w 37"/>
                  <a:gd name="T73" fmla="*/ 3 h 51"/>
                  <a:gd name="T74" fmla="*/ 20 w 37"/>
                  <a:gd name="T75" fmla="*/ 2 h 51"/>
                  <a:gd name="T76" fmla="*/ 16 w 37"/>
                  <a:gd name="T77" fmla="*/ 2 h 51"/>
                  <a:gd name="T78" fmla="*/ 12 w 37"/>
                  <a:gd name="T79" fmla="*/ 0 h 51"/>
                  <a:gd name="T80" fmla="*/ 10 w 37"/>
                  <a:gd name="T81" fmla="*/ 0 h 51"/>
                  <a:gd name="T82" fmla="*/ 8 w 37"/>
                  <a:gd name="T83" fmla="*/ 0 h 51"/>
                  <a:gd name="T84" fmla="*/ 7 w 37"/>
                  <a:gd name="T85" fmla="*/ 2 h 51"/>
                  <a:gd name="T86" fmla="*/ 7 w 37"/>
                  <a:gd name="T87" fmla="*/ 3 h 51"/>
                  <a:gd name="T88" fmla="*/ 7 w 37"/>
                  <a:gd name="T89" fmla="*/ 3 h 51"/>
                  <a:gd name="T90" fmla="*/ 7 w 37"/>
                  <a:gd name="T91" fmla="*/ 3 h 51"/>
                  <a:gd name="T92" fmla="*/ 7 w 37"/>
                  <a:gd name="T93" fmla="*/ 3 h 51"/>
                  <a:gd name="T94" fmla="*/ 7 w 37"/>
                  <a:gd name="T95" fmla="*/ 3 h 51"/>
                  <a:gd name="T96" fmla="*/ 7 w 37"/>
                  <a:gd name="T97" fmla="*/ 3 h 51"/>
                  <a:gd name="T98" fmla="*/ 7 w 37"/>
                  <a:gd name="T99" fmla="*/ 3 h 51"/>
                  <a:gd name="T100" fmla="*/ 7 w 37"/>
                  <a:gd name="T101" fmla="*/ 3 h 51"/>
                  <a:gd name="T102" fmla="*/ 7 w 37"/>
                  <a:gd name="T103"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 h="51">
                    <a:moveTo>
                      <a:pt x="7" y="3"/>
                    </a:moveTo>
                    <a:lnTo>
                      <a:pt x="5" y="5"/>
                    </a:lnTo>
                    <a:lnTo>
                      <a:pt x="2" y="10"/>
                    </a:lnTo>
                    <a:lnTo>
                      <a:pt x="2" y="14"/>
                    </a:lnTo>
                    <a:lnTo>
                      <a:pt x="2" y="21"/>
                    </a:lnTo>
                    <a:lnTo>
                      <a:pt x="5" y="25"/>
                    </a:lnTo>
                    <a:lnTo>
                      <a:pt x="7" y="29"/>
                    </a:lnTo>
                    <a:lnTo>
                      <a:pt x="7" y="32"/>
                    </a:lnTo>
                    <a:lnTo>
                      <a:pt x="5" y="35"/>
                    </a:lnTo>
                    <a:lnTo>
                      <a:pt x="5" y="38"/>
                    </a:lnTo>
                    <a:lnTo>
                      <a:pt x="5" y="43"/>
                    </a:lnTo>
                    <a:lnTo>
                      <a:pt x="4" y="45"/>
                    </a:lnTo>
                    <a:lnTo>
                      <a:pt x="0" y="48"/>
                    </a:lnTo>
                    <a:lnTo>
                      <a:pt x="2" y="49"/>
                    </a:lnTo>
                    <a:lnTo>
                      <a:pt x="5" y="51"/>
                    </a:lnTo>
                    <a:lnTo>
                      <a:pt x="5" y="51"/>
                    </a:lnTo>
                    <a:lnTo>
                      <a:pt x="10" y="48"/>
                    </a:lnTo>
                    <a:lnTo>
                      <a:pt x="12" y="49"/>
                    </a:lnTo>
                    <a:lnTo>
                      <a:pt x="15" y="49"/>
                    </a:lnTo>
                    <a:lnTo>
                      <a:pt x="16" y="49"/>
                    </a:lnTo>
                    <a:lnTo>
                      <a:pt x="20" y="49"/>
                    </a:lnTo>
                    <a:lnTo>
                      <a:pt x="21" y="49"/>
                    </a:lnTo>
                    <a:lnTo>
                      <a:pt x="24" y="46"/>
                    </a:lnTo>
                    <a:lnTo>
                      <a:pt x="29" y="35"/>
                    </a:lnTo>
                    <a:lnTo>
                      <a:pt x="35" y="25"/>
                    </a:lnTo>
                    <a:lnTo>
                      <a:pt x="37" y="21"/>
                    </a:lnTo>
                    <a:lnTo>
                      <a:pt x="37" y="19"/>
                    </a:lnTo>
                    <a:lnTo>
                      <a:pt x="35" y="16"/>
                    </a:lnTo>
                    <a:lnTo>
                      <a:pt x="35" y="14"/>
                    </a:lnTo>
                    <a:lnTo>
                      <a:pt x="35" y="16"/>
                    </a:lnTo>
                    <a:lnTo>
                      <a:pt x="32" y="14"/>
                    </a:lnTo>
                    <a:lnTo>
                      <a:pt x="29" y="13"/>
                    </a:lnTo>
                    <a:lnTo>
                      <a:pt x="29" y="13"/>
                    </a:lnTo>
                    <a:lnTo>
                      <a:pt x="29" y="11"/>
                    </a:lnTo>
                    <a:lnTo>
                      <a:pt x="29" y="10"/>
                    </a:lnTo>
                    <a:lnTo>
                      <a:pt x="26" y="8"/>
                    </a:lnTo>
                    <a:lnTo>
                      <a:pt x="23" y="3"/>
                    </a:lnTo>
                    <a:lnTo>
                      <a:pt x="20" y="2"/>
                    </a:lnTo>
                    <a:lnTo>
                      <a:pt x="16" y="2"/>
                    </a:lnTo>
                    <a:lnTo>
                      <a:pt x="12" y="0"/>
                    </a:lnTo>
                    <a:lnTo>
                      <a:pt x="10" y="0"/>
                    </a:lnTo>
                    <a:lnTo>
                      <a:pt x="8" y="0"/>
                    </a:lnTo>
                    <a:lnTo>
                      <a:pt x="7" y="2"/>
                    </a:lnTo>
                    <a:lnTo>
                      <a:pt x="7" y="3"/>
                    </a:lnTo>
                    <a:lnTo>
                      <a:pt x="7" y="3"/>
                    </a:lnTo>
                    <a:lnTo>
                      <a:pt x="7" y="3"/>
                    </a:lnTo>
                    <a:lnTo>
                      <a:pt x="7" y="3"/>
                    </a:lnTo>
                    <a:lnTo>
                      <a:pt x="7" y="3"/>
                    </a:lnTo>
                    <a:lnTo>
                      <a:pt x="7" y="3"/>
                    </a:lnTo>
                    <a:lnTo>
                      <a:pt x="7" y="3"/>
                    </a:lnTo>
                    <a:lnTo>
                      <a:pt x="7" y="3"/>
                    </a:lnTo>
                    <a:lnTo>
                      <a:pt x="7" y="3"/>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50" name="Freeform 38">
                <a:extLst>
                  <a:ext uri="{FF2B5EF4-FFF2-40B4-BE49-F238E27FC236}">
                    <a16:creationId xmlns:a16="http://schemas.microsoft.com/office/drawing/2014/main" id="{0A6C6252-3F17-F200-03A9-619A423A4687}"/>
                  </a:ext>
                </a:extLst>
              </p:cNvPr>
              <p:cNvSpPr>
                <a:spLocks/>
              </p:cNvSpPr>
              <p:nvPr/>
            </p:nvSpPr>
            <p:spPr bwMode="auto">
              <a:xfrm>
                <a:off x="4024063" y="3753698"/>
                <a:ext cx="136827" cy="235522"/>
              </a:xfrm>
              <a:custGeom>
                <a:avLst/>
                <a:gdLst>
                  <a:gd name="T0" fmla="*/ 16 w 61"/>
                  <a:gd name="T1" fmla="*/ 46 h 105"/>
                  <a:gd name="T2" fmla="*/ 16 w 61"/>
                  <a:gd name="T3" fmla="*/ 51 h 105"/>
                  <a:gd name="T4" fmla="*/ 16 w 61"/>
                  <a:gd name="T5" fmla="*/ 57 h 105"/>
                  <a:gd name="T6" fmla="*/ 21 w 61"/>
                  <a:gd name="T7" fmla="*/ 60 h 105"/>
                  <a:gd name="T8" fmla="*/ 23 w 61"/>
                  <a:gd name="T9" fmla="*/ 66 h 105"/>
                  <a:gd name="T10" fmla="*/ 21 w 61"/>
                  <a:gd name="T11" fmla="*/ 70 h 105"/>
                  <a:gd name="T12" fmla="*/ 19 w 61"/>
                  <a:gd name="T13" fmla="*/ 76 h 105"/>
                  <a:gd name="T14" fmla="*/ 16 w 61"/>
                  <a:gd name="T15" fmla="*/ 86 h 105"/>
                  <a:gd name="T16" fmla="*/ 19 w 61"/>
                  <a:gd name="T17" fmla="*/ 92 h 105"/>
                  <a:gd name="T18" fmla="*/ 19 w 61"/>
                  <a:gd name="T19" fmla="*/ 95 h 105"/>
                  <a:gd name="T20" fmla="*/ 19 w 61"/>
                  <a:gd name="T21" fmla="*/ 98 h 105"/>
                  <a:gd name="T22" fmla="*/ 26 w 61"/>
                  <a:gd name="T23" fmla="*/ 101 h 105"/>
                  <a:gd name="T24" fmla="*/ 29 w 61"/>
                  <a:gd name="T25" fmla="*/ 105 h 105"/>
                  <a:gd name="T26" fmla="*/ 31 w 61"/>
                  <a:gd name="T27" fmla="*/ 105 h 105"/>
                  <a:gd name="T28" fmla="*/ 34 w 61"/>
                  <a:gd name="T29" fmla="*/ 101 h 105"/>
                  <a:gd name="T30" fmla="*/ 43 w 61"/>
                  <a:gd name="T31" fmla="*/ 98 h 105"/>
                  <a:gd name="T32" fmla="*/ 46 w 61"/>
                  <a:gd name="T33" fmla="*/ 97 h 105"/>
                  <a:gd name="T34" fmla="*/ 54 w 61"/>
                  <a:gd name="T35" fmla="*/ 95 h 105"/>
                  <a:gd name="T36" fmla="*/ 61 w 61"/>
                  <a:gd name="T37" fmla="*/ 95 h 105"/>
                  <a:gd name="T38" fmla="*/ 54 w 61"/>
                  <a:gd name="T39" fmla="*/ 90 h 105"/>
                  <a:gd name="T40" fmla="*/ 51 w 61"/>
                  <a:gd name="T41" fmla="*/ 84 h 105"/>
                  <a:gd name="T42" fmla="*/ 51 w 61"/>
                  <a:gd name="T43" fmla="*/ 76 h 105"/>
                  <a:gd name="T44" fmla="*/ 48 w 61"/>
                  <a:gd name="T45" fmla="*/ 76 h 105"/>
                  <a:gd name="T46" fmla="*/ 45 w 61"/>
                  <a:gd name="T47" fmla="*/ 70 h 105"/>
                  <a:gd name="T48" fmla="*/ 42 w 61"/>
                  <a:gd name="T49" fmla="*/ 63 h 105"/>
                  <a:gd name="T50" fmla="*/ 42 w 61"/>
                  <a:gd name="T51" fmla="*/ 51 h 105"/>
                  <a:gd name="T52" fmla="*/ 50 w 61"/>
                  <a:gd name="T53" fmla="*/ 51 h 105"/>
                  <a:gd name="T54" fmla="*/ 51 w 61"/>
                  <a:gd name="T55" fmla="*/ 46 h 105"/>
                  <a:gd name="T56" fmla="*/ 51 w 61"/>
                  <a:gd name="T57" fmla="*/ 41 h 105"/>
                  <a:gd name="T58" fmla="*/ 51 w 61"/>
                  <a:gd name="T59" fmla="*/ 35 h 105"/>
                  <a:gd name="T60" fmla="*/ 51 w 61"/>
                  <a:gd name="T61" fmla="*/ 32 h 105"/>
                  <a:gd name="T62" fmla="*/ 48 w 61"/>
                  <a:gd name="T63" fmla="*/ 30 h 105"/>
                  <a:gd name="T64" fmla="*/ 40 w 61"/>
                  <a:gd name="T65" fmla="*/ 24 h 105"/>
                  <a:gd name="T66" fmla="*/ 37 w 61"/>
                  <a:gd name="T67" fmla="*/ 27 h 105"/>
                  <a:gd name="T68" fmla="*/ 34 w 61"/>
                  <a:gd name="T69" fmla="*/ 32 h 105"/>
                  <a:gd name="T70" fmla="*/ 37 w 61"/>
                  <a:gd name="T71" fmla="*/ 20 h 105"/>
                  <a:gd name="T72" fmla="*/ 37 w 61"/>
                  <a:gd name="T73" fmla="*/ 14 h 105"/>
                  <a:gd name="T74" fmla="*/ 31 w 61"/>
                  <a:gd name="T75" fmla="*/ 11 h 105"/>
                  <a:gd name="T76" fmla="*/ 26 w 61"/>
                  <a:gd name="T77" fmla="*/ 5 h 105"/>
                  <a:gd name="T78" fmla="*/ 24 w 61"/>
                  <a:gd name="T79" fmla="*/ 5 h 105"/>
                  <a:gd name="T80" fmla="*/ 19 w 61"/>
                  <a:gd name="T81" fmla="*/ 0 h 105"/>
                  <a:gd name="T82" fmla="*/ 21 w 61"/>
                  <a:gd name="T83" fmla="*/ 3 h 105"/>
                  <a:gd name="T84" fmla="*/ 21 w 61"/>
                  <a:gd name="T85" fmla="*/ 5 h 105"/>
                  <a:gd name="T86" fmla="*/ 13 w 61"/>
                  <a:gd name="T87" fmla="*/ 8 h 105"/>
                  <a:gd name="T88" fmla="*/ 10 w 61"/>
                  <a:gd name="T89" fmla="*/ 14 h 105"/>
                  <a:gd name="T90" fmla="*/ 10 w 61"/>
                  <a:gd name="T91" fmla="*/ 19 h 105"/>
                  <a:gd name="T92" fmla="*/ 13 w 61"/>
                  <a:gd name="T93" fmla="*/ 20 h 105"/>
                  <a:gd name="T94" fmla="*/ 10 w 61"/>
                  <a:gd name="T95" fmla="*/ 24 h 105"/>
                  <a:gd name="T96" fmla="*/ 7 w 61"/>
                  <a:gd name="T97" fmla="*/ 25 h 105"/>
                  <a:gd name="T98" fmla="*/ 5 w 61"/>
                  <a:gd name="T99" fmla="*/ 25 h 105"/>
                  <a:gd name="T100" fmla="*/ 4 w 61"/>
                  <a:gd name="T101" fmla="*/ 30 h 105"/>
                  <a:gd name="T102" fmla="*/ 0 w 61"/>
                  <a:gd name="T103" fmla="*/ 38 h 105"/>
                  <a:gd name="T104" fmla="*/ 7 w 61"/>
                  <a:gd name="T105" fmla="*/ 47 h 105"/>
                  <a:gd name="T106" fmla="*/ 13 w 61"/>
                  <a:gd name="T107" fmla="*/ 46 h 105"/>
                  <a:gd name="T108" fmla="*/ 13 w 61"/>
                  <a:gd name="T109" fmla="*/ 46 h 105"/>
                  <a:gd name="T110" fmla="*/ 13 w 61"/>
                  <a:gd name="T111" fmla="*/ 46 h 105"/>
                  <a:gd name="T112" fmla="*/ 13 w 61"/>
                  <a:gd name="T113" fmla="*/ 46 h 105"/>
                  <a:gd name="T114" fmla="*/ 13 w 61"/>
                  <a:gd name="T115" fmla="*/ 4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1" h="105">
                    <a:moveTo>
                      <a:pt x="13" y="46"/>
                    </a:moveTo>
                    <a:lnTo>
                      <a:pt x="16" y="46"/>
                    </a:lnTo>
                    <a:lnTo>
                      <a:pt x="16" y="47"/>
                    </a:lnTo>
                    <a:lnTo>
                      <a:pt x="16" y="51"/>
                    </a:lnTo>
                    <a:lnTo>
                      <a:pt x="16" y="52"/>
                    </a:lnTo>
                    <a:lnTo>
                      <a:pt x="16" y="57"/>
                    </a:lnTo>
                    <a:lnTo>
                      <a:pt x="16" y="59"/>
                    </a:lnTo>
                    <a:lnTo>
                      <a:pt x="21" y="60"/>
                    </a:lnTo>
                    <a:lnTo>
                      <a:pt x="19" y="62"/>
                    </a:lnTo>
                    <a:lnTo>
                      <a:pt x="23" y="66"/>
                    </a:lnTo>
                    <a:lnTo>
                      <a:pt x="23" y="66"/>
                    </a:lnTo>
                    <a:lnTo>
                      <a:pt x="21" y="70"/>
                    </a:lnTo>
                    <a:lnTo>
                      <a:pt x="19" y="73"/>
                    </a:lnTo>
                    <a:lnTo>
                      <a:pt x="19" y="76"/>
                    </a:lnTo>
                    <a:lnTo>
                      <a:pt x="16" y="81"/>
                    </a:lnTo>
                    <a:lnTo>
                      <a:pt x="16" y="86"/>
                    </a:lnTo>
                    <a:lnTo>
                      <a:pt x="19" y="90"/>
                    </a:lnTo>
                    <a:lnTo>
                      <a:pt x="19" y="92"/>
                    </a:lnTo>
                    <a:lnTo>
                      <a:pt x="19" y="93"/>
                    </a:lnTo>
                    <a:lnTo>
                      <a:pt x="19" y="95"/>
                    </a:lnTo>
                    <a:lnTo>
                      <a:pt x="21" y="97"/>
                    </a:lnTo>
                    <a:lnTo>
                      <a:pt x="19" y="98"/>
                    </a:lnTo>
                    <a:lnTo>
                      <a:pt x="23" y="98"/>
                    </a:lnTo>
                    <a:lnTo>
                      <a:pt x="26" y="101"/>
                    </a:lnTo>
                    <a:lnTo>
                      <a:pt x="27" y="105"/>
                    </a:lnTo>
                    <a:lnTo>
                      <a:pt x="29" y="105"/>
                    </a:lnTo>
                    <a:lnTo>
                      <a:pt x="31" y="105"/>
                    </a:lnTo>
                    <a:lnTo>
                      <a:pt x="31" y="105"/>
                    </a:lnTo>
                    <a:lnTo>
                      <a:pt x="34" y="105"/>
                    </a:lnTo>
                    <a:lnTo>
                      <a:pt x="34" y="101"/>
                    </a:lnTo>
                    <a:lnTo>
                      <a:pt x="40" y="98"/>
                    </a:lnTo>
                    <a:lnTo>
                      <a:pt x="43" y="98"/>
                    </a:lnTo>
                    <a:lnTo>
                      <a:pt x="45" y="98"/>
                    </a:lnTo>
                    <a:lnTo>
                      <a:pt x="46" y="97"/>
                    </a:lnTo>
                    <a:lnTo>
                      <a:pt x="50" y="95"/>
                    </a:lnTo>
                    <a:lnTo>
                      <a:pt x="54" y="95"/>
                    </a:lnTo>
                    <a:lnTo>
                      <a:pt x="57" y="95"/>
                    </a:lnTo>
                    <a:lnTo>
                      <a:pt x="61" y="95"/>
                    </a:lnTo>
                    <a:lnTo>
                      <a:pt x="57" y="92"/>
                    </a:lnTo>
                    <a:lnTo>
                      <a:pt x="54" y="90"/>
                    </a:lnTo>
                    <a:lnTo>
                      <a:pt x="54" y="89"/>
                    </a:lnTo>
                    <a:lnTo>
                      <a:pt x="51" y="84"/>
                    </a:lnTo>
                    <a:lnTo>
                      <a:pt x="51" y="81"/>
                    </a:lnTo>
                    <a:lnTo>
                      <a:pt x="51" y="76"/>
                    </a:lnTo>
                    <a:lnTo>
                      <a:pt x="50" y="73"/>
                    </a:lnTo>
                    <a:lnTo>
                      <a:pt x="48" y="76"/>
                    </a:lnTo>
                    <a:lnTo>
                      <a:pt x="46" y="73"/>
                    </a:lnTo>
                    <a:lnTo>
                      <a:pt x="45" y="70"/>
                    </a:lnTo>
                    <a:lnTo>
                      <a:pt x="42" y="66"/>
                    </a:lnTo>
                    <a:lnTo>
                      <a:pt x="42" y="63"/>
                    </a:lnTo>
                    <a:lnTo>
                      <a:pt x="42" y="54"/>
                    </a:lnTo>
                    <a:lnTo>
                      <a:pt x="42" y="51"/>
                    </a:lnTo>
                    <a:lnTo>
                      <a:pt x="45" y="51"/>
                    </a:lnTo>
                    <a:lnTo>
                      <a:pt x="50" y="51"/>
                    </a:lnTo>
                    <a:lnTo>
                      <a:pt x="51" y="47"/>
                    </a:lnTo>
                    <a:lnTo>
                      <a:pt x="51" y="46"/>
                    </a:lnTo>
                    <a:lnTo>
                      <a:pt x="51" y="43"/>
                    </a:lnTo>
                    <a:lnTo>
                      <a:pt x="51" y="41"/>
                    </a:lnTo>
                    <a:lnTo>
                      <a:pt x="51" y="41"/>
                    </a:lnTo>
                    <a:lnTo>
                      <a:pt x="51" y="35"/>
                    </a:lnTo>
                    <a:lnTo>
                      <a:pt x="51" y="32"/>
                    </a:lnTo>
                    <a:lnTo>
                      <a:pt x="51" y="32"/>
                    </a:lnTo>
                    <a:lnTo>
                      <a:pt x="48" y="32"/>
                    </a:lnTo>
                    <a:lnTo>
                      <a:pt x="48" y="30"/>
                    </a:lnTo>
                    <a:lnTo>
                      <a:pt x="45" y="27"/>
                    </a:lnTo>
                    <a:lnTo>
                      <a:pt x="40" y="24"/>
                    </a:lnTo>
                    <a:lnTo>
                      <a:pt x="37" y="24"/>
                    </a:lnTo>
                    <a:lnTo>
                      <a:pt x="37" y="27"/>
                    </a:lnTo>
                    <a:lnTo>
                      <a:pt x="37" y="30"/>
                    </a:lnTo>
                    <a:lnTo>
                      <a:pt x="34" y="32"/>
                    </a:lnTo>
                    <a:lnTo>
                      <a:pt x="34" y="27"/>
                    </a:lnTo>
                    <a:lnTo>
                      <a:pt x="37" y="20"/>
                    </a:lnTo>
                    <a:lnTo>
                      <a:pt x="37" y="17"/>
                    </a:lnTo>
                    <a:lnTo>
                      <a:pt x="37" y="14"/>
                    </a:lnTo>
                    <a:lnTo>
                      <a:pt x="34" y="14"/>
                    </a:lnTo>
                    <a:lnTo>
                      <a:pt x="31" y="11"/>
                    </a:lnTo>
                    <a:lnTo>
                      <a:pt x="29" y="8"/>
                    </a:lnTo>
                    <a:lnTo>
                      <a:pt x="26" y="5"/>
                    </a:lnTo>
                    <a:lnTo>
                      <a:pt x="21" y="1"/>
                    </a:lnTo>
                    <a:lnTo>
                      <a:pt x="24" y="5"/>
                    </a:lnTo>
                    <a:lnTo>
                      <a:pt x="26" y="6"/>
                    </a:lnTo>
                    <a:lnTo>
                      <a:pt x="19" y="0"/>
                    </a:lnTo>
                    <a:lnTo>
                      <a:pt x="19" y="1"/>
                    </a:lnTo>
                    <a:lnTo>
                      <a:pt x="21" y="3"/>
                    </a:lnTo>
                    <a:lnTo>
                      <a:pt x="21" y="3"/>
                    </a:lnTo>
                    <a:lnTo>
                      <a:pt x="21" y="5"/>
                    </a:lnTo>
                    <a:lnTo>
                      <a:pt x="19" y="5"/>
                    </a:lnTo>
                    <a:lnTo>
                      <a:pt x="13" y="8"/>
                    </a:lnTo>
                    <a:lnTo>
                      <a:pt x="10" y="11"/>
                    </a:lnTo>
                    <a:lnTo>
                      <a:pt x="10" y="14"/>
                    </a:lnTo>
                    <a:lnTo>
                      <a:pt x="10" y="17"/>
                    </a:lnTo>
                    <a:lnTo>
                      <a:pt x="10" y="19"/>
                    </a:lnTo>
                    <a:lnTo>
                      <a:pt x="13" y="19"/>
                    </a:lnTo>
                    <a:lnTo>
                      <a:pt x="13" y="20"/>
                    </a:lnTo>
                    <a:lnTo>
                      <a:pt x="13" y="22"/>
                    </a:lnTo>
                    <a:lnTo>
                      <a:pt x="10" y="24"/>
                    </a:lnTo>
                    <a:lnTo>
                      <a:pt x="10" y="25"/>
                    </a:lnTo>
                    <a:lnTo>
                      <a:pt x="7" y="25"/>
                    </a:lnTo>
                    <a:lnTo>
                      <a:pt x="7" y="25"/>
                    </a:lnTo>
                    <a:lnTo>
                      <a:pt x="5" y="25"/>
                    </a:lnTo>
                    <a:lnTo>
                      <a:pt x="4" y="27"/>
                    </a:lnTo>
                    <a:lnTo>
                      <a:pt x="4" y="30"/>
                    </a:lnTo>
                    <a:lnTo>
                      <a:pt x="2" y="35"/>
                    </a:lnTo>
                    <a:lnTo>
                      <a:pt x="0" y="38"/>
                    </a:lnTo>
                    <a:lnTo>
                      <a:pt x="4" y="43"/>
                    </a:lnTo>
                    <a:lnTo>
                      <a:pt x="7" y="47"/>
                    </a:lnTo>
                    <a:lnTo>
                      <a:pt x="8" y="47"/>
                    </a:lnTo>
                    <a:lnTo>
                      <a:pt x="13" y="46"/>
                    </a:lnTo>
                    <a:lnTo>
                      <a:pt x="13" y="46"/>
                    </a:lnTo>
                    <a:lnTo>
                      <a:pt x="13" y="46"/>
                    </a:lnTo>
                    <a:lnTo>
                      <a:pt x="13" y="46"/>
                    </a:lnTo>
                    <a:lnTo>
                      <a:pt x="13" y="46"/>
                    </a:lnTo>
                    <a:lnTo>
                      <a:pt x="13" y="46"/>
                    </a:lnTo>
                    <a:lnTo>
                      <a:pt x="13" y="46"/>
                    </a:lnTo>
                    <a:lnTo>
                      <a:pt x="13" y="46"/>
                    </a:lnTo>
                    <a:lnTo>
                      <a:pt x="13" y="46"/>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51" name="Freeform 40">
                <a:extLst>
                  <a:ext uri="{FF2B5EF4-FFF2-40B4-BE49-F238E27FC236}">
                    <a16:creationId xmlns:a16="http://schemas.microsoft.com/office/drawing/2014/main" id="{1A7C788A-15AB-4F29-63B7-AEC5B08A2A8A}"/>
                  </a:ext>
                </a:extLst>
              </p:cNvPr>
              <p:cNvSpPr>
                <a:spLocks/>
              </p:cNvSpPr>
              <p:nvPr/>
            </p:nvSpPr>
            <p:spPr bwMode="auto">
              <a:xfrm>
                <a:off x="3514885" y="3628085"/>
                <a:ext cx="349919" cy="538337"/>
              </a:xfrm>
              <a:custGeom>
                <a:avLst/>
                <a:gdLst>
                  <a:gd name="T0" fmla="*/ 148 w 156"/>
                  <a:gd name="T1" fmla="*/ 140 h 240"/>
                  <a:gd name="T2" fmla="*/ 148 w 156"/>
                  <a:gd name="T3" fmla="*/ 132 h 240"/>
                  <a:gd name="T4" fmla="*/ 143 w 156"/>
                  <a:gd name="T5" fmla="*/ 115 h 240"/>
                  <a:gd name="T6" fmla="*/ 150 w 156"/>
                  <a:gd name="T7" fmla="*/ 91 h 240"/>
                  <a:gd name="T8" fmla="*/ 137 w 156"/>
                  <a:gd name="T9" fmla="*/ 88 h 240"/>
                  <a:gd name="T10" fmla="*/ 124 w 156"/>
                  <a:gd name="T11" fmla="*/ 91 h 240"/>
                  <a:gd name="T12" fmla="*/ 115 w 156"/>
                  <a:gd name="T13" fmla="*/ 78 h 240"/>
                  <a:gd name="T14" fmla="*/ 100 w 156"/>
                  <a:gd name="T15" fmla="*/ 78 h 240"/>
                  <a:gd name="T16" fmla="*/ 89 w 156"/>
                  <a:gd name="T17" fmla="*/ 76 h 240"/>
                  <a:gd name="T18" fmla="*/ 86 w 156"/>
                  <a:gd name="T19" fmla="*/ 64 h 240"/>
                  <a:gd name="T20" fmla="*/ 83 w 156"/>
                  <a:gd name="T21" fmla="*/ 48 h 240"/>
                  <a:gd name="T22" fmla="*/ 80 w 156"/>
                  <a:gd name="T23" fmla="*/ 41 h 240"/>
                  <a:gd name="T24" fmla="*/ 96 w 156"/>
                  <a:gd name="T25" fmla="*/ 13 h 240"/>
                  <a:gd name="T26" fmla="*/ 107 w 156"/>
                  <a:gd name="T27" fmla="*/ 3 h 240"/>
                  <a:gd name="T28" fmla="*/ 96 w 156"/>
                  <a:gd name="T29" fmla="*/ 3 h 240"/>
                  <a:gd name="T30" fmla="*/ 86 w 156"/>
                  <a:gd name="T31" fmla="*/ 10 h 240"/>
                  <a:gd name="T32" fmla="*/ 67 w 156"/>
                  <a:gd name="T33" fmla="*/ 16 h 240"/>
                  <a:gd name="T34" fmla="*/ 62 w 156"/>
                  <a:gd name="T35" fmla="*/ 21 h 240"/>
                  <a:gd name="T36" fmla="*/ 54 w 156"/>
                  <a:gd name="T37" fmla="*/ 24 h 240"/>
                  <a:gd name="T38" fmla="*/ 51 w 156"/>
                  <a:gd name="T39" fmla="*/ 32 h 240"/>
                  <a:gd name="T40" fmla="*/ 48 w 156"/>
                  <a:gd name="T41" fmla="*/ 41 h 240"/>
                  <a:gd name="T42" fmla="*/ 35 w 156"/>
                  <a:gd name="T43" fmla="*/ 53 h 240"/>
                  <a:gd name="T44" fmla="*/ 29 w 156"/>
                  <a:gd name="T45" fmla="*/ 59 h 240"/>
                  <a:gd name="T46" fmla="*/ 24 w 156"/>
                  <a:gd name="T47" fmla="*/ 57 h 240"/>
                  <a:gd name="T48" fmla="*/ 19 w 156"/>
                  <a:gd name="T49" fmla="*/ 67 h 240"/>
                  <a:gd name="T50" fmla="*/ 21 w 156"/>
                  <a:gd name="T51" fmla="*/ 78 h 240"/>
                  <a:gd name="T52" fmla="*/ 23 w 156"/>
                  <a:gd name="T53" fmla="*/ 91 h 240"/>
                  <a:gd name="T54" fmla="*/ 23 w 156"/>
                  <a:gd name="T55" fmla="*/ 103 h 240"/>
                  <a:gd name="T56" fmla="*/ 24 w 156"/>
                  <a:gd name="T57" fmla="*/ 118 h 240"/>
                  <a:gd name="T58" fmla="*/ 24 w 156"/>
                  <a:gd name="T59" fmla="*/ 122 h 240"/>
                  <a:gd name="T60" fmla="*/ 24 w 156"/>
                  <a:gd name="T61" fmla="*/ 126 h 240"/>
                  <a:gd name="T62" fmla="*/ 18 w 156"/>
                  <a:gd name="T63" fmla="*/ 135 h 240"/>
                  <a:gd name="T64" fmla="*/ 13 w 156"/>
                  <a:gd name="T65" fmla="*/ 142 h 240"/>
                  <a:gd name="T66" fmla="*/ 7 w 156"/>
                  <a:gd name="T67" fmla="*/ 149 h 240"/>
                  <a:gd name="T68" fmla="*/ 0 w 156"/>
                  <a:gd name="T69" fmla="*/ 154 h 240"/>
                  <a:gd name="T70" fmla="*/ 16 w 156"/>
                  <a:gd name="T71" fmla="*/ 167 h 240"/>
                  <a:gd name="T72" fmla="*/ 21 w 156"/>
                  <a:gd name="T73" fmla="*/ 173 h 240"/>
                  <a:gd name="T74" fmla="*/ 34 w 156"/>
                  <a:gd name="T75" fmla="*/ 173 h 240"/>
                  <a:gd name="T76" fmla="*/ 45 w 156"/>
                  <a:gd name="T77" fmla="*/ 178 h 240"/>
                  <a:gd name="T78" fmla="*/ 56 w 156"/>
                  <a:gd name="T79" fmla="*/ 184 h 240"/>
                  <a:gd name="T80" fmla="*/ 62 w 156"/>
                  <a:gd name="T81" fmla="*/ 195 h 240"/>
                  <a:gd name="T82" fmla="*/ 70 w 156"/>
                  <a:gd name="T83" fmla="*/ 203 h 240"/>
                  <a:gd name="T84" fmla="*/ 77 w 156"/>
                  <a:gd name="T85" fmla="*/ 213 h 240"/>
                  <a:gd name="T86" fmla="*/ 89 w 156"/>
                  <a:gd name="T87" fmla="*/ 213 h 240"/>
                  <a:gd name="T88" fmla="*/ 100 w 156"/>
                  <a:gd name="T89" fmla="*/ 211 h 240"/>
                  <a:gd name="T90" fmla="*/ 113 w 156"/>
                  <a:gd name="T91" fmla="*/ 222 h 240"/>
                  <a:gd name="T92" fmla="*/ 111 w 156"/>
                  <a:gd name="T93" fmla="*/ 234 h 240"/>
                  <a:gd name="T94" fmla="*/ 119 w 156"/>
                  <a:gd name="T95" fmla="*/ 222 h 240"/>
                  <a:gd name="T96" fmla="*/ 121 w 156"/>
                  <a:gd name="T97" fmla="*/ 189 h 240"/>
                  <a:gd name="T98" fmla="*/ 115 w 156"/>
                  <a:gd name="T99" fmla="*/ 173 h 240"/>
                  <a:gd name="T100" fmla="*/ 124 w 156"/>
                  <a:gd name="T101" fmla="*/ 168 h 240"/>
                  <a:gd name="T102" fmla="*/ 118 w 156"/>
                  <a:gd name="T103" fmla="*/ 164 h 240"/>
                  <a:gd name="T104" fmla="*/ 124 w 156"/>
                  <a:gd name="T105" fmla="*/ 154 h 240"/>
                  <a:gd name="T106" fmla="*/ 138 w 156"/>
                  <a:gd name="T107" fmla="*/ 151 h 240"/>
                  <a:gd name="T108" fmla="*/ 148 w 156"/>
                  <a:gd name="T109" fmla="*/ 148 h 240"/>
                  <a:gd name="T110" fmla="*/ 153 w 156"/>
                  <a:gd name="T111" fmla="*/ 161 h 240"/>
                  <a:gd name="T112" fmla="*/ 153 w 156"/>
                  <a:gd name="T113" fmla="*/ 157 h 240"/>
                  <a:gd name="T114" fmla="*/ 153 w 156"/>
                  <a:gd name="T115" fmla="*/ 15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40">
                    <a:moveTo>
                      <a:pt x="153" y="157"/>
                    </a:moveTo>
                    <a:lnTo>
                      <a:pt x="153" y="154"/>
                    </a:lnTo>
                    <a:lnTo>
                      <a:pt x="153" y="151"/>
                    </a:lnTo>
                    <a:lnTo>
                      <a:pt x="151" y="146"/>
                    </a:lnTo>
                    <a:lnTo>
                      <a:pt x="148" y="140"/>
                    </a:lnTo>
                    <a:lnTo>
                      <a:pt x="145" y="138"/>
                    </a:lnTo>
                    <a:lnTo>
                      <a:pt x="142" y="138"/>
                    </a:lnTo>
                    <a:lnTo>
                      <a:pt x="143" y="137"/>
                    </a:lnTo>
                    <a:lnTo>
                      <a:pt x="145" y="135"/>
                    </a:lnTo>
                    <a:lnTo>
                      <a:pt x="148" y="132"/>
                    </a:lnTo>
                    <a:lnTo>
                      <a:pt x="150" y="132"/>
                    </a:lnTo>
                    <a:lnTo>
                      <a:pt x="150" y="129"/>
                    </a:lnTo>
                    <a:lnTo>
                      <a:pt x="146" y="126"/>
                    </a:lnTo>
                    <a:lnTo>
                      <a:pt x="145" y="119"/>
                    </a:lnTo>
                    <a:lnTo>
                      <a:pt x="143" y="115"/>
                    </a:lnTo>
                    <a:lnTo>
                      <a:pt x="143" y="103"/>
                    </a:lnTo>
                    <a:lnTo>
                      <a:pt x="145" y="102"/>
                    </a:lnTo>
                    <a:lnTo>
                      <a:pt x="146" y="99"/>
                    </a:lnTo>
                    <a:lnTo>
                      <a:pt x="146" y="94"/>
                    </a:lnTo>
                    <a:lnTo>
                      <a:pt x="150" y="91"/>
                    </a:lnTo>
                    <a:lnTo>
                      <a:pt x="150" y="91"/>
                    </a:lnTo>
                    <a:lnTo>
                      <a:pt x="148" y="88"/>
                    </a:lnTo>
                    <a:lnTo>
                      <a:pt x="146" y="88"/>
                    </a:lnTo>
                    <a:lnTo>
                      <a:pt x="142" y="88"/>
                    </a:lnTo>
                    <a:lnTo>
                      <a:pt x="137" y="88"/>
                    </a:lnTo>
                    <a:lnTo>
                      <a:pt x="135" y="91"/>
                    </a:lnTo>
                    <a:lnTo>
                      <a:pt x="130" y="91"/>
                    </a:lnTo>
                    <a:lnTo>
                      <a:pt x="130" y="91"/>
                    </a:lnTo>
                    <a:lnTo>
                      <a:pt x="127" y="91"/>
                    </a:lnTo>
                    <a:lnTo>
                      <a:pt x="124" y="91"/>
                    </a:lnTo>
                    <a:lnTo>
                      <a:pt x="121" y="88"/>
                    </a:lnTo>
                    <a:lnTo>
                      <a:pt x="121" y="86"/>
                    </a:lnTo>
                    <a:lnTo>
                      <a:pt x="118" y="80"/>
                    </a:lnTo>
                    <a:lnTo>
                      <a:pt x="116" y="78"/>
                    </a:lnTo>
                    <a:lnTo>
                      <a:pt x="115" y="78"/>
                    </a:lnTo>
                    <a:lnTo>
                      <a:pt x="111" y="78"/>
                    </a:lnTo>
                    <a:lnTo>
                      <a:pt x="108" y="76"/>
                    </a:lnTo>
                    <a:lnTo>
                      <a:pt x="107" y="76"/>
                    </a:lnTo>
                    <a:lnTo>
                      <a:pt x="103" y="78"/>
                    </a:lnTo>
                    <a:lnTo>
                      <a:pt x="100" y="78"/>
                    </a:lnTo>
                    <a:lnTo>
                      <a:pt x="97" y="78"/>
                    </a:lnTo>
                    <a:lnTo>
                      <a:pt x="96" y="76"/>
                    </a:lnTo>
                    <a:lnTo>
                      <a:pt x="96" y="78"/>
                    </a:lnTo>
                    <a:lnTo>
                      <a:pt x="92" y="78"/>
                    </a:lnTo>
                    <a:lnTo>
                      <a:pt x="89" y="76"/>
                    </a:lnTo>
                    <a:lnTo>
                      <a:pt x="89" y="73"/>
                    </a:lnTo>
                    <a:lnTo>
                      <a:pt x="89" y="73"/>
                    </a:lnTo>
                    <a:lnTo>
                      <a:pt x="86" y="70"/>
                    </a:lnTo>
                    <a:lnTo>
                      <a:pt x="86" y="67"/>
                    </a:lnTo>
                    <a:lnTo>
                      <a:pt x="86" y="64"/>
                    </a:lnTo>
                    <a:lnTo>
                      <a:pt x="89" y="61"/>
                    </a:lnTo>
                    <a:lnTo>
                      <a:pt x="86" y="59"/>
                    </a:lnTo>
                    <a:lnTo>
                      <a:pt x="84" y="54"/>
                    </a:lnTo>
                    <a:lnTo>
                      <a:pt x="84" y="49"/>
                    </a:lnTo>
                    <a:lnTo>
                      <a:pt x="83" y="48"/>
                    </a:lnTo>
                    <a:lnTo>
                      <a:pt x="81" y="46"/>
                    </a:lnTo>
                    <a:lnTo>
                      <a:pt x="81" y="45"/>
                    </a:lnTo>
                    <a:lnTo>
                      <a:pt x="78" y="46"/>
                    </a:lnTo>
                    <a:lnTo>
                      <a:pt x="77" y="46"/>
                    </a:lnTo>
                    <a:lnTo>
                      <a:pt x="80" y="41"/>
                    </a:lnTo>
                    <a:lnTo>
                      <a:pt x="83" y="35"/>
                    </a:lnTo>
                    <a:lnTo>
                      <a:pt x="84" y="27"/>
                    </a:lnTo>
                    <a:lnTo>
                      <a:pt x="86" y="21"/>
                    </a:lnTo>
                    <a:lnTo>
                      <a:pt x="89" y="16"/>
                    </a:lnTo>
                    <a:lnTo>
                      <a:pt x="96" y="13"/>
                    </a:lnTo>
                    <a:lnTo>
                      <a:pt x="96" y="10"/>
                    </a:lnTo>
                    <a:lnTo>
                      <a:pt x="99" y="8"/>
                    </a:lnTo>
                    <a:lnTo>
                      <a:pt x="103" y="7"/>
                    </a:lnTo>
                    <a:lnTo>
                      <a:pt x="107" y="7"/>
                    </a:lnTo>
                    <a:lnTo>
                      <a:pt x="107" y="3"/>
                    </a:lnTo>
                    <a:lnTo>
                      <a:pt x="105" y="0"/>
                    </a:lnTo>
                    <a:lnTo>
                      <a:pt x="102" y="0"/>
                    </a:lnTo>
                    <a:lnTo>
                      <a:pt x="99" y="0"/>
                    </a:lnTo>
                    <a:lnTo>
                      <a:pt x="97" y="3"/>
                    </a:lnTo>
                    <a:lnTo>
                      <a:pt x="96" y="3"/>
                    </a:lnTo>
                    <a:lnTo>
                      <a:pt x="96" y="3"/>
                    </a:lnTo>
                    <a:lnTo>
                      <a:pt x="96" y="3"/>
                    </a:lnTo>
                    <a:lnTo>
                      <a:pt x="96" y="7"/>
                    </a:lnTo>
                    <a:lnTo>
                      <a:pt x="92" y="7"/>
                    </a:lnTo>
                    <a:lnTo>
                      <a:pt x="86" y="10"/>
                    </a:lnTo>
                    <a:lnTo>
                      <a:pt x="81" y="15"/>
                    </a:lnTo>
                    <a:lnTo>
                      <a:pt x="78" y="16"/>
                    </a:lnTo>
                    <a:lnTo>
                      <a:pt x="73" y="16"/>
                    </a:lnTo>
                    <a:lnTo>
                      <a:pt x="69" y="16"/>
                    </a:lnTo>
                    <a:lnTo>
                      <a:pt x="67" y="16"/>
                    </a:lnTo>
                    <a:lnTo>
                      <a:pt x="65" y="19"/>
                    </a:lnTo>
                    <a:lnTo>
                      <a:pt x="64" y="22"/>
                    </a:lnTo>
                    <a:lnTo>
                      <a:pt x="62" y="24"/>
                    </a:lnTo>
                    <a:lnTo>
                      <a:pt x="61" y="22"/>
                    </a:lnTo>
                    <a:lnTo>
                      <a:pt x="62" y="21"/>
                    </a:lnTo>
                    <a:lnTo>
                      <a:pt x="64" y="21"/>
                    </a:lnTo>
                    <a:lnTo>
                      <a:pt x="61" y="19"/>
                    </a:lnTo>
                    <a:lnTo>
                      <a:pt x="59" y="19"/>
                    </a:lnTo>
                    <a:lnTo>
                      <a:pt x="56" y="21"/>
                    </a:lnTo>
                    <a:lnTo>
                      <a:pt x="54" y="24"/>
                    </a:lnTo>
                    <a:lnTo>
                      <a:pt x="53" y="26"/>
                    </a:lnTo>
                    <a:lnTo>
                      <a:pt x="51" y="27"/>
                    </a:lnTo>
                    <a:lnTo>
                      <a:pt x="51" y="29"/>
                    </a:lnTo>
                    <a:lnTo>
                      <a:pt x="51" y="29"/>
                    </a:lnTo>
                    <a:lnTo>
                      <a:pt x="51" y="32"/>
                    </a:lnTo>
                    <a:lnTo>
                      <a:pt x="48" y="32"/>
                    </a:lnTo>
                    <a:lnTo>
                      <a:pt x="51" y="32"/>
                    </a:lnTo>
                    <a:lnTo>
                      <a:pt x="48" y="38"/>
                    </a:lnTo>
                    <a:lnTo>
                      <a:pt x="48" y="41"/>
                    </a:lnTo>
                    <a:lnTo>
                      <a:pt x="48" y="41"/>
                    </a:lnTo>
                    <a:lnTo>
                      <a:pt x="45" y="43"/>
                    </a:lnTo>
                    <a:lnTo>
                      <a:pt x="45" y="43"/>
                    </a:lnTo>
                    <a:lnTo>
                      <a:pt x="42" y="46"/>
                    </a:lnTo>
                    <a:lnTo>
                      <a:pt x="40" y="49"/>
                    </a:lnTo>
                    <a:lnTo>
                      <a:pt x="35" y="53"/>
                    </a:lnTo>
                    <a:lnTo>
                      <a:pt x="32" y="54"/>
                    </a:lnTo>
                    <a:lnTo>
                      <a:pt x="32" y="56"/>
                    </a:lnTo>
                    <a:lnTo>
                      <a:pt x="32" y="62"/>
                    </a:lnTo>
                    <a:lnTo>
                      <a:pt x="30" y="61"/>
                    </a:lnTo>
                    <a:lnTo>
                      <a:pt x="29" y="59"/>
                    </a:lnTo>
                    <a:lnTo>
                      <a:pt x="26" y="54"/>
                    </a:lnTo>
                    <a:lnTo>
                      <a:pt x="26" y="54"/>
                    </a:lnTo>
                    <a:lnTo>
                      <a:pt x="26" y="54"/>
                    </a:lnTo>
                    <a:lnTo>
                      <a:pt x="24" y="56"/>
                    </a:lnTo>
                    <a:lnTo>
                      <a:pt x="24" y="57"/>
                    </a:lnTo>
                    <a:lnTo>
                      <a:pt x="27" y="62"/>
                    </a:lnTo>
                    <a:lnTo>
                      <a:pt x="27" y="64"/>
                    </a:lnTo>
                    <a:lnTo>
                      <a:pt x="26" y="67"/>
                    </a:lnTo>
                    <a:lnTo>
                      <a:pt x="21" y="70"/>
                    </a:lnTo>
                    <a:lnTo>
                      <a:pt x="19" y="67"/>
                    </a:lnTo>
                    <a:lnTo>
                      <a:pt x="19" y="70"/>
                    </a:lnTo>
                    <a:lnTo>
                      <a:pt x="19" y="73"/>
                    </a:lnTo>
                    <a:lnTo>
                      <a:pt x="18" y="73"/>
                    </a:lnTo>
                    <a:lnTo>
                      <a:pt x="18" y="75"/>
                    </a:lnTo>
                    <a:lnTo>
                      <a:pt x="21" y="78"/>
                    </a:lnTo>
                    <a:lnTo>
                      <a:pt x="23" y="83"/>
                    </a:lnTo>
                    <a:lnTo>
                      <a:pt x="24" y="86"/>
                    </a:lnTo>
                    <a:lnTo>
                      <a:pt x="24" y="88"/>
                    </a:lnTo>
                    <a:lnTo>
                      <a:pt x="23" y="88"/>
                    </a:lnTo>
                    <a:lnTo>
                      <a:pt x="23" y="91"/>
                    </a:lnTo>
                    <a:lnTo>
                      <a:pt x="24" y="94"/>
                    </a:lnTo>
                    <a:lnTo>
                      <a:pt x="24" y="97"/>
                    </a:lnTo>
                    <a:lnTo>
                      <a:pt x="23" y="97"/>
                    </a:lnTo>
                    <a:lnTo>
                      <a:pt x="21" y="97"/>
                    </a:lnTo>
                    <a:lnTo>
                      <a:pt x="23" y="103"/>
                    </a:lnTo>
                    <a:lnTo>
                      <a:pt x="24" y="108"/>
                    </a:lnTo>
                    <a:lnTo>
                      <a:pt x="23" y="113"/>
                    </a:lnTo>
                    <a:lnTo>
                      <a:pt x="23" y="116"/>
                    </a:lnTo>
                    <a:lnTo>
                      <a:pt x="23" y="118"/>
                    </a:lnTo>
                    <a:lnTo>
                      <a:pt x="24" y="118"/>
                    </a:lnTo>
                    <a:lnTo>
                      <a:pt x="23" y="119"/>
                    </a:lnTo>
                    <a:lnTo>
                      <a:pt x="21" y="119"/>
                    </a:lnTo>
                    <a:lnTo>
                      <a:pt x="23" y="119"/>
                    </a:lnTo>
                    <a:lnTo>
                      <a:pt x="24" y="119"/>
                    </a:lnTo>
                    <a:lnTo>
                      <a:pt x="24" y="122"/>
                    </a:lnTo>
                    <a:lnTo>
                      <a:pt x="23" y="122"/>
                    </a:lnTo>
                    <a:lnTo>
                      <a:pt x="24" y="122"/>
                    </a:lnTo>
                    <a:lnTo>
                      <a:pt x="26" y="122"/>
                    </a:lnTo>
                    <a:lnTo>
                      <a:pt x="26" y="126"/>
                    </a:lnTo>
                    <a:lnTo>
                      <a:pt x="24" y="126"/>
                    </a:lnTo>
                    <a:lnTo>
                      <a:pt x="26" y="126"/>
                    </a:lnTo>
                    <a:lnTo>
                      <a:pt x="23" y="129"/>
                    </a:lnTo>
                    <a:lnTo>
                      <a:pt x="21" y="132"/>
                    </a:lnTo>
                    <a:lnTo>
                      <a:pt x="19" y="134"/>
                    </a:lnTo>
                    <a:lnTo>
                      <a:pt x="18" y="135"/>
                    </a:lnTo>
                    <a:lnTo>
                      <a:pt x="18" y="137"/>
                    </a:lnTo>
                    <a:lnTo>
                      <a:pt x="16" y="140"/>
                    </a:lnTo>
                    <a:lnTo>
                      <a:pt x="16" y="142"/>
                    </a:lnTo>
                    <a:lnTo>
                      <a:pt x="16" y="142"/>
                    </a:lnTo>
                    <a:lnTo>
                      <a:pt x="13" y="142"/>
                    </a:lnTo>
                    <a:lnTo>
                      <a:pt x="10" y="143"/>
                    </a:lnTo>
                    <a:lnTo>
                      <a:pt x="7" y="145"/>
                    </a:lnTo>
                    <a:lnTo>
                      <a:pt x="7" y="146"/>
                    </a:lnTo>
                    <a:lnTo>
                      <a:pt x="7" y="148"/>
                    </a:lnTo>
                    <a:lnTo>
                      <a:pt x="7" y="149"/>
                    </a:lnTo>
                    <a:lnTo>
                      <a:pt x="7" y="151"/>
                    </a:lnTo>
                    <a:lnTo>
                      <a:pt x="7" y="154"/>
                    </a:lnTo>
                    <a:lnTo>
                      <a:pt x="3" y="153"/>
                    </a:lnTo>
                    <a:lnTo>
                      <a:pt x="2" y="154"/>
                    </a:lnTo>
                    <a:lnTo>
                      <a:pt x="0" y="154"/>
                    </a:lnTo>
                    <a:lnTo>
                      <a:pt x="2" y="154"/>
                    </a:lnTo>
                    <a:lnTo>
                      <a:pt x="5" y="161"/>
                    </a:lnTo>
                    <a:lnTo>
                      <a:pt x="10" y="164"/>
                    </a:lnTo>
                    <a:lnTo>
                      <a:pt x="13" y="165"/>
                    </a:lnTo>
                    <a:lnTo>
                      <a:pt x="16" y="167"/>
                    </a:lnTo>
                    <a:lnTo>
                      <a:pt x="18" y="167"/>
                    </a:lnTo>
                    <a:lnTo>
                      <a:pt x="19" y="168"/>
                    </a:lnTo>
                    <a:lnTo>
                      <a:pt x="21" y="170"/>
                    </a:lnTo>
                    <a:lnTo>
                      <a:pt x="21" y="172"/>
                    </a:lnTo>
                    <a:lnTo>
                      <a:pt x="21" y="173"/>
                    </a:lnTo>
                    <a:lnTo>
                      <a:pt x="24" y="173"/>
                    </a:lnTo>
                    <a:lnTo>
                      <a:pt x="30" y="175"/>
                    </a:lnTo>
                    <a:lnTo>
                      <a:pt x="34" y="175"/>
                    </a:lnTo>
                    <a:lnTo>
                      <a:pt x="35" y="175"/>
                    </a:lnTo>
                    <a:lnTo>
                      <a:pt x="34" y="173"/>
                    </a:lnTo>
                    <a:lnTo>
                      <a:pt x="35" y="173"/>
                    </a:lnTo>
                    <a:lnTo>
                      <a:pt x="37" y="173"/>
                    </a:lnTo>
                    <a:lnTo>
                      <a:pt x="38" y="173"/>
                    </a:lnTo>
                    <a:lnTo>
                      <a:pt x="40" y="176"/>
                    </a:lnTo>
                    <a:lnTo>
                      <a:pt x="45" y="178"/>
                    </a:lnTo>
                    <a:lnTo>
                      <a:pt x="48" y="180"/>
                    </a:lnTo>
                    <a:lnTo>
                      <a:pt x="48" y="180"/>
                    </a:lnTo>
                    <a:lnTo>
                      <a:pt x="51" y="180"/>
                    </a:lnTo>
                    <a:lnTo>
                      <a:pt x="53" y="181"/>
                    </a:lnTo>
                    <a:lnTo>
                      <a:pt x="56" y="184"/>
                    </a:lnTo>
                    <a:lnTo>
                      <a:pt x="59" y="188"/>
                    </a:lnTo>
                    <a:lnTo>
                      <a:pt x="61" y="192"/>
                    </a:lnTo>
                    <a:lnTo>
                      <a:pt x="61" y="192"/>
                    </a:lnTo>
                    <a:lnTo>
                      <a:pt x="61" y="192"/>
                    </a:lnTo>
                    <a:lnTo>
                      <a:pt x="62" y="195"/>
                    </a:lnTo>
                    <a:lnTo>
                      <a:pt x="64" y="195"/>
                    </a:lnTo>
                    <a:lnTo>
                      <a:pt x="67" y="199"/>
                    </a:lnTo>
                    <a:lnTo>
                      <a:pt x="69" y="199"/>
                    </a:lnTo>
                    <a:lnTo>
                      <a:pt x="70" y="200"/>
                    </a:lnTo>
                    <a:lnTo>
                      <a:pt x="70" y="203"/>
                    </a:lnTo>
                    <a:lnTo>
                      <a:pt x="73" y="205"/>
                    </a:lnTo>
                    <a:lnTo>
                      <a:pt x="75" y="207"/>
                    </a:lnTo>
                    <a:lnTo>
                      <a:pt x="75" y="208"/>
                    </a:lnTo>
                    <a:lnTo>
                      <a:pt x="75" y="211"/>
                    </a:lnTo>
                    <a:lnTo>
                      <a:pt x="77" y="213"/>
                    </a:lnTo>
                    <a:lnTo>
                      <a:pt x="78" y="213"/>
                    </a:lnTo>
                    <a:lnTo>
                      <a:pt x="80" y="213"/>
                    </a:lnTo>
                    <a:lnTo>
                      <a:pt x="83" y="213"/>
                    </a:lnTo>
                    <a:lnTo>
                      <a:pt x="86" y="213"/>
                    </a:lnTo>
                    <a:lnTo>
                      <a:pt x="89" y="213"/>
                    </a:lnTo>
                    <a:lnTo>
                      <a:pt x="92" y="211"/>
                    </a:lnTo>
                    <a:lnTo>
                      <a:pt x="92" y="210"/>
                    </a:lnTo>
                    <a:lnTo>
                      <a:pt x="96" y="211"/>
                    </a:lnTo>
                    <a:lnTo>
                      <a:pt x="97" y="213"/>
                    </a:lnTo>
                    <a:lnTo>
                      <a:pt x="100" y="211"/>
                    </a:lnTo>
                    <a:lnTo>
                      <a:pt x="103" y="211"/>
                    </a:lnTo>
                    <a:lnTo>
                      <a:pt x="107" y="213"/>
                    </a:lnTo>
                    <a:lnTo>
                      <a:pt x="111" y="213"/>
                    </a:lnTo>
                    <a:lnTo>
                      <a:pt x="115" y="219"/>
                    </a:lnTo>
                    <a:lnTo>
                      <a:pt x="113" y="222"/>
                    </a:lnTo>
                    <a:lnTo>
                      <a:pt x="110" y="226"/>
                    </a:lnTo>
                    <a:lnTo>
                      <a:pt x="107" y="232"/>
                    </a:lnTo>
                    <a:lnTo>
                      <a:pt x="107" y="234"/>
                    </a:lnTo>
                    <a:lnTo>
                      <a:pt x="108" y="234"/>
                    </a:lnTo>
                    <a:lnTo>
                      <a:pt x="111" y="234"/>
                    </a:lnTo>
                    <a:lnTo>
                      <a:pt x="113" y="234"/>
                    </a:lnTo>
                    <a:lnTo>
                      <a:pt x="116" y="238"/>
                    </a:lnTo>
                    <a:lnTo>
                      <a:pt x="116" y="240"/>
                    </a:lnTo>
                    <a:lnTo>
                      <a:pt x="118" y="235"/>
                    </a:lnTo>
                    <a:lnTo>
                      <a:pt x="119" y="222"/>
                    </a:lnTo>
                    <a:lnTo>
                      <a:pt x="121" y="203"/>
                    </a:lnTo>
                    <a:lnTo>
                      <a:pt x="121" y="199"/>
                    </a:lnTo>
                    <a:lnTo>
                      <a:pt x="121" y="195"/>
                    </a:lnTo>
                    <a:lnTo>
                      <a:pt x="121" y="192"/>
                    </a:lnTo>
                    <a:lnTo>
                      <a:pt x="121" y="189"/>
                    </a:lnTo>
                    <a:lnTo>
                      <a:pt x="119" y="186"/>
                    </a:lnTo>
                    <a:lnTo>
                      <a:pt x="116" y="184"/>
                    </a:lnTo>
                    <a:lnTo>
                      <a:pt x="115" y="180"/>
                    </a:lnTo>
                    <a:lnTo>
                      <a:pt x="115" y="176"/>
                    </a:lnTo>
                    <a:lnTo>
                      <a:pt x="115" y="173"/>
                    </a:lnTo>
                    <a:lnTo>
                      <a:pt x="115" y="170"/>
                    </a:lnTo>
                    <a:lnTo>
                      <a:pt x="119" y="168"/>
                    </a:lnTo>
                    <a:lnTo>
                      <a:pt x="121" y="167"/>
                    </a:lnTo>
                    <a:lnTo>
                      <a:pt x="124" y="168"/>
                    </a:lnTo>
                    <a:lnTo>
                      <a:pt x="124" y="168"/>
                    </a:lnTo>
                    <a:lnTo>
                      <a:pt x="124" y="167"/>
                    </a:lnTo>
                    <a:lnTo>
                      <a:pt x="124" y="164"/>
                    </a:lnTo>
                    <a:lnTo>
                      <a:pt x="121" y="164"/>
                    </a:lnTo>
                    <a:lnTo>
                      <a:pt x="119" y="164"/>
                    </a:lnTo>
                    <a:lnTo>
                      <a:pt x="118" y="164"/>
                    </a:lnTo>
                    <a:lnTo>
                      <a:pt x="116" y="157"/>
                    </a:lnTo>
                    <a:lnTo>
                      <a:pt x="116" y="154"/>
                    </a:lnTo>
                    <a:lnTo>
                      <a:pt x="118" y="154"/>
                    </a:lnTo>
                    <a:lnTo>
                      <a:pt x="121" y="154"/>
                    </a:lnTo>
                    <a:lnTo>
                      <a:pt x="124" y="154"/>
                    </a:lnTo>
                    <a:lnTo>
                      <a:pt x="134" y="154"/>
                    </a:lnTo>
                    <a:lnTo>
                      <a:pt x="135" y="154"/>
                    </a:lnTo>
                    <a:lnTo>
                      <a:pt x="137" y="154"/>
                    </a:lnTo>
                    <a:lnTo>
                      <a:pt x="137" y="151"/>
                    </a:lnTo>
                    <a:lnTo>
                      <a:pt x="138" y="151"/>
                    </a:lnTo>
                    <a:lnTo>
                      <a:pt x="140" y="153"/>
                    </a:lnTo>
                    <a:lnTo>
                      <a:pt x="142" y="154"/>
                    </a:lnTo>
                    <a:lnTo>
                      <a:pt x="143" y="151"/>
                    </a:lnTo>
                    <a:lnTo>
                      <a:pt x="146" y="149"/>
                    </a:lnTo>
                    <a:lnTo>
                      <a:pt x="148" y="148"/>
                    </a:lnTo>
                    <a:lnTo>
                      <a:pt x="150" y="149"/>
                    </a:lnTo>
                    <a:lnTo>
                      <a:pt x="151" y="153"/>
                    </a:lnTo>
                    <a:lnTo>
                      <a:pt x="153" y="154"/>
                    </a:lnTo>
                    <a:lnTo>
                      <a:pt x="153" y="161"/>
                    </a:lnTo>
                    <a:lnTo>
                      <a:pt x="153" y="161"/>
                    </a:lnTo>
                    <a:lnTo>
                      <a:pt x="153" y="161"/>
                    </a:lnTo>
                    <a:lnTo>
                      <a:pt x="156" y="161"/>
                    </a:lnTo>
                    <a:lnTo>
                      <a:pt x="153" y="157"/>
                    </a:lnTo>
                    <a:lnTo>
                      <a:pt x="153" y="157"/>
                    </a:lnTo>
                    <a:lnTo>
                      <a:pt x="153" y="157"/>
                    </a:lnTo>
                    <a:lnTo>
                      <a:pt x="153" y="157"/>
                    </a:lnTo>
                    <a:lnTo>
                      <a:pt x="153" y="157"/>
                    </a:lnTo>
                    <a:lnTo>
                      <a:pt x="153" y="157"/>
                    </a:lnTo>
                    <a:lnTo>
                      <a:pt x="153" y="157"/>
                    </a:lnTo>
                    <a:lnTo>
                      <a:pt x="153" y="157"/>
                    </a:lnTo>
                    <a:lnTo>
                      <a:pt x="153" y="157"/>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52" name="Freeform 42">
                <a:extLst>
                  <a:ext uri="{FF2B5EF4-FFF2-40B4-BE49-F238E27FC236}">
                    <a16:creationId xmlns:a16="http://schemas.microsoft.com/office/drawing/2014/main" id="{825F2FC1-6BED-19DD-53AB-5C4E62846E01}"/>
                  </a:ext>
                </a:extLst>
              </p:cNvPr>
              <p:cNvSpPr>
                <a:spLocks/>
              </p:cNvSpPr>
              <p:nvPr/>
            </p:nvSpPr>
            <p:spPr bwMode="auto">
              <a:xfrm>
                <a:off x="3461052" y="3980247"/>
                <a:ext cx="161502" cy="206363"/>
              </a:xfrm>
              <a:custGeom>
                <a:avLst/>
                <a:gdLst>
                  <a:gd name="T0" fmla="*/ 10 w 72"/>
                  <a:gd name="T1" fmla="*/ 77 h 92"/>
                  <a:gd name="T2" fmla="*/ 8 w 72"/>
                  <a:gd name="T3" fmla="*/ 80 h 92"/>
                  <a:gd name="T4" fmla="*/ 8 w 72"/>
                  <a:gd name="T5" fmla="*/ 83 h 92"/>
                  <a:gd name="T6" fmla="*/ 8 w 72"/>
                  <a:gd name="T7" fmla="*/ 85 h 92"/>
                  <a:gd name="T8" fmla="*/ 10 w 72"/>
                  <a:gd name="T9" fmla="*/ 83 h 92"/>
                  <a:gd name="T10" fmla="*/ 15 w 72"/>
                  <a:gd name="T11" fmla="*/ 86 h 92"/>
                  <a:gd name="T12" fmla="*/ 18 w 72"/>
                  <a:gd name="T13" fmla="*/ 86 h 92"/>
                  <a:gd name="T14" fmla="*/ 21 w 72"/>
                  <a:gd name="T15" fmla="*/ 91 h 92"/>
                  <a:gd name="T16" fmla="*/ 24 w 72"/>
                  <a:gd name="T17" fmla="*/ 92 h 92"/>
                  <a:gd name="T18" fmla="*/ 27 w 72"/>
                  <a:gd name="T19" fmla="*/ 91 h 92"/>
                  <a:gd name="T20" fmla="*/ 32 w 72"/>
                  <a:gd name="T21" fmla="*/ 75 h 92"/>
                  <a:gd name="T22" fmla="*/ 32 w 72"/>
                  <a:gd name="T23" fmla="*/ 72 h 92"/>
                  <a:gd name="T24" fmla="*/ 35 w 72"/>
                  <a:gd name="T25" fmla="*/ 72 h 92"/>
                  <a:gd name="T26" fmla="*/ 35 w 72"/>
                  <a:gd name="T27" fmla="*/ 69 h 92"/>
                  <a:gd name="T28" fmla="*/ 39 w 72"/>
                  <a:gd name="T29" fmla="*/ 65 h 92"/>
                  <a:gd name="T30" fmla="*/ 48 w 72"/>
                  <a:gd name="T31" fmla="*/ 62 h 92"/>
                  <a:gd name="T32" fmla="*/ 61 w 72"/>
                  <a:gd name="T33" fmla="*/ 54 h 92"/>
                  <a:gd name="T34" fmla="*/ 67 w 72"/>
                  <a:gd name="T35" fmla="*/ 42 h 92"/>
                  <a:gd name="T36" fmla="*/ 70 w 72"/>
                  <a:gd name="T37" fmla="*/ 35 h 92"/>
                  <a:gd name="T38" fmla="*/ 72 w 72"/>
                  <a:gd name="T39" fmla="*/ 32 h 92"/>
                  <a:gd name="T40" fmla="*/ 70 w 72"/>
                  <a:gd name="T41" fmla="*/ 27 h 92"/>
                  <a:gd name="T42" fmla="*/ 67 w 72"/>
                  <a:gd name="T43" fmla="*/ 24 h 92"/>
                  <a:gd name="T44" fmla="*/ 70 w 72"/>
                  <a:gd name="T45" fmla="*/ 23 h 92"/>
                  <a:gd name="T46" fmla="*/ 64 w 72"/>
                  <a:gd name="T47" fmla="*/ 19 h 92"/>
                  <a:gd name="T48" fmla="*/ 61 w 72"/>
                  <a:gd name="T49" fmla="*/ 16 h 92"/>
                  <a:gd name="T50" fmla="*/ 58 w 72"/>
                  <a:gd name="T51" fmla="*/ 16 h 92"/>
                  <a:gd name="T52" fmla="*/ 58 w 72"/>
                  <a:gd name="T53" fmla="*/ 18 h 92"/>
                  <a:gd name="T54" fmla="*/ 48 w 72"/>
                  <a:gd name="T55" fmla="*/ 16 h 92"/>
                  <a:gd name="T56" fmla="*/ 45 w 72"/>
                  <a:gd name="T57" fmla="*/ 15 h 92"/>
                  <a:gd name="T58" fmla="*/ 43 w 72"/>
                  <a:gd name="T59" fmla="*/ 11 h 92"/>
                  <a:gd name="T60" fmla="*/ 40 w 72"/>
                  <a:gd name="T61" fmla="*/ 10 h 92"/>
                  <a:gd name="T62" fmla="*/ 32 w 72"/>
                  <a:gd name="T63" fmla="*/ 7 h 92"/>
                  <a:gd name="T64" fmla="*/ 27 w 72"/>
                  <a:gd name="T65" fmla="*/ 0 h 92"/>
                  <a:gd name="T66" fmla="*/ 24 w 72"/>
                  <a:gd name="T67" fmla="*/ 4 h 92"/>
                  <a:gd name="T68" fmla="*/ 20 w 72"/>
                  <a:gd name="T69" fmla="*/ 7 h 92"/>
                  <a:gd name="T70" fmla="*/ 16 w 72"/>
                  <a:gd name="T71" fmla="*/ 8 h 92"/>
                  <a:gd name="T72" fmla="*/ 10 w 72"/>
                  <a:gd name="T73" fmla="*/ 10 h 92"/>
                  <a:gd name="T74" fmla="*/ 12 w 72"/>
                  <a:gd name="T75" fmla="*/ 16 h 92"/>
                  <a:gd name="T76" fmla="*/ 8 w 72"/>
                  <a:gd name="T77" fmla="*/ 26 h 92"/>
                  <a:gd name="T78" fmla="*/ 8 w 72"/>
                  <a:gd name="T79" fmla="*/ 31 h 92"/>
                  <a:gd name="T80" fmla="*/ 7 w 72"/>
                  <a:gd name="T81" fmla="*/ 32 h 92"/>
                  <a:gd name="T82" fmla="*/ 5 w 72"/>
                  <a:gd name="T83" fmla="*/ 35 h 92"/>
                  <a:gd name="T84" fmla="*/ 2 w 72"/>
                  <a:gd name="T85" fmla="*/ 35 h 92"/>
                  <a:gd name="T86" fmla="*/ 2 w 72"/>
                  <a:gd name="T87" fmla="*/ 42 h 92"/>
                  <a:gd name="T88" fmla="*/ 4 w 72"/>
                  <a:gd name="T89" fmla="*/ 48 h 92"/>
                  <a:gd name="T90" fmla="*/ 2 w 72"/>
                  <a:gd name="T91" fmla="*/ 53 h 92"/>
                  <a:gd name="T92" fmla="*/ 2 w 72"/>
                  <a:gd name="T93" fmla="*/ 56 h 92"/>
                  <a:gd name="T94" fmla="*/ 8 w 72"/>
                  <a:gd name="T95" fmla="*/ 62 h 92"/>
                  <a:gd name="T96" fmla="*/ 12 w 72"/>
                  <a:gd name="T97" fmla="*/ 56 h 92"/>
                  <a:gd name="T98" fmla="*/ 12 w 72"/>
                  <a:gd name="T99" fmla="*/ 59 h 92"/>
                  <a:gd name="T100" fmla="*/ 13 w 72"/>
                  <a:gd name="T101" fmla="*/ 56 h 92"/>
                  <a:gd name="T102" fmla="*/ 13 w 72"/>
                  <a:gd name="T103" fmla="*/ 51 h 92"/>
                  <a:gd name="T104" fmla="*/ 13 w 72"/>
                  <a:gd name="T105" fmla="*/ 54 h 92"/>
                  <a:gd name="T106" fmla="*/ 15 w 72"/>
                  <a:gd name="T107" fmla="*/ 59 h 92"/>
                  <a:gd name="T108" fmla="*/ 13 w 72"/>
                  <a:gd name="T109" fmla="*/ 67 h 92"/>
                  <a:gd name="T110" fmla="*/ 8 w 72"/>
                  <a:gd name="T111" fmla="*/ 70 h 92"/>
                  <a:gd name="T112" fmla="*/ 10 w 72"/>
                  <a:gd name="T113" fmla="*/ 73 h 92"/>
                  <a:gd name="T114" fmla="*/ 10 w 72"/>
                  <a:gd name="T115" fmla="*/ 73 h 92"/>
                  <a:gd name="T116" fmla="*/ 10 w 72"/>
                  <a:gd name="T117" fmla="*/ 73 h 92"/>
                  <a:gd name="T118" fmla="*/ 10 w 72"/>
                  <a:gd name="T119" fmla="*/ 73 h 92"/>
                  <a:gd name="T120" fmla="*/ 10 w 72"/>
                  <a:gd name="T121"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 h="92">
                    <a:moveTo>
                      <a:pt x="10" y="73"/>
                    </a:moveTo>
                    <a:lnTo>
                      <a:pt x="10" y="77"/>
                    </a:lnTo>
                    <a:lnTo>
                      <a:pt x="10" y="78"/>
                    </a:lnTo>
                    <a:lnTo>
                      <a:pt x="8" y="80"/>
                    </a:lnTo>
                    <a:lnTo>
                      <a:pt x="8" y="81"/>
                    </a:lnTo>
                    <a:lnTo>
                      <a:pt x="8" y="83"/>
                    </a:lnTo>
                    <a:lnTo>
                      <a:pt x="8" y="86"/>
                    </a:lnTo>
                    <a:lnTo>
                      <a:pt x="8" y="85"/>
                    </a:lnTo>
                    <a:lnTo>
                      <a:pt x="8" y="85"/>
                    </a:lnTo>
                    <a:lnTo>
                      <a:pt x="10" y="83"/>
                    </a:lnTo>
                    <a:lnTo>
                      <a:pt x="12" y="83"/>
                    </a:lnTo>
                    <a:lnTo>
                      <a:pt x="15" y="86"/>
                    </a:lnTo>
                    <a:lnTo>
                      <a:pt x="16" y="86"/>
                    </a:lnTo>
                    <a:lnTo>
                      <a:pt x="18" y="86"/>
                    </a:lnTo>
                    <a:lnTo>
                      <a:pt x="20" y="88"/>
                    </a:lnTo>
                    <a:lnTo>
                      <a:pt x="21" y="91"/>
                    </a:lnTo>
                    <a:lnTo>
                      <a:pt x="23" y="91"/>
                    </a:lnTo>
                    <a:lnTo>
                      <a:pt x="24" y="92"/>
                    </a:lnTo>
                    <a:lnTo>
                      <a:pt x="26" y="91"/>
                    </a:lnTo>
                    <a:lnTo>
                      <a:pt x="27" y="91"/>
                    </a:lnTo>
                    <a:lnTo>
                      <a:pt x="31" y="73"/>
                    </a:lnTo>
                    <a:lnTo>
                      <a:pt x="32" y="75"/>
                    </a:lnTo>
                    <a:lnTo>
                      <a:pt x="32" y="73"/>
                    </a:lnTo>
                    <a:lnTo>
                      <a:pt x="32" y="72"/>
                    </a:lnTo>
                    <a:lnTo>
                      <a:pt x="34" y="70"/>
                    </a:lnTo>
                    <a:lnTo>
                      <a:pt x="35" y="72"/>
                    </a:lnTo>
                    <a:lnTo>
                      <a:pt x="35" y="70"/>
                    </a:lnTo>
                    <a:lnTo>
                      <a:pt x="35" y="69"/>
                    </a:lnTo>
                    <a:lnTo>
                      <a:pt x="37" y="67"/>
                    </a:lnTo>
                    <a:lnTo>
                      <a:pt x="39" y="65"/>
                    </a:lnTo>
                    <a:lnTo>
                      <a:pt x="42" y="62"/>
                    </a:lnTo>
                    <a:lnTo>
                      <a:pt x="48" y="62"/>
                    </a:lnTo>
                    <a:lnTo>
                      <a:pt x="54" y="59"/>
                    </a:lnTo>
                    <a:lnTo>
                      <a:pt x="61" y="54"/>
                    </a:lnTo>
                    <a:lnTo>
                      <a:pt x="64" y="48"/>
                    </a:lnTo>
                    <a:lnTo>
                      <a:pt x="67" y="42"/>
                    </a:lnTo>
                    <a:lnTo>
                      <a:pt x="67" y="42"/>
                    </a:lnTo>
                    <a:lnTo>
                      <a:pt x="70" y="35"/>
                    </a:lnTo>
                    <a:lnTo>
                      <a:pt x="72" y="35"/>
                    </a:lnTo>
                    <a:lnTo>
                      <a:pt x="72" y="32"/>
                    </a:lnTo>
                    <a:lnTo>
                      <a:pt x="70" y="29"/>
                    </a:lnTo>
                    <a:lnTo>
                      <a:pt x="70" y="27"/>
                    </a:lnTo>
                    <a:lnTo>
                      <a:pt x="69" y="26"/>
                    </a:lnTo>
                    <a:lnTo>
                      <a:pt x="67" y="24"/>
                    </a:lnTo>
                    <a:lnTo>
                      <a:pt x="69" y="24"/>
                    </a:lnTo>
                    <a:lnTo>
                      <a:pt x="70" y="23"/>
                    </a:lnTo>
                    <a:lnTo>
                      <a:pt x="67" y="21"/>
                    </a:lnTo>
                    <a:lnTo>
                      <a:pt x="64" y="19"/>
                    </a:lnTo>
                    <a:lnTo>
                      <a:pt x="61" y="16"/>
                    </a:lnTo>
                    <a:lnTo>
                      <a:pt x="61" y="16"/>
                    </a:lnTo>
                    <a:lnTo>
                      <a:pt x="58" y="16"/>
                    </a:lnTo>
                    <a:lnTo>
                      <a:pt x="58" y="16"/>
                    </a:lnTo>
                    <a:lnTo>
                      <a:pt x="58" y="18"/>
                    </a:lnTo>
                    <a:lnTo>
                      <a:pt x="58" y="18"/>
                    </a:lnTo>
                    <a:lnTo>
                      <a:pt x="54" y="18"/>
                    </a:lnTo>
                    <a:lnTo>
                      <a:pt x="48" y="16"/>
                    </a:lnTo>
                    <a:lnTo>
                      <a:pt x="45" y="16"/>
                    </a:lnTo>
                    <a:lnTo>
                      <a:pt x="45" y="15"/>
                    </a:lnTo>
                    <a:lnTo>
                      <a:pt x="45" y="13"/>
                    </a:lnTo>
                    <a:lnTo>
                      <a:pt x="43" y="11"/>
                    </a:lnTo>
                    <a:lnTo>
                      <a:pt x="42" y="10"/>
                    </a:lnTo>
                    <a:lnTo>
                      <a:pt x="40" y="10"/>
                    </a:lnTo>
                    <a:lnTo>
                      <a:pt x="37" y="8"/>
                    </a:lnTo>
                    <a:lnTo>
                      <a:pt x="32" y="7"/>
                    </a:lnTo>
                    <a:lnTo>
                      <a:pt x="29" y="4"/>
                    </a:lnTo>
                    <a:lnTo>
                      <a:pt x="27" y="0"/>
                    </a:lnTo>
                    <a:lnTo>
                      <a:pt x="26" y="7"/>
                    </a:lnTo>
                    <a:lnTo>
                      <a:pt x="24" y="4"/>
                    </a:lnTo>
                    <a:lnTo>
                      <a:pt x="23" y="4"/>
                    </a:lnTo>
                    <a:lnTo>
                      <a:pt x="20" y="7"/>
                    </a:lnTo>
                    <a:lnTo>
                      <a:pt x="18" y="7"/>
                    </a:lnTo>
                    <a:lnTo>
                      <a:pt x="16" y="8"/>
                    </a:lnTo>
                    <a:lnTo>
                      <a:pt x="15" y="8"/>
                    </a:lnTo>
                    <a:lnTo>
                      <a:pt x="10" y="10"/>
                    </a:lnTo>
                    <a:lnTo>
                      <a:pt x="10" y="13"/>
                    </a:lnTo>
                    <a:lnTo>
                      <a:pt x="12" y="16"/>
                    </a:lnTo>
                    <a:lnTo>
                      <a:pt x="10" y="21"/>
                    </a:lnTo>
                    <a:lnTo>
                      <a:pt x="8" y="26"/>
                    </a:lnTo>
                    <a:lnTo>
                      <a:pt x="7" y="29"/>
                    </a:lnTo>
                    <a:lnTo>
                      <a:pt x="8" y="31"/>
                    </a:lnTo>
                    <a:lnTo>
                      <a:pt x="8" y="31"/>
                    </a:lnTo>
                    <a:lnTo>
                      <a:pt x="7" y="32"/>
                    </a:lnTo>
                    <a:lnTo>
                      <a:pt x="7" y="32"/>
                    </a:lnTo>
                    <a:lnTo>
                      <a:pt x="5" y="35"/>
                    </a:lnTo>
                    <a:lnTo>
                      <a:pt x="4" y="35"/>
                    </a:lnTo>
                    <a:lnTo>
                      <a:pt x="2" y="35"/>
                    </a:lnTo>
                    <a:lnTo>
                      <a:pt x="4" y="42"/>
                    </a:lnTo>
                    <a:lnTo>
                      <a:pt x="2" y="42"/>
                    </a:lnTo>
                    <a:lnTo>
                      <a:pt x="2" y="45"/>
                    </a:lnTo>
                    <a:lnTo>
                      <a:pt x="4" y="48"/>
                    </a:lnTo>
                    <a:lnTo>
                      <a:pt x="4" y="51"/>
                    </a:lnTo>
                    <a:lnTo>
                      <a:pt x="2" y="53"/>
                    </a:lnTo>
                    <a:lnTo>
                      <a:pt x="0" y="53"/>
                    </a:lnTo>
                    <a:lnTo>
                      <a:pt x="2" y="56"/>
                    </a:lnTo>
                    <a:lnTo>
                      <a:pt x="4" y="56"/>
                    </a:lnTo>
                    <a:lnTo>
                      <a:pt x="8" y="62"/>
                    </a:lnTo>
                    <a:lnTo>
                      <a:pt x="10" y="56"/>
                    </a:lnTo>
                    <a:lnTo>
                      <a:pt x="12" y="56"/>
                    </a:lnTo>
                    <a:lnTo>
                      <a:pt x="12" y="56"/>
                    </a:lnTo>
                    <a:lnTo>
                      <a:pt x="12" y="59"/>
                    </a:lnTo>
                    <a:lnTo>
                      <a:pt x="13" y="59"/>
                    </a:lnTo>
                    <a:lnTo>
                      <a:pt x="13" y="56"/>
                    </a:lnTo>
                    <a:lnTo>
                      <a:pt x="13" y="54"/>
                    </a:lnTo>
                    <a:lnTo>
                      <a:pt x="13" y="51"/>
                    </a:lnTo>
                    <a:lnTo>
                      <a:pt x="15" y="51"/>
                    </a:lnTo>
                    <a:lnTo>
                      <a:pt x="13" y="54"/>
                    </a:lnTo>
                    <a:lnTo>
                      <a:pt x="15" y="56"/>
                    </a:lnTo>
                    <a:lnTo>
                      <a:pt x="15" y="59"/>
                    </a:lnTo>
                    <a:lnTo>
                      <a:pt x="15" y="62"/>
                    </a:lnTo>
                    <a:lnTo>
                      <a:pt x="13" y="67"/>
                    </a:lnTo>
                    <a:lnTo>
                      <a:pt x="10" y="69"/>
                    </a:lnTo>
                    <a:lnTo>
                      <a:pt x="8" y="70"/>
                    </a:lnTo>
                    <a:lnTo>
                      <a:pt x="8" y="70"/>
                    </a:lnTo>
                    <a:lnTo>
                      <a:pt x="10" y="73"/>
                    </a:lnTo>
                    <a:lnTo>
                      <a:pt x="10" y="73"/>
                    </a:lnTo>
                    <a:lnTo>
                      <a:pt x="10" y="73"/>
                    </a:lnTo>
                    <a:lnTo>
                      <a:pt x="10" y="73"/>
                    </a:lnTo>
                    <a:lnTo>
                      <a:pt x="10" y="73"/>
                    </a:lnTo>
                    <a:lnTo>
                      <a:pt x="10" y="73"/>
                    </a:lnTo>
                    <a:lnTo>
                      <a:pt x="10" y="73"/>
                    </a:lnTo>
                    <a:lnTo>
                      <a:pt x="10" y="73"/>
                    </a:lnTo>
                    <a:lnTo>
                      <a:pt x="10" y="73"/>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53" name="Freeform 44">
                <a:extLst>
                  <a:ext uri="{FF2B5EF4-FFF2-40B4-BE49-F238E27FC236}">
                    <a16:creationId xmlns:a16="http://schemas.microsoft.com/office/drawing/2014/main" id="{BF4D4C73-503D-FC28-E7D1-ABF28993342C}"/>
                  </a:ext>
                </a:extLst>
              </p:cNvPr>
              <p:cNvSpPr>
                <a:spLocks/>
              </p:cNvSpPr>
              <p:nvPr/>
            </p:nvSpPr>
            <p:spPr bwMode="auto">
              <a:xfrm>
                <a:off x="4028549" y="4650926"/>
                <a:ext cx="242252" cy="266925"/>
              </a:xfrm>
              <a:custGeom>
                <a:avLst/>
                <a:gdLst>
                  <a:gd name="T0" fmla="*/ 8 w 108"/>
                  <a:gd name="T1" fmla="*/ 49 h 119"/>
                  <a:gd name="T2" fmla="*/ 11 w 108"/>
                  <a:gd name="T3" fmla="*/ 55 h 119"/>
                  <a:gd name="T4" fmla="*/ 19 w 108"/>
                  <a:gd name="T5" fmla="*/ 60 h 119"/>
                  <a:gd name="T6" fmla="*/ 25 w 108"/>
                  <a:gd name="T7" fmla="*/ 67 h 119"/>
                  <a:gd name="T8" fmla="*/ 32 w 108"/>
                  <a:gd name="T9" fmla="*/ 68 h 119"/>
                  <a:gd name="T10" fmla="*/ 38 w 108"/>
                  <a:gd name="T11" fmla="*/ 70 h 119"/>
                  <a:gd name="T12" fmla="*/ 46 w 108"/>
                  <a:gd name="T13" fmla="*/ 74 h 119"/>
                  <a:gd name="T14" fmla="*/ 57 w 108"/>
                  <a:gd name="T15" fmla="*/ 81 h 119"/>
                  <a:gd name="T16" fmla="*/ 60 w 108"/>
                  <a:gd name="T17" fmla="*/ 84 h 119"/>
                  <a:gd name="T18" fmla="*/ 67 w 108"/>
                  <a:gd name="T19" fmla="*/ 84 h 119"/>
                  <a:gd name="T20" fmla="*/ 70 w 108"/>
                  <a:gd name="T21" fmla="*/ 89 h 119"/>
                  <a:gd name="T22" fmla="*/ 67 w 108"/>
                  <a:gd name="T23" fmla="*/ 95 h 119"/>
                  <a:gd name="T24" fmla="*/ 63 w 108"/>
                  <a:gd name="T25" fmla="*/ 100 h 119"/>
                  <a:gd name="T26" fmla="*/ 63 w 108"/>
                  <a:gd name="T27" fmla="*/ 106 h 119"/>
                  <a:gd name="T28" fmla="*/ 60 w 108"/>
                  <a:gd name="T29" fmla="*/ 113 h 119"/>
                  <a:gd name="T30" fmla="*/ 60 w 108"/>
                  <a:gd name="T31" fmla="*/ 116 h 119"/>
                  <a:gd name="T32" fmla="*/ 67 w 108"/>
                  <a:gd name="T33" fmla="*/ 114 h 119"/>
                  <a:gd name="T34" fmla="*/ 76 w 108"/>
                  <a:gd name="T35" fmla="*/ 117 h 119"/>
                  <a:gd name="T36" fmla="*/ 82 w 108"/>
                  <a:gd name="T37" fmla="*/ 117 h 119"/>
                  <a:gd name="T38" fmla="*/ 86 w 108"/>
                  <a:gd name="T39" fmla="*/ 117 h 119"/>
                  <a:gd name="T40" fmla="*/ 89 w 108"/>
                  <a:gd name="T41" fmla="*/ 117 h 119"/>
                  <a:gd name="T42" fmla="*/ 94 w 108"/>
                  <a:gd name="T43" fmla="*/ 116 h 119"/>
                  <a:gd name="T44" fmla="*/ 95 w 108"/>
                  <a:gd name="T45" fmla="*/ 116 h 119"/>
                  <a:gd name="T46" fmla="*/ 98 w 108"/>
                  <a:gd name="T47" fmla="*/ 111 h 119"/>
                  <a:gd name="T48" fmla="*/ 102 w 108"/>
                  <a:gd name="T49" fmla="*/ 109 h 119"/>
                  <a:gd name="T50" fmla="*/ 105 w 108"/>
                  <a:gd name="T51" fmla="*/ 105 h 119"/>
                  <a:gd name="T52" fmla="*/ 105 w 108"/>
                  <a:gd name="T53" fmla="*/ 100 h 119"/>
                  <a:gd name="T54" fmla="*/ 105 w 108"/>
                  <a:gd name="T55" fmla="*/ 92 h 119"/>
                  <a:gd name="T56" fmla="*/ 105 w 108"/>
                  <a:gd name="T57" fmla="*/ 89 h 119"/>
                  <a:gd name="T58" fmla="*/ 108 w 108"/>
                  <a:gd name="T59" fmla="*/ 78 h 119"/>
                  <a:gd name="T60" fmla="*/ 108 w 108"/>
                  <a:gd name="T61" fmla="*/ 71 h 119"/>
                  <a:gd name="T62" fmla="*/ 105 w 108"/>
                  <a:gd name="T63" fmla="*/ 67 h 119"/>
                  <a:gd name="T64" fmla="*/ 102 w 108"/>
                  <a:gd name="T65" fmla="*/ 67 h 119"/>
                  <a:gd name="T66" fmla="*/ 95 w 108"/>
                  <a:gd name="T67" fmla="*/ 68 h 119"/>
                  <a:gd name="T68" fmla="*/ 90 w 108"/>
                  <a:gd name="T69" fmla="*/ 60 h 119"/>
                  <a:gd name="T70" fmla="*/ 86 w 108"/>
                  <a:gd name="T71" fmla="*/ 49 h 119"/>
                  <a:gd name="T72" fmla="*/ 79 w 108"/>
                  <a:gd name="T73" fmla="*/ 43 h 119"/>
                  <a:gd name="T74" fmla="*/ 75 w 108"/>
                  <a:gd name="T75" fmla="*/ 43 h 119"/>
                  <a:gd name="T76" fmla="*/ 73 w 108"/>
                  <a:gd name="T77" fmla="*/ 46 h 119"/>
                  <a:gd name="T78" fmla="*/ 67 w 108"/>
                  <a:gd name="T79" fmla="*/ 43 h 119"/>
                  <a:gd name="T80" fmla="*/ 60 w 108"/>
                  <a:gd name="T81" fmla="*/ 43 h 119"/>
                  <a:gd name="T82" fmla="*/ 57 w 108"/>
                  <a:gd name="T83" fmla="*/ 38 h 119"/>
                  <a:gd name="T84" fmla="*/ 59 w 108"/>
                  <a:gd name="T85" fmla="*/ 33 h 119"/>
                  <a:gd name="T86" fmla="*/ 57 w 108"/>
                  <a:gd name="T87" fmla="*/ 32 h 119"/>
                  <a:gd name="T88" fmla="*/ 59 w 108"/>
                  <a:gd name="T89" fmla="*/ 25 h 119"/>
                  <a:gd name="T90" fmla="*/ 57 w 108"/>
                  <a:gd name="T91" fmla="*/ 20 h 119"/>
                  <a:gd name="T92" fmla="*/ 54 w 108"/>
                  <a:gd name="T93" fmla="*/ 14 h 119"/>
                  <a:gd name="T94" fmla="*/ 52 w 108"/>
                  <a:gd name="T95" fmla="*/ 11 h 119"/>
                  <a:gd name="T96" fmla="*/ 52 w 108"/>
                  <a:gd name="T97" fmla="*/ 8 h 119"/>
                  <a:gd name="T98" fmla="*/ 46 w 108"/>
                  <a:gd name="T99" fmla="*/ 3 h 119"/>
                  <a:gd name="T100" fmla="*/ 35 w 108"/>
                  <a:gd name="T101" fmla="*/ 0 h 119"/>
                  <a:gd name="T102" fmla="*/ 25 w 108"/>
                  <a:gd name="T103" fmla="*/ 1 h 119"/>
                  <a:gd name="T104" fmla="*/ 8 w 108"/>
                  <a:gd name="T105" fmla="*/ 5 h 119"/>
                  <a:gd name="T106" fmla="*/ 5 w 108"/>
                  <a:gd name="T107" fmla="*/ 14 h 119"/>
                  <a:gd name="T108" fmla="*/ 3 w 108"/>
                  <a:gd name="T109" fmla="*/ 20 h 119"/>
                  <a:gd name="T110" fmla="*/ 0 w 108"/>
                  <a:gd name="T111" fmla="*/ 43 h 119"/>
                  <a:gd name="T112" fmla="*/ 5 w 108"/>
                  <a:gd name="T113" fmla="*/ 46 h 119"/>
                  <a:gd name="T114" fmla="*/ 5 w 108"/>
                  <a:gd name="T115" fmla="*/ 46 h 119"/>
                  <a:gd name="T116" fmla="*/ 5 w 108"/>
                  <a:gd name="T117" fmla="*/ 46 h 119"/>
                  <a:gd name="T118" fmla="*/ 5 w 108"/>
                  <a:gd name="T119" fmla="*/ 46 h 119"/>
                  <a:gd name="T120" fmla="*/ 5 w 108"/>
                  <a:gd name="T121" fmla="*/ 4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 h="119">
                    <a:moveTo>
                      <a:pt x="5" y="46"/>
                    </a:moveTo>
                    <a:lnTo>
                      <a:pt x="8" y="49"/>
                    </a:lnTo>
                    <a:lnTo>
                      <a:pt x="8" y="52"/>
                    </a:lnTo>
                    <a:lnTo>
                      <a:pt x="11" y="55"/>
                    </a:lnTo>
                    <a:lnTo>
                      <a:pt x="14" y="57"/>
                    </a:lnTo>
                    <a:lnTo>
                      <a:pt x="19" y="60"/>
                    </a:lnTo>
                    <a:lnTo>
                      <a:pt x="22" y="65"/>
                    </a:lnTo>
                    <a:lnTo>
                      <a:pt x="25" y="67"/>
                    </a:lnTo>
                    <a:lnTo>
                      <a:pt x="29" y="67"/>
                    </a:lnTo>
                    <a:lnTo>
                      <a:pt x="32" y="68"/>
                    </a:lnTo>
                    <a:lnTo>
                      <a:pt x="35" y="68"/>
                    </a:lnTo>
                    <a:lnTo>
                      <a:pt x="38" y="70"/>
                    </a:lnTo>
                    <a:lnTo>
                      <a:pt x="40" y="71"/>
                    </a:lnTo>
                    <a:lnTo>
                      <a:pt x="46" y="74"/>
                    </a:lnTo>
                    <a:lnTo>
                      <a:pt x="52" y="78"/>
                    </a:lnTo>
                    <a:lnTo>
                      <a:pt x="57" y="81"/>
                    </a:lnTo>
                    <a:lnTo>
                      <a:pt x="59" y="81"/>
                    </a:lnTo>
                    <a:lnTo>
                      <a:pt x="60" y="84"/>
                    </a:lnTo>
                    <a:lnTo>
                      <a:pt x="63" y="84"/>
                    </a:lnTo>
                    <a:lnTo>
                      <a:pt x="67" y="84"/>
                    </a:lnTo>
                    <a:lnTo>
                      <a:pt x="67" y="87"/>
                    </a:lnTo>
                    <a:lnTo>
                      <a:pt x="70" y="89"/>
                    </a:lnTo>
                    <a:lnTo>
                      <a:pt x="67" y="92"/>
                    </a:lnTo>
                    <a:lnTo>
                      <a:pt x="67" y="95"/>
                    </a:lnTo>
                    <a:lnTo>
                      <a:pt x="63" y="98"/>
                    </a:lnTo>
                    <a:lnTo>
                      <a:pt x="63" y="100"/>
                    </a:lnTo>
                    <a:lnTo>
                      <a:pt x="63" y="103"/>
                    </a:lnTo>
                    <a:lnTo>
                      <a:pt x="63" y="106"/>
                    </a:lnTo>
                    <a:lnTo>
                      <a:pt x="62" y="108"/>
                    </a:lnTo>
                    <a:lnTo>
                      <a:pt x="60" y="113"/>
                    </a:lnTo>
                    <a:lnTo>
                      <a:pt x="60" y="114"/>
                    </a:lnTo>
                    <a:lnTo>
                      <a:pt x="60" y="116"/>
                    </a:lnTo>
                    <a:lnTo>
                      <a:pt x="63" y="114"/>
                    </a:lnTo>
                    <a:lnTo>
                      <a:pt x="67" y="114"/>
                    </a:lnTo>
                    <a:lnTo>
                      <a:pt x="73" y="117"/>
                    </a:lnTo>
                    <a:lnTo>
                      <a:pt x="76" y="117"/>
                    </a:lnTo>
                    <a:lnTo>
                      <a:pt x="81" y="117"/>
                    </a:lnTo>
                    <a:lnTo>
                      <a:pt x="82" y="117"/>
                    </a:lnTo>
                    <a:lnTo>
                      <a:pt x="84" y="117"/>
                    </a:lnTo>
                    <a:lnTo>
                      <a:pt x="86" y="117"/>
                    </a:lnTo>
                    <a:lnTo>
                      <a:pt x="89" y="119"/>
                    </a:lnTo>
                    <a:lnTo>
                      <a:pt x="89" y="117"/>
                    </a:lnTo>
                    <a:lnTo>
                      <a:pt x="92" y="116"/>
                    </a:lnTo>
                    <a:lnTo>
                      <a:pt x="94" y="116"/>
                    </a:lnTo>
                    <a:lnTo>
                      <a:pt x="95" y="117"/>
                    </a:lnTo>
                    <a:lnTo>
                      <a:pt x="95" y="116"/>
                    </a:lnTo>
                    <a:lnTo>
                      <a:pt x="98" y="114"/>
                    </a:lnTo>
                    <a:lnTo>
                      <a:pt x="98" y="111"/>
                    </a:lnTo>
                    <a:lnTo>
                      <a:pt x="102" y="109"/>
                    </a:lnTo>
                    <a:lnTo>
                      <a:pt x="102" y="109"/>
                    </a:lnTo>
                    <a:lnTo>
                      <a:pt x="105" y="105"/>
                    </a:lnTo>
                    <a:lnTo>
                      <a:pt x="105" y="105"/>
                    </a:lnTo>
                    <a:lnTo>
                      <a:pt x="105" y="103"/>
                    </a:lnTo>
                    <a:lnTo>
                      <a:pt x="105" y="100"/>
                    </a:lnTo>
                    <a:lnTo>
                      <a:pt x="105" y="94"/>
                    </a:lnTo>
                    <a:lnTo>
                      <a:pt x="105" y="92"/>
                    </a:lnTo>
                    <a:lnTo>
                      <a:pt x="105" y="90"/>
                    </a:lnTo>
                    <a:lnTo>
                      <a:pt x="105" y="89"/>
                    </a:lnTo>
                    <a:lnTo>
                      <a:pt x="108" y="81"/>
                    </a:lnTo>
                    <a:lnTo>
                      <a:pt x="108" y="78"/>
                    </a:lnTo>
                    <a:lnTo>
                      <a:pt x="108" y="74"/>
                    </a:lnTo>
                    <a:lnTo>
                      <a:pt x="108" y="71"/>
                    </a:lnTo>
                    <a:lnTo>
                      <a:pt x="108" y="70"/>
                    </a:lnTo>
                    <a:lnTo>
                      <a:pt x="105" y="67"/>
                    </a:lnTo>
                    <a:lnTo>
                      <a:pt x="102" y="67"/>
                    </a:lnTo>
                    <a:lnTo>
                      <a:pt x="102" y="67"/>
                    </a:lnTo>
                    <a:lnTo>
                      <a:pt x="98" y="68"/>
                    </a:lnTo>
                    <a:lnTo>
                      <a:pt x="95" y="68"/>
                    </a:lnTo>
                    <a:lnTo>
                      <a:pt x="94" y="67"/>
                    </a:lnTo>
                    <a:lnTo>
                      <a:pt x="90" y="60"/>
                    </a:lnTo>
                    <a:lnTo>
                      <a:pt x="89" y="54"/>
                    </a:lnTo>
                    <a:lnTo>
                      <a:pt x="86" y="49"/>
                    </a:lnTo>
                    <a:lnTo>
                      <a:pt x="82" y="43"/>
                    </a:lnTo>
                    <a:lnTo>
                      <a:pt x="79" y="43"/>
                    </a:lnTo>
                    <a:lnTo>
                      <a:pt x="78" y="43"/>
                    </a:lnTo>
                    <a:lnTo>
                      <a:pt x="75" y="43"/>
                    </a:lnTo>
                    <a:lnTo>
                      <a:pt x="73" y="43"/>
                    </a:lnTo>
                    <a:lnTo>
                      <a:pt x="73" y="46"/>
                    </a:lnTo>
                    <a:lnTo>
                      <a:pt x="70" y="43"/>
                    </a:lnTo>
                    <a:lnTo>
                      <a:pt x="67" y="43"/>
                    </a:lnTo>
                    <a:lnTo>
                      <a:pt x="63" y="43"/>
                    </a:lnTo>
                    <a:lnTo>
                      <a:pt x="60" y="43"/>
                    </a:lnTo>
                    <a:lnTo>
                      <a:pt x="57" y="40"/>
                    </a:lnTo>
                    <a:lnTo>
                      <a:pt x="57" y="38"/>
                    </a:lnTo>
                    <a:lnTo>
                      <a:pt x="59" y="36"/>
                    </a:lnTo>
                    <a:lnTo>
                      <a:pt x="59" y="33"/>
                    </a:lnTo>
                    <a:lnTo>
                      <a:pt x="59" y="33"/>
                    </a:lnTo>
                    <a:lnTo>
                      <a:pt x="57" y="32"/>
                    </a:lnTo>
                    <a:lnTo>
                      <a:pt x="59" y="28"/>
                    </a:lnTo>
                    <a:lnTo>
                      <a:pt x="59" y="25"/>
                    </a:lnTo>
                    <a:lnTo>
                      <a:pt x="57" y="22"/>
                    </a:lnTo>
                    <a:lnTo>
                      <a:pt x="57" y="20"/>
                    </a:lnTo>
                    <a:lnTo>
                      <a:pt x="55" y="17"/>
                    </a:lnTo>
                    <a:lnTo>
                      <a:pt x="54" y="14"/>
                    </a:lnTo>
                    <a:lnTo>
                      <a:pt x="52" y="11"/>
                    </a:lnTo>
                    <a:lnTo>
                      <a:pt x="52" y="11"/>
                    </a:lnTo>
                    <a:lnTo>
                      <a:pt x="52" y="11"/>
                    </a:lnTo>
                    <a:lnTo>
                      <a:pt x="52" y="8"/>
                    </a:lnTo>
                    <a:lnTo>
                      <a:pt x="51" y="5"/>
                    </a:lnTo>
                    <a:lnTo>
                      <a:pt x="46" y="3"/>
                    </a:lnTo>
                    <a:lnTo>
                      <a:pt x="40" y="1"/>
                    </a:lnTo>
                    <a:lnTo>
                      <a:pt x="35" y="0"/>
                    </a:lnTo>
                    <a:lnTo>
                      <a:pt x="32" y="0"/>
                    </a:lnTo>
                    <a:lnTo>
                      <a:pt x="25" y="1"/>
                    </a:lnTo>
                    <a:lnTo>
                      <a:pt x="11" y="5"/>
                    </a:lnTo>
                    <a:lnTo>
                      <a:pt x="8" y="5"/>
                    </a:lnTo>
                    <a:lnTo>
                      <a:pt x="5" y="8"/>
                    </a:lnTo>
                    <a:lnTo>
                      <a:pt x="5" y="14"/>
                    </a:lnTo>
                    <a:lnTo>
                      <a:pt x="3" y="16"/>
                    </a:lnTo>
                    <a:lnTo>
                      <a:pt x="3" y="20"/>
                    </a:lnTo>
                    <a:lnTo>
                      <a:pt x="3" y="28"/>
                    </a:lnTo>
                    <a:lnTo>
                      <a:pt x="0" y="43"/>
                    </a:lnTo>
                    <a:lnTo>
                      <a:pt x="3" y="46"/>
                    </a:lnTo>
                    <a:lnTo>
                      <a:pt x="5" y="46"/>
                    </a:lnTo>
                    <a:lnTo>
                      <a:pt x="5" y="46"/>
                    </a:lnTo>
                    <a:lnTo>
                      <a:pt x="5" y="46"/>
                    </a:lnTo>
                    <a:lnTo>
                      <a:pt x="5" y="46"/>
                    </a:lnTo>
                    <a:lnTo>
                      <a:pt x="5" y="46"/>
                    </a:lnTo>
                    <a:lnTo>
                      <a:pt x="5" y="46"/>
                    </a:lnTo>
                    <a:lnTo>
                      <a:pt x="5" y="46"/>
                    </a:lnTo>
                    <a:lnTo>
                      <a:pt x="5" y="46"/>
                    </a:lnTo>
                    <a:lnTo>
                      <a:pt x="5" y="46"/>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54" name="Freeform 46">
                <a:extLst>
                  <a:ext uri="{FF2B5EF4-FFF2-40B4-BE49-F238E27FC236}">
                    <a16:creationId xmlns:a16="http://schemas.microsoft.com/office/drawing/2014/main" id="{4CB03E38-A8EC-DFF0-5730-CE699B29A394}"/>
                  </a:ext>
                </a:extLst>
              </p:cNvPr>
              <p:cNvSpPr>
                <a:spLocks/>
              </p:cNvSpPr>
              <p:nvPr/>
            </p:nvSpPr>
            <p:spPr bwMode="auto">
              <a:xfrm>
                <a:off x="3793026" y="4341382"/>
                <a:ext cx="363377" cy="426184"/>
              </a:xfrm>
              <a:custGeom>
                <a:avLst/>
                <a:gdLst>
                  <a:gd name="T0" fmla="*/ 159 w 162"/>
                  <a:gd name="T1" fmla="*/ 114 h 190"/>
                  <a:gd name="T2" fmla="*/ 156 w 162"/>
                  <a:gd name="T3" fmla="*/ 111 h 190"/>
                  <a:gd name="T4" fmla="*/ 148 w 162"/>
                  <a:gd name="T5" fmla="*/ 101 h 190"/>
                  <a:gd name="T6" fmla="*/ 137 w 162"/>
                  <a:gd name="T7" fmla="*/ 97 h 190"/>
                  <a:gd name="T8" fmla="*/ 127 w 162"/>
                  <a:gd name="T9" fmla="*/ 93 h 190"/>
                  <a:gd name="T10" fmla="*/ 122 w 162"/>
                  <a:gd name="T11" fmla="*/ 82 h 190"/>
                  <a:gd name="T12" fmla="*/ 124 w 162"/>
                  <a:gd name="T13" fmla="*/ 78 h 190"/>
                  <a:gd name="T14" fmla="*/ 121 w 162"/>
                  <a:gd name="T15" fmla="*/ 62 h 190"/>
                  <a:gd name="T16" fmla="*/ 110 w 162"/>
                  <a:gd name="T17" fmla="*/ 55 h 190"/>
                  <a:gd name="T18" fmla="*/ 99 w 162"/>
                  <a:gd name="T19" fmla="*/ 51 h 190"/>
                  <a:gd name="T20" fmla="*/ 92 w 162"/>
                  <a:gd name="T21" fmla="*/ 47 h 190"/>
                  <a:gd name="T22" fmla="*/ 86 w 162"/>
                  <a:gd name="T23" fmla="*/ 44 h 190"/>
                  <a:gd name="T24" fmla="*/ 81 w 162"/>
                  <a:gd name="T25" fmla="*/ 43 h 190"/>
                  <a:gd name="T26" fmla="*/ 76 w 162"/>
                  <a:gd name="T27" fmla="*/ 41 h 190"/>
                  <a:gd name="T28" fmla="*/ 67 w 162"/>
                  <a:gd name="T29" fmla="*/ 36 h 190"/>
                  <a:gd name="T30" fmla="*/ 60 w 162"/>
                  <a:gd name="T31" fmla="*/ 31 h 190"/>
                  <a:gd name="T32" fmla="*/ 57 w 162"/>
                  <a:gd name="T33" fmla="*/ 30 h 190"/>
                  <a:gd name="T34" fmla="*/ 56 w 162"/>
                  <a:gd name="T35" fmla="*/ 17 h 190"/>
                  <a:gd name="T36" fmla="*/ 54 w 162"/>
                  <a:gd name="T37" fmla="*/ 12 h 190"/>
                  <a:gd name="T38" fmla="*/ 54 w 162"/>
                  <a:gd name="T39" fmla="*/ 3 h 190"/>
                  <a:gd name="T40" fmla="*/ 45 w 162"/>
                  <a:gd name="T41" fmla="*/ 3 h 190"/>
                  <a:gd name="T42" fmla="*/ 32 w 162"/>
                  <a:gd name="T43" fmla="*/ 8 h 190"/>
                  <a:gd name="T44" fmla="*/ 27 w 162"/>
                  <a:gd name="T45" fmla="*/ 11 h 190"/>
                  <a:gd name="T46" fmla="*/ 22 w 162"/>
                  <a:gd name="T47" fmla="*/ 14 h 190"/>
                  <a:gd name="T48" fmla="*/ 18 w 162"/>
                  <a:gd name="T49" fmla="*/ 17 h 190"/>
                  <a:gd name="T50" fmla="*/ 11 w 162"/>
                  <a:gd name="T51" fmla="*/ 20 h 190"/>
                  <a:gd name="T52" fmla="*/ 5 w 162"/>
                  <a:gd name="T53" fmla="*/ 17 h 190"/>
                  <a:gd name="T54" fmla="*/ 13 w 162"/>
                  <a:gd name="T55" fmla="*/ 39 h 190"/>
                  <a:gd name="T56" fmla="*/ 11 w 162"/>
                  <a:gd name="T57" fmla="*/ 47 h 190"/>
                  <a:gd name="T58" fmla="*/ 11 w 162"/>
                  <a:gd name="T59" fmla="*/ 58 h 190"/>
                  <a:gd name="T60" fmla="*/ 13 w 162"/>
                  <a:gd name="T61" fmla="*/ 66 h 190"/>
                  <a:gd name="T62" fmla="*/ 10 w 162"/>
                  <a:gd name="T63" fmla="*/ 76 h 190"/>
                  <a:gd name="T64" fmla="*/ 11 w 162"/>
                  <a:gd name="T65" fmla="*/ 82 h 190"/>
                  <a:gd name="T66" fmla="*/ 16 w 162"/>
                  <a:gd name="T67" fmla="*/ 90 h 190"/>
                  <a:gd name="T68" fmla="*/ 19 w 162"/>
                  <a:gd name="T69" fmla="*/ 93 h 190"/>
                  <a:gd name="T70" fmla="*/ 16 w 162"/>
                  <a:gd name="T71" fmla="*/ 97 h 190"/>
                  <a:gd name="T72" fmla="*/ 16 w 162"/>
                  <a:gd name="T73" fmla="*/ 100 h 190"/>
                  <a:gd name="T74" fmla="*/ 8 w 162"/>
                  <a:gd name="T75" fmla="*/ 109 h 190"/>
                  <a:gd name="T76" fmla="*/ 13 w 162"/>
                  <a:gd name="T77" fmla="*/ 117 h 190"/>
                  <a:gd name="T78" fmla="*/ 19 w 162"/>
                  <a:gd name="T79" fmla="*/ 168 h 190"/>
                  <a:gd name="T80" fmla="*/ 41 w 162"/>
                  <a:gd name="T81" fmla="*/ 189 h 190"/>
                  <a:gd name="T82" fmla="*/ 51 w 162"/>
                  <a:gd name="T83" fmla="*/ 184 h 190"/>
                  <a:gd name="T84" fmla="*/ 59 w 162"/>
                  <a:gd name="T85" fmla="*/ 178 h 190"/>
                  <a:gd name="T86" fmla="*/ 64 w 162"/>
                  <a:gd name="T87" fmla="*/ 178 h 190"/>
                  <a:gd name="T88" fmla="*/ 76 w 162"/>
                  <a:gd name="T89" fmla="*/ 178 h 190"/>
                  <a:gd name="T90" fmla="*/ 84 w 162"/>
                  <a:gd name="T91" fmla="*/ 189 h 190"/>
                  <a:gd name="T92" fmla="*/ 89 w 162"/>
                  <a:gd name="T93" fmla="*/ 178 h 190"/>
                  <a:gd name="T94" fmla="*/ 102 w 162"/>
                  <a:gd name="T95" fmla="*/ 178 h 190"/>
                  <a:gd name="T96" fmla="*/ 108 w 162"/>
                  <a:gd name="T97" fmla="*/ 166 h 190"/>
                  <a:gd name="T98" fmla="*/ 108 w 162"/>
                  <a:gd name="T99" fmla="*/ 152 h 190"/>
                  <a:gd name="T100" fmla="*/ 114 w 162"/>
                  <a:gd name="T101" fmla="*/ 143 h 190"/>
                  <a:gd name="T102" fmla="*/ 140 w 162"/>
                  <a:gd name="T103" fmla="*/ 138 h 190"/>
                  <a:gd name="T104" fmla="*/ 156 w 162"/>
                  <a:gd name="T105" fmla="*/ 143 h 190"/>
                  <a:gd name="T106" fmla="*/ 157 w 162"/>
                  <a:gd name="T107" fmla="*/ 149 h 190"/>
                  <a:gd name="T108" fmla="*/ 160 w 162"/>
                  <a:gd name="T109" fmla="*/ 146 h 190"/>
                  <a:gd name="T110" fmla="*/ 160 w 162"/>
                  <a:gd name="T111" fmla="*/ 138 h 190"/>
                  <a:gd name="T112" fmla="*/ 160 w 162"/>
                  <a:gd name="T113" fmla="*/ 13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190">
                    <a:moveTo>
                      <a:pt x="162" y="122"/>
                    </a:moveTo>
                    <a:lnTo>
                      <a:pt x="162" y="122"/>
                    </a:lnTo>
                    <a:lnTo>
                      <a:pt x="160" y="117"/>
                    </a:lnTo>
                    <a:lnTo>
                      <a:pt x="160" y="117"/>
                    </a:lnTo>
                    <a:lnTo>
                      <a:pt x="159" y="114"/>
                    </a:lnTo>
                    <a:lnTo>
                      <a:pt x="159" y="114"/>
                    </a:lnTo>
                    <a:lnTo>
                      <a:pt x="159" y="111"/>
                    </a:lnTo>
                    <a:lnTo>
                      <a:pt x="159" y="111"/>
                    </a:lnTo>
                    <a:lnTo>
                      <a:pt x="157" y="111"/>
                    </a:lnTo>
                    <a:lnTo>
                      <a:pt x="157" y="111"/>
                    </a:lnTo>
                    <a:lnTo>
                      <a:pt x="156" y="111"/>
                    </a:lnTo>
                    <a:lnTo>
                      <a:pt x="156" y="111"/>
                    </a:lnTo>
                    <a:lnTo>
                      <a:pt x="153" y="111"/>
                    </a:lnTo>
                    <a:lnTo>
                      <a:pt x="153" y="111"/>
                    </a:lnTo>
                    <a:lnTo>
                      <a:pt x="149" y="108"/>
                    </a:lnTo>
                    <a:lnTo>
                      <a:pt x="149" y="108"/>
                    </a:lnTo>
                    <a:lnTo>
                      <a:pt x="148" y="101"/>
                    </a:lnTo>
                    <a:lnTo>
                      <a:pt x="148" y="101"/>
                    </a:lnTo>
                    <a:lnTo>
                      <a:pt x="149" y="97"/>
                    </a:lnTo>
                    <a:lnTo>
                      <a:pt x="149" y="97"/>
                    </a:lnTo>
                    <a:lnTo>
                      <a:pt x="143" y="97"/>
                    </a:lnTo>
                    <a:lnTo>
                      <a:pt x="143" y="97"/>
                    </a:lnTo>
                    <a:lnTo>
                      <a:pt x="137" y="97"/>
                    </a:lnTo>
                    <a:lnTo>
                      <a:pt x="137" y="97"/>
                    </a:lnTo>
                    <a:lnTo>
                      <a:pt x="132" y="97"/>
                    </a:lnTo>
                    <a:lnTo>
                      <a:pt x="132" y="97"/>
                    </a:lnTo>
                    <a:lnTo>
                      <a:pt x="130" y="97"/>
                    </a:lnTo>
                    <a:lnTo>
                      <a:pt x="130" y="97"/>
                    </a:lnTo>
                    <a:lnTo>
                      <a:pt x="127" y="93"/>
                    </a:lnTo>
                    <a:lnTo>
                      <a:pt x="127" y="93"/>
                    </a:lnTo>
                    <a:lnTo>
                      <a:pt x="126" y="90"/>
                    </a:lnTo>
                    <a:lnTo>
                      <a:pt x="126" y="90"/>
                    </a:lnTo>
                    <a:lnTo>
                      <a:pt x="126" y="87"/>
                    </a:lnTo>
                    <a:lnTo>
                      <a:pt x="126" y="87"/>
                    </a:lnTo>
                    <a:lnTo>
                      <a:pt x="122" y="82"/>
                    </a:lnTo>
                    <a:lnTo>
                      <a:pt x="122" y="82"/>
                    </a:lnTo>
                    <a:lnTo>
                      <a:pt x="122" y="81"/>
                    </a:lnTo>
                    <a:lnTo>
                      <a:pt x="122" y="81"/>
                    </a:lnTo>
                    <a:lnTo>
                      <a:pt x="121" y="78"/>
                    </a:lnTo>
                    <a:lnTo>
                      <a:pt x="121" y="78"/>
                    </a:lnTo>
                    <a:lnTo>
                      <a:pt x="124" y="78"/>
                    </a:lnTo>
                    <a:lnTo>
                      <a:pt x="124" y="78"/>
                    </a:lnTo>
                    <a:lnTo>
                      <a:pt x="121" y="66"/>
                    </a:lnTo>
                    <a:lnTo>
                      <a:pt x="121" y="66"/>
                    </a:lnTo>
                    <a:lnTo>
                      <a:pt x="121" y="63"/>
                    </a:lnTo>
                    <a:lnTo>
                      <a:pt x="121" y="63"/>
                    </a:lnTo>
                    <a:lnTo>
                      <a:pt x="121" y="62"/>
                    </a:lnTo>
                    <a:lnTo>
                      <a:pt x="121" y="62"/>
                    </a:lnTo>
                    <a:lnTo>
                      <a:pt x="119" y="58"/>
                    </a:lnTo>
                    <a:lnTo>
                      <a:pt x="119" y="58"/>
                    </a:lnTo>
                    <a:lnTo>
                      <a:pt x="113" y="55"/>
                    </a:lnTo>
                    <a:lnTo>
                      <a:pt x="113" y="55"/>
                    </a:lnTo>
                    <a:lnTo>
                      <a:pt x="110" y="55"/>
                    </a:lnTo>
                    <a:lnTo>
                      <a:pt x="110" y="55"/>
                    </a:lnTo>
                    <a:lnTo>
                      <a:pt x="102" y="55"/>
                    </a:lnTo>
                    <a:lnTo>
                      <a:pt x="102" y="55"/>
                    </a:lnTo>
                    <a:lnTo>
                      <a:pt x="99" y="52"/>
                    </a:lnTo>
                    <a:lnTo>
                      <a:pt x="99" y="52"/>
                    </a:lnTo>
                    <a:lnTo>
                      <a:pt x="99" y="51"/>
                    </a:lnTo>
                    <a:lnTo>
                      <a:pt x="99" y="51"/>
                    </a:lnTo>
                    <a:lnTo>
                      <a:pt x="97" y="51"/>
                    </a:lnTo>
                    <a:lnTo>
                      <a:pt x="97" y="51"/>
                    </a:lnTo>
                    <a:lnTo>
                      <a:pt x="95" y="51"/>
                    </a:lnTo>
                    <a:lnTo>
                      <a:pt x="95" y="51"/>
                    </a:lnTo>
                    <a:lnTo>
                      <a:pt x="92" y="47"/>
                    </a:lnTo>
                    <a:lnTo>
                      <a:pt x="92" y="47"/>
                    </a:lnTo>
                    <a:lnTo>
                      <a:pt x="89" y="47"/>
                    </a:lnTo>
                    <a:lnTo>
                      <a:pt x="89" y="47"/>
                    </a:lnTo>
                    <a:lnTo>
                      <a:pt x="87" y="46"/>
                    </a:lnTo>
                    <a:lnTo>
                      <a:pt x="87" y="46"/>
                    </a:lnTo>
                    <a:lnTo>
                      <a:pt x="86" y="44"/>
                    </a:lnTo>
                    <a:lnTo>
                      <a:pt x="86" y="44"/>
                    </a:lnTo>
                    <a:lnTo>
                      <a:pt x="84" y="43"/>
                    </a:lnTo>
                    <a:lnTo>
                      <a:pt x="84" y="43"/>
                    </a:lnTo>
                    <a:lnTo>
                      <a:pt x="83" y="43"/>
                    </a:lnTo>
                    <a:lnTo>
                      <a:pt x="83" y="43"/>
                    </a:lnTo>
                    <a:lnTo>
                      <a:pt x="81" y="43"/>
                    </a:lnTo>
                    <a:lnTo>
                      <a:pt x="81" y="43"/>
                    </a:lnTo>
                    <a:lnTo>
                      <a:pt x="80" y="41"/>
                    </a:lnTo>
                    <a:lnTo>
                      <a:pt x="80" y="41"/>
                    </a:lnTo>
                    <a:lnTo>
                      <a:pt x="78" y="39"/>
                    </a:lnTo>
                    <a:lnTo>
                      <a:pt x="78" y="39"/>
                    </a:lnTo>
                    <a:lnTo>
                      <a:pt x="76" y="41"/>
                    </a:lnTo>
                    <a:lnTo>
                      <a:pt x="76" y="41"/>
                    </a:lnTo>
                    <a:lnTo>
                      <a:pt x="73" y="41"/>
                    </a:lnTo>
                    <a:lnTo>
                      <a:pt x="73" y="41"/>
                    </a:lnTo>
                    <a:lnTo>
                      <a:pt x="70" y="39"/>
                    </a:lnTo>
                    <a:lnTo>
                      <a:pt x="70" y="39"/>
                    </a:lnTo>
                    <a:lnTo>
                      <a:pt x="67" y="36"/>
                    </a:lnTo>
                    <a:lnTo>
                      <a:pt x="67" y="36"/>
                    </a:lnTo>
                    <a:lnTo>
                      <a:pt x="64" y="35"/>
                    </a:lnTo>
                    <a:lnTo>
                      <a:pt x="64" y="35"/>
                    </a:lnTo>
                    <a:lnTo>
                      <a:pt x="62" y="33"/>
                    </a:lnTo>
                    <a:lnTo>
                      <a:pt x="62" y="33"/>
                    </a:lnTo>
                    <a:lnTo>
                      <a:pt x="60" y="31"/>
                    </a:lnTo>
                    <a:lnTo>
                      <a:pt x="60" y="31"/>
                    </a:lnTo>
                    <a:lnTo>
                      <a:pt x="60" y="30"/>
                    </a:lnTo>
                    <a:lnTo>
                      <a:pt x="60" y="30"/>
                    </a:lnTo>
                    <a:lnTo>
                      <a:pt x="59" y="30"/>
                    </a:lnTo>
                    <a:lnTo>
                      <a:pt x="59" y="30"/>
                    </a:lnTo>
                    <a:lnTo>
                      <a:pt x="57" y="30"/>
                    </a:lnTo>
                    <a:lnTo>
                      <a:pt x="57" y="30"/>
                    </a:lnTo>
                    <a:lnTo>
                      <a:pt x="56" y="27"/>
                    </a:lnTo>
                    <a:lnTo>
                      <a:pt x="56" y="27"/>
                    </a:lnTo>
                    <a:lnTo>
                      <a:pt x="54" y="20"/>
                    </a:lnTo>
                    <a:lnTo>
                      <a:pt x="54" y="20"/>
                    </a:lnTo>
                    <a:lnTo>
                      <a:pt x="56" y="17"/>
                    </a:lnTo>
                    <a:lnTo>
                      <a:pt x="56" y="17"/>
                    </a:lnTo>
                    <a:lnTo>
                      <a:pt x="56" y="17"/>
                    </a:lnTo>
                    <a:lnTo>
                      <a:pt x="56" y="17"/>
                    </a:lnTo>
                    <a:lnTo>
                      <a:pt x="54" y="16"/>
                    </a:lnTo>
                    <a:lnTo>
                      <a:pt x="54" y="16"/>
                    </a:lnTo>
                    <a:lnTo>
                      <a:pt x="54" y="12"/>
                    </a:lnTo>
                    <a:lnTo>
                      <a:pt x="54" y="12"/>
                    </a:lnTo>
                    <a:lnTo>
                      <a:pt x="54" y="8"/>
                    </a:lnTo>
                    <a:lnTo>
                      <a:pt x="54" y="8"/>
                    </a:lnTo>
                    <a:lnTo>
                      <a:pt x="56" y="3"/>
                    </a:lnTo>
                    <a:lnTo>
                      <a:pt x="56" y="3"/>
                    </a:lnTo>
                    <a:lnTo>
                      <a:pt x="54" y="3"/>
                    </a:lnTo>
                    <a:lnTo>
                      <a:pt x="54" y="3"/>
                    </a:lnTo>
                    <a:lnTo>
                      <a:pt x="53" y="0"/>
                    </a:lnTo>
                    <a:lnTo>
                      <a:pt x="53" y="0"/>
                    </a:lnTo>
                    <a:lnTo>
                      <a:pt x="51" y="3"/>
                    </a:lnTo>
                    <a:lnTo>
                      <a:pt x="51" y="3"/>
                    </a:lnTo>
                    <a:lnTo>
                      <a:pt x="45" y="3"/>
                    </a:lnTo>
                    <a:lnTo>
                      <a:pt x="45" y="3"/>
                    </a:lnTo>
                    <a:lnTo>
                      <a:pt x="41" y="3"/>
                    </a:lnTo>
                    <a:lnTo>
                      <a:pt x="41" y="3"/>
                    </a:lnTo>
                    <a:lnTo>
                      <a:pt x="35" y="6"/>
                    </a:lnTo>
                    <a:lnTo>
                      <a:pt x="35" y="6"/>
                    </a:lnTo>
                    <a:lnTo>
                      <a:pt x="32" y="8"/>
                    </a:lnTo>
                    <a:lnTo>
                      <a:pt x="32" y="8"/>
                    </a:lnTo>
                    <a:lnTo>
                      <a:pt x="32" y="9"/>
                    </a:lnTo>
                    <a:lnTo>
                      <a:pt x="32" y="9"/>
                    </a:lnTo>
                    <a:lnTo>
                      <a:pt x="29" y="9"/>
                    </a:lnTo>
                    <a:lnTo>
                      <a:pt x="29" y="9"/>
                    </a:lnTo>
                    <a:lnTo>
                      <a:pt x="27" y="11"/>
                    </a:lnTo>
                    <a:lnTo>
                      <a:pt x="27" y="11"/>
                    </a:lnTo>
                    <a:lnTo>
                      <a:pt x="26" y="12"/>
                    </a:lnTo>
                    <a:lnTo>
                      <a:pt x="26" y="12"/>
                    </a:lnTo>
                    <a:lnTo>
                      <a:pt x="24" y="14"/>
                    </a:lnTo>
                    <a:lnTo>
                      <a:pt x="24" y="14"/>
                    </a:lnTo>
                    <a:lnTo>
                      <a:pt x="24" y="14"/>
                    </a:lnTo>
                    <a:lnTo>
                      <a:pt x="22" y="14"/>
                    </a:lnTo>
                    <a:lnTo>
                      <a:pt x="22" y="14"/>
                    </a:lnTo>
                    <a:lnTo>
                      <a:pt x="21" y="16"/>
                    </a:lnTo>
                    <a:lnTo>
                      <a:pt x="21" y="16"/>
                    </a:lnTo>
                    <a:lnTo>
                      <a:pt x="19" y="17"/>
                    </a:lnTo>
                    <a:lnTo>
                      <a:pt x="19" y="17"/>
                    </a:lnTo>
                    <a:lnTo>
                      <a:pt x="18" y="17"/>
                    </a:lnTo>
                    <a:lnTo>
                      <a:pt x="18" y="17"/>
                    </a:lnTo>
                    <a:lnTo>
                      <a:pt x="14" y="20"/>
                    </a:lnTo>
                    <a:lnTo>
                      <a:pt x="14" y="20"/>
                    </a:lnTo>
                    <a:lnTo>
                      <a:pt x="13" y="20"/>
                    </a:lnTo>
                    <a:lnTo>
                      <a:pt x="13" y="20"/>
                    </a:lnTo>
                    <a:lnTo>
                      <a:pt x="11" y="20"/>
                    </a:lnTo>
                    <a:lnTo>
                      <a:pt x="11" y="20"/>
                    </a:lnTo>
                    <a:lnTo>
                      <a:pt x="11" y="17"/>
                    </a:lnTo>
                    <a:lnTo>
                      <a:pt x="11" y="17"/>
                    </a:lnTo>
                    <a:lnTo>
                      <a:pt x="8" y="17"/>
                    </a:lnTo>
                    <a:lnTo>
                      <a:pt x="8" y="17"/>
                    </a:lnTo>
                    <a:lnTo>
                      <a:pt x="5" y="17"/>
                    </a:lnTo>
                    <a:lnTo>
                      <a:pt x="5" y="17"/>
                    </a:lnTo>
                    <a:lnTo>
                      <a:pt x="3" y="17"/>
                    </a:lnTo>
                    <a:lnTo>
                      <a:pt x="3" y="17"/>
                    </a:lnTo>
                    <a:lnTo>
                      <a:pt x="0" y="17"/>
                    </a:lnTo>
                    <a:lnTo>
                      <a:pt x="0" y="17"/>
                    </a:lnTo>
                    <a:lnTo>
                      <a:pt x="13" y="39"/>
                    </a:lnTo>
                    <a:lnTo>
                      <a:pt x="13" y="39"/>
                    </a:lnTo>
                    <a:lnTo>
                      <a:pt x="14" y="43"/>
                    </a:lnTo>
                    <a:lnTo>
                      <a:pt x="14" y="43"/>
                    </a:lnTo>
                    <a:lnTo>
                      <a:pt x="11" y="44"/>
                    </a:lnTo>
                    <a:lnTo>
                      <a:pt x="11" y="44"/>
                    </a:lnTo>
                    <a:lnTo>
                      <a:pt x="11" y="47"/>
                    </a:lnTo>
                    <a:lnTo>
                      <a:pt x="11" y="47"/>
                    </a:lnTo>
                    <a:lnTo>
                      <a:pt x="11" y="49"/>
                    </a:lnTo>
                    <a:lnTo>
                      <a:pt x="11" y="49"/>
                    </a:lnTo>
                    <a:lnTo>
                      <a:pt x="11" y="52"/>
                    </a:lnTo>
                    <a:lnTo>
                      <a:pt x="11" y="52"/>
                    </a:lnTo>
                    <a:lnTo>
                      <a:pt x="11" y="58"/>
                    </a:lnTo>
                    <a:lnTo>
                      <a:pt x="11" y="58"/>
                    </a:lnTo>
                    <a:lnTo>
                      <a:pt x="13" y="62"/>
                    </a:lnTo>
                    <a:lnTo>
                      <a:pt x="13" y="62"/>
                    </a:lnTo>
                    <a:lnTo>
                      <a:pt x="13" y="63"/>
                    </a:lnTo>
                    <a:lnTo>
                      <a:pt x="13" y="63"/>
                    </a:lnTo>
                    <a:lnTo>
                      <a:pt x="13" y="66"/>
                    </a:lnTo>
                    <a:lnTo>
                      <a:pt x="13" y="66"/>
                    </a:lnTo>
                    <a:lnTo>
                      <a:pt x="10" y="73"/>
                    </a:lnTo>
                    <a:lnTo>
                      <a:pt x="10" y="73"/>
                    </a:lnTo>
                    <a:lnTo>
                      <a:pt x="8" y="74"/>
                    </a:lnTo>
                    <a:lnTo>
                      <a:pt x="8" y="74"/>
                    </a:lnTo>
                    <a:lnTo>
                      <a:pt x="10" y="76"/>
                    </a:lnTo>
                    <a:lnTo>
                      <a:pt x="10" y="76"/>
                    </a:lnTo>
                    <a:lnTo>
                      <a:pt x="11" y="79"/>
                    </a:lnTo>
                    <a:lnTo>
                      <a:pt x="11" y="79"/>
                    </a:lnTo>
                    <a:lnTo>
                      <a:pt x="11" y="81"/>
                    </a:lnTo>
                    <a:lnTo>
                      <a:pt x="11" y="81"/>
                    </a:lnTo>
                    <a:lnTo>
                      <a:pt x="11" y="82"/>
                    </a:lnTo>
                    <a:lnTo>
                      <a:pt x="11" y="82"/>
                    </a:lnTo>
                    <a:lnTo>
                      <a:pt x="10" y="85"/>
                    </a:lnTo>
                    <a:lnTo>
                      <a:pt x="10" y="85"/>
                    </a:lnTo>
                    <a:lnTo>
                      <a:pt x="14" y="87"/>
                    </a:lnTo>
                    <a:lnTo>
                      <a:pt x="14" y="87"/>
                    </a:lnTo>
                    <a:lnTo>
                      <a:pt x="16" y="90"/>
                    </a:lnTo>
                    <a:lnTo>
                      <a:pt x="16" y="90"/>
                    </a:lnTo>
                    <a:lnTo>
                      <a:pt x="16" y="93"/>
                    </a:lnTo>
                    <a:lnTo>
                      <a:pt x="16" y="93"/>
                    </a:lnTo>
                    <a:lnTo>
                      <a:pt x="18" y="93"/>
                    </a:lnTo>
                    <a:lnTo>
                      <a:pt x="18" y="93"/>
                    </a:lnTo>
                    <a:lnTo>
                      <a:pt x="19" y="93"/>
                    </a:lnTo>
                    <a:lnTo>
                      <a:pt x="19" y="93"/>
                    </a:lnTo>
                    <a:lnTo>
                      <a:pt x="21" y="97"/>
                    </a:lnTo>
                    <a:lnTo>
                      <a:pt x="21" y="97"/>
                    </a:lnTo>
                    <a:lnTo>
                      <a:pt x="19" y="97"/>
                    </a:lnTo>
                    <a:lnTo>
                      <a:pt x="19" y="97"/>
                    </a:lnTo>
                    <a:lnTo>
                      <a:pt x="16" y="97"/>
                    </a:lnTo>
                    <a:lnTo>
                      <a:pt x="16" y="97"/>
                    </a:lnTo>
                    <a:lnTo>
                      <a:pt x="18" y="98"/>
                    </a:lnTo>
                    <a:lnTo>
                      <a:pt x="18" y="98"/>
                    </a:lnTo>
                    <a:lnTo>
                      <a:pt x="16" y="98"/>
                    </a:lnTo>
                    <a:lnTo>
                      <a:pt x="16" y="98"/>
                    </a:lnTo>
                    <a:lnTo>
                      <a:pt x="16" y="100"/>
                    </a:lnTo>
                    <a:lnTo>
                      <a:pt x="16" y="100"/>
                    </a:lnTo>
                    <a:lnTo>
                      <a:pt x="13" y="103"/>
                    </a:lnTo>
                    <a:lnTo>
                      <a:pt x="13" y="103"/>
                    </a:lnTo>
                    <a:lnTo>
                      <a:pt x="10" y="108"/>
                    </a:lnTo>
                    <a:lnTo>
                      <a:pt x="10" y="108"/>
                    </a:lnTo>
                    <a:lnTo>
                      <a:pt x="8" y="109"/>
                    </a:lnTo>
                    <a:lnTo>
                      <a:pt x="8" y="109"/>
                    </a:lnTo>
                    <a:lnTo>
                      <a:pt x="10" y="111"/>
                    </a:lnTo>
                    <a:lnTo>
                      <a:pt x="10" y="111"/>
                    </a:lnTo>
                    <a:lnTo>
                      <a:pt x="11" y="114"/>
                    </a:lnTo>
                    <a:lnTo>
                      <a:pt x="11" y="114"/>
                    </a:lnTo>
                    <a:lnTo>
                      <a:pt x="13" y="117"/>
                    </a:lnTo>
                    <a:lnTo>
                      <a:pt x="13" y="117"/>
                    </a:lnTo>
                    <a:lnTo>
                      <a:pt x="10" y="119"/>
                    </a:lnTo>
                    <a:lnTo>
                      <a:pt x="10" y="119"/>
                    </a:lnTo>
                    <a:lnTo>
                      <a:pt x="14" y="143"/>
                    </a:lnTo>
                    <a:lnTo>
                      <a:pt x="19" y="168"/>
                    </a:lnTo>
                    <a:lnTo>
                      <a:pt x="19" y="168"/>
                    </a:lnTo>
                    <a:lnTo>
                      <a:pt x="24" y="171"/>
                    </a:lnTo>
                    <a:lnTo>
                      <a:pt x="38" y="178"/>
                    </a:lnTo>
                    <a:lnTo>
                      <a:pt x="38" y="178"/>
                    </a:lnTo>
                    <a:lnTo>
                      <a:pt x="38" y="181"/>
                    </a:lnTo>
                    <a:lnTo>
                      <a:pt x="38" y="181"/>
                    </a:lnTo>
                    <a:lnTo>
                      <a:pt x="41" y="189"/>
                    </a:lnTo>
                    <a:lnTo>
                      <a:pt x="41" y="189"/>
                    </a:lnTo>
                    <a:lnTo>
                      <a:pt x="45" y="190"/>
                    </a:lnTo>
                    <a:lnTo>
                      <a:pt x="45" y="190"/>
                    </a:lnTo>
                    <a:lnTo>
                      <a:pt x="48" y="189"/>
                    </a:lnTo>
                    <a:lnTo>
                      <a:pt x="48" y="189"/>
                    </a:lnTo>
                    <a:lnTo>
                      <a:pt x="51" y="184"/>
                    </a:lnTo>
                    <a:lnTo>
                      <a:pt x="51" y="184"/>
                    </a:lnTo>
                    <a:lnTo>
                      <a:pt x="53" y="181"/>
                    </a:lnTo>
                    <a:lnTo>
                      <a:pt x="53" y="181"/>
                    </a:lnTo>
                    <a:lnTo>
                      <a:pt x="56" y="181"/>
                    </a:lnTo>
                    <a:lnTo>
                      <a:pt x="56" y="181"/>
                    </a:lnTo>
                    <a:lnTo>
                      <a:pt x="59" y="178"/>
                    </a:lnTo>
                    <a:lnTo>
                      <a:pt x="59" y="178"/>
                    </a:lnTo>
                    <a:lnTo>
                      <a:pt x="59" y="174"/>
                    </a:lnTo>
                    <a:lnTo>
                      <a:pt x="59" y="174"/>
                    </a:lnTo>
                    <a:lnTo>
                      <a:pt x="64" y="176"/>
                    </a:lnTo>
                    <a:lnTo>
                      <a:pt x="64" y="176"/>
                    </a:lnTo>
                    <a:lnTo>
                      <a:pt x="64" y="178"/>
                    </a:lnTo>
                    <a:lnTo>
                      <a:pt x="64" y="178"/>
                    </a:lnTo>
                    <a:lnTo>
                      <a:pt x="67" y="178"/>
                    </a:lnTo>
                    <a:lnTo>
                      <a:pt x="67" y="178"/>
                    </a:lnTo>
                    <a:lnTo>
                      <a:pt x="70" y="178"/>
                    </a:lnTo>
                    <a:lnTo>
                      <a:pt x="70" y="178"/>
                    </a:lnTo>
                    <a:lnTo>
                      <a:pt x="76" y="178"/>
                    </a:lnTo>
                    <a:lnTo>
                      <a:pt x="76" y="178"/>
                    </a:lnTo>
                    <a:lnTo>
                      <a:pt x="78" y="181"/>
                    </a:lnTo>
                    <a:lnTo>
                      <a:pt x="78" y="181"/>
                    </a:lnTo>
                    <a:lnTo>
                      <a:pt x="81" y="184"/>
                    </a:lnTo>
                    <a:lnTo>
                      <a:pt x="81" y="184"/>
                    </a:lnTo>
                    <a:lnTo>
                      <a:pt x="84" y="189"/>
                    </a:lnTo>
                    <a:lnTo>
                      <a:pt x="84" y="189"/>
                    </a:lnTo>
                    <a:lnTo>
                      <a:pt x="86" y="184"/>
                    </a:lnTo>
                    <a:lnTo>
                      <a:pt x="86" y="184"/>
                    </a:lnTo>
                    <a:lnTo>
                      <a:pt x="87" y="181"/>
                    </a:lnTo>
                    <a:lnTo>
                      <a:pt x="87" y="181"/>
                    </a:lnTo>
                    <a:lnTo>
                      <a:pt x="89" y="178"/>
                    </a:lnTo>
                    <a:lnTo>
                      <a:pt x="89" y="178"/>
                    </a:lnTo>
                    <a:lnTo>
                      <a:pt x="92" y="178"/>
                    </a:lnTo>
                    <a:lnTo>
                      <a:pt x="92" y="178"/>
                    </a:lnTo>
                    <a:lnTo>
                      <a:pt x="99" y="178"/>
                    </a:lnTo>
                    <a:lnTo>
                      <a:pt x="99" y="178"/>
                    </a:lnTo>
                    <a:lnTo>
                      <a:pt x="102" y="178"/>
                    </a:lnTo>
                    <a:lnTo>
                      <a:pt x="102" y="178"/>
                    </a:lnTo>
                    <a:lnTo>
                      <a:pt x="102" y="178"/>
                    </a:lnTo>
                    <a:lnTo>
                      <a:pt x="102" y="178"/>
                    </a:lnTo>
                    <a:lnTo>
                      <a:pt x="105" y="181"/>
                    </a:lnTo>
                    <a:lnTo>
                      <a:pt x="105" y="181"/>
                    </a:lnTo>
                    <a:lnTo>
                      <a:pt x="108" y="166"/>
                    </a:lnTo>
                    <a:lnTo>
                      <a:pt x="108" y="166"/>
                    </a:lnTo>
                    <a:lnTo>
                      <a:pt x="108" y="158"/>
                    </a:lnTo>
                    <a:lnTo>
                      <a:pt x="108" y="158"/>
                    </a:lnTo>
                    <a:lnTo>
                      <a:pt x="108" y="154"/>
                    </a:lnTo>
                    <a:lnTo>
                      <a:pt x="108" y="154"/>
                    </a:lnTo>
                    <a:lnTo>
                      <a:pt x="108" y="152"/>
                    </a:lnTo>
                    <a:lnTo>
                      <a:pt x="108" y="152"/>
                    </a:lnTo>
                    <a:lnTo>
                      <a:pt x="110" y="146"/>
                    </a:lnTo>
                    <a:lnTo>
                      <a:pt x="110" y="146"/>
                    </a:lnTo>
                    <a:lnTo>
                      <a:pt x="111" y="143"/>
                    </a:lnTo>
                    <a:lnTo>
                      <a:pt x="111" y="143"/>
                    </a:lnTo>
                    <a:lnTo>
                      <a:pt x="114" y="143"/>
                    </a:lnTo>
                    <a:lnTo>
                      <a:pt x="114" y="143"/>
                    </a:lnTo>
                    <a:lnTo>
                      <a:pt x="130" y="139"/>
                    </a:lnTo>
                    <a:lnTo>
                      <a:pt x="130" y="139"/>
                    </a:lnTo>
                    <a:lnTo>
                      <a:pt x="137" y="138"/>
                    </a:lnTo>
                    <a:lnTo>
                      <a:pt x="137" y="138"/>
                    </a:lnTo>
                    <a:lnTo>
                      <a:pt x="140" y="138"/>
                    </a:lnTo>
                    <a:lnTo>
                      <a:pt x="140" y="138"/>
                    </a:lnTo>
                    <a:lnTo>
                      <a:pt x="145" y="139"/>
                    </a:lnTo>
                    <a:lnTo>
                      <a:pt x="145" y="139"/>
                    </a:lnTo>
                    <a:lnTo>
                      <a:pt x="151" y="141"/>
                    </a:lnTo>
                    <a:lnTo>
                      <a:pt x="151" y="141"/>
                    </a:lnTo>
                    <a:lnTo>
                      <a:pt x="156" y="143"/>
                    </a:lnTo>
                    <a:lnTo>
                      <a:pt x="156" y="143"/>
                    </a:lnTo>
                    <a:lnTo>
                      <a:pt x="157" y="146"/>
                    </a:lnTo>
                    <a:lnTo>
                      <a:pt x="157" y="146"/>
                    </a:lnTo>
                    <a:lnTo>
                      <a:pt x="157" y="149"/>
                    </a:lnTo>
                    <a:lnTo>
                      <a:pt x="157" y="149"/>
                    </a:lnTo>
                    <a:lnTo>
                      <a:pt x="157" y="149"/>
                    </a:lnTo>
                    <a:lnTo>
                      <a:pt x="157" y="149"/>
                    </a:lnTo>
                    <a:lnTo>
                      <a:pt x="159" y="149"/>
                    </a:lnTo>
                    <a:lnTo>
                      <a:pt x="159" y="149"/>
                    </a:lnTo>
                    <a:lnTo>
                      <a:pt x="160" y="149"/>
                    </a:lnTo>
                    <a:lnTo>
                      <a:pt x="160" y="149"/>
                    </a:lnTo>
                    <a:lnTo>
                      <a:pt x="160" y="146"/>
                    </a:lnTo>
                    <a:lnTo>
                      <a:pt x="160" y="146"/>
                    </a:lnTo>
                    <a:lnTo>
                      <a:pt x="159" y="146"/>
                    </a:lnTo>
                    <a:lnTo>
                      <a:pt x="159" y="146"/>
                    </a:lnTo>
                    <a:lnTo>
                      <a:pt x="157" y="143"/>
                    </a:lnTo>
                    <a:lnTo>
                      <a:pt x="157" y="143"/>
                    </a:lnTo>
                    <a:lnTo>
                      <a:pt x="160" y="138"/>
                    </a:lnTo>
                    <a:lnTo>
                      <a:pt x="160" y="138"/>
                    </a:lnTo>
                    <a:lnTo>
                      <a:pt x="160" y="135"/>
                    </a:lnTo>
                    <a:lnTo>
                      <a:pt x="160" y="135"/>
                    </a:lnTo>
                    <a:lnTo>
                      <a:pt x="162" y="133"/>
                    </a:lnTo>
                    <a:lnTo>
                      <a:pt x="162" y="133"/>
                    </a:lnTo>
                    <a:lnTo>
                      <a:pt x="160" y="130"/>
                    </a:lnTo>
                    <a:lnTo>
                      <a:pt x="160" y="130"/>
                    </a:lnTo>
                    <a:lnTo>
                      <a:pt x="162" y="128"/>
                    </a:lnTo>
                    <a:lnTo>
                      <a:pt x="162" y="122"/>
                    </a:lnTo>
                    <a:lnTo>
                      <a:pt x="162" y="122"/>
                    </a:lnTo>
                    <a:lnTo>
                      <a:pt x="162" y="122"/>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55" name="Freeform 48">
                <a:extLst>
                  <a:ext uri="{FF2B5EF4-FFF2-40B4-BE49-F238E27FC236}">
                    <a16:creationId xmlns:a16="http://schemas.microsoft.com/office/drawing/2014/main" id="{B32FC268-367A-E5D9-AE9B-BE1B8202EC2E}"/>
                  </a:ext>
                </a:extLst>
              </p:cNvPr>
              <p:cNvSpPr>
                <a:spLocks/>
              </p:cNvSpPr>
              <p:nvPr/>
            </p:nvSpPr>
            <p:spPr bwMode="auto">
              <a:xfrm>
                <a:off x="3452080" y="4031838"/>
                <a:ext cx="376836" cy="589928"/>
              </a:xfrm>
              <a:custGeom>
                <a:avLst/>
                <a:gdLst>
                  <a:gd name="T0" fmla="*/ 158 w 168"/>
                  <a:gd name="T1" fmla="*/ 255 h 263"/>
                  <a:gd name="T2" fmla="*/ 162 w 168"/>
                  <a:gd name="T3" fmla="*/ 250 h 263"/>
                  <a:gd name="T4" fmla="*/ 165 w 168"/>
                  <a:gd name="T5" fmla="*/ 241 h 263"/>
                  <a:gd name="T6" fmla="*/ 165 w 168"/>
                  <a:gd name="T7" fmla="*/ 231 h 263"/>
                  <a:gd name="T8" fmla="*/ 158 w 168"/>
                  <a:gd name="T9" fmla="*/ 228 h 263"/>
                  <a:gd name="T10" fmla="*/ 155 w 168"/>
                  <a:gd name="T11" fmla="*/ 223 h 263"/>
                  <a:gd name="T12" fmla="*/ 158 w 168"/>
                  <a:gd name="T13" fmla="*/ 220 h 263"/>
                  <a:gd name="T14" fmla="*/ 162 w 168"/>
                  <a:gd name="T15" fmla="*/ 214 h 263"/>
                  <a:gd name="T16" fmla="*/ 165 w 168"/>
                  <a:gd name="T17" fmla="*/ 200 h 263"/>
                  <a:gd name="T18" fmla="*/ 163 w 168"/>
                  <a:gd name="T19" fmla="*/ 182 h 263"/>
                  <a:gd name="T20" fmla="*/ 147 w 168"/>
                  <a:gd name="T21" fmla="*/ 155 h 263"/>
                  <a:gd name="T22" fmla="*/ 141 w 168"/>
                  <a:gd name="T23" fmla="*/ 138 h 263"/>
                  <a:gd name="T24" fmla="*/ 136 w 168"/>
                  <a:gd name="T25" fmla="*/ 138 h 263"/>
                  <a:gd name="T26" fmla="*/ 120 w 168"/>
                  <a:gd name="T27" fmla="*/ 138 h 263"/>
                  <a:gd name="T28" fmla="*/ 108 w 168"/>
                  <a:gd name="T29" fmla="*/ 131 h 263"/>
                  <a:gd name="T30" fmla="*/ 100 w 168"/>
                  <a:gd name="T31" fmla="*/ 116 h 263"/>
                  <a:gd name="T32" fmla="*/ 95 w 168"/>
                  <a:gd name="T33" fmla="*/ 106 h 263"/>
                  <a:gd name="T34" fmla="*/ 98 w 168"/>
                  <a:gd name="T35" fmla="*/ 96 h 263"/>
                  <a:gd name="T36" fmla="*/ 105 w 168"/>
                  <a:gd name="T37" fmla="*/ 87 h 263"/>
                  <a:gd name="T38" fmla="*/ 106 w 168"/>
                  <a:gd name="T39" fmla="*/ 74 h 263"/>
                  <a:gd name="T40" fmla="*/ 114 w 168"/>
                  <a:gd name="T41" fmla="*/ 68 h 263"/>
                  <a:gd name="T42" fmla="*/ 131 w 168"/>
                  <a:gd name="T43" fmla="*/ 60 h 263"/>
                  <a:gd name="T44" fmla="*/ 143 w 168"/>
                  <a:gd name="T45" fmla="*/ 60 h 263"/>
                  <a:gd name="T46" fmla="*/ 139 w 168"/>
                  <a:gd name="T47" fmla="*/ 54 h 263"/>
                  <a:gd name="T48" fmla="*/ 141 w 168"/>
                  <a:gd name="T49" fmla="*/ 42 h 263"/>
                  <a:gd name="T50" fmla="*/ 128 w 168"/>
                  <a:gd name="T51" fmla="*/ 31 h 263"/>
                  <a:gd name="T52" fmla="*/ 117 w 168"/>
                  <a:gd name="T53" fmla="*/ 33 h 263"/>
                  <a:gd name="T54" fmla="*/ 105 w 168"/>
                  <a:gd name="T55" fmla="*/ 33 h 263"/>
                  <a:gd name="T56" fmla="*/ 98 w 168"/>
                  <a:gd name="T57" fmla="*/ 23 h 263"/>
                  <a:gd name="T58" fmla="*/ 90 w 168"/>
                  <a:gd name="T59" fmla="*/ 15 h 263"/>
                  <a:gd name="T60" fmla="*/ 82 w 168"/>
                  <a:gd name="T61" fmla="*/ 4 h 263"/>
                  <a:gd name="T62" fmla="*/ 73 w 168"/>
                  <a:gd name="T63" fmla="*/ 1 h 263"/>
                  <a:gd name="T64" fmla="*/ 76 w 168"/>
                  <a:gd name="T65" fmla="*/ 9 h 263"/>
                  <a:gd name="T66" fmla="*/ 68 w 168"/>
                  <a:gd name="T67" fmla="*/ 25 h 263"/>
                  <a:gd name="T68" fmla="*/ 43 w 168"/>
                  <a:gd name="T69" fmla="*/ 42 h 263"/>
                  <a:gd name="T70" fmla="*/ 38 w 168"/>
                  <a:gd name="T71" fmla="*/ 47 h 263"/>
                  <a:gd name="T72" fmla="*/ 30 w 168"/>
                  <a:gd name="T73" fmla="*/ 68 h 263"/>
                  <a:gd name="T74" fmla="*/ 24 w 168"/>
                  <a:gd name="T75" fmla="*/ 65 h 263"/>
                  <a:gd name="T76" fmla="*/ 14 w 168"/>
                  <a:gd name="T77" fmla="*/ 60 h 263"/>
                  <a:gd name="T78" fmla="*/ 11 w 168"/>
                  <a:gd name="T79" fmla="*/ 58 h 263"/>
                  <a:gd name="T80" fmla="*/ 12 w 168"/>
                  <a:gd name="T81" fmla="*/ 47 h 263"/>
                  <a:gd name="T82" fmla="*/ 4 w 168"/>
                  <a:gd name="T83" fmla="*/ 54 h 263"/>
                  <a:gd name="T84" fmla="*/ 3 w 168"/>
                  <a:gd name="T85" fmla="*/ 71 h 263"/>
                  <a:gd name="T86" fmla="*/ 6 w 168"/>
                  <a:gd name="T87" fmla="*/ 82 h 263"/>
                  <a:gd name="T88" fmla="*/ 4 w 168"/>
                  <a:gd name="T89" fmla="*/ 87 h 263"/>
                  <a:gd name="T90" fmla="*/ 24 w 168"/>
                  <a:gd name="T91" fmla="*/ 106 h 263"/>
                  <a:gd name="T92" fmla="*/ 39 w 168"/>
                  <a:gd name="T93" fmla="*/ 133 h 263"/>
                  <a:gd name="T94" fmla="*/ 52 w 168"/>
                  <a:gd name="T95" fmla="*/ 162 h 263"/>
                  <a:gd name="T96" fmla="*/ 58 w 168"/>
                  <a:gd name="T97" fmla="*/ 171 h 263"/>
                  <a:gd name="T98" fmla="*/ 71 w 168"/>
                  <a:gd name="T99" fmla="*/ 190 h 263"/>
                  <a:gd name="T100" fmla="*/ 73 w 168"/>
                  <a:gd name="T101" fmla="*/ 200 h 263"/>
                  <a:gd name="T102" fmla="*/ 79 w 168"/>
                  <a:gd name="T103" fmla="*/ 212 h 263"/>
                  <a:gd name="T104" fmla="*/ 106 w 168"/>
                  <a:gd name="T105" fmla="*/ 231 h 263"/>
                  <a:gd name="T106" fmla="*/ 135 w 168"/>
                  <a:gd name="T107" fmla="*/ 247 h 263"/>
                  <a:gd name="T108" fmla="*/ 149 w 168"/>
                  <a:gd name="T109" fmla="*/ 258 h 263"/>
                  <a:gd name="T110" fmla="*/ 152 w 168"/>
                  <a:gd name="T111" fmla="*/ 262 h 263"/>
                  <a:gd name="T112" fmla="*/ 152 w 168"/>
                  <a:gd name="T113" fmla="*/ 262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263">
                    <a:moveTo>
                      <a:pt x="152" y="262"/>
                    </a:moveTo>
                    <a:lnTo>
                      <a:pt x="158" y="262"/>
                    </a:lnTo>
                    <a:lnTo>
                      <a:pt x="158" y="260"/>
                    </a:lnTo>
                    <a:lnTo>
                      <a:pt x="158" y="258"/>
                    </a:lnTo>
                    <a:lnTo>
                      <a:pt x="158" y="255"/>
                    </a:lnTo>
                    <a:lnTo>
                      <a:pt x="158" y="255"/>
                    </a:lnTo>
                    <a:lnTo>
                      <a:pt x="158" y="254"/>
                    </a:lnTo>
                    <a:lnTo>
                      <a:pt x="160" y="254"/>
                    </a:lnTo>
                    <a:lnTo>
                      <a:pt x="162" y="252"/>
                    </a:lnTo>
                    <a:lnTo>
                      <a:pt x="162" y="250"/>
                    </a:lnTo>
                    <a:lnTo>
                      <a:pt x="163" y="254"/>
                    </a:lnTo>
                    <a:lnTo>
                      <a:pt x="162" y="249"/>
                    </a:lnTo>
                    <a:lnTo>
                      <a:pt x="160" y="247"/>
                    </a:lnTo>
                    <a:lnTo>
                      <a:pt x="162" y="246"/>
                    </a:lnTo>
                    <a:lnTo>
                      <a:pt x="165" y="241"/>
                    </a:lnTo>
                    <a:lnTo>
                      <a:pt x="168" y="238"/>
                    </a:lnTo>
                    <a:lnTo>
                      <a:pt x="168" y="236"/>
                    </a:lnTo>
                    <a:lnTo>
                      <a:pt x="166" y="236"/>
                    </a:lnTo>
                    <a:lnTo>
                      <a:pt x="166" y="231"/>
                    </a:lnTo>
                    <a:lnTo>
                      <a:pt x="165" y="231"/>
                    </a:lnTo>
                    <a:lnTo>
                      <a:pt x="163" y="231"/>
                    </a:lnTo>
                    <a:lnTo>
                      <a:pt x="160" y="231"/>
                    </a:lnTo>
                    <a:lnTo>
                      <a:pt x="162" y="228"/>
                    </a:lnTo>
                    <a:lnTo>
                      <a:pt x="160" y="228"/>
                    </a:lnTo>
                    <a:lnTo>
                      <a:pt x="158" y="228"/>
                    </a:lnTo>
                    <a:lnTo>
                      <a:pt x="158" y="228"/>
                    </a:lnTo>
                    <a:lnTo>
                      <a:pt x="155" y="228"/>
                    </a:lnTo>
                    <a:lnTo>
                      <a:pt x="155" y="225"/>
                    </a:lnTo>
                    <a:lnTo>
                      <a:pt x="152" y="225"/>
                    </a:lnTo>
                    <a:lnTo>
                      <a:pt x="155" y="223"/>
                    </a:lnTo>
                    <a:lnTo>
                      <a:pt x="155" y="225"/>
                    </a:lnTo>
                    <a:lnTo>
                      <a:pt x="155" y="222"/>
                    </a:lnTo>
                    <a:lnTo>
                      <a:pt x="155" y="220"/>
                    </a:lnTo>
                    <a:lnTo>
                      <a:pt x="155" y="219"/>
                    </a:lnTo>
                    <a:lnTo>
                      <a:pt x="158" y="220"/>
                    </a:lnTo>
                    <a:lnTo>
                      <a:pt x="162" y="223"/>
                    </a:lnTo>
                    <a:lnTo>
                      <a:pt x="163" y="220"/>
                    </a:lnTo>
                    <a:lnTo>
                      <a:pt x="163" y="219"/>
                    </a:lnTo>
                    <a:lnTo>
                      <a:pt x="163" y="217"/>
                    </a:lnTo>
                    <a:lnTo>
                      <a:pt x="162" y="214"/>
                    </a:lnTo>
                    <a:lnTo>
                      <a:pt x="160" y="212"/>
                    </a:lnTo>
                    <a:lnTo>
                      <a:pt x="162" y="211"/>
                    </a:lnTo>
                    <a:lnTo>
                      <a:pt x="165" y="204"/>
                    </a:lnTo>
                    <a:lnTo>
                      <a:pt x="165" y="201"/>
                    </a:lnTo>
                    <a:lnTo>
                      <a:pt x="165" y="200"/>
                    </a:lnTo>
                    <a:lnTo>
                      <a:pt x="163" y="196"/>
                    </a:lnTo>
                    <a:lnTo>
                      <a:pt x="163" y="190"/>
                    </a:lnTo>
                    <a:lnTo>
                      <a:pt x="163" y="187"/>
                    </a:lnTo>
                    <a:lnTo>
                      <a:pt x="163" y="185"/>
                    </a:lnTo>
                    <a:lnTo>
                      <a:pt x="163" y="182"/>
                    </a:lnTo>
                    <a:lnTo>
                      <a:pt x="166" y="181"/>
                    </a:lnTo>
                    <a:lnTo>
                      <a:pt x="165" y="177"/>
                    </a:lnTo>
                    <a:lnTo>
                      <a:pt x="152" y="155"/>
                    </a:lnTo>
                    <a:lnTo>
                      <a:pt x="149" y="155"/>
                    </a:lnTo>
                    <a:lnTo>
                      <a:pt x="147" y="155"/>
                    </a:lnTo>
                    <a:lnTo>
                      <a:pt x="144" y="158"/>
                    </a:lnTo>
                    <a:lnTo>
                      <a:pt x="143" y="155"/>
                    </a:lnTo>
                    <a:lnTo>
                      <a:pt x="141" y="155"/>
                    </a:lnTo>
                    <a:lnTo>
                      <a:pt x="139" y="142"/>
                    </a:lnTo>
                    <a:lnTo>
                      <a:pt x="141" y="138"/>
                    </a:lnTo>
                    <a:lnTo>
                      <a:pt x="139" y="138"/>
                    </a:lnTo>
                    <a:lnTo>
                      <a:pt x="139" y="135"/>
                    </a:lnTo>
                    <a:lnTo>
                      <a:pt x="141" y="135"/>
                    </a:lnTo>
                    <a:lnTo>
                      <a:pt x="138" y="135"/>
                    </a:lnTo>
                    <a:lnTo>
                      <a:pt x="136" y="138"/>
                    </a:lnTo>
                    <a:lnTo>
                      <a:pt x="131" y="141"/>
                    </a:lnTo>
                    <a:lnTo>
                      <a:pt x="128" y="142"/>
                    </a:lnTo>
                    <a:lnTo>
                      <a:pt x="125" y="142"/>
                    </a:lnTo>
                    <a:lnTo>
                      <a:pt x="120" y="142"/>
                    </a:lnTo>
                    <a:lnTo>
                      <a:pt x="120" y="138"/>
                    </a:lnTo>
                    <a:lnTo>
                      <a:pt x="117" y="135"/>
                    </a:lnTo>
                    <a:lnTo>
                      <a:pt x="114" y="135"/>
                    </a:lnTo>
                    <a:lnTo>
                      <a:pt x="112" y="135"/>
                    </a:lnTo>
                    <a:lnTo>
                      <a:pt x="106" y="135"/>
                    </a:lnTo>
                    <a:lnTo>
                      <a:pt x="108" y="131"/>
                    </a:lnTo>
                    <a:lnTo>
                      <a:pt x="109" y="128"/>
                    </a:lnTo>
                    <a:lnTo>
                      <a:pt x="105" y="123"/>
                    </a:lnTo>
                    <a:lnTo>
                      <a:pt x="103" y="122"/>
                    </a:lnTo>
                    <a:lnTo>
                      <a:pt x="101" y="119"/>
                    </a:lnTo>
                    <a:lnTo>
                      <a:pt x="100" y="116"/>
                    </a:lnTo>
                    <a:lnTo>
                      <a:pt x="98" y="112"/>
                    </a:lnTo>
                    <a:lnTo>
                      <a:pt x="98" y="111"/>
                    </a:lnTo>
                    <a:lnTo>
                      <a:pt x="97" y="109"/>
                    </a:lnTo>
                    <a:lnTo>
                      <a:pt x="95" y="106"/>
                    </a:lnTo>
                    <a:lnTo>
                      <a:pt x="95" y="106"/>
                    </a:lnTo>
                    <a:lnTo>
                      <a:pt x="97" y="103"/>
                    </a:lnTo>
                    <a:lnTo>
                      <a:pt x="98" y="103"/>
                    </a:lnTo>
                    <a:lnTo>
                      <a:pt x="98" y="103"/>
                    </a:lnTo>
                    <a:lnTo>
                      <a:pt x="97" y="100"/>
                    </a:lnTo>
                    <a:lnTo>
                      <a:pt x="98" y="96"/>
                    </a:lnTo>
                    <a:lnTo>
                      <a:pt x="100" y="95"/>
                    </a:lnTo>
                    <a:lnTo>
                      <a:pt x="105" y="93"/>
                    </a:lnTo>
                    <a:lnTo>
                      <a:pt x="105" y="92"/>
                    </a:lnTo>
                    <a:lnTo>
                      <a:pt x="105" y="90"/>
                    </a:lnTo>
                    <a:lnTo>
                      <a:pt x="105" y="87"/>
                    </a:lnTo>
                    <a:lnTo>
                      <a:pt x="105" y="84"/>
                    </a:lnTo>
                    <a:lnTo>
                      <a:pt x="106" y="82"/>
                    </a:lnTo>
                    <a:lnTo>
                      <a:pt x="106" y="79"/>
                    </a:lnTo>
                    <a:lnTo>
                      <a:pt x="106" y="77"/>
                    </a:lnTo>
                    <a:lnTo>
                      <a:pt x="106" y="74"/>
                    </a:lnTo>
                    <a:lnTo>
                      <a:pt x="108" y="71"/>
                    </a:lnTo>
                    <a:lnTo>
                      <a:pt x="111" y="71"/>
                    </a:lnTo>
                    <a:lnTo>
                      <a:pt x="112" y="71"/>
                    </a:lnTo>
                    <a:lnTo>
                      <a:pt x="114" y="68"/>
                    </a:lnTo>
                    <a:lnTo>
                      <a:pt x="114" y="68"/>
                    </a:lnTo>
                    <a:lnTo>
                      <a:pt x="120" y="63"/>
                    </a:lnTo>
                    <a:lnTo>
                      <a:pt x="124" y="63"/>
                    </a:lnTo>
                    <a:lnTo>
                      <a:pt x="127" y="63"/>
                    </a:lnTo>
                    <a:lnTo>
                      <a:pt x="130" y="62"/>
                    </a:lnTo>
                    <a:lnTo>
                      <a:pt x="131" y="60"/>
                    </a:lnTo>
                    <a:lnTo>
                      <a:pt x="133" y="60"/>
                    </a:lnTo>
                    <a:lnTo>
                      <a:pt x="136" y="58"/>
                    </a:lnTo>
                    <a:lnTo>
                      <a:pt x="138" y="58"/>
                    </a:lnTo>
                    <a:lnTo>
                      <a:pt x="141" y="62"/>
                    </a:lnTo>
                    <a:lnTo>
                      <a:pt x="143" y="60"/>
                    </a:lnTo>
                    <a:lnTo>
                      <a:pt x="144" y="62"/>
                    </a:lnTo>
                    <a:lnTo>
                      <a:pt x="144" y="60"/>
                    </a:lnTo>
                    <a:lnTo>
                      <a:pt x="144" y="58"/>
                    </a:lnTo>
                    <a:lnTo>
                      <a:pt x="141" y="54"/>
                    </a:lnTo>
                    <a:lnTo>
                      <a:pt x="139" y="54"/>
                    </a:lnTo>
                    <a:lnTo>
                      <a:pt x="136" y="54"/>
                    </a:lnTo>
                    <a:lnTo>
                      <a:pt x="135" y="54"/>
                    </a:lnTo>
                    <a:lnTo>
                      <a:pt x="135" y="52"/>
                    </a:lnTo>
                    <a:lnTo>
                      <a:pt x="138" y="46"/>
                    </a:lnTo>
                    <a:lnTo>
                      <a:pt x="141" y="42"/>
                    </a:lnTo>
                    <a:lnTo>
                      <a:pt x="143" y="39"/>
                    </a:lnTo>
                    <a:lnTo>
                      <a:pt x="139" y="33"/>
                    </a:lnTo>
                    <a:lnTo>
                      <a:pt x="135" y="33"/>
                    </a:lnTo>
                    <a:lnTo>
                      <a:pt x="131" y="31"/>
                    </a:lnTo>
                    <a:lnTo>
                      <a:pt x="128" y="31"/>
                    </a:lnTo>
                    <a:lnTo>
                      <a:pt x="125" y="33"/>
                    </a:lnTo>
                    <a:lnTo>
                      <a:pt x="124" y="31"/>
                    </a:lnTo>
                    <a:lnTo>
                      <a:pt x="120" y="30"/>
                    </a:lnTo>
                    <a:lnTo>
                      <a:pt x="120" y="31"/>
                    </a:lnTo>
                    <a:lnTo>
                      <a:pt x="117" y="33"/>
                    </a:lnTo>
                    <a:lnTo>
                      <a:pt x="114" y="33"/>
                    </a:lnTo>
                    <a:lnTo>
                      <a:pt x="111" y="33"/>
                    </a:lnTo>
                    <a:lnTo>
                      <a:pt x="108" y="33"/>
                    </a:lnTo>
                    <a:lnTo>
                      <a:pt x="106" y="33"/>
                    </a:lnTo>
                    <a:lnTo>
                      <a:pt x="105" y="33"/>
                    </a:lnTo>
                    <a:lnTo>
                      <a:pt x="103" y="31"/>
                    </a:lnTo>
                    <a:lnTo>
                      <a:pt x="103" y="28"/>
                    </a:lnTo>
                    <a:lnTo>
                      <a:pt x="103" y="27"/>
                    </a:lnTo>
                    <a:lnTo>
                      <a:pt x="101" y="25"/>
                    </a:lnTo>
                    <a:lnTo>
                      <a:pt x="98" y="23"/>
                    </a:lnTo>
                    <a:lnTo>
                      <a:pt x="98" y="20"/>
                    </a:lnTo>
                    <a:lnTo>
                      <a:pt x="97" y="19"/>
                    </a:lnTo>
                    <a:lnTo>
                      <a:pt x="95" y="19"/>
                    </a:lnTo>
                    <a:lnTo>
                      <a:pt x="92" y="15"/>
                    </a:lnTo>
                    <a:lnTo>
                      <a:pt x="90" y="15"/>
                    </a:lnTo>
                    <a:lnTo>
                      <a:pt x="89" y="12"/>
                    </a:lnTo>
                    <a:lnTo>
                      <a:pt x="89" y="12"/>
                    </a:lnTo>
                    <a:lnTo>
                      <a:pt x="89" y="12"/>
                    </a:lnTo>
                    <a:lnTo>
                      <a:pt x="85" y="8"/>
                    </a:lnTo>
                    <a:lnTo>
                      <a:pt x="82" y="4"/>
                    </a:lnTo>
                    <a:lnTo>
                      <a:pt x="79" y="1"/>
                    </a:lnTo>
                    <a:lnTo>
                      <a:pt x="78" y="0"/>
                    </a:lnTo>
                    <a:lnTo>
                      <a:pt x="76" y="0"/>
                    </a:lnTo>
                    <a:lnTo>
                      <a:pt x="74" y="0"/>
                    </a:lnTo>
                    <a:lnTo>
                      <a:pt x="73" y="1"/>
                    </a:lnTo>
                    <a:lnTo>
                      <a:pt x="71" y="1"/>
                    </a:lnTo>
                    <a:lnTo>
                      <a:pt x="73" y="3"/>
                    </a:lnTo>
                    <a:lnTo>
                      <a:pt x="74" y="4"/>
                    </a:lnTo>
                    <a:lnTo>
                      <a:pt x="74" y="6"/>
                    </a:lnTo>
                    <a:lnTo>
                      <a:pt x="76" y="9"/>
                    </a:lnTo>
                    <a:lnTo>
                      <a:pt x="76" y="12"/>
                    </a:lnTo>
                    <a:lnTo>
                      <a:pt x="74" y="12"/>
                    </a:lnTo>
                    <a:lnTo>
                      <a:pt x="71" y="19"/>
                    </a:lnTo>
                    <a:lnTo>
                      <a:pt x="71" y="19"/>
                    </a:lnTo>
                    <a:lnTo>
                      <a:pt x="68" y="25"/>
                    </a:lnTo>
                    <a:lnTo>
                      <a:pt x="65" y="31"/>
                    </a:lnTo>
                    <a:lnTo>
                      <a:pt x="58" y="36"/>
                    </a:lnTo>
                    <a:lnTo>
                      <a:pt x="52" y="39"/>
                    </a:lnTo>
                    <a:lnTo>
                      <a:pt x="46" y="39"/>
                    </a:lnTo>
                    <a:lnTo>
                      <a:pt x="43" y="42"/>
                    </a:lnTo>
                    <a:lnTo>
                      <a:pt x="41" y="44"/>
                    </a:lnTo>
                    <a:lnTo>
                      <a:pt x="39" y="46"/>
                    </a:lnTo>
                    <a:lnTo>
                      <a:pt x="39" y="47"/>
                    </a:lnTo>
                    <a:lnTo>
                      <a:pt x="39" y="49"/>
                    </a:lnTo>
                    <a:lnTo>
                      <a:pt x="38" y="47"/>
                    </a:lnTo>
                    <a:lnTo>
                      <a:pt x="36" y="49"/>
                    </a:lnTo>
                    <a:lnTo>
                      <a:pt x="36" y="50"/>
                    </a:lnTo>
                    <a:lnTo>
                      <a:pt x="36" y="52"/>
                    </a:lnTo>
                    <a:lnTo>
                      <a:pt x="35" y="50"/>
                    </a:lnTo>
                    <a:lnTo>
                      <a:pt x="30" y="68"/>
                    </a:lnTo>
                    <a:lnTo>
                      <a:pt x="30" y="68"/>
                    </a:lnTo>
                    <a:lnTo>
                      <a:pt x="27" y="71"/>
                    </a:lnTo>
                    <a:lnTo>
                      <a:pt x="27" y="68"/>
                    </a:lnTo>
                    <a:lnTo>
                      <a:pt x="24" y="68"/>
                    </a:lnTo>
                    <a:lnTo>
                      <a:pt x="24" y="65"/>
                    </a:lnTo>
                    <a:lnTo>
                      <a:pt x="22" y="63"/>
                    </a:lnTo>
                    <a:lnTo>
                      <a:pt x="20" y="63"/>
                    </a:lnTo>
                    <a:lnTo>
                      <a:pt x="19" y="63"/>
                    </a:lnTo>
                    <a:lnTo>
                      <a:pt x="16" y="60"/>
                    </a:lnTo>
                    <a:lnTo>
                      <a:pt x="14" y="60"/>
                    </a:lnTo>
                    <a:lnTo>
                      <a:pt x="12" y="62"/>
                    </a:lnTo>
                    <a:lnTo>
                      <a:pt x="12" y="62"/>
                    </a:lnTo>
                    <a:lnTo>
                      <a:pt x="11" y="63"/>
                    </a:lnTo>
                    <a:lnTo>
                      <a:pt x="12" y="60"/>
                    </a:lnTo>
                    <a:lnTo>
                      <a:pt x="11" y="58"/>
                    </a:lnTo>
                    <a:lnTo>
                      <a:pt x="11" y="57"/>
                    </a:lnTo>
                    <a:lnTo>
                      <a:pt x="14" y="55"/>
                    </a:lnTo>
                    <a:lnTo>
                      <a:pt x="14" y="54"/>
                    </a:lnTo>
                    <a:lnTo>
                      <a:pt x="14" y="50"/>
                    </a:lnTo>
                    <a:lnTo>
                      <a:pt x="12" y="47"/>
                    </a:lnTo>
                    <a:lnTo>
                      <a:pt x="12" y="47"/>
                    </a:lnTo>
                    <a:lnTo>
                      <a:pt x="12" y="47"/>
                    </a:lnTo>
                    <a:lnTo>
                      <a:pt x="11" y="49"/>
                    </a:lnTo>
                    <a:lnTo>
                      <a:pt x="8" y="50"/>
                    </a:lnTo>
                    <a:lnTo>
                      <a:pt x="4" y="54"/>
                    </a:lnTo>
                    <a:lnTo>
                      <a:pt x="1" y="58"/>
                    </a:lnTo>
                    <a:lnTo>
                      <a:pt x="0" y="63"/>
                    </a:lnTo>
                    <a:lnTo>
                      <a:pt x="0" y="65"/>
                    </a:lnTo>
                    <a:lnTo>
                      <a:pt x="1" y="68"/>
                    </a:lnTo>
                    <a:lnTo>
                      <a:pt x="3" y="71"/>
                    </a:lnTo>
                    <a:lnTo>
                      <a:pt x="1" y="71"/>
                    </a:lnTo>
                    <a:lnTo>
                      <a:pt x="3" y="74"/>
                    </a:lnTo>
                    <a:lnTo>
                      <a:pt x="4" y="77"/>
                    </a:lnTo>
                    <a:lnTo>
                      <a:pt x="6" y="81"/>
                    </a:lnTo>
                    <a:lnTo>
                      <a:pt x="6" y="82"/>
                    </a:lnTo>
                    <a:lnTo>
                      <a:pt x="4" y="82"/>
                    </a:lnTo>
                    <a:lnTo>
                      <a:pt x="3" y="82"/>
                    </a:lnTo>
                    <a:lnTo>
                      <a:pt x="3" y="84"/>
                    </a:lnTo>
                    <a:lnTo>
                      <a:pt x="3" y="85"/>
                    </a:lnTo>
                    <a:lnTo>
                      <a:pt x="4" y="87"/>
                    </a:lnTo>
                    <a:lnTo>
                      <a:pt x="6" y="89"/>
                    </a:lnTo>
                    <a:lnTo>
                      <a:pt x="12" y="92"/>
                    </a:lnTo>
                    <a:lnTo>
                      <a:pt x="17" y="95"/>
                    </a:lnTo>
                    <a:lnTo>
                      <a:pt x="22" y="100"/>
                    </a:lnTo>
                    <a:lnTo>
                      <a:pt x="24" y="106"/>
                    </a:lnTo>
                    <a:lnTo>
                      <a:pt x="27" y="111"/>
                    </a:lnTo>
                    <a:lnTo>
                      <a:pt x="30" y="116"/>
                    </a:lnTo>
                    <a:lnTo>
                      <a:pt x="33" y="120"/>
                    </a:lnTo>
                    <a:lnTo>
                      <a:pt x="35" y="125"/>
                    </a:lnTo>
                    <a:lnTo>
                      <a:pt x="39" y="133"/>
                    </a:lnTo>
                    <a:lnTo>
                      <a:pt x="43" y="139"/>
                    </a:lnTo>
                    <a:lnTo>
                      <a:pt x="46" y="147"/>
                    </a:lnTo>
                    <a:lnTo>
                      <a:pt x="51" y="155"/>
                    </a:lnTo>
                    <a:lnTo>
                      <a:pt x="52" y="158"/>
                    </a:lnTo>
                    <a:lnTo>
                      <a:pt x="52" y="162"/>
                    </a:lnTo>
                    <a:lnTo>
                      <a:pt x="54" y="162"/>
                    </a:lnTo>
                    <a:lnTo>
                      <a:pt x="55" y="165"/>
                    </a:lnTo>
                    <a:lnTo>
                      <a:pt x="58" y="168"/>
                    </a:lnTo>
                    <a:lnTo>
                      <a:pt x="58" y="168"/>
                    </a:lnTo>
                    <a:lnTo>
                      <a:pt x="58" y="171"/>
                    </a:lnTo>
                    <a:lnTo>
                      <a:pt x="58" y="173"/>
                    </a:lnTo>
                    <a:lnTo>
                      <a:pt x="62" y="174"/>
                    </a:lnTo>
                    <a:lnTo>
                      <a:pt x="65" y="179"/>
                    </a:lnTo>
                    <a:lnTo>
                      <a:pt x="68" y="185"/>
                    </a:lnTo>
                    <a:lnTo>
                      <a:pt x="71" y="190"/>
                    </a:lnTo>
                    <a:lnTo>
                      <a:pt x="73" y="193"/>
                    </a:lnTo>
                    <a:lnTo>
                      <a:pt x="73" y="196"/>
                    </a:lnTo>
                    <a:lnTo>
                      <a:pt x="71" y="196"/>
                    </a:lnTo>
                    <a:lnTo>
                      <a:pt x="71" y="200"/>
                    </a:lnTo>
                    <a:lnTo>
                      <a:pt x="73" y="200"/>
                    </a:lnTo>
                    <a:lnTo>
                      <a:pt x="73" y="201"/>
                    </a:lnTo>
                    <a:lnTo>
                      <a:pt x="73" y="203"/>
                    </a:lnTo>
                    <a:lnTo>
                      <a:pt x="76" y="204"/>
                    </a:lnTo>
                    <a:lnTo>
                      <a:pt x="78" y="208"/>
                    </a:lnTo>
                    <a:lnTo>
                      <a:pt x="79" y="212"/>
                    </a:lnTo>
                    <a:lnTo>
                      <a:pt x="85" y="216"/>
                    </a:lnTo>
                    <a:lnTo>
                      <a:pt x="89" y="219"/>
                    </a:lnTo>
                    <a:lnTo>
                      <a:pt x="90" y="222"/>
                    </a:lnTo>
                    <a:lnTo>
                      <a:pt x="100" y="225"/>
                    </a:lnTo>
                    <a:lnTo>
                      <a:pt x="106" y="231"/>
                    </a:lnTo>
                    <a:lnTo>
                      <a:pt x="114" y="235"/>
                    </a:lnTo>
                    <a:lnTo>
                      <a:pt x="120" y="238"/>
                    </a:lnTo>
                    <a:lnTo>
                      <a:pt x="125" y="239"/>
                    </a:lnTo>
                    <a:lnTo>
                      <a:pt x="128" y="243"/>
                    </a:lnTo>
                    <a:lnTo>
                      <a:pt x="135" y="247"/>
                    </a:lnTo>
                    <a:lnTo>
                      <a:pt x="138" y="249"/>
                    </a:lnTo>
                    <a:lnTo>
                      <a:pt x="139" y="250"/>
                    </a:lnTo>
                    <a:lnTo>
                      <a:pt x="141" y="254"/>
                    </a:lnTo>
                    <a:lnTo>
                      <a:pt x="143" y="255"/>
                    </a:lnTo>
                    <a:lnTo>
                      <a:pt x="149" y="258"/>
                    </a:lnTo>
                    <a:lnTo>
                      <a:pt x="152" y="260"/>
                    </a:lnTo>
                    <a:lnTo>
                      <a:pt x="155" y="263"/>
                    </a:lnTo>
                    <a:lnTo>
                      <a:pt x="155" y="263"/>
                    </a:lnTo>
                    <a:lnTo>
                      <a:pt x="152" y="262"/>
                    </a:lnTo>
                    <a:lnTo>
                      <a:pt x="152" y="262"/>
                    </a:lnTo>
                    <a:lnTo>
                      <a:pt x="152" y="262"/>
                    </a:lnTo>
                    <a:lnTo>
                      <a:pt x="152" y="262"/>
                    </a:lnTo>
                    <a:lnTo>
                      <a:pt x="152" y="262"/>
                    </a:lnTo>
                    <a:lnTo>
                      <a:pt x="152" y="262"/>
                    </a:lnTo>
                    <a:lnTo>
                      <a:pt x="152" y="262"/>
                    </a:lnTo>
                    <a:lnTo>
                      <a:pt x="152" y="262"/>
                    </a:lnTo>
                    <a:lnTo>
                      <a:pt x="152" y="262"/>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56" name="Freeform 51">
                <a:extLst>
                  <a:ext uri="{FF2B5EF4-FFF2-40B4-BE49-F238E27FC236}">
                    <a16:creationId xmlns:a16="http://schemas.microsoft.com/office/drawing/2014/main" id="{6C471FEB-BCC2-FC07-F02B-6B72C9464DEB}"/>
                  </a:ext>
                </a:extLst>
              </p:cNvPr>
              <p:cNvSpPr>
                <a:spLocks/>
              </p:cNvSpPr>
              <p:nvPr/>
            </p:nvSpPr>
            <p:spPr bwMode="auto">
              <a:xfrm>
                <a:off x="4199022" y="5027761"/>
                <a:ext cx="143557" cy="125612"/>
              </a:xfrm>
              <a:custGeom>
                <a:avLst/>
                <a:gdLst>
                  <a:gd name="T0" fmla="*/ 62 w 64"/>
                  <a:gd name="T1" fmla="*/ 30 h 56"/>
                  <a:gd name="T2" fmla="*/ 64 w 64"/>
                  <a:gd name="T3" fmla="*/ 26 h 56"/>
                  <a:gd name="T4" fmla="*/ 60 w 64"/>
                  <a:gd name="T5" fmla="*/ 22 h 56"/>
                  <a:gd name="T6" fmla="*/ 56 w 64"/>
                  <a:gd name="T7" fmla="*/ 19 h 56"/>
                  <a:gd name="T8" fmla="*/ 51 w 64"/>
                  <a:gd name="T9" fmla="*/ 14 h 56"/>
                  <a:gd name="T10" fmla="*/ 43 w 64"/>
                  <a:gd name="T11" fmla="*/ 8 h 56"/>
                  <a:gd name="T12" fmla="*/ 38 w 64"/>
                  <a:gd name="T13" fmla="*/ 6 h 56"/>
                  <a:gd name="T14" fmla="*/ 32 w 64"/>
                  <a:gd name="T15" fmla="*/ 3 h 56"/>
                  <a:gd name="T16" fmla="*/ 18 w 64"/>
                  <a:gd name="T17" fmla="*/ 6 h 56"/>
                  <a:gd name="T18" fmla="*/ 2 w 64"/>
                  <a:gd name="T19" fmla="*/ 0 h 56"/>
                  <a:gd name="T20" fmla="*/ 2 w 64"/>
                  <a:gd name="T21" fmla="*/ 6 h 56"/>
                  <a:gd name="T22" fmla="*/ 2 w 64"/>
                  <a:gd name="T23" fmla="*/ 10 h 56"/>
                  <a:gd name="T24" fmla="*/ 0 w 64"/>
                  <a:gd name="T25" fmla="*/ 16 h 56"/>
                  <a:gd name="T26" fmla="*/ 2 w 64"/>
                  <a:gd name="T27" fmla="*/ 21 h 56"/>
                  <a:gd name="T28" fmla="*/ 3 w 64"/>
                  <a:gd name="T29" fmla="*/ 29 h 56"/>
                  <a:gd name="T30" fmla="*/ 3 w 64"/>
                  <a:gd name="T31" fmla="*/ 32 h 56"/>
                  <a:gd name="T32" fmla="*/ 2 w 64"/>
                  <a:gd name="T33" fmla="*/ 32 h 56"/>
                  <a:gd name="T34" fmla="*/ 2 w 64"/>
                  <a:gd name="T35" fmla="*/ 38 h 56"/>
                  <a:gd name="T36" fmla="*/ 6 w 64"/>
                  <a:gd name="T37" fmla="*/ 45 h 56"/>
                  <a:gd name="T38" fmla="*/ 11 w 64"/>
                  <a:gd name="T39" fmla="*/ 49 h 56"/>
                  <a:gd name="T40" fmla="*/ 16 w 64"/>
                  <a:gd name="T41" fmla="*/ 51 h 56"/>
                  <a:gd name="T42" fmla="*/ 24 w 64"/>
                  <a:gd name="T43" fmla="*/ 53 h 56"/>
                  <a:gd name="T44" fmla="*/ 32 w 64"/>
                  <a:gd name="T45" fmla="*/ 56 h 56"/>
                  <a:gd name="T46" fmla="*/ 32 w 64"/>
                  <a:gd name="T47" fmla="*/ 56 h 56"/>
                  <a:gd name="T48" fmla="*/ 41 w 64"/>
                  <a:gd name="T49" fmla="*/ 56 h 56"/>
                  <a:gd name="T50" fmla="*/ 48 w 64"/>
                  <a:gd name="T51" fmla="*/ 56 h 56"/>
                  <a:gd name="T52" fmla="*/ 54 w 64"/>
                  <a:gd name="T53" fmla="*/ 56 h 56"/>
                  <a:gd name="T54" fmla="*/ 54 w 64"/>
                  <a:gd name="T55" fmla="*/ 53 h 56"/>
                  <a:gd name="T56" fmla="*/ 59 w 64"/>
                  <a:gd name="T57" fmla="*/ 53 h 56"/>
                  <a:gd name="T58" fmla="*/ 64 w 64"/>
                  <a:gd name="T59" fmla="*/ 43 h 56"/>
                  <a:gd name="T60" fmla="*/ 60 w 64"/>
                  <a:gd name="T61" fmla="*/ 38 h 56"/>
                  <a:gd name="T62" fmla="*/ 60 w 64"/>
                  <a:gd name="T63" fmla="*/ 32 h 56"/>
                  <a:gd name="T64" fmla="*/ 60 w 64"/>
                  <a:gd name="T65" fmla="*/ 32 h 56"/>
                  <a:gd name="T66" fmla="*/ 60 w 64"/>
                  <a:gd name="T67" fmla="*/ 32 h 56"/>
                  <a:gd name="T68" fmla="*/ 60 w 64"/>
                  <a:gd name="T69"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56">
                    <a:moveTo>
                      <a:pt x="60" y="32"/>
                    </a:moveTo>
                    <a:lnTo>
                      <a:pt x="62" y="30"/>
                    </a:lnTo>
                    <a:lnTo>
                      <a:pt x="64" y="27"/>
                    </a:lnTo>
                    <a:lnTo>
                      <a:pt x="64" y="26"/>
                    </a:lnTo>
                    <a:lnTo>
                      <a:pt x="62" y="24"/>
                    </a:lnTo>
                    <a:lnTo>
                      <a:pt x="60" y="22"/>
                    </a:lnTo>
                    <a:lnTo>
                      <a:pt x="57" y="21"/>
                    </a:lnTo>
                    <a:lnTo>
                      <a:pt x="56" y="19"/>
                    </a:lnTo>
                    <a:lnTo>
                      <a:pt x="53" y="16"/>
                    </a:lnTo>
                    <a:lnTo>
                      <a:pt x="51" y="14"/>
                    </a:lnTo>
                    <a:lnTo>
                      <a:pt x="46" y="11"/>
                    </a:lnTo>
                    <a:lnTo>
                      <a:pt x="43" y="8"/>
                    </a:lnTo>
                    <a:lnTo>
                      <a:pt x="38" y="6"/>
                    </a:lnTo>
                    <a:lnTo>
                      <a:pt x="38" y="6"/>
                    </a:lnTo>
                    <a:lnTo>
                      <a:pt x="35" y="6"/>
                    </a:lnTo>
                    <a:lnTo>
                      <a:pt x="32" y="3"/>
                    </a:lnTo>
                    <a:lnTo>
                      <a:pt x="32" y="2"/>
                    </a:lnTo>
                    <a:lnTo>
                      <a:pt x="18" y="6"/>
                    </a:lnTo>
                    <a:lnTo>
                      <a:pt x="2" y="0"/>
                    </a:lnTo>
                    <a:lnTo>
                      <a:pt x="2" y="0"/>
                    </a:lnTo>
                    <a:lnTo>
                      <a:pt x="2" y="3"/>
                    </a:lnTo>
                    <a:lnTo>
                      <a:pt x="2" y="6"/>
                    </a:lnTo>
                    <a:lnTo>
                      <a:pt x="2" y="8"/>
                    </a:lnTo>
                    <a:lnTo>
                      <a:pt x="2" y="10"/>
                    </a:lnTo>
                    <a:lnTo>
                      <a:pt x="2" y="13"/>
                    </a:lnTo>
                    <a:lnTo>
                      <a:pt x="0" y="16"/>
                    </a:lnTo>
                    <a:lnTo>
                      <a:pt x="2" y="19"/>
                    </a:lnTo>
                    <a:lnTo>
                      <a:pt x="2" y="21"/>
                    </a:lnTo>
                    <a:lnTo>
                      <a:pt x="2" y="26"/>
                    </a:lnTo>
                    <a:lnTo>
                      <a:pt x="3" y="29"/>
                    </a:lnTo>
                    <a:lnTo>
                      <a:pt x="5" y="30"/>
                    </a:lnTo>
                    <a:lnTo>
                      <a:pt x="3" y="32"/>
                    </a:lnTo>
                    <a:lnTo>
                      <a:pt x="2" y="32"/>
                    </a:lnTo>
                    <a:lnTo>
                      <a:pt x="2" y="32"/>
                    </a:lnTo>
                    <a:lnTo>
                      <a:pt x="2" y="35"/>
                    </a:lnTo>
                    <a:lnTo>
                      <a:pt x="2" y="38"/>
                    </a:lnTo>
                    <a:lnTo>
                      <a:pt x="5" y="45"/>
                    </a:lnTo>
                    <a:lnTo>
                      <a:pt x="6" y="45"/>
                    </a:lnTo>
                    <a:lnTo>
                      <a:pt x="8" y="46"/>
                    </a:lnTo>
                    <a:lnTo>
                      <a:pt x="11" y="49"/>
                    </a:lnTo>
                    <a:lnTo>
                      <a:pt x="13" y="51"/>
                    </a:lnTo>
                    <a:lnTo>
                      <a:pt x="16" y="51"/>
                    </a:lnTo>
                    <a:lnTo>
                      <a:pt x="21" y="51"/>
                    </a:lnTo>
                    <a:lnTo>
                      <a:pt x="24" y="53"/>
                    </a:lnTo>
                    <a:lnTo>
                      <a:pt x="27" y="53"/>
                    </a:lnTo>
                    <a:lnTo>
                      <a:pt x="32" y="56"/>
                    </a:lnTo>
                    <a:lnTo>
                      <a:pt x="32" y="56"/>
                    </a:lnTo>
                    <a:lnTo>
                      <a:pt x="32" y="56"/>
                    </a:lnTo>
                    <a:lnTo>
                      <a:pt x="38" y="56"/>
                    </a:lnTo>
                    <a:lnTo>
                      <a:pt x="41" y="56"/>
                    </a:lnTo>
                    <a:lnTo>
                      <a:pt x="45" y="56"/>
                    </a:lnTo>
                    <a:lnTo>
                      <a:pt x="48" y="56"/>
                    </a:lnTo>
                    <a:lnTo>
                      <a:pt x="53" y="56"/>
                    </a:lnTo>
                    <a:lnTo>
                      <a:pt x="54" y="56"/>
                    </a:lnTo>
                    <a:lnTo>
                      <a:pt x="56" y="53"/>
                    </a:lnTo>
                    <a:lnTo>
                      <a:pt x="54" y="53"/>
                    </a:lnTo>
                    <a:lnTo>
                      <a:pt x="57" y="53"/>
                    </a:lnTo>
                    <a:lnTo>
                      <a:pt x="59" y="53"/>
                    </a:lnTo>
                    <a:lnTo>
                      <a:pt x="60" y="48"/>
                    </a:lnTo>
                    <a:lnTo>
                      <a:pt x="64" y="43"/>
                    </a:lnTo>
                    <a:lnTo>
                      <a:pt x="64" y="41"/>
                    </a:lnTo>
                    <a:lnTo>
                      <a:pt x="60" y="38"/>
                    </a:lnTo>
                    <a:lnTo>
                      <a:pt x="60" y="32"/>
                    </a:lnTo>
                    <a:lnTo>
                      <a:pt x="60" y="32"/>
                    </a:lnTo>
                    <a:lnTo>
                      <a:pt x="60" y="32"/>
                    </a:lnTo>
                    <a:lnTo>
                      <a:pt x="60" y="32"/>
                    </a:lnTo>
                    <a:lnTo>
                      <a:pt x="60" y="32"/>
                    </a:lnTo>
                    <a:lnTo>
                      <a:pt x="60" y="32"/>
                    </a:lnTo>
                    <a:lnTo>
                      <a:pt x="60" y="32"/>
                    </a:lnTo>
                    <a:lnTo>
                      <a:pt x="60" y="32"/>
                    </a:lnTo>
                    <a:lnTo>
                      <a:pt x="60" y="32"/>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57" name="Freeform 52">
                <a:extLst>
                  <a:ext uri="{FF2B5EF4-FFF2-40B4-BE49-F238E27FC236}">
                    <a16:creationId xmlns:a16="http://schemas.microsoft.com/office/drawing/2014/main" id="{370CD9F0-E1D6-5FA1-BA0F-1BED9A456ED5}"/>
                  </a:ext>
                </a:extLst>
              </p:cNvPr>
              <p:cNvSpPr>
                <a:spLocks noEditPoints="1"/>
              </p:cNvSpPr>
              <p:nvPr/>
            </p:nvSpPr>
            <p:spPr bwMode="auto">
              <a:xfrm>
                <a:off x="3665171" y="3856878"/>
                <a:ext cx="1114807" cy="1262849"/>
              </a:xfrm>
              <a:custGeom>
                <a:avLst/>
                <a:gdLst>
                  <a:gd name="T0" fmla="*/ 281 w 497"/>
                  <a:gd name="T1" fmla="*/ 90 h 563"/>
                  <a:gd name="T2" fmla="*/ 302 w 497"/>
                  <a:gd name="T3" fmla="*/ 73 h 563"/>
                  <a:gd name="T4" fmla="*/ 487 w 497"/>
                  <a:gd name="T5" fmla="*/ 152 h 563"/>
                  <a:gd name="T6" fmla="*/ 433 w 497"/>
                  <a:gd name="T7" fmla="*/ 120 h 563"/>
                  <a:gd name="T8" fmla="*/ 386 w 497"/>
                  <a:gd name="T9" fmla="*/ 111 h 563"/>
                  <a:gd name="T10" fmla="*/ 371 w 497"/>
                  <a:gd name="T11" fmla="*/ 120 h 563"/>
                  <a:gd name="T12" fmla="*/ 370 w 497"/>
                  <a:gd name="T13" fmla="*/ 103 h 563"/>
                  <a:gd name="T14" fmla="*/ 359 w 497"/>
                  <a:gd name="T15" fmla="*/ 97 h 563"/>
                  <a:gd name="T16" fmla="*/ 346 w 497"/>
                  <a:gd name="T17" fmla="*/ 90 h 563"/>
                  <a:gd name="T18" fmla="*/ 332 w 497"/>
                  <a:gd name="T19" fmla="*/ 87 h 563"/>
                  <a:gd name="T20" fmla="*/ 314 w 497"/>
                  <a:gd name="T21" fmla="*/ 103 h 563"/>
                  <a:gd name="T22" fmla="*/ 295 w 497"/>
                  <a:gd name="T23" fmla="*/ 103 h 563"/>
                  <a:gd name="T24" fmla="*/ 311 w 497"/>
                  <a:gd name="T25" fmla="*/ 100 h 563"/>
                  <a:gd name="T26" fmla="*/ 295 w 497"/>
                  <a:gd name="T27" fmla="*/ 79 h 563"/>
                  <a:gd name="T28" fmla="*/ 273 w 497"/>
                  <a:gd name="T29" fmla="*/ 100 h 563"/>
                  <a:gd name="T30" fmla="*/ 298 w 497"/>
                  <a:gd name="T31" fmla="*/ 65 h 563"/>
                  <a:gd name="T32" fmla="*/ 291 w 497"/>
                  <a:gd name="T33" fmla="*/ 36 h 563"/>
                  <a:gd name="T34" fmla="*/ 264 w 497"/>
                  <a:gd name="T35" fmla="*/ 44 h 563"/>
                  <a:gd name="T36" fmla="*/ 229 w 497"/>
                  <a:gd name="T37" fmla="*/ 41 h 563"/>
                  <a:gd name="T38" fmla="*/ 203 w 497"/>
                  <a:gd name="T39" fmla="*/ 52 h 563"/>
                  <a:gd name="T40" fmla="*/ 178 w 497"/>
                  <a:gd name="T41" fmla="*/ 44 h 563"/>
                  <a:gd name="T42" fmla="*/ 175 w 497"/>
                  <a:gd name="T43" fmla="*/ 0 h 563"/>
                  <a:gd name="T44" fmla="*/ 156 w 497"/>
                  <a:gd name="T45" fmla="*/ 13 h 563"/>
                  <a:gd name="T46" fmla="*/ 125 w 497"/>
                  <a:gd name="T47" fmla="*/ 20 h 563"/>
                  <a:gd name="T48" fmla="*/ 124 w 497"/>
                  <a:gd name="T49" fmla="*/ 41 h 563"/>
                  <a:gd name="T50" fmla="*/ 106 w 497"/>
                  <a:gd name="T51" fmla="*/ 65 h 563"/>
                  <a:gd name="T52" fmla="*/ 86 w 497"/>
                  <a:gd name="T53" fmla="*/ 52 h 563"/>
                  <a:gd name="T54" fmla="*/ 51 w 497"/>
                  <a:gd name="T55" fmla="*/ 52 h 563"/>
                  <a:gd name="T56" fmla="*/ 48 w 497"/>
                  <a:gd name="T57" fmla="*/ 78 h 563"/>
                  <a:gd name="T58" fmla="*/ 41 w 497"/>
                  <a:gd name="T59" fmla="*/ 136 h 563"/>
                  <a:gd name="T60" fmla="*/ 11 w 497"/>
                  <a:gd name="T61" fmla="*/ 160 h 563"/>
                  <a:gd name="T62" fmla="*/ 3 w 497"/>
                  <a:gd name="T63" fmla="*/ 189 h 563"/>
                  <a:gd name="T64" fmla="*/ 33 w 497"/>
                  <a:gd name="T65" fmla="*/ 220 h 563"/>
                  <a:gd name="T66" fmla="*/ 60 w 497"/>
                  <a:gd name="T67" fmla="*/ 233 h 563"/>
                  <a:gd name="T68" fmla="*/ 86 w 497"/>
                  <a:gd name="T69" fmla="*/ 225 h 563"/>
                  <a:gd name="T70" fmla="*/ 111 w 497"/>
                  <a:gd name="T71" fmla="*/ 236 h 563"/>
                  <a:gd name="T72" fmla="*/ 140 w 497"/>
                  <a:gd name="T73" fmla="*/ 259 h 563"/>
                  <a:gd name="T74" fmla="*/ 178 w 497"/>
                  <a:gd name="T75" fmla="*/ 279 h 563"/>
                  <a:gd name="T76" fmla="*/ 206 w 497"/>
                  <a:gd name="T77" fmla="*/ 324 h 563"/>
                  <a:gd name="T78" fmla="*/ 217 w 497"/>
                  <a:gd name="T79" fmla="*/ 362 h 563"/>
                  <a:gd name="T80" fmla="*/ 217 w 497"/>
                  <a:gd name="T81" fmla="*/ 392 h 563"/>
                  <a:gd name="T82" fmla="*/ 254 w 497"/>
                  <a:gd name="T83" fmla="*/ 421 h 563"/>
                  <a:gd name="T84" fmla="*/ 270 w 497"/>
                  <a:gd name="T85" fmla="*/ 444 h 563"/>
                  <a:gd name="T86" fmla="*/ 257 w 497"/>
                  <a:gd name="T87" fmla="*/ 484 h 563"/>
                  <a:gd name="T88" fmla="*/ 240 w 497"/>
                  <a:gd name="T89" fmla="*/ 519 h 563"/>
                  <a:gd name="T90" fmla="*/ 300 w 497"/>
                  <a:gd name="T91" fmla="*/ 546 h 563"/>
                  <a:gd name="T92" fmla="*/ 311 w 497"/>
                  <a:gd name="T93" fmla="*/ 538 h 563"/>
                  <a:gd name="T94" fmla="*/ 316 w 497"/>
                  <a:gd name="T95" fmla="*/ 509 h 563"/>
                  <a:gd name="T96" fmla="*/ 321 w 497"/>
                  <a:gd name="T97" fmla="*/ 525 h 563"/>
                  <a:gd name="T98" fmla="*/ 346 w 497"/>
                  <a:gd name="T99" fmla="*/ 487 h 563"/>
                  <a:gd name="T100" fmla="*/ 343 w 497"/>
                  <a:gd name="T101" fmla="*/ 452 h 563"/>
                  <a:gd name="T102" fmla="*/ 351 w 497"/>
                  <a:gd name="T103" fmla="*/ 432 h 563"/>
                  <a:gd name="T104" fmla="*/ 383 w 497"/>
                  <a:gd name="T105" fmla="*/ 414 h 563"/>
                  <a:gd name="T106" fmla="*/ 405 w 497"/>
                  <a:gd name="T107" fmla="*/ 403 h 563"/>
                  <a:gd name="T108" fmla="*/ 430 w 497"/>
                  <a:gd name="T109" fmla="*/ 389 h 563"/>
                  <a:gd name="T110" fmla="*/ 441 w 497"/>
                  <a:gd name="T111" fmla="*/ 343 h 563"/>
                  <a:gd name="T112" fmla="*/ 448 w 497"/>
                  <a:gd name="T113" fmla="*/ 274 h 563"/>
                  <a:gd name="T114" fmla="*/ 457 w 497"/>
                  <a:gd name="T115" fmla="*/ 262 h 563"/>
                  <a:gd name="T116" fmla="*/ 483 w 497"/>
                  <a:gd name="T117" fmla="*/ 222 h 563"/>
                  <a:gd name="T118" fmla="*/ 494 w 497"/>
                  <a:gd name="T119" fmla="*/ 16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7" h="563">
                    <a:moveTo>
                      <a:pt x="281" y="90"/>
                    </a:moveTo>
                    <a:lnTo>
                      <a:pt x="279" y="93"/>
                    </a:lnTo>
                    <a:lnTo>
                      <a:pt x="279" y="97"/>
                    </a:lnTo>
                    <a:lnTo>
                      <a:pt x="279" y="98"/>
                    </a:lnTo>
                    <a:lnTo>
                      <a:pt x="281" y="97"/>
                    </a:lnTo>
                    <a:lnTo>
                      <a:pt x="284" y="93"/>
                    </a:lnTo>
                    <a:lnTo>
                      <a:pt x="287" y="90"/>
                    </a:lnTo>
                    <a:lnTo>
                      <a:pt x="287" y="86"/>
                    </a:lnTo>
                    <a:lnTo>
                      <a:pt x="286" y="84"/>
                    </a:lnTo>
                    <a:lnTo>
                      <a:pt x="283" y="86"/>
                    </a:lnTo>
                    <a:lnTo>
                      <a:pt x="281" y="90"/>
                    </a:lnTo>
                    <a:lnTo>
                      <a:pt x="281" y="90"/>
                    </a:lnTo>
                    <a:lnTo>
                      <a:pt x="281" y="90"/>
                    </a:lnTo>
                    <a:lnTo>
                      <a:pt x="281" y="90"/>
                    </a:lnTo>
                    <a:lnTo>
                      <a:pt x="281" y="90"/>
                    </a:lnTo>
                    <a:lnTo>
                      <a:pt x="281" y="90"/>
                    </a:lnTo>
                    <a:lnTo>
                      <a:pt x="281" y="90"/>
                    </a:lnTo>
                    <a:lnTo>
                      <a:pt x="281" y="90"/>
                    </a:lnTo>
                    <a:lnTo>
                      <a:pt x="281" y="90"/>
                    </a:lnTo>
                    <a:lnTo>
                      <a:pt x="281" y="90"/>
                    </a:lnTo>
                    <a:close/>
                    <a:moveTo>
                      <a:pt x="300" y="73"/>
                    </a:moveTo>
                    <a:lnTo>
                      <a:pt x="297" y="74"/>
                    </a:lnTo>
                    <a:lnTo>
                      <a:pt x="297" y="76"/>
                    </a:lnTo>
                    <a:lnTo>
                      <a:pt x="298" y="76"/>
                    </a:lnTo>
                    <a:lnTo>
                      <a:pt x="302" y="76"/>
                    </a:lnTo>
                    <a:lnTo>
                      <a:pt x="302" y="78"/>
                    </a:lnTo>
                    <a:lnTo>
                      <a:pt x="302" y="76"/>
                    </a:lnTo>
                    <a:lnTo>
                      <a:pt x="305" y="74"/>
                    </a:lnTo>
                    <a:lnTo>
                      <a:pt x="305" y="73"/>
                    </a:lnTo>
                    <a:lnTo>
                      <a:pt x="302" y="73"/>
                    </a:lnTo>
                    <a:lnTo>
                      <a:pt x="300" y="73"/>
                    </a:lnTo>
                    <a:lnTo>
                      <a:pt x="300" y="73"/>
                    </a:lnTo>
                    <a:lnTo>
                      <a:pt x="300" y="73"/>
                    </a:lnTo>
                    <a:lnTo>
                      <a:pt x="300" y="73"/>
                    </a:lnTo>
                    <a:lnTo>
                      <a:pt x="300" y="73"/>
                    </a:lnTo>
                    <a:lnTo>
                      <a:pt x="300" y="73"/>
                    </a:lnTo>
                    <a:lnTo>
                      <a:pt x="300" y="73"/>
                    </a:lnTo>
                    <a:lnTo>
                      <a:pt x="300" y="73"/>
                    </a:lnTo>
                    <a:lnTo>
                      <a:pt x="300" y="73"/>
                    </a:lnTo>
                    <a:close/>
                    <a:moveTo>
                      <a:pt x="494" y="168"/>
                    </a:moveTo>
                    <a:lnTo>
                      <a:pt x="494" y="167"/>
                    </a:lnTo>
                    <a:lnTo>
                      <a:pt x="494" y="163"/>
                    </a:lnTo>
                    <a:lnTo>
                      <a:pt x="492" y="157"/>
                    </a:lnTo>
                    <a:lnTo>
                      <a:pt x="489" y="152"/>
                    </a:lnTo>
                    <a:lnTo>
                      <a:pt x="487" y="152"/>
                    </a:lnTo>
                    <a:lnTo>
                      <a:pt x="483" y="149"/>
                    </a:lnTo>
                    <a:lnTo>
                      <a:pt x="479" y="149"/>
                    </a:lnTo>
                    <a:lnTo>
                      <a:pt x="475" y="149"/>
                    </a:lnTo>
                    <a:lnTo>
                      <a:pt x="472" y="149"/>
                    </a:lnTo>
                    <a:lnTo>
                      <a:pt x="472" y="149"/>
                    </a:lnTo>
                    <a:lnTo>
                      <a:pt x="468" y="146"/>
                    </a:lnTo>
                    <a:lnTo>
                      <a:pt x="465" y="146"/>
                    </a:lnTo>
                    <a:lnTo>
                      <a:pt x="462" y="143"/>
                    </a:lnTo>
                    <a:lnTo>
                      <a:pt x="459" y="141"/>
                    </a:lnTo>
                    <a:lnTo>
                      <a:pt x="454" y="136"/>
                    </a:lnTo>
                    <a:lnTo>
                      <a:pt x="451" y="132"/>
                    </a:lnTo>
                    <a:lnTo>
                      <a:pt x="448" y="130"/>
                    </a:lnTo>
                    <a:lnTo>
                      <a:pt x="445" y="128"/>
                    </a:lnTo>
                    <a:lnTo>
                      <a:pt x="437" y="120"/>
                    </a:lnTo>
                    <a:lnTo>
                      <a:pt x="433" y="120"/>
                    </a:lnTo>
                    <a:lnTo>
                      <a:pt x="427" y="117"/>
                    </a:lnTo>
                    <a:lnTo>
                      <a:pt x="422" y="117"/>
                    </a:lnTo>
                    <a:lnTo>
                      <a:pt x="418" y="117"/>
                    </a:lnTo>
                    <a:lnTo>
                      <a:pt x="414" y="117"/>
                    </a:lnTo>
                    <a:lnTo>
                      <a:pt x="413" y="120"/>
                    </a:lnTo>
                    <a:lnTo>
                      <a:pt x="411" y="120"/>
                    </a:lnTo>
                    <a:lnTo>
                      <a:pt x="408" y="117"/>
                    </a:lnTo>
                    <a:lnTo>
                      <a:pt x="405" y="117"/>
                    </a:lnTo>
                    <a:lnTo>
                      <a:pt x="405" y="117"/>
                    </a:lnTo>
                    <a:lnTo>
                      <a:pt x="402" y="117"/>
                    </a:lnTo>
                    <a:lnTo>
                      <a:pt x="398" y="114"/>
                    </a:lnTo>
                    <a:lnTo>
                      <a:pt x="395" y="114"/>
                    </a:lnTo>
                    <a:lnTo>
                      <a:pt x="389" y="111"/>
                    </a:lnTo>
                    <a:lnTo>
                      <a:pt x="387" y="111"/>
                    </a:lnTo>
                    <a:lnTo>
                      <a:pt x="386" y="111"/>
                    </a:lnTo>
                    <a:lnTo>
                      <a:pt x="383" y="111"/>
                    </a:lnTo>
                    <a:lnTo>
                      <a:pt x="381" y="114"/>
                    </a:lnTo>
                    <a:lnTo>
                      <a:pt x="381" y="114"/>
                    </a:lnTo>
                    <a:lnTo>
                      <a:pt x="381" y="114"/>
                    </a:lnTo>
                    <a:lnTo>
                      <a:pt x="378" y="114"/>
                    </a:lnTo>
                    <a:lnTo>
                      <a:pt x="378" y="117"/>
                    </a:lnTo>
                    <a:lnTo>
                      <a:pt x="378" y="117"/>
                    </a:lnTo>
                    <a:lnTo>
                      <a:pt x="375" y="117"/>
                    </a:lnTo>
                    <a:lnTo>
                      <a:pt x="378" y="114"/>
                    </a:lnTo>
                    <a:lnTo>
                      <a:pt x="378" y="114"/>
                    </a:lnTo>
                    <a:lnTo>
                      <a:pt x="378" y="111"/>
                    </a:lnTo>
                    <a:lnTo>
                      <a:pt x="378" y="111"/>
                    </a:lnTo>
                    <a:lnTo>
                      <a:pt x="375" y="114"/>
                    </a:lnTo>
                    <a:lnTo>
                      <a:pt x="375" y="117"/>
                    </a:lnTo>
                    <a:lnTo>
                      <a:pt x="371" y="120"/>
                    </a:lnTo>
                    <a:lnTo>
                      <a:pt x="371" y="120"/>
                    </a:lnTo>
                    <a:lnTo>
                      <a:pt x="370" y="124"/>
                    </a:lnTo>
                    <a:lnTo>
                      <a:pt x="370" y="122"/>
                    </a:lnTo>
                    <a:lnTo>
                      <a:pt x="371" y="120"/>
                    </a:lnTo>
                    <a:lnTo>
                      <a:pt x="371" y="117"/>
                    </a:lnTo>
                    <a:lnTo>
                      <a:pt x="371" y="114"/>
                    </a:lnTo>
                    <a:lnTo>
                      <a:pt x="375" y="111"/>
                    </a:lnTo>
                    <a:lnTo>
                      <a:pt x="375" y="109"/>
                    </a:lnTo>
                    <a:lnTo>
                      <a:pt x="371" y="108"/>
                    </a:lnTo>
                    <a:lnTo>
                      <a:pt x="371" y="108"/>
                    </a:lnTo>
                    <a:lnTo>
                      <a:pt x="371" y="105"/>
                    </a:lnTo>
                    <a:lnTo>
                      <a:pt x="371" y="103"/>
                    </a:lnTo>
                    <a:lnTo>
                      <a:pt x="371" y="103"/>
                    </a:lnTo>
                    <a:lnTo>
                      <a:pt x="371" y="101"/>
                    </a:lnTo>
                    <a:lnTo>
                      <a:pt x="370" y="103"/>
                    </a:lnTo>
                    <a:lnTo>
                      <a:pt x="368" y="103"/>
                    </a:lnTo>
                    <a:lnTo>
                      <a:pt x="370" y="101"/>
                    </a:lnTo>
                    <a:lnTo>
                      <a:pt x="368" y="101"/>
                    </a:lnTo>
                    <a:lnTo>
                      <a:pt x="368" y="100"/>
                    </a:lnTo>
                    <a:lnTo>
                      <a:pt x="367" y="100"/>
                    </a:lnTo>
                    <a:lnTo>
                      <a:pt x="365" y="98"/>
                    </a:lnTo>
                    <a:lnTo>
                      <a:pt x="364" y="98"/>
                    </a:lnTo>
                    <a:lnTo>
                      <a:pt x="364" y="100"/>
                    </a:lnTo>
                    <a:lnTo>
                      <a:pt x="362" y="101"/>
                    </a:lnTo>
                    <a:lnTo>
                      <a:pt x="362" y="98"/>
                    </a:lnTo>
                    <a:lnTo>
                      <a:pt x="362" y="97"/>
                    </a:lnTo>
                    <a:lnTo>
                      <a:pt x="360" y="98"/>
                    </a:lnTo>
                    <a:lnTo>
                      <a:pt x="360" y="97"/>
                    </a:lnTo>
                    <a:lnTo>
                      <a:pt x="360" y="97"/>
                    </a:lnTo>
                    <a:lnTo>
                      <a:pt x="359" y="97"/>
                    </a:lnTo>
                    <a:lnTo>
                      <a:pt x="359" y="97"/>
                    </a:lnTo>
                    <a:lnTo>
                      <a:pt x="357" y="97"/>
                    </a:lnTo>
                    <a:lnTo>
                      <a:pt x="357" y="93"/>
                    </a:lnTo>
                    <a:lnTo>
                      <a:pt x="356" y="97"/>
                    </a:lnTo>
                    <a:lnTo>
                      <a:pt x="354" y="93"/>
                    </a:lnTo>
                    <a:lnTo>
                      <a:pt x="352" y="93"/>
                    </a:lnTo>
                    <a:lnTo>
                      <a:pt x="351" y="93"/>
                    </a:lnTo>
                    <a:lnTo>
                      <a:pt x="351" y="93"/>
                    </a:lnTo>
                    <a:lnTo>
                      <a:pt x="351" y="90"/>
                    </a:lnTo>
                    <a:lnTo>
                      <a:pt x="349" y="93"/>
                    </a:lnTo>
                    <a:lnTo>
                      <a:pt x="348" y="93"/>
                    </a:lnTo>
                    <a:lnTo>
                      <a:pt x="348" y="90"/>
                    </a:lnTo>
                    <a:lnTo>
                      <a:pt x="346" y="90"/>
                    </a:lnTo>
                    <a:lnTo>
                      <a:pt x="346" y="90"/>
                    </a:lnTo>
                    <a:lnTo>
                      <a:pt x="346" y="90"/>
                    </a:lnTo>
                    <a:lnTo>
                      <a:pt x="343" y="90"/>
                    </a:lnTo>
                    <a:lnTo>
                      <a:pt x="343" y="87"/>
                    </a:lnTo>
                    <a:lnTo>
                      <a:pt x="343" y="87"/>
                    </a:lnTo>
                    <a:lnTo>
                      <a:pt x="340" y="90"/>
                    </a:lnTo>
                    <a:lnTo>
                      <a:pt x="340" y="87"/>
                    </a:lnTo>
                    <a:lnTo>
                      <a:pt x="340" y="87"/>
                    </a:lnTo>
                    <a:lnTo>
                      <a:pt x="340" y="87"/>
                    </a:lnTo>
                    <a:lnTo>
                      <a:pt x="337" y="87"/>
                    </a:lnTo>
                    <a:lnTo>
                      <a:pt x="337" y="87"/>
                    </a:lnTo>
                    <a:lnTo>
                      <a:pt x="335" y="86"/>
                    </a:lnTo>
                    <a:lnTo>
                      <a:pt x="335" y="87"/>
                    </a:lnTo>
                    <a:lnTo>
                      <a:pt x="335" y="87"/>
                    </a:lnTo>
                    <a:lnTo>
                      <a:pt x="333" y="87"/>
                    </a:lnTo>
                    <a:lnTo>
                      <a:pt x="332" y="87"/>
                    </a:lnTo>
                    <a:lnTo>
                      <a:pt x="332" y="87"/>
                    </a:lnTo>
                    <a:lnTo>
                      <a:pt x="330" y="87"/>
                    </a:lnTo>
                    <a:lnTo>
                      <a:pt x="329" y="87"/>
                    </a:lnTo>
                    <a:lnTo>
                      <a:pt x="327" y="87"/>
                    </a:lnTo>
                    <a:lnTo>
                      <a:pt x="325" y="87"/>
                    </a:lnTo>
                    <a:lnTo>
                      <a:pt x="324" y="90"/>
                    </a:lnTo>
                    <a:lnTo>
                      <a:pt x="324" y="93"/>
                    </a:lnTo>
                    <a:lnTo>
                      <a:pt x="324" y="97"/>
                    </a:lnTo>
                    <a:lnTo>
                      <a:pt x="322" y="97"/>
                    </a:lnTo>
                    <a:lnTo>
                      <a:pt x="321" y="98"/>
                    </a:lnTo>
                    <a:lnTo>
                      <a:pt x="322" y="100"/>
                    </a:lnTo>
                    <a:lnTo>
                      <a:pt x="319" y="98"/>
                    </a:lnTo>
                    <a:lnTo>
                      <a:pt x="318" y="98"/>
                    </a:lnTo>
                    <a:lnTo>
                      <a:pt x="316" y="100"/>
                    </a:lnTo>
                    <a:lnTo>
                      <a:pt x="314" y="101"/>
                    </a:lnTo>
                    <a:lnTo>
                      <a:pt x="314" y="103"/>
                    </a:lnTo>
                    <a:lnTo>
                      <a:pt x="311" y="106"/>
                    </a:lnTo>
                    <a:lnTo>
                      <a:pt x="311" y="108"/>
                    </a:lnTo>
                    <a:lnTo>
                      <a:pt x="308" y="114"/>
                    </a:lnTo>
                    <a:lnTo>
                      <a:pt x="308" y="108"/>
                    </a:lnTo>
                    <a:lnTo>
                      <a:pt x="311" y="101"/>
                    </a:lnTo>
                    <a:lnTo>
                      <a:pt x="311" y="101"/>
                    </a:lnTo>
                    <a:lnTo>
                      <a:pt x="308" y="103"/>
                    </a:lnTo>
                    <a:lnTo>
                      <a:pt x="308" y="103"/>
                    </a:lnTo>
                    <a:lnTo>
                      <a:pt x="305" y="105"/>
                    </a:lnTo>
                    <a:lnTo>
                      <a:pt x="305" y="106"/>
                    </a:lnTo>
                    <a:lnTo>
                      <a:pt x="302" y="103"/>
                    </a:lnTo>
                    <a:lnTo>
                      <a:pt x="302" y="103"/>
                    </a:lnTo>
                    <a:lnTo>
                      <a:pt x="297" y="105"/>
                    </a:lnTo>
                    <a:lnTo>
                      <a:pt x="297" y="103"/>
                    </a:lnTo>
                    <a:lnTo>
                      <a:pt x="295" y="103"/>
                    </a:lnTo>
                    <a:lnTo>
                      <a:pt x="294" y="103"/>
                    </a:lnTo>
                    <a:lnTo>
                      <a:pt x="294" y="101"/>
                    </a:lnTo>
                    <a:lnTo>
                      <a:pt x="292" y="98"/>
                    </a:lnTo>
                    <a:lnTo>
                      <a:pt x="292" y="97"/>
                    </a:lnTo>
                    <a:lnTo>
                      <a:pt x="295" y="101"/>
                    </a:lnTo>
                    <a:lnTo>
                      <a:pt x="297" y="103"/>
                    </a:lnTo>
                    <a:lnTo>
                      <a:pt x="298" y="103"/>
                    </a:lnTo>
                    <a:lnTo>
                      <a:pt x="298" y="101"/>
                    </a:lnTo>
                    <a:lnTo>
                      <a:pt x="302" y="101"/>
                    </a:lnTo>
                    <a:lnTo>
                      <a:pt x="305" y="101"/>
                    </a:lnTo>
                    <a:lnTo>
                      <a:pt x="305" y="101"/>
                    </a:lnTo>
                    <a:lnTo>
                      <a:pt x="308" y="101"/>
                    </a:lnTo>
                    <a:lnTo>
                      <a:pt x="308" y="98"/>
                    </a:lnTo>
                    <a:lnTo>
                      <a:pt x="311" y="100"/>
                    </a:lnTo>
                    <a:lnTo>
                      <a:pt x="311" y="100"/>
                    </a:lnTo>
                    <a:lnTo>
                      <a:pt x="314" y="98"/>
                    </a:lnTo>
                    <a:lnTo>
                      <a:pt x="318" y="97"/>
                    </a:lnTo>
                    <a:lnTo>
                      <a:pt x="319" y="93"/>
                    </a:lnTo>
                    <a:lnTo>
                      <a:pt x="321" y="90"/>
                    </a:lnTo>
                    <a:lnTo>
                      <a:pt x="321" y="87"/>
                    </a:lnTo>
                    <a:lnTo>
                      <a:pt x="322" y="82"/>
                    </a:lnTo>
                    <a:lnTo>
                      <a:pt x="322" y="81"/>
                    </a:lnTo>
                    <a:lnTo>
                      <a:pt x="321" y="81"/>
                    </a:lnTo>
                    <a:lnTo>
                      <a:pt x="314" y="79"/>
                    </a:lnTo>
                    <a:lnTo>
                      <a:pt x="311" y="79"/>
                    </a:lnTo>
                    <a:lnTo>
                      <a:pt x="311" y="81"/>
                    </a:lnTo>
                    <a:lnTo>
                      <a:pt x="308" y="81"/>
                    </a:lnTo>
                    <a:lnTo>
                      <a:pt x="302" y="79"/>
                    </a:lnTo>
                    <a:lnTo>
                      <a:pt x="298" y="79"/>
                    </a:lnTo>
                    <a:lnTo>
                      <a:pt x="295" y="79"/>
                    </a:lnTo>
                    <a:lnTo>
                      <a:pt x="294" y="81"/>
                    </a:lnTo>
                    <a:lnTo>
                      <a:pt x="294" y="84"/>
                    </a:lnTo>
                    <a:lnTo>
                      <a:pt x="294" y="86"/>
                    </a:lnTo>
                    <a:lnTo>
                      <a:pt x="295" y="87"/>
                    </a:lnTo>
                    <a:lnTo>
                      <a:pt x="292" y="87"/>
                    </a:lnTo>
                    <a:lnTo>
                      <a:pt x="292" y="87"/>
                    </a:lnTo>
                    <a:lnTo>
                      <a:pt x="292" y="90"/>
                    </a:lnTo>
                    <a:lnTo>
                      <a:pt x="292" y="90"/>
                    </a:lnTo>
                    <a:lnTo>
                      <a:pt x="291" y="90"/>
                    </a:lnTo>
                    <a:lnTo>
                      <a:pt x="287" y="93"/>
                    </a:lnTo>
                    <a:lnTo>
                      <a:pt x="283" y="97"/>
                    </a:lnTo>
                    <a:lnTo>
                      <a:pt x="279" y="98"/>
                    </a:lnTo>
                    <a:lnTo>
                      <a:pt x="276" y="100"/>
                    </a:lnTo>
                    <a:lnTo>
                      <a:pt x="273" y="101"/>
                    </a:lnTo>
                    <a:lnTo>
                      <a:pt x="273" y="100"/>
                    </a:lnTo>
                    <a:lnTo>
                      <a:pt x="270" y="98"/>
                    </a:lnTo>
                    <a:lnTo>
                      <a:pt x="268" y="100"/>
                    </a:lnTo>
                    <a:lnTo>
                      <a:pt x="270" y="97"/>
                    </a:lnTo>
                    <a:lnTo>
                      <a:pt x="273" y="97"/>
                    </a:lnTo>
                    <a:lnTo>
                      <a:pt x="276" y="97"/>
                    </a:lnTo>
                    <a:lnTo>
                      <a:pt x="276" y="97"/>
                    </a:lnTo>
                    <a:lnTo>
                      <a:pt x="276" y="97"/>
                    </a:lnTo>
                    <a:lnTo>
                      <a:pt x="279" y="93"/>
                    </a:lnTo>
                    <a:lnTo>
                      <a:pt x="279" y="90"/>
                    </a:lnTo>
                    <a:lnTo>
                      <a:pt x="279" y="87"/>
                    </a:lnTo>
                    <a:lnTo>
                      <a:pt x="283" y="86"/>
                    </a:lnTo>
                    <a:lnTo>
                      <a:pt x="287" y="78"/>
                    </a:lnTo>
                    <a:lnTo>
                      <a:pt x="294" y="73"/>
                    </a:lnTo>
                    <a:lnTo>
                      <a:pt x="295" y="68"/>
                    </a:lnTo>
                    <a:lnTo>
                      <a:pt x="298" y="65"/>
                    </a:lnTo>
                    <a:lnTo>
                      <a:pt x="300" y="62"/>
                    </a:lnTo>
                    <a:lnTo>
                      <a:pt x="302" y="59"/>
                    </a:lnTo>
                    <a:lnTo>
                      <a:pt x="302" y="59"/>
                    </a:lnTo>
                    <a:lnTo>
                      <a:pt x="302" y="59"/>
                    </a:lnTo>
                    <a:lnTo>
                      <a:pt x="305" y="55"/>
                    </a:lnTo>
                    <a:lnTo>
                      <a:pt x="302" y="52"/>
                    </a:lnTo>
                    <a:lnTo>
                      <a:pt x="302" y="51"/>
                    </a:lnTo>
                    <a:lnTo>
                      <a:pt x="298" y="51"/>
                    </a:lnTo>
                    <a:lnTo>
                      <a:pt x="297" y="51"/>
                    </a:lnTo>
                    <a:lnTo>
                      <a:pt x="295" y="49"/>
                    </a:lnTo>
                    <a:lnTo>
                      <a:pt x="295" y="47"/>
                    </a:lnTo>
                    <a:lnTo>
                      <a:pt x="292" y="46"/>
                    </a:lnTo>
                    <a:lnTo>
                      <a:pt x="294" y="44"/>
                    </a:lnTo>
                    <a:lnTo>
                      <a:pt x="294" y="41"/>
                    </a:lnTo>
                    <a:lnTo>
                      <a:pt x="291" y="36"/>
                    </a:lnTo>
                    <a:lnTo>
                      <a:pt x="289" y="30"/>
                    </a:lnTo>
                    <a:lnTo>
                      <a:pt x="289" y="20"/>
                    </a:lnTo>
                    <a:lnTo>
                      <a:pt x="287" y="20"/>
                    </a:lnTo>
                    <a:lnTo>
                      <a:pt x="287" y="17"/>
                    </a:lnTo>
                    <a:lnTo>
                      <a:pt x="286" y="16"/>
                    </a:lnTo>
                    <a:lnTo>
                      <a:pt x="284" y="14"/>
                    </a:lnTo>
                    <a:lnTo>
                      <a:pt x="283" y="16"/>
                    </a:lnTo>
                    <a:lnTo>
                      <a:pt x="281" y="13"/>
                    </a:lnTo>
                    <a:lnTo>
                      <a:pt x="281" y="14"/>
                    </a:lnTo>
                    <a:lnTo>
                      <a:pt x="281" y="16"/>
                    </a:lnTo>
                    <a:lnTo>
                      <a:pt x="279" y="20"/>
                    </a:lnTo>
                    <a:lnTo>
                      <a:pt x="273" y="30"/>
                    </a:lnTo>
                    <a:lnTo>
                      <a:pt x="268" y="41"/>
                    </a:lnTo>
                    <a:lnTo>
                      <a:pt x="265" y="44"/>
                    </a:lnTo>
                    <a:lnTo>
                      <a:pt x="264" y="44"/>
                    </a:lnTo>
                    <a:lnTo>
                      <a:pt x="260" y="44"/>
                    </a:lnTo>
                    <a:lnTo>
                      <a:pt x="259" y="44"/>
                    </a:lnTo>
                    <a:lnTo>
                      <a:pt x="256" y="44"/>
                    </a:lnTo>
                    <a:lnTo>
                      <a:pt x="254" y="43"/>
                    </a:lnTo>
                    <a:lnTo>
                      <a:pt x="249" y="46"/>
                    </a:lnTo>
                    <a:lnTo>
                      <a:pt x="249" y="46"/>
                    </a:lnTo>
                    <a:lnTo>
                      <a:pt x="246" y="44"/>
                    </a:lnTo>
                    <a:lnTo>
                      <a:pt x="244" y="43"/>
                    </a:lnTo>
                    <a:lnTo>
                      <a:pt x="243" y="41"/>
                    </a:lnTo>
                    <a:lnTo>
                      <a:pt x="241" y="41"/>
                    </a:lnTo>
                    <a:lnTo>
                      <a:pt x="240" y="40"/>
                    </a:lnTo>
                    <a:lnTo>
                      <a:pt x="240" y="40"/>
                    </a:lnTo>
                    <a:lnTo>
                      <a:pt x="235" y="40"/>
                    </a:lnTo>
                    <a:lnTo>
                      <a:pt x="230" y="41"/>
                    </a:lnTo>
                    <a:lnTo>
                      <a:pt x="229" y="41"/>
                    </a:lnTo>
                    <a:lnTo>
                      <a:pt x="227" y="41"/>
                    </a:lnTo>
                    <a:lnTo>
                      <a:pt x="225" y="43"/>
                    </a:lnTo>
                    <a:lnTo>
                      <a:pt x="225" y="44"/>
                    </a:lnTo>
                    <a:lnTo>
                      <a:pt x="225" y="46"/>
                    </a:lnTo>
                    <a:lnTo>
                      <a:pt x="227" y="47"/>
                    </a:lnTo>
                    <a:lnTo>
                      <a:pt x="227" y="49"/>
                    </a:lnTo>
                    <a:lnTo>
                      <a:pt x="225" y="51"/>
                    </a:lnTo>
                    <a:lnTo>
                      <a:pt x="224" y="51"/>
                    </a:lnTo>
                    <a:lnTo>
                      <a:pt x="221" y="49"/>
                    </a:lnTo>
                    <a:lnTo>
                      <a:pt x="217" y="49"/>
                    </a:lnTo>
                    <a:lnTo>
                      <a:pt x="214" y="49"/>
                    </a:lnTo>
                    <a:lnTo>
                      <a:pt x="210" y="49"/>
                    </a:lnTo>
                    <a:lnTo>
                      <a:pt x="206" y="51"/>
                    </a:lnTo>
                    <a:lnTo>
                      <a:pt x="205" y="52"/>
                    </a:lnTo>
                    <a:lnTo>
                      <a:pt x="203" y="52"/>
                    </a:lnTo>
                    <a:lnTo>
                      <a:pt x="198" y="52"/>
                    </a:lnTo>
                    <a:lnTo>
                      <a:pt x="194" y="55"/>
                    </a:lnTo>
                    <a:lnTo>
                      <a:pt x="192" y="59"/>
                    </a:lnTo>
                    <a:lnTo>
                      <a:pt x="191" y="59"/>
                    </a:lnTo>
                    <a:lnTo>
                      <a:pt x="189" y="59"/>
                    </a:lnTo>
                    <a:lnTo>
                      <a:pt x="189" y="59"/>
                    </a:lnTo>
                    <a:lnTo>
                      <a:pt x="186" y="59"/>
                    </a:lnTo>
                    <a:lnTo>
                      <a:pt x="186" y="55"/>
                    </a:lnTo>
                    <a:lnTo>
                      <a:pt x="183" y="52"/>
                    </a:lnTo>
                    <a:lnTo>
                      <a:pt x="179" y="52"/>
                    </a:lnTo>
                    <a:lnTo>
                      <a:pt x="179" y="51"/>
                    </a:lnTo>
                    <a:lnTo>
                      <a:pt x="179" y="49"/>
                    </a:lnTo>
                    <a:lnTo>
                      <a:pt x="179" y="47"/>
                    </a:lnTo>
                    <a:lnTo>
                      <a:pt x="179" y="46"/>
                    </a:lnTo>
                    <a:lnTo>
                      <a:pt x="178" y="44"/>
                    </a:lnTo>
                    <a:lnTo>
                      <a:pt x="176" y="40"/>
                    </a:lnTo>
                    <a:lnTo>
                      <a:pt x="176" y="35"/>
                    </a:lnTo>
                    <a:lnTo>
                      <a:pt x="178" y="30"/>
                    </a:lnTo>
                    <a:lnTo>
                      <a:pt x="179" y="27"/>
                    </a:lnTo>
                    <a:lnTo>
                      <a:pt x="179" y="24"/>
                    </a:lnTo>
                    <a:lnTo>
                      <a:pt x="183" y="20"/>
                    </a:lnTo>
                    <a:lnTo>
                      <a:pt x="183" y="20"/>
                    </a:lnTo>
                    <a:lnTo>
                      <a:pt x="179" y="16"/>
                    </a:lnTo>
                    <a:lnTo>
                      <a:pt x="179" y="14"/>
                    </a:lnTo>
                    <a:lnTo>
                      <a:pt x="176" y="13"/>
                    </a:lnTo>
                    <a:lnTo>
                      <a:pt x="175" y="11"/>
                    </a:lnTo>
                    <a:lnTo>
                      <a:pt x="176" y="6"/>
                    </a:lnTo>
                    <a:lnTo>
                      <a:pt x="176" y="5"/>
                    </a:lnTo>
                    <a:lnTo>
                      <a:pt x="176" y="1"/>
                    </a:lnTo>
                    <a:lnTo>
                      <a:pt x="175" y="0"/>
                    </a:lnTo>
                    <a:lnTo>
                      <a:pt x="173" y="0"/>
                    </a:lnTo>
                    <a:lnTo>
                      <a:pt x="167" y="1"/>
                    </a:lnTo>
                    <a:lnTo>
                      <a:pt x="167" y="1"/>
                    </a:lnTo>
                    <a:lnTo>
                      <a:pt x="167" y="1"/>
                    </a:lnTo>
                    <a:lnTo>
                      <a:pt x="167" y="1"/>
                    </a:lnTo>
                    <a:lnTo>
                      <a:pt x="167" y="1"/>
                    </a:lnTo>
                    <a:lnTo>
                      <a:pt x="167" y="3"/>
                    </a:lnTo>
                    <a:lnTo>
                      <a:pt x="167" y="5"/>
                    </a:lnTo>
                    <a:lnTo>
                      <a:pt x="167" y="6"/>
                    </a:lnTo>
                    <a:lnTo>
                      <a:pt x="167" y="6"/>
                    </a:lnTo>
                    <a:lnTo>
                      <a:pt x="167" y="6"/>
                    </a:lnTo>
                    <a:lnTo>
                      <a:pt x="164" y="11"/>
                    </a:lnTo>
                    <a:lnTo>
                      <a:pt x="162" y="13"/>
                    </a:lnTo>
                    <a:lnTo>
                      <a:pt x="160" y="11"/>
                    </a:lnTo>
                    <a:lnTo>
                      <a:pt x="156" y="13"/>
                    </a:lnTo>
                    <a:lnTo>
                      <a:pt x="154" y="16"/>
                    </a:lnTo>
                    <a:lnTo>
                      <a:pt x="148" y="17"/>
                    </a:lnTo>
                    <a:lnTo>
                      <a:pt x="144" y="17"/>
                    </a:lnTo>
                    <a:lnTo>
                      <a:pt x="144" y="17"/>
                    </a:lnTo>
                    <a:lnTo>
                      <a:pt x="143" y="17"/>
                    </a:lnTo>
                    <a:lnTo>
                      <a:pt x="141" y="17"/>
                    </a:lnTo>
                    <a:lnTo>
                      <a:pt x="141" y="24"/>
                    </a:lnTo>
                    <a:lnTo>
                      <a:pt x="141" y="24"/>
                    </a:lnTo>
                    <a:lnTo>
                      <a:pt x="140" y="24"/>
                    </a:lnTo>
                    <a:lnTo>
                      <a:pt x="137" y="24"/>
                    </a:lnTo>
                    <a:lnTo>
                      <a:pt x="135" y="20"/>
                    </a:lnTo>
                    <a:lnTo>
                      <a:pt x="133" y="20"/>
                    </a:lnTo>
                    <a:lnTo>
                      <a:pt x="132" y="20"/>
                    </a:lnTo>
                    <a:lnTo>
                      <a:pt x="130" y="20"/>
                    </a:lnTo>
                    <a:lnTo>
                      <a:pt x="125" y="20"/>
                    </a:lnTo>
                    <a:lnTo>
                      <a:pt x="124" y="20"/>
                    </a:lnTo>
                    <a:lnTo>
                      <a:pt x="124" y="17"/>
                    </a:lnTo>
                    <a:lnTo>
                      <a:pt x="122" y="17"/>
                    </a:lnTo>
                    <a:lnTo>
                      <a:pt x="121" y="17"/>
                    </a:lnTo>
                    <a:lnTo>
                      <a:pt x="119" y="17"/>
                    </a:lnTo>
                    <a:lnTo>
                      <a:pt x="117" y="16"/>
                    </a:lnTo>
                    <a:lnTo>
                      <a:pt x="116" y="16"/>
                    </a:lnTo>
                    <a:lnTo>
                      <a:pt x="116" y="17"/>
                    </a:lnTo>
                    <a:lnTo>
                      <a:pt x="116" y="17"/>
                    </a:lnTo>
                    <a:lnTo>
                      <a:pt x="119" y="20"/>
                    </a:lnTo>
                    <a:lnTo>
                      <a:pt x="121" y="24"/>
                    </a:lnTo>
                    <a:lnTo>
                      <a:pt x="121" y="27"/>
                    </a:lnTo>
                    <a:lnTo>
                      <a:pt x="122" y="33"/>
                    </a:lnTo>
                    <a:lnTo>
                      <a:pt x="124" y="36"/>
                    </a:lnTo>
                    <a:lnTo>
                      <a:pt x="124" y="41"/>
                    </a:lnTo>
                    <a:lnTo>
                      <a:pt x="125" y="41"/>
                    </a:lnTo>
                    <a:lnTo>
                      <a:pt x="129" y="41"/>
                    </a:lnTo>
                    <a:lnTo>
                      <a:pt x="132" y="43"/>
                    </a:lnTo>
                    <a:lnTo>
                      <a:pt x="130" y="46"/>
                    </a:lnTo>
                    <a:lnTo>
                      <a:pt x="127" y="47"/>
                    </a:lnTo>
                    <a:lnTo>
                      <a:pt x="124" y="49"/>
                    </a:lnTo>
                    <a:lnTo>
                      <a:pt x="122" y="51"/>
                    </a:lnTo>
                    <a:lnTo>
                      <a:pt x="121" y="52"/>
                    </a:lnTo>
                    <a:lnTo>
                      <a:pt x="119" y="55"/>
                    </a:lnTo>
                    <a:lnTo>
                      <a:pt x="119" y="55"/>
                    </a:lnTo>
                    <a:lnTo>
                      <a:pt x="117" y="55"/>
                    </a:lnTo>
                    <a:lnTo>
                      <a:pt x="113" y="59"/>
                    </a:lnTo>
                    <a:lnTo>
                      <a:pt x="110" y="62"/>
                    </a:lnTo>
                    <a:lnTo>
                      <a:pt x="108" y="62"/>
                    </a:lnTo>
                    <a:lnTo>
                      <a:pt x="106" y="65"/>
                    </a:lnTo>
                    <a:lnTo>
                      <a:pt x="105" y="66"/>
                    </a:lnTo>
                    <a:lnTo>
                      <a:pt x="105" y="63"/>
                    </a:lnTo>
                    <a:lnTo>
                      <a:pt x="103" y="62"/>
                    </a:lnTo>
                    <a:lnTo>
                      <a:pt x="102" y="62"/>
                    </a:lnTo>
                    <a:lnTo>
                      <a:pt x="98" y="65"/>
                    </a:lnTo>
                    <a:lnTo>
                      <a:pt x="95" y="65"/>
                    </a:lnTo>
                    <a:lnTo>
                      <a:pt x="95" y="65"/>
                    </a:lnTo>
                    <a:lnTo>
                      <a:pt x="92" y="62"/>
                    </a:lnTo>
                    <a:lnTo>
                      <a:pt x="92" y="62"/>
                    </a:lnTo>
                    <a:lnTo>
                      <a:pt x="92" y="62"/>
                    </a:lnTo>
                    <a:lnTo>
                      <a:pt x="89" y="59"/>
                    </a:lnTo>
                    <a:lnTo>
                      <a:pt x="86" y="59"/>
                    </a:lnTo>
                    <a:lnTo>
                      <a:pt x="86" y="59"/>
                    </a:lnTo>
                    <a:lnTo>
                      <a:pt x="86" y="59"/>
                    </a:lnTo>
                    <a:lnTo>
                      <a:pt x="86" y="52"/>
                    </a:lnTo>
                    <a:lnTo>
                      <a:pt x="84" y="51"/>
                    </a:lnTo>
                    <a:lnTo>
                      <a:pt x="83" y="47"/>
                    </a:lnTo>
                    <a:lnTo>
                      <a:pt x="81" y="46"/>
                    </a:lnTo>
                    <a:lnTo>
                      <a:pt x="79" y="47"/>
                    </a:lnTo>
                    <a:lnTo>
                      <a:pt x="76" y="49"/>
                    </a:lnTo>
                    <a:lnTo>
                      <a:pt x="75" y="52"/>
                    </a:lnTo>
                    <a:lnTo>
                      <a:pt x="73" y="51"/>
                    </a:lnTo>
                    <a:lnTo>
                      <a:pt x="71" y="49"/>
                    </a:lnTo>
                    <a:lnTo>
                      <a:pt x="70" y="49"/>
                    </a:lnTo>
                    <a:lnTo>
                      <a:pt x="70" y="52"/>
                    </a:lnTo>
                    <a:lnTo>
                      <a:pt x="68" y="52"/>
                    </a:lnTo>
                    <a:lnTo>
                      <a:pt x="67" y="52"/>
                    </a:lnTo>
                    <a:lnTo>
                      <a:pt x="57" y="52"/>
                    </a:lnTo>
                    <a:lnTo>
                      <a:pt x="54" y="52"/>
                    </a:lnTo>
                    <a:lnTo>
                      <a:pt x="51" y="52"/>
                    </a:lnTo>
                    <a:lnTo>
                      <a:pt x="49" y="52"/>
                    </a:lnTo>
                    <a:lnTo>
                      <a:pt x="49" y="55"/>
                    </a:lnTo>
                    <a:lnTo>
                      <a:pt x="51" y="62"/>
                    </a:lnTo>
                    <a:lnTo>
                      <a:pt x="52" y="62"/>
                    </a:lnTo>
                    <a:lnTo>
                      <a:pt x="54" y="62"/>
                    </a:lnTo>
                    <a:lnTo>
                      <a:pt x="57" y="62"/>
                    </a:lnTo>
                    <a:lnTo>
                      <a:pt x="57" y="65"/>
                    </a:lnTo>
                    <a:lnTo>
                      <a:pt x="57" y="66"/>
                    </a:lnTo>
                    <a:lnTo>
                      <a:pt x="57" y="66"/>
                    </a:lnTo>
                    <a:lnTo>
                      <a:pt x="54" y="65"/>
                    </a:lnTo>
                    <a:lnTo>
                      <a:pt x="52" y="66"/>
                    </a:lnTo>
                    <a:lnTo>
                      <a:pt x="48" y="68"/>
                    </a:lnTo>
                    <a:lnTo>
                      <a:pt x="48" y="71"/>
                    </a:lnTo>
                    <a:lnTo>
                      <a:pt x="48" y="74"/>
                    </a:lnTo>
                    <a:lnTo>
                      <a:pt x="48" y="78"/>
                    </a:lnTo>
                    <a:lnTo>
                      <a:pt x="49" y="82"/>
                    </a:lnTo>
                    <a:lnTo>
                      <a:pt x="52" y="84"/>
                    </a:lnTo>
                    <a:lnTo>
                      <a:pt x="54" y="87"/>
                    </a:lnTo>
                    <a:lnTo>
                      <a:pt x="54" y="90"/>
                    </a:lnTo>
                    <a:lnTo>
                      <a:pt x="54" y="93"/>
                    </a:lnTo>
                    <a:lnTo>
                      <a:pt x="54" y="97"/>
                    </a:lnTo>
                    <a:lnTo>
                      <a:pt x="54" y="101"/>
                    </a:lnTo>
                    <a:lnTo>
                      <a:pt x="52" y="120"/>
                    </a:lnTo>
                    <a:lnTo>
                      <a:pt x="51" y="133"/>
                    </a:lnTo>
                    <a:lnTo>
                      <a:pt x="49" y="138"/>
                    </a:lnTo>
                    <a:lnTo>
                      <a:pt x="49" y="140"/>
                    </a:lnTo>
                    <a:lnTo>
                      <a:pt x="48" y="138"/>
                    </a:lnTo>
                    <a:lnTo>
                      <a:pt x="46" y="140"/>
                    </a:lnTo>
                    <a:lnTo>
                      <a:pt x="43" y="136"/>
                    </a:lnTo>
                    <a:lnTo>
                      <a:pt x="41" y="136"/>
                    </a:lnTo>
                    <a:lnTo>
                      <a:pt x="38" y="138"/>
                    </a:lnTo>
                    <a:lnTo>
                      <a:pt x="36" y="138"/>
                    </a:lnTo>
                    <a:lnTo>
                      <a:pt x="35" y="140"/>
                    </a:lnTo>
                    <a:lnTo>
                      <a:pt x="32" y="141"/>
                    </a:lnTo>
                    <a:lnTo>
                      <a:pt x="29" y="141"/>
                    </a:lnTo>
                    <a:lnTo>
                      <a:pt x="25" y="141"/>
                    </a:lnTo>
                    <a:lnTo>
                      <a:pt x="19" y="146"/>
                    </a:lnTo>
                    <a:lnTo>
                      <a:pt x="19" y="146"/>
                    </a:lnTo>
                    <a:lnTo>
                      <a:pt x="17" y="149"/>
                    </a:lnTo>
                    <a:lnTo>
                      <a:pt x="16" y="149"/>
                    </a:lnTo>
                    <a:lnTo>
                      <a:pt x="13" y="149"/>
                    </a:lnTo>
                    <a:lnTo>
                      <a:pt x="11" y="152"/>
                    </a:lnTo>
                    <a:lnTo>
                      <a:pt x="11" y="155"/>
                    </a:lnTo>
                    <a:lnTo>
                      <a:pt x="11" y="157"/>
                    </a:lnTo>
                    <a:lnTo>
                      <a:pt x="11" y="160"/>
                    </a:lnTo>
                    <a:lnTo>
                      <a:pt x="10" y="162"/>
                    </a:lnTo>
                    <a:lnTo>
                      <a:pt x="10" y="165"/>
                    </a:lnTo>
                    <a:lnTo>
                      <a:pt x="10" y="168"/>
                    </a:lnTo>
                    <a:lnTo>
                      <a:pt x="10" y="170"/>
                    </a:lnTo>
                    <a:lnTo>
                      <a:pt x="10" y="171"/>
                    </a:lnTo>
                    <a:lnTo>
                      <a:pt x="5" y="173"/>
                    </a:lnTo>
                    <a:lnTo>
                      <a:pt x="3" y="174"/>
                    </a:lnTo>
                    <a:lnTo>
                      <a:pt x="2" y="178"/>
                    </a:lnTo>
                    <a:lnTo>
                      <a:pt x="3" y="181"/>
                    </a:lnTo>
                    <a:lnTo>
                      <a:pt x="3" y="181"/>
                    </a:lnTo>
                    <a:lnTo>
                      <a:pt x="2" y="181"/>
                    </a:lnTo>
                    <a:lnTo>
                      <a:pt x="0" y="184"/>
                    </a:lnTo>
                    <a:lnTo>
                      <a:pt x="0" y="184"/>
                    </a:lnTo>
                    <a:lnTo>
                      <a:pt x="2" y="187"/>
                    </a:lnTo>
                    <a:lnTo>
                      <a:pt x="3" y="189"/>
                    </a:lnTo>
                    <a:lnTo>
                      <a:pt x="3" y="190"/>
                    </a:lnTo>
                    <a:lnTo>
                      <a:pt x="5" y="194"/>
                    </a:lnTo>
                    <a:lnTo>
                      <a:pt x="6" y="197"/>
                    </a:lnTo>
                    <a:lnTo>
                      <a:pt x="8" y="200"/>
                    </a:lnTo>
                    <a:lnTo>
                      <a:pt x="10" y="201"/>
                    </a:lnTo>
                    <a:lnTo>
                      <a:pt x="14" y="206"/>
                    </a:lnTo>
                    <a:lnTo>
                      <a:pt x="13" y="209"/>
                    </a:lnTo>
                    <a:lnTo>
                      <a:pt x="11" y="213"/>
                    </a:lnTo>
                    <a:lnTo>
                      <a:pt x="17" y="213"/>
                    </a:lnTo>
                    <a:lnTo>
                      <a:pt x="19" y="213"/>
                    </a:lnTo>
                    <a:lnTo>
                      <a:pt x="22" y="213"/>
                    </a:lnTo>
                    <a:lnTo>
                      <a:pt x="25" y="216"/>
                    </a:lnTo>
                    <a:lnTo>
                      <a:pt x="25" y="220"/>
                    </a:lnTo>
                    <a:lnTo>
                      <a:pt x="30" y="220"/>
                    </a:lnTo>
                    <a:lnTo>
                      <a:pt x="33" y="220"/>
                    </a:lnTo>
                    <a:lnTo>
                      <a:pt x="36" y="219"/>
                    </a:lnTo>
                    <a:lnTo>
                      <a:pt x="41" y="216"/>
                    </a:lnTo>
                    <a:lnTo>
                      <a:pt x="43" y="213"/>
                    </a:lnTo>
                    <a:lnTo>
                      <a:pt x="46" y="213"/>
                    </a:lnTo>
                    <a:lnTo>
                      <a:pt x="44" y="213"/>
                    </a:lnTo>
                    <a:lnTo>
                      <a:pt x="44" y="216"/>
                    </a:lnTo>
                    <a:lnTo>
                      <a:pt x="46" y="216"/>
                    </a:lnTo>
                    <a:lnTo>
                      <a:pt x="44" y="220"/>
                    </a:lnTo>
                    <a:lnTo>
                      <a:pt x="46" y="233"/>
                    </a:lnTo>
                    <a:lnTo>
                      <a:pt x="48" y="233"/>
                    </a:lnTo>
                    <a:lnTo>
                      <a:pt x="49" y="236"/>
                    </a:lnTo>
                    <a:lnTo>
                      <a:pt x="52" y="233"/>
                    </a:lnTo>
                    <a:lnTo>
                      <a:pt x="54" y="233"/>
                    </a:lnTo>
                    <a:lnTo>
                      <a:pt x="57" y="233"/>
                    </a:lnTo>
                    <a:lnTo>
                      <a:pt x="60" y="233"/>
                    </a:lnTo>
                    <a:lnTo>
                      <a:pt x="62" y="233"/>
                    </a:lnTo>
                    <a:lnTo>
                      <a:pt x="65" y="233"/>
                    </a:lnTo>
                    <a:lnTo>
                      <a:pt x="68" y="233"/>
                    </a:lnTo>
                    <a:lnTo>
                      <a:pt x="68" y="236"/>
                    </a:lnTo>
                    <a:lnTo>
                      <a:pt x="70" y="236"/>
                    </a:lnTo>
                    <a:lnTo>
                      <a:pt x="71" y="236"/>
                    </a:lnTo>
                    <a:lnTo>
                      <a:pt x="75" y="233"/>
                    </a:lnTo>
                    <a:lnTo>
                      <a:pt x="76" y="233"/>
                    </a:lnTo>
                    <a:lnTo>
                      <a:pt x="78" y="232"/>
                    </a:lnTo>
                    <a:lnTo>
                      <a:pt x="79" y="230"/>
                    </a:lnTo>
                    <a:lnTo>
                      <a:pt x="81" y="230"/>
                    </a:lnTo>
                    <a:lnTo>
                      <a:pt x="81" y="230"/>
                    </a:lnTo>
                    <a:lnTo>
                      <a:pt x="83" y="228"/>
                    </a:lnTo>
                    <a:lnTo>
                      <a:pt x="84" y="227"/>
                    </a:lnTo>
                    <a:lnTo>
                      <a:pt x="86" y="225"/>
                    </a:lnTo>
                    <a:lnTo>
                      <a:pt x="89" y="225"/>
                    </a:lnTo>
                    <a:lnTo>
                      <a:pt x="89" y="224"/>
                    </a:lnTo>
                    <a:lnTo>
                      <a:pt x="92" y="220"/>
                    </a:lnTo>
                    <a:lnTo>
                      <a:pt x="98" y="219"/>
                    </a:lnTo>
                    <a:lnTo>
                      <a:pt x="102" y="217"/>
                    </a:lnTo>
                    <a:lnTo>
                      <a:pt x="108" y="217"/>
                    </a:lnTo>
                    <a:lnTo>
                      <a:pt x="110" y="216"/>
                    </a:lnTo>
                    <a:lnTo>
                      <a:pt x="111" y="217"/>
                    </a:lnTo>
                    <a:lnTo>
                      <a:pt x="113" y="219"/>
                    </a:lnTo>
                    <a:lnTo>
                      <a:pt x="111" y="224"/>
                    </a:lnTo>
                    <a:lnTo>
                      <a:pt x="111" y="228"/>
                    </a:lnTo>
                    <a:lnTo>
                      <a:pt x="111" y="232"/>
                    </a:lnTo>
                    <a:lnTo>
                      <a:pt x="113" y="233"/>
                    </a:lnTo>
                    <a:lnTo>
                      <a:pt x="113" y="233"/>
                    </a:lnTo>
                    <a:lnTo>
                      <a:pt x="111" y="236"/>
                    </a:lnTo>
                    <a:lnTo>
                      <a:pt x="113" y="243"/>
                    </a:lnTo>
                    <a:lnTo>
                      <a:pt x="114" y="246"/>
                    </a:lnTo>
                    <a:lnTo>
                      <a:pt x="116" y="246"/>
                    </a:lnTo>
                    <a:lnTo>
                      <a:pt x="117" y="246"/>
                    </a:lnTo>
                    <a:lnTo>
                      <a:pt x="117" y="247"/>
                    </a:lnTo>
                    <a:lnTo>
                      <a:pt x="119" y="249"/>
                    </a:lnTo>
                    <a:lnTo>
                      <a:pt x="121" y="251"/>
                    </a:lnTo>
                    <a:lnTo>
                      <a:pt x="124" y="252"/>
                    </a:lnTo>
                    <a:lnTo>
                      <a:pt x="125" y="255"/>
                    </a:lnTo>
                    <a:lnTo>
                      <a:pt x="129" y="257"/>
                    </a:lnTo>
                    <a:lnTo>
                      <a:pt x="133" y="257"/>
                    </a:lnTo>
                    <a:lnTo>
                      <a:pt x="135" y="255"/>
                    </a:lnTo>
                    <a:lnTo>
                      <a:pt x="137" y="257"/>
                    </a:lnTo>
                    <a:lnTo>
                      <a:pt x="138" y="259"/>
                    </a:lnTo>
                    <a:lnTo>
                      <a:pt x="140" y="259"/>
                    </a:lnTo>
                    <a:lnTo>
                      <a:pt x="141" y="259"/>
                    </a:lnTo>
                    <a:lnTo>
                      <a:pt x="143" y="260"/>
                    </a:lnTo>
                    <a:lnTo>
                      <a:pt x="144" y="262"/>
                    </a:lnTo>
                    <a:lnTo>
                      <a:pt x="144" y="263"/>
                    </a:lnTo>
                    <a:lnTo>
                      <a:pt x="148" y="263"/>
                    </a:lnTo>
                    <a:lnTo>
                      <a:pt x="151" y="267"/>
                    </a:lnTo>
                    <a:lnTo>
                      <a:pt x="154" y="267"/>
                    </a:lnTo>
                    <a:lnTo>
                      <a:pt x="154" y="267"/>
                    </a:lnTo>
                    <a:lnTo>
                      <a:pt x="156" y="268"/>
                    </a:lnTo>
                    <a:lnTo>
                      <a:pt x="159" y="271"/>
                    </a:lnTo>
                    <a:lnTo>
                      <a:pt x="167" y="271"/>
                    </a:lnTo>
                    <a:lnTo>
                      <a:pt x="170" y="271"/>
                    </a:lnTo>
                    <a:lnTo>
                      <a:pt x="176" y="274"/>
                    </a:lnTo>
                    <a:lnTo>
                      <a:pt x="178" y="278"/>
                    </a:lnTo>
                    <a:lnTo>
                      <a:pt x="178" y="279"/>
                    </a:lnTo>
                    <a:lnTo>
                      <a:pt x="178" y="282"/>
                    </a:lnTo>
                    <a:lnTo>
                      <a:pt x="179" y="294"/>
                    </a:lnTo>
                    <a:lnTo>
                      <a:pt x="178" y="294"/>
                    </a:lnTo>
                    <a:lnTo>
                      <a:pt x="179" y="297"/>
                    </a:lnTo>
                    <a:lnTo>
                      <a:pt x="179" y="298"/>
                    </a:lnTo>
                    <a:lnTo>
                      <a:pt x="183" y="303"/>
                    </a:lnTo>
                    <a:lnTo>
                      <a:pt x="183" y="306"/>
                    </a:lnTo>
                    <a:lnTo>
                      <a:pt x="183" y="309"/>
                    </a:lnTo>
                    <a:lnTo>
                      <a:pt x="186" y="313"/>
                    </a:lnTo>
                    <a:lnTo>
                      <a:pt x="189" y="313"/>
                    </a:lnTo>
                    <a:lnTo>
                      <a:pt x="194" y="313"/>
                    </a:lnTo>
                    <a:lnTo>
                      <a:pt x="200" y="313"/>
                    </a:lnTo>
                    <a:lnTo>
                      <a:pt x="206" y="313"/>
                    </a:lnTo>
                    <a:lnTo>
                      <a:pt x="205" y="317"/>
                    </a:lnTo>
                    <a:lnTo>
                      <a:pt x="206" y="324"/>
                    </a:lnTo>
                    <a:lnTo>
                      <a:pt x="210" y="328"/>
                    </a:lnTo>
                    <a:lnTo>
                      <a:pt x="211" y="328"/>
                    </a:lnTo>
                    <a:lnTo>
                      <a:pt x="214" y="328"/>
                    </a:lnTo>
                    <a:lnTo>
                      <a:pt x="214" y="328"/>
                    </a:lnTo>
                    <a:lnTo>
                      <a:pt x="214" y="330"/>
                    </a:lnTo>
                    <a:lnTo>
                      <a:pt x="217" y="333"/>
                    </a:lnTo>
                    <a:lnTo>
                      <a:pt x="217" y="338"/>
                    </a:lnTo>
                    <a:lnTo>
                      <a:pt x="217" y="344"/>
                    </a:lnTo>
                    <a:lnTo>
                      <a:pt x="217" y="346"/>
                    </a:lnTo>
                    <a:lnTo>
                      <a:pt x="217" y="349"/>
                    </a:lnTo>
                    <a:lnTo>
                      <a:pt x="217" y="351"/>
                    </a:lnTo>
                    <a:lnTo>
                      <a:pt x="217" y="354"/>
                    </a:lnTo>
                    <a:lnTo>
                      <a:pt x="214" y="359"/>
                    </a:lnTo>
                    <a:lnTo>
                      <a:pt x="214" y="362"/>
                    </a:lnTo>
                    <a:lnTo>
                      <a:pt x="217" y="362"/>
                    </a:lnTo>
                    <a:lnTo>
                      <a:pt x="217" y="365"/>
                    </a:lnTo>
                    <a:lnTo>
                      <a:pt x="214" y="365"/>
                    </a:lnTo>
                    <a:lnTo>
                      <a:pt x="214" y="365"/>
                    </a:lnTo>
                    <a:lnTo>
                      <a:pt x="214" y="365"/>
                    </a:lnTo>
                    <a:lnTo>
                      <a:pt x="214" y="368"/>
                    </a:lnTo>
                    <a:lnTo>
                      <a:pt x="217" y="371"/>
                    </a:lnTo>
                    <a:lnTo>
                      <a:pt x="217" y="374"/>
                    </a:lnTo>
                    <a:lnTo>
                      <a:pt x="217" y="376"/>
                    </a:lnTo>
                    <a:lnTo>
                      <a:pt x="221" y="379"/>
                    </a:lnTo>
                    <a:lnTo>
                      <a:pt x="221" y="382"/>
                    </a:lnTo>
                    <a:lnTo>
                      <a:pt x="217" y="386"/>
                    </a:lnTo>
                    <a:lnTo>
                      <a:pt x="221" y="387"/>
                    </a:lnTo>
                    <a:lnTo>
                      <a:pt x="221" y="387"/>
                    </a:lnTo>
                    <a:lnTo>
                      <a:pt x="221" y="390"/>
                    </a:lnTo>
                    <a:lnTo>
                      <a:pt x="217" y="392"/>
                    </a:lnTo>
                    <a:lnTo>
                      <a:pt x="217" y="394"/>
                    </a:lnTo>
                    <a:lnTo>
                      <a:pt x="221" y="397"/>
                    </a:lnTo>
                    <a:lnTo>
                      <a:pt x="224" y="397"/>
                    </a:lnTo>
                    <a:lnTo>
                      <a:pt x="227" y="397"/>
                    </a:lnTo>
                    <a:lnTo>
                      <a:pt x="230" y="397"/>
                    </a:lnTo>
                    <a:lnTo>
                      <a:pt x="233" y="400"/>
                    </a:lnTo>
                    <a:lnTo>
                      <a:pt x="235" y="397"/>
                    </a:lnTo>
                    <a:lnTo>
                      <a:pt x="237" y="397"/>
                    </a:lnTo>
                    <a:lnTo>
                      <a:pt x="240" y="397"/>
                    </a:lnTo>
                    <a:lnTo>
                      <a:pt x="241" y="397"/>
                    </a:lnTo>
                    <a:lnTo>
                      <a:pt x="244" y="397"/>
                    </a:lnTo>
                    <a:lnTo>
                      <a:pt x="246" y="403"/>
                    </a:lnTo>
                    <a:lnTo>
                      <a:pt x="249" y="408"/>
                    </a:lnTo>
                    <a:lnTo>
                      <a:pt x="251" y="414"/>
                    </a:lnTo>
                    <a:lnTo>
                      <a:pt x="254" y="421"/>
                    </a:lnTo>
                    <a:lnTo>
                      <a:pt x="256" y="422"/>
                    </a:lnTo>
                    <a:lnTo>
                      <a:pt x="259" y="422"/>
                    </a:lnTo>
                    <a:lnTo>
                      <a:pt x="262" y="421"/>
                    </a:lnTo>
                    <a:lnTo>
                      <a:pt x="264" y="421"/>
                    </a:lnTo>
                    <a:lnTo>
                      <a:pt x="267" y="421"/>
                    </a:lnTo>
                    <a:lnTo>
                      <a:pt x="268" y="424"/>
                    </a:lnTo>
                    <a:lnTo>
                      <a:pt x="268" y="425"/>
                    </a:lnTo>
                    <a:lnTo>
                      <a:pt x="268" y="428"/>
                    </a:lnTo>
                    <a:lnTo>
                      <a:pt x="268" y="432"/>
                    </a:lnTo>
                    <a:lnTo>
                      <a:pt x="268" y="435"/>
                    </a:lnTo>
                    <a:lnTo>
                      <a:pt x="267" y="443"/>
                    </a:lnTo>
                    <a:lnTo>
                      <a:pt x="267" y="444"/>
                    </a:lnTo>
                    <a:lnTo>
                      <a:pt x="270" y="446"/>
                    </a:lnTo>
                    <a:lnTo>
                      <a:pt x="270" y="444"/>
                    </a:lnTo>
                    <a:lnTo>
                      <a:pt x="270" y="444"/>
                    </a:lnTo>
                    <a:lnTo>
                      <a:pt x="273" y="444"/>
                    </a:lnTo>
                    <a:lnTo>
                      <a:pt x="276" y="448"/>
                    </a:lnTo>
                    <a:lnTo>
                      <a:pt x="279" y="449"/>
                    </a:lnTo>
                    <a:lnTo>
                      <a:pt x="279" y="459"/>
                    </a:lnTo>
                    <a:lnTo>
                      <a:pt x="279" y="465"/>
                    </a:lnTo>
                    <a:lnTo>
                      <a:pt x="279" y="467"/>
                    </a:lnTo>
                    <a:lnTo>
                      <a:pt x="279" y="467"/>
                    </a:lnTo>
                    <a:lnTo>
                      <a:pt x="276" y="468"/>
                    </a:lnTo>
                    <a:lnTo>
                      <a:pt x="273" y="471"/>
                    </a:lnTo>
                    <a:lnTo>
                      <a:pt x="270" y="473"/>
                    </a:lnTo>
                    <a:lnTo>
                      <a:pt x="268" y="475"/>
                    </a:lnTo>
                    <a:lnTo>
                      <a:pt x="267" y="476"/>
                    </a:lnTo>
                    <a:lnTo>
                      <a:pt x="264" y="478"/>
                    </a:lnTo>
                    <a:lnTo>
                      <a:pt x="262" y="481"/>
                    </a:lnTo>
                    <a:lnTo>
                      <a:pt x="257" y="484"/>
                    </a:lnTo>
                    <a:lnTo>
                      <a:pt x="259" y="484"/>
                    </a:lnTo>
                    <a:lnTo>
                      <a:pt x="259" y="484"/>
                    </a:lnTo>
                    <a:lnTo>
                      <a:pt x="257" y="484"/>
                    </a:lnTo>
                    <a:lnTo>
                      <a:pt x="254" y="487"/>
                    </a:lnTo>
                    <a:lnTo>
                      <a:pt x="251" y="494"/>
                    </a:lnTo>
                    <a:lnTo>
                      <a:pt x="249" y="500"/>
                    </a:lnTo>
                    <a:lnTo>
                      <a:pt x="246" y="503"/>
                    </a:lnTo>
                    <a:lnTo>
                      <a:pt x="246" y="505"/>
                    </a:lnTo>
                    <a:lnTo>
                      <a:pt x="243" y="506"/>
                    </a:lnTo>
                    <a:lnTo>
                      <a:pt x="243" y="509"/>
                    </a:lnTo>
                    <a:lnTo>
                      <a:pt x="240" y="511"/>
                    </a:lnTo>
                    <a:lnTo>
                      <a:pt x="240" y="513"/>
                    </a:lnTo>
                    <a:lnTo>
                      <a:pt x="240" y="516"/>
                    </a:lnTo>
                    <a:lnTo>
                      <a:pt x="238" y="517"/>
                    </a:lnTo>
                    <a:lnTo>
                      <a:pt x="240" y="519"/>
                    </a:lnTo>
                    <a:lnTo>
                      <a:pt x="240" y="522"/>
                    </a:lnTo>
                    <a:lnTo>
                      <a:pt x="256" y="528"/>
                    </a:lnTo>
                    <a:lnTo>
                      <a:pt x="270" y="524"/>
                    </a:lnTo>
                    <a:lnTo>
                      <a:pt x="270" y="525"/>
                    </a:lnTo>
                    <a:lnTo>
                      <a:pt x="273" y="528"/>
                    </a:lnTo>
                    <a:lnTo>
                      <a:pt x="276" y="528"/>
                    </a:lnTo>
                    <a:lnTo>
                      <a:pt x="276" y="528"/>
                    </a:lnTo>
                    <a:lnTo>
                      <a:pt x="281" y="530"/>
                    </a:lnTo>
                    <a:lnTo>
                      <a:pt x="284" y="533"/>
                    </a:lnTo>
                    <a:lnTo>
                      <a:pt x="289" y="536"/>
                    </a:lnTo>
                    <a:lnTo>
                      <a:pt x="291" y="538"/>
                    </a:lnTo>
                    <a:lnTo>
                      <a:pt x="294" y="541"/>
                    </a:lnTo>
                    <a:lnTo>
                      <a:pt x="295" y="543"/>
                    </a:lnTo>
                    <a:lnTo>
                      <a:pt x="298" y="544"/>
                    </a:lnTo>
                    <a:lnTo>
                      <a:pt x="300" y="546"/>
                    </a:lnTo>
                    <a:lnTo>
                      <a:pt x="302" y="548"/>
                    </a:lnTo>
                    <a:lnTo>
                      <a:pt x="302" y="549"/>
                    </a:lnTo>
                    <a:lnTo>
                      <a:pt x="300" y="552"/>
                    </a:lnTo>
                    <a:lnTo>
                      <a:pt x="298" y="554"/>
                    </a:lnTo>
                    <a:lnTo>
                      <a:pt x="298" y="560"/>
                    </a:lnTo>
                    <a:lnTo>
                      <a:pt x="302" y="563"/>
                    </a:lnTo>
                    <a:lnTo>
                      <a:pt x="302" y="560"/>
                    </a:lnTo>
                    <a:lnTo>
                      <a:pt x="305" y="560"/>
                    </a:lnTo>
                    <a:lnTo>
                      <a:pt x="308" y="554"/>
                    </a:lnTo>
                    <a:lnTo>
                      <a:pt x="311" y="549"/>
                    </a:lnTo>
                    <a:lnTo>
                      <a:pt x="311" y="546"/>
                    </a:lnTo>
                    <a:lnTo>
                      <a:pt x="311" y="543"/>
                    </a:lnTo>
                    <a:lnTo>
                      <a:pt x="311" y="540"/>
                    </a:lnTo>
                    <a:lnTo>
                      <a:pt x="311" y="538"/>
                    </a:lnTo>
                    <a:lnTo>
                      <a:pt x="311" y="538"/>
                    </a:lnTo>
                    <a:lnTo>
                      <a:pt x="311" y="536"/>
                    </a:lnTo>
                    <a:lnTo>
                      <a:pt x="311" y="535"/>
                    </a:lnTo>
                    <a:lnTo>
                      <a:pt x="311" y="533"/>
                    </a:lnTo>
                    <a:lnTo>
                      <a:pt x="311" y="532"/>
                    </a:lnTo>
                    <a:lnTo>
                      <a:pt x="311" y="528"/>
                    </a:lnTo>
                    <a:lnTo>
                      <a:pt x="314" y="528"/>
                    </a:lnTo>
                    <a:lnTo>
                      <a:pt x="316" y="525"/>
                    </a:lnTo>
                    <a:lnTo>
                      <a:pt x="316" y="525"/>
                    </a:lnTo>
                    <a:lnTo>
                      <a:pt x="316" y="522"/>
                    </a:lnTo>
                    <a:lnTo>
                      <a:pt x="318" y="522"/>
                    </a:lnTo>
                    <a:lnTo>
                      <a:pt x="318" y="517"/>
                    </a:lnTo>
                    <a:lnTo>
                      <a:pt x="318" y="516"/>
                    </a:lnTo>
                    <a:lnTo>
                      <a:pt x="319" y="514"/>
                    </a:lnTo>
                    <a:lnTo>
                      <a:pt x="318" y="513"/>
                    </a:lnTo>
                    <a:lnTo>
                      <a:pt x="316" y="509"/>
                    </a:lnTo>
                    <a:lnTo>
                      <a:pt x="318" y="511"/>
                    </a:lnTo>
                    <a:lnTo>
                      <a:pt x="319" y="513"/>
                    </a:lnTo>
                    <a:lnTo>
                      <a:pt x="322" y="514"/>
                    </a:lnTo>
                    <a:lnTo>
                      <a:pt x="325" y="511"/>
                    </a:lnTo>
                    <a:lnTo>
                      <a:pt x="327" y="513"/>
                    </a:lnTo>
                    <a:lnTo>
                      <a:pt x="327" y="516"/>
                    </a:lnTo>
                    <a:lnTo>
                      <a:pt x="325" y="514"/>
                    </a:lnTo>
                    <a:lnTo>
                      <a:pt x="325" y="516"/>
                    </a:lnTo>
                    <a:lnTo>
                      <a:pt x="325" y="517"/>
                    </a:lnTo>
                    <a:lnTo>
                      <a:pt x="325" y="519"/>
                    </a:lnTo>
                    <a:lnTo>
                      <a:pt x="325" y="522"/>
                    </a:lnTo>
                    <a:lnTo>
                      <a:pt x="324" y="522"/>
                    </a:lnTo>
                    <a:lnTo>
                      <a:pt x="324" y="525"/>
                    </a:lnTo>
                    <a:lnTo>
                      <a:pt x="322" y="525"/>
                    </a:lnTo>
                    <a:lnTo>
                      <a:pt x="321" y="525"/>
                    </a:lnTo>
                    <a:lnTo>
                      <a:pt x="321" y="528"/>
                    </a:lnTo>
                    <a:lnTo>
                      <a:pt x="319" y="530"/>
                    </a:lnTo>
                    <a:lnTo>
                      <a:pt x="316" y="533"/>
                    </a:lnTo>
                    <a:lnTo>
                      <a:pt x="314" y="535"/>
                    </a:lnTo>
                    <a:lnTo>
                      <a:pt x="311" y="535"/>
                    </a:lnTo>
                    <a:lnTo>
                      <a:pt x="314" y="536"/>
                    </a:lnTo>
                    <a:lnTo>
                      <a:pt x="314" y="540"/>
                    </a:lnTo>
                    <a:lnTo>
                      <a:pt x="318" y="533"/>
                    </a:lnTo>
                    <a:lnTo>
                      <a:pt x="324" y="528"/>
                    </a:lnTo>
                    <a:lnTo>
                      <a:pt x="327" y="522"/>
                    </a:lnTo>
                    <a:lnTo>
                      <a:pt x="330" y="514"/>
                    </a:lnTo>
                    <a:lnTo>
                      <a:pt x="332" y="505"/>
                    </a:lnTo>
                    <a:lnTo>
                      <a:pt x="335" y="497"/>
                    </a:lnTo>
                    <a:lnTo>
                      <a:pt x="340" y="490"/>
                    </a:lnTo>
                    <a:lnTo>
                      <a:pt x="346" y="487"/>
                    </a:lnTo>
                    <a:lnTo>
                      <a:pt x="346" y="482"/>
                    </a:lnTo>
                    <a:lnTo>
                      <a:pt x="346" y="478"/>
                    </a:lnTo>
                    <a:lnTo>
                      <a:pt x="346" y="473"/>
                    </a:lnTo>
                    <a:lnTo>
                      <a:pt x="346" y="470"/>
                    </a:lnTo>
                    <a:lnTo>
                      <a:pt x="343" y="468"/>
                    </a:lnTo>
                    <a:lnTo>
                      <a:pt x="346" y="467"/>
                    </a:lnTo>
                    <a:lnTo>
                      <a:pt x="343" y="467"/>
                    </a:lnTo>
                    <a:lnTo>
                      <a:pt x="343" y="465"/>
                    </a:lnTo>
                    <a:lnTo>
                      <a:pt x="343" y="463"/>
                    </a:lnTo>
                    <a:lnTo>
                      <a:pt x="343" y="459"/>
                    </a:lnTo>
                    <a:lnTo>
                      <a:pt x="343" y="459"/>
                    </a:lnTo>
                    <a:lnTo>
                      <a:pt x="340" y="455"/>
                    </a:lnTo>
                    <a:lnTo>
                      <a:pt x="340" y="452"/>
                    </a:lnTo>
                    <a:lnTo>
                      <a:pt x="340" y="452"/>
                    </a:lnTo>
                    <a:lnTo>
                      <a:pt x="343" y="452"/>
                    </a:lnTo>
                    <a:lnTo>
                      <a:pt x="343" y="449"/>
                    </a:lnTo>
                    <a:lnTo>
                      <a:pt x="340" y="449"/>
                    </a:lnTo>
                    <a:lnTo>
                      <a:pt x="343" y="448"/>
                    </a:lnTo>
                    <a:lnTo>
                      <a:pt x="343" y="444"/>
                    </a:lnTo>
                    <a:lnTo>
                      <a:pt x="340" y="444"/>
                    </a:lnTo>
                    <a:lnTo>
                      <a:pt x="340" y="443"/>
                    </a:lnTo>
                    <a:lnTo>
                      <a:pt x="340" y="443"/>
                    </a:lnTo>
                    <a:lnTo>
                      <a:pt x="343" y="443"/>
                    </a:lnTo>
                    <a:lnTo>
                      <a:pt x="343" y="440"/>
                    </a:lnTo>
                    <a:lnTo>
                      <a:pt x="343" y="441"/>
                    </a:lnTo>
                    <a:lnTo>
                      <a:pt x="346" y="440"/>
                    </a:lnTo>
                    <a:lnTo>
                      <a:pt x="346" y="443"/>
                    </a:lnTo>
                    <a:lnTo>
                      <a:pt x="348" y="438"/>
                    </a:lnTo>
                    <a:lnTo>
                      <a:pt x="348" y="438"/>
                    </a:lnTo>
                    <a:lnTo>
                      <a:pt x="351" y="432"/>
                    </a:lnTo>
                    <a:lnTo>
                      <a:pt x="357" y="428"/>
                    </a:lnTo>
                    <a:lnTo>
                      <a:pt x="362" y="425"/>
                    </a:lnTo>
                    <a:lnTo>
                      <a:pt x="365" y="424"/>
                    </a:lnTo>
                    <a:lnTo>
                      <a:pt x="367" y="422"/>
                    </a:lnTo>
                    <a:lnTo>
                      <a:pt x="368" y="422"/>
                    </a:lnTo>
                    <a:lnTo>
                      <a:pt x="370" y="422"/>
                    </a:lnTo>
                    <a:lnTo>
                      <a:pt x="370" y="421"/>
                    </a:lnTo>
                    <a:lnTo>
                      <a:pt x="371" y="419"/>
                    </a:lnTo>
                    <a:lnTo>
                      <a:pt x="375" y="419"/>
                    </a:lnTo>
                    <a:lnTo>
                      <a:pt x="375" y="421"/>
                    </a:lnTo>
                    <a:lnTo>
                      <a:pt x="378" y="421"/>
                    </a:lnTo>
                    <a:lnTo>
                      <a:pt x="378" y="417"/>
                    </a:lnTo>
                    <a:lnTo>
                      <a:pt x="378" y="416"/>
                    </a:lnTo>
                    <a:lnTo>
                      <a:pt x="381" y="416"/>
                    </a:lnTo>
                    <a:lnTo>
                      <a:pt x="383" y="414"/>
                    </a:lnTo>
                    <a:lnTo>
                      <a:pt x="384" y="413"/>
                    </a:lnTo>
                    <a:lnTo>
                      <a:pt x="389" y="411"/>
                    </a:lnTo>
                    <a:lnTo>
                      <a:pt x="386" y="411"/>
                    </a:lnTo>
                    <a:lnTo>
                      <a:pt x="386" y="409"/>
                    </a:lnTo>
                    <a:lnTo>
                      <a:pt x="387" y="408"/>
                    </a:lnTo>
                    <a:lnTo>
                      <a:pt x="389" y="406"/>
                    </a:lnTo>
                    <a:lnTo>
                      <a:pt x="392" y="408"/>
                    </a:lnTo>
                    <a:lnTo>
                      <a:pt x="394" y="406"/>
                    </a:lnTo>
                    <a:lnTo>
                      <a:pt x="395" y="406"/>
                    </a:lnTo>
                    <a:lnTo>
                      <a:pt x="398" y="408"/>
                    </a:lnTo>
                    <a:lnTo>
                      <a:pt x="402" y="408"/>
                    </a:lnTo>
                    <a:lnTo>
                      <a:pt x="405" y="406"/>
                    </a:lnTo>
                    <a:lnTo>
                      <a:pt x="405" y="405"/>
                    </a:lnTo>
                    <a:lnTo>
                      <a:pt x="405" y="403"/>
                    </a:lnTo>
                    <a:lnTo>
                      <a:pt x="405" y="403"/>
                    </a:lnTo>
                    <a:lnTo>
                      <a:pt x="405" y="405"/>
                    </a:lnTo>
                    <a:lnTo>
                      <a:pt x="405" y="406"/>
                    </a:lnTo>
                    <a:lnTo>
                      <a:pt x="408" y="408"/>
                    </a:lnTo>
                    <a:lnTo>
                      <a:pt x="410" y="406"/>
                    </a:lnTo>
                    <a:lnTo>
                      <a:pt x="414" y="406"/>
                    </a:lnTo>
                    <a:lnTo>
                      <a:pt x="418" y="406"/>
                    </a:lnTo>
                    <a:lnTo>
                      <a:pt x="419" y="408"/>
                    </a:lnTo>
                    <a:lnTo>
                      <a:pt x="419" y="406"/>
                    </a:lnTo>
                    <a:lnTo>
                      <a:pt x="419" y="405"/>
                    </a:lnTo>
                    <a:lnTo>
                      <a:pt x="419" y="403"/>
                    </a:lnTo>
                    <a:lnTo>
                      <a:pt x="422" y="397"/>
                    </a:lnTo>
                    <a:lnTo>
                      <a:pt x="427" y="397"/>
                    </a:lnTo>
                    <a:lnTo>
                      <a:pt x="430" y="394"/>
                    </a:lnTo>
                    <a:lnTo>
                      <a:pt x="430" y="392"/>
                    </a:lnTo>
                    <a:lnTo>
                      <a:pt x="430" y="389"/>
                    </a:lnTo>
                    <a:lnTo>
                      <a:pt x="430" y="384"/>
                    </a:lnTo>
                    <a:lnTo>
                      <a:pt x="430" y="381"/>
                    </a:lnTo>
                    <a:lnTo>
                      <a:pt x="430" y="378"/>
                    </a:lnTo>
                    <a:lnTo>
                      <a:pt x="433" y="376"/>
                    </a:lnTo>
                    <a:lnTo>
                      <a:pt x="437" y="373"/>
                    </a:lnTo>
                    <a:lnTo>
                      <a:pt x="437" y="370"/>
                    </a:lnTo>
                    <a:lnTo>
                      <a:pt x="437" y="368"/>
                    </a:lnTo>
                    <a:lnTo>
                      <a:pt x="440" y="368"/>
                    </a:lnTo>
                    <a:lnTo>
                      <a:pt x="440" y="365"/>
                    </a:lnTo>
                    <a:lnTo>
                      <a:pt x="440" y="362"/>
                    </a:lnTo>
                    <a:lnTo>
                      <a:pt x="441" y="359"/>
                    </a:lnTo>
                    <a:lnTo>
                      <a:pt x="443" y="359"/>
                    </a:lnTo>
                    <a:lnTo>
                      <a:pt x="443" y="355"/>
                    </a:lnTo>
                    <a:lnTo>
                      <a:pt x="443" y="349"/>
                    </a:lnTo>
                    <a:lnTo>
                      <a:pt x="441" y="343"/>
                    </a:lnTo>
                    <a:lnTo>
                      <a:pt x="445" y="336"/>
                    </a:lnTo>
                    <a:lnTo>
                      <a:pt x="448" y="333"/>
                    </a:lnTo>
                    <a:lnTo>
                      <a:pt x="448" y="332"/>
                    </a:lnTo>
                    <a:lnTo>
                      <a:pt x="448" y="328"/>
                    </a:lnTo>
                    <a:lnTo>
                      <a:pt x="448" y="322"/>
                    </a:lnTo>
                    <a:lnTo>
                      <a:pt x="448" y="316"/>
                    </a:lnTo>
                    <a:lnTo>
                      <a:pt x="449" y="309"/>
                    </a:lnTo>
                    <a:lnTo>
                      <a:pt x="451" y="306"/>
                    </a:lnTo>
                    <a:lnTo>
                      <a:pt x="449" y="298"/>
                    </a:lnTo>
                    <a:lnTo>
                      <a:pt x="448" y="292"/>
                    </a:lnTo>
                    <a:lnTo>
                      <a:pt x="448" y="284"/>
                    </a:lnTo>
                    <a:lnTo>
                      <a:pt x="448" y="279"/>
                    </a:lnTo>
                    <a:lnTo>
                      <a:pt x="448" y="278"/>
                    </a:lnTo>
                    <a:lnTo>
                      <a:pt x="446" y="274"/>
                    </a:lnTo>
                    <a:lnTo>
                      <a:pt x="448" y="274"/>
                    </a:lnTo>
                    <a:lnTo>
                      <a:pt x="446" y="271"/>
                    </a:lnTo>
                    <a:lnTo>
                      <a:pt x="446" y="268"/>
                    </a:lnTo>
                    <a:lnTo>
                      <a:pt x="448" y="268"/>
                    </a:lnTo>
                    <a:lnTo>
                      <a:pt x="448" y="268"/>
                    </a:lnTo>
                    <a:lnTo>
                      <a:pt x="448" y="267"/>
                    </a:lnTo>
                    <a:lnTo>
                      <a:pt x="449" y="263"/>
                    </a:lnTo>
                    <a:lnTo>
                      <a:pt x="449" y="262"/>
                    </a:lnTo>
                    <a:lnTo>
                      <a:pt x="449" y="262"/>
                    </a:lnTo>
                    <a:lnTo>
                      <a:pt x="449" y="260"/>
                    </a:lnTo>
                    <a:lnTo>
                      <a:pt x="451" y="257"/>
                    </a:lnTo>
                    <a:lnTo>
                      <a:pt x="452" y="260"/>
                    </a:lnTo>
                    <a:lnTo>
                      <a:pt x="452" y="262"/>
                    </a:lnTo>
                    <a:lnTo>
                      <a:pt x="452" y="263"/>
                    </a:lnTo>
                    <a:lnTo>
                      <a:pt x="456" y="263"/>
                    </a:lnTo>
                    <a:lnTo>
                      <a:pt x="457" y="262"/>
                    </a:lnTo>
                    <a:lnTo>
                      <a:pt x="462" y="254"/>
                    </a:lnTo>
                    <a:lnTo>
                      <a:pt x="465" y="243"/>
                    </a:lnTo>
                    <a:lnTo>
                      <a:pt x="465" y="243"/>
                    </a:lnTo>
                    <a:lnTo>
                      <a:pt x="465" y="240"/>
                    </a:lnTo>
                    <a:lnTo>
                      <a:pt x="465" y="240"/>
                    </a:lnTo>
                    <a:lnTo>
                      <a:pt x="468" y="240"/>
                    </a:lnTo>
                    <a:lnTo>
                      <a:pt x="468" y="236"/>
                    </a:lnTo>
                    <a:lnTo>
                      <a:pt x="468" y="236"/>
                    </a:lnTo>
                    <a:lnTo>
                      <a:pt x="472" y="233"/>
                    </a:lnTo>
                    <a:lnTo>
                      <a:pt x="468" y="232"/>
                    </a:lnTo>
                    <a:lnTo>
                      <a:pt x="472" y="232"/>
                    </a:lnTo>
                    <a:lnTo>
                      <a:pt x="472" y="233"/>
                    </a:lnTo>
                    <a:lnTo>
                      <a:pt x="473" y="230"/>
                    </a:lnTo>
                    <a:lnTo>
                      <a:pt x="478" y="227"/>
                    </a:lnTo>
                    <a:lnTo>
                      <a:pt x="483" y="222"/>
                    </a:lnTo>
                    <a:lnTo>
                      <a:pt x="486" y="216"/>
                    </a:lnTo>
                    <a:lnTo>
                      <a:pt x="489" y="213"/>
                    </a:lnTo>
                    <a:lnTo>
                      <a:pt x="492" y="209"/>
                    </a:lnTo>
                    <a:lnTo>
                      <a:pt x="495" y="200"/>
                    </a:lnTo>
                    <a:lnTo>
                      <a:pt x="495" y="197"/>
                    </a:lnTo>
                    <a:lnTo>
                      <a:pt x="497" y="192"/>
                    </a:lnTo>
                    <a:lnTo>
                      <a:pt x="497" y="189"/>
                    </a:lnTo>
                    <a:lnTo>
                      <a:pt x="497" y="187"/>
                    </a:lnTo>
                    <a:lnTo>
                      <a:pt x="495" y="184"/>
                    </a:lnTo>
                    <a:lnTo>
                      <a:pt x="497" y="184"/>
                    </a:lnTo>
                    <a:lnTo>
                      <a:pt x="497" y="181"/>
                    </a:lnTo>
                    <a:lnTo>
                      <a:pt x="497" y="178"/>
                    </a:lnTo>
                    <a:lnTo>
                      <a:pt x="497" y="174"/>
                    </a:lnTo>
                    <a:lnTo>
                      <a:pt x="494" y="168"/>
                    </a:lnTo>
                    <a:lnTo>
                      <a:pt x="494" y="168"/>
                    </a:lnTo>
                    <a:lnTo>
                      <a:pt x="494" y="168"/>
                    </a:lnTo>
                    <a:lnTo>
                      <a:pt x="494" y="168"/>
                    </a:lnTo>
                    <a:lnTo>
                      <a:pt x="494" y="168"/>
                    </a:lnTo>
                    <a:lnTo>
                      <a:pt x="494" y="168"/>
                    </a:lnTo>
                    <a:lnTo>
                      <a:pt x="494" y="168"/>
                    </a:lnTo>
                    <a:lnTo>
                      <a:pt x="494" y="168"/>
                    </a:lnTo>
                    <a:lnTo>
                      <a:pt x="494" y="16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58" name="Freeform 54">
                <a:extLst>
                  <a:ext uri="{FF2B5EF4-FFF2-40B4-BE49-F238E27FC236}">
                    <a16:creationId xmlns:a16="http://schemas.microsoft.com/office/drawing/2014/main" id="{EA4D854D-36E4-4EAC-1AAB-DAD3CA31748F}"/>
                  </a:ext>
                </a:extLst>
              </p:cNvPr>
              <p:cNvSpPr>
                <a:spLocks noEditPoints="1"/>
              </p:cNvSpPr>
              <p:nvPr/>
            </p:nvSpPr>
            <p:spPr bwMode="auto">
              <a:xfrm>
                <a:off x="3793026" y="4592606"/>
                <a:ext cx="423940" cy="1215744"/>
              </a:xfrm>
              <a:custGeom>
                <a:avLst/>
                <a:gdLst>
                  <a:gd name="T0" fmla="*/ 143 w 189"/>
                  <a:gd name="T1" fmla="*/ 515 h 542"/>
                  <a:gd name="T2" fmla="*/ 56 w 189"/>
                  <a:gd name="T3" fmla="*/ 389 h 542"/>
                  <a:gd name="T4" fmla="*/ 114 w 189"/>
                  <a:gd name="T5" fmla="*/ 513 h 542"/>
                  <a:gd name="T6" fmla="*/ 121 w 189"/>
                  <a:gd name="T7" fmla="*/ 518 h 542"/>
                  <a:gd name="T8" fmla="*/ 65 w 189"/>
                  <a:gd name="T9" fmla="*/ 447 h 542"/>
                  <a:gd name="T10" fmla="*/ 64 w 189"/>
                  <a:gd name="T11" fmla="*/ 450 h 542"/>
                  <a:gd name="T12" fmla="*/ 68 w 189"/>
                  <a:gd name="T13" fmla="*/ 458 h 542"/>
                  <a:gd name="T14" fmla="*/ 72 w 189"/>
                  <a:gd name="T15" fmla="*/ 456 h 542"/>
                  <a:gd name="T16" fmla="*/ 164 w 189"/>
                  <a:gd name="T17" fmla="*/ 534 h 542"/>
                  <a:gd name="T18" fmla="*/ 173 w 189"/>
                  <a:gd name="T19" fmla="*/ 539 h 542"/>
                  <a:gd name="T20" fmla="*/ 186 w 189"/>
                  <a:gd name="T21" fmla="*/ 537 h 542"/>
                  <a:gd name="T22" fmla="*/ 172 w 189"/>
                  <a:gd name="T23" fmla="*/ 531 h 542"/>
                  <a:gd name="T24" fmla="*/ 141 w 189"/>
                  <a:gd name="T25" fmla="*/ 504 h 542"/>
                  <a:gd name="T26" fmla="*/ 154 w 189"/>
                  <a:gd name="T27" fmla="*/ 512 h 542"/>
                  <a:gd name="T28" fmla="*/ 164 w 189"/>
                  <a:gd name="T29" fmla="*/ 528 h 542"/>
                  <a:gd name="T30" fmla="*/ 148 w 189"/>
                  <a:gd name="T31" fmla="*/ 524 h 542"/>
                  <a:gd name="T32" fmla="*/ 154 w 189"/>
                  <a:gd name="T33" fmla="*/ 531 h 542"/>
                  <a:gd name="T34" fmla="*/ 108 w 189"/>
                  <a:gd name="T35" fmla="*/ 486 h 542"/>
                  <a:gd name="T36" fmla="*/ 87 w 189"/>
                  <a:gd name="T37" fmla="*/ 469 h 542"/>
                  <a:gd name="T38" fmla="*/ 87 w 189"/>
                  <a:gd name="T39" fmla="*/ 443 h 542"/>
                  <a:gd name="T40" fmla="*/ 87 w 189"/>
                  <a:gd name="T41" fmla="*/ 420 h 542"/>
                  <a:gd name="T42" fmla="*/ 72 w 189"/>
                  <a:gd name="T43" fmla="*/ 393 h 542"/>
                  <a:gd name="T44" fmla="*/ 68 w 189"/>
                  <a:gd name="T45" fmla="*/ 378 h 542"/>
                  <a:gd name="T46" fmla="*/ 59 w 189"/>
                  <a:gd name="T47" fmla="*/ 351 h 542"/>
                  <a:gd name="T48" fmla="*/ 49 w 189"/>
                  <a:gd name="T49" fmla="*/ 320 h 542"/>
                  <a:gd name="T50" fmla="*/ 43 w 189"/>
                  <a:gd name="T51" fmla="*/ 281 h 542"/>
                  <a:gd name="T52" fmla="*/ 45 w 189"/>
                  <a:gd name="T53" fmla="*/ 245 h 542"/>
                  <a:gd name="T54" fmla="*/ 38 w 189"/>
                  <a:gd name="T55" fmla="*/ 220 h 542"/>
                  <a:gd name="T56" fmla="*/ 32 w 189"/>
                  <a:gd name="T57" fmla="*/ 186 h 542"/>
                  <a:gd name="T58" fmla="*/ 41 w 189"/>
                  <a:gd name="T59" fmla="*/ 139 h 542"/>
                  <a:gd name="T60" fmla="*/ 35 w 189"/>
                  <a:gd name="T61" fmla="*/ 104 h 542"/>
                  <a:gd name="T62" fmla="*/ 38 w 189"/>
                  <a:gd name="T63" fmla="*/ 67 h 542"/>
                  <a:gd name="T64" fmla="*/ 6 w 189"/>
                  <a:gd name="T65" fmla="*/ 10 h 542"/>
                  <a:gd name="T66" fmla="*/ 10 w 189"/>
                  <a:gd name="T67" fmla="*/ 73 h 542"/>
                  <a:gd name="T68" fmla="*/ 11 w 189"/>
                  <a:gd name="T69" fmla="*/ 123 h 542"/>
                  <a:gd name="T70" fmla="*/ 14 w 189"/>
                  <a:gd name="T71" fmla="*/ 174 h 542"/>
                  <a:gd name="T72" fmla="*/ 22 w 189"/>
                  <a:gd name="T73" fmla="*/ 226 h 542"/>
                  <a:gd name="T74" fmla="*/ 21 w 189"/>
                  <a:gd name="T75" fmla="*/ 277 h 542"/>
                  <a:gd name="T76" fmla="*/ 21 w 189"/>
                  <a:gd name="T77" fmla="*/ 299 h 542"/>
                  <a:gd name="T78" fmla="*/ 35 w 189"/>
                  <a:gd name="T79" fmla="*/ 347 h 542"/>
                  <a:gd name="T80" fmla="*/ 54 w 189"/>
                  <a:gd name="T81" fmla="*/ 359 h 542"/>
                  <a:gd name="T82" fmla="*/ 57 w 189"/>
                  <a:gd name="T83" fmla="*/ 375 h 542"/>
                  <a:gd name="T84" fmla="*/ 59 w 189"/>
                  <a:gd name="T85" fmla="*/ 396 h 542"/>
                  <a:gd name="T86" fmla="*/ 53 w 189"/>
                  <a:gd name="T87" fmla="*/ 413 h 542"/>
                  <a:gd name="T88" fmla="*/ 46 w 189"/>
                  <a:gd name="T89" fmla="*/ 410 h 542"/>
                  <a:gd name="T90" fmla="*/ 51 w 189"/>
                  <a:gd name="T91" fmla="*/ 420 h 542"/>
                  <a:gd name="T92" fmla="*/ 64 w 189"/>
                  <a:gd name="T93" fmla="*/ 431 h 542"/>
                  <a:gd name="T94" fmla="*/ 75 w 189"/>
                  <a:gd name="T95" fmla="*/ 437 h 542"/>
                  <a:gd name="T96" fmla="*/ 68 w 189"/>
                  <a:gd name="T97" fmla="*/ 442 h 542"/>
                  <a:gd name="T98" fmla="*/ 75 w 189"/>
                  <a:gd name="T99" fmla="*/ 458 h 542"/>
                  <a:gd name="T100" fmla="*/ 80 w 189"/>
                  <a:gd name="T101" fmla="*/ 466 h 542"/>
                  <a:gd name="T102" fmla="*/ 87 w 189"/>
                  <a:gd name="T103" fmla="*/ 481 h 542"/>
                  <a:gd name="T104" fmla="*/ 100 w 189"/>
                  <a:gd name="T105" fmla="*/ 496 h 542"/>
                  <a:gd name="T106" fmla="*/ 111 w 189"/>
                  <a:gd name="T107" fmla="*/ 507 h 542"/>
                  <a:gd name="T108" fmla="*/ 97 w 189"/>
                  <a:gd name="T109" fmla="*/ 507 h 542"/>
                  <a:gd name="T110" fmla="*/ 118 w 189"/>
                  <a:gd name="T111" fmla="*/ 507 h 542"/>
                  <a:gd name="T112" fmla="*/ 126 w 189"/>
                  <a:gd name="T113" fmla="*/ 510 h 542"/>
                  <a:gd name="T114" fmla="*/ 135 w 189"/>
                  <a:gd name="T115" fmla="*/ 507 h 542"/>
                  <a:gd name="T116" fmla="*/ 143 w 189"/>
                  <a:gd name="T117" fmla="*/ 524 h 542"/>
                  <a:gd name="T118" fmla="*/ 43 w 189"/>
                  <a:gd name="T119" fmla="*/ 372 h 542"/>
                  <a:gd name="T120" fmla="*/ 35 w 189"/>
                  <a:gd name="T121" fmla="*/ 350 h 542"/>
                  <a:gd name="T122" fmla="*/ 43 w 189"/>
                  <a:gd name="T123" fmla="*/ 372 h 542"/>
                  <a:gd name="T124" fmla="*/ 132 w 189"/>
                  <a:gd name="T125" fmla="*/ 521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9" h="542">
                    <a:moveTo>
                      <a:pt x="138" y="528"/>
                    </a:moveTo>
                    <a:lnTo>
                      <a:pt x="138" y="528"/>
                    </a:lnTo>
                    <a:lnTo>
                      <a:pt x="137" y="528"/>
                    </a:lnTo>
                    <a:lnTo>
                      <a:pt x="137" y="528"/>
                    </a:lnTo>
                    <a:lnTo>
                      <a:pt x="137" y="528"/>
                    </a:lnTo>
                    <a:lnTo>
                      <a:pt x="137" y="528"/>
                    </a:lnTo>
                    <a:lnTo>
                      <a:pt x="138" y="528"/>
                    </a:lnTo>
                    <a:lnTo>
                      <a:pt x="138" y="528"/>
                    </a:lnTo>
                    <a:lnTo>
                      <a:pt x="140" y="528"/>
                    </a:lnTo>
                    <a:lnTo>
                      <a:pt x="140" y="528"/>
                    </a:lnTo>
                    <a:lnTo>
                      <a:pt x="141" y="528"/>
                    </a:lnTo>
                    <a:lnTo>
                      <a:pt x="141" y="528"/>
                    </a:lnTo>
                    <a:lnTo>
                      <a:pt x="141" y="528"/>
                    </a:lnTo>
                    <a:lnTo>
                      <a:pt x="141" y="528"/>
                    </a:lnTo>
                    <a:lnTo>
                      <a:pt x="140" y="528"/>
                    </a:lnTo>
                    <a:lnTo>
                      <a:pt x="138" y="528"/>
                    </a:lnTo>
                    <a:lnTo>
                      <a:pt x="138" y="528"/>
                    </a:lnTo>
                    <a:lnTo>
                      <a:pt x="138" y="528"/>
                    </a:lnTo>
                    <a:close/>
                    <a:moveTo>
                      <a:pt x="146" y="521"/>
                    </a:moveTo>
                    <a:lnTo>
                      <a:pt x="146" y="521"/>
                    </a:lnTo>
                    <a:lnTo>
                      <a:pt x="148" y="518"/>
                    </a:lnTo>
                    <a:lnTo>
                      <a:pt x="148" y="518"/>
                    </a:lnTo>
                    <a:lnTo>
                      <a:pt x="146" y="518"/>
                    </a:lnTo>
                    <a:lnTo>
                      <a:pt x="146" y="518"/>
                    </a:lnTo>
                    <a:lnTo>
                      <a:pt x="145" y="515"/>
                    </a:lnTo>
                    <a:lnTo>
                      <a:pt x="145" y="515"/>
                    </a:lnTo>
                    <a:lnTo>
                      <a:pt x="143" y="515"/>
                    </a:lnTo>
                    <a:lnTo>
                      <a:pt x="143" y="515"/>
                    </a:lnTo>
                    <a:lnTo>
                      <a:pt x="141" y="516"/>
                    </a:lnTo>
                    <a:lnTo>
                      <a:pt x="141" y="516"/>
                    </a:lnTo>
                    <a:lnTo>
                      <a:pt x="143" y="518"/>
                    </a:lnTo>
                    <a:lnTo>
                      <a:pt x="143" y="518"/>
                    </a:lnTo>
                    <a:lnTo>
                      <a:pt x="141" y="518"/>
                    </a:lnTo>
                    <a:lnTo>
                      <a:pt x="141" y="518"/>
                    </a:lnTo>
                    <a:lnTo>
                      <a:pt x="143" y="521"/>
                    </a:lnTo>
                    <a:lnTo>
                      <a:pt x="143" y="521"/>
                    </a:lnTo>
                    <a:lnTo>
                      <a:pt x="145" y="524"/>
                    </a:lnTo>
                    <a:lnTo>
                      <a:pt x="145" y="524"/>
                    </a:lnTo>
                    <a:lnTo>
                      <a:pt x="148" y="524"/>
                    </a:lnTo>
                    <a:lnTo>
                      <a:pt x="148" y="524"/>
                    </a:lnTo>
                    <a:lnTo>
                      <a:pt x="145" y="518"/>
                    </a:lnTo>
                    <a:lnTo>
                      <a:pt x="146" y="521"/>
                    </a:lnTo>
                    <a:lnTo>
                      <a:pt x="146" y="521"/>
                    </a:lnTo>
                    <a:lnTo>
                      <a:pt x="146" y="521"/>
                    </a:lnTo>
                    <a:close/>
                    <a:moveTo>
                      <a:pt x="59" y="386"/>
                    </a:moveTo>
                    <a:lnTo>
                      <a:pt x="59" y="386"/>
                    </a:lnTo>
                    <a:lnTo>
                      <a:pt x="59" y="386"/>
                    </a:lnTo>
                    <a:lnTo>
                      <a:pt x="59" y="386"/>
                    </a:lnTo>
                    <a:lnTo>
                      <a:pt x="57" y="386"/>
                    </a:lnTo>
                    <a:lnTo>
                      <a:pt x="57" y="386"/>
                    </a:lnTo>
                    <a:lnTo>
                      <a:pt x="57" y="388"/>
                    </a:lnTo>
                    <a:lnTo>
                      <a:pt x="57" y="388"/>
                    </a:lnTo>
                    <a:lnTo>
                      <a:pt x="56" y="389"/>
                    </a:lnTo>
                    <a:lnTo>
                      <a:pt x="56" y="389"/>
                    </a:lnTo>
                    <a:lnTo>
                      <a:pt x="56" y="391"/>
                    </a:lnTo>
                    <a:lnTo>
                      <a:pt x="56" y="391"/>
                    </a:lnTo>
                    <a:lnTo>
                      <a:pt x="57" y="393"/>
                    </a:lnTo>
                    <a:lnTo>
                      <a:pt x="57" y="393"/>
                    </a:lnTo>
                    <a:lnTo>
                      <a:pt x="59" y="394"/>
                    </a:lnTo>
                    <a:lnTo>
                      <a:pt x="59" y="394"/>
                    </a:lnTo>
                    <a:lnTo>
                      <a:pt x="59" y="393"/>
                    </a:lnTo>
                    <a:lnTo>
                      <a:pt x="59" y="393"/>
                    </a:lnTo>
                    <a:lnTo>
                      <a:pt x="62" y="391"/>
                    </a:lnTo>
                    <a:lnTo>
                      <a:pt x="62" y="391"/>
                    </a:lnTo>
                    <a:lnTo>
                      <a:pt x="62" y="389"/>
                    </a:lnTo>
                    <a:lnTo>
                      <a:pt x="62" y="389"/>
                    </a:lnTo>
                    <a:lnTo>
                      <a:pt x="62" y="388"/>
                    </a:lnTo>
                    <a:lnTo>
                      <a:pt x="62" y="388"/>
                    </a:lnTo>
                    <a:lnTo>
                      <a:pt x="62" y="388"/>
                    </a:lnTo>
                    <a:lnTo>
                      <a:pt x="59" y="386"/>
                    </a:lnTo>
                    <a:lnTo>
                      <a:pt x="59" y="386"/>
                    </a:lnTo>
                    <a:lnTo>
                      <a:pt x="59" y="386"/>
                    </a:lnTo>
                    <a:close/>
                    <a:moveTo>
                      <a:pt x="118" y="515"/>
                    </a:moveTo>
                    <a:lnTo>
                      <a:pt x="118" y="515"/>
                    </a:lnTo>
                    <a:lnTo>
                      <a:pt x="116" y="513"/>
                    </a:lnTo>
                    <a:lnTo>
                      <a:pt x="116" y="513"/>
                    </a:lnTo>
                    <a:lnTo>
                      <a:pt x="114" y="512"/>
                    </a:lnTo>
                    <a:lnTo>
                      <a:pt x="114" y="512"/>
                    </a:lnTo>
                    <a:lnTo>
                      <a:pt x="113" y="512"/>
                    </a:lnTo>
                    <a:lnTo>
                      <a:pt x="113" y="512"/>
                    </a:lnTo>
                    <a:lnTo>
                      <a:pt x="114" y="513"/>
                    </a:lnTo>
                    <a:lnTo>
                      <a:pt x="114" y="513"/>
                    </a:lnTo>
                    <a:lnTo>
                      <a:pt x="111" y="513"/>
                    </a:lnTo>
                    <a:lnTo>
                      <a:pt x="111" y="513"/>
                    </a:lnTo>
                    <a:lnTo>
                      <a:pt x="116" y="516"/>
                    </a:lnTo>
                    <a:lnTo>
                      <a:pt x="116" y="516"/>
                    </a:lnTo>
                    <a:lnTo>
                      <a:pt x="113" y="515"/>
                    </a:lnTo>
                    <a:lnTo>
                      <a:pt x="113" y="515"/>
                    </a:lnTo>
                    <a:lnTo>
                      <a:pt x="111" y="515"/>
                    </a:lnTo>
                    <a:lnTo>
                      <a:pt x="111" y="515"/>
                    </a:lnTo>
                    <a:lnTo>
                      <a:pt x="110" y="516"/>
                    </a:lnTo>
                    <a:lnTo>
                      <a:pt x="110" y="516"/>
                    </a:lnTo>
                    <a:lnTo>
                      <a:pt x="111" y="516"/>
                    </a:lnTo>
                    <a:lnTo>
                      <a:pt x="111" y="516"/>
                    </a:lnTo>
                    <a:lnTo>
                      <a:pt x="114" y="516"/>
                    </a:lnTo>
                    <a:lnTo>
                      <a:pt x="114" y="516"/>
                    </a:lnTo>
                    <a:lnTo>
                      <a:pt x="116" y="518"/>
                    </a:lnTo>
                    <a:lnTo>
                      <a:pt x="116" y="518"/>
                    </a:lnTo>
                    <a:lnTo>
                      <a:pt x="118" y="521"/>
                    </a:lnTo>
                    <a:lnTo>
                      <a:pt x="118" y="521"/>
                    </a:lnTo>
                    <a:lnTo>
                      <a:pt x="118" y="518"/>
                    </a:lnTo>
                    <a:lnTo>
                      <a:pt x="118" y="518"/>
                    </a:lnTo>
                    <a:lnTo>
                      <a:pt x="121" y="518"/>
                    </a:lnTo>
                    <a:lnTo>
                      <a:pt x="121" y="518"/>
                    </a:lnTo>
                    <a:lnTo>
                      <a:pt x="122" y="518"/>
                    </a:lnTo>
                    <a:lnTo>
                      <a:pt x="122" y="518"/>
                    </a:lnTo>
                    <a:lnTo>
                      <a:pt x="121" y="518"/>
                    </a:lnTo>
                    <a:lnTo>
                      <a:pt x="121" y="518"/>
                    </a:lnTo>
                    <a:lnTo>
                      <a:pt x="122" y="521"/>
                    </a:lnTo>
                    <a:lnTo>
                      <a:pt x="122" y="521"/>
                    </a:lnTo>
                    <a:lnTo>
                      <a:pt x="121" y="521"/>
                    </a:lnTo>
                    <a:lnTo>
                      <a:pt x="121" y="521"/>
                    </a:lnTo>
                    <a:lnTo>
                      <a:pt x="122" y="521"/>
                    </a:lnTo>
                    <a:lnTo>
                      <a:pt x="122" y="521"/>
                    </a:lnTo>
                    <a:lnTo>
                      <a:pt x="126" y="521"/>
                    </a:lnTo>
                    <a:lnTo>
                      <a:pt x="126" y="521"/>
                    </a:lnTo>
                    <a:lnTo>
                      <a:pt x="126" y="518"/>
                    </a:lnTo>
                    <a:lnTo>
                      <a:pt x="126" y="518"/>
                    </a:lnTo>
                    <a:lnTo>
                      <a:pt x="126" y="518"/>
                    </a:lnTo>
                    <a:lnTo>
                      <a:pt x="126" y="518"/>
                    </a:lnTo>
                    <a:lnTo>
                      <a:pt x="126" y="516"/>
                    </a:lnTo>
                    <a:lnTo>
                      <a:pt x="126" y="516"/>
                    </a:lnTo>
                    <a:lnTo>
                      <a:pt x="122" y="516"/>
                    </a:lnTo>
                    <a:lnTo>
                      <a:pt x="122" y="516"/>
                    </a:lnTo>
                    <a:lnTo>
                      <a:pt x="122" y="515"/>
                    </a:lnTo>
                    <a:lnTo>
                      <a:pt x="122" y="515"/>
                    </a:lnTo>
                    <a:lnTo>
                      <a:pt x="121" y="515"/>
                    </a:lnTo>
                    <a:lnTo>
                      <a:pt x="121" y="515"/>
                    </a:lnTo>
                    <a:lnTo>
                      <a:pt x="119" y="513"/>
                    </a:lnTo>
                    <a:lnTo>
                      <a:pt x="119" y="513"/>
                    </a:lnTo>
                    <a:lnTo>
                      <a:pt x="118" y="513"/>
                    </a:lnTo>
                    <a:lnTo>
                      <a:pt x="118" y="515"/>
                    </a:lnTo>
                    <a:lnTo>
                      <a:pt x="118" y="515"/>
                    </a:lnTo>
                    <a:lnTo>
                      <a:pt x="118" y="515"/>
                    </a:lnTo>
                    <a:close/>
                    <a:moveTo>
                      <a:pt x="65" y="447"/>
                    </a:moveTo>
                    <a:lnTo>
                      <a:pt x="65" y="447"/>
                    </a:lnTo>
                    <a:lnTo>
                      <a:pt x="65" y="445"/>
                    </a:lnTo>
                    <a:lnTo>
                      <a:pt x="65" y="445"/>
                    </a:lnTo>
                    <a:lnTo>
                      <a:pt x="64" y="443"/>
                    </a:lnTo>
                    <a:lnTo>
                      <a:pt x="64" y="443"/>
                    </a:lnTo>
                    <a:lnTo>
                      <a:pt x="62" y="440"/>
                    </a:lnTo>
                    <a:lnTo>
                      <a:pt x="62" y="440"/>
                    </a:lnTo>
                    <a:lnTo>
                      <a:pt x="62" y="440"/>
                    </a:lnTo>
                    <a:lnTo>
                      <a:pt x="62" y="440"/>
                    </a:lnTo>
                    <a:lnTo>
                      <a:pt x="59" y="440"/>
                    </a:lnTo>
                    <a:lnTo>
                      <a:pt x="59" y="440"/>
                    </a:lnTo>
                    <a:lnTo>
                      <a:pt x="56" y="440"/>
                    </a:lnTo>
                    <a:lnTo>
                      <a:pt x="56" y="440"/>
                    </a:lnTo>
                    <a:lnTo>
                      <a:pt x="59" y="443"/>
                    </a:lnTo>
                    <a:lnTo>
                      <a:pt x="59" y="443"/>
                    </a:lnTo>
                    <a:lnTo>
                      <a:pt x="62" y="445"/>
                    </a:lnTo>
                    <a:lnTo>
                      <a:pt x="62" y="445"/>
                    </a:lnTo>
                    <a:lnTo>
                      <a:pt x="62" y="447"/>
                    </a:lnTo>
                    <a:lnTo>
                      <a:pt x="62" y="447"/>
                    </a:lnTo>
                    <a:lnTo>
                      <a:pt x="62" y="448"/>
                    </a:lnTo>
                    <a:lnTo>
                      <a:pt x="62" y="448"/>
                    </a:lnTo>
                    <a:lnTo>
                      <a:pt x="64" y="448"/>
                    </a:lnTo>
                    <a:lnTo>
                      <a:pt x="64" y="448"/>
                    </a:lnTo>
                    <a:lnTo>
                      <a:pt x="62" y="450"/>
                    </a:lnTo>
                    <a:lnTo>
                      <a:pt x="62" y="450"/>
                    </a:lnTo>
                    <a:lnTo>
                      <a:pt x="64" y="450"/>
                    </a:lnTo>
                    <a:lnTo>
                      <a:pt x="64" y="450"/>
                    </a:lnTo>
                    <a:lnTo>
                      <a:pt x="65" y="453"/>
                    </a:lnTo>
                    <a:lnTo>
                      <a:pt x="65" y="453"/>
                    </a:lnTo>
                    <a:lnTo>
                      <a:pt x="65" y="456"/>
                    </a:lnTo>
                    <a:lnTo>
                      <a:pt x="65" y="456"/>
                    </a:lnTo>
                    <a:lnTo>
                      <a:pt x="64" y="455"/>
                    </a:lnTo>
                    <a:lnTo>
                      <a:pt x="64" y="455"/>
                    </a:lnTo>
                    <a:lnTo>
                      <a:pt x="64" y="456"/>
                    </a:lnTo>
                    <a:lnTo>
                      <a:pt x="64" y="456"/>
                    </a:lnTo>
                    <a:lnTo>
                      <a:pt x="62" y="456"/>
                    </a:lnTo>
                    <a:lnTo>
                      <a:pt x="62" y="456"/>
                    </a:lnTo>
                    <a:lnTo>
                      <a:pt x="59" y="455"/>
                    </a:lnTo>
                    <a:lnTo>
                      <a:pt x="59" y="455"/>
                    </a:lnTo>
                    <a:lnTo>
                      <a:pt x="62" y="458"/>
                    </a:lnTo>
                    <a:lnTo>
                      <a:pt x="62" y="458"/>
                    </a:lnTo>
                    <a:lnTo>
                      <a:pt x="64" y="459"/>
                    </a:lnTo>
                    <a:lnTo>
                      <a:pt x="64" y="459"/>
                    </a:lnTo>
                    <a:lnTo>
                      <a:pt x="65" y="462"/>
                    </a:lnTo>
                    <a:lnTo>
                      <a:pt x="65" y="462"/>
                    </a:lnTo>
                    <a:lnTo>
                      <a:pt x="68" y="462"/>
                    </a:lnTo>
                    <a:lnTo>
                      <a:pt x="68" y="462"/>
                    </a:lnTo>
                    <a:lnTo>
                      <a:pt x="67" y="462"/>
                    </a:lnTo>
                    <a:lnTo>
                      <a:pt x="67" y="462"/>
                    </a:lnTo>
                    <a:lnTo>
                      <a:pt x="67" y="461"/>
                    </a:lnTo>
                    <a:lnTo>
                      <a:pt x="67" y="461"/>
                    </a:lnTo>
                    <a:lnTo>
                      <a:pt x="67" y="458"/>
                    </a:lnTo>
                    <a:lnTo>
                      <a:pt x="67" y="458"/>
                    </a:lnTo>
                    <a:lnTo>
                      <a:pt x="68" y="458"/>
                    </a:lnTo>
                    <a:lnTo>
                      <a:pt x="68" y="458"/>
                    </a:lnTo>
                    <a:lnTo>
                      <a:pt x="68" y="459"/>
                    </a:lnTo>
                    <a:lnTo>
                      <a:pt x="68" y="459"/>
                    </a:lnTo>
                    <a:lnTo>
                      <a:pt x="70" y="461"/>
                    </a:lnTo>
                    <a:lnTo>
                      <a:pt x="70" y="461"/>
                    </a:lnTo>
                    <a:lnTo>
                      <a:pt x="68" y="461"/>
                    </a:lnTo>
                    <a:lnTo>
                      <a:pt x="68" y="461"/>
                    </a:lnTo>
                    <a:lnTo>
                      <a:pt x="70" y="462"/>
                    </a:lnTo>
                    <a:lnTo>
                      <a:pt x="70" y="462"/>
                    </a:lnTo>
                    <a:lnTo>
                      <a:pt x="72" y="462"/>
                    </a:lnTo>
                    <a:lnTo>
                      <a:pt x="72" y="462"/>
                    </a:lnTo>
                    <a:lnTo>
                      <a:pt x="72" y="466"/>
                    </a:lnTo>
                    <a:lnTo>
                      <a:pt x="72" y="466"/>
                    </a:lnTo>
                    <a:lnTo>
                      <a:pt x="75" y="466"/>
                    </a:lnTo>
                    <a:lnTo>
                      <a:pt x="75" y="466"/>
                    </a:lnTo>
                    <a:lnTo>
                      <a:pt x="75" y="462"/>
                    </a:lnTo>
                    <a:lnTo>
                      <a:pt x="75" y="462"/>
                    </a:lnTo>
                    <a:lnTo>
                      <a:pt x="73" y="462"/>
                    </a:lnTo>
                    <a:lnTo>
                      <a:pt x="73" y="462"/>
                    </a:lnTo>
                    <a:lnTo>
                      <a:pt x="75" y="462"/>
                    </a:lnTo>
                    <a:lnTo>
                      <a:pt x="75" y="462"/>
                    </a:lnTo>
                    <a:lnTo>
                      <a:pt x="73" y="461"/>
                    </a:lnTo>
                    <a:lnTo>
                      <a:pt x="73" y="461"/>
                    </a:lnTo>
                    <a:lnTo>
                      <a:pt x="72" y="462"/>
                    </a:lnTo>
                    <a:lnTo>
                      <a:pt x="72" y="462"/>
                    </a:lnTo>
                    <a:lnTo>
                      <a:pt x="72" y="456"/>
                    </a:lnTo>
                    <a:lnTo>
                      <a:pt x="72" y="456"/>
                    </a:lnTo>
                    <a:lnTo>
                      <a:pt x="70" y="453"/>
                    </a:lnTo>
                    <a:lnTo>
                      <a:pt x="70" y="453"/>
                    </a:lnTo>
                    <a:lnTo>
                      <a:pt x="68" y="451"/>
                    </a:lnTo>
                    <a:lnTo>
                      <a:pt x="68" y="451"/>
                    </a:lnTo>
                    <a:lnTo>
                      <a:pt x="68" y="450"/>
                    </a:lnTo>
                    <a:lnTo>
                      <a:pt x="68" y="450"/>
                    </a:lnTo>
                    <a:lnTo>
                      <a:pt x="67" y="448"/>
                    </a:lnTo>
                    <a:lnTo>
                      <a:pt x="65" y="447"/>
                    </a:lnTo>
                    <a:lnTo>
                      <a:pt x="65" y="447"/>
                    </a:lnTo>
                    <a:lnTo>
                      <a:pt x="65" y="447"/>
                    </a:lnTo>
                    <a:close/>
                    <a:moveTo>
                      <a:pt x="189" y="534"/>
                    </a:moveTo>
                    <a:lnTo>
                      <a:pt x="189" y="534"/>
                    </a:lnTo>
                    <a:lnTo>
                      <a:pt x="184" y="532"/>
                    </a:lnTo>
                    <a:lnTo>
                      <a:pt x="184" y="532"/>
                    </a:lnTo>
                    <a:lnTo>
                      <a:pt x="181" y="532"/>
                    </a:lnTo>
                    <a:lnTo>
                      <a:pt x="181" y="532"/>
                    </a:lnTo>
                    <a:lnTo>
                      <a:pt x="180" y="532"/>
                    </a:lnTo>
                    <a:lnTo>
                      <a:pt x="180" y="532"/>
                    </a:lnTo>
                    <a:lnTo>
                      <a:pt x="176" y="534"/>
                    </a:lnTo>
                    <a:lnTo>
                      <a:pt x="176" y="534"/>
                    </a:lnTo>
                    <a:lnTo>
                      <a:pt x="175" y="532"/>
                    </a:lnTo>
                    <a:lnTo>
                      <a:pt x="175" y="532"/>
                    </a:lnTo>
                    <a:lnTo>
                      <a:pt x="168" y="534"/>
                    </a:lnTo>
                    <a:lnTo>
                      <a:pt x="168" y="534"/>
                    </a:lnTo>
                    <a:lnTo>
                      <a:pt x="167" y="534"/>
                    </a:lnTo>
                    <a:lnTo>
                      <a:pt x="167" y="534"/>
                    </a:lnTo>
                    <a:lnTo>
                      <a:pt x="164" y="534"/>
                    </a:lnTo>
                    <a:lnTo>
                      <a:pt x="164" y="534"/>
                    </a:lnTo>
                    <a:lnTo>
                      <a:pt x="164" y="535"/>
                    </a:lnTo>
                    <a:lnTo>
                      <a:pt x="164" y="535"/>
                    </a:lnTo>
                    <a:lnTo>
                      <a:pt x="164" y="534"/>
                    </a:lnTo>
                    <a:lnTo>
                      <a:pt x="164" y="534"/>
                    </a:lnTo>
                    <a:lnTo>
                      <a:pt x="160" y="535"/>
                    </a:lnTo>
                    <a:lnTo>
                      <a:pt x="160" y="535"/>
                    </a:lnTo>
                    <a:lnTo>
                      <a:pt x="160" y="537"/>
                    </a:lnTo>
                    <a:lnTo>
                      <a:pt x="160" y="537"/>
                    </a:lnTo>
                    <a:lnTo>
                      <a:pt x="164" y="537"/>
                    </a:lnTo>
                    <a:lnTo>
                      <a:pt x="164" y="537"/>
                    </a:lnTo>
                    <a:lnTo>
                      <a:pt x="164" y="539"/>
                    </a:lnTo>
                    <a:lnTo>
                      <a:pt x="164" y="539"/>
                    </a:lnTo>
                    <a:lnTo>
                      <a:pt x="167" y="539"/>
                    </a:lnTo>
                    <a:lnTo>
                      <a:pt x="167" y="539"/>
                    </a:lnTo>
                    <a:lnTo>
                      <a:pt x="170" y="540"/>
                    </a:lnTo>
                    <a:lnTo>
                      <a:pt x="170" y="540"/>
                    </a:lnTo>
                    <a:lnTo>
                      <a:pt x="167" y="537"/>
                    </a:lnTo>
                    <a:lnTo>
                      <a:pt x="167" y="537"/>
                    </a:lnTo>
                    <a:lnTo>
                      <a:pt x="167" y="535"/>
                    </a:lnTo>
                    <a:lnTo>
                      <a:pt x="167" y="535"/>
                    </a:lnTo>
                    <a:lnTo>
                      <a:pt x="168" y="535"/>
                    </a:lnTo>
                    <a:lnTo>
                      <a:pt x="168" y="535"/>
                    </a:lnTo>
                    <a:lnTo>
                      <a:pt x="172" y="537"/>
                    </a:lnTo>
                    <a:lnTo>
                      <a:pt x="172" y="537"/>
                    </a:lnTo>
                    <a:lnTo>
                      <a:pt x="173" y="539"/>
                    </a:lnTo>
                    <a:lnTo>
                      <a:pt x="173" y="539"/>
                    </a:lnTo>
                    <a:lnTo>
                      <a:pt x="173" y="540"/>
                    </a:lnTo>
                    <a:lnTo>
                      <a:pt x="173" y="540"/>
                    </a:lnTo>
                    <a:lnTo>
                      <a:pt x="176" y="540"/>
                    </a:lnTo>
                    <a:lnTo>
                      <a:pt x="176" y="540"/>
                    </a:lnTo>
                    <a:lnTo>
                      <a:pt x="180" y="540"/>
                    </a:lnTo>
                    <a:lnTo>
                      <a:pt x="180" y="540"/>
                    </a:lnTo>
                    <a:lnTo>
                      <a:pt x="183" y="542"/>
                    </a:lnTo>
                    <a:lnTo>
                      <a:pt x="183" y="542"/>
                    </a:lnTo>
                    <a:lnTo>
                      <a:pt x="184" y="542"/>
                    </a:lnTo>
                    <a:lnTo>
                      <a:pt x="184" y="542"/>
                    </a:lnTo>
                    <a:lnTo>
                      <a:pt x="183" y="540"/>
                    </a:lnTo>
                    <a:lnTo>
                      <a:pt x="183" y="540"/>
                    </a:lnTo>
                    <a:lnTo>
                      <a:pt x="180" y="539"/>
                    </a:lnTo>
                    <a:lnTo>
                      <a:pt x="180" y="539"/>
                    </a:lnTo>
                    <a:lnTo>
                      <a:pt x="176" y="539"/>
                    </a:lnTo>
                    <a:lnTo>
                      <a:pt x="176" y="539"/>
                    </a:lnTo>
                    <a:lnTo>
                      <a:pt x="175" y="537"/>
                    </a:lnTo>
                    <a:lnTo>
                      <a:pt x="175" y="537"/>
                    </a:lnTo>
                    <a:lnTo>
                      <a:pt x="176" y="537"/>
                    </a:lnTo>
                    <a:lnTo>
                      <a:pt x="176" y="537"/>
                    </a:lnTo>
                    <a:lnTo>
                      <a:pt x="180" y="537"/>
                    </a:lnTo>
                    <a:lnTo>
                      <a:pt x="180" y="537"/>
                    </a:lnTo>
                    <a:lnTo>
                      <a:pt x="183" y="537"/>
                    </a:lnTo>
                    <a:lnTo>
                      <a:pt x="183" y="537"/>
                    </a:lnTo>
                    <a:lnTo>
                      <a:pt x="184" y="537"/>
                    </a:lnTo>
                    <a:lnTo>
                      <a:pt x="184" y="537"/>
                    </a:lnTo>
                    <a:lnTo>
                      <a:pt x="186" y="537"/>
                    </a:lnTo>
                    <a:lnTo>
                      <a:pt x="186" y="537"/>
                    </a:lnTo>
                    <a:lnTo>
                      <a:pt x="187" y="537"/>
                    </a:lnTo>
                    <a:lnTo>
                      <a:pt x="187" y="537"/>
                    </a:lnTo>
                    <a:lnTo>
                      <a:pt x="189" y="539"/>
                    </a:lnTo>
                    <a:lnTo>
                      <a:pt x="189" y="539"/>
                    </a:lnTo>
                    <a:lnTo>
                      <a:pt x="189" y="537"/>
                    </a:lnTo>
                    <a:lnTo>
                      <a:pt x="189" y="537"/>
                    </a:lnTo>
                    <a:lnTo>
                      <a:pt x="189" y="535"/>
                    </a:lnTo>
                    <a:lnTo>
                      <a:pt x="189" y="534"/>
                    </a:lnTo>
                    <a:lnTo>
                      <a:pt x="189" y="534"/>
                    </a:lnTo>
                    <a:lnTo>
                      <a:pt x="189" y="534"/>
                    </a:lnTo>
                    <a:close/>
                    <a:moveTo>
                      <a:pt x="160" y="531"/>
                    </a:moveTo>
                    <a:lnTo>
                      <a:pt x="160" y="531"/>
                    </a:lnTo>
                    <a:lnTo>
                      <a:pt x="164" y="532"/>
                    </a:lnTo>
                    <a:lnTo>
                      <a:pt x="164" y="532"/>
                    </a:lnTo>
                    <a:lnTo>
                      <a:pt x="167" y="532"/>
                    </a:lnTo>
                    <a:lnTo>
                      <a:pt x="167" y="532"/>
                    </a:lnTo>
                    <a:lnTo>
                      <a:pt x="168" y="532"/>
                    </a:lnTo>
                    <a:lnTo>
                      <a:pt x="168" y="532"/>
                    </a:lnTo>
                    <a:lnTo>
                      <a:pt x="170" y="532"/>
                    </a:lnTo>
                    <a:lnTo>
                      <a:pt x="170" y="532"/>
                    </a:lnTo>
                    <a:lnTo>
                      <a:pt x="168" y="531"/>
                    </a:lnTo>
                    <a:lnTo>
                      <a:pt x="168" y="531"/>
                    </a:lnTo>
                    <a:lnTo>
                      <a:pt x="172" y="532"/>
                    </a:lnTo>
                    <a:lnTo>
                      <a:pt x="172" y="532"/>
                    </a:lnTo>
                    <a:lnTo>
                      <a:pt x="172" y="531"/>
                    </a:lnTo>
                    <a:lnTo>
                      <a:pt x="172" y="531"/>
                    </a:lnTo>
                    <a:lnTo>
                      <a:pt x="170" y="531"/>
                    </a:lnTo>
                    <a:lnTo>
                      <a:pt x="170" y="531"/>
                    </a:lnTo>
                    <a:lnTo>
                      <a:pt x="167" y="521"/>
                    </a:lnTo>
                    <a:lnTo>
                      <a:pt x="167" y="521"/>
                    </a:lnTo>
                    <a:lnTo>
                      <a:pt x="160" y="507"/>
                    </a:lnTo>
                    <a:lnTo>
                      <a:pt x="160" y="507"/>
                    </a:lnTo>
                    <a:lnTo>
                      <a:pt x="157" y="504"/>
                    </a:lnTo>
                    <a:lnTo>
                      <a:pt x="157" y="504"/>
                    </a:lnTo>
                    <a:lnTo>
                      <a:pt x="157" y="501"/>
                    </a:lnTo>
                    <a:lnTo>
                      <a:pt x="157" y="501"/>
                    </a:lnTo>
                    <a:lnTo>
                      <a:pt x="154" y="501"/>
                    </a:lnTo>
                    <a:lnTo>
                      <a:pt x="154" y="501"/>
                    </a:lnTo>
                    <a:lnTo>
                      <a:pt x="151" y="501"/>
                    </a:lnTo>
                    <a:lnTo>
                      <a:pt x="151" y="501"/>
                    </a:lnTo>
                    <a:lnTo>
                      <a:pt x="149" y="501"/>
                    </a:lnTo>
                    <a:lnTo>
                      <a:pt x="149" y="501"/>
                    </a:lnTo>
                    <a:lnTo>
                      <a:pt x="148" y="501"/>
                    </a:lnTo>
                    <a:lnTo>
                      <a:pt x="148" y="501"/>
                    </a:lnTo>
                    <a:lnTo>
                      <a:pt x="146" y="501"/>
                    </a:lnTo>
                    <a:lnTo>
                      <a:pt x="146" y="501"/>
                    </a:lnTo>
                    <a:lnTo>
                      <a:pt x="146" y="504"/>
                    </a:lnTo>
                    <a:lnTo>
                      <a:pt x="146" y="504"/>
                    </a:lnTo>
                    <a:lnTo>
                      <a:pt x="146" y="504"/>
                    </a:lnTo>
                    <a:lnTo>
                      <a:pt x="146" y="504"/>
                    </a:lnTo>
                    <a:lnTo>
                      <a:pt x="145" y="504"/>
                    </a:lnTo>
                    <a:lnTo>
                      <a:pt x="145" y="504"/>
                    </a:lnTo>
                    <a:lnTo>
                      <a:pt x="141" y="504"/>
                    </a:lnTo>
                    <a:lnTo>
                      <a:pt x="141" y="504"/>
                    </a:lnTo>
                    <a:lnTo>
                      <a:pt x="138" y="504"/>
                    </a:lnTo>
                    <a:lnTo>
                      <a:pt x="138" y="504"/>
                    </a:lnTo>
                    <a:lnTo>
                      <a:pt x="141" y="504"/>
                    </a:lnTo>
                    <a:lnTo>
                      <a:pt x="141" y="504"/>
                    </a:lnTo>
                    <a:lnTo>
                      <a:pt x="143" y="507"/>
                    </a:lnTo>
                    <a:lnTo>
                      <a:pt x="143" y="507"/>
                    </a:lnTo>
                    <a:lnTo>
                      <a:pt x="143" y="507"/>
                    </a:lnTo>
                    <a:lnTo>
                      <a:pt x="143" y="507"/>
                    </a:lnTo>
                    <a:lnTo>
                      <a:pt x="141" y="507"/>
                    </a:lnTo>
                    <a:lnTo>
                      <a:pt x="141" y="507"/>
                    </a:lnTo>
                    <a:lnTo>
                      <a:pt x="140" y="507"/>
                    </a:lnTo>
                    <a:lnTo>
                      <a:pt x="140" y="507"/>
                    </a:lnTo>
                    <a:lnTo>
                      <a:pt x="140" y="508"/>
                    </a:lnTo>
                    <a:lnTo>
                      <a:pt x="140" y="508"/>
                    </a:lnTo>
                    <a:lnTo>
                      <a:pt x="141" y="510"/>
                    </a:lnTo>
                    <a:lnTo>
                      <a:pt x="141" y="510"/>
                    </a:lnTo>
                    <a:lnTo>
                      <a:pt x="143" y="512"/>
                    </a:lnTo>
                    <a:lnTo>
                      <a:pt x="143" y="512"/>
                    </a:lnTo>
                    <a:lnTo>
                      <a:pt x="145" y="512"/>
                    </a:lnTo>
                    <a:lnTo>
                      <a:pt x="145" y="512"/>
                    </a:lnTo>
                    <a:lnTo>
                      <a:pt x="149" y="512"/>
                    </a:lnTo>
                    <a:lnTo>
                      <a:pt x="149" y="512"/>
                    </a:lnTo>
                    <a:lnTo>
                      <a:pt x="153" y="510"/>
                    </a:lnTo>
                    <a:lnTo>
                      <a:pt x="153" y="510"/>
                    </a:lnTo>
                    <a:lnTo>
                      <a:pt x="154" y="512"/>
                    </a:lnTo>
                    <a:lnTo>
                      <a:pt x="154" y="512"/>
                    </a:lnTo>
                    <a:lnTo>
                      <a:pt x="154" y="512"/>
                    </a:lnTo>
                    <a:lnTo>
                      <a:pt x="154" y="512"/>
                    </a:lnTo>
                    <a:lnTo>
                      <a:pt x="154" y="515"/>
                    </a:lnTo>
                    <a:lnTo>
                      <a:pt x="154" y="515"/>
                    </a:lnTo>
                    <a:lnTo>
                      <a:pt x="151" y="515"/>
                    </a:lnTo>
                    <a:lnTo>
                      <a:pt x="151" y="515"/>
                    </a:lnTo>
                    <a:lnTo>
                      <a:pt x="149" y="516"/>
                    </a:lnTo>
                    <a:lnTo>
                      <a:pt x="149" y="516"/>
                    </a:lnTo>
                    <a:lnTo>
                      <a:pt x="149" y="518"/>
                    </a:lnTo>
                    <a:lnTo>
                      <a:pt x="149" y="518"/>
                    </a:lnTo>
                    <a:lnTo>
                      <a:pt x="149" y="518"/>
                    </a:lnTo>
                    <a:lnTo>
                      <a:pt x="149" y="518"/>
                    </a:lnTo>
                    <a:lnTo>
                      <a:pt x="153" y="521"/>
                    </a:lnTo>
                    <a:lnTo>
                      <a:pt x="153" y="521"/>
                    </a:lnTo>
                    <a:lnTo>
                      <a:pt x="157" y="524"/>
                    </a:lnTo>
                    <a:lnTo>
                      <a:pt x="157" y="524"/>
                    </a:lnTo>
                    <a:lnTo>
                      <a:pt x="160" y="524"/>
                    </a:lnTo>
                    <a:lnTo>
                      <a:pt x="160" y="524"/>
                    </a:lnTo>
                    <a:lnTo>
                      <a:pt x="167" y="528"/>
                    </a:lnTo>
                    <a:lnTo>
                      <a:pt x="167" y="528"/>
                    </a:lnTo>
                    <a:lnTo>
                      <a:pt x="164" y="528"/>
                    </a:lnTo>
                    <a:lnTo>
                      <a:pt x="164" y="528"/>
                    </a:lnTo>
                    <a:lnTo>
                      <a:pt x="164" y="528"/>
                    </a:lnTo>
                    <a:lnTo>
                      <a:pt x="164" y="528"/>
                    </a:lnTo>
                    <a:lnTo>
                      <a:pt x="164" y="528"/>
                    </a:lnTo>
                    <a:lnTo>
                      <a:pt x="164" y="528"/>
                    </a:lnTo>
                    <a:lnTo>
                      <a:pt x="164" y="528"/>
                    </a:lnTo>
                    <a:lnTo>
                      <a:pt x="164" y="528"/>
                    </a:lnTo>
                    <a:lnTo>
                      <a:pt x="160" y="524"/>
                    </a:lnTo>
                    <a:lnTo>
                      <a:pt x="160" y="524"/>
                    </a:lnTo>
                    <a:lnTo>
                      <a:pt x="160" y="524"/>
                    </a:lnTo>
                    <a:lnTo>
                      <a:pt x="160" y="524"/>
                    </a:lnTo>
                    <a:lnTo>
                      <a:pt x="157" y="524"/>
                    </a:lnTo>
                    <a:lnTo>
                      <a:pt x="157" y="524"/>
                    </a:lnTo>
                    <a:lnTo>
                      <a:pt x="154" y="524"/>
                    </a:lnTo>
                    <a:lnTo>
                      <a:pt x="154" y="524"/>
                    </a:lnTo>
                    <a:lnTo>
                      <a:pt x="157" y="528"/>
                    </a:lnTo>
                    <a:lnTo>
                      <a:pt x="157" y="528"/>
                    </a:lnTo>
                    <a:lnTo>
                      <a:pt x="154" y="524"/>
                    </a:lnTo>
                    <a:lnTo>
                      <a:pt x="154" y="524"/>
                    </a:lnTo>
                    <a:lnTo>
                      <a:pt x="154" y="524"/>
                    </a:lnTo>
                    <a:lnTo>
                      <a:pt x="154" y="524"/>
                    </a:lnTo>
                    <a:lnTo>
                      <a:pt x="153" y="524"/>
                    </a:lnTo>
                    <a:lnTo>
                      <a:pt x="153" y="524"/>
                    </a:lnTo>
                    <a:lnTo>
                      <a:pt x="148" y="524"/>
                    </a:lnTo>
                    <a:lnTo>
                      <a:pt x="148" y="524"/>
                    </a:lnTo>
                    <a:lnTo>
                      <a:pt x="154" y="528"/>
                    </a:lnTo>
                    <a:lnTo>
                      <a:pt x="154" y="528"/>
                    </a:lnTo>
                    <a:lnTo>
                      <a:pt x="153" y="528"/>
                    </a:lnTo>
                    <a:lnTo>
                      <a:pt x="153" y="528"/>
                    </a:lnTo>
                    <a:lnTo>
                      <a:pt x="151" y="528"/>
                    </a:lnTo>
                    <a:lnTo>
                      <a:pt x="151" y="528"/>
                    </a:lnTo>
                    <a:lnTo>
                      <a:pt x="148" y="524"/>
                    </a:lnTo>
                    <a:lnTo>
                      <a:pt x="148" y="524"/>
                    </a:lnTo>
                    <a:lnTo>
                      <a:pt x="146" y="524"/>
                    </a:lnTo>
                    <a:lnTo>
                      <a:pt x="146" y="524"/>
                    </a:lnTo>
                    <a:lnTo>
                      <a:pt x="145" y="524"/>
                    </a:lnTo>
                    <a:lnTo>
                      <a:pt x="145" y="524"/>
                    </a:lnTo>
                    <a:lnTo>
                      <a:pt x="145" y="528"/>
                    </a:lnTo>
                    <a:lnTo>
                      <a:pt x="145" y="528"/>
                    </a:lnTo>
                    <a:lnTo>
                      <a:pt x="141" y="528"/>
                    </a:lnTo>
                    <a:lnTo>
                      <a:pt x="141" y="528"/>
                    </a:lnTo>
                    <a:lnTo>
                      <a:pt x="143" y="531"/>
                    </a:lnTo>
                    <a:lnTo>
                      <a:pt x="143" y="531"/>
                    </a:lnTo>
                    <a:lnTo>
                      <a:pt x="145" y="531"/>
                    </a:lnTo>
                    <a:lnTo>
                      <a:pt x="145" y="531"/>
                    </a:lnTo>
                    <a:lnTo>
                      <a:pt x="145" y="528"/>
                    </a:lnTo>
                    <a:lnTo>
                      <a:pt x="145" y="528"/>
                    </a:lnTo>
                    <a:lnTo>
                      <a:pt x="146" y="531"/>
                    </a:lnTo>
                    <a:lnTo>
                      <a:pt x="146" y="531"/>
                    </a:lnTo>
                    <a:lnTo>
                      <a:pt x="149" y="531"/>
                    </a:lnTo>
                    <a:lnTo>
                      <a:pt x="149" y="531"/>
                    </a:lnTo>
                    <a:lnTo>
                      <a:pt x="151" y="531"/>
                    </a:lnTo>
                    <a:lnTo>
                      <a:pt x="151" y="531"/>
                    </a:lnTo>
                    <a:lnTo>
                      <a:pt x="149" y="531"/>
                    </a:lnTo>
                    <a:lnTo>
                      <a:pt x="149" y="531"/>
                    </a:lnTo>
                    <a:lnTo>
                      <a:pt x="153" y="531"/>
                    </a:lnTo>
                    <a:lnTo>
                      <a:pt x="153" y="531"/>
                    </a:lnTo>
                    <a:lnTo>
                      <a:pt x="154" y="531"/>
                    </a:lnTo>
                    <a:lnTo>
                      <a:pt x="154" y="531"/>
                    </a:lnTo>
                    <a:lnTo>
                      <a:pt x="154" y="531"/>
                    </a:lnTo>
                    <a:lnTo>
                      <a:pt x="154" y="531"/>
                    </a:lnTo>
                    <a:lnTo>
                      <a:pt x="154" y="531"/>
                    </a:lnTo>
                    <a:lnTo>
                      <a:pt x="154" y="531"/>
                    </a:lnTo>
                    <a:lnTo>
                      <a:pt x="157" y="531"/>
                    </a:lnTo>
                    <a:lnTo>
                      <a:pt x="157" y="531"/>
                    </a:lnTo>
                    <a:lnTo>
                      <a:pt x="160" y="531"/>
                    </a:lnTo>
                    <a:lnTo>
                      <a:pt x="160" y="531"/>
                    </a:lnTo>
                    <a:lnTo>
                      <a:pt x="160" y="531"/>
                    </a:lnTo>
                    <a:lnTo>
                      <a:pt x="160" y="531"/>
                    </a:lnTo>
                    <a:close/>
                    <a:moveTo>
                      <a:pt x="148" y="496"/>
                    </a:moveTo>
                    <a:lnTo>
                      <a:pt x="148" y="496"/>
                    </a:lnTo>
                    <a:lnTo>
                      <a:pt x="140" y="494"/>
                    </a:lnTo>
                    <a:lnTo>
                      <a:pt x="140" y="494"/>
                    </a:lnTo>
                    <a:lnTo>
                      <a:pt x="132" y="493"/>
                    </a:lnTo>
                    <a:lnTo>
                      <a:pt x="132" y="493"/>
                    </a:lnTo>
                    <a:lnTo>
                      <a:pt x="126" y="493"/>
                    </a:lnTo>
                    <a:lnTo>
                      <a:pt x="126" y="493"/>
                    </a:lnTo>
                    <a:lnTo>
                      <a:pt x="121" y="494"/>
                    </a:lnTo>
                    <a:lnTo>
                      <a:pt x="121" y="494"/>
                    </a:lnTo>
                    <a:lnTo>
                      <a:pt x="118" y="493"/>
                    </a:lnTo>
                    <a:lnTo>
                      <a:pt x="118" y="493"/>
                    </a:lnTo>
                    <a:lnTo>
                      <a:pt x="116" y="493"/>
                    </a:lnTo>
                    <a:lnTo>
                      <a:pt x="116" y="493"/>
                    </a:lnTo>
                    <a:lnTo>
                      <a:pt x="113" y="489"/>
                    </a:lnTo>
                    <a:lnTo>
                      <a:pt x="113" y="489"/>
                    </a:lnTo>
                    <a:lnTo>
                      <a:pt x="108" y="486"/>
                    </a:lnTo>
                    <a:lnTo>
                      <a:pt x="108" y="486"/>
                    </a:lnTo>
                    <a:lnTo>
                      <a:pt x="108" y="483"/>
                    </a:lnTo>
                    <a:lnTo>
                      <a:pt x="108" y="483"/>
                    </a:lnTo>
                    <a:lnTo>
                      <a:pt x="107" y="481"/>
                    </a:lnTo>
                    <a:lnTo>
                      <a:pt x="107" y="481"/>
                    </a:lnTo>
                    <a:lnTo>
                      <a:pt x="107" y="478"/>
                    </a:lnTo>
                    <a:lnTo>
                      <a:pt x="107" y="478"/>
                    </a:lnTo>
                    <a:lnTo>
                      <a:pt x="105" y="477"/>
                    </a:lnTo>
                    <a:lnTo>
                      <a:pt x="105" y="477"/>
                    </a:lnTo>
                    <a:lnTo>
                      <a:pt x="105" y="477"/>
                    </a:lnTo>
                    <a:lnTo>
                      <a:pt x="103" y="474"/>
                    </a:lnTo>
                    <a:lnTo>
                      <a:pt x="103" y="474"/>
                    </a:lnTo>
                    <a:lnTo>
                      <a:pt x="102" y="474"/>
                    </a:lnTo>
                    <a:lnTo>
                      <a:pt x="102" y="474"/>
                    </a:lnTo>
                    <a:lnTo>
                      <a:pt x="97" y="474"/>
                    </a:lnTo>
                    <a:lnTo>
                      <a:pt x="97" y="474"/>
                    </a:lnTo>
                    <a:lnTo>
                      <a:pt x="97" y="475"/>
                    </a:lnTo>
                    <a:lnTo>
                      <a:pt x="97" y="475"/>
                    </a:lnTo>
                    <a:lnTo>
                      <a:pt x="94" y="475"/>
                    </a:lnTo>
                    <a:lnTo>
                      <a:pt x="94" y="475"/>
                    </a:lnTo>
                    <a:lnTo>
                      <a:pt x="94" y="474"/>
                    </a:lnTo>
                    <a:lnTo>
                      <a:pt x="94" y="474"/>
                    </a:lnTo>
                    <a:lnTo>
                      <a:pt x="91" y="472"/>
                    </a:lnTo>
                    <a:lnTo>
                      <a:pt x="91" y="472"/>
                    </a:lnTo>
                    <a:lnTo>
                      <a:pt x="91" y="469"/>
                    </a:lnTo>
                    <a:lnTo>
                      <a:pt x="91" y="469"/>
                    </a:lnTo>
                    <a:lnTo>
                      <a:pt x="91" y="469"/>
                    </a:lnTo>
                    <a:lnTo>
                      <a:pt x="87" y="469"/>
                    </a:lnTo>
                    <a:lnTo>
                      <a:pt x="87" y="469"/>
                    </a:lnTo>
                    <a:lnTo>
                      <a:pt x="87" y="469"/>
                    </a:lnTo>
                    <a:lnTo>
                      <a:pt x="87" y="466"/>
                    </a:lnTo>
                    <a:lnTo>
                      <a:pt x="87" y="466"/>
                    </a:lnTo>
                    <a:lnTo>
                      <a:pt x="86" y="462"/>
                    </a:lnTo>
                    <a:lnTo>
                      <a:pt x="86" y="462"/>
                    </a:lnTo>
                    <a:lnTo>
                      <a:pt x="86" y="462"/>
                    </a:lnTo>
                    <a:lnTo>
                      <a:pt x="86" y="462"/>
                    </a:lnTo>
                    <a:lnTo>
                      <a:pt x="83" y="459"/>
                    </a:lnTo>
                    <a:lnTo>
                      <a:pt x="83" y="459"/>
                    </a:lnTo>
                    <a:lnTo>
                      <a:pt x="83" y="458"/>
                    </a:lnTo>
                    <a:lnTo>
                      <a:pt x="83" y="458"/>
                    </a:lnTo>
                    <a:lnTo>
                      <a:pt x="83" y="458"/>
                    </a:lnTo>
                    <a:lnTo>
                      <a:pt x="83" y="456"/>
                    </a:lnTo>
                    <a:lnTo>
                      <a:pt x="83" y="456"/>
                    </a:lnTo>
                    <a:lnTo>
                      <a:pt x="83" y="456"/>
                    </a:lnTo>
                    <a:lnTo>
                      <a:pt x="84" y="455"/>
                    </a:lnTo>
                    <a:lnTo>
                      <a:pt x="84" y="455"/>
                    </a:lnTo>
                    <a:lnTo>
                      <a:pt x="86" y="453"/>
                    </a:lnTo>
                    <a:lnTo>
                      <a:pt x="86" y="453"/>
                    </a:lnTo>
                    <a:lnTo>
                      <a:pt x="86" y="450"/>
                    </a:lnTo>
                    <a:lnTo>
                      <a:pt x="86" y="450"/>
                    </a:lnTo>
                    <a:lnTo>
                      <a:pt x="87" y="450"/>
                    </a:lnTo>
                    <a:lnTo>
                      <a:pt x="87" y="450"/>
                    </a:lnTo>
                    <a:lnTo>
                      <a:pt x="87" y="447"/>
                    </a:lnTo>
                    <a:lnTo>
                      <a:pt x="87" y="447"/>
                    </a:lnTo>
                    <a:lnTo>
                      <a:pt x="87" y="443"/>
                    </a:lnTo>
                    <a:lnTo>
                      <a:pt x="87" y="443"/>
                    </a:lnTo>
                    <a:lnTo>
                      <a:pt x="87" y="442"/>
                    </a:lnTo>
                    <a:lnTo>
                      <a:pt x="87" y="442"/>
                    </a:lnTo>
                    <a:lnTo>
                      <a:pt x="91" y="440"/>
                    </a:lnTo>
                    <a:lnTo>
                      <a:pt x="91" y="440"/>
                    </a:lnTo>
                    <a:lnTo>
                      <a:pt x="87" y="440"/>
                    </a:lnTo>
                    <a:lnTo>
                      <a:pt x="87" y="440"/>
                    </a:lnTo>
                    <a:lnTo>
                      <a:pt x="87" y="437"/>
                    </a:lnTo>
                    <a:lnTo>
                      <a:pt x="87" y="437"/>
                    </a:lnTo>
                    <a:lnTo>
                      <a:pt x="84" y="437"/>
                    </a:lnTo>
                    <a:lnTo>
                      <a:pt x="84" y="437"/>
                    </a:lnTo>
                    <a:lnTo>
                      <a:pt x="84" y="434"/>
                    </a:lnTo>
                    <a:lnTo>
                      <a:pt x="84" y="434"/>
                    </a:lnTo>
                    <a:lnTo>
                      <a:pt x="86" y="428"/>
                    </a:lnTo>
                    <a:lnTo>
                      <a:pt x="86" y="428"/>
                    </a:lnTo>
                    <a:lnTo>
                      <a:pt x="86" y="428"/>
                    </a:lnTo>
                    <a:lnTo>
                      <a:pt x="86" y="428"/>
                    </a:lnTo>
                    <a:lnTo>
                      <a:pt x="87" y="426"/>
                    </a:lnTo>
                    <a:lnTo>
                      <a:pt x="87" y="426"/>
                    </a:lnTo>
                    <a:lnTo>
                      <a:pt x="87" y="424"/>
                    </a:lnTo>
                    <a:lnTo>
                      <a:pt x="87" y="424"/>
                    </a:lnTo>
                    <a:lnTo>
                      <a:pt x="86" y="423"/>
                    </a:lnTo>
                    <a:lnTo>
                      <a:pt x="86" y="423"/>
                    </a:lnTo>
                    <a:lnTo>
                      <a:pt x="86" y="421"/>
                    </a:lnTo>
                    <a:lnTo>
                      <a:pt x="86" y="421"/>
                    </a:lnTo>
                    <a:lnTo>
                      <a:pt x="87" y="420"/>
                    </a:lnTo>
                    <a:lnTo>
                      <a:pt x="87" y="420"/>
                    </a:lnTo>
                    <a:lnTo>
                      <a:pt x="87" y="416"/>
                    </a:lnTo>
                    <a:lnTo>
                      <a:pt x="87" y="416"/>
                    </a:lnTo>
                    <a:lnTo>
                      <a:pt x="86" y="416"/>
                    </a:lnTo>
                    <a:lnTo>
                      <a:pt x="86" y="416"/>
                    </a:lnTo>
                    <a:lnTo>
                      <a:pt x="81" y="410"/>
                    </a:lnTo>
                    <a:lnTo>
                      <a:pt x="81" y="410"/>
                    </a:lnTo>
                    <a:lnTo>
                      <a:pt x="83" y="410"/>
                    </a:lnTo>
                    <a:lnTo>
                      <a:pt x="83" y="410"/>
                    </a:lnTo>
                    <a:lnTo>
                      <a:pt x="83" y="407"/>
                    </a:lnTo>
                    <a:lnTo>
                      <a:pt x="83" y="407"/>
                    </a:lnTo>
                    <a:lnTo>
                      <a:pt x="80" y="405"/>
                    </a:lnTo>
                    <a:lnTo>
                      <a:pt x="80" y="405"/>
                    </a:lnTo>
                    <a:lnTo>
                      <a:pt x="80" y="404"/>
                    </a:lnTo>
                    <a:lnTo>
                      <a:pt x="80" y="404"/>
                    </a:lnTo>
                    <a:lnTo>
                      <a:pt x="81" y="402"/>
                    </a:lnTo>
                    <a:lnTo>
                      <a:pt x="81" y="402"/>
                    </a:lnTo>
                    <a:lnTo>
                      <a:pt x="83" y="401"/>
                    </a:lnTo>
                    <a:lnTo>
                      <a:pt x="83" y="401"/>
                    </a:lnTo>
                    <a:lnTo>
                      <a:pt x="83" y="399"/>
                    </a:lnTo>
                    <a:lnTo>
                      <a:pt x="83" y="399"/>
                    </a:lnTo>
                    <a:lnTo>
                      <a:pt x="83" y="397"/>
                    </a:lnTo>
                    <a:lnTo>
                      <a:pt x="83" y="397"/>
                    </a:lnTo>
                    <a:lnTo>
                      <a:pt x="78" y="394"/>
                    </a:lnTo>
                    <a:lnTo>
                      <a:pt x="78" y="394"/>
                    </a:lnTo>
                    <a:lnTo>
                      <a:pt x="75" y="394"/>
                    </a:lnTo>
                    <a:lnTo>
                      <a:pt x="75" y="394"/>
                    </a:lnTo>
                    <a:lnTo>
                      <a:pt x="72" y="393"/>
                    </a:lnTo>
                    <a:lnTo>
                      <a:pt x="72" y="393"/>
                    </a:lnTo>
                    <a:lnTo>
                      <a:pt x="73" y="393"/>
                    </a:lnTo>
                    <a:lnTo>
                      <a:pt x="73" y="393"/>
                    </a:lnTo>
                    <a:lnTo>
                      <a:pt x="75" y="393"/>
                    </a:lnTo>
                    <a:lnTo>
                      <a:pt x="75" y="393"/>
                    </a:lnTo>
                    <a:lnTo>
                      <a:pt x="81" y="391"/>
                    </a:lnTo>
                    <a:lnTo>
                      <a:pt x="81" y="391"/>
                    </a:lnTo>
                    <a:lnTo>
                      <a:pt x="81" y="388"/>
                    </a:lnTo>
                    <a:lnTo>
                      <a:pt x="81" y="388"/>
                    </a:lnTo>
                    <a:lnTo>
                      <a:pt x="80" y="386"/>
                    </a:lnTo>
                    <a:lnTo>
                      <a:pt x="80" y="386"/>
                    </a:lnTo>
                    <a:lnTo>
                      <a:pt x="76" y="386"/>
                    </a:lnTo>
                    <a:lnTo>
                      <a:pt x="76" y="386"/>
                    </a:lnTo>
                    <a:lnTo>
                      <a:pt x="73" y="386"/>
                    </a:lnTo>
                    <a:lnTo>
                      <a:pt x="73" y="386"/>
                    </a:lnTo>
                    <a:lnTo>
                      <a:pt x="72" y="385"/>
                    </a:lnTo>
                    <a:lnTo>
                      <a:pt x="72" y="385"/>
                    </a:lnTo>
                    <a:lnTo>
                      <a:pt x="70" y="383"/>
                    </a:lnTo>
                    <a:lnTo>
                      <a:pt x="70" y="383"/>
                    </a:lnTo>
                    <a:lnTo>
                      <a:pt x="70" y="381"/>
                    </a:lnTo>
                    <a:lnTo>
                      <a:pt x="70" y="381"/>
                    </a:lnTo>
                    <a:lnTo>
                      <a:pt x="72" y="381"/>
                    </a:lnTo>
                    <a:lnTo>
                      <a:pt x="72" y="381"/>
                    </a:lnTo>
                    <a:lnTo>
                      <a:pt x="68" y="378"/>
                    </a:lnTo>
                    <a:lnTo>
                      <a:pt x="68" y="378"/>
                    </a:lnTo>
                    <a:lnTo>
                      <a:pt x="68" y="378"/>
                    </a:lnTo>
                    <a:lnTo>
                      <a:pt x="68" y="378"/>
                    </a:lnTo>
                    <a:lnTo>
                      <a:pt x="68" y="375"/>
                    </a:lnTo>
                    <a:lnTo>
                      <a:pt x="68" y="375"/>
                    </a:lnTo>
                    <a:lnTo>
                      <a:pt x="67" y="375"/>
                    </a:lnTo>
                    <a:lnTo>
                      <a:pt x="67" y="375"/>
                    </a:lnTo>
                    <a:lnTo>
                      <a:pt x="65" y="372"/>
                    </a:lnTo>
                    <a:lnTo>
                      <a:pt x="65" y="372"/>
                    </a:lnTo>
                    <a:lnTo>
                      <a:pt x="65" y="372"/>
                    </a:lnTo>
                    <a:lnTo>
                      <a:pt x="65" y="372"/>
                    </a:lnTo>
                    <a:lnTo>
                      <a:pt x="65" y="370"/>
                    </a:lnTo>
                    <a:lnTo>
                      <a:pt x="65" y="370"/>
                    </a:lnTo>
                    <a:lnTo>
                      <a:pt x="64" y="369"/>
                    </a:lnTo>
                    <a:lnTo>
                      <a:pt x="64" y="369"/>
                    </a:lnTo>
                    <a:lnTo>
                      <a:pt x="62" y="367"/>
                    </a:lnTo>
                    <a:lnTo>
                      <a:pt x="62" y="367"/>
                    </a:lnTo>
                    <a:lnTo>
                      <a:pt x="59" y="364"/>
                    </a:lnTo>
                    <a:lnTo>
                      <a:pt x="59" y="364"/>
                    </a:lnTo>
                    <a:lnTo>
                      <a:pt x="59" y="359"/>
                    </a:lnTo>
                    <a:lnTo>
                      <a:pt x="59" y="359"/>
                    </a:lnTo>
                    <a:lnTo>
                      <a:pt x="57" y="356"/>
                    </a:lnTo>
                    <a:lnTo>
                      <a:pt x="57" y="356"/>
                    </a:lnTo>
                    <a:lnTo>
                      <a:pt x="59" y="354"/>
                    </a:lnTo>
                    <a:lnTo>
                      <a:pt x="59" y="354"/>
                    </a:lnTo>
                    <a:lnTo>
                      <a:pt x="59" y="354"/>
                    </a:lnTo>
                    <a:lnTo>
                      <a:pt x="59" y="354"/>
                    </a:lnTo>
                    <a:lnTo>
                      <a:pt x="59" y="353"/>
                    </a:lnTo>
                    <a:lnTo>
                      <a:pt x="59" y="353"/>
                    </a:lnTo>
                    <a:lnTo>
                      <a:pt x="59" y="351"/>
                    </a:lnTo>
                    <a:lnTo>
                      <a:pt x="59" y="351"/>
                    </a:lnTo>
                    <a:lnTo>
                      <a:pt x="57" y="350"/>
                    </a:lnTo>
                    <a:lnTo>
                      <a:pt x="57" y="350"/>
                    </a:lnTo>
                    <a:lnTo>
                      <a:pt x="56" y="347"/>
                    </a:lnTo>
                    <a:lnTo>
                      <a:pt x="56" y="347"/>
                    </a:lnTo>
                    <a:lnTo>
                      <a:pt x="56" y="343"/>
                    </a:lnTo>
                    <a:lnTo>
                      <a:pt x="56" y="343"/>
                    </a:lnTo>
                    <a:lnTo>
                      <a:pt x="54" y="340"/>
                    </a:lnTo>
                    <a:lnTo>
                      <a:pt x="54" y="340"/>
                    </a:lnTo>
                    <a:lnTo>
                      <a:pt x="51" y="334"/>
                    </a:lnTo>
                    <a:lnTo>
                      <a:pt x="51" y="334"/>
                    </a:lnTo>
                    <a:lnTo>
                      <a:pt x="53" y="329"/>
                    </a:lnTo>
                    <a:lnTo>
                      <a:pt x="53" y="329"/>
                    </a:lnTo>
                    <a:lnTo>
                      <a:pt x="53" y="327"/>
                    </a:lnTo>
                    <a:lnTo>
                      <a:pt x="53" y="327"/>
                    </a:lnTo>
                    <a:lnTo>
                      <a:pt x="51" y="327"/>
                    </a:lnTo>
                    <a:lnTo>
                      <a:pt x="51" y="327"/>
                    </a:lnTo>
                    <a:lnTo>
                      <a:pt x="49" y="326"/>
                    </a:lnTo>
                    <a:lnTo>
                      <a:pt x="49" y="326"/>
                    </a:lnTo>
                    <a:lnTo>
                      <a:pt x="51" y="326"/>
                    </a:lnTo>
                    <a:lnTo>
                      <a:pt x="51" y="326"/>
                    </a:lnTo>
                    <a:lnTo>
                      <a:pt x="51" y="323"/>
                    </a:lnTo>
                    <a:lnTo>
                      <a:pt x="51" y="323"/>
                    </a:lnTo>
                    <a:lnTo>
                      <a:pt x="49" y="323"/>
                    </a:lnTo>
                    <a:lnTo>
                      <a:pt x="49" y="323"/>
                    </a:lnTo>
                    <a:lnTo>
                      <a:pt x="49" y="320"/>
                    </a:lnTo>
                    <a:lnTo>
                      <a:pt x="49" y="320"/>
                    </a:lnTo>
                    <a:lnTo>
                      <a:pt x="51" y="320"/>
                    </a:lnTo>
                    <a:lnTo>
                      <a:pt x="51" y="320"/>
                    </a:lnTo>
                    <a:lnTo>
                      <a:pt x="49" y="315"/>
                    </a:lnTo>
                    <a:lnTo>
                      <a:pt x="49" y="315"/>
                    </a:lnTo>
                    <a:lnTo>
                      <a:pt x="49" y="312"/>
                    </a:lnTo>
                    <a:lnTo>
                      <a:pt x="49" y="312"/>
                    </a:lnTo>
                    <a:lnTo>
                      <a:pt x="49" y="308"/>
                    </a:lnTo>
                    <a:lnTo>
                      <a:pt x="49" y="308"/>
                    </a:lnTo>
                    <a:lnTo>
                      <a:pt x="51" y="308"/>
                    </a:lnTo>
                    <a:lnTo>
                      <a:pt x="51" y="308"/>
                    </a:lnTo>
                    <a:lnTo>
                      <a:pt x="54" y="305"/>
                    </a:lnTo>
                    <a:lnTo>
                      <a:pt x="54" y="305"/>
                    </a:lnTo>
                    <a:lnTo>
                      <a:pt x="54" y="304"/>
                    </a:lnTo>
                    <a:lnTo>
                      <a:pt x="54" y="304"/>
                    </a:lnTo>
                    <a:lnTo>
                      <a:pt x="53" y="302"/>
                    </a:lnTo>
                    <a:lnTo>
                      <a:pt x="53" y="302"/>
                    </a:lnTo>
                    <a:lnTo>
                      <a:pt x="51" y="299"/>
                    </a:lnTo>
                    <a:lnTo>
                      <a:pt x="51" y="299"/>
                    </a:lnTo>
                    <a:lnTo>
                      <a:pt x="48" y="294"/>
                    </a:lnTo>
                    <a:lnTo>
                      <a:pt x="48" y="294"/>
                    </a:lnTo>
                    <a:lnTo>
                      <a:pt x="46" y="291"/>
                    </a:lnTo>
                    <a:lnTo>
                      <a:pt x="46" y="291"/>
                    </a:lnTo>
                    <a:lnTo>
                      <a:pt x="46" y="291"/>
                    </a:lnTo>
                    <a:lnTo>
                      <a:pt x="46" y="291"/>
                    </a:lnTo>
                    <a:lnTo>
                      <a:pt x="45" y="285"/>
                    </a:lnTo>
                    <a:lnTo>
                      <a:pt x="45" y="285"/>
                    </a:lnTo>
                    <a:lnTo>
                      <a:pt x="43" y="281"/>
                    </a:lnTo>
                    <a:lnTo>
                      <a:pt x="43" y="281"/>
                    </a:lnTo>
                    <a:lnTo>
                      <a:pt x="41" y="277"/>
                    </a:lnTo>
                    <a:lnTo>
                      <a:pt x="41" y="277"/>
                    </a:lnTo>
                    <a:lnTo>
                      <a:pt x="43" y="274"/>
                    </a:lnTo>
                    <a:lnTo>
                      <a:pt x="43" y="274"/>
                    </a:lnTo>
                    <a:lnTo>
                      <a:pt x="45" y="274"/>
                    </a:lnTo>
                    <a:lnTo>
                      <a:pt x="45" y="274"/>
                    </a:lnTo>
                    <a:lnTo>
                      <a:pt x="46" y="272"/>
                    </a:lnTo>
                    <a:lnTo>
                      <a:pt x="46" y="272"/>
                    </a:lnTo>
                    <a:lnTo>
                      <a:pt x="46" y="269"/>
                    </a:lnTo>
                    <a:lnTo>
                      <a:pt x="46" y="269"/>
                    </a:lnTo>
                    <a:lnTo>
                      <a:pt x="48" y="267"/>
                    </a:lnTo>
                    <a:lnTo>
                      <a:pt x="48" y="267"/>
                    </a:lnTo>
                    <a:lnTo>
                      <a:pt x="46" y="261"/>
                    </a:lnTo>
                    <a:lnTo>
                      <a:pt x="46" y="261"/>
                    </a:lnTo>
                    <a:lnTo>
                      <a:pt x="45" y="258"/>
                    </a:lnTo>
                    <a:lnTo>
                      <a:pt x="45" y="258"/>
                    </a:lnTo>
                    <a:lnTo>
                      <a:pt x="43" y="256"/>
                    </a:lnTo>
                    <a:lnTo>
                      <a:pt x="43" y="256"/>
                    </a:lnTo>
                    <a:lnTo>
                      <a:pt x="45" y="256"/>
                    </a:lnTo>
                    <a:lnTo>
                      <a:pt x="45" y="256"/>
                    </a:lnTo>
                    <a:lnTo>
                      <a:pt x="45" y="253"/>
                    </a:lnTo>
                    <a:lnTo>
                      <a:pt x="45" y="253"/>
                    </a:lnTo>
                    <a:lnTo>
                      <a:pt x="45" y="250"/>
                    </a:lnTo>
                    <a:lnTo>
                      <a:pt x="45" y="250"/>
                    </a:lnTo>
                    <a:lnTo>
                      <a:pt x="45" y="245"/>
                    </a:lnTo>
                    <a:lnTo>
                      <a:pt x="45" y="245"/>
                    </a:lnTo>
                    <a:lnTo>
                      <a:pt x="46" y="243"/>
                    </a:lnTo>
                    <a:lnTo>
                      <a:pt x="46" y="243"/>
                    </a:lnTo>
                    <a:lnTo>
                      <a:pt x="48" y="242"/>
                    </a:lnTo>
                    <a:lnTo>
                      <a:pt x="48" y="242"/>
                    </a:lnTo>
                    <a:lnTo>
                      <a:pt x="48" y="240"/>
                    </a:lnTo>
                    <a:lnTo>
                      <a:pt x="48" y="240"/>
                    </a:lnTo>
                    <a:lnTo>
                      <a:pt x="46" y="237"/>
                    </a:lnTo>
                    <a:lnTo>
                      <a:pt x="46" y="237"/>
                    </a:lnTo>
                    <a:lnTo>
                      <a:pt x="46" y="232"/>
                    </a:lnTo>
                    <a:lnTo>
                      <a:pt x="46" y="232"/>
                    </a:lnTo>
                    <a:lnTo>
                      <a:pt x="45" y="229"/>
                    </a:lnTo>
                    <a:lnTo>
                      <a:pt x="45" y="229"/>
                    </a:lnTo>
                    <a:lnTo>
                      <a:pt x="43" y="226"/>
                    </a:lnTo>
                    <a:lnTo>
                      <a:pt x="43" y="226"/>
                    </a:lnTo>
                    <a:lnTo>
                      <a:pt x="43" y="229"/>
                    </a:lnTo>
                    <a:lnTo>
                      <a:pt x="43" y="229"/>
                    </a:lnTo>
                    <a:lnTo>
                      <a:pt x="41" y="226"/>
                    </a:lnTo>
                    <a:lnTo>
                      <a:pt x="41" y="226"/>
                    </a:lnTo>
                    <a:lnTo>
                      <a:pt x="41" y="226"/>
                    </a:lnTo>
                    <a:lnTo>
                      <a:pt x="41" y="226"/>
                    </a:lnTo>
                    <a:lnTo>
                      <a:pt x="41" y="223"/>
                    </a:lnTo>
                    <a:lnTo>
                      <a:pt x="41" y="223"/>
                    </a:lnTo>
                    <a:lnTo>
                      <a:pt x="41" y="221"/>
                    </a:lnTo>
                    <a:lnTo>
                      <a:pt x="41" y="221"/>
                    </a:lnTo>
                    <a:lnTo>
                      <a:pt x="38" y="221"/>
                    </a:lnTo>
                    <a:lnTo>
                      <a:pt x="38" y="221"/>
                    </a:lnTo>
                    <a:lnTo>
                      <a:pt x="38" y="220"/>
                    </a:lnTo>
                    <a:lnTo>
                      <a:pt x="38" y="220"/>
                    </a:lnTo>
                    <a:lnTo>
                      <a:pt x="38" y="218"/>
                    </a:lnTo>
                    <a:lnTo>
                      <a:pt x="38" y="218"/>
                    </a:lnTo>
                    <a:lnTo>
                      <a:pt x="35" y="213"/>
                    </a:lnTo>
                    <a:lnTo>
                      <a:pt x="35" y="213"/>
                    </a:lnTo>
                    <a:lnTo>
                      <a:pt x="35" y="210"/>
                    </a:lnTo>
                    <a:lnTo>
                      <a:pt x="35" y="210"/>
                    </a:lnTo>
                    <a:lnTo>
                      <a:pt x="35" y="208"/>
                    </a:lnTo>
                    <a:lnTo>
                      <a:pt x="35" y="208"/>
                    </a:lnTo>
                    <a:lnTo>
                      <a:pt x="32" y="207"/>
                    </a:lnTo>
                    <a:lnTo>
                      <a:pt x="32" y="207"/>
                    </a:lnTo>
                    <a:lnTo>
                      <a:pt x="29" y="204"/>
                    </a:lnTo>
                    <a:lnTo>
                      <a:pt x="29" y="204"/>
                    </a:lnTo>
                    <a:lnTo>
                      <a:pt x="29" y="200"/>
                    </a:lnTo>
                    <a:lnTo>
                      <a:pt x="29" y="200"/>
                    </a:lnTo>
                    <a:lnTo>
                      <a:pt x="29" y="197"/>
                    </a:lnTo>
                    <a:lnTo>
                      <a:pt x="29" y="197"/>
                    </a:lnTo>
                    <a:lnTo>
                      <a:pt x="29" y="194"/>
                    </a:lnTo>
                    <a:lnTo>
                      <a:pt x="29" y="194"/>
                    </a:lnTo>
                    <a:lnTo>
                      <a:pt x="29" y="194"/>
                    </a:lnTo>
                    <a:lnTo>
                      <a:pt x="29" y="194"/>
                    </a:lnTo>
                    <a:lnTo>
                      <a:pt x="32" y="189"/>
                    </a:lnTo>
                    <a:lnTo>
                      <a:pt x="32" y="189"/>
                    </a:lnTo>
                    <a:lnTo>
                      <a:pt x="32" y="188"/>
                    </a:lnTo>
                    <a:lnTo>
                      <a:pt x="32" y="188"/>
                    </a:lnTo>
                    <a:lnTo>
                      <a:pt x="32" y="186"/>
                    </a:lnTo>
                    <a:lnTo>
                      <a:pt x="32" y="186"/>
                    </a:lnTo>
                    <a:lnTo>
                      <a:pt x="32" y="186"/>
                    </a:lnTo>
                    <a:lnTo>
                      <a:pt x="32" y="186"/>
                    </a:lnTo>
                    <a:lnTo>
                      <a:pt x="32" y="185"/>
                    </a:lnTo>
                    <a:lnTo>
                      <a:pt x="32" y="185"/>
                    </a:lnTo>
                    <a:lnTo>
                      <a:pt x="32" y="180"/>
                    </a:lnTo>
                    <a:lnTo>
                      <a:pt x="32" y="180"/>
                    </a:lnTo>
                    <a:lnTo>
                      <a:pt x="29" y="175"/>
                    </a:lnTo>
                    <a:lnTo>
                      <a:pt x="29" y="175"/>
                    </a:lnTo>
                    <a:lnTo>
                      <a:pt x="29" y="172"/>
                    </a:lnTo>
                    <a:lnTo>
                      <a:pt x="29" y="172"/>
                    </a:lnTo>
                    <a:lnTo>
                      <a:pt x="29" y="169"/>
                    </a:lnTo>
                    <a:lnTo>
                      <a:pt x="29" y="169"/>
                    </a:lnTo>
                    <a:lnTo>
                      <a:pt x="32" y="167"/>
                    </a:lnTo>
                    <a:lnTo>
                      <a:pt x="32" y="167"/>
                    </a:lnTo>
                    <a:lnTo>
                      <a:pt x="32" y="162"/>
                    </a:lnTo>
                    <a:lnTo>
                      <a:pt x="32" y="162"/>
                    </a:lnTo>
                    <a:lnTo>
                      <a:pt x="32" y="156"/>
                    </a:lnTo>
                    <a:lnTo>
                      <a:pt x="32" y="156"/>
                    </a:lnTo>
                    <a:lnTo>
                      <a:pt x="35" y="151"/>
                    </a:lnTo>
                    <a:lnTo>
                      <a:pt x="35" y="151"/>
                    </a:lnTo>
                    <a:lnTo>
                      <a:pt x="38" y="145"/>
                    </a:lnTo>
                    <a:lnTo>
                      <a:pt x="38" y="145"/>
                    </a:lnTo>
                    <a:lnTo>
                      <a:pt x="38" y="139"/>
                    </a:lnTo>
                    <a:lnTo>
                      <a:pt x="38" y="139"/>
                    </a:lnTo>
                    <a:lnTo>
                      <a:pt x="41" y="139"/>
                    </a:lnTo>
                    <a:lnTo>
                      <a:pt x="41" y="139"/>
                    </a:lnTo>
                    <a:lnTo>
                      <a:pt x="41" y="139"/>
                    </a:lnTo>
                    <a:lnTo>
                      <a:pt x="41" y="139"/>
                    </a:lnTo>
                    <a:lnTo>
                      <a:pt x="43" y="139"/>
                    </a:lnTo>
                    <a:lnTo>
                      <a:pt x="43" y="139"/>
                    </a:lnTo>
                    <a:lnTo>
                      <a:pt x="43" y="135"/>
                    </a:lnTo>
                    <a:lnTo>
                      <a:pt x="43" y="135"/>
                    </a:lnTo>
                    <a:lnTo>
                      <a:pt x="41" y="131"/>
                    </a:lnTo>
                    <a:lnTo>
                      <a:pt x="41" y="131"/>
                    </a:lnTo>
                    <a:lnTo>
                      <a:pt x="38" y="129"/>
                    </a:lnTo>
                    <a:lnTo>
                      <a:pt x="38" y="129"/>
                    </a:lnTo>
                    <a:lnTo>
                      <a:pt x="41" y="127"/>
                    </a:lnTo>
                    <a:lnTo>
                      <a:pt x="41" y="127"/>
                    </a:lnTo>
                    <a:lnTo>
                      <a:pt x="41" y="126"/>
                    </a:lnTo>
                    <a:lnTo>
                      <a:pt x="41" y="126"/>
                    </a:lnTo>
                    <a:lnTo>
                      <a:pt x="41" y="123"/>
                    </a:lnTo>
                    <a:lnTo>
                      <a:pt x="41" y="123"/>
                    </a:lnTo>
                    <a:lnTo>
                      <a:pt x="38" y="116"/>
                    </a:lnTo>
                    <a:lnTo>
                      <a:pt x="38" y="116"/>
                    </a:lnTo>
                    <a:lnTo>
                      <a:pt x="35" y="112"/>
                    </a:lnTo>
                    <a:lnTo>
                      <a:pt x="35" y="112"/>
                    </a:lnTo>
                    <a:lnTo>
                      <a:pt x="38" y="110"/>
                    </a:lnTo>
                    <a:lnTo>
                      <a:pt x="38" y="110"/>
                    </a:lnTo>
                    <a:lnTo>
                      <a:pt x="38" y="110"/>
                    </a:lnTo>
                    <a:lnTo>
                      <a:pt x="38" y="110"/>
                    </a:lnTo>
                    <a:lnTo>
                      <a:pt x="38" y="107"/>
                    </a:lnTo>
                    <a:lnTo>
                      <a:pt x="38" y="107"/>
                    </a:lnTo>
                    <a:lnTo>
                      <a:pt x="35" y="104"/>
                    </a:lnTo>
                    <a:lnTo>
                      <a:pt x="35" y="104"/>
                    </a:lnTo>
                    <a:lnTo>
                      <a:pt x="38" y="100"/>
                    </a:lnTo>
                    <a:lnTo>
                      <a:pt x="38" y="100"/>
                    </a:lnTo>
                    <a:lnTo>
                      <a:pt x="41" y="99"/>
                    </a:lnTo>
                    <a:lnTo>
                      <a:pt x="41" y="99"/>
                    </a:lnTo>
                    <a:lnTo>
                      <a:pt x="46" y="97"/>
                    </a:lnTo>
                    <a:lnTo>
                      <a:pt x="46" y="97"/>
                    </a:lnTo>
                    <a:lnTo>
                      <a:pt x="48" y="96"/>
                    </a:lnTo>
                    <a:lnTo>
                      <a:pt x="48" y="96"/>
                    </a:lnTo>
                    <a:lnTo>
                      <a:pt x="49" y="94"/>
                    </a:lnTo>
                    <a:lnTo>
                      <a:pt x="49" y="94"/>
                    </a:lnTo>
                    <a:lnTo>
                      <a:pt x="51" y="89"/>
                    </a:lnTo>
                    <a:lnTo>
                      <a:pt x="51" y="89"/>
                    </a:lnTo>
                    <a:lnTo>
                      <a:pt x="51" y="83"/>
                    </a:lnTo>
                    <a:lnTo>
                      <a:pt x="51" y="83"/>
                    </a:lnTo>
                    <a:lnTo>
                      <a:pt x="49" y="78"/>
                    </a:lnTo>
                    <a:lnTo>
                      <a:pt x="49" y="78"/>
                    </a:lnTo>
                    <a:lnTo>
                      <a:pt x="49" y="77"/>
                    </a:lnTo>
                    <a:lnTo>
                      <a:pt x="49" y="77"/>
                    </a:lnTo>
                    <a:lnTo>
                      <a:pt x="48" y="77"/>
                    </a:lnTo>
                    <a:lnTo>
                      <a:pt x="48" y="77"/>
                    </a:lnTo>
                    <a:lnTo>
                      <a:pt x="45" y="78"/>
                    </a:lnTo>
                    <a:lnTo>
                      <a:pt x="45" y="78"/>
                    </a:lnTo>
                    <a:lnTo>
                      <a:pt x="41" y="77"/>
                    </a:lnTo>
                    <a:lnTo>
                      <a:pt x="41" y="77"/>
                    </a:lnTo>
                    <a:lnTo>
                      <a:pt x="38" y="70"/>
                    </a:lnTo>
                    <a:lnTo>
                      <a:pt x="38" y="70"/>
                    </a:lnTo>
                    <a:lnTo>
                      <a:pt x="38" y="67"/>
                    </a:lnTo>
                    <a:lnTo>
                      <a:pt x="38" y="67"/>
                    </a:lnTo>
                    <a:lnTo>
                      <a:pt x="24" y="59"/>
                    </a:lnTo>
                    <a:lnTo>
                      <a:pt x="19" y="56"/>
                    </a:lnTo>
                    <a:lnTo>
                      <a:pt x="19" y="56"/>
                    </a:lnTo>
                    <a:lnTo>
                      <a:pt x="14" y="31"/>
                    </a:lnTo>
                    <a:lnTo>
                      <a:pt x="10" y="7"/>
                    </a:lnTo>
                    <a:lnTo>
                      <a:pt x="10" y="7"/>
                    </a:lnTo>
                    <a:lnTo>
                      <a:pt x="13" y="5"/>
                    </a:lnTo>
                    <a:lnTo>
                      <a:pt x="13" y="5"/>
                    </a:lnTo>
                    <a:lnTo>
                      <a:pt x="11" y="4"/>
                    </a:lnTo>
                    <a:lnTo>
                      <a:pt x="11" y="4"/>
                    </a:lnTo>
                    <a:lnTo>
                      <a:pt x="10" y="0"/>
                    </a:lnTo>
                    <a:lnTo>
                      <a:pt x="10" y="0"/>
                    </a:lnTo>
                    <a:lnTo>
                      <a:pt x="10" y="2"/>
                    </a:lnTo>
                    <a:lnTo>
                      <a:pt x="10" y="2"/>
                    </a:lnTo>
                    <a:lnTo>
                      <a:pt x="8" y="4"/>
                    </a:lnTo>
                    <a:lnTo>
                      <a:pt x="8" y="4"/>
                    </a:lnTo>
                    <a:lnTo>
                      <a:pt x="6" y="4"/>
                    </a:lnTo>
                    <a:lnTo>
                      <a:pt x="6" y="4"/>
                    </a:lnTo>
                    <a:lnTo>
                      <a:pt x="6" y="5"/>
                    </a:lnTo>
                    <a:lnTo>
                      <a:pt x="6" y="5"/>
                    </a:lnTo>
                    <a:lnTo>
                      <a:pt x="6" y="7"/>
                    </a:lnTo>
                    <a:lnTo>
                      <a:pt x="6" y="7"/>
                    </a:lnTo>
                    <a:lnTo>
                      <a:pt x="6" y="10"/>
                    </a:lnTo>
                    <a:lnTo>
                      <a:pt x="6" y="10"/>
                    </a:lnTo>
                    <a:lnTo>
                      <a:pt x="6" y="10"/>
                    </a:lnTo>
                    <a:lnTo>
                      <a:pt x="6" y="10"/>
                    </a:lnTo>
                    <a:lnTo>
                      <a:pt x="6" y="13"/>
                    </a:lnTo>
                    <a:lnTo>
                      <a:pt x="6" y="13"/>
                    </a:lnTo>
                    <a:lnTo>
                      <a:pt x="0" y="13"/>
                    </a:lnTo>
                    <a:lnTo>
                      <a:pt x="0" y="13"/>
                    </a:lnTo>
                    <a:lnTo>
                      <a:pt x="3" y="13"/>
                    </a:lnTo>
                    <a:lnTo>
                      <a:pt x="3" y="13"/>
                    </a:lnTo>
                    <a:lnTo>
                      <a:pt x="3" y="13"/>
                    </a:lnTo>
                    <a:lnTo>
                      <a:pt x="3" y="16"/>
                    </a:lnTo>
                    <a:lnTo>
                      <a:pt x="3" y="16"/>
                    </a:lnTo>
                    <a:lnTo>
                      <a:pt x="3" y="20"/>
                    </a:lnTo>
                    <a:lnTo>
                      <a:pt x="3" y="20"/>
                    </a:lnTo>
                    <a:lnTo>
                      <a:pt x="6" y="29"/>
                    </a:lnTo>
                    <a:lnTo>
                      <a:pt x="6" y="29"/>
                    </a:lnTo>
                    <a:lnTo>
                      <a:pt x="6" y="35"/>
                    </a:lnTo>
                    <a:lnTo>
                      <a:pt x="6" y="35"/>
                    </a:lnTo>
                    <a:lnTo>
                      <a:pt x="6" y="42"/>
                    </a:lnTo>
                    <a:lnTo>
                      <a:pt x="6" y="42"/>
                    </a:lnTo>
                    <a:lnTo>
                      <a:pt x="6" y="45"/>
                    </a:lnTo>
                    <a:lnTo>
                      <a:pt x="6" y="45"/>
                    </a:lnTo>
                    <a:lnTo>
                      <a:pt x="8" y="51"/>
                    </a:lnTo>
                    <a:lnTo>
                      <a:pt x="8" y="51"/>
                    </a:lnTo>
                    <a:lnTo>
                      <a:pt x="10" y="56"/>
                    </a:lnTo>
                    <a:lnTo>
                      <a:pt x="10" y="56"/>
                    </a:lnTo>
                    <a:lnTo>
                      <a:pt x="10" y="62"/>
                    </a:lnTo>
                    <a:lnTo>
                      <a:pt x="10" y="62"/>
                    </a:lnTo>
                    <a:lnTo>
                      <a:pt x="10" y="73"/>
                    </a:lnTo>
                    <a:lnTo>
                      <a:pt x="10" y="73"/>
                    </a:lnTo>
                    <a:lnTo>
                      <a:pt x="10" y="78"/>
                    </a:lnTo>
                    <a:lnTo>
                      <a:pt x="10" y="78"/>
                    </a:lnTo>
                    <a:lnTo>
                      <a:pt x="10" y="80"/>
                    </a:lnTo>
                    <a:lnTo>
                      <a:pt x="10" y="80"/>
                    </a:lnTo>
                    <a:lnTo>
                      <a:pt x="6" y="80"/>
                    </a:lnTo>
                    <a:lnTo>
                      <a:pt x="6" y="80"/>
                    </a:lnTo>
                    <a:lnTo>
                      <a:pt x="6" y="86"/>
                    </a:lnTo>
                    <a:lnTo>
                      <a:pt x="6" y="86"/>
                    </a:lnTo>
                    <a:lnTo>
                      <a:pt x="8" y="86"/>
                    </a:lnTo>
                    <a:lnTo>
                      <a:pt x="8" y="86"/>
                    </a:lnTo>
                    <a:lnTo>
                      <a:pt x="10" y="88"/>
                    </a:lnTo>
                    <a:lnTo>
                      <a:pt x="10" y="88"/>
                    </a:lnTo>
                    <a:lnTo>
                      <a:pt x="10" y="93"/>
                    </a:lnTo>
                    <a:lnTo>
                      <a:pt x="10" y="93"/>
                    </a:lnTo>
                    <a:lnTo>
                      <a:pt x="10" y="96"/>
                    </a:lnTo>
                    <a:lnTo>
                      <a:pt x="10" y="96"/>
                    </a:lnTo>
                    <a:lnTo>
                      <a:pt x="10" y="104"/>
                    </a:lnTo>
                    <a:lnTo>
                      <a:pt x="10" y="104"/>
                    </a:lnTo>
                    <a:lnTo>
                      <a:pt x="11" y="110"/>
                    </a:lnTo>
                    <a:lnTo>
                      <a:pt x="11" y="110"/>
                    </a:lnTo>
                    <a:lnTo>
                      <a:pt x="13" y="113"/>
                    </a:lnTo>
                    <a:lnTo>
                      <a:pt x="13" y="113"/>
                    </a:lnTo>
                    <a:lnTo>
                      <a:pt x="13" y="115"/>
                    </a:lnTo>
                    <a:lnTo>
                      <a:pt x="13" y="115"/>
                    </a:lnTo>
                    <a:lnTo>
                      <a:pt x="11" y="118"/>
                    </a:lnTo>
                    <a:lnTo>
                      <a:pt x="11" y="118"/>
                    </a:lnTo>
                    <a:lnTo>
                      <a:pt x="11" y="123"/>
                    </a:lnTo>
                    <a:lnTo>
                      <a:pt x="11" y="123"/>
                    </a:lnTo>
                    <a:lnTo>
                      <a:pt x="13" y="129"/>
                    </a:lnTo>
                    <a:lnTo>
                      <a:pt x="13" y="129"/>
                    </a:lnTo>
                    <a:lnTo>
                      <a:pt x="13" y="135"/>
                    </a:lnTo>
                    <a:lnTo>
                      <a:pt x="13" y="135"/>
                    </a:lnTo>
                    <a:lnTo>
                      <a:pt x="11" y="139"/>
                    </a:lnTo>
                    <a:lnTo>
                      <a:pt x="11" y="139"/>
                    </a:lnTo>
                    <a:lnTo>
                      <a:pt x="13" y="145"/>
                    </a:lnTo>
                    <a:lnTo>
                      <a:pt x="13" y="145"/>
                    </a:lnTo>
                    <a:lnTo>
                      <a:pt x="13" y="145"/>
                    </a:lnTo>
                    <a:lnTo>
                      <a:pt x="13" y="145"/>
                    </a:lnTo>
                    <a:lnTo>
                      <a:pt x="13" y="147"/>
                    </a:lnTo>
                    <a:lnTo>
                      <a:pt x="13" y="147"/>
                    </a:lnTo>
                    <a:lnTo>
                      <a:pt x="11" y="151"/>
                    </a:lnTo>
                    <a:lnTo>
                      <a:pt x="11" y="151"/>
                    </a:lnTo>
                    <a:lnTo>
                      <a:pt x="11" y="154"/>
                    </a:lnTo>
                    <a:lnTo>
                      <a:pt x="11" y="154"/>
                    </a:lnTo>
                    <a:lnTo>
                      <a:pt x="11" y="158"/>
                    </a:lnTo>
                    <a:lnTo>
                      <a:pt x="11" y="158"/>
                    </a:lnTo>
                    <a:lnTo>
                      <a:pt x="10" y="166"/>
                    </a:lnTo>
                    <a:lnTo>
                      <a:pt x="10" y="166"/>
                    </a:lnTo>
                    <a:lnTo>
                      <a:pt x="10" y="167"/>
                    </a:lnTo>
                    <a:lnTo>
                      <a:pt x="10" y="167"/>
                    </a:lnTo>
                    <a:lnTo>
                      <a:pt x="11" y="169"/>
                    </a:lnTo>
                    <a:lnTo>
                      <a:pt x="11" y="169"/>
                    </a:lnTo>
                    <a:lnTo>
                      <a:pt x="14" y="174"/>
                    </a:lnTo>
                    <a:lnTo>
                      <a:pt x="14" y="174"/>
                    </a:lnTo>
                    <a:lnTo>
                      <a:pt x="14" y="178"/>
                    </a:lnTo>
                    <a:lnTo>
                      <a:pt x="14" y="178"/>
                    </a:lnTo>
                    <a:lnTo>
                      <a:pt x="14" y="181"/>
                    </a:lnTo>
                    <a:lnTo>
                      <a:pt x="14" y="181"/>
                    </a:lnTo>
                    <a:lnTo>
                      <a:pt x="14" y="185"/>
                    </a:lnTo>
                    <a:lnTo>
                      <a:pt x="14" y="185"/>
                    </a:lnTo>
                    <a:lnTo>
                      <a:pt x="11" y="186"/>
                    </a:lnTo>
                    <a:lnTo>
                      <a:pt x="11" y="186"/>
                    </a:lnTo>
                    <a:lnTo>
                      <a:pt x="11" y="188"/>
                    </a:lnTo>
                    <a:lnTo>
                      <a:pt x="11" y="188"/>
                    </a:lnTo>
                    <a:lnTo>
                      <a:pt x="14" y="194"/>
                    </a:lnTo>
                    <a:lnTo>
                      <a:pt x="14" y="194"/>
                    </a:lnTo>
                    <a:lnTo>
                      <a:pt x="18" y="202"/>
                    </a:lnTo>
                    <a:lnTo>
                      <a:pt x="18" y="202"/>
                    </a:lnTo>
                    <a:lnTo>
                      <a:pt x="19" y="212"/>
                    </a:lnTo>
                    <a:lnTo>
                      <a:pt x="19" y="212"/>
                    </a:lnTo>
                    <a:lnTo>
                      <a:pt x="22" y="215"/>
                    </a:lnTo>
                    <a:lnTo>
                      <a:pt x="22" y="215"/>
                    </a:lnTo>
                    <a:lnTo>
                      <a:pt x="22" y="216"/>
                    </a:lnTo>
                    <a:lnTo>
                      <a:pt x="22" y="216"/>
                    </a:lnTo>
                    <a:lnTo>
                      <a:pt x="22" y="218"/>
                    </a:lnTo>
                    <a:lnTo>
                      <a:pt x="22" y="218"/>
                    </a:lnTo>
                    <a:lnTo>
                      <a:pt x="22" y="220"/>
                    </a:lnTo>
                    <a:lnTo>
                      <a:pt x="22" y="220"/>
                    </a:lnTo>
                    <a:lnTo>
                      <a:pt x="22" y="223"/>
                    </a:lnTo>
                    <a:lnTo>
                      <a:pt x="22" y="223"/>
                    </a:lnTo>
                    <a:lnTo>
                      <a:pt x="22" y="226"/>
                    </a:lnTo>
                    <a:lnTo>
                      <a:pt x="22" y="226"/>
                    </a:lnTo>
                    <a:lnTo>
                      <a:pt x="22" y="226"/>
                    </a:lnTo>
                    <a:lnTo>
                      <a:pt x="22" y="226"/>
                    </a:lnTo>
                    <a:lnTo>
                      <a:pt x="24" y="232"/>
                    </a:lnTo>
                    <a:lnTo>
                      <a:pt x="24" y="232"/>
                    </a:lnTo>
                    <a:lnTo>
                      <a:pt x="24" y="235"/>
                    </a:lnTo>
                    <a:lnTo>
                      <a:pt x="24" y="235"/>
                    </a:lnTo>
                    <a:lnTo>
                      <a:pt x="22" y="239"/>
                    </a:lnTo>
                    <a:lnTo>
                      <a:pt x="22" y="239"/>
                    </a:lnTo>
                    <a:lnTo>
                      <a:pt x="22" y="247"/>
                    </a:lnTo>
                    <a:lnTo>
                      <a:pt x="22" y="247"/>
                    </a:lnTo>
                    <a:lnTo>
                      <a:pt x="22" y="253"/>
                    </a:lnTo>
                    <a:lnTo>
                      <a:pt x="22" y="253"/>
                    </a:lnTo>
                    <a:lnTo>
                      <a:pt x="21" y="259"/>
                    </a:lnTo>
                    <a:lnTo>
                      <a:pt x="21" y="259"/>
                    </a:lnTo>
                    <a:lnTo>
                      <a:pt x="21" y="261"/>
                    </a:lnTo>
                    <a:lnTo>
                      <a:pt x="21" y="261"/>
                    </a:lnTo>
                    <a:lnTo>
                      <a:pt x="21" y="264"/>
                    </a:lnTo>
                    <a:lnTo>
                      <a:pt x="21" y="264"/>
                    </a:lnTo>
                    <a:lnTo>
                      <a:pt x="21" y="267"/>
                    </a:lnTo>
                    <a:lnTo>
                      <a:pt x="21" y="267"/>
                    </a:lnTo>
                    <a:lnTo>
                      <a:pt x="21" y="270"/>
                    </a:lnTo>
                    <a:lnTo>
                      <a:pt x="21" y="270"/>
                    </a:lnTo>
                    <a:lnTo>
                      <a:pt x="19" y="275"/>
                    </a:lnTo>
                    <a:lnTo>
                      <a:pt x="19" y="275"/>
                    </a:lnTo>
                    <a:lnTo>
                      <a:pt x="21" y="277"/>
                    </a:lnTo>
                    <a:lnTo>
                      <a:pt x="21" y="277"/>
                    </a:lnTo>
                    <a:lnTo>
                      <a:pt x="19" y="277"/>
                    </a:lnTo>
                    <a:lnTo>
                      <a:pt x="19" y="277"/>
                    </a:lnTo>
                    <a:lnTo>
                      <a:pt x="19" y="278"/>
                    </a:lnTo>
                    <a:lnTo>
                      <a:pt x="19" y="278"/>
                    </a:lnTo>
                    <a:lnTo>
                      <a:pt x="19" y="280"/>
                    </a:lnTo>
                    <a:lnTo>
                      <a:pt x="19" y="280"/>
                    </a:lnTo>
                    <a:lnTo>
                      <a:pt x="19" y="281"/>
                    </a:lnTo>
                    <a:lnTo>
                      <a:pt x="19" y="281"/>
                    </a:lnTo>
                    <a:lnTo>
                      <a:pt x="19" y="281"/>
                    </a:lnTo>
                    <a:lnTo>
                      <a:pt x="19" y="281"/>
                    </a:lnTo>
                    <a:lnTo>
                      <a:pt x="19" y="285"/>
                    </a:lnTo>
                    <a:lnTo>
                      <a:pt x="19" y="285"/>
                    </a:lnTo>
                    <a:lnTo>
                      <a:pt x="18" y="285"/>
                    </a:lnTo>
                    <a:lnTo>
                      <a:pt x="18" y="285"/>
                    </a:lnTo>
                    <a:lnTo>
                      <a:pt x="14" y="281"/>
                    </a:lnTo>
                    <a:lnTo>
                      <a:pt x="14" y="281"/>
                    </a:lnTo>
                    <a:lnTo>
                      <a:pt x="14" y="285"/>
                    </a:lnTo>
                    <a:lnTo>
                      <a:pt x="14" y="285"/>
                    </a:lnTo>
                    <a:lnTo>
                      <a:pt x="16" y="288"/>
                    </a:lnTo>
                    <a:lnTo>
                      <a:pt x="16" y="288"/>
                    </a:lnTo>
                    <a:lnTo>
                      <a:pt x="16" y="291"/>
                    </a:lnTo>
                    <a:lnTo>
                      <a:pt x="16" y="291"/>
                    </a:lnTo>
                    <a:lnTo>
                      <a:pt x="19" y="294"/>
                    </a:lnTo>
                    <a:lnTo>
                      <a:pt x="19" y="294"/>
                    </a:lnTo>
                    <a:lnTo>
                      <a:pt x="21" y="296"/>
                    </a:lnTo>
                    <a:lnTo>
                      <a:pt x="21" y="296"/>
                    </a:lnTo>
                    <a:lnTo>
                      <a:pt x="21" y="299"/>
                    </a:lnTo>
                    <a:lnTo>
                      <a:pt x="21" y="299"/>
                    </a:lnTo>
                    <a:lnTo>
                      <a:pt x="24" y="304"/>
                    </a:lnTo>
                    <a:lnTo>
                      <a:pt x="24" y="304"/>
                    </a:lnTo>
                    <a:lnTo>
                      <a:pt x="27" y="308"/>
                    </a:lnTo>
                    <a:lnTo>
                      <a:pt x="27" y="308"/>
                    </a:lnTo>
                    <a:lnTo>
                      <a:pt x="29" y="316"/>
                    </a:lnTo>
                    <a:lnTo>
                      <a:pt x="29" y="316"/>
                    </a:lnTo>
                    <a:lnTo>
                      <a:pt x="29" y="320"/>
                    </a:lnTo>
                    <a:lnTo>
                      <a:pt x="29" y="320"/>
                    </a:lnTo>
                    <a:lnTo>
                      <a:pt x="29" y="323"/>
                    </a:lnTo>
                    <a:lnTo>
                      <a:pt x="29" y="323"/>
                    </a:lnTo>
                    <a:lnTo>
                      <a:pt x="29" y="323"/>
                    </a:lnTo>
                    <a:lnTo>
                      <a:pt x="29" y="323"/>
                    </a:lnTo>
                    <a:lnTo>
                      <a:pt x="29" y="327"/>
                    </a:lnTo>
                    <a:lnTo>
                      <a:pt x="29" y="327"/>
                    </a:lnTo>
                    <a:lnTo>
                      <a:pt x="29" y="332"/>
                    </a:lnTo>
                    <a:lnTo>
                      <a:pt x="29" y="332"/>
                    </a:lnTo>
                    <a:lnTo>
                      <a:pt x="29" y="340"/>
                    </a:lnTo>
                    <a:lnTo>
                      <a:pt x="29" y="340"/>
                    </a:lnTo>
                    <a:lnTo>
                      <a:pt x="32" y="343"/>
                    </a:lnTo>
                    <a:lnTo>
                      <a:pt x="32" y="343"/>
                    </a:lnTo>
                    <a:lnTo>
                      <a:pt x="35" y="347"/>
                    </a:lnTo>
                    <a:lnTo>
                      <a:pt x="35" y="347"/>
                    </a:lnTo>
                    <a:lnTo>
                      <a:pt x="38" y="347"/>
                    </a:lnTo>
                    <a:lnTo>
                      <a:pt x="38" y="347"/>
                    </a:lnTo>
                    <a:lnTo>
                      <a:pt x="35" y="347"/>
                    </a:lnTo>
                    <a:lnTo>
                      <a:pt x="35" y="347"/>
                    </a:lnTo>
                    <a:lnTo>
                      <a:pt x="38" y="350"/>
                    </a:lnTo>
                    <a:lnTo>
                      <a:pt x="38" y="350"/>
                    </a:lnTo>
                    <a:lnTo>
                      <a:pt x="41" y="350"/>
                    </a:lnTo>
                    <a:lnTo>
                      <a:pt x="41" y="350"/>
                    </a:lnTo>
                    <a:lnTo>
                      <a:pt x="41" y="350"/>
                    </a:lnTo>
                    <a:lnTo>
                      <a:pt x="41" y="350"/>
                    </a:lnTo>
                    <a:lnTo>
                      <a:pt x="41" y="347"/>
                    </a:lnTo>
                    <a:lnTo>
                      <a:pt x="41" y="347"/>
                    </a:lnTo>
                    <a:lnTo>
                      <a:pt x="43" y="347"/>
                    </a:lnTo>
                    <a:lnTo>
                      <a:pt x="43" y="347"/>
                    </a:lnTo>
                    <a:lnTo>
                      <a:pt x="49" y="347"/>
                    </a:lnTo>
                    <a:lnTo>
                      <a:pt x="49" y="347"/>
                    </a:lnTo>
                    <a:lnTo>
                      <a:pt x="51" y="347"/>
                    </a:lnTo>
                    <a:lnTo>
                      <a:pt x="51" y="347"/>
                    </a:lnTo>
                    <a:lnTo>
                      <a:pt x="48" y="350"/>
                    </a:lnTo>
                    <a:lnTo>
                      <a:pt x="48" y="350"/>
                    </a:lnTo>
                    <a:lnTo>
                      <a:pt x="48" y="350"/>
                    </a:lnTo>
                    <a:lnTo>
                      <a:pt x="48" y="350"/>
                    </a:lnTo>
                    <a:lnTo>
                      <a:pt x="48" y="351"/>
                    </a:lnTo>
                    <a:lnTo>
                      <a:pt x="48" y="351"/>
                    </a:lnTo>
                    <a:lnTo>
                      <a:pt x="49" y="351"/>
                    </a:lnTo>
                    <a:lnTo>
                      <a:pt x="49" y="351"/>
                    </a:lnTo>
                    <a:lnTo>
                      <a:pt x="51" y="351"/>
                    </a:lnTo>
                    <a:lnTo>
                      <a:pt x="51" y="351"/>
                    </a:lnTo>
                    <a:lnTo>
                      <a:pt x="54" y="354"/>
                    </a:lnTo>
                    <a:lnTo>
                      <a:pt x="54" y="354"/>
                    </a:lnTo>
                    <a:lnTo>
                      <a:pt x="54" y="359"/>
                    </a:lnTo>
                    <a:lnTo>
                      <a:pt x="54" y="359"/>
                    </a:lnTo>
                    <a:lnTo>
                      <a:pt x="51" y="359"/>
                    </a:lnTo>
                    <a:lnTo>
                      <a:pt x="51" y="359"/>
                    </a:lnTo>
                    <a:lnTo>
                      <a:pt x="51" y="361"/>
                    </a:lnTo>
                    <a:lnTo>
                      <a:pt x="51" y="361"/>
                    </a:lnTo>
                    <a:lnTo>
                      <a:pt x="53" y="364"/>
                    </a:lnTo>
                    <a:lnTo>
                      <a:pt x="53" y="364"/>
                    </a:lnTo>
                    <a:lnTo>
                      <a:pt x="54" y="366"/>
                    </a:lnTo>
                    <a:lnTo>
                      <a:pt x="54" y="366"/>
                    </a:lnTo>
                    <a:lnTo>
                      <a:pt x="54" y="367"/>
                    </a:lnTo>
                    <a:lnTo>
                      <a:pt x="54" y="367"/>
                    </a:lnTo>
                    <a:lnTo>
                      <a:pt x="53" y="367"/>
                    </a:lnTo>
                    <a:lnTo>
                      <a:pt x="53" y="367"/>
                    </a:lnTo>
                    <a:lnTo>
                      <a:pt x="53" y="370"/>
                    </a:lnTo>
                    <a:lnTo>
                      <a:pt x="53" y="370"/>
                    </a:lnTo>
                    <a:lnTo>
                      <a:pt x="53" y="372"/>
                    </a:lnTo>
                    <a:lnTo>
                      <a:pt x="53" y="372"/>
                    </a:lnTo>
                    <a:lnTo>
                      <a:pt x="53" y="372"/>
                    </a:lnTo>
                    <a:lnTo>
                      <a:pt x="53" y="372"/>
                    </a:lnTo>
                    <a:lnTo>
                      <a:pt x="54" y="375"/>
                    </a:lnTo>
                    <a:lnTo>
                      <a:pt x="54" y="375"/>
                    </a:lnTo>
                    <a:lnTo>
                      <a:pt x="54" y="375"/>
                    </a:lnTo>
                    <a:lnTo>
                      <a:pt x="54" y="375"/>
                    </a:lnTo>
                    <a:lnTo>
                      <a:pt x="56" y="378"/>
                    </a:lnTo>
                    <a:lnTo>
                      <a:pt x="56" y="378"/>
                    </a:lnTo>
                    <a:lnTo>
                      <a:pt x="57" y="375"/>
                    </a:lnTo>
                    <a:lnTo>
                      <a:pt x="57" y="375"/>
                    </a:lnTo>
                    <a:lnTo>
                      <a:pt x="57" y="378"/>
                    </a:lnTo>
                    <a:lnTo>
                      <a:pt x="57" y="378"/>
                    </a:lnTo>
                    <a:lnTo>
                      <a:pt x="56" y="378"/>
                    </a:lnTo>
                    <a:lnTo>
                      <a:pt x="56" y="378"/>
                    </a:lnTo>
                    <a:lnTo>
                      <a:pt x="56" y="381"/>
                    </a:lnTo>
                    <a:lnTo>
                      <a:pt x="56" y="381"/>
                    </a:lnTo>
                    <a:lnTo>
                      <a:pt x="56" y="381"/>
                    </a:lnTo>
                    <a:lnTo>
                      <a:pt x="56" y="381"/>
                    </a:lnTo>
                    <a:lnTo>
                      <a:pt x="54" y="381"/>
                    </a:lnTo>
                    <a:lnTo>
                      <a:pt x="54" y="381"/>
                    </a:lnTo>
                    <a:lnTo>
                      <a:pt x="56" y="383"/>
                    </a:lnTo>
                    <a:lnTo>
                      <a:pt x="56" y="383"/>
                    </a:lnTo>
                    <a:lnTo>
                      <a:pt x="59" y="385"/>
                    </a:lnTo>
                    <a:lnTo>
                      <a:pt x="59" y="385"/>
                    </a:lnTo>
                    <a:lnTo>
                      <a:pt x="62" y="386"/>
                    </a:lnTo>
                    <a:lnTo>
                      <a:pt x="62" y="386"/>
                    </a:lnTo>
                    <a:lnTo>
                      <a:pt x="62" y="386"/>
                    </a:lnTo>
                    <a:lnTo>
                      <a:pt x="62" y="386"/>
                    </a:lnTo>
                    <a:lnTo>
                      <a:pt x="62" y="388"/>
                    </a:lnTo>
                    <a:lnTo>
                      <a:pt x="62" y="388"/>
                    </a:lnTo>
                    <a:lnTo>
                      <a:pt x="62" y="391"/>
                    </a:lnTo>
                    <a:lnTo>
                      <a:pt x="62" y="391"/>
                    </a:lnTo>
                    <a:lnTo>
                      <a:pt x="62" y="393"/>
                    </a:lnTo>
                    <a:lnTo>
                      <a:pt x="62" y="393"/>
                    </a:lnTo>
                    <a:lnTo>
                      <a:pt x="59" y="394"/>
                    </a:lnTo>
                    <a:lnTo>
                      <a:pt x="59" y="394"/>
                    </a:lnTo>
                    <a:lnTo>
                      <a:pt x="59" y="396"/>
                    </a:lnTo>
                    <a:lnTo>
                      <a:pt x="59" y="396"/>
                    </a:lnTo>
                    <a:lnTo>
                      <a:pt x="59" y="397"/>
                    </a:lnTo>
                    <a:lnTo>
                      <a:pt x="59" y="397"/>
                    </a:lnTo>
                    <a:lnTo>
                      <a:pt x="59" y="399"/>
                    </a:lnTo>
                    <a:lnTo>
                      <a:pt x="59" y="399"/>
                    </a:lnTo>
                    <a:lnTo>
                      <a:pt x="62" y="399"/>
                    </a:lnTo>
                    <a:lnTo>
                      <a:pt x="62" y="399"/>
                    </a:lnTo>
                    <a:lnTo>
                      <a:pt x="59" y="401"/>
                    </a:lnTo>
                    <a:lnTo>
                      <a:pt x="59" y="401"/>
                    </a:lnTo>
                    <a:lnTo>
                      <a:pt x="59" y="402"/>
                    </a:lnTo>
                    <a:lnTo>
                      <a:pt x="59" y="402"/>
                    </a:lnTo>
                    <a:lnTo>
                      <a:pt x="59" y="407"/>
                    </a:lnTo>
                    <a:lnTo>
                      <a:pt x="59" y="407"/>
                    </a:lnTo>
                    <a:lnTo>
                      <a:pt x="62" y="405"/>
                    </a:lnTo>
                    <a:lnTo>
                      <a:pt x="62" y="405"/>
                    </a:lnTo>
                    <a:lnTo>
                      <a:pt x="62" y="407"/>
                    </a:lnTo>
                    <a:lnTo>
                      <a:pt x="62" y="407"/>
                    </a:lnTo>
                    <a:lnTo>
                      <a:pt x="62" y="413"/>
                    </a:lnTo>
                    <a:lnTo>
                      <a:pt x="62" y="413"/>
                    </a:lnTo>
                    <a:lnTo>
                      <a:pt x="59" y="413"/>
                    </a:lnTo>
                    <a:lnTo>
                      <a:pt x="59" y="413"/>
                    </a:lnTo>
                    <a:lnTo>
                      <a:pt x="59" y="410"/>
                    </a:lnTo>
                    <a:lnTo>
                      <a:pt x="59" y="410"/>
                    </a:lnTo>
                    <a:lnTo>
                      <a:pt x="59" y="413"/>
                    </a:lnTo>
                    <a:lnTo>
                      <a:pt x="59" y="413"/>
                    </a:lnTo>
                    <a:lnTo>
                      <a:pt x="53" y="413"/>
                    </a:lnTo>
                    <a:lnTo>
                      <a:pt x="53" y="413"/>
                    </a:lnTo>
                    <a:lnTo>
                      <a:pt x="54" y="413"/>
                    </a:lnTo>
                    <a:lnTo>
                      <a:pt x="54" y="413"/>
                    </a:lnTo>
                    <a:lnTo>
                      <a:pt x="57" y="410"/>
                    </a:lnTo>
                    <a:lnTo>
                      <a:pt x="57" y="410"/>
                    </a:lnTo>
                    <a:lnTo>
                      <a:pt x="56" y="410"/>
                    </a:lnTo>
                    <a:lnTo>
                      <a:pt x="56" y="410"/>
                    </a:lnTo>
                    <a:lnTo>
                      <a:pt x="56" y="407"/>
                    </a:lnTo>
                    <a:lnTo>
                      <a:pt x="56" y="407"/>
                    </a:lnTo>
                    <a:lnTo>
                      <a:pt x="54" y="407"/>
                    </a:lnTo>
                    <a:lnTo>
                      <a:pt x="54" y="407"/>
                    </a:lnTo>
                    <a:lnTo>
                      <a:pt x="53" y="407"/>
                    </a:lnTo>
                    <a:lnTo>
                      <a:pt x="53" y="407"/>
                    </a:lnTo>
                    <a:lnTo>
                      <a:pt x="51" y="407"/>
                    </a:lnTo>
                    <a:lnTo>
                      <a:pt x="51" y="407"/>
                    </a:lnTo>
                    <a:lnTo>
                      <a:pt x="51" y="410"/>
                    </a:lnTo>
                    <a:lnTo>
                      <a:pt x="51" y="410"/>
                    </a:lnTo>
                    <a:lnTo>
                      <a:pt x="49" y="407"/>
                    </a:lnTo>
                    <a:lnTo>
                      <a:pt x="49" y="407"/>
                    </a:lnTo>
                    <a:lnTo>
                      <a:pt x="48" y="407"/>
                    </a:lnTo>
                    <a:lnTo>
                      <a:pt x="48" y="407"/>
                    </a:lnTo>
                    <a:lnTo>
                      <a:pt x="46" y="407"/>
                    </a:lnTo>
                    <a:lnTo>
                      <a:pt x="46" y="407"/>
                    </a:lnTo>
                    <a:lnTo>
                      <a:pt x="43" y="407"/>
                    </a:lnTo>
                    <a:lnTo>
                      <a:pt x="43" y="407"/>
                    </a:lnTo>
                    <a:lnTo>
                      <a:pt x="45" y="410"/>
                    </a:lnTo>
                    <a:lnTo>
                      <a:pt x="45" y="410"/>
                    </a:lnTo>
                    <a:lnTo>
                      <a:pt x="46" y="410"/>
                    </a:lnTo>
                    <a:lnTo>
                      <a:pt x="46" y="410"/>
                    </a:lnTo>
                    <a:lnTo>
                      <a:pt x="48" y="410"/>
                    </a:lnTo>
                    <a:lnTo>
                      <a:pt x="48" y="410"/>
                    </a:lnTo>
                    <a:lnTo>
                      <a:pt x="48" y="413"/>
                    </a:lnTo>
                    <a:lnTo>
                      <a:pt x="48" y="413"/>
                    </a:lnTo>
                    <a:lnTo>
                      <a:pt x="46" y="413"/>
                    </a:lnTo>
                    <a:lnTo>
                      <a:pt x="46" y="413"/>
                    </a:lnTo>
                    <a:lnTo>
                      <a:pt x="46" y="413"/>
                    </a:lnTo>
                    <a:lnTo>
                      <a:pt x="46" y="413"/>
                    </a:lnTo>
                    <a:lnTo>
                      <a:pt x="45" y="413"/>
                    </a:lnTo>
                    <a:lnTo>
                      <a:pt x="45" y="413"/>
                    </a:lnTo>
                    <a:lnTo>
                      <a:pt x="41" y="416"/>
                    </a:lnTo>
                    <a:lnTo>
                      <a:pt x="41" y="416"/>
                    </a:lnTo>
                    <a:lnTo>
                      <a:pt x="41" y="418"/>
                    </a:lnTo>
                    <a:lnTo>
                      <a:pt x="41" y="418"/>
                    </a:lnTo>
                    <a:lnTo>
                      <a:pt x="41" y="420"/>
                    </a:lnTo>
                    <a:lnTo>
                      <a:pt x="41" y="420"/>
                    </a:lnTo>
                    <a:lnTo>
                      <a:pt x="43" y="418"/>
                    </a:lnTo>
                    <a:lnTo>
                      <a:pt x="43" y="418"/>
                    </a:lnTo>
                    <a:lnTo>
                      <a:pt x="45" y="418"/>
                    </a:lnTo>
                    <a:lnTo>
                      <a:pt x="45" y="418"/>
                    </a:lnTo>
                    <a:lnTo>
                      <a:pt x="48" y="416"/>
                    </a:lnTo>
                    <a:lnTo>
                      <a:pt x="48" y="416"/>
                    </a:lnTo>
                    <a:lnTo>
                      <a:pt x="49" y="418"/>
                    </a:lnTo>
                    <a:lnTo>
                      <a:pt x="49" y="418"/>
                    </a:lnTo>
                    <a:lnTo>
                      <a:pt x="51" y="420"/>
                    </a:lnTo>
                    <a:lnTo>
                      <a:pt x="51" y="420"/>
                    </a:lnTo>
                    <a:lnTo>
                      <a:pt x="54" y="421"/>
                    </a:lnTo>
                    <a:lnTo>
                      <a:pt x="54" y="421"/>
                    </a:lnTo>
                    <a:lnTo>
                      <a:pt x="57" y="420"/>
                    </a:lnTo>
                    <a:lnTo>
                      <a:pt x="57" y="420"/>
                    </a:lnTo>
                    <a:lnTo>
                      <a:pt x="59" y="421"/>
                    </a:lnTo>
                    <a:lnTo>
                      <a:pt x="59" y="421"/>
                    </a:lnTo>
                    <a:lnTo>
                      <a:pt x="62" y="424"/>
                    </a:lnTo>
                    <a:lnTo>
                      <a:pt x="62" y="424"/>
                    </a:lnTo>
                    <a:lnTo>
                      <a:pt x="62" y="426"/>
                    </a:lnTo>
                    <a:lnTo>
                      <a:pt x="62" y="426"/>
                    </a:lnTo>
                    <a:lnTo>
                      <a:pt x="62" y="428"/>
                    </a:lnTo>
                    <a:lnTo>
                      <a:pt x="62" y="428"/>
                    </a:lnTo>
                    <a:lnTo>
                      <a:pt x="62" y="426"/>
                    </a:lnTo>
                    <a:lnTo>
                      <a:pt x="62" y="426"/>
                    </a:lnTo>
                    <a:lnTo>
                      <a:pt x="59" y="428"/>
                    </a:lnTo>
                    <a:lnTo>
                      <a:pt x="59" y="428"/>
                    </a:lnTo>
                    <a:lnTo>
                      <a:pt x="59" y="428"/>
                    </a:lnTo>
                    <a:lnTo>
                      <a:pt x="59" y="428"/>
                    </a:lnTo>
                    <a:lnTo>
                      <a:pt x="62" y="431"/>
                    </a:lnTo>
                    <a:lnTo>
                      <a:pt x="62" y="431"/>
                    </a:lnTo>
                    <a:lnTo>
                      <a:pt x="62" y="431"/>
                    </a:lnTo>
                    <a:lnTo>
                      <a:pt x="62" y="431"/>
                    </a:lnTo>
                    <a:lnTo>
                      <a:pt x="64" y="431"/>
                    </a:lnTo>
                    <a:lnTo>
                      <a:pt x="64" y="431"/>
                    </a:lnTo>
                    <a:lnTo>
                      <a:pt x="65" y="431"/>
                    </a:lnTo>
                    <a:lnTo>
                      <a:pt x="65" y="431"/>
                    </a:lnTo>
                    <a:lnTo>
                      <a:pt x="64" y="431"/>
                    </a:lnTo>
                    <a:lnTo>
                      <a:pt x="64" y="431"/>
                    </a:lnTo>
                    <a:lnTo>
                      <a:pt x="64" y="434"/>
                    </a:lnTo>
                    <a:lnTo>
                      <a:pt x="64" y="434"/>
                    </a:lnTo>
                    <a:lnTo>
                      <a:pt x="62" y="431"/>
                    </a:lnTo>
                    <a:lnTo>
                      <a:pt x="62" y="431"/>
                    </a:lnTo>
                    <a:lnTo>
                      <a:pt x="59" y="431"/>
                    </a:lnTo>
                    <a:lnTo>
                      <a:pt x="59" y="431"/>
                    </a:lnTo>
                    <a:lnTo>
                      <a:pt x="59" y="431"/>
                    </a:lnTo>
                    <a:lnTo>
                      <a:pt x="59" y="431"/>
                    </a:lnTo>
                    <a:lnTo>
                      <a:pt x="59" y="434"/>
                    </a:lnTo>
                    <a:lnTo>
                      <a:pt x="59" y="434"/>
                    </a:lnTo>
                    <a:lnTo>
                      <a:pt x="62" y="434"/>
                    </a:lnTo>
                    <a:lnTo>
                      <a:pt x="62" y="434"/>
                    </a:lnTo>
                    <a:lnTo>
                      <a:pt x="67" y="434"/>
                    </a:lnTo>
                    <a:lnTo>
                      <a:pt x="67" y="434"/>
                    </a:lnTo>
                    <a:lnTo>
                      <a:pt x="68" y="434"/>
                    </a:lnTo>
                    <a:lnTo>
                      <a:pt x="68" y="434"/>
                    </a:lnTo>
                    <a:lnTo>
                      <a:pt x="68" y="434"/>
                    </a:lnTo>
                    <a:lnTo>
                      <a:pt x="68" y="434"/>
                    </a:lnTo>
                    <a:lnTo>
                      <a:pt x="72" y="434"/>
                    </a:lnTo>
                    <a:lnTo>
                      <a:pt x="72" y="434"/>
                    </a:lnTo>
                    <a:lnTo>
                      <a:pt x="73" y="437"/>
                    </a:lnTo>
                    <a:lnTo>
                      <a:pt x="73" y="437"/>
                    </a:lnTo>
                    <a:lnTo>
                      <a:pt x="72" y="437"/>
                    </a:lnTo>
                    <a:lnTo>
                      <a:pt x="72" y="437"/>
                    </a:lnTo>
                    <a:lnTo>
                      <a:pt x="75" y="437"/>
                    </a:lnTo>
                    <a:lnTo>
                      <a:pt x="75" y="437"/>
                    </a:lnTo>
                    <a:lnTo>
                      <a:pt x="76" y="440"/>
                    </a:lnTo>
                    <a:lnTo>
                      <a:pt x="76" y="440"/>
                    </a:lnTo>
                    <a:lnTo>
                      <a:pt x="76" y="440"/>
                    </a:lnTo>
                    <a:lnTo>
                      <a:pt x="76" y="440"/>
                    </a:lnTo>
                    <a:lnTo>
                      <a:pt x="73" y="440"/>
                    </a:lnTo>
                    <a:lnTo>
                      <a:pt x="73" y="440"/>
                    </a:lnTo>
                    <a:lnTo>
                      <a:pt x="70" y="437"/>
                    </a:lnTo>
                    <a:lnTo>
                      <a:pt x="70" y="437"/>
                    </a:lnTo>
                    <a:lnTo>
                      <a:pt x="67" y="437"/>
                    </a:lnTo>
                    <a:lnTo>
                      <a:pt x="67" y="437"/>
                    </a:lnTo>
                    <a:lnTo>
                      <a:pt x="64" y="437"/>
                    </a:lnTo>
                    <a:lnTo>
                      <a:pt x="64" y="437"/>
                    </a:lnTo>
                    <a:lnTo>
                      <a:pt x="62" y="437"/>
                    </a:lnTo>
                    <a:lnTo>
                      <a:pt x="62" y="437"/>
                    </a:lnTo>
                    <a:lnTo>
                      <a:pt x="62" y="437"/>
                    </a:lnTo>
                    <a:lnTo>
                      <a:pt x="62" y="437"/>
                    </a:lnTo>
                    <a:lnTo>
                      <a:pt x="62" y="437"/>
                    </a:lnTo>
                    <a:lnTo>
                      <a:pt x="62" y="437"/>
                    </a:lnTo>
                    <a:lnTo>
                      <a:pt x="65" y="440"/>
                    </a:lnTo>
                    <a:lnTo>
                      <a:pt x="65" y="440"/>
                    </a:lnTo>
                    <a:lnTo>
                      <a:pt x="67" y="440"/>
                    </a:lnTo>
                    <a:lnTo>
                      <a:pt x="67" y="440"/>
                    </a:lnTo>
                    <a:lnTo>
                      <a:pt x="68" y="440"/>
                    </a:lnTo>
                    <a:lnTo>
                      <a:pt x="68" y="440"/>
                    </a:lnTo>
                    <a:lnTo>
                      <a:pt x="67" y="442"/>
                    </a:lnTo>
                    <a:lnTo>
                      <a:pt x="67" y="442"/>
                    </a:lnTo>
                    <a:lnTo>
                      <a:pt x="68" y="442"/>
                    </a:lnTo>
                    <a:lnTo>
                      <a:pt x="68" y="442"/>
                    </a:lnTo>
                    <a:lnTo>
                      <a:pt x="72" y="442"/>
                    </a:lnTo>
                    <a:lnTo>
                      <a:pt x="72" y="442"/>
                    </a:lnTo>
                    <a:lnTo>
                      <a:pt x="72" y="443"/>
                    </a:lnTo>
                    <a:lnTo>
                      <a:pt x="72" y="443"/>
                    </a:lnTo>
                    <a:lnTo>
                      <a:pt x="72" y="445"/>
                    </a:lnTo>
                    <a:lnTo>
                      <a:pt x="72" y="445"/>
                    </a:lnTo>
                    <a:lnTo>
                      <a:pt x="70" y="443"/>
                    </a:lnTo>
                    <a:lnTo>
                      <a:pt x="70" y="443"/>
                    </a:lnTo>
                    <a:lnTo>
                      <a:pt x="67" y="443"/>
                    </a:lnTo>
                    <a:lnTo>
                      <a:pt x="67" y="443"/>
                    </a:lnTo>
                    <a:lnTo>
                      <a:pt x="67" y="445"/>
                    </a:lnTo>
                    <a:lnTo>
                      <a:pt x="67" y="445"/>
                    </a:lnTo>
                    <a:lnTo>
                      <a:pt x="68" y="447"/>
                    </a:lnTo>
                    <a:lnTo>
                      <a:pt x="68" y="447"/>
                    </a:lnTo>
                    <a:lnTo>
                      <a:pt x="72" y="447"/>
                    </a:lnTo>
                    <a:lnTo>
                      <a:pt x="72" y="447"/>
                    </a:lnTo>
                    <a:lnTo>
                      <a:pt x="68" y="448"/>
                    </a:lnTo>
                    <a:lnTo>
                      <a:pt x="68" y="448"/>
                    </a:lnTo>
                    <a:lnTo>
                      <a:pt x="68" y="450"/>
                    </a:lnTo>
                    <a:lnTo>
                      <a:pt x="68" y="450"/>
                    </a:lnTo>
                    <a:lnTo>
                      <a:pt x="70" y="450"/>
                    </a:lnTo>
                    <a:lnTo>
                      <a:pt x="70" y="450"/>
                    </a:lnTo>
                    <a:lnTo>
                      <a:pt x="72" y="455"/>
                    </a:lnTo>
                    <a:lnTo>
                      <a:pt x="72" y="455"/>
                    </a:lnTo>
                    <a:lnTo>
                      <a:pt x="75" y="458"/>
                    </a:lnTo>
                    <a:lnTo>
                      <a:pt x="75" y="458"/>
                    </a:lnTo>
                    <a:lnTo>
                      <a:pt x="75" y="451"/>
                    </a:lnTo>
                    <a:lnTo>
                      <a:pt x="75" y="451"/>
                    </a:lnTo>
                    <a:lnTo>
                      <a:pt x="76" y="451"/>
                    </a:lnTo>
                    <a:lnTo>
                      <a:pt x="76" y="451"/>
                    </a:lnTo>
                    <a:lnTo>
                      <a:pt x="76" y="453"/>
                    </a:lnTo>
                    <a:lnTo>
                      <a:pt x="76" y="453"/>
                    </a:lnTo>
                    <a:lnTo>
                      <a:pt x="78" y="456"/>
                    </a:lnTo>
                    <a:lnTo>
                      <a:pt x="78" y="456"/>
                    </a:lnTo>
                    <a:lnTo>
                      <a:pt x="76" y="456"/>
                    </a:lnTo>
                    <a:lnTo>
                      <a:pt x="76" y="456"/>
                    </a:lnTo>
                    <a:lnTo>
                      <a:pt x="76" y="458"/>
                    </a:lnTo>
                    <a:lnTo>
                      <a:pt x="76" y="458"/>
                    </a:lnTo>
                    <a:lnTo>
                      <a:pt x="78" y="459"/>
                    </a:lnTo>
                    <a:lnTo>
                      <a:pt x="78" y="459"/>
                    </a:lnTo>
                    <a:lnTo>
                      <a:pt x="76" y="459"/>
                    </a:lnTo>
                    <a:lnTo>
                      <a:pt x="76" y="459"/>
                    </a:lnTo>
                    <a:lnTo>
                      <a:pt x="75" y="461"/>
                    </a:lnTo>
                    <a:lnTo>
                      <a:pt x="75" y="461"/>
                    </a:lnTo>
                    <a:lnTo>
                      <a:pt x="76" y="461"/>
                    </a:lnTo>
                    <a:lnTo>
                      <a:pt x="76" y="461"/>
                    </a:lnTo>
                    <a:lnTo>
                      <a:pt x="78" y="461"/>
                    </a:lnTo>
                    <a:lnTo>
                      <a:pt x="78" y="461"/>
                    </a:lnTo>
                    <a:lnTo>
                      <a:pt x="76" y="462"/>
                    </a:lnTo>
                    <a:lnTo>
                      <a:pt x="76" y="462"/>
                    </a:lnTo>
                    <a:lnTo>
                      <a:pt x="78" y="462"/>
                    </a:lnTo>
                    <a:lnTo>
                      <a:pt x="78" y="462"/>
                    </a:lnTo>
                    <a:lnTo>
                      <a:pt x="80" y="466"/>
                    </a:lnTo>
                    <a:lnTo>
                      <a:pt x="80" y="466"/>
                    </a:lnTo>
                    <a:lnTo>
                      <a:pt x="76" y="462"/>
                    </a:lnTo>
                    <a:lnTo>
                      <a:pt x="76" y="462"/>
                    </a:lnTo>
                    <a:lnTo>
                      <a:pt x="78" y="466"/>
                    </a:lnTo>
                    <a:lnTo>
                      <a:pt x="78" y="466"/>
                    </a:lnTo>
                    <a:lnTo>
                      <a:pt x="76" y="466"/>
                    </a:lnTo>
                    <a:lnTo>
                      <a:pt x="76" y="466"/>
                    </a:lnTo>
                    <a:lnTo>
                      <a:pt x="75" y="469"/>
                    </a:lnTo>
                    <a:lnTo>
                      <a:pt x="75" y="469"/>
                    </a:lnTo>
                    <a:lnTo>
                      <a:pt x="78" y="469"/>
                    </a:lnTo>
                    <a:lnTo>
                      <a:pt x="78" y="469"/>
                    </a:lnTo>
                    <a:lnTo>
                      <a:pt x="80" y="469"/>
                    </a:lnTo>
                    <a:lnTo>
                      <a:pt x="80" y="469"/>
                    </a:lnTo>
                    <a:lnTo>
                      <a:pt x="81" y="472"/>
                    </a:lnTo>
                    <a:lnTo>
                      <a:pt x="81" y="472"/>
                    </a:lnTo>
                    <a:lnTo>
                      <a:pt x="83" y="472"/>
                    </a:lnTo>
                    <a:lnTo>
                      <a:pt x="83" y="472"/>
                    </a:lnTo>
                    <a:lnTo>
                      <a:pt x="84" y="474"/>
                    </a:lnTo>
                    <a:lnTo>
                      <a:pt x="84" y="474"/>
                    </a:lnTo>
                    <a:lnTo>
                      <a:pt x="86" y="477"/>
                    </a:lnTo>
                    <a:lnTo>
                      <a:pt x="86" y="477"/>
                    </a:lnTo>
                    <a:lnTo>
                      <a:pt x="86" y="478"/>
                    </a:lnTo>
                    <a:lnTo>
                      <a:pt x="86" y="478"/>
                    </a:lnTo>
                    <a:lnTo>
                      <a:pt x="87" y="480"/>
                    </a:lnTo>
                    <a:lnTo>
                      <a:pt x="87" y="480"/>
                    </a:lnTo>
                    <a:lnTo>
                      <a:pt x="87" y="481"/>
                    </a:lnTo>
                    <a:lnTo>
                      <a:pt x="87" y="481"/>
                    </a:lnTo>
                    <a:lnTo>
                      <a:pt x="87" y="480"/>
                    </a:lnTo>
                    <a:lnTo>
                      <a:pt x="87" y="480"/>
                    </a:lnTo>
                    <a:lnTo>
                      <a:pt x="91" y="481"/>
                    </a:lnTo>
                    <a:lnTo>
                      <a:pt x="91" y="481"/>
                    </a:lnTo>
                    <a:lnTo>
                      <a:pt x="91" y="481"/>
                    </a:lnTo>
                    <a:lnTo>
                      <a:pt x="91" y="481"/>
                    </a:lnTo>
                    <a:lnTo>
                      <a:pt x="97" y="488"/>
                    </a:lnTo>
                    <a:lnTo>
                      <a:pt x="97" y="488"/>
                    </a:lnTo>
                    <a:lnTo>
                      <a:pt x="94" y="486"/>
                    </a:lnTo>
                    <a:lnTo>
                      <a:pt x="94" y="486"/>
                    </a:lnTo>
                    <a:lnTo>
                      <a:pt x="91" y="485"/>
                    </a:lnTo>
                    <a:lnTo>
                      <a:pt x="91" y="485"/>
                    </a:lnTo>
                    <a:lnTo>
                      <a:pt x="91" y="486"/>
                    </a:lnTo>
                    <a:lnTo>
                      <a:pt x="91" y="486"/>
                    </a:lnTo>
                    <a:lnTo>
                      <a:pt x="94" y="488"/>
                    </a:lnTo>
                    <a:lnTo>
                      <a:pt x="94" y="488"/>
                    </a:lnTo>
                    <a:lnTo>
                      <a:pt x="94" y="489"/>
                    </a:lnTo>
                    <a:lnTo>
                      <a:pt x="94" y="489"/>
                    </a:lnTo>
                    <a:lnTo>
                      <a:pt x="97" y="489"/>
                    </a:lnTo>
                    <a:lnTo>
                      <a:pt x="97" y="489"/>
                    </a:lnTo>
                    <a:lnTo>
                      <a:pt x="97" y="491"/>
                    </a:lnTo>
                    <a:lnTo>
                      <a:pt x="97" y="491"/>
                    </a:lnTo>
                    <a:lnTo>
                      <a:pt x="99" y="494"/>
                    </a:lnTo>
                    <a:lnTo>
                      <a:pt x="99" y="494"/>
                    </a:lnTo>
                    <a:lnTo>
                      <a:pt x="102" y="496"/>
                    </a:lnTo>
                    <a:lnTo>
                      <a:pt x="102" y="496"/>
                    </a:lnTo>
                    <a:lnTo>
                      <a:pt x="100" y="496"/>
                    </a:lnTo>
                    <a:lnTo>
                      <a:pt x="100" y="496"/>
                    </a:lnTo>
                    <a:lnTo>
                      <a:pt x="97" y="494"/>
                    </a:lnTo>
                    <a:lnTo>
                      <a:pt x="97" y="494"/>
                    </a:lnTo>
                    <a:lnTo>
                      <a:pt x="100" y="497"/>
                    </a:lnTo>
                    <a:lnTo>
                      <a:pt x="100" y="497"/>
                    </a:lnTo>
                    <a:lnTo>
                      <a:pt x="102" y="501"/>
                    </a:lnTo>
                    <a:lnTo>
                      <a:pt x="102" y="501"/>
                    </a:lnTo>
                    <a:lnTo>
                      <a:pt x="102" y="501"/>
                    </a:lnTo>
                    <a:lnTo>
                      <a:pt x="102" y="501"/>
                    </a:lnTo>
                    <a:lnTo>
                      <a:pt x="103" y="501"/>
                    </a:lnTo>
                    <a:lnTo>
                      <a:pt x="103" y="501"/>
                    </a:lnTo>
                    <a:lnTo>
                      <a:pt x="103" y="504"/>
                    </a:lnTo>
                    <a:lnTo>
                      <a:pt x="103" y="504"/>
                    </a:lnTo>
                    <a:lnTo>
                      <a:pt x="105" y="501"/>
                    </a:lnTo>
                    <a:lnTo>
                      <a:pt x="105" y="501"/>
                    </a:lnTo>
                    <a:lnTo>
                      <a:pt x="107" y="504"/>
                    </a:lnTo>
                    <a:lnTo>
                      <a:pt x="107" y="504"/>
                    </a:lnTo>
                    <a:lnTo>
                      <a:pt x="108" y="504"/>
                    </a:lnTo>
                    <a:lnTo>
                      <a:pt x="108" y="504"/>
                    </a:lnTo>
                    <a:lnTo>
                      <a:pt x="110" y="507"/>
                    </a:lnTo>
                    <a:lnTo>
                      <a:pt x="110" y="507"/>
                    </a:lnTo>
                    <a:lnTo>
                      <a:pt x="108" y="507"/>
                    </a:lnTo>
                    <a:lnTo>
                      <a:pt x="108" y="507"/>
                    </a:lnTo>
                    <a:lnTo>
                      <a:pt x="108" y="507"/>
                    </a:lnTo>
                    <a:lnTo>
                      <a:pt x="108" y="507"/>
                    </a:lnTo>
                    <a:lnTo>
                      <a:pt x="111" y="507"/>
                    </a:lnTo>
                    <a:lnTo>
                      <a:pt x="111" y="507"/>
                    </a:lnTo>
                    <a:lnTo>
                      <a:pt x="113" y="507"/>
                    </a:lnTo>
                    <a:lnTo>
                      <a:pt x="113" y="507"/>
                    </a:lnTo>
                    <a:lnTo>
                      <a:pt x="113" y="507"/>
                    </a:lnTo>
                    <a:lnTo>
                      <a:pt x="113" y="507"/>
                    </a:lnTo>
                    <a:lnTo>
                      <a:pt x="114" y="507"/>
                    </a:lnTo>
                    <a:lnTo>
                      <a:pt x="114" y="507"/>
                    </a:lnTo>
                    <a:lnTo>
                      <a:pt x="116" y="508"/>
                    </a:lnTo>
                    <a:lnTo>
                      <a:pt x="116" y="508"/>
                    </a:lnTo>
                    <a:lnTo>
                      <a:pt x="113" y="508"/>
                    </a:lnTo>
                    <a:lnTo>
                      <a:pt x="113" y="508"/>
                    </a:lnTo>
                    <a:lnTo>
                      <a:pt x="110" y="508"/>
                    </a:lnTo>
                    <a:lnTo>
                      <a:pt x="110" y="508"/>
                    </a:lnTo>
                    <a:lnTo>
                      <a:pt x="113" y="510"/>
                    </a:lnTo>
                    <a:lnTo>
                      <a:pt x="113" y="510"/>
                    </a:lnTo>
                    <a:lnTo>
                      <a:pt x="108" y="508"/>
                    </a:lnTo>
                    <a:lnTo>
                      <a:pt x="108" y="508"/>
                    </a:lnTo>
                    <a:lnTo>
                      <a:pt x="107" y="508"/>
                    </a:lnTo>
                    <a:lnTo>
                      <a:pt x="107" y="508"/>
                    </a:lnTo>
                    <a:lnTo>
                      <a:pt x="102" y="507"/>
                    </a:lnTo>
                    <a:lnTo>
                      <a:pt x="102" y="507"/>
                    </a:lnTo>
                    <a:lnTo>
                      <a:pt x="99" y="507"/>
                    </a:lnTo>
                    <a:lnTo>
                      <a:pt x="99" y="507"/>
                    </a:lnTo>
                    <a:lnTo>
                      <a:pt x="94" y="504"/>
                    </a:lnTo>
                    <a:lnTo>
                      <a:pt x="94" y="504"/>
                    </a:lnTo>
                    <a:lnTo>
                      <a:pt x="91" y="504"/>
                    </a:lnTo>
                    <a:lnTo>
                      <a:pt x="91" y="504"/>
                    </a:lnTo>
                    <a:lnTo>
                      <a:pt x="97" y="507"/>
                    </a:lnTo>
                    <a:lnTo>
                      <a:pt x="97" y="507"/>
                    </a:lnTo>
                    <a:lnTo>
                      <a:pt x="100" y="507"/>
                    </a:lnTo>
                    <a:lnTo>
                      <a:pt x="100" y="507"/>
                    </a:lnTo>
                    <a:lnTo>
                      <a:pt x="105" y="508"/>
                    </a:lnTo>
                    <a:lnTo>
                      <a:pt x="105" y="508"/>
                    </a:lnTo>
                    <a:lnTo>
                      <a:pt x="107" y="510"/>
                    </a:lnTo>
                    <a:lnTo>
                      <a:pt x="107" y="510"/>
                    </a:lnTo>
                    <a:lnTo>
                      <a:pt x="110" y="510"/>
                    </a:lnTo>
                    <a:lnTo>
                      <a:pt x="110" y="510"/>
                    </a:lnTo>
                    <a:lnTo>
                      <a:pt x="113" y="510"/>
                    </a:lnTo>
                    <a:lnTo>
                      <a:pt x="113" y="510"/>
                    </a:lnTo>
                    <a:lnTo>
                      <a:pt x="116" y="512"/>
                    </a:lnTo>
                    <a:lnTo>
                      <a:pt x="116" y="512"/>
                    </a:lnTo>
                    <a:lnTo>
                      <a:pt x="119" y="513"/>
                    </a:lnTo>
                    <a:lnTo>
                      <a:pt x="119" y="513"/>
                    </a:lnTo>
                    <a:lnTo>
                      <a:pt x="122" y="513"/>
                    </a:lnTo>
                    <a:lnTo>
                      <a:pt x="122" y="513"/>
                    </a:lnTo>
                    <a:lnTo>
                      <a:pt x="121" y="512"/>
                    </a:lnTo>
                    <a:lnTo>
                      <a:pt x="121" y="512"/>
                    </a:lnTo>
                    <a:lnTo>
                      <a:pt x="119" y="512"/>
                    </a:lnTo>
                    <a:lnTo>
                      <a:pt x="119" y="512"/>
                    </a:lnTo>
                    <a:lnTo>
                      <a:pt x="119" y="508"/>
                    </a:lnTo>
                    <a:lnTo>
                      <a:pt x="119" y="508"/>
                    </a:lnTo>
                    <a:lnTo>
                      <a:pt x="121" y="508"/>
                    </a:lnTo>
                    <a:lnTo>
                      <a:pt x="121" y="508"/>
                    </a:lnTo>
                    <a:lnTo>
                      <a:pt x="118" y="507"/>
                    </a:lnTo>
                    <a:lnTo>
                      <a:pt x="118" y="507"/>
                    </a:lnTo>
                    <a:lnTo>
                      <a:pt x="119" y="507"/>
                    </a:lnTo>
                    <a:lnTo>
                      <a:pt x="119" y="507"/>
                    </a:lnTo>
                    <a:lnTo>
                      <a:pt x="121" y="507"/>
                    </a:lnTo>
                    <a:lnTo>
                      <a:pt x="121" y="507"/>
                    </a:lnTo>
                    <a:lnTo>
                      <a:pt x="122" y="507"/>
                    </a:lnTo>
                    <a:lnTo>
                      <a:pt x="122" y="507"/>
                    </a:lnTo>
                    <a:lnTo>
                      <a:pt x="122" y="507"/>
                    </a:lnTo>
                    <a:lnTo>
                      <a:pt x="122" y="507"/>
                    </a:lnTo>
                    <a:lnTo>
                      <a:pt x="126" y="507"/>
                    </a:lnTo>
                    <a:lnTo>
                      <a:pt x="126" y="507"/>
                    </a:lnTo>
                    <a:lnTo>
                      <a:pt x="129" y="504"/>
                    </a:lnTo>
                    <a:lnTo>
                      <a:pt x="129" y="504"/>
                    </a:lnTo>
                    <a:lnTo>
                      <a:pt x="129" y="504"/>
                    </a:lnTo>
                    <a:lnTo>
                      <a:pt x="129" y="504"/>
                    </a:lnTo>
                    <a:lnTo>
                      <a:pt x="132" y="504"/>
                    </a:lnTo>
                    <a:lnTo>
                      <a:pt x="132" y="504"/>
                    </a:lnTo>
                    <a:lnTo>
                      <a:pt x="132" y="507"/>
                    </a:lnTo>
                    <a:lnTo>
                      <a:pt x="132" y="507"/>
                    </a:lnTo>
                    <a:lnTo>
                      <a:pt x="132" y="507"/>
                    </a:lnTo>
                    <a:lnTo>
                      <a:pt x="132" y="507"/>
                    </a:lnTo>
                    <a:lnTo>
                      <a:pt x="132" y="508"/>
                    </a:lnTo>
                    <a:lnTo>
                      <a:pt x="132" y="508"/>
                    </a:lnTo>
                    <a:lnTo>
                      <a:pt x="129" y="508"/>
                    </a:lnTo>
                    <a:lnTo>
                      <a:pt x="129" y="508"/>
                    </a:lnTo>
                    <a:lnTo>
                      <a:pt x="129" y="512"/>
                    </a:lnTo>
                    <a:lnTo>
                      <a:pt x="129" y="512"/>
                    </a:lnTo>
                    <a:lnTo>
                      <a:pt x="126" y="510"/>
                    </a:lnTo>
                    <a:lnTo>
                      <a:pt x="126" y="510"/>
                    </a:lnTo>
                    <a:lnTo>
                      <a:pt x="126" y="512"/>
                    </a:lnTo>
                    <a:lnTo>
                      <a:pt x="126" y="512"/>
                    </a:lnTo>
                    <a:lnTo>
                      <a:pt x="122" y="510"/>
                    </a:lnTo>
                    <a:lnTo>
                      <a:pt x="122" y="510"/>
                    </a:lnTo>
                    <a:lnTo>
                      <a:pt x="122" y="510"/>
                    </a:lnTo>
                    <a:lnTo>
                      <a:pt x="122" y="510"/>
                    </a:lnTo>
                    <a:lnTo>
                      <a:pt x="122" y="512"/>
                    </a:lnTo>
                    <a:lnTo>
                      <a:pt x="122" y="512"/>
                    </a:lnTo>
                    <a:lnTo>
                      <a:pt x="122" y="515"/>
                    </a:lnTo>
                    <a:lnTo>
                      <a:pt x="122" y="515"/>
                    </a:lnTo>
                    <a:lnTo>
                      <a:pt x="126" y="516"/>
                    </a:lnTo>
                    <a:lnTo>
                      <a:pt x="126" y="516"/>
                    </a:lnTo>
                    <a:lnTo>
                      <a:pt x="132" y="518"/>
                    </a:lnTo>
                    <a:lnTo>
                      <a:pt x="132" y="518"/>
                    </a:lnTo>
                    <a:lnTo>
                      <a:pt x="137" y="518"/>
                    </a:lnTo>
                    <a:lnTo>
                      <a:pt x="137" y="518"/>
                    </a:lnTo>
                    <a:lnTo>
                      <a:pt x="138" y="518"/>
                    </a:lnTo>
                    <a:lnTo>
                      <a:pt x="138" y="518"/>
                    </a:lnTo>
                    <a:lnTo>
                      <a:pt x="138" y="515"/>
                    </a:lnTo>
                    <a:lnTo>
                      <a:pt x="138" y="515"/>
                    </a:lnTo>
                    <a:lnTo>
                      <a:pt x="137" y="512"/>
                    </a:lnTo>
                    <a:lnTo>
                      <a:pt x="137" y="512"/>
                    </a:lnTo>
                    <a:lnTo>
                      <a:pt x="135" y="508"/>
                    </a:lnTo>
                    <a:lnTo>
                      <a:pt x="135" y="508"/>
                    </a:lnTo>
                    <a:lnTo>
                      <a:pt x="135" y="507"/>
                    </a:lnTo>
                    <a:lnTo>
                      <a:pt x="135" y="507"/>
                    </a:lnTo>
                    <a:lnTo>
                      <a:pt x="134" y="504"/>
                    </a:lnTo>
                    <a:lnTo>
                      <a:pt x="134" y="504"/>
                    </a:lnTo>
                    <a:lnTo>
                      <a:pt x="137" y="504"/>
                    </a:lnTo>
                    <a:lnTo>
                      <a:pt x="137" y="504"/>
                    </a:lnTo>
                    <a:lnTo>
                      <a:pt x="140" y="501"/>
                    </a:lnTo>
                    <a:lnTo>
                      <a:pt x="140" y="501"/>
                    </a:lnTo>
                    <a:lnTo>
                      <a:pt x="143" y="501"/>
                    </a:lnTo>
                    <a:lnTo>
                      <a:pt x="143" y="501"/>
                    </a:lnTo>
                    <a:lnTo>
                      <a:pt x="146" y="501"/>
                    </a:lnTo>
                    <a:lnTo>
                      <a:pt x="146" y="501"/>
                    </a:lnTo>
                    <a:lnTo>
                      <a:pt x="146" y="497"/>
                    </a:lnTo>
                    <a:lnTo>
                      <a:pt x="148" y="496"/>
                    </a:lnTo>
                    <a:lnTo>
                      <a:pt x="148" y="496"/>
                    </a:lnTo>
                    <a:lnTo>
                      <a:pt x="148" y="496"/>
                    </a:lnTo>
                    <a:close/>
                    <a:moveTo>
                      <a:pt x="137" y="524"/>
                    </a:moveTo>
                    <a:lnTo>
                      <a:pt x="137" y="524"/>
                    </a:lnTo>
                    <a:lnTo>
                      <a:pt x="137" y="521"/>
                    </a:lnTo>
                    <a:lnTo>
                      <a:pt x="137" y="521"/>
                    </a:lnTo>
                    <a:lnTo>
                      <a:pt x="138" y="521"/>
                    </a:lnTo>
                    <a:lnTo>
                      <a:pt x="138" y="521"/>
                    </a:lnTo>
                    <a:lnTo>
                      <a:pt x="138" y="524"/>
                    </a:lnTo>
                    <a:lnTo>
                      <a:pt x="138" y="524"/>
                    </a:lnTo>
                    <a:lnTo>
                      <a:pt x="140" y="524"/>
                    </a:lnTo>
                    <a:lnTo>
                      <a:pt x="140" y="524"/>
                    </a:lnTo>
                    <a:lnTo>
                      <a:pt x="140" y="524"/>
                    </a:lnTo>
                    <a:lnTo>
                      <a:pt x="140" y="524"/>
                    </a:lnTo>
                    <a:lnTo>
                      <a:pt x="143" y="524"/>
                    </a:lnTo>
                    <a:lnTo>
                      <a:pt x="143" y="524"/>
                    </a:lnTo>
                    <a:lnTo>
                      <a:pt x="140" y="521"/>
                    </a:lnTo>
                    <a:lnTo>
                      <a:pt x="140" y="521"/>
                    </a:lnTo>
                    <a:lnTo>
                      <a:pt x="138" y="521"/>
                    </a:lnTo>
                    <a:lnTo>
                      <a:pt x="138" y="521"/>
                    </a:lnTo>
                    <a:lnTo>
                      <a:pt x="134" y="518"/>
                    </a:lnTo>
                    <a:lnTo>
                      <a:pt x="134" y="518"/>
                    </a:lnTo>
                    <a:lnTo>
                      <a:pt x="135" y="521"/>
                    </a:lnTo>
                    <a:lnTo>
                      <a:pt x="137" y="524"/>
                    </a:lnTo>
                    <a:lnTo>
                      <a:pt x="137" y="524"/>
                    </a:lnTo>
                    <a:lnTo>
                      <a:pt x="137" y="524"/>
                    </a:lnTo>
                    <a:close/>
                    <a:moveTo>
                      <a:pt x="49" y="397"/>
                    </a:moveTo>
                    <a:lnTo>
                      <a:pt x="49" y="397"/>
                    </a:lnTo>
                    <a:lnTo>
                      <a:pt x="51" y="399"/>
                    </a:lnTo>
                    <a:lnTo>
                      <a:pt x="51" y="399"/>
                    </a:lnTo>
                    <a:lnTo>
                      <a:pt x="56" y="399"/>
                    </a:lnTo>
                    <a:lnTo>
                      <a:pt x="56" y="399"/>
                    </a:lnTo>
                    <a:lnTo>
                      <a:pt x="54" y="396"/>
                    </a:lnTo>
                    <a:lnTo>
                      <a:pt x="54" y="396"/>
                    </a:lnTo>
                    <a:lnTo>
                      <a:pt x="53" y="396"/>
                    </a:lnTo>
                    <a:lnTo>
                      <a:pt x="53" y="396"/>
                    </a:lnTo>
                    <a:lnTo>
                      <a:pt x="48" y="396"/>
                    </a:lnTo>
                    <a:lnTo>
                      <a:pt x="49" y="397"/>
                    </a:lnTo>
                    <a:lnTo>
                      <a:pt x="49" y="397"/>
                    </a:lnTo>
                    <a:lnTo>
                      <a:pt x="49" y="397"/>
                    </a:lnTo>
                    <a:close/>
                    <a:moveTo>
                      <a:pt x="43" y="372"/>
                    </a:moveTo>
                    <a:lnTo>
                      <a:pt x="43" y="372"/>
                    </a:lnTo>
                    <a:lnTo>
                      <a:pt x="43" y="369"/>
                    </a:lnTo>
                    <a:lnTo>
                      <a:pt x="43" y="369"/>
                    </a:lnTo>
                    <a:lnTo>
                      <a:pt x="45" y="369"/>
                    </a:lnTo>
                    <a:lnTo>
                      <a:pt x="45" y="369"/>
                    </a:lnTo>
                    <a:lnTo>
                      <a:pt x="45" y="367"/>
                    </a:lnTo>
                    <a:lnTo>
                      <a:pt x="45" y="367"/>
                    </a:lnTo>
                    <a:lnTo>
                      <a:pt x="41" y="366"/>
                    </a:lnTo>
                    <a:lnTo>
                      <a:pt x="41" y="366"/>
                    </a:lnTo>
                    <a:lnTo>
                      <a:pt x="45" y="366"/>
                    </a:lnTo>
                    <a:lnTo>
                      <a:pt x="45" y="366"/>
                    </a:lnTo>
                    <a:lnTo>
                      <a:pt x="41" y="362"/>
                    </a:lnTo>
                    <a:lnTo>
                      <a:pt x="41" y="362"/>
                    </a:lnTo>
                    <a:lnTo>
                      <a:pt x="41" y="361"/>
                    </a:lnTo>
                    <a:lnTo>
                      <a:pt x="41" y="361"/>
                    </a:lnTo>
                    <a:lnTo>
                      <a:pt x="41" y="359"/>
                    </a:lnTo>
                    <a:lnTo>
                      <a:pt x="41" y="359"/>
                    </a:lnTo>
                    <a:lnTo>
                      <a:pt x="41" y="358"/>
                    </a:lnTo>
                    <a:lnTo>
                      <a:pt x="41" y="358"/>
                    </a:lnTo>
                    <a:lnTo>
                      <a:pt x="43" y="356"/>
                    </a:lnTo>
                    <a:lnTo>
                      <a:pt x="43" y="356"/>
                    </a:lnTo>
                    <a:lnTo>
                      <a:pt x="41" y="353"/>
                    </a:lnTo>
                    <a:lnTo>
                      <a:pt x="41" y="353"/>
                    </a:lnTo>
                    <a:lnTo>
                      <a:pt x="38" y="350"/>
                    </a:lnTo>
                    <a:lnTo>
                      <a:pt x="38" y="350"/>
                    </a:lnTo>
                    <a:lnTo>
                      <a:pt x="38" y="350"/>
                    </a:lnTo>
                    <a:lnTo>
                      <a:pt x="38" y="350"/>
                    </a:lnTo>
                    <a:lnTo>
                      <a:pt x="35" y="350"/>
                    </a:lnTo>
                    <a:lnTo>
                      <a:pt x="35" y="350"/>
                    </a:lnTo>
                    <a:lnTo>
                      <a:pt x="35" y="350"/>
                    </a:lnTo>
                    <a:lnTo>
                      <a:pt x="35" y="350"/>
                    </a:lnTo>
                    <a:lnTo>
                      <a:pt x="32" y="350"/>
                    </a:lnTo>
                    <a:lnTo>
                      <a:pt x="32" y="350"/>
                    </a:lnTo>
                    <a:lnTo>
                      <a:pt x="32" y="351"/>
                    </a:lnTo>
                    <a:lnTo>
                      <a:pt x="32" y="351"/>
                    </a:lnTo>
                    <a:lnTo>
                      <a:pt x="32" y="353"/>
                    </a:lnTo>
                    <a:lnTo>
                      <a:pt x="32" y="353"/>
                    </a:lnTo>
                    <a:lnTo>
                      <a:pt x="35" y="356"/>
                    </a:lnTo>
                    <a:lnTo>
                      <a:pt x="35" y="356"/>
                    </a:lnTo>
                    <a:lnTo>
                      <a:pt x="35" y="361"/>
                    </a:lnTo>
                    <a:lnTo>
                      <a:pt x="35" y="361"/>
                    </a:lnTo>
                    <a:lnTo>
                      <a:pt x="35" y="366"/>
                    </a:lnTo>
                    <a:lnTo>
                      <a:pt x="35" y="366"/>
                    </a:lnTo>
                    <a:lnTo>
                      <a:pt x="35" y="369"/>
                    </a:lnTo>
                    <a:lnTo>
                      <a:pt x="35" y="369"/>
                    </a:lnTo>
                    <a:lnTo>
                      <a:pt x="35" y="370"/>
                    </a:lnTo>
                    <a:lnTo>
                      <a:pt x="35" y="370"/>
                    </a:lnTo>
                    <a:lnTo>
                      <a:pt x="38" y="372"/>
                    </a:lnTo>
                    <a:lnTo>
                      <a:pt x="38" y="372"/>
                    </a:lnTo>
                    <a:lnTo>
                      <a:pt x="41" y="372"/>
                    </a:lnTo>
                    <a:lnTo>
                      <a:pt x="41" y="372"/>
                    </a:lnTo>
                    <a:lnTo>
                      <a:pt x="43" y="372"/>
                    </a:lnTo>
                    <a:lnTo>
                      <a:pt x="43" y="372"/>
                    </a:lnTo>
                    <a:lnTo>
                      <a:pt x="43" y="372"/>
                    </a:lnTo>
                    <a:lnTo>
                      <a:pt x="43" y="372"/>
                    </a:lnTo>
                    <a:close/>
                    <a:moveTo>
                      <a:pt x="46" y="389"/>
                    </a:moveTo>
                    <a:lnTo>
                      <a:pt x="46" y="389"/>
                    </a:lnTo>
                    <a:lnTo>
                      <a:pt x="45" y="389"/>
                    </a:lnTo>
                    <a:lnTo>
                      <a:pt x="45" y="389"/>
                    </a:lnTo>
                    <a:lnTo>
                      <a:pt x="45" y="391"/>
                    </a:lnTo>
                    <a:lnTo>
                      <a:pt x="45" y="391"/>
                    </a:lnTo>
                    <a:lnTo>
                      <a:pt x="46" y="393"/>
                    </a:lnTo>
                    <a:lnTo>
                      <a:pt x="46" y="393"/>
                    </a:lnTo>
                    <a:lnTo>
                      <a:pt x="48" y="391"/>
                    </a:lnTo>
                    <a:lnTo>
                      <a:pt x="48" y="391"/>
                    </a:lnTo>
                    <a:lnTo>
                      <a:pt x="51" y="391"/>
                    </a:lnTo>
                    <a:lnTo>
                      <a:pt x="51" y="391"/>
                    </a:lnTo>
                    <a:lnTo>
                      <a:pt x="48" y="389"/>
                    </a:lnTo>
                    <a:lnTo>
                      <a:pt x="46" y="389"/>
                    </a:lnTo>
                    <a:lnTo>
                      <a:pt x="46" y="389"/>
                    </a:lnTo>
                    <a:lnTo>
                      <a:pt x="46" y="389"/>
                    </a:lnTo>
                    <a:close/>
                    <a:moveTo>
                      <a:pt x="135" y="528"/>
                    </a:moveTo>
                    <a:lnTo>
                      <a:pt x="135" y="528"/>
                    </a:lnTo>
                    <a:lnTo>
                      <a:pt x="137" y="528"/>
                    </a:lnTo>
                    <a:lnTo>
                      <a:pt x="137" y="528"/>
                    </a:lnTo>
                    <a:lnTo>
                      <a:pt x="134" y="528"/>
                    </a:lnTo>
                    <a:lnTo>
                      <a:pt x="135" y="528"/>
                    </a:lnTo>
                    <a:lnTo>
                      <a:pt x="135" y="528"/>
                    </a:lnTo>
                    <a:lnTo>
                      <a:pt x="135" y="528"/>
                    </a:lnTo>
                    <a:close/>
                    <a:moveTo>
                      <a:pt x="134" y="524"/>
                    </a:moveTo>
                    <a:lnTo>
                      <a:pt x="134" y="524"/>
                    </a:lnTo>
                    <a:lnTo>
                      <a:pt x="132" y="521"/>
                    </a:lnTo>
                    <a:lnTo>
                      <a:pt x="132" y="521"/>
                    </a:lnTo>
                    <a:lnTo>
                      <a:pt x="134" y="521"/>
                    </a:lnTo>
                    <a:lnTo>
                      <a:pt x="134" y="521"/>
                    </a:lnTo>
                    <a:lnTo>
                      <a:pt x="134" y="518"/>
                    </a:lnTo>
                    <a:lnTo>
                      <a:pt x="134" y="518"/>
                    </a:lnTo>
                    <a:lnTo>
                      <a:pt x="132" y="518"/>
                    </a:lnTo>
                    <a:lnTo>
                      <a:pt x="132" y="518"/>
                    </a:lnTo>
                    <a:lnTo>
                      <a:pt x="132" y="518"/>
                    </a:lnTo>
                    <a:lnTo>
                      <a:pt x="132" y="518"/>
                    </a:lnTo>
                    <a:lnTo>
                      <a:pt x="129" y="518"/>
                    </a:lnTo>
                    <a:lnTo>
                      <a:pt x="129" y="518"/>
                    </a:lnTo>
                    <a:lnTo>
                      <a:pt x="129" y="518"/>
                    </a:lnTo>
                    <a:lnTo>
                      <a:pt x="129" y="518"/>
                    </a:lnTo>
                    <a:lnTo>
                      <a:pt x="129" y="521"/>
                    </a:lnTo>
                    <a:lnTo>
                      <a:pt x="129" y="521"/>
                    </a:lnTo>
                    <a:lnTo>
                      <a:pt x="132" y="521"/>
                    </a:lnTo>
                    <a:lnTo>
                      <a:pt x="132" y="521"/>
                    </a:lnTo>
                    <a:lnTo>
                      <a:pt x="132" y="524"/>
                    </a:lnTo>
                    <a:lnTo>
                      <a:pt x="132" y="524"/>
                    </a:lnTo>
                    <a:lnTo>
                      <a:pt x="132" y="524"/>
                    </a:lnTo>
                    <a:lnTo>
                      <a:pt x="134" y="524"/>
                    </a:lnTo>
                    <a:lnTo>
                      <a:pt x="134" y="524"/>
                    </a:lnTo>
                    <a:lnTo>
                      <a:pt x="134" y="52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59" name="Freeform 237">
                <a:extLst>
                  <a:ext uri="{FF2B5EF4-FFF2-40B4-BE49-F238E27FC236}">
                    <a16:creationId xmlns:a16="http://schemas.microsoft.com/office/drawing/2014/main" id="{7A668617-1D11-DB8A-CF75-A10B0DE61198}"/>
                  </a:ext>
                </a:extLst>
              </p:cNvPr>
              <p:cNvSpPr>
                <a:spLocks noEditPoints="1"/>
              </p:cNvSpPr>
              <p:nvPr/>
            </p:nvSpPr>
            <p:spPr bwMode="auto">
              <a:xfrm>
                <a:off x="3858075" y="4731676"/>
                <a:ext cx="455344" cy="1060973"/>
              </a:xfrm>
              <a:custGeom>
                <a:avLst/>
                <a:gdLst>
                  <a:gd name="T0" fmla="*/ 174 w 203"/>
                  <a:gd name="T1" fmla="*/ 416 h 473"/>
                  <a:gd name="T2" fmla="*/ 171 w 203"/>
                  <a:gd name="T3" fmla="*/ 426 h 473"/>
                  <a:gd name="T4" fmla="*/ 178 w 203"/>
                  <a:gd name="T5" fmla="*/ 426 h 473"/>
                  <a:gd name="T6" fmla="*/ 187 w 203"/>
                  <a:gd name="T7" fmla="*/ 419 h 473"/>
                  <a:gd name="T8" fmla="*/ 193 w 203"/>
                  <a:gd name="T9" fmla="*/ 413 h 473"/>
                  <a:gd name="T10" fmla="*/ 184 w 203"/>
                  <a:gd name="T11" fmla="*/ 429 h 473"/>
                  <a:gd name="T12" fmla="*/ 193 w 203"/>
                  <a:gd name="T13" fmla="*/ 426 h 473"/>
                  <a:gd name="T14" fmla="*/ 201 w 203"/>
                  <a:gd name="T15" fmla="*/ 418 h 473"/>
                  <a:gd name="T16" fmla="*/ 173 w 203"/>
                  <a:gd name="T17" fmla="*/ 415 h 473"/>
                  <a:gd name="T18" fmla="*/ 170 w 203"/>
                  <a:gd name="T19" fmla="*/ 467 h 473"/>
                  <a:gd name="T20" fmla="*/ 133 w 203"/>
                  <a:gd name="T21" fmla="*/ 442 h 473"/>
                  <a:gd name="T22" fmla="*/ 155 w 203"/>
                  <a:gd name="T23" fmla="*/ 470 h 473"/>
                  <a:gd name="T24" fmla="*/ 174 w 203"/>
                  <a:gd name="T25" fmla="*/ 469 h 473"/>
                  <a:gd name="T26" fmla="*/ 168 w 203"/>
                  <a:gd name="T27" fmla="*/ 426 h 473"/>
                  <a:gd name="T28" fmla="*/ 166 w 203"/>
                  <a:gd name="T29" fmla="*/ 419 h 473"/>
                  <a:gd name="T30" fmla="*/ 114 w 203"/>
                  <a:gd name="T31" fmla="*/ 426 h 473"/>
                  <a:gd name="T32" fmla="*/ 114 w 203"/>
                  <a:gd name="T33" fmla="*/ 405 h 473"/>
                  <a:gd name="T34" fmla="*/ 117 w 203"/>
                  <a:gd name="T35" fmla="*/ 391 h 473"/>
                  <a:gd name="T36" fmla="*/ 130 w 203"/>
                  <a:gd name="T37" fmla="*/ 370 h 473"/>
                  <a:gd name="T38" fmla="*/ 105 w 203"/>
                  <a:gd name="T39" fmla="*/ 337 h 473"/>
                  <a:gd name="T40" fmla="*/ 119 w 203"/>
                  <a:gd name="T41" fmla="*/ 326 h 473"/>
                  <a:gd name="T42" fmla="*/ 119 w 203"/>
                  <a:gd name="T43" fmla="*/ 304 h 473"/>
                  <a:gd name="T44" fmla="*/ 128 w 203"/>
                  <a:gd name="T45" fmla="*/ 296 h 473"/>
                  <a:gd name="T46" fmla="*/ 111 w 203"/>
                  <a:gd name="T47" fmla="*/ 292 h 473"/>
                  <a:gd name="T48" fmla="*/ 114 w 203"/>
                  <a:gd name="T49" fmla="*/ 277 h 473"/>
                  <a:gd name="T50" fmla="*/ 131 w 203"/>
                  <a:gd name="T51" fmla="*/ 261 h 473"/>
                  <a:gd name="T52" fmla="*/ 143 w 203"/>
                  <a:gd name="T53" fmla="*/ 248 h 473"/>
                  <a:gd name="T54" fmla="*/ 185 w 203"/>
                  <a:gd name="T55" fmla="*/ 215 h 473"/>
                  <a:gd name="T56" fmla="*/ 160 w 203"/>
                  <a:gd name="T57" fmla="*/ 185 h 473"/>
                  <a:gd name="T58" fmla="*/ 157 w 203"/>
                  <a:gd name="T59" fmla="*/ 162 h 473"/>
                  <a:gd name="T60" fmla="*/ 154 w 203"/>
                  <a:gd name="T61" fmla="*/ 132 h 473"/>
                  <a:gd name="T62" fmla="*/ 163 w 203"/>
                  <a:gd name="T63" fmla="*/ 110 h 473"/>
                  <a:gd name="T64" fmla="*/ 184 w 203"/>
                  <a:gd name="T65" fmla="*/ 83 h 473"/>
                  <a:gd name="T66" fmla="*/ 184 w 203"/>
                  <a:gd name="T67" fmla="*/ 54 h 473"/>
                  <a:gd name="T68" fmla="*/ 174 w 203"/>
                  <a:gd name="T69" fmla="*/ 75 h 473"/>
                  <a:gd name="T70" fmla="*/ 157 w 203"/>
                  <a:gd name="T71" fmla="*/ 81 h 473"/>
                  <a:gd name="T72" fmla="*/ 139 w 203"/>
                  <a:gd name="T73" fmla="*/ 65 h 473"/>
                  <a:gd name="T74" fmla="*/ 128 w 203"/>
                  <a:gd name="T75" fmla="*/ 42 h 473"/>
                  <a:gd name="T76" fmla="*/ 90 w 203"/>
                  <a:gd name="T77" fmla="*/ 21 h 473"/>
                  <a:gd name="T78" fmla="*/ 60 w 203"/>
                  <a:gd name="T79" fmla="*/ 4 h 473"/>
                  <a:gd name="T80" fmla="*/ 30 w 203"/>
                  <a:gd name="T81" fmla="*/ 4 h 473"/>
                  <a:gd name="T82" fmla="*/ 17 w 203"/>
                  <a:gd name="T83" fmla="*/ 35 h 473"/>
                  <a:gd name="T84" fmla="*/ 12 w 203"/>
                  <a:gd name="T85" fmla="*/ 65 h 473"/>
                  <a:gd name="T86" fmla="*/ 3 w 203"/>
                  <a:gd name="T87" fmla="*/ 100 h 473"/>
                  <a:gd name="T88" fmla="*/ 1 w 203"/>
                  <a:gd name="T89" fmla="*/ 132 h 473"/>
                  <a:gd name="T90" fmla="*/ 11 w 203"/>
                  <a:gd name="T91" fmla="*/ 159 h 473"/>
                  <a:gd name="T92" fmla="*/ 20 w 203"/>
                  <a:gd name="T93" fmla="*/ 180 h 473"/>
                  <a:gd name="T94" fmla="*/ 17 w 203"/>
                  <a:gd name="T95" fmla="*/ 210 h 473"/>
                  <a:gd name="T96" fmla="*/ 25 w 203"/>
                  <a:gd name="T97" fmla="*/ 242 h 473"/>
                  <a:gd name="T98" fmla="*/ 20 w 203"/>
                  <a:gd name="T99" fmla="*/ 264 h 473"/>
                  <a:gd name="T100" fmla="*/ 31 w 203"/>
                  <a:gd name="T101" fmla="*/ 292 h 473"/>
                  <a:gd name="T102" fmla="*/ 41 w 203"/>
                  <a:gd name="T103" fmla="*/ 313 h 473"/>
                  <a:gd name="T104" fmla="*/ 52 w 203"/>
                  <a:gd name="T105" fmla="*/ 329 h 473"/>
                  <a:gd name="T106" fmla="*/ 52 w 203"/>
                  <a:gd name="T107" fmla="*/ 343 h 473"/>
                  <a:gd name="T108" fmla="*/ 58 w 203"/>
                  <a:gd name="T109" fmla="*/ 366 h 473"/>
                  <a:gd name="T110" fmla="*/ 58 w 203"/>
                  <a:gd name="T111" fmla="*/ 389 h 473"/>
                  <a:gd name="T112" fmla="*/ 60 w 203"/>
                  <a:gd name="T113" fmla="*/ 407 h 473"/>
                  <a:gd name="T114" fmla="*/ 78 w 203"/>
                  <a:gd name="T115" fmla="*/ 415 h 473"/>
                  <a:gd name="T116" fmla="*/ 105 w 203"/>
                  <a:gd name="T117" fmla="*/ 431 h 473"/>
                  <a:gd name="T118" fmla="*/ 130 w 203"/>
                  <a:gd name="T119" fmla="*/ 435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3" h="473">
                    <a:moveTo>
                      <a:pt x="187" y="419"/>
                    </a:moveTo>
                    <a:lnTo>
                      <a:pt x="187" y="416"/>
                    </a:lnTo>
                    <a:lnTo>
                      <a:pt x="187" y="416"/>
                    </a:lnTo>
                    <a:lnTo>
                      <a:pt x="187" y="416"/>
                    </a:lnTo>
                    <a:lnTo>
                      <a:pt x="187" y="415"/>
                    </a:lnTo>
                    <a:lnTo>
                      <a:pt x="185" y="416"/>
                    </a:lnTo>
                    <a:lnTo>
                      <a:pt x="185" y="416"/>
                    </a:lnTo>
                    <a:lnTo>
                      <a:pt x="179" y="416"/>
                    </a:lnTo>
                    <a:lnTo>
                      <a:pt x="178" y="416"/>
                    </a:lnTo>
                    <a:lnTo>
                      <a:pt x="174" y="416"/>
                    </a:lnTo>
                    <a:lnTo>
                      <a:pt x="174" y="416"/>
                    </a:lnTo>
                    <a:lnTo>
                      <a:pt x="174" y="418"/>
                    </a:lnTo>
                    <a:lnTo>
                      <a:pt x="174" y="418"/>
                    </a:lnTo>
                    <a:lnTo>
                      <a:pt x="176" y="418"/>
                    </a:lnTo>
                    <a:lnTo>
                      <a:pt x="179" y="421"/>
                    </a:lnTo>
                    <a:lnTo>
                      <a:pt x="178" y="421"/>
                    </a:lnTo>
                    <a:lnTo>
                      <a:pt x="176" y="423"/>
                    </a:lnTo>
                    <a:lnTo>
                      <a:pt x="174" y="423"/>
                    </a:lnTo>
                    <a:lnTo>
                      <a:pt x="173" y="424"/>
                    </a:lnTo>
                    <a:lnTo>
                      <a:pt x="174" y="426"/>
                    </a:lnTo>
                    <a:lnTo>
                      <a:pt x="174" y="426"/>
                    </a:lnTo>
                    <a:lnTo>
                      <a:pt x="171" y="426"/>
                    </a:lnTo>
                    <a:lnTo>
                      <a:pt x="171" y="426"/>
                    </a:lnTo>
                    <a:lnTo>
                      <a:pt x="171" y="426"/>
                    </a:lnTo>
                    <a:lnTo>
                      <a:pt x="168" y="426"/>
                    </a:lnTo>
                    <a:lnTo>
                      <a:pt x="168" y="427"/>
                    </a:lnTo>
                    <a:lnTo>
                      <a:pt x="171" y="429"/>
                    </a:lnTo>
                    <a:lnTo>
                      <a:pt x="171" y="429"/>
                    </a:lnTo>
                    <a:lnTo>
                      <a:pt x="171" y="429"/>
                    </a:lnTo>
                    <a:lnTo>
                      <a:pt x="173" y="431"/>
                    </a:lnTo>
                    <a:lnTo>
                      <a:pt x="174" y="429"/>
                    </a:lnTo>
                    <a:lnTo>
                      <a:pt x="178" y="427"/>
                    </a:lnTo>
                    <a:lnTo>
                      <a:pt x="178" y="426"/>
                    </a:lnTo>
                    <a:lnTo>
                      <a:pt x="179" y="426"/>
                    </a:lnTo>
                    <a:lnTo>
                      <a:pt x="181" y="426"/>
                    </a:lnTo>
                    <a:lnTo>
                      <a:pt x="181" y="426"/>
                    </a:lnTo>
                    <a:lnTo>
                      <a:pt x="182" y="423"/>
                    </a:lnTo>
                    <a:lnTo>
                      <a:pt x="184" y="423"/>
                    </a:lnTo>
                    <a:lnTo>
                      <a:pt x="185" y="419"/>
                    </a:lnTo>
                    <a:lnTo>
                      <a:pt x="187" y="419"/>
                    </a:lnTo>
                    <a:lnTo>
                      <a:pt x="187" y="419"/>
                    </a:lnTo>
                    <a:lnTo>
                      <a:pt x="187" y="419"/>
                    </a:lnTo>
                    <a:lnTo>
                      <a:pt x="187" y="419"/>
                    </a:lnTo>
                    <a:lnTo>
                      <a:pt x="187" y="419"/>
                    </a:lnTo>
                    <a:lnTo>
                      <a:pt x="187" y="419"/>
                    </a:lnTo>
                    <a:lnTo>
                      <a:pt x="187" y="419"/>
                    </a:lnTo>
                    <a:lnTo>
                      <a:pt x="187" y="419"/>
                    </a:lnTo>
                    <a:lnTo>
                      <a:pt x="187" y="419"/>
                    </a:lnTo>
                    <a:close/>
                    <a:moveTo>
                      <a:pt x="201" y="418"/>
                    </a:moveTo>
                    <a:lnTo>
                      <a:pt x="203" y="418"/>
                    </a:lnTo>
                    <a:lnTo>
                      <a:pt x="200" y="416"/>
                    </a:lnTo>
                    <a:lnTo>
                      <a:pt x="200" y="416"/>
                    </a:lnTo>
                    <a:lnTo>
                      <a:pt x="197" y="416"/>
                    </a:lnTo>
                    <a:lnTo>
                      <a:pt x="195" y="413"/>
                    </a:lnTo>
                    <a:lnTo>
                      <a:pt x="193" y="413"/>
                    </a:lnTo>
                    <a:lnTo>
                      <a:pt x="190" y="413"/>
                    </a:lnTo>
                    <a:lnTo>
                      <a:pt x="190" y="416"/>
                    </a:lnTo>
                    <a:lnTo>
                      <a:pt x="189" y="416"/>
                    </a:lnTo>
                    <a:lnTo>
                      <a:pt x="190" y="423"/>
                    </a:lnTo>
                    <a:lnTo>
                      <a:pt x="189" y="421"/>
                    </a:lnTo>
                    <a:lnTo>
                      <a:pt x="187" y="421"/>
                    </a:lnTo>
                    <a:lnTo>
                      <a:pt x="185" y="423"/>
                    </a:lnTo>
                    <a:lnTo>
                      <a:pt x="184" y="423"/>
                    </a:lnTo>
                    <a:lnTo>
                      <a:pt x="184" y="423"/>
                    </a:lnTo>
                    <a:lnTo>
                      <a:pt x="184" y="427"/>
                    </a:lnTo>
                    <a:lnTo>
                      <a:pt x="184" y="429"/>
                    </a:lnTo>
                    <a:lnTo>
                      <a:pt x="184" y="431"/>
                    </a:lnTo>
                    <a:lnTo>
                      <a:pt x="185" y="432"/>
                    </a:lnTo>
                    <a:lnTo>
                      <a:pt x="187" y="429"/>
                    </a:lnTo>
                    <a:lnTo>
                      <a:pt x="187" y="429"/>
                    </a:lnTo>
                    <a:lnTo>
                      <a:pt x="190" y="429"/>
                    </a:lnTo>
                    <a:lnTo>
                      <a:pt x="189" y="429"/>
                    </a:lnTo>
                    <a:lnTo>
                      <a:pt x="189" y="426"/>
                    </a:lnTo>
                    <a:lnTo>
                      <a:pt x="190" y="426"/>
                    </a:lnTo>
                    <a:lnTo>
                      <a:pt x="192" y="426"/>
                    </a:lnTo>
                    <a:lnTo>
                      <a:pt x="193" y="427"/>
                    </a:lnTo>
                    <a:lnTo>
                      <a:pt x="193" y="426"/>
                    </a:lnTo>
                    <a:lnTo>
                      <a:pt x="190" y="424"/>
                    </a:lnTo>
                    <a:lnTo>
                      <a:pt x="190" y="423"/>
                    </a:lnTo>
                    <a:lnTo>
                      <a:pt x="192" y="423"/>
                    </a:lnTo>
                    <a:lnTo>
                      <a:pt x="197" y="423"/>
                    </a:lnTo>
                    <a:lnTo>
                      <a:pt x="198" y="423"/>
                    </a:lnTo>
                    <a:lnTo>
                      <a:pt x="200" y="421"/>
                    </a:lnTo>
                    <a:lnTo>
                      <a:pt x="201" y="421"/>
                    </a:lnTo>
                    <a:lnTo>
                      <a:pt x="203" y="421"/>
                    </a:lnTo>
                    <a:lnTo>
                      <a:pt x="203" y="419"/>
                    </a:lnTo>
                    <a:lnTo>
                      <a:pt x="201" y="419"/>
                    </a:lnTo>
                    <a:lnTo>
                      <a:pt x="201" y="418"/>
                    </a:lnTo>
                    <a:lnTo>
                      <a:pt x="201" y="418"/>
                    </a:lnTo>
                    <a:lnTo>
                      <a:pt x="201" y="418"/>
                    </a:lnTo>
                    <a:lnTo>
                      <a:pt x="201" y="418"/>
                    </a:lnTo>
                    <a:lnTo>
                      <a:pt x="201" y="418"/>
                    </a:lnTo>
                    <a:lnTo>
                      <a:pt x="201" y="418"/>
                    </a:lnTo>
                    <a:lnTo>
                      <a:pt x="201" y="418"/>
                    </a:lnTo>
                    <a:lnTo>
                      <a:pt x="201" y="418"/>
                    </a:lnTo>
                    <a:lnTo>
                      <a:pt x="201" y="418"/>
                    </a:lnTo>
                    <a:close/>
                    <a:moveTo>
                      <a:pt x="173" y="416"/>
                    </a:moveTo>
                    <a:lnTo>
                      <a:pt x="174" y="416"/>
                    </a:lnTo>
                    <a:lnTo>
                      <a:pt x="173" y="415"/>
                    </a:lnTo>
                    <a:lnTo>
                      <a:pt x="173" y="416"/>
                    </a:lnTo>
                    <a:lnTo>
                      <a:pt x="173" y="416"/>
                    </a:lnTo>
                    <a:lnTo>
                      <a:pt x="173" y="416"/>
                    </a:lnTo>
                    <a:lnTo>
                      <a:pt x="173" y="416"/>
                    </a:lnTo>
                    <a:lnTo>
                      <a:pt x="173" y="416"/>
                    </a:lnTo>
                    <a:lnTo>
                      <a:pt x="173" y="416"/>
                    </a:lnTo>
                    <a:lnTo>
                      <a:pt x="173" y="416"/>
                    </a:lnTo>
                    <a:lnTo>
                      <a:pt x="173" y="416"/>
                    </a:lnTo>
                    <a:lnTo>
                      <a:pt x="173" y="416"/>
                    </a:lnTo>
                    <a:close/>
                    <a:moveTo>
                      <a:pt x="174" y="469"/>
                    </a:moveTo>
                    <a:lnTo>
                      <a:pt x="170" y="467"/>
                    </a:lnTo>
                    <a:lnTo>
                      <a:pt x="165" y="466"/>
                    </a:lnTo>
                    <a:lnTo>
                      <a:pt x="155" y="461"/>
                    </a:lnTo>
                    <a:lnTo>
                      <a:pt x="149" y="456"/>
                    </a:lnTo>
                    <a:lnTo>
                      <a:pt x="143" y="453"/>
                    </a:lnTo>
                    <a:lnTo>
                      <a:pt x="139" y="450"/>
                    </a:lnTo>
                    <a:lnTo>
                      <a:pt x="138" y="448"/>
                    </a:lnTo>
                    <a:lnTo>
                      <a:pt x="135" y="448"/>
                    </a:lnTo>
                    <a:lnTo>
                      <a:pt x="135" y="446"/>
                    </a:lnTo>
                    <a:lnTo>
                      <a:pt x="135" y="445"/>
                    </a:lnTo>
                    <a:lnTo>
                      <a:pt x="136" y="446"/>
                    </a:lnTo>
                    <a:lnTo>
                      <a:pt x="133" y="442"/>
                    </a:lnTo>
                    <a:lnTo>
                      <a:pt x="128" y="439"/>
                    </a:lnTo>
                    <a:lnTo>
                      <a:pt x="130" y="442"/>
                    </a:lnTo>
                    <a:lnTo>
                      <a:pt x="131" y="445"/>
                    </a:lnTo>
                    <a:lnTo>
                      <a:pt x="139" y="461"/>
                    </a:lnTo>
                    <a:lnTo>
                      <a:pt x="143" y="469"/>
                    </a:lnTo>
                    <a:lnTo>
                      <a:pt x="143" y="469"/>
                    </a:lnTo>
                    <a:lnTo>
                      <a:pt x="143" y="470"/>
                    </a:lnTo>
                    <a:lnTo>
                      <a:pt x="146" y="470"/>
                    </a:lnTo>
                    <a:lnTo>
                      <a:pt x="149" y="470"/>
                    </a:lnTo>
                    <a:lnTo>
                      <a:pt x="152" y="470"/>
                    </a:lnTo>
                    <a:lnTo>
                      <a:pt x="155" y="470"/>
                    </a:lnTo>
                    <a:lnTo>
                      <a:pt x="158" y="470"/>
                    </a:lnTo>
                    <a:lnTo>
                      <a:pt x="166" y="473"/>
                    </a:lnTo>
                    <a:lnTo>
                      <a:pt x="171" y="470"/>
                    </a:lnTo>
                    <a:lnTo>
                      <a:pt x="174" y="470"/>
                    </a:lnTo>
                    <a:lnTo>
                      <a:pt x="178" y="470"/>
                    </a:lnTo>
                    <a:lnTo>
                      <a:pt x="181" y="470"/>
                    </a:lnTo>
                    <a:lnTo>
                      <a:pt x="181" y="469"/>
                    </a:lnTo>
                    <a:lnTo>
                      <a:pt x="178" y="467"/>
                    </a:lnTo>
                    <a:lnTo>
                      <a:pt x="174" y="469"/>
                    </a:lnTo>
                    <a:lnTo>
                      <a:pt x="174" y="469"/>
                    </a:lnTo>
                    <a:lnTo>
                      <a:pt x="174" y="469"/>
                    </a:lnTo>
                    <a:lnTo>
                      <a:pt x="174" y="469"/>
                    </a:lnTo>
                    <a:lnTo>
                      <a:pt x="174" y="469"/>
                    </a:lnTo>
                    <a:lnTo>
                      <a:pt x="174" y="469"/>
                    </a:lnTo>
                    <a:lnTo>
                      <a:pt x="174" y="469"/>
                    </a:lnTo>
                    <a:lnTo>
                      <a:pt x="174" y="469"/>
                    </a:lnTo>
                    <a:lnTo>
                      <a:pt x="174" y="469"/>
                    </a:lnTo>
                    <a:close/>
                    <a:moveTo>
                      <a:pt x="166" y="419"/>
                    </a:moveTo>
                    <a:lnTo>
                      <a:pt x="165" y="419"/>
                    </a:lnTo>
                    <a:lnTo>
                      <a:pt x="165" y="423"/>
                    </a:lnTo>
                    <a:lnTo>
                      <a:pt x="168" y="424"/>
                    </a:lnTo>
                    <a:lnTo>
                      <a:pt x="168" y="426"/>
                    </a:lnTo>
                    <a:lnTo>
                      <a:pt x="170" y="424"/>
                    </a:lnTo>
                    <a:lnTo>
                      <a:pt x="170" y="423"/>
                    </a:lnTo>
                    <a:lnTo>
                      <a:pt x="168" y="423"/>
                    </a:lnTo>
                    <a:lnTo>
                      <a:pt x="168" y="423"/>
                    </a:lnTo>
                    <a:lnTo>
                      <a:pt x="166" y="423"/>
                    </a:lnTo>
                    <a:lnTo>
                      <a:pt x="166" y="421"/>
                    </a:lnTo>
                    <a:lnTo>
                      <a:pt x="166" y="419"/>
                    </a:lnTo>
                    <a:lnTo>
                      <a:pt x="166" y="419"/>
                    </a:lnTo>
                    <a:lnTo>
                      <a:pt x="166" y="419"/>
                    </a:lnTo>
                    <a:lnTo>
                      <a:pt x="166" y="419"/>
                    </a:lnTo>
                    <a:lnTo>
                      <a:pt x="166" y="419"/>
                    </a:lnTo>
                    <a:lnTo>
                      <a:pt x="166" y="419"/>
                    </a:lnTo>
                    <a:lnTo>
                      <a:pt x="166" y="419"/>
                    </a:lnTo>
                    <a:lnTo>
                      <a:pt x="166" y="419"/>
                    </a:lnTo>
                    <a:lnTo>
                      <a:pt x="166" y="419"/>
                    </a:lnTo>
                    <a:close/>
                    <a:moveTo>
                      <a:pt x="130" y="435"/>
                    </a:moveTo>
                    <a:lnTo>
                      <a:pt x="127" y="432"/>
                    </a:lnTo>
                    <a:lnTo>
                      <a:pt x="122" y="429"/>
                    </a:lnTo>
                    <a:lnTo>
                      <a:pt x="119" y="427"/>
                    </a:lnTo>
                    <a:lnTo>
                      <a:pt x="117" y="426"/>
                    </a:lnTo>
                    <a:lnTo>
                      <a:pt x="116" y="426"/>
                    </a:lnTo>
                    <a:lnTo>
                      <a:pt x="114" y="426"/>
                    </a:lnTo>
                    <a:lnTo>
                      <a:pt x="116" y="424"/>
                    </a:lnTo>
                    <a:lnTo>
                      <a:pt x="114" y="419"/>
                    </a:lnTo>
                    <a:lnTo>
                      <a:pt x="111" y="418"/>
                    </a:lnTo>
                    <a:lnTo>
                      <a:pt x="111" y="418"/>
                    </a:lnTo>
                    <a:lnTo>
                      <a:pt x="111" y="415"/>
                    </a:lnTo>
                    <a:lnTo>
                      <a:pt x="111" y="413"/>
                    </a:lnTo>
                    <a:lnTo>
                      <a:pt x="111" y="410"/>
                    </a:lnTo>
                    <a:lnTo>
                      <a:pt x="111" y="408"/>
                    </a:lnTo>
                    <a:lnTo>
                      <a:pt x="114" y="408"/>
                    </a:lnTo>
                    <a:lnTo>
                      <a:pt x="114" y="407"/>
                    </a:lnTo>
                    <a:lnTo>
                      <a:pt x="114" y="405"/>
                    </a:lnTo>
                    <a:lnTo>
                      <a:pt x="111" y="404"/>
                    </a:lnTo>
                    <a:lnTo>
                      <a:pt x="111" y="400"/>
                    </a:lnTo>
                    <a:lnTo>
                      <a:pt x="114" y="404"/>
                    </a:lnTo>
                    <a:lnTo>
                      <a:pt x="114" y="405"/>
                    </a:lnTo>
                    <a:lnTo>
                      <a:pt x="117" y="405"/>
                    </a:lnTo>
                    <a:lnTo>
                      <a:pt x="120" y="404"/>
                    </a:lnTo>
                    <a:lnTo>
                      <a:pt x="120" y="400"/>
                    </a:lnTo>
                    <a:lnTo>
                      <a:pt x="119" y="393"/>
                    </a:lnTo>
                    <a:lnTo>
                      <a:pt x="117" y="394"/>
                    </a:lnTo>
                    <a:lnTo>
                      <a:pt x="117" y="393"/>
                    </a:lnTo>
                    <a:lnTo>
                      <a:pt x="117" y="391"/>
                    </a:lnTo>
                    <a:lnTo>
                      <a:pt x="117" y="389"/>
                    </a:lnTo>
                    <a:lnTo>
                      <a:pt x="119" y="389"/>
                    </a:lnTo>
                    <a:lnTo>
                      <a:pt x="124" y="383"/>
                    </a:lnTo>
                    <a:lnTo>
                      <a:pt x="127" y="380"/>
                    </a:lnTo>
                    <a:lnTo>
                      <a:pt x="128" y="378"/>
                    </a:lnTo>
                    <a:lnTo>
                      <a:pt x="131" y="377"/>
                    </a:lnTo>
                    <a:lnTo>
                      <a:pt x="130" y="377"/>
                    </a:lnTo>
                    <a:lnTo>
                      <a:pt x="131" y="375"/>
                    </a:lnTo>
                    <a:lnTo>
                      <a:pt x="130" y="373"/>
                    </a:lnTo>
                    <a:lnTo>
                      <a:pt x="128" y="373"/>
                    </a:lnTo>
                    <a:lnTo>
                      <a:pt x="130" y="370"/>
                    </a:lnTo>
                    <a:lnTo>
                      <a:pt x="128" y="366"/>
                    </a:lnTo>
                    <a:lnTo>
                      <a:pt x="127" y="362"/>
                    </a:lnTo>
                    <a:lnTo>
                      <a:pt x="124" y="362"/>
                    </a:lnTo>
                    <a:lnTo>
                      <a:pt x="120" y="362"/>
                    </a:lnTo>
                    <a:lnTo>
                      <a:pt x="116" y="361"/>
                    </a:lnTo>
                    <a:lnTo>
                      <a:pt x="108" y="356"/>
                    </a:lnTo>
                    <a:lnTo>
                      <a:pt x="103" y="351"/>
                    </a:lnTo>
                    <a:lnTo>
                      <a:pt x="101" y="348"/>
                    </a:lnTo>
                    <a:lnTo>
                      <a:pt x="101" y="345"/>
                    </a:lnTo>
                    <a:lnTo>
                      <a:pt x="103" y="339"/>
                    </a:lnTo>
                    <a:lnTo>
                      <a:pt x="105" y="337"/>
                    </a:lnTo>
                    <a:lnTo>
                      <a:pt x="108" y="337"/>
                    </a:lnTo>
                    <a:lnTo>
                      <a:pt x="108" y="335"/>
                    </a:lnTo>
                    <a:lnTo>
                      <a:pt x="108" y="334"/>
                    </a:lnTo>
                    <a:lnTo>
                      <a:pt x="111" y="334"/>
                    </a:lnTo>
                    <a:lnTo>
                      <a:pt x="116" y="334"/>
                    </a:lnTo>
                    <a:lnTo>
                      <a:pt x="117" y="332"/>
                    </a:lnTo>
                    <a:lnTo>
                      <a:pt x="117" y="331"/>
                    </a:lnTo>
                    <a:lnTo>
                      <a:pt x="116" y="329"/>
                    </a:lnTo>
                    <a:lnTo>
                      <a:pt x="116" y="327"/>
                    </a:lnTo>
                    <a:lnTo>
                      <a:pt x="117" y="326"/>
                    </a:lnTo>
                    <a:lnTo>
                      <a:pt x="119" y="326"/>
                    </a:lnTo>
                    <a:lnTo>
                      <a:pt x="119" y="324"/>
                    </a:lnTo>
                    <a:lnTo>
                      <a:pt x="117" y="321"/>
                    </a:lnTo>
                    <a:lnTo>
                      <a:pt x="117" y="319"/>
                    </a:lnTo>
                    <a:lnTo>
                      <a:pt x="116" y="316"/>
                    </a:lnTo>
                    <a:lnTo>
                      <a:pt x="114" y="313"/>
                    </a:lnTo>
                    <a:lnTo>
                      <a:pt x="116" y="310"/>
                    </a:lnTo>
                    <a:lnTo>
                      <a:pt x="116" y="308"/>
                    </a:lnTo>
                    <a:lnTo>
                      <a:pt x="119" y="307"/>
                    </a:lnTo>
                    <a:lnTo>
                      <a:pt x="120" y="307"/>
                    </a:lnTo>
                    <a:lnTo>
                      <a:pt x="122" y="304"/>
                    </a:lnTo>
                    <a:lnTo>
                      <a:pt x="119" y="304"/>
                    </a:lnTo>
                    <a:lnTo>
                      <a:pt x="116" y="304"/>
                    </a:lnTo>
                    <a:lnTo>
                      <a:pt x="114" y="300"/>
                    </a:lnTo>
                    <a:lnTo>
                      <a:pt x="116" y="299"/>
                    </a:lnTo>
                    <a:lnTo>
                      <a:pt x="119" y="297"/>
                    </a:lnTo>
                    <a:lnTo>
                      <a:pt x="122" y="299"/>
                    </a:lnTo>
                    <a:lnTo>
                      <a:pt x="122" y="302"/>
                    </a:lnTo>
                    <a:lnTo>
                      <a:pt x="125" y="304"/>
                    </a:lnTo>
                    <a:lnTo>
                      <a:pt x="127" y="304"/>
                    </a:lnTo>
                    <a:lnTo>
                      <a:pt x="130" y="302"/>
                    </a:lnTo>
                    <a:lnTo>
                      <a:pt x="130" y="299"/>
                    </a:lnTo>
                    <a:lnTo>
                      <a:pt x="128" y="296"/>
                    </a:lnTo>
                    <a:lnTo>
                      <a:pt x="127" y="292"/>
                    </a:lnTo>
                    <a:lnTo>
                      <a:pt x="124" y="292"/>
                    </a:lnTo>
                    <a:lnTo>
                      <a:pt x="120" y="292"/>
                    </a:lnTo>
                    <a:lnTo>
                      <a:pt x="119" y="294"/>
                    </a:lnTo>
                    <a:lnTo>
                      <a:pt x="120" y="294"/>
                    </a:lnTo>
                    <a:lnTo>
                      <a:pt x="122" y="296"/>
                    </a:lnTo>
                    <a:lnTo>
                      <a:pt x="120" y="296"/>
                    </a:lnTo>
                    <a:lnTo>
                      <a:pt x="116" y="296"/>
                    </a:lnTo>
                    <a:lnTo>
                      <a:pt x="116" y="294"/>
                    </a:lnTo>
                    <a:lnTo>
                      <a:pt x="114" y="294"/>
                    </a:lnTo>
                    <a:lnTo>
                      <a:pt x="111" y="292"/>
                    </a:lnTo>
                    <a:lnTo>
                      <a:pt x="111" y="292"/>
                    </a:lnTo>
                    <a:lnTo>
                      <a:pt x="108" y="289"/>
                    </a:lnTo>
                    <a:lnTo>
                      <a:pt x="108" y="286"/>
                    </a:lnTo>
                    <a:lnTo>
                      <a:pt x="105" y="281"/>
                    </a:lnTo>
                    <a:lnTo>
                      <a:pt x="105" y="278"/>
                    </a:lnTo>
                    <a:lnTo>
                      <a:pt x="103" y="277"/>
                    </a:lnTo>
                    <a:lnTo>
                      <a:pt x="105" y="273"/>
                    </a:lnTo>
                    <a:lnTo>
                      <a:pt x="105" y="272"/>
                    </a:lnTo>
                    <a:lnTo>
                      <a:pt x="108" y="273"/>
                    </a:lnTo>
                    <a:lnTo>
                      <a:pt x="105" y="273"/>
                    </a:lnTo>
                    <a:lnTo>
                      <a:pt x="114" y="277"/>
                    </a:lnTo>
                    <a:lnTo>
                      <a:pt x="119" y="278"/>
                    </a:lnTo>
                    <a:lnTo>
                      <a:pt x="125" y="278"/>
                    </a:lnTo>
                    <a:lnTo>
                      <a:pt x="131" y="277"/>
                    </a:lnTo>
                    <a:lnTo>
                      <a:pt x="135" y="275"/>
                    </a:lnTo>
                    <a:lnTo>
                      <a:pt x="136" y="272"/>
                    </a:lnTo>
                    <a:lnTo>
                      <a:pt x="136" y="270"/>
                    </a:lnTo>
                    <a:lnTo>
                      <a:pt x="135" y="269"/>
                    </a:lnTo>
                    <a:lnTo>
                      <a:pt x="131" y="267"/>
                    </a:lnTo>
                    <a:lnTo>
                      <a:pt x="131" y="265"/>
                    </a:lnTo>
                    <a:lnTo>
                      <a:pt x="133" y="264"/>
                    </a:lnTo>
                    <a:lnTo>
                      <a:pt x="131" y="261"/>
                    </a:lnTo>
                    <a:lnTo>
                      <a:pt x="133" y="261"/>
                    </a:lnTo>
                    <a:lnTo>
                      <a:pt x="133" y="258"/>
                    </a:lnTo>
                    <a:lnTo>
                      <a:pt x="133" y="254"/>
                    </a:lnTo>
                    <a:lnTo>
                      <a:pt x="131" y="253"/>
                    </a:lnTo>
                    <a:lnTo>
                      <a:pt x="128" y="250"/>
                    </a:lnTo>
                    <a:lnTo>
                      <a:pt x="128" y="248"/>
                    </a:lnTo>
                    <a:lnTo>
                      <a:pt x="128" y="246"/>
                    </a:lnTo>
                    <a:lnTo>
                      <a:pt x="127" y="245"/>
                    </a:lnTo>
                    <a:lnTo>
                      <a:pt x="130" y="246"/>
                    </a:lnTo>
                    <a:lnTo>
                      <a:pt x="135" y="248"/>
                    </a:lnTo>
                    <a:lnTo>
                      <a:pt x="143" y="248"/>
                    </a:lnTo>
                    <a:lnTo>
                      <a:pt x="152" y="246"/>
                    </a:lnTo>
                    <a:lnTo>
                      <a:pt x="162" y="243"/>
                    </a:lnTo>
                    <a:lnTo>
                      <a:pt x="171" y="242"/>
                    </a:lnTo>
                    <a:lnTo>
                      <a:pt x="178" y="237"/>
                    </a:lnTo>
                    <a:lnTo>
                      <a:pt x="181" y="235"/>
                    </a:lnTo>
                    <a:lnTo>
                      <a:pt x="181" y="232"/>
                    </a:lnTo>
                    <a:lnTo>
                      <a:pt x="181" y="229"/>
                    </a:lnTo>
                    <a:lnTo>
                      <a:pt x="184" y="223"/>
                    </a:lnTo>
                    <a:lnTo>
                      <a:pt x="185" y="219"/>
                    </a:lnTo>
                    <a:lnTo>
                      <a:pt x="187" y="218"/>
                    </a:lnTo>
                    <a:lnTo>
                      <a:pt x="185" y="215"/>
                    </a:lnTo>
                    <a:lnTo>
                      <a:pt x="185" y="212"/>
                    </a:lnTo>
                    <a:lnTo>
                      <a:pt x="184" y="210"/>
                    </a:lnTo>
                    <a:lnTo>
                      <a:pt x="184" y="210"/>
                    </a:lnTo>
                    <a:lnTo>
                      <a:pt x="181" y="208"/>
                    </a:lnTo>
                    <a:lnTo>
                      <a:pt x="178" y="207"/>
                    </a:lnTo>
                    <a:lnTo>
                      <a:pt x="174" y="202"/>
                    </a:lnTo>
                    <a:lnTo>
                      <a:pt x="174" y="199"/>
                    </a:lnTo>
                    <a:lnTo>
                      <a:pt x="174" y="196"/>
                    </a:lnTo>
                    <a:lnTo>
                      <a:pt x="174" y="194"/>
                    </a:lnTo>
                    <a:lnTo>
                      <a:pt x="168" y="188"/>
                    </a:lnTo>
                    <a:lnTo>
                      <a:pt x="160" y="185"/>
                    </a:lnTo>
                    <a:lnTo>
                      <a:pt x="157" y="183"/>
                    </a:lnTo>
                    <a:lnTo>
                      <a:pt x="155" y="180"/>
                    </a:lnTo>
                    <a:lnTo>
                      <a:pt x="157" y="180"/>
                    </a:lnTo>
                    <a:lnTo>
                      <a:pt x="157" y="178"/>
                    </a:lnTo>
                    <a:lnTo>
                      <a:pt x="157" y="177"/>
                    </a:lnTo>
                    <a:lnTo>
                      <a:pt x="154" y="170"/>
                    </a:lnTo>
                    <a:lnTo>
                      <a:pt x="154" y="167"/>
                    </a:lnTo>
                    <a:lnTo>
                      <a:pt x="154" y="164"/>
                    </a:lnTo>
                    <a:lnTo>
                      <a:pt x="154" y="164"/>
                    </a:lnTo>
                    <a:lnTo>
                      <a:pt x="155" y="164"/>
                    </a:lnTo>
                    <a:lnTo>
                      <a:pt x="157" y="162"/>
                    </a:lnTo>
                    <a:lnTo>
                      <a:pt x="155" y="161"/>
                    </a:lnTo>
                    <a:lnTo>
                      <a:pt x="154" y="158"/>
                    </a:lnTo>
                    <a:lnTo>
                      <a:pt x="154" y="153"/>
                    </a:lnTo>
                    <a:lnTo>
                      <a:pt x="154" y="151"/>
                    </a:lnTo>
                    <a:lnTo>
                      <a:pt x="152" y="148"/>
                    </a:lnTo>
                    <a:lnTo>
                      <a:pt x="154" y="145"/>
                    </a:lnTo>
                    <a:lnTo>
                      <a:pt x="154" y="142"/>
                    </a:lnTo>
                    <a:lnTo>
                      <a:pt x="154" y="140"/>
                    </a:lnTo>
                    <a:lnTo>
                      <a:pt x="154" y="138"/>
                    </a:lnTo>
                    <a:lnTo>
                      <a:pt x="154" y="135"/>
                    </a:lnTo>
                    <a:lnTo>
                      <a:pt x="154" y="132"/>
                    </a:lnTo>
                    <a:lnTo>
                      <a:pt x="154" y="132"/>
                    </a:lnTo>
                    <a:lnTo>
                      <a:pt x="154" y="129"/>
                    </a:lnTo>
                    <a:lnTo>
                      <a:pt x="152" y="127"/>
                    </a:lnTo>
                    <a:lnTo>
                      <a:pt x="154" y="126"/>
                    </a:lnTo>
                    <a:lnTo>
                      <a:pt x="154" y="123"/>
                    </a:lnTo>
                    <a:lnTo>
                      <a:pt x="154" y="121"/>
                    </a:lnTo>
                    <a:lnTo>
                      <a:pt x="157" y="119"/>
                    </a:lnTo>
                    <a:lnTo>
                      <a:pt x="157" y="116"/>
                    </a:lnTo>
                    <a:lnTo>
                      <a:pt x="160" y="115"/>
                    </a:lnTo>
                    <a:lnTo>
                      <a:pt x="162" y="113"/>
                    </a:lnTo>
                    <a:lnTo>
                      <a:pt x="163" y="110"/>
                    </a:lnTo>
                    <a:lnTo>
                      <a:pt x="166" y="104"/>
                    </a:lnTo>
                    <a:lnTo>
                      <a:pt x="170" y="97"/>
                    </a:lnTo>
                    <a:lnTo>
                      <a:pt x="171" y="94"/>
                    </a:lnTo>
                    <a:lnTo>
                      <a:pt x="174" y="94"/>
                    </a:lnTo>
                    <a:lnTo>
                      <a:pt x="174" y="94"/>
                    </a:lnTo>
                    <a:lnTo>
                      <a:pt x="171" y="94"/>
                    </a:lnTo>
                    <a:lnTo>
                      <a:pt x="178" y="91"/>
                    </a:lnTo>
                    <a:lnTo>
                      <a:pt x="178" y="88"/>
                    </a:lnTo>
                    <a:lnTo>
                      <a:pt x="181" y="86"/>
                    </a:lnTo>
                    <a:lnTo>
                      <a:pt x="184" y="85"/>
                    </a:lnTo>
                    <a:lnTo>
                      <a:pt x="184" y="83"/>
                    </a:lnTo>
                    <a:lnTo>
                      <a:pt x="187" y="81"/>
                    </a:lnTo>
                    <a:lnTo>
                      <a:pt x="192" y="78"/>
                    </a:lnTo>
                    <a:lnTo>
                      <a:pt x="195" y="77"/>
                    </a:lnTo>
                    <a:lnTo>
                      <a:pt x="195" y="77"/>
                    </a:lnTo>
                    <a:lnTo>
                      <a:pt x="195" y="75"/>
                    </a:lnTo>
                    <a:lnTo>
                      <a:pt x="195" y="69"/>
                    </a:lnTo>
                    <a:lnTo>
                      <a:pt x="193" y="59"/>
                    </a:lnTo>
                    <a:lnTo>
                      <a:pt x="192" y="58"/>
                    </a:lnTo>
                    <a:lnTo>
                      <a:pt x="189" y="54"/>
                    </a:lnTo>
                    <a:lnTo>
                      <a:pt x="185" y="54"/>
                    </a:lnTo>
                    <a:lnTo>
                      <a:pt x="184" y="54"/>
                    </a:lnTo>
                    <a:lnTo>
                      <a:pt x="184" y="56"/>
                    </a:lnTo>
                    <a:lnTo>
                      <a:pt x="181" y="54"/>
                    </a:lnTo>
                    <a:lnTo>
                      <a:pt x="181" y="56"/>
                    </a:lnTo>
                    <a:lnTo>
                      <a:pt x="181" y="58"/>
                    </a:lnTo>
                    <a:lnTo>
                      <a:pt x="181" y="65"/>
                    </a:lnTo>
                    <a:lnTo>
                      <a:pt x="181" y="69"/>
                    </a:lnTo>
                    <a:lnTo>
                      <a:pt x="181" y="69"/>
                    </a:lnTo>
                    <a:lnTo>
                      <a:pt x="181" y="69"/>
                    </a:lnTo>
                    <a:lnTo>
                      <a:pt x="178" y="73"/>
                    </a:lnTo>
                    <a:lnTo>
                      <a:pt x="178" y="73"/>
                    </a:lnTo>
                    <a:lnTo>
                      <a:pt x="174" y="75"/>
                    </a:lnTo>
                    <a:lnTo>
                      <a:pt x="174" y="78"/>
                    </a:lnTo>
                    <a:lnTo>
                      <a:pt x="171" y="80"/>
                    </a:lnTo>
                    <a:lnTo>
                      <a:pt x="171" y="81"/>
                    </a:lnTo>
                    <a:lnTo>
                      <a:pt x="170" y="80"/>
                    </a:lnTo>
                    <a:lnTo>
                      <a:pt x="168" y="80"/>
                    </a:lnTo>
                    <a:lnTo>
                      <a:pt x="165" y="81"/>
                    </a:lnTo>
                    <a:lnTo>
                      <a:pt x="165" y="83"/>
                    </a:lnTo>
                    <a:lnTo>
                      <a:pt x="162" y="81"/>
                    </a:lnTo>
                    <a:lnTo>
                      <a:pt x="160" y="81"/>
                    </a:lnTo>
                    <a:lnTo>
                      <a:pt x="158" y="81"/>
                    </a:lnTo>
                    <a:lnTo>
                      <a:pt x="157" y="81"/>
                    </a:lnTo>
                    <a:lnTo>
                      <a:pt x="152" y="81"/>
                    </a:lnTo>
                    <a:lnTo>
                      <a:pt x="149" y="81"/>
                    </a:lnTo>
                    <a:lnTo>
                      <a:pt x="143" y="78"/>
                    </a:lnTo>
                    <a:lnTo>
                      <a:pt x="139" y="78"/>
                    </a:lnTo>
                    <a:lnTo>
                      <a:pt x="136" y="80"/>
                    </a:lnTo>
                    <a:lnTo>
                      <a:pt x="136" y="78"/>
                    </a:lnTo>
                    <a:lnTo>
                      <a:pt x="136" y="77"/>
                    </a:lnTo>
                    <a:lnTo>
                      <a:pt x="138" y="72"/>
                    </a:lnTo>
                    <a:lnTo>
                      <a:pt x="139" y="72"/>
                    </a:lnTo>
                    <a:lnTo>
                      <a:pt x="139" y="69"/>
                    </a:lnTo>
                    <a:lnTo>
                      <a:pt x="139" y="65"/>
                    </a:lnTo>
                    <a:lnTo>
                      <a:pt x="139" y="62"/>
                    </a:lnTo>
                    <a:lnTo>
                      <a:pt x="143" y="59"/>
                    </a:lnTo>
                    <a:lnTo>
                      <a:pt x="143" y="56"/>
                    </a:lnTo>
                    <a:lnTo>
                      <a:pt x="146" y="53"/>
                    </a:lnTo>
                    <a:lnTo>
                      <a:pt x="143" y="51"/>
                    </a:lnTo>
                    <a:lnTo>
                      <a:pt x="143" y="48"/>
                    </a:lnTo>
                    <a:lnTo>
                      <a:pt x="139" y="48"/>
                    </a:lnTo>
                    <a:lnTo>
                      <a:pt x="136" y="48"/>
                    </a:lnTo>
                    <a:lnTo>
                      <a:pt x="135" y="45"/>
                    </a:lnTo>
                    <a:lnTo>
                      <a:pt x="133" y="45"/>
                    </a:lnTo>
                    <a:lnTo>
                      <a:pt x="128" y="42"/>
                    </a:lnTo>
                    <a:lnTo>
                      <a:pt x="122" y="38"/>
                    </a:lnTo>
                    <a:lnTo>
                      <a:pt x="116" y="35"/>
                    </a:lnTo>
                    <a:lnTo>
                      <a:pt x="114" y="34"/>
                    </a:lnTo>
                    <a:lnTo>
                      <a:pt x="111" y="32"/>
                    </a:lnTo>
                    <a:lnTo>
                      <a:pt x="108" y="32"/>
                    </a:lnTo>
                    <a:lnTo>
                      <a:pt x="105" y="31"/>
                    </a:lnTo>
                    <a:lnTo>
                      <a:pt x="101" y="31"/>
                    </a:lnTo>
                    <a:lnTo>
                      <a:pt x="98" y="29"/>
                    </a:lnTo>
                    <a:lnTo>
                      <a:pt x="95" y="24"/>
                    </a:lnTo>
                    <a:lnTo>
                      <a:pt x="90" y="21"/>
                    </a:lnTo>
                    <a:lnTo>
                      <a:pt x="90" y="21"/>
                    </a:lnTo>
                    <a:lnTo>
                      <a:pt x="84" y="16"/>
                    </a:lnTo>
                    <a:lnTo>
                      <a:pt x="84" y="13"/>
                    </a:lnTo>
                    <a:lnTo>
                      <a:pt x="81" y="10"/>
                    </a:lnTo>
                    <a:lnTo>
                      <a:pt x="81" y="10"/>
                    </a:lnTo>
                    <a:lnTo>
                      <a:pt x="79" y="10"/>
                    </a:lnTo>
                    <a:lnTo>
                      <a:pt x="76" y="7"/>
                    </a:lnTo>
                    <a:lnTo>
                      <a:pt x="74" y="4"/>
                    </a:lnTo>
                    <a:lnTo>
                      <a:pt x="73" y="4"/>
                    </a:lnTo>
                    <a:lnTo>
                      <a:pt x="70" y="4"/>
                    </a:lnTo>
                    <a:lnTo>
                      <a:pt x="63" y="4"/>
                    </a:lnTo>
                    <a:lnTo>
                      <a:pt x="60" y="4"/>
                    </a:lnTo>
                    <a:lnTo>
                      <a:pt x="58" y="7"/>
                    </a:lnTo>
                    <a:lnTo>
                      <a:pt x="58" y="10"/>
                    </a:lnTo>
                    <a:lnTo>
                      <a:pt x="55" y="15"/>
                    </a:lnTo>
                    <a:lnTo>
                      <a:pt x="52" y="10"/>
                    </a:lnTo>
                    <a:lnTo>
                      <a:pt x="49" y="7"/>
                    </a:lnTo>
                    <a:lnTo>
                      <a:pt x="47" y="4"/>
                    </a:lnTo>
                    <a:lnTo>
                      <a:pt x="43" y="4"/>
                    </a:lnTo>
                    <a:lnTo>
                      <a:pt x="38" y="4"/>
                    </a:lnTo>
                    <a:lnTo>
                      <a:pt x="35" y="2"/>
                    </a:lnTo>
                    <a:lnTo>
                      <a:pt x="30" y="0"/>
                    </a:lnTo>
                    <a:lnTo>
                      <a:pt x="30" y="4"/>
                    </a:lnTo>
                    <a:lnTo>
                      <a:pt x="27" y="7"/>
                    </a:lnTo>
                    <a:lnTo>
                      <a:pt x="24" y="7"/>
                    </a:lnTo>
                    <a:lnTo>
                      <a:pt x="24" y="10"/>
                    </a:lnTo>
                    <a:lnTo>
                      <a:pt x="20" y="15"/>
                    </a:lnTo>
                    <a:lnTo>
                      <a:pt x="20" y="15"/>
                    </a:lnTo>
                    <a:lnTo>
                      <a:pt x="20" y="16"/>
                    </a:lnTo>
                    <a:lnTo>
                      <a:pt x="24" y="21"/>
                    </a:lnTo>
                    <a:lnTo>
                      <a:pt x="24" y="27"/>
                    </a:lnTo>
                    <a:lnTo>
                      <a:pt x="20" y="32"/>
                    </a:lnTo>
                    <a:lnTo>
                      <a:pt x="20" y="34"/>
                    </a:lnTo>
                    <a:lnTo>
                      <a:pt x="17" y="35"/>
                    </a:lnTo>
                    <a:lnTo>
                      <a:pt x="14" y="37"/>
                    </a:lnTo>
                    <a:lnTo>
                      <a:pt x="9" y="38"/>
                    </a:lnTo>
                    <a:lnTo>
                      <a:pt x="8" y="42"/>
                    </a:lnTo>
                    <a:lnTo>
                      <a:pt x="9" y="45"/>
                    </a:lnTo>
                    <a:lnTo>
                      <a:pt x="11" y="48"/>
                    </a:lnTo>
                    <a:lnTo>
                      <a:pt x="9" y="48"/>
                    </a:lnTo>
                    <a:lnTo>
                      <a:pt x="8" y="50"/>
                    </a:lnTo>
                    <a:lnTo>
                      <a:pt x="9" y="54"/>
                    </a:lnTo>
                    <a:lnTo>
                      <a:pt x="12" y="59"/>
                    </a:lnTo>
                    <a:lnTo>
                      <a:pt x="12" y="62"/>
                    </a:lnTo>
                    <a:lnTo>
                      <a:pt x="12" y="65"/>
                    </a:lnTo>
                    <a:lnTo>
                      <a:pt x="11" y="65"/>
                    </a:lnTo>
                    <a:lnTo>
                      <a:pt x="12" y="69"/>
                    </a:lnTo>
                    <a:lnTo>
                      <a:pt x="14" y="72"/>
                    </a:lnTo>
                    <a:lnTo>
                      <a:pt x="14" y="75"/>
                    </a:lnTo>
                    <a:lnTo>
                      <a:pt x="14" y="77"/>
                    </a:lnTo>
                    <a:lnTo>
                      <a:pt x="12" y="77"/>
                    </a:lnTo>
                    <a:lnTo>
                      <a:pt x="11" y="77"/>
                    </a:lnTo>
                    <a:lnTo>
                      <a:pt x="9" y="81"/>
                    </a:lnTo>
                    <a:lnTo>
                      <a:pt x="8" y="89"/>
                    </a:lnTo>
                    <a:lnTo>
                      <a:pt x="4" y="94"/>
                    </a:lnTo>
                    <a:lnTo>
                      <a:pt x="3" y="100"/>
                    </a:lnTo>
                    <a:lnTo>
                      <a:pt x="3" y="105"/>
                    </a:lnTo>
                    <a:lnTo>
                      <a:pt x="1" y="107"/>
                    </a:lnTo>
                    <a:lnTo>
                      <a:pt x="1" y="110"/>
                    </a:lnTo>
                    <a:lnTo>
                      <a:pt x="1" y="113"/>
                    </a:lnTo>
                    <a:lnTo>
                      <a:pt x="4" y="118"/>
                    </a:lnTo>
                    <a:lnTo>
                      <a:pt x="4" y="123"/>
                    </a:lnTo>
                    <a:lnTo>
                      <a:pt x="4" y="124"/>
                    </a:lnTo>
                    <a:lnTo>
                      <a:pt x="3" y="124"/>
                    </a:lnTo>
                    <a:lnTo>
                      <a:pt x="3" y="126"/>
                    </a:lnTo>
                    <a:lnTo>
                      <a:pt x="3" y="127"/>
                    </a:lnTo>
                    <a:lnTo>
                      <a:pt x="1" y="132"/>
                    </a:lnTo>
                    <a:lnTo>
                      <a:pt x="1" y="132"/>
                    </a:lnTo>
                    <a:lnTo>
                      <a:pt x="1" y="135"/>
                    </a:lnTo>
                    <a:lnTo>
                      <a:pt x="0" y="138"/>
                    </a:lnTo>
                    <a:lnTo>
                      <a:pt x="1" y="142"/>
                    </a:lnTo>
                    <a:lnTo>
                      <a:pt x="4" y="145"/>
                    </a:lnTo>
                    <a:lnTo>
                      <a:pt x="6" y="146"/>
                    </a:lnTo>
                    <a:lnTo>
                      <a:pt x="6" y="148"/>
                    </a:lnTo>
                    <a:lnTo>
                      <a:pt x="8" y="151"/>
                    </a:lnTo>
                    <a:lnTo>
                      <a:pt x="11" y="156"/>
                    </a:lnTo>
                    <a:lnTo>
                      <a:pt x="11" y="158"/>
                    </a:lnTo>
                    <a:lnTo>
                      <a:pt x="11" y="159"/>
                    </a:lnTo>
                    <a:lnTo>
                      <a:pt x="12" y="159"/>
                    </a:lnTo>
                    <a:lnTo>
                      <a:pt x="14" y="161"/>
                    </a:lnTo>
                    <a:lnTo>
                      <a:pt x="12" y="164"/>
                    </a:lnTo>
                    <a:lnTo>
                      <a:pt x="14" y="164"/>
                    </a:lnTo>
                    <a:lnTo>
                      <a:pt x="14" y="167"/>
                    </a:lnTo>
                    <a:lnTo>
                      <a:pt x="14" y="164"/>
                    </a:lnTo>
                    <a:lnTo>
                      <a:pt x="17" y="167"/>
                    </a:lnTo>
                    <a:lnTo>
                      <a:pt x="17" y="170"/>
                    </a:lnTo>
                    <a:lnTo>
                      <a:pt x="17" y="175"/>
                    </a:lnTo>
                    <a:lnTo>
                      <a:pt x="20" y="178"/>
                    </a:lnTo>
                    <a:lnTo>
                      <a:pt x="20" y="180"/>
                    </a:lnTo>
                    <a:lnTo>
                      <a:pt x="17" y="181"/>
                    </a:lnTo>
                    <a:lnTo>
                      <a:pt x="17" y="183"/>
                    </a:lnTo>
                    <a:lnTo>
                      <a:pt x="17" y="188"/>
                    </a:lnTo>
                    <a:lnTo>
                      <a:pt x="17" y="191"/>
                    </a:lnTo>
                    <a:lnTo>
                      <a:pt x="17" y="194"/>
                    </a:lnTo>
                    <a:lnTo>
                      <a:pt x="14" y="194"/>
                    </a:lnTo>
                    <a:lnTo>
                      <a:pt x="17" y="196"/>
                    </a:lnTo>
                    <a:lnTo>
                      <a:pt x="17" y="199"/>
                    </a:lnTo>
                    <a:lnTo>
                      <a:pt x="20" y="205"/>
                    </a:lnTo>
                    <a:lnTo>
                      <a:pt x="17" y="207"/>
                    </a:lnTo>
                    <a:lnTo>
                      <a:pt x="17" y="210"/>
                    </a:lnTo>
                    <a:lnTo>
                      <a:pt x="17" y="212"/>
                    </a:lnTo>
                    <a:lnTo>
                      <a:pt x="14" y="212"/>
                    </a:lnTo>
                    <a:lnTo>
                      <a:pt x="14" y="215"/>
                    </a:lnTo>
                    <a:lnTo>
                      <a:pt x="14" y="219"/>
                    </a:lnTo>
                    <a:lnTo>
                      <a:pt x="17" y="223"/>
                    </a:lnTo>
                    <a:lnTo>
                      <a:pt x="17" y="229"/>
                    </a:lnTo>
                    <a:lnTo>
                      <a:pt x="17" y="229"/>
                    </a:lnTo>
                    <a:lnTo>
                      <a:pt x="20" y="232"/>
                    </a:lnTo>
                    <a:lnTo>
                      <a:pt x="24" y="237"/>
                    </a:lnTo>
                    <a:lnTo>
                      <a:pt x="24" y="240"/>
                    </a:lnTo>
                    <a:lnTo>
                      <a:pt x="25" y="242"/>
                    </a:lnTo>
                    <a:lnTo>
                      <a:pt x="25" y="243"/>
                    </a:lnTo>
                    <a:lnTo>
                      <a:pt x="24" y="246"/>
                    </a:lnTo>
                    <a:lnTo>
                      <a:pt x="20" y="246"/>
                    </a:lnTo>
                    <a:lnTo>
                      <a:pt x="20" y="250"/>
                    </a:lnTo>
                    <a:lnTo>
                      <a:pt x="20" y="253"/>
                    </a:lnTo>
                    <a:lnTo>
                      <a:pt x="24" y="258"/>
                    </a:lnTo>
                    <a:lnTo>
                      <a:pt x="20" y="258"/>
                    </a:lnTo>
                    <a:lnTo>
                      <a:pt x="20" y="261"/>
                    </a:lnTo>
                    <a:lnTo>
                      <a:pt x="24" y="261"/>
                    </a:lnTo>
                    <a:lnTo>
                      <a:pt x="24" y="264"/>
                    </a:lnTo>
                    <a:lnTo>
                      <a:pt x="20" y="264"/>
                    </a:lnTo>
                    <a:lnTo>
                      <a:pt x="24" y="265"/>
                    </a:lnTo>
                    <a:lnTo>
                      <a:pt x="24" y="265"/>
                    </a:lnTo>
                    <a:lnTo>
                      <a:pt x="24" y="267"/>
                    </a:lnTo>
                    <a:lnTo>
                      <a:pt x="24" y="272"/>
                    </a:lnTo>
                    <a:lnTo>
                      <a:pt x="25" y="278"/>
                    </a:lnTo>
                    <a:lnTo>
                      <a:pt x="27" y="281"/>
                    </a:lnTo>
                    <a:lnTo>
                      <a:pt x="27" y="285"/>
                    </a:lnTo>
                    <a:lnTo>
                      <a:pt x="28" y="288"/>
                    </a:lnTo>
                    <a:lnTo>
                      <a:pt x="31" y="289"/>
                    </a:lnTo>
                    <a:lnTo>
                      <a:pt x="31" y="292"/>
                    </a:lnTo>
                    <a:lnTo>
                      <a:pt x="31" y="292"/>
                    </a:lnTo>
                    <a:lnTo>
                      <a:pt x="30" y="292"/>
                    </a:lnTo>
                    <a:lnTo>
                      <a:pt x="28" y="294"/>
                    </a:lnTo>
                    <a:lnTo>
                      <a:pt x="30" y="297"/>
                    </a:lnTo>
                    <a:lnTo>
                      <a:pt x="31" y="302"/>
                    </a:lnTo>
                    <a:lnTo>
                      <a:pt x="33" y="305"/>
                    </a:lnTo>
                    <a:lnTo>
                      <a:pt x="36" y="307"/>
                    </a:lnTo>
                    <a:lnTo>
                      <a:pt x="38" y="308"/>
                    </a:lnTo>
                    <a:lnTo>
                      <a:pt x="38" y="310"/>
                    </a:lnTo>
                    <a:lnTo>
                      <a:pt x="38" y="310"/>
                    </a:lnTo>
                    <a:lnTo>
                      <a:pt x="39" y="313"/>
                    </a:lnTo>
                    <a:lnTo>
                      <a:pt x="41" y="313"/>
                    </a:lnTo>
                    <a:lnTo>
                      <a:pt x="41" y="316"/>
                    </a:lnTo>
                    <a:lnTo>
                      <a:pt x="41" y="316"/>
                    </a:lnTo>
                    <a:lnTo>
                      <a:pt x="44" y="319"/>
                    </a:lnTo>
                    <a:lnTo>
                      <a:pt x="43" y="319"/>
                    </a:lnTo>
                    <a:lnTo>
                      <a:pt x="43" y="321"/>
                    </a:lnTo>
                    <a:lnTo>
                      <a:pt x="44" y="323"/>
                    </a:lnTo>
                    <a:lnTo>
                      <a:pt x="46" y="324"/>
                    </a:lnTo>
                    <a:lnTo>
                      <a:pt x="49" y="324"/>
                    </a:lnTo>
                    <a:lnTo>
                      <a:pt x="52" y="324"/>
                    </a:lnTo>
                    <a:lnTo>
                      <a:pt x="52" y="326"/>
                    </a:lnTo>
                    <a:lnTo>
                      <a:pt x="52" y="329"/>
                    </a:lnTo>
                    <a:lnTo>
                      <a:pt x="47" y="331"/>
                    </a:lnTo>
                    <a:lnTo>
                      <a:pt x="46" y="331"/>
                    </a:lnTo>
                    <a:lnTo>
                      <a:pt x="44" y="331"/>
                    </a:lnTo>
                    <a:lnTo>
                      <a:pt x="47" y="332"/>
                    </a:lnTo>
                    <a:lnTo>
                      <a:pt x="49" y="332"/>
                    </a:lnTo>
                    <a:lnTo>
                      <a:pt x="55" y="335"/>
                    </a:lnTo>
                    <a:lnTo>
                      <a:pt x="55" y="337"/>
                    </a:lnTo>
                    <a:lnTo>
                      <a:pt x="55" y="339"/>
                    </a:lnTo>
                    <a:lnTo>
                      <a:pt x="52" y="340"/>
                    </a:lnTo>
                    <a:lnTo>
                      <a:pt x="52" y="342"/>
                    </a:lnTo>
                    <a:lnTo>
                      <a:pt x="52" y="343"/>
                    </a:lnTo>
                    <a:lnTo>
                      <a:pt x="55" y="345"/>
                    </a:lnTo>
                    <a:lnTo>
                      <a:pt x="55" y="348"/>
                    </a:lnTo>
                    <a:lnTo>
                      <a:pt x="52" y="348"/>
                    </a:lnTo>
                    <a:lnTo>
                      <a:pt x="58" y="354"/>
                    </a:lnTo>
                    <a:lnTo>
                      <a:pt x="58" y="354"/>
                    </a:lnTo>
                    <a:lnTo>
                      <a:pt x="58" y="358"/>
                    </a:lnTo>
                    <a:lnTo>
                      <a:pt x="58" y="359"/>
                    </a:lnTo>
                    <a:lnTo>
                      <a:pt x="58" y="361"/>
                    </a:lnTo>
                    <a:lnTo>
                      <a:pt x="58" y="362"/>
                    </a:lnTo>
                    <a:lnTo>
                      <a:pt x="58" y="364"/>
                    </a:lnTo>
                    <a:lnTo>
                      <a:pt x="58" y="366"/>
                    </a:lnTo>
                    <a:lnTo>
                      <a:pt x="58" y="367"/>
                    </a:lnTo>
                    <a:lnTo>
                      <a:pt x="55" y="372"/>
                    </a:lnTo>
                    <a:lnTo>
                      <a:pt x="55" y="375"/>
                    </a:lnTo>
                    <a:lnTo>
                      <a:pt x="58" y="377"/>
                    </a:lnTo>
                    <a:lnTo>
                      <a:pt x="60" y="378"/>
                    </a:lnTo>
                    <a:lnTo>
                      <a:pt x="62" y="380"/>
                    </a:lnTo>
                    <a:lnTo>
                      <a:pt x="60" y="380"/>
                    </a:lnTo>
                    <a:lnTo>
                      <a:pt x="58" y="383"/>
                    </a:lnTo>
                    <a:lnTo>
                      <a:pt x="60" y="386"/>
                    </a:lnTo>
                    <a:lnTo>
                      <a:pt x="60" y="389"/>
                    </a:lnTo>
                    <a:lnTo>
                      <a:pt x="58" y="389"/>
                    </a:lnTo>
                    <a:lnTo>
                      <a:pt x="58" y="391"/>
                    </a:lnTo>
                    <a:lnTo>
                      <a:pt x="55" y="393"/>
                    </a:lnTo>
                    <a:lnTo>
                      <a:pt x="55" y="394"/>
                    </a:lnTo>
                    <a:lnTo>
                      <a:pt x="55" y="394"/>
                    </a:lnTo>
                    <a:lnTo>
                      <a:pt x="55" y="396"/>
                    </a:lnTo>
                    <a:lnTo>
                      <a:pt x="55" y="396"/>
                    </a:lnTo>
                    <a:lnTo>
                      <a:pt x="55" y="397"/>
                    </a:lnTo>
                    <a:lnTo>
                      <a:pt x="58" y="400"/>
                    </a:lnTo>
                    <a:lnTo>
                      <a:pt x="58" y="402"/>
                    </a:lnTo>
                    <a:lnTo>
                      <a:pt x="58" y="405"/>
                    </a:lnTo>
                    <a:lnTo>
                      <a:pt x="60" y="407"/>
                    </a:lnTo>
                    <a:lnTo>
                      <a:pt x="60" y="407"/>
                    </a:lnTo>
                    <a:lnTo>
                      <a:pt x="62" y="408"/>
                    </a:lnTo>
                    <a:lnTo>
                      <a:pt x="62" y="408"/>
                    </a:lnTo>
                    <a:lnTo>
                      <a:pt x="63" y="410"/>
                    </a:lnTo>
                    <a:lnTo>
                      <a:pt x="65" y="412"/>
                    </a:lnTo>
                    <a:lnTo>
                      <a:pt x="66" y="413"/>
                    </a:lnTo>
                    <a:lnTo>
                      <a:pt x="68" y="413"/>
                    </a:lnTo>
                    <a:lnTo>
                      <a:pt x="70" y="412"/>
                    </a:lnTo>
                    <a:lnTo>
                      <a:pt x="74" y="412"/>
                    </a:lnTo>
                    <a:lnTo>
                      <a:pt x="76" y="412"/>
                    </a:lnTo>
                    <a:lnTo>
                      <a:pt x="78" y="415"/>
                    </a:lnTo>
                    <a:lnTo>
                      <a:pt x="78" y="415"/>
                    </a:lnTo>
                    <a:lnTo>
                      <a:pt x="79" y="416"/>
                    </a:lnTo>
                    <a:lnTo>
                      <a:pt x="79" y="419"/>
                    </a:lnTo>
                    <a:lnTo>
                      <a:pt x="81" y="421"/>
                    </a:lnTo>
                    <a:lnTo>
                      <a:pt x="81" y="424"/>
                    </a:lnTo>
                    <a:lnTo>
                      <a:pt x="84" y="427"/>
                    </a:lnTo>
                    <a:lnTo>
                      <a:pt x="87" y="431"/>
                    </a:lnTo>
                    <a:lnTo>
                      <a:pt x="90" y="431"/>
                    </a:lnTo>
                    <a:lnTo>
                      <a:pt x="93" y="432"/>
                    </a:lnTo>
                    <a:lnTo>
                      <a:pt x="97" y="431"/>
                    </a:lnTo>
                    <a:lnTo>
                      <a:pt x="105" y="431"/>
                    </a:lnTo>
                    <a:lnTo>
                      <a:pt x="111" y="432"/>
                    </a:lnTo>
                    <a:lnTo>
                      <a:pt x="119" y="434"/>
                    </a:lnTo>
                    <a:lnTo>
                      <a:pt x="125" y="435"/>
                    </a:lnTo>
                    <a:lnTo>
                      <a:pt x="128" y="435"/>
                    </a:lnTo>
                    <a:lnTo>
                      <a:pt x="130" y="435"/>
                    </a:lnTo>
                    <a:lnTo>
                      <a:pt x="130" y="435"/>
                    </a:lnTo>
                    <a:lnTo>
                      <a:pt x="130" y="435"/>
                    </a:lnTo>
                    <a:lnTo>
                      <a:pt x="130" y="435"/>
                    </a:lnTo>
                    <a:lnTo>
                      <a:pt x="130" y="435"/>
                    </a:lnTo>
                    <a:lnTo>
                      <a:pt x="130" y="435"/>
                    </a:lnTo>
                    <a:lnTo>
                      <a:pt x="130" y="435"/>
                    </a:lnTo>
                    <a:lnTo>
                      <a:pt x="130" y="435"/>
                    </a:lnTo>
                    <a:lnTo>
                      <a:pt x="130" y="435"/>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60" name="Freeform 229">
                <a:extLst>
                  <a:ext uri="{FF2B5EF4-FFF2-40B4-BE49-F238E27FC236}">
                    <a16:creationId xmlns:a16="http://schemas.microsoft.com/office/drawing/2014/main" id="{979B1BFC-D788-5C68-A806-D569DE064C16}"/>
                  </a:ext>
                </a:extLst>
              </p:cNvPr>
              <p:cNvSpPr>
                <a:spLocks/>
              </p:cNvSpPr>
              <p:nvPr/>
            </p:nvSpPr>
            <p:spPr bwMode="auto">
              <a:xfrm>
                <a:off x="5313828" y="1930082"/>
                <a:ext cx="231037" cy="89723"/>
              </a:xfrm>
              <a:custGeom>
                <a:avLst/>
                <a:gdLst>
                  <a:gd name="T0" fmla="*/ 13 w 103"/>
                  <a:gd name="T1" fmla="*/ 13 h 40"/>
                  <a:gd name="T2" fmla="*/ 16 w 103"/>
                  <a:gd name="T3" fmla="*/ 13 h 40"/>
                  <a:gd name="T4" fmla="*/ 22 w 103"/>
                  <a:gd name="T5" fmla="*/ 11 h 40"/>
                  <a:gd name="T6" fmla="*/ 25 w 103"/>
                  <a:gd name="T7" fmla="*/ 13 h 40"/>
                  <a:gd name="T8" fmla="*/ 19 w 103"/>
                  <a:gd name="T9" fmla="*/ 16 h 40"/>
                  <a:gd name="T10" fmla="*/ 11 w 103"/>
                  <a:gd name="T11" fmla="*/ 19 h 40"/>
                  <a:gd name="T12" fmla="*/ 3 w 103"/>
                  <a:gd name="T13" fmla="*/ 19 h 40"/>
                  <a:gd name="T14" fmla="*/ 11 w 103"/>
                  <a:gd name="T15" fmla="*/ 22 h 40"/>
                  <a:gd name="T16" fmla="*/ 19 w 103"/>
                  <a:gd name="T17" fmla="*/ 22 h 40"/>
                  <a:gd name="T18" fmla="*/ 24 w 103"/>
                  <a:gd name="T19" fmla="*/ 22 h 40"/>
                  <a:gd name="T20" fmla="*/ 19 w 103"/>
                  <a:gd name="T21" fmla="*/ 25 h 40"/>
                  <a:gd name="T22" fmla="*/ 24 w 103"/>
                  <a:gd name="T23" fmla="*/ 25 h 40"/>
                  <a:gd name="T24" fmla="*/ 19 w 103"/>
                  <a:gd name="T25" fmla="*/ 29 h 40"/>
                  <a:gd name="T26" fmla="*/ 13 w 103"/>
                  <a:gd name="T27" fmla="*/ 30 h 40"/>
                  <a:gd name="T28" fmla="*/ 19 w 103"/>
                  <a:gd name="T29" fmla="*/ 33 h 40"/>
                  <a:gd name="T30" fmla="*/ 25 w 103"/>
                  <a:gd name="T31" fmla="*/ 33 h 40"/>
                  <a:gd name="T32" fmla="*/ 29 w 103"/>
                  <a:gd name="T33" fmla="*/ 35 h 40"/>
                  <a:gd name="T34" fmla="*/ 32 w 103"/>
                  <a:gd name="T35" fmla="*/ 35 h 40"/>
                  <a:gd name="T36" fmla="*/ 48 w 103"/>
                  <a:gd name="T37" fmla="*/ 40 h 40"/>
                  <a:gd name="T38" fmla="*/ 57 w 103"/>
                  <a:gd name="T39" fmla="*/ 35 h 40"/>
                  <a:gd name="T40" fmla="*/ 65 w 103"/>
                  <a:gd name="T41" fmla="*/ 33 h 40"/>
                  <a:gd name="T42" fmla="*/ 75 w 103"/>
                  <a:gd name="T43" fmla="*/ 32 h 40"/>
                  <a:gd name="T44" fmla="*/ 91 w 103"/>
                  <a:gd name="T45" fmla="*/ 25 h 40"/>
                  <a:gd name="T46" fmla="*/ 94 w 103"/>
                  <a:gd name="T47" fmla="*/ 22 h 40"/>
                  <a:gd name="T48" fmla="*/ 99 w 103"/>
                  <a:gd name="T49" fmla="*/ 19 h 40"/>
                  <a:gd name="T50" fmla="*/ 97 w 103"/>
                  <a:gd name="T51" fmla="*/ 19 h 40"/>
                  <a:gd name="T52" fmla="*/ 103 w 103"/>
                  <a:gd name="T53" fmla="*/ 19 h 40"/>
                  <a:gd name="T54" fmla="*/ 103 w 103"/>
                  <a:gd name="T55" fmla="*/ 16 h 40"/>
                  <a:gd name="T56" fmla="*/ 103 w 103"/>
                  <a:gd name="T57" fmla="*/ 13 h 40"/>
                  <a:gd name="T58" fmla="*/ 94 w 103"/>
                  <a:gd name="T59" fmla="*/ 13 h 40"/>
                  <a:gd name="T60" fmla="*/ 94 w 103"/>
                  <a:gd name="T61" fmla="*/ 8 h 40"/>
                  <a:gd name="T62" fmla="*/ 92 w 103"/>
                  <a:gd name="T63" fmla="*/ 3 h 40"/>
                  <a:gd name="T64" fmla="*/ 91 w 103"/>
                  <a:gd name="T65" fmla="*/ 2 h 40"/>
                  <a:gd name="T66" fmla="*/ 84 w 103"/>
                  <a:gd name="T67" fmla="*/ 2 h 40"/>
                  <a:gd name="T68" fmla="*/ 78 w 103"/>
                  <a:gd name="T69" fmla="*/ 0 h 40"/>
                  <a:gd name="T70" fmla="*/ 72 w 103"/>
                  <a:gd name="T71" fmla="*/ 3 h 40"/>
                  <a:gd name="T72" fmla="*/ 62 w 103"/>
                  <a:gd name="T73" fmla="*/ 3 h 40"/>
                  <a:gd name="T74" fmla="*/ 60 w 103"/>
                  <a:gd name="T75" fmla="*/ 11 h 40"/>
                  <a:gd name="T76" fmla="*/ 52 w 103"/>
                  <a:gd name="T77" fmla="*/ 5 h 40"/>
                  <a:gd name="T78" fmla="*/ 48 w 103"/>
                  <a:gd name="T79" fmla="*/ 9 h 40"/>
                  <a:gd name="T80" fmla="*/ 41 w 103"/>
                  <a:gd name="T81" fmla="*/ 5 h 40"/>
                  <a:gd name="T82" fmla="*/ 38 w 103"/>
                  <a:gd name="T83" fmla="*/ 11 h 40"/>
                  <a:gd name="T84" fmla="*/ 33 w 103"/>
                  <a:gd name="T85" fmla="*/ 13 h 40"/>
                  <a:gd name="T86" fmla="*/ 30 w 103"/>
                  <a:gd name="T87" fmla="*/ 14 h 40"/>
                  <a:gd name="T88" fmla="*/ 25 w 103"/>
                  <a:gd name="T89" fmla="*/ 9 h 40"/>
                  <a:gd name="T90" fmla="*/ 29 w 103"/>
                  <a:gd name="T91" fmla="*/ 6 h 40"/>
                  <a:gd name="T92" fmla="*/ 25 w 103"/>
                  <a:gd name="T93" fmla="*/ 3 h 40"/>
                  <a:gd name="T94" fmla="*/ 16 w 103"/>
                  <a:gd name="T95" fmla="*/ 0 h 40"/>
                  <a:gd name="T96" fmla="*/ 19 w 103"/>
                  <a:gd name="T97" fmla="*/ 3 h 40"/>
                  <a:gd name="T98" fmla="*/ 19 w 103"/>
                  <a:gd name="T99" fmla="*/ 8 h 40"/>
                  <a:gd name="T100" fmla="*/ 16 w 103"/>
                  <a:gd name="T101" fmla="*/ 6 h 40"/>
                  <a:gd name="T102" fmla="*/ 13 w 103"/>
                  <a:gd name="T103" fmla="*/ 3 h 40"/>
                  <a:gd name="T104" fmla="*/ 11 w 103"/>
                  <a:gd name="T105" fmla="*/ 6 h 40"/>
                  <a:gd name="T106" fmla="*/ 11 w 103"/>
                  <a:gd name="T107" fmla="*/ 8 h 40"/>
                  <a:gd name="T108" fmla="*/ 11 w 103"/>
                  <a:gd name="T109" fmla="*/ 9 h 40"/>
                  <a:gd name="T110" fmla="*/ 8 w 103"/>
                  <a:gd name="T111" fmla="*/ 9 h 40"/>
                  <a:gd name="T112" fmla="*/ 5 w 103"/>
                  <a:gd name="T113" fmla="*/ 11 h 40"/>
                  <a:gd name="T114" fmla="*/ 0 w 103"/>
                  <a:gd name="T115" fmla="*/ 13 h 40"/>
                  <a:gd name="T116" fmla="*/ 5 w 103"/>
                  <a:gd name="T117" fmla="*/ 1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 h="40">
                    <a:moveTo>
                      <a:pt x="5" y="14"/>
                    </a:moveTo>
                    <a:lnTo>
                      <a:pt x="5" y="14"/>
                    </a:lnTo>
                    <a:lnTo>
                      <a:pt x="11" y="13"/>
                    </a:lnTo>
                    <a:lnTo>
                      <a:pt x="11" y="13"/>
                    </a:lnTo>
                    <a:lnTo>
                      <a:pt x="11" y="13"/>
                    </a:lnTo>
                    <a:lnTo>
                      <a:pt x="13" y="13"/>
                    </a:lnTo>
                    <a:lnTo>
                      <a:pt x="13" y="13"/>
                    </a:lnTo>
                    <a:lnTo>
                      <a:pt x="13" y="13"/>
                    </a:lnTo>
                    <a:lnTo>
                      <a:pt x="13" y="11"/>
                    </a:lnTo>
                    <a:lnTo>
                      <a:pt x="16" y="11"/>
                    </a:lnTo>
                    <a:lnTo>
                      <a:pt x="16" y="13"/>
                    </a:lnTo>
                    <a:lnTo>
                      <a:pt x="16" y="13"/>
                    </a:lnTo>
                    <a:lnTo>
                      <a:pt x="19" y="11"/>
                    </a:lnTo>
                    <a:lnTo>
                      <a:pt x="19" y="11"/>
                    </a:lnTo>
                    <a:lnTo>
                      <a:pt x="19" y="13"/>
                    </a:lnTo>
                    <a:lnTo>
                      <a:pt x="19" y="13"/>
                    </a:lnTo>
                    <a:lnTo>
                      <a:pt x="22" y="11"/>
                    </a:lnTo>
                    <a:lnTo>
                      <a:pt x="22" y="11"/>
                    </a:lnTo>
                    <a:lnTo>
                      <a:pt x="19" y="13"/>
                    </a:lnTo>
                    <a:lnTo>
                      <a:pt x="19" y="13"/>
                    </a:lnTo>
                    <a:lnTo>
                      <a:pt x="22" y="13"/>
                    </a:lnTo>
                    <a:lnTo>
                      <a:pt x="22" y="13"/>
                    </a:lnTo>
                    <a:lnTo>
                      <a:pt x="22" y="13"/>
                    </a:lnTo>
                    <a:lnTo>
                      <a:pt x="25" y="13"/>
                    </a:lnTo>
                    <a:lnTo>
                      <a:pt x="25" y="13"/>
                    </a:lnTo>
                    <a:lnTo>
                      <a:pt x="22" y="14"/>
                    </a:lnTo>
                    <a:lnTo>
                      <a:pt x="16" y="16"/>
                    </a:lnTo>
                    <a:lnTo>
                      <a:pt x="16" y="16"/>
                    </a:lnTo>
                    <a:lnTo>
                      <a:pt x="19" y="16"/>
                    </a:lnTo>
                    <a:lnTo>
                      <a:pt x="19" y="16"/>
                    </a:lnTo>
                    <a:lnTo>
                      <a:pt x="24" y="16"/>
                    </a:lnTo>
                    <a:lnTo>
                      <a:pt x="24" y="16"/>
                    </a:lnTo>
                    <a:lnTo>
                      <a:pt x="22" y="19"/>
                    </a:lnTo>
                    <a:lnTo>
                      <a:pt x="16" y="19"/>
                    </a:lnTo>
                    <a:lnTo>
                      <a:pt x="13" y="19"/>
                    </a:lnTo>
                    <a:lnTo>
                      <a:pt x="11" y="19"/>
                    </a:lnTo>
                    <a:lnTo>
                      <a:pt x="11" y="19"/>
                    </a:lnTo>
                    <a:lnTo>
                      <a:pt x="10" y="19"/>
                    </a:lnTo>
                    <a:lnTo>
                      <a:pt x="8" y="19"/>
                    </a:lnTo>
                    <a:lnTo>
                      <a:pt x="8" y="19"/>
                    </a:lnTo>
                    <a:lnTo>
                      <a:pt x="3" y="19"/>
                    </a:lnTo>
                    <a:lnTo>
                      <a:pt x="3" y="19"/>
                    </a:lnTo>
                    <a:lnTo>
                      <a:pt x="2" y="19"/>
                    </a:lnTo>
                    <a:lnTo>
                      <a:pt x="2" y="22"/>
                    </a:lnTo>
                    <a:lnTo>
                      <a:pt x="3" y="22"/>
                    </a:lnTo>
                    <a:lnTo>
                      <a:pt x="5" y="22"/>
                    </a:lnTo>
                    <a:lnTo>
                      <a:pt x="5" y="22"/>
                    </a:lnTo>
                    <a:lnTo>
                      <a:pt x="11" y="22"/>
                    </a:lnTo>
                    <a:lnTo>
                      <a:pt x="11" y="22"/>
                    </a:lnTo>
                    <a:lnTo>
                      <a:pt x="13" y="22"/>
                    </a:lnTo>
                    <a:lnTo>
                      <a:pt x="13" y="22"/>
                    </a:lnTo>
                    <a:lnTo>
                      <a:pt x="16" y="22"/>
                    </a:lnTo>
                    <a:lnTo>
                      <a:pt x="19" y="22"/>
                    </a:lnTo>
                    <a:lnTo>
                      <a:pt x="19" y="22"/>
                    </a:lnTo>
                    <a:lnTo>
                      <a:pt x="16" y="24"/>
                    </a:lnTo>
                    <a:lnTo>
                      <a:pt x="16" y="24"/>
                    </a:lnTo>
                    <a:lnTo>
                      <a:pt x="19" y="25"/>
                    </a:lnTo>
                    <a:lnTo>
                      <a:pt x="19" y="25"/>
                    </a:lnTo>
                    <a:lnTo>
                      <a:pt x="22" y="24"/>
                    </a:lnTo>
                    <a:lnTo>
                      <a:pt x="24" y="22"/>
                    </a:lnTo>
                    <a:lnTo>
                      <a:pt x="24" y="22"/>
                    </a:lnTo>
                    <a:lnTo>
                      <a:pt x="22" y="24"/>
                    </a:lnTo>
                    <a:lnTo>
                      <a:pt x="22" y="24"/>
                    </a:lnTo>
                    <a:lnTo>
                      <a:pt x="22" y="24"/>
                    </a:lnTo>
                    <a:lnTo>
                      <a:pt x="19" y="25"/>
                    </a:lnTo>
                    <a:lnTo>
                      <a:pt x="19" y="25"/>
                    </a:lnTo>
                    <a:lnTo>
                      <a:pt x="22" y="25"/>
                    </a:lnTo>
                    <a:lnTo>
                      <a:pt x="22" y="25"/>
                    </a:lnTo>
                    <a:lnTo>
                      <a:pt x="19" y="27"/>
                    </a:lnTo>
                    <a:lnTo>
                      <a:pt x="19" y="27"/>
                    </a:lnTo>
                    <a:lnTo>
                      <a:pt x="22" y="27"/>
                    </a:lnTo>
                    <a:lnTo>
                      <a:pt x="24" y="25"/>
                    </a:lnTo>
                    <a:lnTo>
                      <a:pt x="24" y="25"/>
                    </a:lnTo>
                    <a:lnTo>
                      <a:pt x="22" y="27"/>
                    </a:lnTo>
                    <a:lnTo>
                      <a:pt x="19" y="29"/>
                    </a:lnTo>
                    <a:lnTo>
                      <a:pt x="22" y="29"/>
                    </a:lnTo>
                    <a:lnTo>
                      <a:pt x="22" y="29"/>
                    </a:lnTo>
                    <a:lnTo>
                      <a:pt x="19" y="29"/>
                    </a:lnTo>
                    <a:lnTo>
                      <a:pt x="19" y="29"/>
                    </a:lnTo>
                    <a:lnTo>
                      <a:pt x="16" y="30"/>
                    </a:lnTo>
                    <a:lnTo>
                      <a:pt x="16" y="30"/>
                    </a:lnTo>
                    <a:lnTo>
                      <a:pt x="16" y="30"/>
                    </a:lnTo>
                    <a:lnTo>
                      <a:pt x="13" y="32"/>
                    </a:lnTo>
                    <a:lnTo>
                      <a:pt x="13" y="30"/>
                    </a:lnTo>
                    <a:lnTo>
                      <a:pt x="13" y="30"/>
                    </a:lnTo>
                    <a:lnTo>
                      <a:pt x="11" y="32"/>
                    </a:lnTo>
                    <a:lnTo>
                      <a:pt x="11" y="33"/>
                    </a:lnTo>
                    <a:lnTo>
                      <a:pt x="11" y="33"/>
                    </a:lnTo>
                    <a:lnTo>
                      <a:pt x="19" y="33"/>
                    </a:lnTo>
                    <a:lnTo>
                      <a:pt x="19" y="33"/>
                    </a:lnTo>
                    <a:lnTo>
                      <a:pt x="22" y="33"/>
                    </a:lnTo>
                    <a:lnTo>
                      <a:pt x="22" y="33"/>
                    </a:lnTo>
                    <a:lnTo>
                      <a:pt x="25" y="32"/>
                    </a:lnTo>
                    <a:lnTo>
                      <a:pt x="27" y="32"/>
                    </a:lnTo>
                    <a:lnTo>
                      <a:pt x="25" y="33"/>
                    </a:lnTo>
                    <a:lnTo>
                      <a:pt x="25" y="33"/>
                    </a:lnTo>
                    <a:lnTo>
                      <a:pt x="27" y="33"/>
                    </a:lnTo>
                    <a:lnTo>
                      <a:pt x="29" y="33"/>
                    </a:lnTo>
                    <a:lnTo>
                      <a:pt x="29" y="33"/>
                    </a:lnTo>
                    <a:lnTo>
                      <a:pt x="30" y="33"/>
                    </a:lnTo>
                    <a:lnTo>
                      <a:pt x="29" y="35"/>
                    </a:lnTo>
                    <a:lnTo>
                      <a:pt x="29" y="35"/>
                    </a:lnTo>
                    <a:lnTo>
                      <a:pt x="32" y="35"/>
                    </a:lnTo>
                    <a:lnTo>
                      <a:pt x="33" y="33"/>
                    </a:lnTo>
                    <a:lnTo>
                      <a:pt x="33" y="35"/>
                    </a:lnTo>
                    <a:lnTo>
                      <a:pt x="33" y="35"/>
                    </a:lnTo>
                    <a:lnTo>
                      <a:pt x="32" y="35"/>
                    </a:lnTo>
                    <a:lnTo>
                      <a:pt x="32" y="35"/>
                    </a:lnTo>
                    <a:lnTo>
                      <a:pt x="33" y="36"/>
                    </a:lnTo>
                    <a:lnTo>
                      <a:pt x="35" y="36"/>
                    </a:lnTo>
                    <a:lnTo>
                      <a:pt x="38" y="36"/>
                    </a:lnTo>
                    <a:lnTo>
                      <a:pt x="38" y="36"/>
                    </a:lnTo>
                    <a:lnTo>
                      <a:pt x="48" y="40"/>
                    </a:lnTo>
                    <a:lnTo>
                      <a:pt x="48" y="40"/>
                    </a:lnTo>
                    <a:lnTo>
                      <a:pt x="52" y="36"/>
                    </a:lnTo>
                    <a:lnTo>
                      <a:pt x="52" y="36"/>
                    </a:lnTo>
                    <a:lnTo>
                      <a:pt x="56" y="36"/>
                    </a:lnTo>
                    <a:lnTo>
                      <a:pt x="56" y="36"/>
                    </a:lnTo>
                    <a:lnTo>
                      <a:pt x="57" y="36"/>
                    </a:lnTo>
                    <a:lnTo>
                      <a:pt x="57" y="35"/>
                    </a:lnTo>
                    <a:lnTo>
                      <a:pt x="57" y="35"/>
                    </a:lnTo>
                    <a:lnTo>
                      <a:pt x="57" y="35"/>
                    </a:lnTo>
                    <a:lnTo>
                      <a:pt x="57" y="35"/>
                    </a:lnTo>
                    <a:lnTo>
                      <a:pt x="62" y="35"/>
                    </a:lnTo>
                    <a:lnTo>
                      <a:pt x="62" y="35"/>
                    </a:lnTo>
                    <a:lnTo>
                      <a:pt x="65" y="33"/>
                    </a:lnTo>
                    <a:lnTo>
                      <a:pt x="67" y="32"/>
                    </a:lnTo>
                    <a:lnTo>
                      <a:pt x="67" y="32"/>
                    </a:lnTo>
                    <a:lnTo>
                      <a:pt x="68" y="33"/>
                    </a:lnTo>
                    <a:lnTo>
                      <a:pt x="68" y="33"/>
                    </a:lnTo>
                    <a:lnTo>
                      <a:pt x="75" y="32"/>
                    </a:lnTo>
                    <a:lnTo>
                      <a:pt x="75" y="32"/>
                    </a:lnTo>
                    <a:lnTo>
                      <a:pt x="83" y="27"/>
                    </a:lnTo>
                    <a:lnTo>
                      <a:pt x="83" y="27"/>
                    </a:lnTo>
                    <a:lnTo>
                      <a:pt x="84" y="27"/>
                    </a:lnTo>
                    <a:lnTo>
                      <a:pt x="87" y="27"/>
                    </a:lnTo>
                    <a:lnTo>
                      <a:pt x="87" y="27"/>
                    </a:lnTo>
                    <a:lnTo>
                      <a:pt x="91" y="25"/>
                    </a:lnTo>
                    <a:lnTo>
                      <a:pt x="92" y="24"/>
                    </a:lnTo>
                    <a:lnTo>
                      <a:pt x="92" y="24"/>
                    </a:lnTo>
                    <a:lnTo>
                      <a:pt x="92" y="24"/>
                    </a:lnTo>
                    <a:lnTo>
                      <a:pt x="94" y="22"/>
                    </a:lnTo>
                    <a:lnTo>
                      <a:pt x="94" y="22"/>
                    </a:lnTo>
                    <a:lnTo>
                      <a:pt x="94" y="22"/>
                    </a:lnTo>
                    <a:lnTo>
                      <a:pt x="94" y="22"/>
                    </a:lnTo>
                    <a:lnTo>
                      <a:pt x="95" y="22"/>
                    </a:lnTo>
                    <a:lnTo>
                      <a:pt x="97" y="22"/>
                    </a:lnTo>
                    <a:lnTo>
                      <a:pt x="100" y="22"/>
                    </a:lnTo>
                    <a:lnTo>
                      <a:pt x="100" y="22"/>
                    </a:lnTo>
                    <a:lnTo>
                      <a:pt x="99" y="19"/>
                    </a:lnTo>
                    <a:lnTo>
                      <a:pt x="100" y="19"/>
                    </a:lnTo>
                    <a:lnTo>
                      <a:pt x="99" y="19"/>
                    </a:lnTo>
                    <a:lnTo>
                      <a:pt x="99" y="19"/>
                    </a:lnTo>
                    <a:lnTo>
                      <a:pt x="102" y="19"/>
                    </a:lnTo>
                    <a:lnTo>
                      <a:pt x="102" y="19"/>
                    </a:lnTo>
                    <a:lnTo>
                      <a:pt x="97" y="19"/>
                    </a:lnTo>
                    <a:lnTo>
                      <a:pt x="97" y="19"/>
                    </a:lnTo>
                    <a:lnTo>
                      <a:pt x="99" y="19"/>
                    </a:lnTo>
                    <a:lnTo>
                      <a:pt x="100" y="19"/>
                    </a:lnTo>
                    <a:lnTo>
                      <a:pt x="102" y="19"/>
                    </a:lnTo>
                    <a:lnTo>
                      <a:pt x="103" y="19"/>
                    </a:lnTo>
                    <a:lnTo>
                      <a:pt x="103" y="19"/>
                    </a:lnTo>
                    <a:lnTo>
                      <a:pt x="103" y="16"/>
                    </a:lnTo>
                    <a:lnTo>
                      <a:pt x="103" y="16"/>
                    </a:lnTo>
                    <a:lnTo>
                      <a:pt x="100" y="16"/>
                    </a:lnTo>
                    <a:lnTo>
                      <a:pt x="100" y="16"/>
                    </a:lnTo>
                    <a:lnTo>
                      <a:pt x="103" y="16"/>
                    </a:lnTo>
                    <a:lnTo>
                      <a:pt x="103" y="16"/>
                    </a:lnTo>
                    <a:lnTo>
                      <a:pt x="100" y="16"/>
                    </a:lnTo>
                    <a:lnTo>
                      <a:pt x="100" y="16"/>
                    </a:lnTo>
                    <a:lnTo>
                      <a:pt x="102" y="14"/>
                    </a:lnTo>
                    <a:lnTo>
                      <a:pt x="103" y="14"/>
                    </a:lnTo>
                    <a:lnTo>
                      <a:pt x="103" y="13"/>
                    </a:lnTo>
                    <a:lnTo>
                      <a:pt x="103" y="13"/>
                    </a:lnTo>
                    <a:lnTo>
                      <a:pt x="102" y="13"/>
                    </a:lnTo>
                    <a:lnTo>
                      <a:pt x="99" y="11"/>
                    </a:lnTo>
                    <a:lnTo>
                      <a:pt x="99" y="11"/>
                    </a:lnTo>
                    <a:lnTo>
                      <a:pt x="97" y="11"/>
                    </a:lnTo>
                    <a:lnTo>
                      <a:pt x="94" y="13"/>
                    </a:lnTo>
                    <a:lnTo>
                      <a:pt x="94" y="13"/>
                    </a:lnTo>
                    <a:lnTo>
                      <a:pt x="97" y="11"/>
                    </a:lnTo>
                    <a:lnTo>
                      <a:pt x="97" y="9"/>
                    </a:lnTo>
                    <a:lnTo>
                      <a:pt x="97" y="9"/>
                    </a:lnTo>
                    <a:lnTo>
                      <a:pt x="92" y="9"/>
                    </a:lnTo>
                    <a:lnTo>
                      <a:pt x="92" y="9"/>
                    </a:lnTo>
                    <a:lnTo>
                      <a:pt x="94" y="8"/>
                    </a:lnTo>
                    <a:lnTo>
                      <a:pt x="95" y="6"/>
                    </a:lnTo>
                    <a:lnTo>
                      <a:pt x="95" y="6"/>
                    </a:lnTo>
                    <a:lnTo>
                      <a:pt x="92" y="5"/>
                    </a:lnTo>
                    <a:lnTo>
                      <a:pt x="91" y="5"/>
                    </a:lnTo>
                    <a:lnTo>
                      <a:pt x="91" y="5"/>
                    </a:lnTo>
                    <a:lnTo>
                      <a:pt x="92" y="3"/>
                    </a:lnTo>
                    <a:lnTo>
                      <a:pt x="92" y="3"/>
                    </a:lnTo>
                    <a:lnTo>
                      <a:pt x="92" y="3"/>
                    </a:lnTo>
                    <a:lnTo>
                      <a:pt x="94" y="2"/>
                    </a:lnTo>
                    <a:lnTo>
                      <a:pt x="97" y="2"/>
                    </a:lnTo>
                    <a:lnTo>
                      <a:pt x="97" y="2"/>
                    </a:lnTo>
                    <a:lnTo>
                      <a:pt x="91" y="2"/>
                    </a:lnTo>
                    <a:lnTo>
                      <a:pt x="89" y="3"/>
                    </a:lnTo>
                    <a:lnTo>
                      <a:pt x="87" y="5"/>
                    </a:lnTo>
                    <a:lnTo>
                      <a:pt x="87" y="5"/>
                    </a:lnTo>
                    <a:lnTo>
                      <a:pt x="86" y="3"/>
                    </a:lnTo>
                    <a:lnTo>
                      <a:pt x="84" y="2"/>
                    </a:lnTo>
                    <a:lnTo>
                      <a:pt x="84" y="2"/>
                    </a:lnTo>
                    <a:lnTo>
                      <a:pt x="84" y="0"/>
                    </a:lnTo>
                    <a:lnTo>
                      <a:pt x="83" y="0"/>
                    </a:lnTo>
                    <a:lnTo>
                      <a:pt x="79" y="0"/>
                    </a:lnTo>
                    <a:lnTo>
                      <a:pt x="79" y="0"/>
                    </a:lnTo>
                    <a:lnTo>
                      <a:pt x="78" y="0"/>
                    </a:lnTo>
                    <a:lnTo>
                      <a:pt x="78" y="0"/>
                    </a:lnTo>
                    <a:lnTo>
                      <a:pt x="78" y="0"/>
                    </a:lnTo>
                    <a:lnTo>
                      <a:pt x="78" y="0"/>
                    </a:lnTo>
                    <a:lnTo>
                      <a:pt x="78" y="3"/>
                    </a:lnTo>
                    <a:lnTo>
                      <a:pt x="78" y="5"/>
                    </a:lnTo>
                    <a:lnTo>
                      <a:pt x="78" y="5"/>
                    </a:lnTo>
                    <a:lnTo>
                      <a:pt x="72" y="3"/>
                    </a:lnTo>
                    <a:lnTo>
                      <a:pt x="72" y="3"/>
                    </a:lnTo>
                    <a:lnTo>
                      <a:pt x="68" y="5"/>
                    </a:lnTo>
                    <a:lnTo>
                      <a:pt x="67" y="8"/>
                    </a:lnTo>
                    <a:lnTo>
                      <a:pt x="67" y="8"/>
                    </a:lnTo>
                    <a:lnTo>
                      <a:pt x="64" y="5"/>
                    </a:lnTo>
                    <a:lnTo>
                      <a:pt x="62" y="3"/>
                    </a:lnTo>
                    <a:lnTo>
                      <a:pt x="60" y="5"/>
                    </a:lnTo>
                    <a:lnTo>
                      <a:pt x="60" y="5"/>
                    </a:lnTo>
                    <a:lnTo>
                      <a:pt x="60" y="6"/>
                    </a:lnTo>
                    <a:lnTo>
                      <a:pt x="60" y="6"/>
                    </a:lnTo>
                    <a:lnTo>
                      <a:pt x="62" y="8"/>
                    </a:lnTo>
                    <a:lnTo>
                      <a:pt x="60" y="11"/>
                    </a:lnTo>
                    <a:lnTo>
                      <a:pt x="60" y="11"/>
                    </a:lnTo>
                    <a:lnTo>
                      <a:pt x="59" y="6"/>
                    </a:lnTo>
                    <a:lnTo>
                      <a:pt x="57" y="5"/>
                    </a:lnTo>
                    <a:lnTo>
                      <a:pt x="54" y="3"/>
                    </a:lnTo>
                    <a:lnTo>
                      <a:pt x="54" y="3"/>
                    </a:lnTo>
                    <a:lnTo>
                      <a:pt x="52" y="5"/>
                    </a:lnTo>
                    <a:lnTo>
                      <a:pt x="52" y="5"/>
                    </a:lnTo>
                    <a:lnTo>
                      <a:pt x="49" y="5"/>
                    </a:lnTo>
                    <a:lnTo>
                      <a:pt x="49" y="5"/>
                    </a:lnTo>
                    <a:lnTo>
                      <a:pt x="48" y="6"/>
                    </a:lnTo>
                    <a:lnTo>
                      <a:pt x="48" y="9"/>
                    </a:lnTo>
                    <a:lnTo>
                      <a:pt x="48" y="9"/>
                    </a:lnTo>
                    <a:lnTo>
                      <a:pt x="48" y="9"/>
                    </a:lnTo>
                    <a:lnTo>
                      <a:pt x="45" y="8"/>
                    </a:lnTo>
                    <a:lnTo>
                      <a:pt x="43" y="5"/>
                    </a:lnTo>
                    <a:lnTo>
                      <a:pt x="43" y="5"/>
                    </a:lnTo>
                    <a:lnTo>
                      <a:pt x="41" y="5"/>
                    </a:lnTo>
                    <a:lnTo>
                      <a:pt x="41" y="5"/>
                    </a:lnTo>
                    <a:lnTo>
                      <a:pt x="40" y="8"/>
                    </a:lnTo>
                    <a:lnTo>
                      <a:pt x="40" y="8"/>
                    </a:lnTo>
                    <a:lnTo>
                      <a:pt x="40" y="11"/>
                    </a:lnTo>
                    <a:lnTo>
                      <a:pt x="40" y="11"/>
                    </a:lnTo>
                    <a:lnTo>
                      <a:pt x="38" y="11"/>
                    </a:lnTo>
                    <a:lnTo>
                      <a:pt x="38" y="11"/>
                    </a:lnTo>
                    <a:lnTo>
                      <a:pt x="38" y="13"/>
                    </a:lnTo>
                    <a:lnTo>
                      <a:pt x="37" y="13"/>
                    </a:lnTo>
                    <a:lnTo>
                      <a:pt x="35" y="11"/>
                    </a:lnTo>
                    <a:lnTo>
                      <a:pt x="35" y="11"/>
                    </a:lnTo>
                    <a:lnTo>
                      <a:pt x="33" y="11"/>
                    </a:lnTo>
                    <a:lnTo>
                      <a:pt x="33" y="13"/>
                    </a:lnTo>
                    <a:lnTo>
                      <a:pt x="32" y="14"/>
                    </a:lnTo>
                    <a:lnTo>
                      <a:pt x="32" y="13"/>
                    </a:lnTo>
                    <a:lnTo>
                      <a:pt x="32" y="13"/>
                    </a:lnTo>
                    <a:lnTo>
                      <a:pt x="30" y="16"/>
                    </a:lnTo>
                    <a:lnTo>
                      <a:pt x="30" y="16"/>
                    </a:lnTo>
                    <a:lnTo>
                      <a:pt x="30" y="14"/>
                    </a:lnTo>
                    <a:lnTo>
                      <a:pt x="29" y="13"/>
                    </a:lnTo>
                    <a:lnTo>
                      <a:pt x="27" y="13"/>
                    </a:lnTo>
                    <a:lnTo>
                      <a:pt x="27" y="13"/>
                    </a:lnTo>
                    <a:lnTo>
                      <a:pt x="29" y="13"/>
                    </a:lnTo>
                    <a:lnTo>
                      <a:pt x="29" y="11"/>
                    </a:lnTo>
                    <a:lnTo>
                      <a:pt x="25" y="9"/>
                    </a:lnTo>
                    <a:lnTo>
                      <a:pt x="25" y="9"/>
                    </a:lnTo>
                    <a:lnTo>
                      <a:pt x="29" y="9"/>
                    </a:lnTo>
                    <a:lnTo>
                      <a:pt x="30" y="9"/>
                    </a:lnTo>
                    <a:lnTo>
                      <a:pt x="30" y="6"/>
                    </a:lnTo>
                    <a:lnTo>
                      <a:pt x="29" y="6"/>
                    </a:lnTo>
                    <a:lnTo>
                      <a:pt x="29" y="6"/>
                    </a:lnTo>
                    <a:lnTo>
                      <a:pt x="30" y="6"/>
                    </a:lnTo>
                    <a:lnTo>
                      <a:pt x="29" y="5"/>
                    </a:lnTo>
                    <a:lnTo>
                      <a:pt x="29" y="5"/>
                    </a:lnTo>
                    <a:lnTo>
                      <a:pt x="27" y="5"/>
                    </a:lnTo>
                    <a:lnTo>
                      <a:pt x="25" y="3"/>
                    </a:lnTo>
                    <a:lnTo>
                      <a:pt x="25" y="3"/>
                    </a:lnTo>
                    <a:lnTo>
                      <a:pt x="24" y="2"/>
                    </a:lnTo>
                    <a:lnTo>
                      <a:pt x="22" y="2"/>
                    </a:lnTo>
                    <a:lnTo>
                      <a:pt x="22" y="2"/>
                    </a:lnTo>
                    <a:lnTo>
                      <a:pt x="19" y="0"/>
                    </a:lnTo>
                    <a:lnTo>
                      <a:pt x="19" y="0"/>
                    </a:lnTo>
                    <a:lnTo>
                      <a:pt x="16" y="0"/>
                    </a:lnTo>
                    <a:lnTo>
                      <a:pt x="16" y="2"/>
                    </a:lnTo>
                    <a:lnTo>
                      <a:pt x="16" y="2"/>
                    </a:lnTo>
                    <a:lnTo>
                      <a:pt x="19" y="3"/>
                    </a:lnTo>
                    <a:lnTo>
                      <a:pt x="22" y="3"/>
                    </a:lnTo>
                    <a:lnTo>
                      <a:pt x="22" y="3"/>
                    </a:lnTo>
                    <a:lnTo>
                      <a:pt x="19" y="3"/>
                    </a:lnTo>
                    <a:lnTo>
                      <a:pt x="16" y="3"/>
                    </a:lnTo>
                    <a:lnTo>
                      <a:pt x="16" y="3"/>
                    </a:lnTo>
                    <a:lnTo>
                      <a:pt x="19" y="5"/>
                    </a:lnTo>
                    <a:lnTo>
                      <a:pt x="19" y="6"/>
                    </a:lnTo>
                    <a:lnTo>
                      <a:pt x="19" y="6"/>
                    </a:lnTo>
                    <a:lnTo>
                      <a:pt x="19" y="8"/>
                    </a:lnTo>
                    <a:lnTo>
                      <a:pt x="19" y="8"/>
                    </a:lnTo>
                    <a:lnTo>
                      <a:pt x="19" y="8"/>
                    </a:lnTo>
                    <a:lnTo>
                      <a:pt x="19" y="6"/>
                    </a:lnTo>
                    <a:lnTo>
                      <a:pt x="19" y="6"/>
                    </a:lnTo>
                    <a:lnTo>
                      <a:pt x="16" y="6"/>
                    </a:lnTo>
                    <a:lnTo>
                      <a:pt x="16" y="6"/>
                    </a:lnTo>
                    <a:lnTo>
                      <a:pt x="16" y="5"/>
                    </a:lnTo>
                    <a:lnTo>
                      <a:pt x="16" y="6"/>
                    </a:lnTo>
                    <a:lnTo>
                      <a:pt x="16" y="5"/>
                    </a:lnTo>
                    <a:lnTo>
                      <a:pt x="16" y="5"/>
                    </a:lnTo>
                    <a:lnTo>
                      <a:pt x="13" y="3"/>
                    </a:lnTo>
                    <a:lnTo>
                      <a:pt x="13" y="3"/>
                    </a:lnTo>
                    <a:lnTo>
                      <a:pt x="11" y="3"/>
                    </a:lnTo>
                    <a:lnTo>
                      <a:pt x="11" y="5"/>
                    </a:lnTo>
                    <a:lnTo>
                      <a:pt x="11" y="5"/>
                    </a:lnTo>
                    <a:lnTo>
                      <a:pt x="11" y="5"/>
                    </a:lnTo>
                    <a:lnTo>
                      <a:pt x="11" y="5"/>
                    </a:lnTo>
                    <a:lnTo>
                      <a:pt x="11" y="6"/>
                    </a:lnTo>
                    <a:lnTo>
                      <a:pt x="11" y="6"/>
                    </a:lnTo>
                    <a:lnTo>
                      <a:pt x="8" y="5"/>
                    </a:lnTo>
                    <a:lnTo>
                      <a:pt x="8" y="5"/>
                    </a:lnTo>
                    <a:lnTo>
                      <a:pt x="8" y="6"/>
                    </a:lnTo>
                    <a:lnTo>
                      <a:pt x="10" y="8"/>
                    </a:lnTo>
                    <a:lnTo>
                      <a:pt x="11" y="8"/>
                    </a:lnTo>
                    <a:lnTo>
                      <a:pt x="11" y="8"/>
                    </a:lnTo>
                    <a:lnTo>
                      <a:pt x="10" y="8"/>
                    </a:lnTo>
                    <a:lnTo>
                      <a:pt x="6" y="8"/>
                    </a:lnTo>
                    <a:lnTo>
                      <a:pt x="6" y="8"/>
                    </a:lnTo>
                    <a:lnTo>
                      <a:pt x="11" y="9"/>
                    </a:lnTo>
                    <a:lnTo>
                      <a:pt x="11" y="9"/>
                    </a:lnTo>
                    <a:lnTo>
                      <a:pt x="10" y="9"/>
                    </a:lnTo>
                    <a:lnTo>
                      <a:pt x="10" y="9"/>
                    </a:lnTo>
                    <a:lnTo>
                      <a:pt x="11" y="11"/>
                    </a:lnTo>
                    <a:lnTo>
                      <a:pt x="11" y="11"/>
                    </a:lnTo>
                    <a:lnTo>
                      <a:pt x="10" y="11"/>
                    </a:lnTo>
                    <a:lnTo>
                      <a:pt x="8" y="9"/>
                    </a:lnTo>
                    <a:lnTo>
                      <a:pt x="5" y="9"/>
                    </a:lnTo>
                    <a:lnTo>
                      <a:pt x="3" y="9"/>
                    </a:lnTo>
                    <a:lnTo>
                      <a:pt x="3" y="9"/>
                    </a:lnTo>
                    <a:lnTo>
                      <a:pt x="5" y="11"/>
                    </a:lnTo>
                    <a:lnTo>
                      <a:pt x="5" y="11"/>
                    </a:lnTo>
                    <a:lnTo>
                      <a:pt x="5" y="11"/>
                    </a:lnTo>
                    <a:lnTo>
                      <a:pt x="5" y="13"/>
                    </a:lnTo>
                    <a:lnTo>
                      <a:pt x="5" y="13"/>
                    </a:lnTo>
                    <a:lnTo>
                      <a:pt x="2" y="11"/>
                    </a:lnTo>
                    <a:lnTo>
                      <a:pt x="0" y="11"/>
                    </a:lnTo>
                    <a:lnTo>
                      <a:pt x="0" y="13"/>
                    </a:lnTo>
                    <a:lnTo>
                      <a:pt x="0" y="13"/>
                    </a:lnTo>
                    <a:lnTo>
                      <a:pt x="2" y="13"/>
                    </a:lnTo>
                    <a:lnTo>
                      <a:pt x="5" y="14"/>
                    </a:lnTo>
                    <a:lnTo>
                      <a:pt x="5" y="14"/>
                    </a:lnTo>
                    <a:lnTo>
                      <a:pt x="5" y="14"/>
                    </a:lnTo>
                    <a:lnTo>
                      <a:pt x="5" y="14"/>
                    </a:lnTo>
                    <a:lnTo>
                      <a:pt x="5" y="14"/>
                    </a:lnTo>
                    <a:lnTo>
                      <a:pt x="5" y="14"/>
                    </a:lnTo>
                    <a:lnTo>
                      <a:pt x="5" y="14"/>
                    </a:lnTo>
                    <a:lnTo>
                      <a:pt x="5" y="14"/>
                    </a:lnTo>
                    <a:lnTo>
                      <a:pt x="5" y="14"/>
                    </a:lnTo>
                    <a:lnTo>
                      <a:pt x="5" y="1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61" name="Freeform 233">
                <a:extLst>
                  <a:ext uri="{FF2B5EF4-FFF2-40B4-BE49-F238E27FC236}">
                    <a16:creationId xmlns:a16="http://schemas.microsoft.com/office/drawing/2014/main" id="{9B9EF29A-533A-E7D7-B470-4D476BA665C9}"/>
                  </a:ext>
                </a:extLst>
              </p:cNvPr>
              <p:cNvSpPr>
                <a:spLocks noEditPoints="1"/>
              </p:cNvSpPr>
              <p:nvPr/>
            </p:nvSpPr>
            <p:spPr bwMode="auto">
              <a:xfrm>
                <a:off x="1760803" y="1795497"/>
                <a:ext cx="1184341" cy="522636"/>
              </a:xfrm>
              <a:custGeom>
                <a:avLst/>
                <a:gdLst>
                  <a:gd name="T0" fmla="*/ 74 w 528"/>
                  <a:gd name="T1" fmla="*/ 211 h 233"/>
                  <a:gd name="T2" fmla="*/ 435 w 528"/>
                  <a:gd name="T3" fmla="*/ 158 h 233"/>
                  <a:gd name="T4" fmla="*/ 401 w 528"/>
                  <a:gd name="T5" fmla="*/ 157 h 233"/>
                  <a:gd name="T6" fmla="*/ 520 w 528"/>
                  <a:gd name="T7" fmla="*/ 17 h 233"/>
                  <a:gd name="T8" fmla="*/ 457 w 528"/>
                  <a:gd name="T9" fmla="*/ 12 h 233"/>
                  <a:gd name="T10" fmla="*/ 427 w 528"/>
                  <a:gd name="T11" fmla="*/ 3 h 233"/>
                  <a:gd name="T12" fmla="*/ 373 w 528"/>
                  <a:gd name="T13" fmla="*/ 9 h 233"/>
                  <a:gd name="T14" fmla="*/ 273 w 528"/>
                  <a:gd name="T15" fmla="*/ 41 h 233"/>
                  <a:gd name="T16" fmla="*/ 281 w 528"/>
                  <a:gd name="T17" fmla="*/ 60 h 233"/>
                  <a:gd name="T18" fmla="*/ 258 w 528"/>
                  <a:gd name="T19" fmla="*/ 60 h 233"/>
                  <a:gd name="T20" fmla="*/ 219 w 528"/>
                  <a:gd name="T21" fmla="*/ 76 h 233"/>
                  <a:gd name="T22" fmla="*/ 235 w 528"/>
                  <a:gd name="T23" fmla="*/ 82 h 233"/>
                  <a:gd name="T24" fmla="*/ 212 w 528"/>
                  <a:gd name="T25" fmla="*/ 103 h 233"/>
                  <a:gd name="T26" fmla="*/ 168 w 528"/>
                  <a:gd name="T27" fmla="*/ 114 h 233"/>
                  <a:gd name="T28" fmla="*/ 152 w 528"/>
                  <a:gd name="T29" fmla="*/ 131 h 233"/>
                  <a:gd name="T30" fmla="*/ 179 w 528"/>
                  <a:gd name="T31" fmla="*/ 135 h 233"/>
                  <a:gd name="T32" fmla="*/ 150 w 528"/>
                  <a:gd name="T33" fmla="*/ 162 h 233"/>
                  <a:gd name="T34" fmla="*/ 182 w 528"/>
                  <a:gd name="T35" fmla="*/ 158 h 233"/>
                  <a:gd name="T36" fmla="*/ 168 w 528"/>
                  <a:gd name="T37" fmla="*/ 176 h 233"/>
                  <a:gd name="T38" fmla="*/ 109 w 528"/>
                  <a:gd name="T39" fmla="*/ 198 h 233"/>
                  <a:gd name="T40" fmla="*/ 88 w 528"/>
                  <a:gd name="T41" fmla="*/ 208 h 233"/>
                  <a:gd name="T42" fmla="*/ 125 w 528"/>
                  <a:gd name="T43" fmla="*/ 200 h 233"/>
                  <a:gd name="T44" fmla="*/ 155 w 528"/>
                  <a:gd name="T45" fmla="*/ 189 h 233"/>
                  <a:gd name="T46" fmla="*/ 212 w 528"/>
                  <a:gd name="T47" fmla="*/ 169 h 233"/>
                  <a:gd name="T48" fmla="*/ 238 w 528"/>
                  <a:gd name="T49" fmla="*/ 150 h 233"/>
                  <a:gd name="T50" fmla="*/ 290 w 528"/>
                  <a:gd name="T51" fmla="*/ 130 h 233"/>
                  <a:gd name="T52" fmla="*/ 284 w 528"/>
                  <a:gd name="T53" fmla="*/ 138 h 233"/>
                  <a:gd name="T54" fmla="*/ 276 w 528"/>
                  <a:gd name="T55" fmla="*/ 150 h 233"/>
                  <a:gd name="T56" fmla="*/ 309 w 528"/>
                  <a:gd name="T57" fmla="*/ 141 h 233"/>
                  <a:gd name="T58" fmla="*/ 328 w 528"/>
                  <a:gd name="T59" fmla="*/ 130 h 233"/>
                  <a:gd name="T60" fmla="*/ 343 w 528"/>
                  <a:gd name="T61" fmla="*/ 138 h 233"/>
                  <a:gd name="T62" fmla="*/ 392 w 528"/>
                  <a:gd name="T63" fmla="*/ 144 h 233"/>
                  <a:gd name="T64" fmla="*/ 403 w 528"/>
                  <a:gd name="T65" fmla="*/ 166 h 233"/>
                  <a:gd name="T66" fmla="*/ 416 w 528"/>
                  <a:gd name="T67" fmla="*/ 158 h 233"/>
                  <a:gd name="T68" fmla="*/ 427 w 528"/>
                  <a:gd name="T69" fmla="*/ 166 h 233"/>
                  <a:gd name="T70" fmla="*/ 422 w 528"/>
                  <a:gd name="T71" fmla="*/ 179 h 233"/>
                  <a:gd name="T72" fmla="*/ 414 w 528"/>
                  <a:gd name="T73" fmla="*/ 201 h 233"/>
                  <a:gd name="T74" fmla="*/ 416 w 528"/>
                  <a:gd name="T75" fmla="*/ 203 h 233"/>
                  <a:gd name="T76" fmla="*/ 419 w 528"/>
                  <a:gd name="T77" fmla="*/ 212 h 233"/>
                  <a:gd name="T78" fmla="*/ 412 w 528"/>
                  <a:gd name="T79" fmla="*/ 177 h 233"/>
                  <a:gd name="T80" fmla="*/ 416 w 528"/>
                  <a:gd name="T81" fmla="*/ 173 h 233"/>
                  <a:gd name="T82" fmla="*/ 1 w 528"/>
                  <a:gd name="T83" fmla="*/ 233 h 233"/>
                  <a:gd name="T84" fmla="*/ 8 w 528"/>
                  <a:gd name="T85" fmla="*/ 231 h 233"/>
                  <a:gd name="T86" fmla="*/ 35 w 528"/>
                  <a:gd name="T87" fmla="*/ 220 h 233"/>
                  <a:gd name="T88" fmla="*/ 57 w 528"/>
                  <a:gd name="T89" fmla="*/ 212 h 233"/>
                  <a:gd name="T90" fmla="*/ 73 w 528"/>
                  <a:gd name="T91" fmla="*/ 209 h 233"/>
                  <a:gd name="T92" fmla="*/ 122 w 528"/>
                  <a:gd name="T93" fmla="*/ 146 h 233"/>
                  <a:gd name="T94" fmla="*/ 203 w 528"/>
                  <a:gd name="T95" fmla="*/ 184 h 233"/>
                  <a:gd name="T96" fmla="*/ 209 w 528"/>
                  <a:gd name="T97" fmla="*/ 176 h 233"/>
                  <a:gd name="T98" fmla="*/ 222 w 528"/>
                  <a:gd name="T99" fmla="*/ 177 h 233"/>
                  <a:gd name="T100" fmla="*/ 149 w 528"/>
                  <a:gd name="T101" fmla="*/ 103 h 233"/>
                  <a:gd name="T102" fmla="*/ 147 w 528"/>
                  <a:gd name="T103" fmla="*/ 103 h 233"/>
                  <a:gd name="T104" fmla="*/ 404 w 528"/>
                  <a:gd name="T105" fmla="*/ 176 h 233"/>
                  <a:gd name="T106" fmla="*/ 393 w 528"/>
                  <a:gd name="T107" fmla="*/ 195 h 233"/>
                  <a:gd name="T108" fmla="*/ 412 w 528"/>
                  <a:gd name="T109" fmla="*/ 169 h 233"/>
                  <a:gd name="T110" fmla="*/ 397 w 528"/>
                  <a:gd name="T111" fmla="*/ 173 h 233"/>
                  <a:gd name="T112" fmla="*/ 409 w 528"/>
                  <a:gd name="T113" fmla="*/ 190 h 233"/>
                  <a:gd name="T114" fmla="*/ 409 w 528"/>
                  <a:gd name="T115" fmla="*/ 189 h 233"/>
                  <a:gd name="T116" fmla="*/ 404 w 528"/>
                  <a:gd name="T117" fmla="*/ 200 h 233"/>
                  <a:gd name="T118" fmla="*/ 401 w 528"/>
                  <a:gd name="T119" fmla="*/ 212 h 233"/>
                  <a:gd name="T120" fmla="*/ 411 w 528"/>
                  <a:gd name="T121" fmla="*/ 19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8" h="233">
                    <a:moveTo>
                      <a:pt x="209" y="69"/>
                    </a:moveTo>
                    <a:lnTo>
                      <a:pt x="206" y="71"/>
                    </a:lnTo>
                    <a:lnTo>
                      <a:pt x="209" y="69"/>
                    </a:lnTo>
                    <a:lnTo>
                      <a:pt x="209" y="69"/>
                    </a:lnTo>
                    <a:lnTo>
                      <a:pt x="209" y="69"/>
                    </a:lnTo>
                    <a:lnTo>
                      <a:pt x="209" y="69"/>
                    </a:lnTo>
                    <a:lnTo>
                      <a:pt x="209" y="69"/>
                    </a:lnTo>
                    <a:lnTo>
                      <a:pt x="209" y="69"/>
                    </a:lnTo>
                    <a:lnTo>
                      <a:pt x="209" y="69"/>
                    </a:lnTo>
                    <a:lnTo>
                      <a:pt x="209" y="69"/>
                    </a:lnTo>
                    <a:lnTo>
                      <a:pt x="209" y="69"/>
                    </a:lnTo>
                    <a:lnTo>
                      <a:pt x="209" y="69"/>
                    </a:lnTo>
                    <a:close/>
                    <a:moveTo>
                      <a:pt x="74" y="211"/>
                    </a:moveTo>
                    <a:lnTo>
                      <a:pt x="77" y="209"/>
                    </a:lnTo>
                    <a:lnTo>
                      <a:pt x="73" y="212"/>
                    </a:lnTo>
                    <a:lnTo>
                      <a:pt x="74" y="211"/>
                    </a:lnTo>
                    <a:lnTo>
                      <a:pt x="74" y="211"/>
                    </a:lnTo>
                    <a:lnTo>
                      <a:pt x="74" y="211"/>
                    </a:lnTo>
                    <a:lnTo>
                      <a:pt x="74" y="211"/>
                    </a:lnTo>
                    <a:lnTo>
                      <a:pt x="74" y="211"/>
                    </a:lnTo>
                    <a:lnTo>
                      <a:pt x="74" y="211"/>
                    </a:lnTo>
                    <a:lnTo>
                      <a:pt x="74" y="211"/>
                    </a:lnTo>
                    <a:lnTo>
                      <a:pt x="74" y="211"/>
                    </a:lnTo>
                    <a:lnTo>
                      <a:pt x="74" y="211"/>
                    </a:lnTo>
                    <a:close/>
                    <a:moveTo>
                      <a:pt x="436" y="192"/>
                    </a:moveTo>
                    <a:lnTo>
                      <a:pt x="433" y="190"/>
                    </a:lnTo>
                    <a:lnTo>
                      <a:pt x="431" y="189"/>
                    </a:lnTo>
                    <a:lnTo>
                      <a:pt x="430" y="189"/>
                    </a:lnTo>
                    <a:lnTo>
                      <a:pt x="430" y="185"/>
                    </a:lnTo>
                    <a:lnTo>
                      <a:pt x="431" y="182"/>
                    </a:lnTo>
                    <a:lnTo>
                      <a:pt x="431" y="181"/>
                    </a:lnTo>
                    <a:lnTo>
                      <a:pt x="433" y="179"/>
                    </a:lnTo>
                    <a:lnTo>
                      <a:pt x="433" y="177"/>
                    </a:lnTo>
                    <a:lnTo>
                      <a:pt x="433" y="176"/>
                    </a:lnTo>
                    <a:lnTo>
                      <a:pt x="435" y="166"/>
                    </a:lnTo>
                    <a:lnTo>
                      <a:pt x="436" y="163"/>
                    </a:lnTo>
                    <a:lnTo>
                      <a:pt x="436" y="162"/>
                    </a:lnTo>
                    <a:lnTo>
                      <a:pt x="435" y="158"/>
                    </a:lnTo>
                    <a:lnTo>
                      <a:pt x="435" y="157"/>
                    </a:lnTo>
                    <a:lnTo>
                      <a:pt x="435" y="155"/>
                    </a:lnTo>
                    <a:lnTo>
                      <a:pt x="435" y="154"/>
                    </a:lnTo>
                    <a:lnTo>
                      <a:pt x="433" y="152"/>
                    </a:lnTo>
                    <a:lnTo>
                      <a:pt x="433" y="150"/>
                    </a:lnTo>
                    <a:lnTo>
                      <a:pt x="435" y="149"/>
                    </a:lnTo>
                    <a:lnTo>
                      <a:pt x="436" y="147"/>
                    </a:lnTo>
                    <a:lnTo>
                      <a:pt x="435" y="146"/>
                    </a:lnTo>
                    <a:lnTo>
                      <a:pt x="430" y="146"/>
                    </a:lnTo>
                    <a:lnTo>
                      <a:pt x="428" y="147"/>
                    </a:lnTo>
                    <a:lnTo>
                      <a:pt x="427" y="147"/>
                    </a:lnTo>
                    <a:lnTo>
                      <a:pt x="425" y="147"/>
                    </a:lnTo>
                    <a:lnTo>
                      <a:pt x="422" y="147"/>
                    </a:lnTo>
                    <a:lnTo>
                      <a:pt x="422" y="150"/>
                    </a:lnTo>
                    <a:lnTo>
                      <a:pt x="419" y="150"/>
                    </a:lnTo>
                    <a:lnTo>
                      <a:pt x="419" y="150"/>
                    </a:lnTo>
                    <a:lnTo>
                      <a:pt x="417" y="152"/>
                    </a:lnTo>
                    <a:lnTo>
                      <a:pt x="416" y="154"/>
                    </a:lnTo>
                    <a:lnTo>
                      <a:pt x="401" y="157"/>
                    </a:lnTo>
                    <a:lnTo>
                      <a:pt x="404" y="155"/>
                    </a:lnTo>
                    <a:lnTo>
                      <a:pt x="404" y="152"/>
                    </a:lnTo>
                    <a:lnTo>
                      <a:pt x="403" y="149"/>
                    </a:lnTo>
                    <a:lnTo>
                      <a:pt x="403" y="146"/>
                    </a:lnTo>
                    <a:lnTo>
                      <a:pt x="401" y="142"/>
                    </a:lnTo>
                    <a:lnTo>
                      <a:pt x="401" y="141"/>
                    </a:lnTo>
                    <a:lnTo>
                      <a:pt x="403" y="141"/>
                    </a:lnTo>
                    <a:lnTo>
                      <a:pt x="406" y="138"/>
                    </a:lnTo>
                    <a:lnTo>
                      <a:pt x="400" y="138"/>
                    </a:lnTo>
                    <a:lnTo>
                      <a:pt x="397" y="141"/>
                    </a:lnTo>
                    <a:lnTo>
                      <a:pt x="393" y="141"/>
                    </a:lnTo>
                    <a:lnTo>
                      <a:pt x="392" y="141"/>
                    </a:lnTo>
                    <a:lnTo>
                      <a:pt x="390" y="141"/>
                    </a:lnTo>
                    <a:lnTo>
                      <a:pt x="387" y="138"/>
                    </a:lnTo>
                    <a:lnTo>
                      <a:pt x="528" y="20"/>
                    </a:lnTo>
                    <a:lnTo>
                      <a:pt x="527" y="20"/>
                    </a:lnTo>
                    <a:lnTo>
                      <a:pt x="525" y="20"/>
                    </a:lnTo>
                    <a:lnTo>
                      <a:pt x="522" y="19"/>
                    </a:lnTo>
                    <a:lnTo>
                      <a:pt x="520" y="17"/>
                    </a:lnTo>
                    <a:lnTo>
                      <a:pt x="517" y="15"/>
                    </a:lnTo>
                    <a:lnTo>
                      <a:pt x="512" y="15"/>
                    </a:lnTo>
                    <a:lnTo>
                      <a:pt x="509" y="15"/>
                    </a:lnTo>
                    <a:lnTo>
                      <a:pt x="506" y="15"/>
                    </a:lnTo>
                    <a:lnTo>
                      <a:pt x="506" y="15"/>
                    </a:lnTo>
                    <a:lnTo>
                      <a:pt x="503" y="15"/>
                    </a:lnTo>
                    <a:lnTo>
                      <a:pt x="497" y="15"/>
                    </a:lnTo>
                    <a:lnTo>
                      <a:pt x="495" y="15"/>
                    </a:lnTo>
                    <a:lnTo>
                      <a:pt x="493" y="15"/>
                    </a:lnTo>
                    <a:lnTo>
                      <a:pt x="492" y="15"/>
                    </a:lnTo>
                    <a:lnTo>
                      <a:pt x="489" y="15"/>
                    </a:lnTo>
                    <a:lnTo>
                      <a:pt x="482" y="15"/>
                    </a:lnTo>
                    <a:lnTo>
                      <a:pt x="481" y="15"/>
                    </a:lnTo>
                    <a:lnTo>
                      <a:pt x="477" y="12"/>
                    </a:lnTo>
                    <a:lnTo>
                      <a:pt x="474" y="12"/>
                    </a:lnTo>
                    <a:lnTo>
                      <a:pt x="473" y="12"/>
                    </a:lnTo>
                    <a:lnTo>
                      <a:pt x="468" y="9"/>
                    </a:lnTo>
                    <a:lnTo>
                      <a:pt x="462" y="9"/>
                    </a:lnTo>
                    <a:lnTo>
                      <a:pt x="457" y="12"/>
                    </a:lnTo>
                    <a:lnTo>
                      <a:pt x="457" y="9"/>
                    </a:lnTo>
                    <a:lnTo>
                      <a:pt x="454" y="9"/>
                    </a:lnTo>
                    <a:lnTo>
                      <a:pt x="450" y="12"/>
                    </a:lnTo>
                    <a:lnTo>
                      <a:pt x="447" y="12"/>
                    </a:lnTo>
                    <a:lnTo>
                      <a:pt x="444" y="9"/>
                    </a:lnTo>
                    <a:lnTo>
                      <a:pt x="441" y="9"/>
                    </a:lnTo>
                    <a:lnTo>
                      <a:pt x="444" y="6"/>
                    </a:lnTo>
                    <a:lnTo>
                      <a:pt x="447" y="6"/>
                    </a:lnTo>
                    <a:lnTo>
                      <a:pt x="441" y="6"/>
                    </a:lnTo>
                    <a:lnTo>
                      <a:pt x="433" y="6"/>
                    </a:lnTo>
                    <a:lnTo>
                      <a:pt x="428" y="6"/>
                    </a:lnTo>
                    <a:lnTo>
                      <a:pt x="427" y="6"/>
                    </a:lnTo>
                    <a:lnTo>
                      <a:pt x="425" y="6"/>
                    </a:lnTo>
                    <a:lnTo>
                      <a:pt x="427" y="6"/>
                    </a:lnTo>
                    <a:lnTo>
                      <a:pt x="428" y="6"/>
                    </a:lnTo>
                    <a:lnTo>
                      <a:pt x="428" y="4"/>
                    </a:lnTo>
                    <a:lnTo>
                      <a:pt x="427" y="4"/>
                    </a:lnTo>
                    <a:lnTo>
                      <a:pt x="425" y="4"/>
                    </a:lnTo>
                    <a:lnTo>
                      <a:pt x="427" y="3"/>
                    </a:lnTo>
                    <a:lnTo>
                      <a:pt x="425" y="3"/>
                    </a:lnTo>
                    <a:lnTo>
                      <a:pt x="425" y="4"/>
                    </a:lnTo>
                    <a:lnTo>
                      <a:pt x="419" y="6"/>
                    </a:lnTo>
                    <a:lnTo>
                      <a:pt x="414" y="6"/>
                    </a:lnTo>
                    <a:lnTo>
                      <a:pt x="414" y="6"/>
                    </a:lnTo>
                    <a:lnTo>
                      <a:pt x="419" y="6"/>
                    </a:lnTo>
                    <a:lnTo>
                      <a:pt x="422" y="4"/>
                    </a:lnTo>
                    <a:lnTo>
                      <a:pt x="422" y="3"/>
                    </a:lnTo>
                    <a:lnTo>
                      <a:pt x="419" y="1"/>
                    </a:lnTo>
                    <a:lnTo>
                      <a:pt x="416" y="1"/>
                    </a:lnTo>
                    <a:lnTo>
                      <a:pt x="419" y="0"/>
                    </a:lnTo>
                    <a:lnTo>
                      <a:pt x="400" y="6"/>
                    </a:lnTo>
                    <a:lnTo>
                      <a:pt x="390" y="6"/>
                    </a:lnTo>
                    <a:lnTo>
                      <a:pt x="387" y="6"/>
                    </a:lnTo>
                    <a:lnTo>
                      <a:pt x="381" y="6"/>
                    </a:lnTo>
                    <a:lnTo>
                      <a:pt x="384" y="6"/>
                    </a:lnTo>
                    <a:lnTo>
                      <a:pt x="377" y="6"/>
                    </a:lnTo>
                    <a:lnTo>
                      <a:pt x="371" y="9"/>
                    </a:lnTo>
                    <a:lnTo>
                      <a:pt x="373" y="9"/>
                    </a:lnTo>
                    <a:lnTo>
                      <a:pt x="373" y="9"/>
                    </a:lnTo>
                    <a:lnTo>
                      <a:pt x="366" y="9"/>
                    </a:lnTo>
                    <a:lnTo>
                      <a:pt x="360" y="12"/>
                    </a:lnTo>
                    <a:lnTo>
                      <a:pt x="347" y="15"/>
                    </a:lnTo>
                    <a:lnTo>
                      <a:pt x="350" y="12"/>
                    </a:lnTo>
                    <a:lnTo>
                      <a:pt x="341" y="15"/>
                    </a:lnTo>
                    <a:lnTo>
                      <a:pt x="335" y="19"/>
                    </a:lnTo>
                    <a:lnTo>
                      <a:pt x="325" y="22"/>
                    </a:lnTo>
                    <a:lnTo>
                      <a:pt x="319" y="25"/>
                    </a:lnTo>
                    <a:lnTo>
                      <a:pt x="322" y="23"/>
                    </a:lnTo>
                    <a:lnTo>
                      <a:pt x="308" y="28"/>
                    </a:lnTo>
                    <a:lnTo>
                      <a:pt x="293" y="30"/>
                    </a:lnTo>
                    <a:lnTo>
                      <a:pt x="287" y="30"/>
                    </a:lnTo>
                    <a:lnTo>
                      <a:pt x="281" y="33"/>
                    </a:lnTo>
                    <a:lnTo>
                      <a:pt x="274" y="36"/>
                    </a:lnTo>
                    <a:lnTo>
                      <a:pt x="268" y="38"/>
                    </a:lnTo>
                    <a:lnTo>
                      <a:pt x="271" y="38"/>
                    </a:lnTo>
                    <a:lnTo>
                      <a:pt x="271" y="39"/>
                    </a:lnTo>
                    <a:lnTo>
                      <a:pt x="273" y="41"/>
                    </a:lnTo>
                    <a:lnTo>
                      <a:pt x="274" y="41"/>
                    </a:lnTo>
                    <a:lnTo>
                      <a:pt x="277" y="41"/>
                    </a:lnTo>
                    <a:lnTo>
                      <a:pt x="277" y="44"/>
                    </a:lnTo>
                    <a:lnTo>
                      <a:pt x="279" y="47"/>
                    </a:lnTo>
                    <a:lnTo>
                      <a:pt x="277" y="47"/>
                    </a:lnTo>
                    <a:lnTo>
                      <a:pt x="276" y="50"/>
                    </a:lnTo>
                    <a:lnTo>
                      <a:pt x="274" y="52"/>
                    </a:lnTo>
                    <a:lnTo>
                      <a:pt x="277" y="52"/>
                    </a:lnTo>
                    <a:lnTo>
                      <a:pt x="281" y="52"/>
                    </a:lnTo>
                    <a:lnTo>
                      <a:pt x="284" y="52"/>
                    </a:lnTo>
                    <a:lnTo>
                      <a:pt x="285" y="52"/>
                    </a:lnTo>
                    <a:lnTo>
                      <a:pt x="284" y="54"/>
                    </a:lnTo>
                    <a:lnTo>
                      <a:pt x="282" y="54"/>
                    </a:lnTo>
                    <a:lnTo>
                      <a:pt x="281" y="55"/>
                    </a:lnTo>
                    <a:lnTo>
                      <a:pt x="281" y="57"/>
                    </a:lnTo>
                    <a:lnTo>
                      <a:pt x="281" y="58"/>
                    </a:lnTo>
                    <a:lnTo>
                      <a:pt x="279" y="60"/>
                    </a:lnTo>
                    <a:lnTo>
                      <a:pt x="277" y="62"/>
                    </a:lnTo>
                    <a:lnTo>
                      <a:pt x="281" y="60"/>
                    </a:lnTo>
                    <a:lnTo>
                      <a:pt x="285" y="62"/>
                    </a:lnTo>
                    <a:lnTo>
                      <a:pt x="284" y="63"/>
                    </a:lnTo>
                    <a:lnTo>
                      <a:pt x="281" y="65"/>
                    </a:lnTo>
                    <a:lnTo>
                      <a:pt x="282" y="63"/>
                    </a:lnTo>
                    <a:lnTo>
                      <a:pt x="281" y="63"/>
                    </a:lnTo>
                    <a:lnTo>
                      <a:pt x="277" y="63"/>
                    </a:lnTo>
                    <a:lnTo>
                      <a:pt x="274" y="65"/>
                    </a:lnTo>
                    <a:lnTo>
                      <a:pt x="268" y="65"/>
                    </a:lnTo>
                    <a:lnTo>
                      <a:pt x="266" y="65"/>
                    </a:lnTo>
                    <a:lnTo>
                      <a:pt x="265" y="66"/>
                    </a:lnTo>
                    <a:lnTo>
                      <a:pt x="265" y="65"/>
                    </a:lnTo>
                    <a:lnTo>
                      <a:pt x="265" y="65"/>
                    </a:lnTo>
                    <a:lnTo>
                      <a:pt x="262" y="65"/>
                    </a:lnTo>
                    <a:lnTo>
                      <a:pt x="258" y="65"/>
                    </a:lnTo>
                    <a:lnTo>
                      <a:pt x="255" y="65"/>
                    </a:lnTo>
                    <a:lnTo>
                      <a:pt x="255" y="65"/>
                    </a:lnTo>
                    <a:lnTo>
                      <a:pt x="255" y="63"/>
                    </a:lnTo>
                    <a:lnTo>
                      <a:pt x="254" y="63"/>
                    </a:lnTo>
                    <a:lnTo>
                      <a:pt x="258" y="60"/>
                    </a:lnTo>
                    <a:lnTo>
                      <a:pt x="262" y="58"/>
                    </a:lnTo>
                    <a:lnTo>
                      <a:pt x="262" y="58"/>
                    </a:lnTo>
                    <a:lnTo>
                      <a:pt x="255" y="58"/>
                    </a:lnTo>
                    <a:lnTo>
                      <a:pt x="249" y="60"/>
                    </a:lnTo>
                    <a:lnTo>
                      <a:pt x="242" y="62"/>
                    </a:lnTo>
                    <a:lnTo>
                      <a:pt x="239" y="62"/>
                    </a:lnTo>
                    <a:lnTo>
                      <a:pt x="238" y="63"/>
                    </a:lnTo>
                    <a:lnTo>
                      <a:pt x="239" y="65"/>
                    </a:lnTo>
                    <a:lnTo>
                      <a:pt x="231" y="65"/>
                    </a:lnTo>
                    <a:lnTo>
                      <a:pt x="227" y="65"/>
                    </a:lnTo>
                    <a:lnTo>
                      <a:pt x="223" y="66"/>
                    </a:lnTo>
                    <a:lnTo>
                      <a:pt x="219" y="68"/>
                    </a:lnTo>
                    <a:lnTo>
                      <a:pt x="216" y="68"/>
                    </a:lnTo>
                    <a:lnTo>
                      <a:pt x="211" y="69"/>
                    </a:lnTo>
                    <a:lnTo>
                      <a:pt x="206" y="71"/>
                    </a:lnTo>
                    <a:lnTo>
                      <a:pt x="209" y="74"/>
                    </a:lnTo>
                    <a:lnTo>
                      <a:pt x="214" y="74"/>
                    </a:lnTo>
                    <a:lnTo>
                      <a:pt x="216" y="74"/>
                    </a:lnTo>
                    <a:lnTo>
                      <a:pt x="219" y="76"/>
                    </a:lnTo>
                    <a:lnTo>
                      <a:pt x="216" y="76"/>
                    </a:lnTo>
                    <a:lnTo>
                      <a:pt x="212" y="76"/>
                    </a:lnTo>
                    <a:lnTo>
                      <a:pt x="211" y="76"/>
                    </a:lnTo>
                    <a:lnTo>
                      <a:pt x="209" y="76"/>
                    </a:lnTo>
                    <a:lnTo>
                      <a:pt x="209" y="79"/>
                    </a:lnTo>
                    <a:lnTo>
                      <a:pt x="209" y="79"/>
                    </a:lnTo>
                    <a:lnTo>
                      <a:pt x="206" y="82"/>
                    </a:lnTo>
                    <a:lnTo>
                      <a:pt x="206" y="82"/>
                    </a:lnTo>
                    <a:lnTo>
                      <a:pt x="206" y="82"/>
                    </a:lnTo>
                    <a:lnTo>
                      <a:pt x="206" y="84"/>
                    </a:lnTo>
                    <a:lnTo>
                      <a:pt x="211" y="84"/>
                    </a:lnTo>
                    <a:lnTo>
                      <a:pt x="217" y="84"/>
                    </a:lnTo>
                    <a:lnTo>
                      <a:pt x="223" y="84"/>
                    </a:lnTo>
                    <a:lnTo>
                      <a:pt x="230" y="84"/>
                    </a:lnTo>
                    <a:lnTo>
                      <a:pt x="231" y="85"/>
                    </a:lnTo>
                    <a:lnTo>
                      <a:pt x="231" y="85"/>
                    </a:lnTo>
                    <a:lnTo>
                      <a:pt x="233" y="84"/>
                    </a:lnTo>
                    <a:lnTo>
                      <a:pt x="231" y="84"/>
                    </a:lnTo>
                    <a:lnTo>
                      <a:pt x="235" y="82"/>
                    </a:lnTo>
                    <a:lnTo>
                      <a:pt x="235" y="84"/>
                    </a:lnTo>
                    <a:lnTo>
                      <a:pt x="233" y="87"/>
                    </a:lnTo>
                    <a:lnTo>
                      <a:pt x="242" y="82"/>
                    </a:lnTo>
                    <a:lnTo>
                      <a:pt x="247" y="82"/>
                    </a:lnTo>
                    <a:lnTo>
                      <a:pt x="250" y="82"/>
                    </a:lnTo>
                    <a:lnTo>
                      <a:pt x="252" y="82"/>
                    </a:lnTo>
                    <a:lnTo>
                      <a:pt x="255" y="82"/>
                    </a:lnTo>
                    <a:lnTo>
                      <a:pt x="260" y="81"/>
                    </a:lnTo>
                    <a:lnTo>
                      <a:pt x="262" y="82"/>
                    </a:lnTo>
                    <a:lnTo>
                      <a:pt x="258" y="82"/>
                    </a:lnTo>
                    <a:lnTo>
                      <a:pt x="255" y="84"/>
                    </a:lnTo>
                    <a:lnTo>
                      <a:pt x="247" y="85"/>
                    </a:lnTo>
                    <a:lnTo>
                      <a:pt x="249" y="85"/>
                    </a:lnTo>
                    <a:lnTo>
                      <a:pt x="249" y="87"/>
                    </a:lnTo>
                    <a:lnTo>
                      <a:pt x="247" y="90"/>
                    </a:lnTo>
                    <a:lnTo>
                      <a:pt x="241" y="95"/>
                    </a:lnTo>
                    <a:lnTo>
                      <a:pt x="233" y="96"/>
                    </a:lnTo>
                    <a:lnTo>
                      <a:pt x="225" y="96"/>
                    </a:lnTo>
                    <a:lnTo>
                      <a:pt x="212" y="103"/>
                    </a:lnTo>
                    <a:lnTo>
                      <a:pt x="206" y="103"/>
                    </a:lnTo>
                    <a:lnTo>
                      <a:pt x="204" y="103"/>
                    </a:lnTo>
                    <a:lnTo>
                      <a:pt x="206" y="103"/>
                    </a:lnTo>
                    <a:lnTo>
                      <a:pt x="206" y="100"/>
                    </a:lnTo>
                    <a:lnTo>
                      <a:pt x="203" y="100"/>
                    </a:lnTo>
                    <a:lnTo>
                      <a:pt x="198" y="100"/>
                    </a:lnTo>
                    <a:lnTo>
                      <a:pt x="196" y="103"/>
                    </a:lnTo>
                    <a:lnTo>
                      <a:pt x="196" y="103"/>
                    </a:lnTo>
                    <a:lnTo>
                      <a:pt x="193" y="103"/>
                    </a:lnTo>
                    <a:lnTo>
                      <a:pt x="190" y="106"/>
                    </a:lnTo>
                    <a:lnTo>
                      <a:pt x="184" y="108"/>
                    </a:lnTo>
                    <a:lnTo>
                      <a:pt x="190" y="106"/>
                    </a:lnTo>
                    <a:lnTo>
                      <a:pt x="185" y="108"/>
                    </a:lnTo>
                    <a:lnTo>
                      <a:pt x="182" y="109"/>
                    </a:lnTo>
                    <a:lnTo>
                      <a:pt x="184" y="111"/>
                    </a:lnTo>
                    <a:lnTo>
                      <a:pt x="182" y="111"/>
                    </a:lnTo>
                    <a:lnTo>
                      <a:pt x="181" y="109"/>
                    </a:lnTo>
                    <a:lnTo>
                      <a:pt x="177" y="111"/>
                    </a:lnTo>
                    <a:lnTo>
                      <a:pt x="168" y="114"/>
                    </a:lnTo>
                    <a:lnTo>
                      <a:pt x="165" y="117"/>
                    </a:lnTo>
                    <a:lnTo>
                      <a:pt x="160" y="119"/>
                    </a:lnTo>
                    <a:lnTo>
                      <a:pt x="158" y="120"/>
                    </a:lnTo>
                    <a:lnTo>
                      <a:pt x="157" y="120"/>
                    </a:lnTo>
                    <a:lnTo>
                      <a:pt x="155" y="120"/>
                    </a:lnTo>
                    <a:lnTo>
                      <a:pt x="154" y="122"/>
                    </a:lnTo>
                    <a:lnTo>
                      <a:pt x="152" y="123"/>
                    </a:lnTo>
                    <a:lnTo>
                      <a:pt x="155" y="123"/>
                    </a:lnTo>
                    <a:lnTo>
                      <a:pt x="152" y="125"/>
                    </a:lnTo>
                    <a:lnTo>
                      <a:pt x="150" y="127"/>
                    </a:lnTo>
                    <a:lnTo>
                      <a:pt x="150" y="128"/>
                    </a:lnTo>
                    <a:lnTo>
                      <a:pt x="150" y="130"/>
                    </a:lnTo>
                    <a:lnTo>
                      <a:pt x="152" y="128"/>
                    </a:lnTo>
                    <a:lnTo>
                      <a:pt x="155" y="128"/>
                    </a:lnTo>
                    <a:lnTo>
                      <a:pt x="157" y="127"/>
                    </a:lnTo>
                    <a:lnTo>
                      <a:pt x="155" y="130"/>
                    </a:lnTo>
                    <a:lnTo>
                      <a:pt x="152" y="131"/>
                    </a:lnTo>
                    <a:lnTo>
                      <a:pt x="154" y="131"/>
                    </a:lnTo>
                    <a:lnTo>
                      <a:pt x="152" y="131"/>
                    </a:lnTo>
                    <a:lnTo>
                      <a:pt x="150" y="135"/>
                    </a:lnTo>
                    <a:lnTo>
                      <a:pt x="146" y="135"/>
                    </a:lnTo>
                    <a:lnTo>
                      <a:pt x="142" y="138"/>
                    </a:lnTo>
                    <a:lnTo>
                      <a:pt x="144" y="138"/>
                    </a:lnTo>
                    <a:lnTo>
                      <a:pt x="142" y="138"/>
                    </a:lnTo>
                    <a:lnTo>
                      <a:pt x="144" y="138"/>
                    </a:lnTo>
                    <a:lnTo>
                      <a:pt x="146" y="138"/>
                    </a:lnTo>
                    <a:lnTo>
                      <a:pt x="144" y="141"/>
                    </a:lnTo>
                    <a:lnTo>
                      <a:pt x="146" y="141"/>
                    </a:lnTo>
                    <a:lnTo>
                      <a:pt x="146" y="142"/>
                    </a:lnTo>
                    <a:lnTo>
                      <a:pt x="144" y="142"/>
                    </a:lnTo>
                    <a:lnTo>
                      <a:pt x="142" y="144"/>
                    </a:lnTo>
                    <a:lnTo>
                      <a:pt x="157" y="144"/>
                    </a:lnTo>
                    <a:lnTo>
                      <a:pt x="163" y="142"/>
                    </a:lnTo>
                    <a:lnTo>
                      <a:pt x="165" y="141"/>
                    </a:lnTo>
                    <a:lnTo>
                      <a:pt x="165" y="141"/>
                    </a:lnTo>
                    <a:lnTo>
                      <a:pt x="171" y="138"/>
                    </a:lnTo>
                    <a:lnTo>
                      <a:pt x="177" y="135"/>
                    </a:lnTo>
                    <a:lnTo>
                      <a:pt x="179" y="135"/>
                    </a:lnTo>
                    <a:lnTo>
                      <a:pt x="181" y="135"/>
                    </a:lnTo>
                    <a:lnTo>
                      <a:pt x="174" y="138"/>
                    </a:lnTo>
                    <a:lnTo>
                      <a:pt x="171" y="138"/>
                    </a:lnTo>
                    <a:lnTo>
                      <a:pt x="168" y="141"/>
                    </a:lnTo>
                    <a:lnTo>
                      <a:pt x="168" y="141"/>
                    </a:lnTo>
                    <a:lnTo>
                      <a:pt x="165" y="144"/>
                    </a:lnTo>
                    <a:lnTo>
                      <a:pt x="165" y="147"/>
                    </a:lnTo>
                    <a:lnTo>
                      <a:pt x="163" y="149"/>
                    </a:lnTo>
                    <a:lnTo>
                      <a:pt x="158" y="152"/>
                    </a:lnTo>
                    <a:lnTo>
                      <a:pt x="155" y="152"/>
                    </a:lnTo>
                    <a:lnTo>
                      <a:pt x="154" y="155"/>
                    </a:lnTo>
                    <a:lnTo>
                      <a:pt x="158" y="155"/>
                    </a:lnTo>
                    <a:lnTo>
                      <a:pt x="154" y="157"/>
                    </a:lnTo>
                    <a:lnTo>
                      <a:pt x="152" y="158"/>
                    </a:lnTo>
                    <a:lnTo>
                      <a:pt x="150" y="160"/>
                    </a:lnTo>
                    <a:lnTo>
                      <a:pt x="147" y="160"/>
                    </a:lnTo>
                    <a:lnTo>
                      <a:pt x="144" y="162"/>
                    </a:lnTo>
                    <a:lnTo>
                      <a:pt x="147" y="162"/>
                    </a:lnTo>
                    <a:lnTo>
                      <a:pt x="150" y="162"/>
                    </a:lnTo>
                    <a:lnTo>
                      <a:pt x="157" y="160"/>
                    </a:lnTo>
                    <a:lnTo>
                      <a:pt x="163" y="157"/>
                    </a:lnTo>
                    <a:lnTo>
                      <a:pt x="165" y="155"/>
                    </a:lnTo>
                    <a:lnTo>
                      <a:pt x="168" y="157"/>
                    </a:lnTo>
                    <a:lnTo>
                      <a:pt x="168" y="157"/>
                    </a:lnTo>
                    <a:lnTo>
                      <a:pt x="168" y="158"/>
                    </a:lnTo>
                    <a:lnTo>
                      <a:pt x="171" y="158"/>
                    </a:lnTo>
                    <a:lnTo>
                      <a:pt x="168" y="160"/>
                    </a:lnTo>
                    <a:lnTo>
                      <a:pt x="171" y="158"/>
                    </a:lnTo>
                    <a:lnTo>
                      <a:pt x="174" y="158"/>
                    </a:lnTo>
                    <a:lnTo>
                      <a:pt x="174" y="160"/>
                    </a:lnTo>
                    <a:lnTo>
                      <a:pt x="174" y="162"/>
                    </a:lnTo>
                    <a:lnTo>
                      <a:pt x="174" y="163"/>
                    </a:lnTo>
                    <a:lnTo>
                      <a:pt x="174" y="165"/>
                    </a:lnTo>
                    <a:lnTo>
                      <a:pt x="176" y="165"/>
                    </a:lnTo>
                    <a:lnTo>
                      <a:pt x="177" y="162"/>
                    </a:lnTo>
                    <a:lnTo>
                      <a:pt x="181" y="158"/>
                    </a:lnTo>
                    <a:lnTo>
                      <a:pt x="184" y="157"/>
                    </a:lnTo>
                    <a:lnTo>
                      <a:pt x="182" y="158"/>
                    </a:lnTo>
                    <a:lnTo>
                      <a:pt x="184" y="158"/>
                    </a:lnTo>
                    <a:lnTo>
                      <a:pt x="184" y="160"/>
                    </a:lnTo>
                    <a:lnTo>
                      <a:pt x="184" y="162"/>
                    </a:lnTo>
                    <a:lnTo>
                      <a:pt x="185" y="162"/>
                    </a:lnTo>
                    <a:lnTo>
                      <a:pt x="189" y="162"/>
                    </a:lnTo>
                    <a:lnTo>
                      <a:pt x="193" y="160"/>
                    </a:lnTo>
                    <a:lnTo>
                      <a:pt x="200" y="158"/>
                    </a:lnTo>
                    <a:lnTo>
                      <a:pt x="195" y="162"/>
                    </a:lnTo>
                    <a:lnTo>
                      <a:pt x="189" y="163"/>
                    </a:lnTo>
                    <a:lnTo>
                      <a:pt x="187" y="165"/>
                    </a:lnTo>
                    <a:lnTo>
                      <a:pt x="185" y="166"/>
                    </a:lnTo>
                    <a:lnTo>
                      <a:pt x="184" y="166"/>
                    </a:lnTo>
                    <a:lnTo>
                      <a:pt x="179" y="169"/>
                    </a:lnTo>
                    <a:lnTo>
                      <a:pt x="174" y="173"/>
                    </a:lnTo>
                    <a:lnTo>
                      <a:pt x="174" y="176"/>
                    </a:lnTo>
                    <a:lnTo>
                      <a:pt x="174" y="176"/>
                    </a:lnTo>
                    <a:lnTo>
                      <a:pt x="171" y="176"/>
                    </a:lnTo>
                    <a:lnTo>
                      <a:pt x="171" y="176"/>
                    </a:lnTo>
                    <a:lnTo>
                      <a:pt x="168" y="176"/>
                    </a:lnTo>
                    <a:lnTo>
                      <a:pt x="162" y="179"/>
                    </a:lnTo>
                    <a:lnTo>
                      <a:pt x="158" y="181"/>
                    </a:lnTo>
                    <a:lnTo>
                      <a:pt x="154" y="184"/>
                    </a:lnTo>
                    <a:lnTo>
                      <a:pt x="152" y="185"/>
                    </a:lnTo>
                    <a:lnTo>
                      <a:pt x="150" y="185"/>
                    </a:lnTo>
                    <a:lnTo>
                      <a:pt x="146" y="185"/>
                    </a:lnTo>
                    <a:lnTo>
                      <a:pt x="136" y="189"/>
                    </a:lnTo>
                    <a:lnTo>
                      <a:pt x="127" y="193"/>
                    </a:lnTo>
                    <a:lnTo>
                      <a:pt x="120" y="196"/>
                    </a:lnTo>
                    <a:lnTo>
                      <a:pt x="119" y="198"/>
                    </a:lnTo>
                    <a:lnTo>
                      <a:pt x="119" y="200"/>
                    </a:lnTo>
                    <a:lnTo>
                      <a:pt x="117" y="200"/>
                    </a:lnTo>
                    <a:lnTo>
                      <a:pt x="117" y="198"/>
                    </a:lnTo>
                    <a:lnTo>
                      <a:pt x="115" y="200"/>
                    </a:lnTo>
                    <a:lnTo>
                      <a:pt x="111" y="200"/>
                    </a:lnTo>
                    <a:lnTo>
                      <a:pt x="112" y="198"/>
                    </a:lnTo>
                    <a:lnTo>
                      <a:pt x="114" y="196"/>
                    </a:lnTo>
                    <a:lnTo>
                      <a:pt x="111" y="198"/>
                    </a:lnTo>
                    <a:lnTo>
                      <a:pt x="109" y="198"/>
                    </a:lnTo>
                    <a:lnTo>
                      <a:pt x="111" y="196"/>
                    </a:lnTo>
                    <a:lnTo>
                      <a:pt x="101" y="200"/>
                    </a:lnTo>
                    <a:lnTo>
                      <a:pt x="93" y="201"/>
                    </a:lnTo>
                    <a:lnTo>
                      <a:pt x="88" y="203"/>
                    </a:lnTo>
                    <a:lnTo>
                      <a:pt x="85" y="204"/>
                    </a:lnTo>
                    <a:lnTo>
                      <a:pt x="81" y="206"/>
                    </a:lnTo>
                    <a:lnTo>
                      <a:pt x="77" y="209"/>
                    </a:lnTo>
                    <a:lnTo>
                      <a:pt x="77" y="209"/>
                    </a:lnTo>
                    <a:lnTo>
                      <a:pt x="77" y="211"/>
                    </a:lnTo>
                    <a:lnTo>
                      <a:pt x="81" y="209"/>
                    </a:lnTo>
                    <a:lnTo>
                      <a:pt x="84" y="209"/>
                    </a:lnTo>
                    <a:lnTo>
                      <a:pt x="84" y="208"/>
                    </a:lnTo>
                    <a:lnTo>
                      <a:pt x="84" y="206"/>
                    </a:lnTo>
                    <a:lnTo>
                      <a:pt x="85" y="206"/>
                    </a:lnTo>
                    <a:lnTo>
                      <a:pt x="85" y="208"/>
                    </a:lnTo>
                    <a:lnTo>
                      <a:pt x="84" y="209"/>
                    </a:lnTo>
                    <a:lnTo>
                      <a:pt x="85" y="209"/>
                    </a:lnTo>
                    <a:lnTo>
                      <a:pt x="87" y="209"/>
                    </a:lnTo>
                    <a:lnTo>
                      <a:pt x="88" y="208"/>
                    </a:lnTo>
                    <a:lnTo>
                      <a:pt x="88" y="209"/>
                    </a:lnTo>
                    <a:lnTo>
                      <a:pt x="92" y="206"/>
                    </a:lnTo>
                    <a:lnTo>
                      <a:pt x="95" y="204"/>
                    </a:lnTo>
                    <a:lnTo>
                      <a:pt x="101" y="201"/>
                    </a:lnTo>
                    <a:lnTo>
                      <a:pt x="101" y="201"/>
                    </a:lnTo>
                    <a:lnTo>
                      <a:pt x="104" y="203"/>
                    </a:lnTo>
                    <a:lnTo>
                      <a:pt x="101" y="203"/>
                    </a:lnTo>
                    <a:lnTo>
                      <a:pt x="100" y="204"/>
                    </a:lnTo>
                    <a:lnTo>
                      <a:pt x="104" y="204"/>
                    </a:lnTo>
                    <a:lnTo>
                      <a:pt x="106" y="203"/>
                    </a:lnTo>
                    <a:lnTo>
                      <a:pt x="108" y="203"/>
                    </a:lnTo>
                    <a:lnTo>
                      <a:pt x="109" y="203"/>
                    </a:lnTo>
                    <a:lnTo>
                      <a:pt x="111" y="201"/>
                    </a:lnTo>
                    <a:lnTo>
                      <a:pt x="111" y="203"/>
                    </a:lnTo>
                    <a:lnTo>
                      <a:pt x="115" y="200"/>
                    </a:lnTo>
                    <a:lnTo>
                      <a:pt x="119" y="200"/>
                    </a:lnTo>
                    <a:lnTo>
                      <a:pt x="122" y="200"/>
                    </a:lnTo>
                    <a:lnTo>
                      <a:pt x="123" y="200"/>
                    </a:lnTo>
                    <a:lnTo>
                      <a:pt x="125" y="200"/>
                    </a:lnTo>
                    <a:lnTo>
                      <a:pt x="120" y="201"/>
                    </a:lnTo>
                    <a:lnTo>
                      <a:pt x="123" y="200"/>
                    </a:lnTo>
                    <a:lnTo>
                      <a:pt x="127" y="200"/>
                    </a:lnTo>
                    <a:lnTo>
                      <a:pt x="130" y="198"/>
                    </a:lnTo>
                    <a:lnTo>
                      <a:pt x="133" y="198"/>
                    </a:lnTo>
                    <a:lnTo>
                      <a:pt x="136" y="198"/>
                    </a:lnTo>
                    <a:lnTo>
                      <a:pt x="139" y="196"/>
                    </a:lnTo>
                    <a:lnTo>
                      <a:pt x="139" y="195"/>
                    </a:lnTo>
                    <a:lnTo>
                      <a:pt x="141" y="195"/>
                    </a:lnTo>
                    <a:lnTo>
                      <a:pt x="139" y="196"/>
                    </a:lnTo>
                    <a:lnTo>
                      <a:pt x="142" y="195"/>
                    </a:lnTo>
                    <a:lnTo>
                      <a:pt x="146" y="193"/>
                    </a:lnTo>
                    <a:lnTo>
                      <a:pt x="144" y="193"/>
                    </a:lnTo>
                    <a:lnTo>
                      <a:pt x="142" y="193"/>
                    </a:lnTo>
                    <a:lnTo>
                      <a:pt x="146" y="192"/>
                    </a:lnTo>
                    <a:lnTo>
                      <a:pt x="150" y="190"/>
                    </a:lnTo>
                    <a:lnTo>
                      <a:pt x="154" y="190"/>
                    </a:lnTo>
                    <a:lnTo>
                      <a:pt x="154" y="189"/>
                    </a:lnTo>
                    <a:lnTo>
                      <a:pt x="155" y="189"/>
                    </a:lnTo>
                    <a:lnTo>
                      <a:pt x="158" y="189"/>
                    </a:lnTo>
                    <a:lnTo>
                      <a:pt x="160" y="189"/>
                    </a:lnTo>
                    <a:lnTo>
                      <a:pt x="162" y="187"/>
                    </a:lnTo>
                    <a:lnTo>
                      <a:pt x="163" y="185"/>
                    </a:lnTo>
                    <a:lnTo>
                      <a:pt x="165" y="185"/>
                    </a:lnTo>
                    <a:lnTo>
                      <a:pt x="165" y="185"/>
                    </a:lnTo>
                    <a:lnTo>
                      <a:pt x="171" y="184"/>
                    </a:lnTo>
                    <a:lnTo>
                      <a:pt x="174" y="182"/>
                    </a:lnTo>
                    <a:lnTo>
                      <a:pt x="179" y="181"/>
                    </a:lnTo>
                    <a:lnTo>
                      <a:pt x="181" y="179"/>
                    </a:lnTo>
                    <a:lnTo>
                      <a:pt x="184" y="177"/>
                    </a:lnTo>
                    <a:lnTo>
                      <a:pt x="187" y="176"/>
                    </a:lnTo>
                    <a:lnTo>
                      <a:pt x="189" y="176"/>
                    </a:lnTo>
                    <a:lnTo>
                      <a:pt x="190" y="176"/>
                    </a:lnTo>
                    <a:lnTo>
                      <a:pt x="195" y="176"/>
                    </a:lnTo>
                    <a:lnTo>
                      <a:pt x="198" y="173"/>
                    </a:lnTo>
                    <a:lnTo>
                      <a:pt x="203" y="173"/>
                    </a:lnTo>
                    <a:lnTo>
                      <a:pt x="209" y="169"/>
                    </a:lnTo>
                    <a:lnTo>
                      <a:pt x="212" y="169"/>
                    </a:lnTo>
                    <a:lnTo>
                      <a:pt x="216" y="166"/>
                    </a:lnTo>
                    <a:lnTo>
                      <a:pt x="217" y="169"/>
                    </a:lnTo>
                    <a:lnTo>
                      <a:pt x="217" y="166"/>
                    </a:lnTo>
                    <a:lnTo>
                      <a:pt x="220" y="166"/>
                    </a:lnTo>
                    <a:lnTo>
                      <a:pt x="222" y="166"/>
                    </a:lnTo>
                    <a:lnTo>
                      <a:pt x="223" y="165"/>
                    </a:lnTo>
                    <a:lnTo>
                      <a:pt x="227" y="163"/>
                    </a:lnTo>
                    <a:lnTo>
                      <a:pt x="231" y="162"/>
                    </a:lnTo>
                    <a:lnTo>
                      <a:pt x="233" y="160"/>
                    </a:lnTo>
                    <a:lnTo>
                      <a:pt x="238" y="158"/>
                    </a:lnTo>
                    <a:lnTo>
                      <a:pt x="238" y="157"/>
                    </a:lnTo>
                    <a:lnTo>
                      <a:pt x="238" y="155"/>
                    </a:lnTo>
                    <a:lnTo>
                      <a:pt x="235" y="155"/>
                    </a:lnTo>
                    <a:lnTo>
                      <a:pt x="231" y="155"/>
                    </a:lnTo>
                    <a:lnTo>
                      <a:pt x="233" y="154"/>
                    </a:lnTo>
                    <a:lnTo>
                      <a:pt x="236" y="152"/>
                    </a:lnTo>
                    <a:lnTo>
                      <a:pt x="238" y="152"/>
                    </a:lnTo>
                    <a:lnTo>
                      <a:pt x="239" y="152"/>
                    </a:lnTo>
                    <a:lnTo>
                      <a:pt x="238" y="150"/>
                    </a:lnTo>
                    <a:lnTo>
                      <a:pt x="242" y="150"/>
                    </a:lnTo>
                    <a:lnTo>
                      <a:pt x="244" y="149"/>
                    </a:lnTo>
                    <a:lnTo>
                      <a:pt x="249" y="147"/>
                    </a:lnTo>
                    <a:lnTo>
                      <a:pt x="250" y="146"/>
                    </a:lnTo>
                    <a:lnTo>
                      <a:pt x="250" y="147"/>
                    </a:lnTo>
                    <a:lnTo>
                      <a:pt x="254" y="147"/>
                    </a:lnTo>
                    <a:lnTo>
                      <a:pt x="255" y="146"/>
                    </a:lnTo>
                    <a:lnTo>
                      <a:pt x="255" y="144"/>
                    </a:lnTo>
                    <a:lnTo>
                      <a:pt x="258" y="144"/>
                    </a:lnTo>
                    <a:lnTo>
                      <a:pt x="265" y="142"/>
                    </a:lnTo>
                    <a:lnTo>
                      <a:pt x="265" y="141"/>
                    </a:lnTo>
                    <a:lnTo>
                      <a:pt x="262" y="138"/>
                    </a:lnTo>
                    <a:lnTo>
                      <a:pt x="265" y="141"/>
                    </a:lnTo>
                    <a:lnTo>
                      <a:pt x="266" y="141"/>
                    </a:lnTo>
                    <a:lnTo>
                      <a:pt x="273" y="138"/>
                    </a:lnTo>
                    <a:lnTo>
                      <a:pt x="277" y="135"/>
                    </a:lnTo>
                    <a:lnTo>
                      <a:pt x="282" y="135"/>
                    </a:lnTo>
                    <a:lnTo>
                      <a:pt x="287" y="131"/>
                    </a:lnTo>
                    <a:lnTo>
                      <a:pt x="290" y="130"/>
                    </a:lnTo>
                    <a:lnTo>
                      <a:pt x="293" y="130"/>
                    </a:lnTo>
                    <a:lnTo>
                      <a:pt x="296" y="128"/>
                    </a:lnTo>
                    <a:lnTo>
                      <a:pt x="300" y="127"/>
                    </a:lnTo>
                    <a:lnTo>
                      <a:pt x="301" y="127"/>
                    </a:lnTo>
                    <a:lnTo>
                      <a:pt x="304" y="125"/>
                    </a:lnTo>
                    <a:lnTo>
                      <a:pt x="304" y="127"/>
                    </a:lnTo>
                    <a:lnTo>
                      <a:pt x="306" y="127"/>
                    </a:lnTo>
                    <a:lnTo>
                      <a:pt x="309" y="127"/>
                    </a:lnTo>
                    <a:lnTo>
                      <a:pt x="308" y="128"/>
                    </a:lnTo>
                    <a:lnTo>
                      <a:pt x="309" y="130"/>
                    </a:lnTo>
                    <a:lnTo>
                      <a:pt x="312" y="131"/>
                    </a:lnTo>
                    <a:lnTo>
                      <a:pt x="309" y="131"/>
                    </a:lnTo>
                    <a:lnTo>
                      <a:pt x="304" y="131"/>
                    </a:lnTo>
                    <a:lnTo>
                      <a:pt x="303" y="131"/>
                    </a:lnTo>
                    <a:lnTo>
                      <a:pt x="301" y="131"/>
                    </a:lnTo>
                    <a:lnTo>
                      <a:pt x="301" y="130"/>
                    </a:lnTo>
                    <a:lnTo>
                      <a:pt x="287" y="135"/>
                    </a:lnTo>
                    <a:lnTo>
                      <a:pt x="285" y="135"/>
                    </a:lnTo>
                    <a:lnTo>
                      <a:pt x="284" y="138"/>
                    </a:lnTo>
                    <a:lnTo>
                      <a:pt x="277" y="141"/>
                    </a:lnTo>
                    <a:lnTo>
                      <a:pt x="271" y="142"/>
                    </a:lnTo>
                    <a:lnTo>
                      <a:pt x="268" y="146"/>
                    </a:lnTo>
                    <a:lnTo>
                      <a:pt x="266" y="147"/>
                    </a:lnTo>
                    <a:lnTo>
                      <a:pt x="268" y="147"/>
                    </a:lnTo>
                    <a:lnTo>
                      <a:pt x="269" y="147"/>
                    </a:lnTo>
                    <a:lnTo>
                      <a:pt x="262" y="150"/>
                    </a:lnTo>
                    <a:lnTo>
                      <a:pt x="258" y="152"/>
                    </a:lnTo>
                    <a:lnTo>
                      <a:pt x="258" y="154"/>
                    </a:lnTo>
                    <a:lnTo>
                      <a:pt x="262" y="154"/>
                    </a:lnTo>
                    <a:lnTo>
                      <a:pt x="262" y="154"/>
                    </a:lnTo>
                    <a:lnTo>
                      <a:pt x="265" y="154"/>
                    </a:lnTo>
                    <a:lnTo>
                      <a:pt x="265" y="154"/>
                    </a:lnTo>
                    <a:lnTo>
                      <a:pt x="265" y="152"/>
                    </a:lnTo>
                    <a:lnTo>
                      <a:pt x="268" y="152"/>
                    </a:lnTo>
                    <a:lnTo>
                      <a:pt x="271" y="150"/>
                    </a:lnTo>
                    <a:lnTo>
                      <a:pt x="274" y="149"/>
                    </a:lnTo>
                    <a:lnTo>
                      <a:pt x="277" y="149"/>
                    </a:lnTo>
                    <a:lnTo>
                      <a:pt x="276" y="150"/>
                    </a:lnTo>
                    <a:lnTo>
                      <a:pt x="282" y="147"/>
                    </a:lnTo>
                    <a:lnTo>
                      <a:pt x="277" y="150"/>
                    </a:lnTo>
                    <a:lnTo>
                      <a:pt x="285" y="147"/>
                    </a:lnTo>
                    <a:lnTo>
                      <a:pt x="287" y="146"/>
                    </a:lnTo>
                    <a:lnTo>
                      <a:pt x="287" y="147"/>
                    </a:lnTo>
                    <a:lnTo>
                      <a:pt x="290" y="144"/>
                    </a:lnTo>
                    <a:lnTo>
                      <a:pt x="290" y="144"/>
                    </a:lnTo>
                    <a:lnTo>
                      <a:pt x="290" y="146"/>
                    </a:lnTo>
                    <a:lnTo>
                      <a:pt x="293" y="142"/>
                    </a:lnTo>
                    <a:lnTo>
                      <a:pt x="296" y="141"/>
                    </a:lnTo>
                    <a:lnTo>
                      <a:pt x="296" y="144"/>
                    </a:lnTo>
                    <a:lnTo>
                      <a:pt x="296" y="142"/>
                    </a:lnTo>
                    <a:lnTo>
                      <a:pt x="300" y="142"/>
                    </a:lnTo>
                    <a:lnTo>
                      <a:pt x="300" y="144"/>
                    </a:lnTo>
                    <a:lnTo>
                      <a:pt x="303" y="142"/>
                    </a:lnTo>
                    <a:lnTo>
                      <a:pt x="306" y="142"/>
                    </a:lnTo>
                    <a:lnTo>
                      <a:pt x="312" y="141"/>
                    </a:lnTo>
                    <a:lnTo>
                      <a:pt x="311" y="141"/>
                    </a:lnTo>
                    <a:lnTo>
                      <a:pt x="309" y="141"/>
                    </a:lnTo>
                    <a:lnTo>
                      <a:pt x="314" y="138"/>
                    </a:lnTo>
                    <a:lnTo>
                      <a:pt x="317" y="138"/>
                    </a:lnTo>
                    <a:lnTo>
                      <a:pt x="319" y="135"/>
                    </a:lnTo>
                    <a:lnTo>
                      <a:pt x="311" y="138"/>
                    </a:lnTo>
                    <a:lnTo>
                      <a:pt x="316" y="135"/>
                    </a:lnTo>
                    <a:lnTo>
                      <a:pt x="317" y="135"/>
                    </a:lnTo>
                    <a:lnTo>
                      <a:pt x="319" y="131"/>
                    </a:lnTo>
                    <a:lnTo>
                      <a:pt x="317" y="135"/>
                    </a:lnTo>
                    <a:lnTo>
                      <a:pt x="317" y="131"/>
                    </a:lnTo>
                    <a:lnTo>
                      <a:pt x="316" y="131"/>
                    </a:lnTo>
                    <a:lnTo>
                      <a:pt x="320" y="131"/>
                    </a:lnTo>
                    <a:lnTo>
                      <a:pt x="325" y="130"/>
                    </a:lnTo>
                    <a:lnTo>
                      <a:pt x="325" y="130"/>
                    </a:lnTo>
                    <a:lnTo>
                      <a:pt x="331" y="127"/>
                    </a:lnTo>
                    <a:lnTo>
                      <a:pt x="328" y="130"/>
                    </a:lnTo>
                    <a:lnTo>
                      <a:pt x="325" y="131"/>
                    </a:lnTo>
                    <a:lnTo>
                      <a:pt x="325" y="131"/>
                    </a:lnTo>
                    <a:lnTo>
                      <a:pt x="328" y="131"/>
                    </a:lnTo>
                    <a:lnTo>
                      <a:pt x="328" y="130"/>
                    </a:lnTo>
                    <a:lnTo>
                      <a:pt x="331" y="128"/>
                    </a:lnTo>
                    <a:lnTo>
                      <a:pt x="328" y="131"/>
                    </a:lnTo>
                    <a:lnTo>
                      <a:pt x="331" y="130"/>
                    </a:lnTo>
                    <a:lnTo>
                      <a:pt x="331" y="131"/>
                    </a:lnTo>
                    <a:lnTo>
                      <a:pt x="338" y="130"/>
                    </a:lnTo>
                    <a:lnTo>
                      <a:pt x="341" y="128"/>
                    </a:lnTo>
                    <a:lnTo>
                      <a:pt x="343" y="128"/>
                    </a:lnTo>
                    <a:lnTo>
                      <a:pt x="344" y="130"/>
                    </a:lnTo>
                    <a:lnTo>
                      <a:pt x="339" y="130"/>
                    </a:lnTo>
                    <a:lnTo>
                      <a:pt x="338" y="131"/>
                    </a:lnTo>
                    <a:lnTo>
                      <a:pt x="336" y="131"/>
                    </a:lnTo>
                    <a:lnTo>
                      <a:pt x="338" y="131"/>
                    </a:lnTo>
                    <a:lnTo>
                      <a:pt x="335" y="135"/>
                    </a:lnTo>
                    <a:lnTo>
                      <a:pt x="338" y="135"/>
                    </a:lnTo>
                    <a:lnTo>
                      <a:pt x="341" y="135"/>
                    </a:lnTo>
                    <a:lnTo>
                      <a:pt x="344" y="135"/>
                    </a:lnTo>
                    <a:lnTo>
                      <a:pt x="339" y="138"/>
                    </a:lnTo>
                    <a:lnTo>
                      <a:pt x="341" y="138"/>
                    </a:lnTo>
                    <a:lnTo>
                      <a:pt x="343" y="138"/>
                    </a:lnTo>
                    <a:lnTo>
                      <a:pt x="346" y="138"/>
                    </a:lnTo>
                    <a:lnTo>
                      <a:pt x="350" y="135"/>
                    </a:lnTo>
                    <a:lnTo>
                      <a:pt x="346" y="138"/>
                    </a:lnTo>
                    <a:lnTo>
                      <a:pt x="350" y="141"/>
                    </a:lnTo>
                    <a:lnTo>
                      <a:pt x="352" y="141"/>
                    </a:lnTo>
                    <a:lnTo>
                      <a:pt x="350" y="142"/>
                    </a:lnTo>
                    <a:lnTo>
                      <a:pt x="354" y="142"/>
                    </a:lnTo>
                    <a:lnTo>
                      <a:pt x="357" y="142"/>
                    </a:lnTo>
                    <a:lnTo>
                      <a:pt x="360" y="141"/>
                    </a:lnTo>
                    <a:lnTo>
                      <a:pt x="366" y="141"/>
                    </a:lnTo>
                    <a:lnTo>
                      <a:pt x="374" y="142"/>
                    </a:lnTo>
                    <a:lnTo>
                      <a:pt x="376" y="142"/>
                    </a:lnTo>
                    <a:lnTo>
                      <a:pt x="379" y="141"/>
                    </a:lnTo>
                    <a:lnTo>
                      <a:pt x="377" y="142"/>
                    </a:lnTo>
                    <a:lnTo>
                      <a:pt x="376" y="144"/>
                    </a:lnTo>
                    <a:lnTo>
                      <a:pt x="379" y="146"/>
                    </a:lnTo>
                    <a:lnTo>
                      <a:pt x="381" y="146"/>
                    </a:lnTo>
                    <a:lnTo>
                      <a:pt x="390" y="146"/>
                    </a:lnTo>
                    <a:lnTo>
                      <a:pt x="392" y="144"/>
                    </a:lnTo>
                    <a:lnTo>
                      <a:pt x="390" y="147"/>
                    </a:lnTo>
                    <a:lnTo>
                      <a:pt x="387" y="149"/>
                    </a:lnTo>
                    <a:lnTo>
                      <a:pt x="387" y="150"/>
                    </a:lnTo>
                    <a:lnTo>
                      <a:pt x="390" y="152"/>
                    </a:lnTo>
                    <a:lnTo>
                      <a:pt x="390" y="150"/>
                    </a:lnTo>
                    <a:lnTo>
                      <a:pt x="390" y="152"/>
                    </a:lnTo>
                    <a:lnTo>
                      <a:pt x="392" y="154"/>
                    </a:lnTo>
                    <a:lnTo>
                      <a:pt x="395" y="154"/>
                    </a:lnTo>
                    <a:lnTo>
                      <a:pt x="393" y="155"/>
                    </a:lnTo>
                    <a:lnTo>
                      <a:pt x="395" y="157"/>
                    </a:lnTo>
                    <a:lnTo>
                      <a:pt x="395" y="158"/>
                    </a:lnTo>
                    <a:lnTo>
                      <a:pt x="395" y="160"/>
                    </a:lnTo>
                    <a:lnTo>
                      <a:pt x="397" y="162"/>
                    </a:lnTo>
                    <a:lnTo>
                      <a:pt x="397" y="163"/>
                    </a:lnTo>
                    <a:lnTo>
                      <a:pt x="398" y="165"/>
                    </a:lnTo>
                    <a:lnTo>
                      <a:pt x="400" y="166"/>
                    </a:lnTo>
                    <a:lnTo>
                      <a:pt x="400" y="166"/>
                    </a:lnTo>
                    <a:lnTo>
                      <a:pt x="401" y="166"/>
                    </a:lnTo>
                    <a:lnTo>
                      <a:pt x="403" y="166"/>
                    </a:lnTo>
                    <a:lnTo>
                      <a:pt x="404" y="165"/>
                    </a:lnTo>
                    <a:lnTo>
                      <a:pt x="406" y="165"/>
                    </a:lnTo>
                    <a:lnTo>
                      <a:pt x="406" y="166"/>
                    </a:lnTo>
                    <a:lnTo>
                      <a:pt x="408" y="165"/>
                    </a:lnTo>
                    <a:lnTo>
                      <a:pt x="409" y="165"/>
                    </a:lnTo>
                    <a:lnTo>
                      <a:pt x="409" y="163"/>
                    </a:lnTo>
                    <a:lnTo>
                      <a:pt x="411" y="163"/>
                    </a:lnTo>
                    <a:lnTo>
                      <a:pt x="409" y="162"/>
                    </a:lnTo>
                    <a:lnTo>
                      <a:pt x="411" y="160"/>
                    </a:lnTo>
                    <a:lnTo>
                      <a:pt x="409" y="160"/>
                    </a:lnTo>
                    <a:lnTo>
                      <a:pt x="409" y="160"/>
                    </a:lnTo>
                    <a:lnTo>
                      <a:pt x="409" y="158"/>
                    </a:lnTo>
                    <a:lnTo>
                      <a:pt x="406" y="158"/>
                    </a:lnTo>
                    <a:lnTo>
                      <a:pt x="409" y="155"/>
                    </a:lnTo>
                    <a:lnTo>
                      <a:pt x="409" y="157"/>
                    </a:lnTo>
                    <a:lnTo>
                      <a:pt x="411" y="157"/>
                    </a:lnTo>
                    <a:lnTo>
                      <a:pt x="411" y="158"/>
                    </a:lnTo>
                    <a:lnTo>
                      <a:pt x="412" y="160"/>
                    </a:lnTo>
                    <a:lnTo>
                      <a:pt x="416" y="158"/>
                    </a:lnTo>
                    <a:lnTo>
                      <a:pt x="416" y="158"/>
                    </a:lnTo>
                    <a:lnTo>
                      <a:pt x="414" y="160"/>
                    </a:lnTo>
                    <a:lnTo>
                      <a:pt x="411" y="165"/>
                    </a:lnTo>
                    <a:lnTo>
                      <a:pt x="414" y="165"/>
                    </a:lnTo>
                    <a:lnTo>
                      <a:pt x="416" y="165"/>
                    </a:lnTo>
                    <a:lnTo>
                      <a:pt x="416" y="166"/>
                    </a:lnTo>
                    <a:lnTo>
                      <a:pt x="416" y="166"/>
                    </a:lnTo>
                    <a:lnTo>
                      <a:pt x="419" y="165"/>
                    </a:lnTo>
                    <a:lnTo>
                      <a:pt x="419" y="162"/>
                    </a:lnTo>
                    <a:lnTo>
                      <a:pt x="425" y="157"/>
                    </a:lnTo>
                    <a:lnTo>
                      <a:pt x="425" y="154"/>
                    </a:lnTo>
                    <a:lnTo>
                      <a:pt x="427" y="155"/>
                    </a:lnTo>
                    <a:lnTo>
                      <a:pt x="425" y="158"/>
                    </a:lnTo>
                    <a:lnTo>
                      <a:pt x="425" y="162"/>
                    </a:lnTo>
                    <a:lnTo>
                      <a:pt x="422" y="163"/>
                    </a:lnTo>
                    <a:lnTo>
                      <a:pt x="422" y="165"/>
                    </a:lnTo>
                    <a:lnTo>
                      <a:pt x="425" y="166"/>
                    </a:lnTo>
                    <a:lnTo>
                      <a:pt x="425" y="166"/>
                    </a:lnTo>
                    <a:lnTo>
                      <a:pt x="427" y="166"/>
                    </a:lnTo>
                    <a:lnTo>
                      <a:pt x="430" y="165"/>
                    </a:lnTo>
                    <a:lnTo>
                      <a:pt x="427" y="166"/>
                    </a:lnTo>
                    <a:lnTo>
                      <a:pt x="425" y="166"/>
                    </a:lnTo>
                    <a:lnTo>
                      <a:pt x="425" y="169"/>
                    </a:lnTo>
                    <a:lnTo>
                      <a:pt x="427" y="169"/>
                    </a:lnTo>
                    <a:lnTo>
                      <a:pt x="430" y="166"/>
                    </a:lnTo>
                    <a:lnTo>
                      <a:pt x="427" y="169"/>
                    </a:lnTo>
                    <a:lnTo>
                      <a:pt x="425" y="173"/>
                    </a:lnTo>
                    <a:lnTo>
                      <a:pt x="428" y="169"/>
                    </a:lnTo>
                    <a:lnTo>
                      <a:pt x="427" y="173"/>
                    </a:lnTo>
                    <a:lnTo>
                      <a:pt x="427" y="173"/>
                    </a:lnTo>
                    <a:lnTo>
                      <a:pt x="427" y="176"/>
                    </a:lnTo>
                    <a:lnTo>
                      <a:pt x="425" y="173"/>
                    </a:lnTo>
                    <a:lnTo>
                      <a:pt x="425" y="176"/>
                    </a:lnTo>
                    <a:lnTo>
                      <a:pt x="425" y="176"/>
                    </a:lnTo>
                    <a:lnTo>
                      <a:pt x="425" y="176"/>
                    </a:lnTo>
                    <a:lnTo>
                      <a:pt x="422" y="177"/>
                    </a:lnTo>
                    <a:lnTo>
                      <a:pt x="425" y="177"/>
                    </a:lnTo>
                    <a:lnTo>
                      <a:pt x="422" y="179"/>
                    </a:lnTo>
                    <a:lnTo>
                      <a:pt x="419" y="181"/>
                    </a:lnTo>
                    <a:lnTo>
                      <a:pt x="422" y="181"/>
                    </a:lnTo>
                    <a:lnTo>
                      <a:pt x="422" y="181"/>
                    </a:lnTo>
                    <a:lnTo>
                      <a:pt x="422" y="182"/>
                    </a:lnTo>
                    <a:lnTo>
                      <a:pt x="425" y="182"/>
                    </a:lnTo>
                    <a:lnTo>
                      <a:pt x="422" y="184"/>
                    </a:lnTo>
                    <a:lnTo>
                      <a:pt x="422" y="185"/>
                    </a:lnTo>
                    <a:lnTo>
                      <a:pt x="425" y="185"/>
                    </a:lnTo>
                    <a:lnTo>
                      <a:pt x="425" y="185"/>
                    </a:lnTo>
                    <a:lnTo>
                      <a:pt x="422" y="189"/>
                    </a:lnTo>
                    <a:lnTo>
                      <a:pt x="422" y="190"/>
                    </a:lnTo>
                    <a:lnTo>
                      <a:pt x="419" y="192"/>
                    </a:lnTo>
                    <a:lnTo>
                      <a:pt x="419" y="193"/>
                    </a:lnTo>
                    <a:lnTo>
                      <a:pt x="419" y="195"/>
                    </a:lnTo>
                    <a:lnTo>
                      <a:pt x="422" y="195"/>
                    </a:lnTo>
                    <a:lnTo>
                      <a:pt x="416" y="200"/>
                    </a:lnTo>
                    <a:lnTo>
                      <a:pt x="416" y="200"/>
                    </a:lnTo>
                    <a:lnTo>
                      <a:pt x="412" y="201"/>
                    </a:lnTo>
                    <a:lnTo>
                      <a:pt x="414" y="201"/>
                    </a:lnTo>
                    <a:lnTo>
                      <a:pt x="416" y="201"/>
                    </a:lnTo>
                    <a:lnTo>
                      <a:pt x="416" y="200"/>
                    </a:lnTo>
                    <a:lnTo>
                      <a:pt x="419" y="200"/>
                    </a:lnTo>
                    <a:lnTo>
                      <a:pt x="419" y="200"/>
                    </a:lnTo>
                    <a:lnTo>
                      <a:pt x="422" y="198"/>
                    </a:lnTo>
                    <a:lnTo>
                      <a:pt x="425" y="196"/>
                    </a:lnTo>
                    <a:lnTo>
                      <a:pt x="422" y="198"/>
                    </a:lnTo>
                    <a:lnTo>
                      <a:pt x="427" y="196"/>
                    </a:lnTo>
                    <a:lnTo>
                      <a:pt x="431" y="195"/>
                    </a:lnTo>
                    <a:lnTo>
                      <a:pt x="428" y="196"/>
                    </a:lnTo>
                    <a:lnTo>
                      <a:pt x="427" y="200"/>
                    </a:lnTo>
                    <a:lnTo>
                      <a:pt x="427" y="198"/>
                    </a:lnTo>
                    <a:lnTo>
                      <a:pt x="425" y="198"/>
                    </a:lnTo>
                    <a:lnTo>
                      <a:pt x="425" y="198"/>
                    </a:lnTo>
                    <a:lnTo>
                      <a:pt x="422" y="200"/>
                    </a:lnTo>
                    <a:lnTo>
                      <a:pt x="419" y="200"/>
                    </a:lnTo>
                    <a:lnTo>
                      <a:pt x="419" y="200"/>
                    </a:lnTo>
                    <a:lnTo>
                      <a:pt x="419" y="201"/>
                    </a:lnTo>
                    <a:lnTo>
                      <a:pt x="416" y="203"/>
                    </a:lnTo>
                    <a:lnTo>
                      <a:pt x="416" y="204"/>
                    </a:lnTo>
                    <a:lnTo>
                      <a:pt x="416" y="204"/>
                    </a:lnTo>
                    <a:lnTo>
                      <a:pt x="419" y="203"/>
                    </a:lnTo>
                    <a:lnTo>
                      <a:pt x="422" y="201"/>
                    </a:lnTo>
                    <a:lnTo>
                      <a:pt x="419" y="204"/>
                    </a:lnTo>
                    <a:lnTo>
                      <a:pt x="416" y="206"/>
                    </a:lnTo>
                    <a:lnTo>
                      <a:pt x="419" y="206"/>
                    </a:lnTo>
                    <a:lnTo>
                      <a:pt x="419" y="206"/>
                    </a:lnTo>
                    <a:lnTo>
                      <a:pt x="422" y="204"/>
                    </a:lnTo>
                    <a:lnTo>
                      <a:pt x="425" y="201"/>
                    </a:lnTo>
                    <a:lnTo>
                      <a:pt x="422" y="206"/>
                    </a:lnTo>
                    <a:lnTo>
                      <a:pt x="422" y="206"/>
                    </a:lnTo>
                    <a:lnTo>
                      <a:pt x="419" y="206"/>
                    </a:lnTo>
                    <a:lnTo>
                      <a:pt x="419" y="208"/>
                    </a:lnTo>
                    <a:lnTo>
                      <a:pt x="422" y="208"/>
                    </a:lnTo>
                    <a:lnTo>
                      <a:pt x="419" y="211"/>
                    </a:lnTo>
                    <a:lnTo>
                      <a:pt x="416" y="212"/>
                    </a:lnTo>
                    <a:lnTo>
                      <a:pt x="419" y="211"/>
                    </a:lnTo>
                    <a:lnTo>
                      <a:pt x="419" y="212"/>
                    </a:lnTo>
                    <a:lnTo>
                      <a:pt x="425" y="209"/>
                    </a:lnTo>
                    <a:lnTo>
                      <a:pt x="431" y="204"/>
                    </a:lnTo>
                    <a:lnTo>
                      <a:pt x="435" y="201"/>
                    </a:lnTo>
                    <a:lnTo>
                      <a:pt x="436" y="200"/>
                    </a:lnTo>
                    <a:lnTo>
                      <a:pt x="439" y="198"/>
                    </a:lnTo>
                    <a:lnTo>
                      <a:pt x="441" y="195"/>
                    </a:lnTo>
                    <a:lnTo>
                      <a:pt x="439" y="195"/>
                    </a:lnTo>
                    <a:lnTo>
                      <a:pt x="436" y="192"/>
                    </a:lnTo>
                    <a:lnTo>
                      <a:pt x="436" y="192"/>
                    </a:lnTo>
                    <a:lnTo>
                      <a:pt x="436" y="192"/>
                    </a:lnTo>
                    <a:lnTo>
                      <a:pt x="436" y="192"/>
                    </a:lnTo>
                    <a:lnTo>
                      <a:pt x="436" y="192"/>
                    </a:lnTo>
                    <a:lnTo>
                      <a:pt x="436" y="192"/>
                    </a:lnTo>
                    <a:lnTo>
                      <a:pt x="436" y="192"/>
                    </a:lnTo>
                    <a:lnTo>
                      <a:pt x="436" y="192"/>
                    </a:lnTo>
                    <a:lnTo>
                      <a:pt x="436" y="192"/>
                    </a:lnTo>
                    <a:close/>
                    <a:moveTo>
                      <a:pt x="416" y="173"/>
                    </a:moveTo>
                    <a:lnTo>
                      <a:pt x="412" y="176"/>
                    </a:lnTo>
                    <a:lnTo>
                      <a:pt x="412" y="177"/>
                    </a:lnTo>
                    <a:lnTo>
                      <a:pt x="414" y="177"/>
                    </a:lnTo>
                    <a:lnTo>
                      <a:pt x="409" y="179"/>
                    </a:lnTo>
                    <a:lnTo>
                      <a:pt x="406" y="182"/>
                    </a:lnTo>
                    <a:lnTo>
                      <a:pt x="409" y="182"/>
                    </a:lnTo>
                    <a:lnTo>
                      <a:pt x="412" y="181"/>
                    </a:lnTo>
                    <a:lnTo>
                      <a:pt x="416" y="177"/>
                    </a:lnTo>
                    <a:lnTo>
                      <a:pt x="416" y="177"/>
                    </a:lnTo>
                    <a:lnTo>
                      <a:pt x="419" y="177"/>
                    </a:lnTo>
                    <a:lnTo>
                      <a:pt x="416" y="176"/>
                    </a:lnTo>
                    <a:lnTo>
                      <a:pt x="419" y="176"/>
                    </a:lnTo>
                    <a:lnTo>
                      <a:pt x="419" y="176"/>
                    </a:lnTo>
                    <a:lnTo>
                      <a:pt x="422" y="169"/>
                    </a:lnTo>
                    <a:lnTo>
                      <a:pt x="422" y="169"/>
                    </a:lnTo>
                    <a:lnTo>
                      <a:pt x="422" y="173"/>
                    </a:lnTo>
                    <a:lnTo>
                      <a:pt x="425" y="166"/>
                    </a:lnTo>
                    <a:lnTo>
                      <a:pt x="419" y="166"/>
                    </a:lnTo>
                    <a:lnTo>
                      <a:pt x="416" y="173"/>
                    </a:lnTo>
                    <a:lnTo>
                      <a:pt x="416" y="173"/>
                    </a:lnTo>
                    <a:lnTo>
                      <a:pt x="416" y="173"/>
                    </a:lnTo>
                    <a:lnTo>
                      <a:pt x="416" y="173"/>
                    </a:lnTo>
                    <a:lnTo>
                      <a:pt x="416" y="173"/>
                    </a:lnTo>
                    <a:lnTo>
                      <a:pt x="416" y="173"/>
                    </a:lnTo>
                    <a:lnTo>
                      <a:pt x="416" y="173"/>
                    </a:lnTo>
                    <a:lnTo>
                      <a:pt x="416" y="173"/>
                    </a:lnTo>
                    <a:lnTo>
                      <a:pt x="416" y="173"/>
                    </a:lnTo>
                    <a:close/>
                    <a:moveTo>
                      <a:pt x="419" y="166"/>
                    </a:moveTo>
                    <a:lnTo>
                      <a:pt x="419" y="166"/>
                    </a:lnTo>
                    <a:lnTo>
                      <a:pt x="422" y="166"/>
                    </a:lnTo>
                    <a:lnTo>
                      <a:pt x="419" y="166"/>
                    </a:lnTo>
                    <a:lnTo>
                      <a:pt x="419" y="166"/>
                    </a:lnTo>
                    <a:lnTo>
                      <a:pt x="419" y="166"/>
                    </a:lnTo>
                    <a:lnTo>
                      <a:pt x="419" y="166"/>
                    </a:lnTo>
                    <a:lnTo>
                      <a:pt x="419" y="166"/>
                    </a:lnTo>
                    <a:lnTo>
                      <a:pt x="419" y="166"/>
                    </a:lnTo>
                    <a:lnTo>
                      <a:pt x="419" y="166"/>
                    </a:lnTo>
                    <a:lnTo>
                      <a:pt x="419" y="166"/>
                    </a:lnTo>
                    <a:lnTo>
                      <a:pt x="419" y="166"/>
                    </a:lnTo>
                    <a:close/>
                    <a:moveTo>
                      <a:pt x="1" y="233"/>
                    </a:moveTo>
                    <a:lnTo>
                      <a:pt x="8" y="231"/>
                    </a:lnTo>
                    <a:lnTo>
                      <a:pt x="0" y="233"/>
                    </a:lnTo>
                    <a:lnTo>
                      <a:pt x="1" y="233"/>
                    </a:lnTo>
                    <a:lnTo>
                      <a:pt x="1" y="233"/>
                    </a:lnTo>
                    <a:lnTo>
                      <a:pt x="1" y="233"/>
                    </a:lnTo>
                    <a:lnTo>
                      <a:pt x="1" y="233"/>
                    </a:lnTo>
                    <a:lnTo>
                      <a:pt x="1" y="233"/>
                    </a:lnTo>
                    <a:lnTo>
                      <a:pt x="1" y="233"/>
                    </a:lnTo>
                    <a:lnTo>
                      <a:pt x="1" y="233"/>
                    </a:lnTo>
                    <a:lnTo>
                      <a:pt x="1" y="233"/>
                    </a:lnTo>
                    <a:lnTo>
                      <a:pt x="1" y="233"/>
                    </a:lnTo>
                    <a:close/>
                    <a:moveTo>
                      <a:pt x="23" y="222"/>
                    </a:moveTo>
                    <a:lnTo>
                      <a:pt x="17" y="225"/>
                    </a:lnTo>
                    <a:lnTo>
                      <a:pt x="15" y="225"/>
                    </a:lnTo>
                    <a:lnTo>
                      <a:pt x="17" y="228"/>
                    </a:lnTo>
                    <a:lnTo>
                      <a:pt x="14" y="228"/>
                    </a:lnTo>
                    <a:lnTo>
                      <a:pt x="11" y="228"/>
                    </a:lnTo>
                    <a:lnTo>
                      <a:pt x="11" y="231"/>
                    </a:lnTo>
                    <a:lnTo>
                      <a:pt x="8" y="231"/>
                    </a:lnTo>
                    <a:lnTo>
                      <a:pt x="14" y="231"/>
                    </a:lnTo>
                    <a:lnTo>
                      <a:pt x="17" y="228"/>
                    </a:lnTo>
                    <a:lnTo>
                      <a:pt x="20" y="228"/>
                    </a:lnTo>
                    <a:lnTo>
                      <a:pt x="22" y="228"/>
                    </a:lnTo>
                    <a:lnTo>
                      <a:pt x="19" y="228"/>
                    </a:lnTo>
                    <a:lnTo>
                      <a:pt x="23" y="225"/>
                    </a:lnTo>
                    <a:lnTo>
                      <a:pt x="25" y="225"/>
                    </a:lnTo>
                    <a:lnTo>
                      <a:pt x="27" y="222"/>
                    </a:lnTo>
                    <a:lnTo>
                      <a:pt x="20" y="225"/>
                    </a:lnTo>
                    <a:lnTo>
                      <a:pt x="23" y="222"/>
                    </a:lnTo>
                    <a:lnTo>
                      <a:pt x="23" y="222"/>
                    </a:lnTo>
                    <a:lnTo>
                      <a:pt x="23" y="222"/>
                    </a:lnTo>
                    <a:lnTo>
                      <a:pt x="23" y="222"/>
                    </a:lnTo>
                    <a:lnTo>
                      <a:pt x="23" y="222"/>
                    </a:lnTo>
                    <a:lnTo>
                      <a:pt x="23" y="222"/>
                    </a:lnTo>
                    <a:lnTo>
                      <a:pt x="23" y="222"/>
                    </a:lnTo>
                    <a:lnTo>
                      <a:pt x="23" y="222"/>
                    </a:lnTo>
                    <a:lnTo>
                      <a:pt x="23" y="222"/>
                    </a:lnTo>
                    <a:close/>
                    <a:moveTo>
                      <a:pt x="35" y="220"/>
                    </a:moveTo>
                    <a:lnTo>
                      <a:pt x="31" y="222"/>
                    </a:lnTo>
                    <a:lnTo>
                      <a:pt x="30" y="222"/>
                    </a:lnTo>
                    <a:lnTo>
                      <a:pt x="31" y="222"/>
                    </a:lnTo>
                    <a:lnTo>
                      <a:pt x="36" y="222"/>
                    </a:lnTo>
                    <a:lnTo>
                      <a:pt x="35" y="222"/>
                    </a:lnTo>
                    <a:lnTo>
                      <a:pt x="35" y="220"/>
                    </a:lnTo>
                    <a:lnTo>
                      <a:pt x="35" y="220"/>
                    </a:lnTo>
                    <a:lnTo>
                      <a:pt x="35" y="220"/>
                    </a:lnTo>
                    <a:lnTo>
                      <a:pt x="35" y="220"/>
                    </a:lnTo>
                    <a:lnTo>
                      <a:pt x="35" y="220"/>
                    </a:lnTo>
                    <a:lnTo>
                      <a:pt x="35" y="220"/>
                    </a:lnTo>
                    <a:lnTo>
                      <a:pt x="35" y="220"/>
                    </a:lnTo>
                    <a:lnTo>
                      <a:pt x="35" y="220"/>
                    </a:lnTo>
                    <a:lnTo>
                      <a:pt x="35" y="220"/>
                    </a:lnTo>
                    <a:close/>
                    <a:moveTo>
                      <a:pt x="73" y="209"/>
                    </a:moveTo>
                    <a:lnTo>
                      <a:pt x="68" y="209"/>
                    </a:lnTo>
                    <a:lnTo>
                      <a:pt x="62" y="211"/>
                    </a:lnTo>
                    <a:lnTo>
                      <a:pt x="60" y="211"/>
                    </a:lnTo>
                    <a:lnTo>
                      <a:pt x="57" y="212"/>
                    </a:lnTo>
                    <a:lnTo>
                      <a:pt x="50" y="216"/>
                    </a:lnTo>
                    <a:lnTo>
                      <a:pt x="49" y="217"/>
                    </a:lnTo>
                    <a:lnTo>
                      <a:pt x="52" y="219"/>
                    </a:lnTo>
                    <a:lnTo>
                      <a:pt x="55" y="217"/>
                    </a:lnTo>
                    <a:lnTo>
                      <a:pt x="60" y="216"/>
                    </a:lnTo>
                    <a:lnTo>
                      <a:pt x="63" y="216"/>
                    </a:lnTo>
                    <a:lnTo>
                      <a:pt x="68" y="214"/>
                    </a:lnTo>
                    <a:lnTo>
                      <a:pt x="69" y="214"/>
                    </a:lnTo>
                    <a:lnTo>
                      <a:pt x="71" y="214"/>
                    </a:lnTo>
                    <a:lnTo>
                      <a:pt x="73" y="214"/>
                    </a:lnTo>
                    <a:lnTo>
                      <a:pt x="71" y="212"/>
                    </a:lnTo>
                    <a:lnTo>
                      <a:pt x="73" y="209"/>
                    </a:lnTo>
                    <a:lnTo>
                      <a:pt x="73" y="209"/>
                    </a:lnTo>
                    <a:lnTo>
                      <a:pt x="73" y="209"/>
                    </a:lnTo>
                    <a:lnTo>
                      <a:pt x="73" y="209"/>
                    </a:lnTo>
                    <a:lnTo>
                      <a:pt x="73" y="209"/>
                    </a:lnTo>
                    <a:lnTo>
                      <a:pt x="73" y="209"/>
                    </a:lnTo>
                    <a:lnTo>
                      <a:pt x="73" y="209"/>
                    </a:lnTo>
                    <a:lnTo>
                      <a:pt x="73" y="209"/>
                    </a:lnTo>
                    <a:lnTo>
                      <a:pt x="73" y="209"/>
                    </a:lnTo>
                    <a:close/>
                    <a:moveTo>
                      <a:pt x="122" y="146"/>
                    </a:moveTo>
                    <a:lnTo>
                      <a:pt x="122" y="144"/>
                    </a:lnTo>
                    <a:lnTo>
                      <a:pt x="125" y="144"/>
                    </a:lnTo>
                    <a:lnTo>
                      <a:pt x="130" y="144"/>
                    </a:lnTo>
                    <a:lnTo>
                      <a:pt x="133" y="141"/>
                    </a:lnTo>
                    <a:lnTo>
                      <a:pt x="136" y="138"/>
                    </a:lnTo>
                    <a:lnTo>
                      <a:pt x="133" y="138"/>
                    </a:lnTo>
                    <a:lnTo>
                      <a:pt x="130" y="138"/>
                    </a:lnTo>
                    <a:lnTo>
                      <a:pt x="130" y="138"/>
                    </a:lnTo>
                    <a:lnTo>
                      <a:pt x="127" y="138"/>
                    </a:lnTo>
                    <a:lnTo>
                      <a:pt x="123" y="141"/>
                    </a:lnTo>
                    <a:lnTo>
                      <a:pt x="119" y="141"/>
                    </a:lnTo>
                    <a:lnTo>
                      <a:pt x="115" y="141"/>
                    </a:lnTo>
                    <a:lnTo>
                      <a:pt x="115" y="142"/>
                    </a:lnTo>
                    <a:lnTo>
                      <a:pt x="119" y="144"/>
                    </a:lnTo>
                    <a:lnTo>
                      <a:pt x="122" y="146"/>
                    </a:lnTo>
                    <a:lnTo>
                      <a:pt x="122" y="146"/>
                    </a:lnTo>
                    <a:lnTo>
                      <a:pt x="122" y="146"/>
                    </a:lnTo>
                    <a:lnTo>
                      <a:pt x="122" y="146"/>
                    </a:lnTo>
                    <a:lnTo>
                      <a:pt x="122" y="146"/>
                    </a:lnTo>
                    <a:lnTo>
                      <a:pt x="122" y="146"/>
                    </a:lnTo>
                    <a:lnTo>
                      <a:pt x="122" y="146"/>
                    </a:lnTo>
                    <a:lnTo>
                      <a:pt x="122" y="146"/>
                    </a:lnTo>
                    <a:lnTo>
                      <a:pt x="122" y="146"/>
                    </a:lnTo>
                    <a:close/>
                    <a:moveTo>
                      <a:pt x="203" y="184"/>
                    </a:moveTo>
                    <a:lnTo>
                      <a:pt x="200" y="185"/>
                    </a:lnTo>
                    <a:lnTo>
                      <a:pt x="200" y="185"/>
                    </a:lnTo>
                    <a:lnTo>
                      <a:pt x="203" y="185"/>
                    </a:lnTo>
                    <a:lnTo>
                      <a:pt x="206" y="184"/>
                    </a:lnTo>
                    <a:lnTo>
                      <a:pt x="206" y="182"/>
                    </a:lnTo>
                    <a:lnTo>
                      <a:pt x="203" y="184"/>
                    </a:lnTo>
                    <a:lnTo>
                      <a:pt x="203" y="184"/>
                    </a:lnTo>
                    <a:lnTo>
                      <a:pt x="203" y="184"/>
                    </a:lnTo>
                    <a:lnTo>
                      <a:pt x="203" y="184"/>
                    </a:lnTo>
                    <a:lnTo>
                      <a:pt x="203" y="184"/>
                    </a:lnTo>
                    <a:lnTo>
                      <a:pt x="203" y="184"/>
                    </a:lnTo>
                    <a:lnTo>
                      <a:pt x="203" y="184"/>
                    </a:lnTo>
                    <a:lnTo>
                      <a:pt x="203" y="184"/>
                    </a:lnTo>
                    <a:lnTo>
                      <a:pt x="203" y="184"/>
                    </a:lnTo>
                    <a:lnTo>
                      <a:pt x="203" y="184"/>
                    </a:lnTo>
                    <a:close/>
                    <a:moveTo>
                      <a:pt x="228" y="173"/>
                    </a:moveTo>
                    <a:lnTo>
                      <a:pt x="225" y="169"/>
                    </a:lnTo>
                    <a:lnTo>
                      <a:pt x="225" y="173"/>
                    </a:lnTo>
                    <a:lnTo>
                      <a:pt x="223" y="173"/>
                    </a:lnTo>
                    <a:lnTo>
                      <a:pt x="222" y="173"/>
                    </a:lnTo>
                    <a:lnTo>
                      <a:pt x="220" y="173"/>
                    </a:lnTo>
                    <a:lnTo>
                      <a:pt x="219" y="173"/>
                    </a:lnTo>
                    <a:lnTo>
                      <a:pt x="220" y="173"/>
                    </a:lnTo>
                    <a:lnTo>
                      <a:pt x="217" y="173"/>
                    </a:lnTo>
                    <a:lnTo>
                      <a:pt x="216" y="173"/>
                    </a:lnTo>
                    <a:lnTo>
                      <a:pt x="214" y="176"/>
                    </a:lnTo>
                    <a:lnTo>
                      <a:pt x="214" y="176"/>
                    </a:lnTo>
                    <a:lnTo>
                      <a:pt x="212" y="176"/>
                    </a:lnTo>
                    <a:lnTo>
                      <a:pt x="211" y="176"/>
                    </a:lnTo>
                    <a:lnTo>
                      <a:pt x="211" y="176"/>
                    </a:lnTo>
                    <a:lnTo>
                      <a:pt x="209" y="176"/>
                    </a:lnTo>
                    <a:lnTo>
                      <a:pt x="206" y="176"/>
                    </a:lnTo>
                    <a:lnTo>
                      <a:pt x="203" y="176"/>
                    </a:lnTo>
                    <a:lnTo>
                      <a:pt x="200" y="177"/>
                    </a:lnTo>
                    <a:lnTo>
                      <a:pt x="200" y="181"/>
                    </a:lnTo>
                    <a:lnTo>
                      <a:pt x="198" y="184"/>
                    </a:lnTo>
                    <a:lnTo>
                      <a:pt x="200" y="184"/>
                    </a:lnTo>
                    <a:lnTo>
                      <a:pt x="203" y="181"/>
                    </a:lnTo>
                    <a:lnTo>
                      <a:pt x="200" y="182"/>
                    </a:lnTo>
                    <a:lnTo>
                      <a:pt x="203" y="181"/>
                    </a:lnTo>
                    <a:lnTo>
                      <a:pt x="203" y="181"/>
                    </a:lnTo>
                    <a:lnTo>
                      <a:pt x="206" y="181"/>
                    </a:lnTo>
                    <a:lnTo>
                      <a:pt x="203" y="182"/>
                    </a:lnTo>
                    <a:lnTo>
                      <a:pt x="206" y="181"/>
                    </a:lnTo>
                    <a:lnTo>
                      <a:pt x="203" y="182"/>
                    </a:lnTo>
                    <a:lnTo>
                      <a:pt x="206" y="182"/>
                    </a:lnTo>
                    <a:lnTo>
                      <a:pt x="217" y="179"/>
                    </a:lnTo>
                    <a:lnTo>
                      <a:pt x="216" y="177"/>
                    </a:lnTo>
                    <a:lnTo>
                      <a:pt x="220" y="179"/>
                    </a:lnTo>
                    <a:lnTo>
                      <a:pt x="222" y="177"/>
                    </a:lnTo>
                    <a:lnTo>
                      <a:pt x="222" y="176"/>
                    </a:lnTo>
                    <a:lnTo>
                      <a:pt x="223" y="176"/>
                    </a:lnTo>
                    <a:lnTo>
                      <a:pt x="227" y="177"/>
                    </a:lnTo>
                    <a:lnTo>
                      <a:pt x="231" y="176"/>
                    </a:lnTo>
                    <a:lnTo>
                      <a:pt x="230" y="176"/>
                    </a:lnTo>
                    <a:lnTo>
                      <a:pt x="231" y="173"/>
                    </a:lnTo>
                    <a:lnTo>
                      <a:pt x="231" y="173"/>
                    </a:lnTo>
                    <a:lnTo>
                      <a:pt x="231" y="169"/>
                    </a:lnTo>
                    <a:lnTo>
                      <a:pt x="228" y="173"/>
                    </a:lnTo>
                    <a:lnTo>
                      <a:pt x="228" y="173"/>
                    </a:lnTo>
                    <a:lnTo>
                      <a:pt x="228" y="173"/>
                    </a:lnTo>
                    <a:lnTo>
                      <a:pt x="228" y="173"/>
                    </a:lnTo>
                    <a:lnTo>
                      <a:pt x="228" y="173"/>
                    </a:lnTo>
                    <a:lnTo>
                      <a:pt x="228" y="173"/>
                    </a:lnTo>
                    <a:lnTo>
                      <a:pt x="228" y="173"/>
                    </a:lnTo>
                    <a:lnTo>
                      <a:pt x="228" y="173"/>
                    </a:lnTo>
                    <a:lnTo>
                      <a:pt x="228" y="173"/>
                    </a:lnTo>
                    <a:close/>
                    <a:moveTo>
                      <a:pt x="147" y="103"/>
                    </a:moveTo>
                    <a:lnTo>
                      <a:pt x="149" y="103"/>
                    </a:lnTo>
                    <a:lnTo>
                      <a:pt x="154" y="103"/>
                    </a:lnTo>
                    <a:lnTo>
                      <a:pt x="155" y="100"/>
                    </a:lnTo>
                    <a:lnTo>
                      <a:pt x="157" y="100"/>
                    </a:lnTo>
                    <a:lnTo>
                      <a:pt x="154" y="100"/>
                    </a:lnTo>
                    <a:lnTo>
                      <a:pt x="150" y="96"/>
                    </a:lnTo>
                    <a:lnTo>
                      <a:pt x="147" y="96"/>
                    </a:lnTo>
                    <a:lnTo>
                      <a:pt x="146" y="100"/>
                    </a:lnTo>
                    <a:lnTo>
                      <a:pt x="141" y="103"/>
                    </a:lnTo>
                    <a:lnTo>
                      <a:pt x="141" y="103"/>
                    </a:lnTo>
                    <a:lnTo>
                      <a:pt x="142" y="103"/>
                    </a:lnTo>
                    <a:lnTo>
                      <a:pt x="141" y="106"/>
                    </a:lnTo>
                    <a:lnTo>
                      <a:pt x="147" y="103"/>
                    </a:lnTo>
                    <a:lnTo>
                      <a:pt x="147" y="103"/>
                    </a:lnTo>
                    <a:lnTo>
                      <a:pt x="147" y="103"/>
                    </a:lnTo>
                    <a:lnTo>
                      <a:pt x="147" y="103"/>
                    </a:lnTo>
                    <a:lnTo>
                      <a:pt x="147" y="103"/>
                    </a:lnTo>
                    <a:lnTo>
                      <a:pt x="147" y="103"/>
                    </a:lnTo>
                    <a:lnTo>
                      <a:pt x="147" y="103"/>
                    </a:lnTo>
                    <a:lnTo>
                      <a:pt x="147" y="103"/>
                    </a:lnTo>
                    <a:lnTo>
                      <a:pt x="147" y="103"/>
                    </a:lnTo>
                    <a:close/>
                    <a:moveTo>
                      <a:pt x="198" y="65"/>
                    </a:moveTo>
                    <a:lnTo>
                      <a:pt x="195" y="66"/>
                    </a:lnTo>
                    <a:lnTo>
                      <a:pt x="196" y="66"/>
                    </a:lnTo>
                    <a:lnTo>
                      <a:pt x="198" y="65"/>
                    </a:lnTo>
                    <a:lnTo>
                      <a:pt x="198" y="65"/>
                    </a:lnTo>
                    <a:lnTo>
                      <a:pt x="198" y="65"/>
                    </a:lnTo>
                    <a:lnTo>
                      <a:pt x="198" y="65"/>
                    </a:lnTo>
                    <a:lnTo>
                      <a:pt x="198" y="65"/>
                    </a:lnTo>
                    <a:lnTo>
                      <a:pt x="198" y="65"/>
                    </a:lnTo>
                    <a:lnTo>
                      <a:pt x="198" y="65"/>
                    </a:lnTo>
                    <a:lnTo>
                      <a:pt x="198" y="65"/>
                    </a:lnTo>
                    <a:lnTo>
                      <a:pt x="198" y="65"/>
                    </a:lnTo>
                    <a:close/>
                    <a:moveTo>
                      <a:pt x="393" y="195"/>
                    </a:moveTo>
                    <a:lnTo>
                      <a:pt x="397" y="192"/>
                    </a:lnTo>
                    <a:lnTo>
                      <a:pt x="400" y="187"/>
                    </a:lnTo>
                    <a:lnTo>
                      <a:pt x="403" y="184"/>
                    </a:lnTo>
                    <a:lnTo>
                      <a:pt x="406" y="177"/>
                    </a:lnTo>
                    <a:lnTo>
                      <a:pt x="404" y="176"/>
                    </a:lnTo>
                    <a:lnTo>
                      <a:pt x="403" y="176"/>
                    </a:lnTo>
                    <a:lnTo>
                      <a:pt x="401" y="177"/>
                    </a:lnTo>
                    <a:lnTo>
                      <a:pt x="400" y="177"/>
                    </a:lnTo>
                    <a:lnTo>
                      <a:pt x="398" y="179"/>
                    </a:lnTo>
                    <a:lnTo>
                      <a:pt x="400" y="179"/>
                    </a:lnTo>
                    <a:lnTo>
                      <a:pt x="398" y="181"/>
                    </a:lnTo>
                    <a:lnTo>
                      <a:pt x="398" y="182"/>
                    </a:lnTo>
                    <a:lnTo>
                      <a:pt x="397" y="184"/>
                    </a:lnTo>
                    <a:lnTo>
                      <a:pt x="395" y="185"/>
                    </a:lnTo>
                    <a:lnTo>
                      <a:pt x="397" y="185"/>
                    </a:lnTo>
                    <a:lnTo>
                      <a:pt x="395" y="187"/>
                    </a:lnTo>
                    <a:lnTo>
                      <a:pt x="397" y="187"/>
                    </a:lnTo>
                    <a:lnTo>
                      <a:pt x="398" y="187"/>
                    </a:lnTo>
                    <a:lnTo>
                      <a:pt x="395" y="190"/>
                    </a:lnTo>
                    <a:lnTo>
                      <a:pt x="393" y="195"/>
                    </a:lnTo>
                    <a:lnTo>
                      <a:pt x="393" y="195"/>
                    </a:lnTo>
                    <a:lnTo>
                      <a:pt x="393" y="195"/>
                    </a:lnTo>
                    <a:lnTo>
                      <a:pt x="393" y="195"/>
                    </a:lnTo>
                    <a:lnTo>
                      <a:pt x="393" y="195"/>
                    </a:lnTo>
                    <a:lnTo>
                      <a:pt x="393" y="195"/>
                    </a:lnTo>
                    <a:lnTo>
                      <a:pt x="393" y="195"/>
                    </a:lnTo>
                    <a:lnTo>
                      <a:pt x="393" y="195"/>
                    </a:lnTo>
                    <a:lnTo>
                      <a:pt x="393" y="195"/>
                    </a:lnTo>
                    <a:close/>
                    <a:moveTo>
                      <a:pt x="403" y="176"/>
                    </a:moveTo>
                    <a:lnTo>
                      <a:pt x="401" y="176"/>
                    </a:lnTo>
                    <a:lnTo>
                      <a:pt x="403" y="173"/>
                    </a:lnTo>
                    <a:lnTo>
                      <a:pt x="404" y="176"/>
                    </a:lnTo>
                    <a:lnTo>
                      <a:pt x="408" y="176"/>
                    </a:lnTo>
                    <a:lnTo>
                      <a:pt x="411" y="176"/>
                    </a:lnTo>
                    <a:lnTo>
                      <a:pt x="412" y="173"/>
                    </a:lnTo>
                    <a:lnTo>
                      <a:pt x="411" y="173"/>
                    </a:lnTo>
                    <a:lnTo>
                      <a:pt x="409" y="173"/>
                    </a:lnTo>
                    <a:lnTo>
                      <a:pt x="408" y="173"/>
                    </a:lnTo>
                    <a:lnTo>
                      <a:pt x="406" y="169"/>
                    </a:lnTo>
                    <a:lnTo>
                      <a:pt x="409" y="173"/>
                    </a:lnTo>
                    <a:lnTo>
                      <a:pt x="411" y="173"/>
                    </a:lnTo>
                    <a:lnTo>
                      <a:pt x="412" y="173"/>
                    </a:lnTo>
                    <a:lnTo>
                      <a:pt x="412" y="169"/>
                    </a:lnTo>
                    <a:lnTo>
                      <a:pt x="414" y="169"/>
                    </a:lnTo>
                    <a:lnTo>
                      <a:pt x="416" y="169"/>
                    </a:lnTo>
                    <a:lnTo>
                      <a:pt x="416" y="169"/>
                    </a:lnTo>
                    <a:lnTo>
                      <a:pt x="412" y="169"/>
                    </a:lnTo>
                    <a:lnTo>
                      <a:pt x="411" y="169"/>
                    </a:lnTo>
                    <a:lnTo>
                      <a:pt x="408" y="169"/>
                    </a:lnTo>
                    <a:lnTo>
                      <a:pt x="409" y="169"/>
                    </a:lnTo>
                    <a:lnTo>
                      <a:pt x="412" y="166"/>
                    </a:lnTo>
                    <a:lnTo>
                      <a:pt x="408" y="166"/>
                    </a:lnTo>
                    <a:lnTo>
                      <a:pt x="406" y="166"/>
                    </a:lnTo>
                    <a:lnTo>
                      <a:pt x="404" y="169"/>
                    </a:lnTo>
                    <a:lnTo>
                      <a:pt x="404" y="166"/>
                    </a:lnTo>
                    <a:lnTo>
                      <a:pt x="403" y="166"/>
                    </a:lnTo>
                    <a:lnTo>
                      <a:pt x="401" y="169"/>
                    </a:lnTo>
                    <a:lnTo>
                      <a:pt x="401" y="169"/>
                    </a:lnTo>
                    <a:lnTo>
                      <a:pt x="400" y="169"/>
                    </a:lnTo>
                    <a:lnTo>
                      <a:pt x="400" y="169"/>
                    </a:lnTo>
                    <a:lnTo>
                      <a:pt x="398" y="169"/>
                    </a:lnTo>
                    <a:lnTo>
                      <a:pt x="397" y="173"/>
                    </a:lnTo>
                    <a:lnTo>
                      <a:pt x="398" y="173"/>
                    </a:lnTo>
                    <a:lnTo>
                      <a:pt x="398" y="173"/>
                    </a:lnTo>
                    <a:lnTo>
                      <a:pt x="400" y="176"/>
                    </a:lnTo>
                    <a:lnTo>
                      <a:pt x="398" y="176"/>
                    </a:lnTo>
                    <a:lnTo>
                      <a:pt x="398" y="176"/>
                    </a:lnTo>
                    <a:lnTo>
                      <a:pt x="398" y="177"/>
                    </a:lnTo>
                    <a:lnTo>
                      <a:pt x="400" y="177"/>
                    </a:lnTo>
                    <a:lnTo>
                      <a:pt x="401" y="176"/>
                    </a:lnTo>
                    <a:lnTo>
                      <a:pt x="403" y="176"/>
                    </a:lnTo>
                    <a:lnTo>
                      <a:pt x="403" y="176"/>
                    </a:lnTo>
                    <a:lnTo>
                      <a:pt x="403" y="176"/>
                    </a:lnTo>
                    <a:lnTo>
                      <a:pt x="403" y="176"/>
                    </a:lnTo>
                    <a:lnTo>
                      <a:pt x="403" y="176"/>
                    </a:lnTo>
                    <a:lnTo>
                      <a:pt x="403" y="176"/>
                    </a:lnTo>
                    <a:lnTo>
                      <a:pt x="403" y="176"/>
                    </a:lnTo>
                    <a:lnTo>
                      <a:pt x="403" y="176"/>
                    </a:lnTo>
                    <a:lnTo>
                      <a:pt x="403" y="176"/>
                    </a:lnTo>
                    <a:close/>
                    <a:moveTo>
                      <a:pt x="409" y="189"/>
                    </a:moveTo>
                    <a:lnTo>
                      <a:pt x="409" y="190"/>
                    </a:lnTo>
                    <a:lnTo>
                      <a:pt x="412" y="190"/>
                    </a:lnTo>
                    <a:lnTo>
                      <a:pt x="416" y="189"/>
                    </a:lnTo>
                    <a:lnTo>
                      <a:pt x="416" y="187"/>
                    </a:lnTo>
                    <a:lnTo>
                      <a:pt x="416" y="185"/>
                    </a:lnTo>
                    <a:lnTo>
                      <a:pt x="419" y="187"/>
                    </a:lnTo>
                    <a:lnTo>
                      <a:pt x="419" y="187"/>
                    </a:lnTo>
                    <a:lnTo>
                      <a:pt x="419" y="184"/>
                    </a:lnTo>
                    <a:lnTo>
                      <a:pt x="419" y="182"/>
                    </a:lnTo>
                    <a:lnTo>
                      <a:pt x="416" y="182"/>
                    </a:lnTo>
                    <a:lnTo>
                      <a:pt x="412" y="182"/>
                    </a:lnTo>
                    <a:lnTo>
                      <a:pt x="412" y="184"/>
                    </a:lnTo>
                    <a:lnTo>
                      <a:pt x="411" y="185"/>
                    </a:lnTo>
                    <a:lnTo>
                      <a:pt x="412" y="185"/>
                    </a:lnTo>
                    <a:lnTo>
                      <a:pt x="411" y="187"/>
                    </a:lnTo>
                    <a:lnTo>
                      <a:pt x="409" y="189"/>
                    </a:lnTo>
                    <a:lnTo>
                      <a:pt x="409" y="189"/>
                    </a:lnTo>
                    <a:lnTo>
                      <a:pt x="409" y="189"/>
                    </a:lnTo>
                    <a:lnTo>
                      <a:pt x="409" y="189"/>
                    </a:lnTo>
                    <a:lnTo>
                      <a:pt x="409" y="189"/>
                    </a:lnTo>
                    <a:lnTo>
                      <a:pt x="409" y="189"/>
                    </a:lnTo>
                    <a:lnTo>
                      <a:pt x="409" y="189"/>
                    </a:lnTo>
                    <a:lnTo>
                      <a:pt x="409" y="189"/>
                    </a:lnTo>
                    <a:lnTo>
                      <a:pt x="409" y="189"/>
                    </a:lnTo>
                    <a:close/>
                    <a:moveTo>
                      <a:pt x="411" y="196"/>
                    </a:moveTo>
                    <a:lnTo>
                      <a:pt x="409" y="196"/>
                    </a:lnTo>
                    <a:lnTo>
                      <a:pt x="411" y="195"/>
                    </a:lnTo>
                    <a:lnTo>
                      <a:pt x="411" y="192"/>
                    </a:lnTo>
                    <a:lnTo>
                      <a:pt x="408" y="193"/>
                    </a:lnTo>
                    <a:lnTo>
                      <a:pt x="404" y="193"/>
                    </a:lnTo>
                    <a:lnTo>
                      <a:pt x="408" y="195"/>
                    </a:lnTo>
                    <a:lnTo>
                      <a:pt x="406" y="195"/>
                    </a:lnTo>
                    <a:lnTo>
                      <a:pt x="404" y="196"/>
                    </a:lnTo>
                    <a:lnTo>
                      <a:pt x="401" y="196"/>
                    </a:lnTo>
                    <a:lnTo>
                      <a:pt x="400" y="198"/>
                    </a:lnTo>
                    <a:lnTo>
                      <a:pt x="403" y="198"/>
                    </a:lnTo>
                    <a:lnTo>
                      <a:pt x="404" y="198"/>
                    </a:lnTo>
                    <a:lnTo>
                      <a:pt x="403" y="200"/>
                    </a:lnTo>
                    <a:lnTo>
                      <a:pt x="404" y="200"/>
                    </a:lnTo>
                    <a:lnTo>
                      <a:pt x="403" y="200"/>
                    </a:lnTo>
                    <a:lnTo>
                      <a:pt x="401" y="200"/>
                    </a:lnTo>
                    <a:lnTo>
                      <a:pt x="400" y="201"/>
                    </a:lnTo>
                    <a:lnTo>
                      <a:pt x="404" y="201"/>
                    </a:lnTo>
                    <a:lnTo>
                      <a:pt x="403" y="203"/>
                    </a:lnTo>
                    <a:lnTo>
                      <a:pt x="401" y="203"/>
                    </a:lnTo>
                    <a:lnTo>
                      <a:pt x="403" y="204"/>
                    </a:lnTo>
                    <a:lnTo>
                      <a:pt x="400" y="204"/>
                    </a:lnTo>
                    <a:lnTo>
                      <a:pt x="398" y="204"/>
                    </a:lnTo>
                    <a:lnTo>
                      <a:pt x="397" y="206"/>
                    </a:lnTo>
                    <a:lnTo>
                      <a:pt x="398" y="206"/>
                    </a:lnTo>
                    <a:lnTo>
                      <a:pt x="400" y="206"/>
                    </a:lnTo>
                    <a:lnTo>
                      <a:pt x="401" y="206"/>
                    </a:lnTo>
                    <a:lnTo>
                      <a:pt x="401" y="208"/>
                    </a:lnTo>
                    <a:lnTo>
                      <a:pt x="403" y="206"/>
                    </a:lnTo>
                    <a:lnTo>
                      <a:pt x="401" y="209"/>
                    </a:lnTo>
                    <a:lnTo>
                      <a:pt x="401" y="211"/>
                    </a:lnTo>
                    <a:lnTo>
                      <a:pt x="400" y="212"/>
                    </a:lnTo>
                    <a:lnTo>
                      <a:pt x="401" y="212"/>
                    </a:lnTo>
                    <a:lnTo>
                      <a:pt x="400" y="214"/>
                    </a:lnTo>
                    <a:lnTo>
                      <a:pt x="403" y="214"/>
                    </a:lnTo>
                    <a:lnTo>
                      <a:pt x="404" y="212"/>
                    </a:lnTo>
                    <a:lnTo>
                      <a:pt x="408" y="209"/>
                    </a:lnTo>
                    <a:lnTo>
                      <a:pt x="404" y="209"/>
                    </a:lnTo>
                    <a:lnTo>
                      <a:pt x="409" y="206"/>
                    </a:lnTo>
                    <a:lnTo>
                      <a:pt x="408" y="206"/>
                    </a:lnTo>
                    <a:lnTo>
                      <a:pt x="409" y="204"/>
                    </a:lnTo>
                    <a:lnTo>
                      <a:pt x="408" y="204"/>
                    </a:lnTo>
                    <a:lnTo>
                      <a:pt x="409" y="203"/>
                    </a:lnTo>
                    <a:lnTo>
                      <a:pt x="411" y="203"/>
                    </a:lnTo>
                    <a:lnTo>
                      <a:pt x="412" y="198"/>
                    </a:lnTo>
                    <a:lnTo>
                      <a:pt x="411" y="196"/>
                    </a:lnTo>
                    <a:lnTo>
                      <a:pt x="411" y="196"/>
                    </a:lnTo>
                    <a:lnTo>
                      <a:pt x="411" y="196"/>
                    </a:lnTo>
                    <a:lnTo>
                      <a:pt x="411" y="196"/>
                    </a:lnTo>
                    <a:lnTo>
                      <a:pt x="411" y="196"/>
                    </a:lnTo>
                    <a:lnTo>
                      <a:pt x="411" y="196"/>
                    </a:lnTo>
                    <a:lnTo>
                      <a:pt x="411" y="196"/>
                    </a:lnTo>
                    <a:lnTo>
                      <a:pt x="411" y="196"/>
                    </a:lnTo>
                    <a:lnTo>
                      <a:pt x="411" y="196"/>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62" name="Freeform 369">
                <a:extLst>
                  <a:ext uri="{FF2B5EF4-FFF2-40B4-BE49-F238E27FC236}">
                    <a16:creationId xmlns:a16="http://schemas.microsoft.com/office/drawing/2014/main" id="{5EFCF818-6863-2AF6-C238-A2009F1D02FD}"/>
                  </a:ext>
                </a:extLst>
              </p:cNvPr>
              <p:cNvSpPr>
                <a:spLocks noEditPoints="1"/>
              </p:cNvSpPr>
              <p:nvPr/>
            </p:nvSpPr>
            <p:spPr bwMode="auto">
              <a:xfrm>
                <a:off x="4530997" y="1512870"/>
                <a:ext cx="1146210" cy="601143"/>
              </a:xfrm>
              <a:custGeom>
                <a:avLst/>
                <a:gdLst>
                  <a:gd name="T0" fmla="*/ 114 w 511"/>
                  <a:gd name="T1" fmla="*/ 261 h 268"/>
                  <a:gd name="T2" fmla="*/ 394 w 511"/>
                  <a:gd name="T3" fmla="*/ 107 h 268"/>
                  <a:gd name="T4" fmla="*/ 376 w 511"/>
                  <a:gd name="T5" fmla="*/ 111 h 268"/>
                  <a:gd name="T6" fmla="*/ 74 w 511"/>
                  <a:gd name="T7" fmla="*/ 195 h 268"/>
                  <a:gd name="T8" fmla="*/ 82 w 511"/>
                  <a:gd name="T9" fmla="*/ 170 h 268"/>
                  <a:gd name="T10" fmla="*/ 87 w 511"/>
                  <a:gd name="T11" fmla="*/ 143 h 268"/>
                  <a:gd name="T12" fmla="*/ 462 w 511"/>
                  <a:gd name="T13" fmla="*/ 18 h 268"/>
                  <a:gd name="T14" fmla="*/ 408 w 511"/>
                  <a:gd name="T15" fmla="*/ 16 h 268"/>
                  <a:gd name="T16" fmla="*/ 352 w 511"/>
                  <a:gd name="T17" fmla="*/ 0 h 268"/>
                  <a:gd name="T18" fmla="*/ 265 w 511"/>
                  <a:gd name="T19" fmla="*/ 5 h 268"/>
                  <a:gd name="T20" fmla="*/ 251 w 511"/>
                  <a:gd name="T21" fmla="*/ 13 h 268"/>
                  <a:gd name="T22" fmla="*/ 157 w 511"/>
                  <a:gd name="T23" fmla="*/ 16 h 268"/>
                  <a:gd name="T24" fmla="*/ 87 w 511"/>
                  <a:gd name="T25" fmla="*/ 30 h 268"/>
                  <a:gd name="T26" fmla="*/ 25 w 511"/>
                  <a:gd name="T27" fmla="*/ 57 h 268"/>
                  <a:gd name="T28" fmla="*/ 28 w 511"/>
                  <a:gd name="T29" fmla="*/ 65 h 268"/>
                  <a:gd name="T30" fmla="*/ 63 w 511"/>
                  <a:gd name="T31" fmla="*/ 70 h 268"/>
                  <a:gd name="T32" fmla="*/ 106 w 511"/>
                  <a:gd name="T33" fmla="*/ 87 h 268"/>
                  <a:gd name="T34" fmla="*/ 100 w 511"/>
                  <a:gd name="T35" fmla="*/ 118 h 268"/>
                  <a:gd name="T36" fmla="*/ 125 w 511"/>
                  <a:gd name="T37" fmla="*/ 124 h 268"/>
                  <a:gd name="T38" fmla="*/ 125 w 511"/>
                  <a:gd name="T39" fmla="*/ 138 h 268"/>
                  <a:gd name="T40" fmla="*/ 122 w 511"/>
                  <a:gd name="T41" fmla="*/ 146 h 268"/>
                  <a:gd name="T42" fmla="*/ 100 w 511"/>
                  <a:gd name="T43" fmla="*/ 162 h 268"/>
                  <a:gd name="T44" fmla="*/ 109 w 511"/>
                  <a:gd name="T45" fmla="*/ 167 h 268"/>
                  <a:gd name="T46" fmla="*/ 87 w 511"/>
                  <a:gd name="T47" fmla="*/ 170 h 268"/>
                  <a:gd name="T48" fmla="*/ 73 w 511"/>
                  <a:gd name="T49" fmla="*/ 188 h 268"/>
                  <a:gd name="T50" fmla="*/ 79 w 511"/>
                  <a:gd name="T51" fmla="*/ 200 h 268"/>
                  <a:gd name="T52" fmla="*/ 97 w 511"/>
                  <a:gd name="T53" fmla="*/ 210 h 268"/>
                  <a:gd name="T54" fmla="*/ 81 w 511"/>
                  <a:gd name="T55" fmla="*/ 226 h 268"/>
                  <a:gd name="T56" fmla="*/ 93 w 511"/>
                  <a:gd name="T57" fmla="*/ 243 h 268"/>
                  <a:gd name="T58" fmla="*/ 105 w 511"/>
                  <a:gd name="T59" fmla="*/ 257 h 268"/>
                  <a:gd name="T60" fmla="*/ 122 w 511"/>
                  <a:gd name="T61" fmla="*/ 261 h 268"/>
                  <a:gd name="T62" fmla="*/ 143 w 511"/>
                  <a:gd name="T63" fmla="*/ 267 h 268"/>
                  <a:gd name="T64" fmla="*/ 147 w 511"/>
                  <a:gd name="T65" fmla="*/ 251 h 268"/>
                  <a:gd name="T66" fmla="*/ 166 w 511"/>
                  <a:gd name="T67" fmla="*/ 232 h 268"/>
                  <a:gd name="T68" fmla="*/ 186 w 511"/>
                  <a:gd name="T69" fmla="*/ 221 h 268"/>
                  <a:gd name="T70" fmla="*/ 201 w 511"/>
                  <a:gd name="T71" fmla="*/ 197 h 268"/>
                  <a:gd name="T72" fmla="*/ 230 w 511"/>
                  <a:gd name="T73" fmla="*/ 192 h 268"/>
                  <a:gd name="T74" fmla="*/ 265 w 511"/>
                  <a:gd name="T75" fmla="*/ 178 h 268"/>
                  <a:gd name="T76" fmla="*/ 301 w 511"/>
                  <a:gd name="T77" fmla="*/ 165 h 268"/>
                  <a:gd name="T78" fmla="*/ 359 w 511"/>
                  <a:gd name="T79" fmla="*/ 151 h 268"/>
                  <a:gd name="T80" fmla="*/ 349 w 511"/>
                  <a:gd name="T81" fmla="*/ 138 h 268"/>
                  <a:gd name="T82" fmla="*/ 357 w 511"/>
                  <a:gd name="T83" fmla="*/ 124 h 268"/>
                  <a:gd name="T84" fmla="*/ 394 w 511"/>
                  <a:gd name="T85" fmla="*/ 127 h 268"/>
                  <a:gd name="T86" fmla="*/ 365 w 511"/>
                  <a:gd name="T87" fmla="*/ 110 h 268"/>
                  <a:gd name="T88" fmla="*/ 371 w 511"/>
                  <a:gd name="T89" fmla="*/ 97 h 268"/>
                  <a:gd name="T90" fmla="*/ 400 w 511"/>
                  <a:gd name="T91" fmla="*/ 97 h 268"/>
                  <a:gd name="T92" fmla="*/ 416 w 511"/>
                  <a:gd name="T93" fmla="*/ 86 h 268"/>
                  <a:gd name="T94" fmla="*/ 427 w 511"/>
                  <a:gd name="T95" fmla="*/ 72 h 268"/>
                  <a:gd name="T96" fmla="*/ 441 w 511"/>
                  <a:gd name="T97" fmla="*/ 59 h 268"/>
                  <a:gd name="T98" fmla="*/ 433 w 511"/>
                  <a:gd name="T99" fmla="*/ 41 h 268"/>
                  <a:gd name="T100" fmla="*/ 467 w 511"/>
                  <a:gd name="T101" fmla="*/ 29 h 268"/>
                  <a:gd name="T102" fmla="*/ 103 w 511"/>
                  <a:gd name="T103" fmla="*/ 119 h 268"/>
                  <a:gd name="T104" fmla="*/ 90 w 511"/>
                  <a:gd name="T105" fmla="*/ 215 h 268"/>
                  <a:gd name="T106" fmla="*/ 90 w 511"/>
                  <a:gd name="T107" fmla="*/ 184 h 268"/>
                  <a:gd name="T108" fmla="*/ 105 w 511"/>
                  <a:gd name="T109" fmla="*/ 181 h 268"/>
                  <a:gd name="T110" fmla="*/ 111 w 511"/>
                  <a:gd name="T111" fmla="*/ 173 h 268"/>
                  <a:gd name="T112" fmla="*/ 295 w 511"/>
                  <a:gd name="T113" fmla="*/ 7 h 268"/>
                  <a:gd name="T114" fmla="*/ 362 w 511"/>
                  <a:gd name="T115" fmla="*/ 3 h 268"/>
                  <a:gd name="T116" fmla="*/ 343 w 511"/>
                  <a:gd name="T117" fmla="*/ 141 h 268"/>
                  <a:gd name="T118" fmla="*/ 338 w 511"/>
                  <a:gd name="T119" fmla="*/ 7 h 268"/>
                  <a:gd name="T120" fmla="*/ 367 w 511"/>
                  <a:gd name="T121" fmla="*/ 13 h 268"/>
                  <a:gd name="T122" fmla="*/ 101 w 511"/>
                  <a:gd name="T123" fmla="*/ 113 h 268"/>
                  <a:gd name="T124" fmla="*/ 9 w 511"/>
                  <a:gd name="T125" fmla="*/ 59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1" h="268">
                    <a:moveTo>
                      <a:pt x="116" y="257"/>
                    </a:moveTo>
                    <a:lnTo>
                      <a:pt x="116" y="257"/>
                    </a:lnTo>
                    <a:lnTo>
                      <a:pt x="116" y="257"/>
                    </a:lnTo>
                    <a:lnTo>
                      <a:pt x="116" y="257"/>
                    </a:lnTo>
                    <a:lnTo>
                      <a:pt x="116" y="257"/>
                    </a:lnTo>
                    <a:lnTo>
                      <a:pt x="116" y="257"/>
                    </a:lnTo>
                    <a:lnTo>
                      <a:pt x="116" y="257"/>
                    </a:lnTo>
                    <a:lnTo>
                      <a:pt x="116" y="257"/>
                    </a:lnTo>
                    <a:lnTo>
                      <a:pt x="116" y="257"/>
                    </a:lnTo>
                    <a:lnTo>
                      <a:pt x="116" y="257"/>
                    </a:lnTo>
                    <a:close/>
                    <a:moveTo>
                      <a:pt x="163" y="232"/>
                    </a:moveTo>
                    <a:lnTo>
                      <a:pt x="163" y="232"/>
                    </a:lnTo>
                    <a:lnTo>
                      <a:pt x="160" y="234"/>
                    </a:lnTo>
                    <a:lnTo>
                      <a:pt x="163" y="232"/>
                    </a:lnTo>
                    <a:lnTo>
                      <a:pt x="163" y="232"/>
                    </a:lnTo>
                    <a:lnTo>
                      <a:pt x="163" y="232"/>
                    </a:lnTo>
                    <a:lnTo>
                      <a:pt x="163" y="232"/>
                    </a:lnTo>
                    <a:lnTo>
                      <a:pt x="163" y="232"/>
                    </a:lnTo>
                    <a:lnTo>
                      <a:pt x="163" y="232"/>
                    </a:lnTo>
                    <a:lnTo>
                      <a:pt x="163" y="232"/>
                    </a:lnTo>
                    <a:close/>
                    <a:moveTo>
                      <a:pt x="114" y="261"/>
                    </a:moveTo>
                    <a:lnTo>
                      <a:pt x="116" y="257"/>
                    </a:lnTo>
                    <a:lnTo>
                      <a:pt x="113" y="261"/>
                    </a:lnTo>
                    <a:lnTo>
                      <a:pt x="114" y="261"/>
                    </a:lnTo>
                    <a:lnTo>
                      <a:pt x="114" y="261"/>
                    </a:lnTo>
                    <a:lnTo>
                      <a:pt x="114" y="261"/>
                    </a:lnTo>
                    <a:lnTo>
                      <a:pt x="114" y="261"/>
                    </a:lnTo>
                    <a:lnTo>
                      <a:pt x="114" y="261"/>
                    </a:lnTo>
                    <a:lnTo>
                      <a:pt x="114" y="261"/>
                    </a:lnTo>
                    <a:lnTo>
                      <a:pt x="114" y="261"/>
                    </a:lnTo>
                    <a:close/>
                    <a:moveTo>
                      <a:pt x="443" y="83"/>
                    </a:moveTo>
                    <a:lnTo>
                      <a:pt x="441" y="83"/>
                    </a:lnTo>
                    <a:lnTo>
                      <a:pt x="440" y="83"/>
                    </a:lnTo>
                    <a:lnTo>
                      <a:pt x="436" y="80"/>
                    </a:lnTo>
                    <a:lnTo>
                      <a:pt x="433" y="83"/>
                    </a:lnTo>
                    <a:lnTo>
                      <a:pt x="432" y="86"/>
                    </a:lnTo>
                    <a:lnTo>
                      <a:pt x="441" y="86"/>
                    </a:lnTo>
                    <a:lnTo>
                      <a:pt x="444" y="86"/>
                    </a:lnTo>
                    <a:lnTo>
                      <a:pt x="446" y="83"/>
                    </a:lnTo>
                    <a:lnTo>
                      <a:pt x="444" y="83"/>
                    </a:lnTo>
                    <a:lnTo>
                      <a:pt x="443" y="83"/>
                    </a:lnTo>
                    <a:lnTo>
                      <a:pt x="443" y="83"/>
                    </a:lnTo>
                    <a:lnTo>
                      <a:pt x="443" y="83"/>
                    </a:lnTo>
                    <a:lnTo>
                      <a:pt x="443" y="83"/>
                    </a:lnTo>
                    <a:lnTo>
                      <a:pt x="443" y="83"/>
                    </a:lnTo>
                    <a:lnTo>
                      <a:pt x="443" y="83"/>
                    </a:lnTo>
                    <a:lnTo>
                      <a:pt x="443" y="83"/>
                    </a:lnTo>
                    <a:close/>
                    <a:moveTo>
                      <a:pt x="394" y="107"/>
                    </a:moveTo>
                    <a:lnTo>
                      <a:pt x="387" y="107"/>
                    </a:lnTo>
                    <a:lnTo>
                      <a:pt x="381" y="107"/>
                    </a:lnTo>
                    <a:lnTo>
                      <a:pt x="376" y="110"/>
                    </a:lnTo>
                    <a:lnTo>
                      <a:pt x="382" y="107"/>
                    </a:lnTo>
                    <a:lnTo>
                      <a:pt x="389" y="110"/>
                    </a:lnTo>
                    <a:lnTo>
                      <a:pt x="392" y="110"/>
                    </a:lnTo>
                    <a:lnTo>
                      <a:pt x="397" y="110"/>
                    </a:lnTo>
                    <a:lnTo>
                      <a:pt x="397" y="110"/>
                    </a:lnTo>
                    <a:lnTo>
                      <a:pt x="398" y="110"/>
                    </a:lnTo>
                    <a:lnTo>
                      <a:pt x="394" y="107"/>
                    </a:lnTo>
                    <a:lnTo>
                      <a:pt x="394" y="107"/>
                    </a:lnTo>
                    <a:lnTo>
                      <a:pt x="394" y="107"/>
                    </a:lnTo>
                    <a:lnTo>
                      <a:pt x="394" y="107"/>
                    </a:lnTo>
                    <a:lnTo>
                      <a:pt x="394" y="107"/>
                    </a:lnTo>
                    <a:lnTo>
                      <a:pt x="394" y="107"/>
                    </a:lnTo>
                    <a:lnTo>
                      <a:pt x="394" y="107"/>
                    </a:lnTo>
                    <a:close/>
                    <a:moveTo>
                      <a:pt x="376" y="111"/>
                    </a:moveTo>
                    <a:lnTo>
                      <a:pt x="379" y="113"/>
                    </a:lnTo>
                    <a:lnTo>
                      <a:pt x="386" y="114"/>
                    </a:lnTo>
                    <a:lnTo>
                      <a:pt x="390" y="118"/>
                    </a:lnTo>
                    <a:lnTo>
                      <a:pt x="394" y="118"/>
                    </a:lnTo>
                    <a:lnTo>
                      <a:pt x="394" y="116"/>
                    </a:lnTo>
                    <a:lnTo>
                      <a:pt x="392" y="114"/>
                    </a:lnTo>
                    <a:lnTo>
                      <a:pt x="390" y="114"/>
                    </a:lnTo>
                    <a:lnTo>
                      <a:pt x="390" y="113"/>
                    </a:lnTo>
                    <a:lnTo>
                      <a:pt x="397" y="114"/>
                    </a:lnTo>
                    <a:lnTo>
                      <a:pt x="394" y="111"/>
                    </a:lnTo>
                    <a:lnTo>
                      <a:pt x="392" y="111"/>
                    </a:lnTo>
                    <a:lnTo>
                      <a:pt x="390" y="111"/>
                    </a:lnTo>
                    <a:lnTo>
                      <a:pt x="387" y="110"/>
                    </a:lnTo>
                    <a:lnTo>
                      <a:pt x="384" y="110"/>
                    </a:lnTo>
                    <a:lnTo>
                      <a:pt x="381" y="110"/>
                    </a:lnTo>
                    <a:lnTo>
                      <a:pt x="376" y="110"/>
                    </a:lnTo>
                    <a:lnTo>
                      <a:pt x="374" y="110"/>
                    </a:lnTo>
                    <a:lnTo>
                      <a:pt x="376" y="111"/>
                    </a:lnTo>
                    <a:lnTo>
                      <a:pt x="376" y="111"/>
                    </a:lnTo>
                    <a:lnTo>
                      <a:pt x="376" y="111"/>
                    </a:lnTo>
                    <a:lnTo>
                      <a:pt x="376" y="111"/>
                    </a:lnTo>
                    <a:lnTo>
                      <a:pt x="376" y="111"/>
                    </a:lnTo>
                    <a:lnTo>
                      <a:pt x="376" y="111"/>
                    </a:lnTo>
                    <a:lnTo>
                      <a:pt x="376" y="111"/>
                    </a:lnTo>
                    <a:close/>
                    <a:moveTo>
                      <a:pt x="441" y="80"/>
                    </a:moveTo>
                    <a:lnTo>
                      <a:pt x="440" y="80"/>
                    </a:lnTo>
                    <a:lnTo>
                      <a:pt x="440" y="83"/>
                    </a:lnTo>
                    <a:lnTo>
                      <a:pt x="443" y="83"/>
                    </a:lnTo>
                    <a:lnTo>
                      <a:pt x="441" y="80"/>
                    </a:lnTo>
                    <a:lnTo>
                      <a:pt x="441" y="80"/>
                    </a:lnTo>
                    <a:lnTo>
                      <a:pt x="441" y="80"/>
                    </a:lnTo>
                    <a:lnTo>
                      <a:pt x="441" y="80"/>
                    </a:lnTo>
                    <a:lnTo>
                      <a:pt x="441" y="80"/>
                    </a:lnTo>
                    <a:lnTo>
                      <a:pt x="441" y="80"/>
                    </a:lnTo>
                    <a:lnTo>
                      <a:pt x="441" y="80"/>
                    </a:lnTo>
                    <a:close/>
                    <a:moveTo>
                      <a:pt x="440" y="67"/>
                    </a:moveTo>
                    <a:lnTo>
                      <a:pt x="438" y="65"/>
                    </a:lnTo>
                    <a:lnTo>
                      <a:pt x="436" y="67"/>
                    </a:lnTo>
                    <a:lnTo>
                      <a:pt x="436" y="68"/>
                    </a:lnTo>
                    <a:lnTo>
                      <a:pt x="438" y="75"/>
                    </a:lnTo>
                    <a:lnTo>
                      <a:pt x="438" y="72"/>
                    </a:lnTo>
                    <a:lnTo>
                      <a:pt x="440" y="67"/>
                    </a:lnTo>
                    <a:lnTo>
                      <a:pt x="440" y="67"/>
                    </a:lnTo>
                    <a:lnTo>
                      <a:pt x="440" y="67"/>
                    </a:lnTo>
                    <a:lnTo>
                      <a:pt x="440" y="67"/>
                    </a:lnTo>
                    <a:lnTo>
                      <a:pt x="440" y="67"/>
                    </a:lnTo>
                    <a:lnTo>
                      <a:pt x="440" y="67"/>
                    </a:lnTo>
                    <a:lnTo>
                      <a:pt x="440" y="67"/>
                    </a:lnTo>
                    <a:close/>
                    <a:moveTo>
                      <a:pt x="78" y="195"/>
                    </a:moveTo>
                    <a:lnTo>
                      <a:pt x="78" y="194"/>
                    </a:lnTo>
                    <a:lnTo>
                      <a:pt x="74" y="195"/>
                    </a:lnTo>
                    <a:lnTo>
                      <a:pt x="78" y="195"/>
                    </a:lnTo>
                    <a:lnTo>
                      <a:pt x="78" y="195"/>
                    </a:lnTo>
                    <a:lnTo>
                      <a:pt x="78" y="195"/>
                    </a:lnTo>
                    <a:lnTo>
                      <a:pt x="78" y="195"/>
                    </a:lnTo>
                    <a:lnTo>
                      <a:pt x="78" y="195"/>
                    </a:lnTo>
                    <a:lnTo>
                      <a:pt x="78" y="195"/>
                    </a:lnTo>
                    <a:lnTo>
                      <a:pt x="78" y="195"/>
                    </a:lnTo>
                    <a:close/>
                    <a:moveTo>
                      <a:pt x="108" y="129"/>
                    </a:moveTo>
                    <a:lnTo>
                      <a:pt x="108" y="127"/>
                    </a:lnTo>
                    <a:lnTo>
                      <a:pt x="105" y="127"/>
                    </a:lnTo>
                    <a:lnTo>
                      <a:pt x="103" y="130"/>
                    </a:lnTo>
                    <a:lnTo>
                      <a:pt x="106" y="130"/>
                    </a:lnTo>
                    <a:lnTo>
                      <a:pt x="108" y="129"/>
                    </a:lnTo>
                    <a:lnTo>
                      <a:pt x="108" y="129"/>
                    </a:lnTo>
                    <a:lnTo>
                      <a:pt x="108" y="129"/>
                    </a:lnTo>
                    <a:lnTo>
                      <a:pt x="108" y="129"/>
                    </a:lnTo>
                    <a:lnTo>
                      <a:pt x="108" y="129"/>
                    </a:lnTo>
                    <a:lnTo>
                      <a:pt x="108" y="129"/>
                    </a:lnTo>
                    <a:lnTo>
                      <a:pt x="108" y="129"/>
                    </a:lnTo>
                    <a:close/>
                    <a:moveTo>
                      <a:pt x="82" y="170"/>
                    </a:moveTo>
                    <a:lnTo>
                      <a:pt x="82" y="170"/>
                    </a:lnTo>
                    <a:lnTo>
                      <a:pt x="84" y="170"/>
                    </a:lnTo>
                    <a:lnTo>
                      <a:pt x="82" y="170"/>
                    </a:lnTo>
                    <a:lnTo>
                      <a:pt x="82" y="170"/>
                    </a:lnTo>
                    <a:lnTo>
                      <a:pt x="82" y="170"/>
                    </a:lnTo>
                    <a:lnTo>
                      <a:pt x="82" y="170"/>
                    </a:lnTo>
                    <a:lnTo>
                      <a:pt x="82" y="170"/>
                    </a:lnTo>
                    <a:lnTo>
                      <a:pt x="82" y="170"/>
                    </a:lnTo>
                    <a:lnTo>
                      <a:pt x="82" y="170"/>
                    </a:lnTo>
                    <a:close/>
                    <a:moveTo>
                      <a:pt x="87" y="143"/>
                    </a:moveTo>
                    <a:lnTo>
                      <a:pt x="87" y="145"/>
                    </a:lnTo>
                    <a:lnTo>
                      <a:pt x="84" y="146"/>
                    </a:lnTo>
                    <a:lnTo>
                      <a:pt x="87" y="148"/>
                    </a:lnTo>
                    <a:lnTo>
                      <a:pt x="90" y="148"/>
                    </a:lnTo>
                    <a:lnTo>
                      <a:pt x="93" y="148"/>
                    </a:lnTo>
                    <a:lnTo>
                      <a:pt x="93" y="148"/>
                    </a:lnTo>
                    <a:lnTo>
                      <a:pt x="97" y="148"/>
                    </a:lnTo>
                    <a:lnTo>
                      <a:pt x="97" y="149"/>
                    </a:lnTo>
                    <a:lnTo>
                      <a:pt x="87" y="149"/>
                    </a:lnTo>
                    <a:lnTo>
                      <a:pt x="90" y="151"/>
                    </a:lnTo>
                    <a:lnTo>
                      <a:pt x="90" y="151"/>
                    </a:lnTo>
                    <a:lnTo>
                      <a:pt x="93" y="151"/>
                    </a:lnTo>
                    <a:lnTo>
                      <a:pt x="101" y="149"/>
                    </a:lnTo>
                    <a:lnTo>
                      <a:pt x="108" y="149"/>
                    </a:lnTo>
                    <a:lnTo>
                      <a:pt x="111" y="148"/>
                    </a:lnTo>
                    <a:lnTo>
                      <a:pt x="113" y="146"/>
                    </a:lnTo>
                    <a:lnTo>
                      <a:pt x="111" y="145"/>
                    </a:lnTo>
                    <a:lnTo>
                      <a:pt x="109" y="143"/>
                    </a:lnTo>
                    <a:lnTo>
                      <a:pt x="108" y="143"/>
                    </a:lnTo>
                    <a:lnTo>
                      <a:pt x="103" y="141"/>
                    </a:lnTo>
                    <a:lnTo>
                      <a:pt x="100" y="138"/>
                    </a:lnTo>
                    <a:lnTo>
                      <a:pt x="97" y="138"/>
                    </a:lnTo>
                    <a:lnTo>
                      <a:pt x="90" y="138"/>
                    </a:lnTo>
                    <a:lnTo>
                      <a:pt x="87" y="141"/>
                    </a:lnTo>
                    <a:lnTo>
                      <a:pt x="87" y="141"/>
                    </a:lnTo>
                    <a:lnTo>
                      <a:pt x="90" y="141"/>
                    </a:lnTo>
                    <a:lnTo>
                      <a:pt x="90" y="143"/>
                    </a:lnTo>
                    <a:lnTo>
                      <a:pt x="87" y="143"/>
                    </a:lnTo>
                    <a:lnTo>
                      <a:pt x="87" y="143"/>
                    </a:lnTo>
                    <a:lnTo>
                      <a:pt x="87" y="143"/>
                    </a:lnTo>
                    <a:lnTo>
                      <a:pt x="87" y="143"/>
                    </a:lnTo>
                    <a:lnTo>
                      <a:pt x="87" y="143"/>
                    </a:lnTo>
                    <a:lnTo>
                      <a:pt x="87" y="143"/>
                    </a:lnTo>
                    <a:lnTo>
                      <a:pt x="87" y="143"/>
                    </a:lnTo>
                    <a:lnTo>
                      <a:pt x="87" y="143"/>
                    </a:lnTo>
                    <a:close/>
                    <a:moveTo>
                      <a:pt x="120" y="143"/>
                    </a:moveTo>
                    <a:lnTo>
                      <a:pt x="119" y="145"/>
                    </a:lnTo>
                    <a:lnTo>
                      <a:pt x="117" y="146"/>
                    </a:lnTo>
                    <a:lnTo>
                      <a:pt x="117" y="148"/>
                    </a:lnTo>
                    <a:lnTo>
                      <a:pt x="119" y="148"/>
                    </a:lnTo>
                    <a:lnTo>
                      <a:pt x="120" y="146"/>
                    </a:lnTo>
                    <a:lnTo>
                      <a:pt x="122" y="145"/>
                    </a:lnTo>
                    <a:lnTo>
                      <a:pt x="125" y="145"/>
                    </a:lnTo>
                    <a:lnTo>
                      <a:pt x="122" y="143"/>
                    </a:lnTo>
                    <a:lnTo>
                      <a:pt x="120" y="143"/>
                    </a:lnTo>
                    <a:lnTo>
                      <a:pt x="120" y="143"/>
                    </a:lnTo>
                    <a:lnTo>
                      <a:pt x="120" y="143"/>
                    </a:lnTo>
                    <a:lnTo>
                      <a:pt x="120" y="143"/>
                    </a:lnTo>
                    <a:lnTo>
                      <a:pt x="120" y="143"/>
                    </a:lnTo>
                    <a:lnTo>
                      <a:pt x="120" y="143"/>
                    </a:lnTo>
                    <a:lnTo>
                      <a:pt x="120" y="143"/>
                    </a:lnTo>
                    <a:close/>
                    <a:moveTo>
                      <a:pt x="490" y="13"/>
                    </a:moveTo>
                    <a:lnTo>
                      <a:pt x="481" y="13"/>
                    </a:lnTo>
                    <a:lnTo>
                      <a:pt x="468" y="13"/>
                    </a:lnTo>
                    <a:lnTo>
                      <a:pt x="470" y="16"/>
                    </a:lnTo>
                    <a:lnTo>
                      <a:pt x="467" y="16"/>
                    </a:lnTo>
                    <a:lnTo>
                      <a:pt x="462" y="18"/>
                    </a:lnTo>
                    <a:lnTo>
                      <a:pt x="459" y="18"/>
                    </a:lnTo>
                    <a:lnTo>
                      <a:pt x="452" y="16"/>
                    </a:lnTo>
                    <a:lnTo>
                      <a:pt x="446" y="18"/>
                    </a:lnTo>
                    <a:lnTo>
                      <a:pt x="448" y="16"/>
                    </a:lnTo>
                    <a:lnTo>
                      <a:pt x="449" y="16"/>
                    </a:lnTo>
                    <a:lnTo>
                      <a:pt x="438" y="18"/>
                    </a:lnTo>
                    <a:lnTo>
                      <a:pt x="428" y="21"/>
                    </a:lnTo>
                    <a:lnTo>
                      <a:pt x="417" y="22"/>
                    </a:lnTo>
                    <a:lnTo>
                      <a:pt x="413" y="26"/>
                    </a:lnTo>
                    <a:lnTo>
                      <a:pt x="413" y="24"/>
                    </a:lnTo>
                    <a:lnTo>
                      <a:pt x="411" y="24"/>
                    </a:lnTo>
                    <a:lnTo>
                      <a:pt x="421" y="21"/>
                    </a:lnTo>
                    <a:lnTo>
                      <a:pt x="428" y="18"/>
                    </a:lnTo>
                    <a:lnTo>
                      <a:pt x="432" y="16"/>
                    </a:lnTo>
                    <a:lnTo>
                      <a:pt x="433" y="16"/>
                    </a:lnTo>
                    <a:lnTo>
                      <a:pt x="433" y="13"/>
                    </a:lnTo>
                    <a:lnTo>
                      <a:pt x="432" y="13"/>
                    </a:lnTo>
                    <a:lnTo>
                      <a:pt x="428" y="13"/>
                    </a:lnTo>
                    <a:lnTo>
                      <a:pt x="421" y="13"/>
                    </a:lnTo>
                    <a:lnTo>
                      <a:pt x="417" y="13"/>
                    </a:lnTo>
                    <a:lnTo>
                      <a:pt x="414" y="16"/>
                    </a:lnTo>
                    <a:lnTo>
                      <a:pt x="401" y="16"/>
                    </a:lnTo>
                    <a:lnTo>
                      <a:pt x="397" y="18"/>
                    </a:lnTo>
                    <a:lnTo>
                      <a:pt x="392" y="18"/>
                    </a:lnTo>
                    <a:lnTo>
                      <a:pt x="390" y="18"/>
                    </a:lnTo>
                    <a:lnTo>
                      <a:pt x="394" y="16"/>
                    </a:lnTo>
                    <a:lnTo>
                      <a:pt x="400" y="16"/>
                    </a:lnTo>
                    <a:lnTo>
                      <a:pt x="405" y="16"/>
                    </a:lnTo>
                    <a:lnTo>
                      <a:pt x="408" y="16"/>
                    </a:lnTo>
                    <a:lnTo>
                      <a:pt x="409" y="13"/>
                    </a:lnTo>
                    <a:lnTo>
                      <a:pt x="406" y="13"/>
                    </a:lnTo>
                    <a:lnTo>
                      <a:pt x="403" y="13"/>
                    </a:lnTo>
                    <a:lnTo>
                      <a:pt x="424" y="10"/>
                    </a:lnTo>
                    <a:lnTo>
                      <a:pt x="428" y="10"/>
                    </a:lnTo>
                    <a:lnTo>
                      <a:pt x="435" y="10"/>
                    </a:lnTo>
                    <a:lnTo>
                      <a:pt x="438" y="10"/>
                    </a:lnTo>
                    <a:lnTo>
                      <a:pt x="443" y="7"/>
                    </a:lnTo>
                    <a:lnTo>
                      <a:pt x="438" y="7"/>
                    </a:lnTo>
                    <a:lnTo>
                      <a:pt x="432" y="7"/>
                    </a:lnTo>
                    <a:lnTo>
                      <a:pt x="424" y="7"/>
                    </a:lnTo>
                    <a:lnTo>
                      <a:pt x="424" y="5"/>
                    </a:lnTo>
                    <a:lnTo>
                      <a:pt x="421" y="5"/>
                    </a:lnTo>
                    <a:lnTo>
                      <a:pt x="417" y="5"/>
                    </a:lnTo>
                    <a:lnTo>
                      <a:pt x="413" y="3"/>
                    </a:lnTo>
                    <a:lnTo>
                      <a:pt x="408" y="3"/>
                    </a:lnTo>
                    <a:lnTo>
                      <a:pt x="397" y="3"/>
                    </a:lnTo>
                    <a:lnTo>
                      <a:pt x="413" y="2"/>
                    </a:lnTo>
                    <a:lnTo>
                      <a:pt x="408" y="0"/>
                    </a:lnTo>
                    <a:lnTo>
                      <a:pt x="401" y="0"/>
                    </a:lnTo>
                    <a:lnTo>
                      <a:pt x="394" y="0"/>
                    </a:lnTo>
                    <a:lnTo>
                      <a:pt x="392" y="0"/>
                    </a:lnTo>
                    <a:lnTo>
                      <a:pt x="390" y="0"/>
                    </a:lnTo>
                    <a:lnTo>
                      <a:pt x="389" y="0"/>
                    </a:lnTo>
                    <a:lnTo>
                      <a:pt x="387" y="0"/>
                    </a:lnTo>
                    <a:lnTo>
                      <a:pt x="382" y="0"/>
                    </a:lnTo>
                    <a:lnTo>
                      <a:pt x="371" y="0"/>
                    </a:lnTo>
                    <a:lnTo>
                      <a:pt x="362" y="0"/>
                    </a:lnTo>
                    <a:lnTo>
                      <a:pt x="352" y="0"/>
                    </a:lnTo>
                    <a:lnTo>
                      <a:pt x="351" y="0"/>
                    </a:lnTo>
                    <a:lnTo>
                      <a:pt x="349" y="0"/>
                    </a:lnTo>
                    <a:lnTo>
                      <a:pt x="343" y="0"/>
                    </a:lnTo>
                    <a:lnTo>
                      <a:pt x="336" y="0"/>
                    </a:lnTo>
                    <a:lnTo>
                      <a:pt x="330" y="0"/>
                    </a:lnTo>
                    <a:lnTo>
                      <a:pt x="333" y="2"/>
                    </a:lnTo>
                    <a:lnTo>
                      <a:pt x="327" y="0"/>
                    </a:lnTo>
                    <a:lnTo>
                      <a:pt x="324" y="0"/>
                    </a:lnTo>
                    <a:lnTo>
                      <a:pt x="314" y="0"/>
                    </a:lnTo>
                    <a:lnTo>
                      <a:pt x="314" y="2"/>
                    </a:lnTo>
                    <a:lnTo>
                      <a:pt x="316" y="3"/>
                    </a:lnTo>
                    <a:lnTo>
                      <a:pt x="313" y="3"/>
                    </a:lnTo>
                    <a:lnTo>
                      <a:pt x="317" y="5"/>
                    </a:lnTo>
                    <a:lnTo>
                      <a:pt x="316" y="5"/>
                    </a:lnTo>
                    <a:lnTo>
                      <a:pt x="311" y="5"/>
                    </a:lnTo>
                    <a:lnTo>
                      <a:pt x="313" y="7"/>
                    </a:lnTo>
                    <a:lnTo>
                      <a:pt x="311" y="7"/>
                    </a:lnTo>
                    <a:lnTo>
                      <a:pt x="308" y="5"/>
                    </a:lnTo>
                    <a:lnTo>
                      <a:pt x="303" y="5"/>
                    </a:lnTo>
                    <a:lnTo>
                      <a:pt x="295" y="3"/>
                    </a:lnTo>
                    <a:lnTo>
                      <a:pt x="290" y="3"/>
                    </a:lnTo>
                    <a:lnTo>
                      <a:pt x="287" y="2"/>
                    </a:lnTo>
                    <a:lnTo>
                      <a:pt x="282" y="2"/>
                    </a:lnTo>
                    <a:lnTo>
                      <a:pt x="279" y="3"/>
                    </a:lnTo>
                    <a:lnTo>
                      <a:pt x="274" y="3"/>
                    </a:lnTo>
                    <a:lnTo>
                      <a:pt x="271" y="3"/>
                    </a:lnTo>
                    <a:lnTo>
                      <a:pt x="263" y="3"/>
                    </a:lnTo>
                    <a:lnTo>
                      <a:pt x="271" y="5"/>
                    </a:lnTo>
                    <a:lnTo>
                      <a:pt x="265" y="5"/>
                    </a:lnTo>
                    <a:lnTo>
                      <a:pt x="287" y="7"/>
                    </a:lnTo>
                    <a:lnTo>
                      <a:pt x="289" y="7"/>
                    </a:lnTo>
                    <a:lnTo>
                      <a:pt x="287" y="10"/>
                    </a:lnTo>
                    <a:lnTo>
                      <a:pt x="287" y="7"/>
                    </a:lnTo>
                    <a:lnTo>
                      <a:pt x="286" y="7"/>
                    </a:lnTo>
                    <a:lnTo>
                      <a:pt x="278" y="7"/>
                    </a:lnTo>
                    <a:lnTo>
                      <a:pt x="267" y="7"/>
                    </a:lnTo>
                    <a:lnTo>
                      <a:pt x="267" y="7"/>
                    </a:lnTo>
                    <a:lnTo>
                      <a:pt x="265" y="5"/>
                    </a:lnTo>
                    <a:lnTo>
                      <a:pt x="263" y="5"/>
                    </a:lnTo>
                    <a:lnTo>
                      <a:pt x="259" y="3"/>
                    </a:lnTo>
                    <a:lnTo>
                      <a:pt x="254" y="5"/>
                    </a:lnTo>
                    <a:lnTo>
                      <a:pt x="252" y="5"/>
                    </a:lnTo>
                    <a:lnTo>
                      <a:pt x="255" y="7"/>
                    </a:lnTo>
                    <a:lnTo>
                      <a:pt x="259" y="7"/>
                    </a:lnTo>
                    <a:lnTo>
                      <a:pt x="265" y="7"/>
                    </a:lnTo>
                    <a:lnTo>
                      <a:pt x="267" y="10"/>
                    </a:lnTo>
                    <a:lnTo>
                      <a:pt x="270" y="10"/>
                    </a:lnTo>
                    <a:lnTo>
                      <a:pt x="281" y="10"/>
                    </a:lnTo>
                    <a:lnTo>
                      <a:pt x="268" y="10"/>
                    </a:lnTo>
                    <a:lnTo>
                      <a:pt x="265" y="10"/>
                    </a:lnTo>
                    <a:lnTo>
                      <a:pt x="263" y="10"/>
                    </a:lnTo>
                    <a:lnTo>
                      <a:pt x="263" y="13"/>
                    </a:lnTo>
                    <a:lnTo>
                      <a:pt x="265" y="13"/>
                    </a:lnTo>
                    <a:lnTo>
                      <a:pt x="260" y="13"/>
                    </a:lnTo>
                    <a:lnTo>
                      <a:pt x="262" y="13"/>
                    </a:lnTo>
                    <a:lnTo>
                      <a:pt x="263" y="13"/>
                    </a:lnTo>
                    <a:lnTo>
                      <a:pt x="257" y="16"/>
                    </a:lnTo>
                    <a:lnTo>
                      <a:pt x="251" y="13"/>
                    </a:lnTo>
                    <a:lnTo>
                      <a:pt x="240" y="10"/>
                    </a:lnTo>
                    <a:lnTo>
                      <a:pt x="230" y="10"/>
                    </a:lnTo>
                    <a:lnTo>
                      <a:pt x="222" y="7"/>
                    </a:lnTo>
                    <a:lnTo>
                      <a:pt x="216" y="10"/>
                    </a:lnTo>
                    <a:lnTo>
                      <a:pt x="216" y="10"/>
                    </a:lnTo>
                    <a:lnTo>
                      <a:pt x="217" y="13"/>
                    </a:lnTo>
                    <a:lnTo>
                      <a:pt x="224" y="13"/>
                    </a:lnTo>
                    <a:lnTo>
                      <a:pt x="217" y="13"/>
                    </a:lnTo>
                    <a:lnTo>
                      <a:pt x="213" y="13"/>
                    </a:lnTo>
                    <a:lnTo>
                      <a:pt x="220" y="16"/>
                    </a:lnTo>
                    <a:lnTo>
                      <a:pt x="216" y="16"/>
                    </a:lnTo>
                    <a:lnTo>
                      <a:pt x="213" y="16"/>
                    </a:lnTo>
                    <a:lnTo>
                      <a:pt x="201" y="13"/>
                    </a:lnTo>
                    <a:lnTo>
                      <a:pt x="198" y="13"/>
                    </a:lnTo>
                    <a:lnTo>
                      <a:pt x="195" y="16"/>
                    </a:lnTo>
                    <a:lnTo>
                      <a:pt x="192" y="16"/>
                    </a:lnTo>
                    <a:lnTo>
                      <a:pt x="189" y="16"/>
                    </a:lnTo>
                    <a:lnTo>
                      <a:pt x="192" y="16"/>
                    </a:lnTo>
                    <a:lnTo>
                      <a:pt x="193" y="13"/>
                    </a:lnTo>
                    <a:lnTo>
                      <a:pt x="193" y="10"/>
                    </a:lnTo>
                    <a:lnTo>
                      <a:pt x="192" y="10"/>
                    </a:lnTo>
                    <a:lnTo>
                      <a:pt x="189" y="10"/>
                    </a:lnTo>
                    <a:lnTo>
                      <a:pt x="182" y="10"/>
                    </a:lnTo>
                    <a:lnTo>
                      <a:pt x="176" y="10"/>
                    </a:lnTo>
                    <a:lnTo>
                      <a:pt x="168" y="10"/>
                    </a:lnTo>
                    <a:lnTo>
                      <a:pt x="160" y="13"/>
                    </a:lnTo>
                    <a:lnTo>
                      <a:pt x="149" y="13"/>
                    </a:lnTo>
                    <a:lnTo>
                      <a:pt x="154" y="13"/>
                    </a:lnTo>
                    <a:lnTo>
                      <a:pt x="157" y="16"/>
                    </a:lnTo>
                    <a:lnTo>
                      <a:pt x="160" y="16"/>
                    </a:lnTo>
                    <a:lnTo>
                      <a:pt x="155" y="16"/>
                    </a:lnTo>
                    <a:lnTo>
                      <a:pt x="154" y="16"/>
                    </a:lnTo>
                    <a:lnTo>
                      <a:pt x="152" y="16"/>
                    </a:lnTo>
                    <a:lnTo>
                      <a:pt x="151" y="13"/>
                    </a:lnTo>
                    <a:lnTo>
                      <a:pt x="147" y="13"/>
                    </a:lnTo>
                    <a:lnTo>
                      <a:pt x="136" y="13"/>
                    </a:lnTo>
                    <a:lnTo>
                      <a:pt x="132" y="16"/>
                    </a:lnTo>
                    <a:lnTo>
                      <a:pt x="132" y="16"/>
                    </a:lnTo>
                    <a:lnTo>
                      <a:pt x="133" y="16"/>
                    </a:lnTo>
                    <a:lnTo>
                      <a:pt x="132" y="18"/>
                    </a:lnTo>
                    <a:lnTo>
                      <a:pt x="128" y="19"/>
                    </a:lnTo>
                    <a:lnTo>
                      <a:pt x="132" y="19"/>
                    </a:lnTo>
                    <a:lnTo>
                      <a:pt x="125" y="21"/>
                    </a:lnTo>
                    <a:lnTo>
                      <a:pt x="117" y="19"/>
                    </a:lnTo>
                    <a:lnTo>
                      <a:pt x="114" y="19"/>
                    </a:lnTo>
                    <a:lnTo>
                      <a:pt x="111" y="21"/>
                    </a:lnTo>
                    <a:lnTo>
                      <a:pt x="111" y="22"/>
                    </a:lnTo>
                    <a:lnTo>
                      <a:pt x="109" y="21"/>
                    </a:lnTo>
                    <a:lnTo>
                      <a:pt x="106" y="21"/>
                    </a:lnTo>
                    <a:lnTo>
                      <a:pt x="103" y="21"/>
                    </a:lnTo>
                    <a:lnTo>
                      <a:pt x="90" y="24"/>
                    </a:lnTo>
                    <a:lnTo>
                      <a:pt x="78" y="26"/>
                    </a:lnTo>
                    <a:lnTo>
                      <a:pt x="73" y="27"/>
                    </a:lnTo>
                    <a:lnTo>
                      <a:pt x="71" y="29"/>
                    </a:lnTo>
                    <a:lnTo>
                      <a:pt x="70" y="29"/>
                    </a:lnTo>
                    <a:lnTo>
                      <a:pt x="74" y="30"/>
                    </a:lnTo>
                    <a:lnTo>
                      <a:pt x="82" y="30"/>
                    </a:lnTo>
                    <a:lnTo>
                      <a:pt x="87" y="30"/>
                    </a:lnTo>
                    <a:lnTo>
                      <a:pt x="86" y="32"/>
                    </a:lnTo>
                    <a:lnTo>
                      <a:pt x="84" y="37"/>
                    </a:lnTo>
                    <a:lnTo>
                      <a:pt x="81" y="38"/>
                    </a:lnTo>
                    <a:lnTo>
                      <a:pt x="76" y="38"/>
                    </a:lnTo>
                    <a:lnTo>
                      <a:pt x="70" y="40"/>
                    </a:lnTo>
                    <a:lnTo>
                      <a:pt x="63" y="40"/>
                    </a:lnTo>
                    <a:lnTo>
                      <a:pt x="54" y="41"/>
                    </a:lnTo>
                    <a:lnTo>
                      <a:pt x="49" y="41"/>
                    </a:lnTo>
                    <a:lnTo>
                      <a:pt x="43" y="41"/>
                    </a:lnTo>
                    <a:lnTo>
                      <a:pt x="41" y="41"/>
                    </a:lnTo>
                    <a:lnTo>
                      <a:pt x="35" y="45"/>
                    </a:lnTo>
                    <a:lnTo>
                      <a:pt x="30" y="45"/>
                    </a:lnTo>
                    <a:lnTo>
                      <a:pt x="25" y="45"/>
                    </a:lnTo>
                    <a:lnTo>
                      <a:pt x="17" y="45"/>
                    </a:lnTo>
                    <a:lnTo>
                      <a:pt x="11" y="48"/>
                    </a:lnTo>
                    <a:lnTo>
                      <a:pt x="6" y="48"/>
                    </a:lnTo>
                    <a:lnTo>
                      <a:pt x="9" y="48"/>
                    </a:lnTo>
                    <a:lnTo>
                      <a:pt x="6" y="51"/>
                    </a:lnTo>
                    <a:lnTo>
                      <a:pt x="3" y="51"/>
                    </a:lnTo>
                    <a:lnTo>
                      <a:pt x="9" y="53"/>
                    </a:lnTo>
                    <a:lnTo>
                      <a:pt x="14" y="53"/>
                    </a:lnTo>
                    <a:lnTo>
                      <a:pt x="11" y="54"/>
                    </a:lnTo>
                    <a:lnTo>
                      <a:pt x="17" y="54"/>
                    </a:lnTo>
                    <a:lnTo>
                      <a:pt x="22" y="56"/>
                    </a:lnTo>
                    <a:lnTo>
                      <a:pt x="27" y="54"/>
                    </a:lnTo>
                    <a:lnTo>
                      <a:pt x="24" y="56"/>
                    </a:lnTo>
                    <a:lnTo>
                      <a:pt x="22" y="56"/>
                    </a:lnTo>
                    <a:lnTo>
                      <a:pt x="19" y="56"/>
                    </a:lnTo>
                    <a:lnTo>
                      <a:pt x="25" y="57"/>
                    </a:lnTo>
                    <a:lnTo>
                      <a:pt x="30" y="57"/>
                    </a:lnTo>
                    <a:lnTo>
                      <a:pt x="32" y="57"/>
                    </a:lnTo>
                    <a:lnTo>
                      <a:pt x="32" y="56"/>
                    </a:lnTo>
                    <a:lnTo>
                      <a:pt x="35" y="56"/>
                    </a:lnTo>
                    <a:lnTo>
                      <a:pt x="35" y="57"/>
                    </a:lnTo>
                    <a:lnTo>
                      <a:pt x="41" y="57"/>
                    </a:lnTo>
                    <a:lnTo>
                      <a:pt x="46" y="56"/>
                    </a:lnTo>
                    <a:lnTo>
                      <a:pt x="51" y="54"/>
                    </a:lnTo>
                    <a:lnTo>
                      <a:pt x="52" y="56"/>
                    </a:lnTo>
                    <a:lnTo>
                      <a:pt x="54" y="57"/>
                    </a:lnTo>
                    <a:lnTo>
                      <a:pt x="49" y="57"/>
                    </a:lnTo>
                    <a:lnTo>
                      <a:pt x="47" y="59"/>
                    </a:lnTo>
                    <a:lnTo>
                      <a:pt x="44" y="59"/>
                    </a:lnTo>
                    <a:lnTo>
                      <a:pt x="41" y="59"/>
                    </a:lnTo>
                    <a:lnTo>
                      <a:pt x="27" y="59"/>
                    </a:lnTo>
                    <a:lnTo>
                      <a:pt x="32" y="61"/>
                    </a:lnTo>
                    <a:lnTo>
                      <a:pt x="25" y="61"/>
                    </a:lnTo>
                    <a:lnTo>
                      <a:pt x="11" y="61"/>
                    </a:lnTo>
                    <a:lnTo>
                      <a:pt x="6" y="62"/>
                    </a:lnTo>
                    <a:lnTo>
                      <a:pt x="6" y="64"/>
                    </a:lnTo>
                    <a:lnTo>
                      <a:pt x="6" y="64"/>
                    </a:lnTo>
                    <a:lnTo>
                      <a:pt x="9" y="65"/>
                    </a:lnTo>
                    <a:lnTo>
                      <a:pt x="12" y="64"/>
                    </a:lnTo>
                    <a:lnTo>
                      <a:pt x="16" y="62"/>
                    </a:lnTo>
                    <a:lnTo>
                      <a:pt x="19" y="62"/>
                    </a:lnTo>
                    <a:lnTo>
                      <a:pt x="16" y="64"/>
                    </a:lnTo>
                    <a:lnTo>
                      <a:pt x="12" y="65"/>
                    </a:lnTo>
                    <a:lnTo>
                      <a:pt x="20" y="67"/>
                    </a:lnTo>
                    <a:lnTo>
                      <a:pt x="28" y="65"/>
                    </a:lnTo>
                    <a:lnTo>
                      <a:pt x="28" y="67"/>
                    </a:lnTo>
                    <a:lnTo>
                      <a:pt x="27" y="67"/>
                    </a:lnTo>
                    <a:lnTo>
                      <a:pt x="22" y="67"/>
                    </a:lnTo>
                    <a:lnTo>
                      <a:pt x="17" y="68"/>
                    </a:lnTo>
                    <a:lnTo>
                      <a:pt x="12" y="70"/>
                    </a:lnTo>
                    <a:lnTo>
                      <a:pt x="16" y="72"/>
                    </a:lnTo>
                    <a:lnTo>
                      <a:pt x="20" y="72"/>
                    </a:lnTo>
                    <a:lnTo>
                      <a:pt x="19" y="73"/>
                    </a:lnTo>
                    <a:lnTo>
                      <a:pt x="20" y="73"/>
                    </a:lnTo>
                    <a:lnTo>
                      <a:pt x="25" y="73"/>
                    </a:lnTo>
                    <a:lnTo>
                      <a:pt x="30" y="75"/>
                    </a:lnTo>
                    <a:lnTo>
                      <a:pt x="35" y="75"/>
                    </a:lnTo>
                    <a:lnTo>
                      <a:pt x="32" y="73"/>
                    </a:lnTo>
                    <a:lnTo>
                      <a:pt x="30" y="72"/>
                    </a:lnTo>
                    <a:lnTo>
                      <a:pt x="32" y="72"/>
                    </a:lnTo>
                    <a:lnTo>
                      <a:pt x="35" y="73"/>
                    </a:lnTo>
                    <a:lnTo>
                      <a:pt x="38" y="73"/>
                    </a:lnTo>
                    <a:lnTo>
                      <a:pt x="38" y="72"/>
                    </a:lnTo>
                    <a:lnTo>
                      <a:pt x="41" y="72"/>
                    </a:lnTo>
                    <a:lnTo>
                      <a:pt x="43" y="72"/>
                    </a:lnTo>
                    <a:lnTo>
                      <a:pt x="41" y="73"/>
                    </a:lnTo>
                    <a:lnTo>
                      <a:pt x="43" y="73"/>
                    </a:lnTo>
                    <a:lnTo>
                      <a:pt x="46" y="72"/>
                    </a:lnTo>
                    <a:lnTo>
                      <a:pt x="49" y="72"/>
                    </a:lnTo>
                    <a:lnTo>
                      <a:pt x="51" y="72"/>
                    </a:lnTo>
                    <a:lnTo>
                      <a:pt x="52" y="72"/>
                    </a:lnTo>
                    <a:lnTo>
                      <a:pt x="55" y="70"/>
                    </a:lnTo>
                    <a:lnTo>
                      <a:pt x="57" y="72"/>
                    </a:lnTo>
                    <a:lnTo>
                      <a:pt x="63" y="70"/>
                    </a:lnTo>
                    <a:lnTo>
                      <a:pt x="66" y="70"/>
                    </a:lnTo>
                    <a:lnTo>
                      <a:pt x="66" y="72"/>
                    </a:lnTo>
                    <a:lnTo>
                      <a:pt x="71" y="72"/>
                    </a:lnTo>
                    <a:lnTo>
                      <a:pt x="74" y="72"/>
                    </a:lnTo>
                    <a:lnTo>
                      <a:pt x="84" y="72"/>
                    </a:lnTo>
                    <a:lnTo>
                      <a:pt x="82" y="73"/>
                    </a:lnTo>
                    <a:lnTo>
                      <a:pt x="87" y="73"/>
                    </a:lnTo>
                    <a:lnTo>
                      <a:pt x="87" y="73"/>
                    </a:lnTo>
                    <a:lnTo>
                      <a:pt x="87" y="75"/>
                    </a:lnTo>
                    <a:lnTo>
                      <a:pt x="90" y="75"/>
                    </a:lnTo>
                    <a:lnTo>
                      <a:pt x="97" y="76"/>
                    </a:lnTo>
                    <a:lnTo>
                      <a:pt x="93" y="76"/>
                    </a:lnTo>
                    <a:lnTo>
                      <a:pt x="97" y="76"/>
                    </a:lnTo>
                    <a:lnTo>
                      <a:pt x="100" y="76"/>
                    </a:lnTo>
                    <a:lnTo>
                      <a:pt x="100" y="76"/>
                    </a:lnTo>
                    <a:lnTo>
                      <a:pt x="100" y="76"/>
                    </a:lnTo>
                    <a:lnTo>
                      <a:pt x="100" y="80"/>
                    </a:lnTo>
                    <a:lnTo>
                      <a:pt x="97" y="80"/>
                    </a:lnTo>
                    <a:lnTo>
                      <a:pt x="100" y="80"/>
                    </a:lnTo>
                    <a:lnTo>
                      <a:pt x="97" y="83"/>
                    </a:lnTo>
                    <a:lnTo>
                      <a:pt x="100" y="83"/>
                    </a:lnTo>
                    <a:lnTo>
                      <a:pt x="97" y="83"/>
                    </a:lnTo>
                    <a:lnTo>
                      <a:pt x="101" y="86"/>
                    </a:lnTo>
                    <a:lnTo>
                      <a:pt x="105" y="86"/>
                    </a:lnTo>
                    <a:lnTo>
                      <a:pt x="106" y="86"/>
                    </a:lnTo>
                    <a:lnTo>
                      <a:pt x="105" y="86"/>
                    </a:lnTo>
                    <a:lnTo>
                      <a:pt x="103" y="87"/>
                    </a:lnTo>
                    <a:lnTo>
                      <a:pt x="105" y="87"/>
                    </a:lnTo>
                    <a:lnTo>
                      <a:pt x="106" y="87"/>
                    </a:lnTo>
                    <a:lnTo>
                      <a:pt x="109" y="89"/>
                    </a:lnTo>
                    <a:lnTo>
                      <a:pt x="106" y="91"/>
                    </a:lnTo>
                    <a:lnTo>
                      <a:pt x="108" y="91"/>
                    </a:lnTo>
                    <a:lnTo>
                      <a:pt x="103" y="92"/>
                    </a:lnTo>
                    <a:lnTo>
                      <a:pt x="106" y="92"/>
                    </a:lnTo>
                    <a:lnTo>
                      <a:pt x="105" y="95"/>
                    </a:lnTo>
                    <a:lnTo>
                      <a:pt x="106" y="95"/>
                    </a:lnTo>
                    <a:lnTo>
                      <a:pt x="106" y="97"/>
                    </a:lnTo>
                    <a:lnTo>
                      <a:pt x="108" y="97"/>
                    </a:lnTo>
                    <a:lnTo>
                      <a:pt x="106" y="97"/>
                    </a:lnTo>
                    <a:lnTo>
                      <a:pt x="105" y="97"/>
                    </a:lnTo>
                    <a:lnTo>
                      <a:pt x="105" y="100"/>
                    </a:lnTo>
                    <a:lnTo>
                      <a:pt x="106" y="100"/>
                    </a:lnTo>
                    <a:lnTo>
                      <a:pt x="109" y="103"/>
                    </a:lnTo>
                    <a:lnTo>
                      <a:pt x="106" y="103"/>
                    </a:lnTo>
                    <a:lnTo>
                      <a:pt x="106" y="103"/>
                    </a:lnTo>
                    <a:lnTo>
                      <a:pt x="108" y="103"/>
                    </a:lnTo>
                    <a:lnTo>
                      <a:pt x="105" y="107"/>
                    </a:lnTo>
                    <a:lnTo>
                      <a:pt x="106" y="107"/>
                    </a:lnTo>
                    <a:lnTo>
                      <a:pt x="108" y="107"/>
                    </a:lnTo>
                    <a:lnTo>
                      <a:pt x="109" y="107"/>
                    </a:lnTo>
                    <a:lnTo>
                      <a:pt x="109" y="110"/>
                    </a:lnTo>
                    <a:lnTo>
                      <a:pt x="105" y="111"/>
                    </a:lnTo>
                    <a:lnTo>
                      <a:pt x="109" y="113"/>
                    </a:lnTo>
                    <a:lnTo>
                      <a:pt x="103" y="113"/>
                    </a:lnTo>
                    <a:lnTo>
                      <a:pt x="106" y="114"/>
                    </a:lnTo>
                    <a:lnTo>
                      <a:pt x="103" y="114"/>
                    </a:lnTo>
                    <a:lnTo>
                      <a:pt x="100" y="116"/>
                    </a:lnTo>
                    <a:lnTo>
                      <a:pt x="100" y="118"/>
                    </a:lnTo>
                    <a:lnTo>
                      <a:pt x="97" y="119"/>
                    </a:lnTo>
                    <a:lnTo>
                      <a:pt x="97" y="119"/>
                    </a:lnTo>
                    <a:lnTo>
                      <a:pt x="93" y="121"/>
                    </a:lnTo>
                    <a:lnTo>
                      <a:pt x="90" y="122"/>
                    </a:lnTo>
                    <a:lnTo>
                      <a:pt x="90" y="124"/>
                    </a:lnTo>
                    <a:lnTo>
                      <a:pt x="93" y="126"/>
                    </a:lnTo>
                    <a:lnTo>
                      <a:pt x="93" y="126"/>
                    </a:lnTo>
                    <a:lnTo>
                      <a:pt x="97" y="127"/>
                    </a:lnTo>
                    <a:lnTo>
                      <a:pt x="101" y="127"/>
                    </a:lnTo>
                    <a:lnTo>
                      <a:pt x="105" y="126"/>
                    </a:lnTo>
                    <a:lnTo>
                      <a:pt x="106" y="126"/>
                    </a:lnTo>
                    <a:lnTo>
                      <a:pt x="106" y="124"/>
                    </a:lnTo>
                    <a:lnTo>
                      <a:pt x="106" y="122"/>
                    </a:lnTo>
                    <a:lnTo>
                      <a:pt x="109" y="122"/>
                    </a:lnTo>
                    <a:lnTo>
                      <a:pt x="111" y="121"/>
                    </a:lnTo>
                    <a:lnTo>
                      <a:pt x="113" y="121"/>
                    </a:lnTo>
                    <a:lnTo>
                      <a:pt x="114" y="119"/>
                    </a:lnTo>
                    <a:lnTo>
                      <a:pt x="113" y="118"/>
                    </a:lnTo>
                    <a:lnTo>
                      <a:pt x="113" y="116"/>
                    </a:lnTo>
                    <a:lnTo>
                      <a:pt x="114" y="114"/>
                    </a:lnTo>
                    <a:lnTo>
                      <a:pt x="114" y="116"/>
                    </a:lnTo>
                    <a:lnTo>
                      <a:pt x="114" y="119"/>
                    </a:lnTo>
                    <a:lnTo>
                      <a:pt x="114" y="121"/>
                    </a:lnTo>
                    <a:lnTo>
                      <a:pt x="120" y="119"/>
                    </a:lnTo>
                    <a:lnTo>
                      <a:pt x="114" y="122"/>
                    </a:lnTo>
                    <a:lnTo>
                      <a:pt x="122" y="124"/>
                    </a:lnTo>
                    <a:lnTo>
                      <a:pt x="125" y="122"/>
                    </a:lnTo>
                    <a:lnTo>
                      <a:pt x="128" y="122"/>
                    </a:lnTo>
                    <a:lnTo>
                      <a:pt x="125" y="124"/>
                    </a:lnTo>
                    <a:lnTo>
                      <a:pt x="122" y="124"/>
                    </a:lnTo>
                    <a:lnTo>
                      <a:pt x="119" y="124"/>
                    </a:lnTo>
                    <a:lnTo>
                      <a:pt x="114" y="126"/>
                    </a:lnTo>
                    <a:lnTo>
                      <a:pt x="122" y="126"/>
                    </a:lnTo>
                    <a:lnTo>
                      <a:pt x="125" y="124"/>
                    </a:lnTo>
                    <a:lnTo>
                      <a:pt x="128" y="126"/>
                    </a:lnTo>
                    <a:lnTo>
                      <a:pt x="125" y="126"/>
                    </a:lnTo>
                    <a:lnTo>
                      <a:pt x="122" y="126"/>
                    </a:lnTo>
                    <a:lnTo>
                      <a:pt x="117" y="129"/>
                    </a:lnTo>
                    <a:lnTo>
                      <a:pt x="119" y="129"/>
                    </a:lnTo>
                    <a:lnTo>
                      <a:pt x="120" y="129"/>
                    </a:lnTo>
                    <a:lnTo>
                      <a:pt x="122" y="130"/>
                    </a:lnTo>
                    <a:lnTo>
                      <a:pt x="128" y="129"/>
                    </a:lnTo>
                    <a:lnTo>
                      <a:pt x="125" y="130"/>
                    </a:lnTo>
                    <a:lnTo>
                      <a:pt x="128" y="130"/>
                    </a:lnTo>
                    <a:lnTo>
                      <a:pt x="132" y="130"/>
                    </a:lnTo>
                    <a:lnTo>
                      <a:pt x="128" y="132"/>
                    </a:lnTo>
                    <a:lnTo>
                      <a:pt x="125" y="130"/>
                    </a:lnTo>
                    <a:lnTo>
                      <a:pt x="122" y="130"/>
                    </a:lnTo>
                    <a:lnTo>
                      <a:pt x="122" y="130"/>
                    </a:lnTo>
                    <a:lnTo>
                      <a:pt x="125" y="132"/>
                    </a:lnTo>
                    <a:lnTo>
                      <a:pt x="128" y="132"/>
                    </a:lnTo>
                    <a:lnTo>
                      <a:pt x="125" y="132"/>
                    </a:lnTo>
                    <a:lnTo>
                      <a:pt x="125" y="132"/>
                    </a:lnTo>
                    <a:lnTo>
                      <a:pt x="125" y="135"/>
                    </a:lnTo>
                    <a:lnTo>
                      <a:pt x="128" y="135"/>
                    </a:lnTo>
                    <a:lnTo>
                      <a:pt x="128" y="135"/>
                    </a:lnTo>
                    <a:lnTo>
                      <a:pt x="125" y="135"/>
                    </a:lnTo>
                    <a:lnTo>
                      <a:pt x="125" y="138"/>
                    </a:lnTo>
                    <a:lnTo>
                      <a:pt x="128" y="138"/>
                    </a:lnTo>
                    <a:lnTo>
                      <a:pt x="132" y="135"/>
                    </a:lnTo>
                    <a:lnTo>
                      <a:pt x="128" y="138"/>
                    </a:lnTo>
                    <a:lnTo>
                      <a:pt x="125" y="138"/>
                    </a:lnTo>
                    <a:lnTo>
                      <a:pt x="125" y="138"/>
                    </a:lnTo>
                    <a:lnTo>
                      <a:pt x="114" y="135"/>
                    </a:lnTo>
                    <a:lnTo>
                      <a:pt x="109" y="132"/>
                    </a:lnTo>
                    <a:lnTo>
                      <a:pt x="105" y="132"/>
                    </a:lnTo>
                    <a:lnTo>
                      <a:pt x="100" y="132"/>
                    </a:lnTo>
                    <a:lnTo>
                      <a:pt x="93" y="135"/>
                    </a:lnTo>
                    <a:lnTo>
                      <a:pt x="97" y="135"/>
                    </a:lnTo>
                    <a:lnTo>
                      <a:pt x="100" y="138"/>
                    </a:lnTo>
                    <a:lnTo>
                      <a:pt x="105" y="138"/>
                    </a:lnTo>
                    <a:lnTo>
                      <a:pt x="106" y="138"/>
                    </a:lnTo>
                    <a:lnTo>
                      <a:pt x="109" y="141"/>
                    </a:lnTo>
                    <a:lnTo>
                      <a:pt x="113" y="141"/>
                    </a:lnTo>
                    <a:lnTo>
                      <a:pt x="116" y="141"/>
                    </a:lnTo>
                    <a:lnTo>
                      <a:pt x="119" y="143"/>
                    </a:lnTo>
                    <a:lnTo>
                      <a:pt x="120" y="141"/>
                    </a:lnTo>
                    <a:lnTo>
                      <a:pt x="122" y="141"/>
                    </a:lnTo>
                    <a:lnTo>
                      <a:pt x="120" y="143"/>
                    </a:lnTo>
                    <a:lnTo>
                      <a:pt x="125" y="141"/>
                    </a:lnTo>
                    <a:lnTo>
                      <a:pt x="128" y="141"/>
                    </a:lnTo>
                    <a:lnTo>
                      <a:pt x="125" y="143"/>
                    </a:lnTo>
                    <a:lnTo>
                      <a:pt x="128" y="143"/>
                    </a:lnTo>
                    <a:lnTo>
                      <a:pt x="128" y="145"/>
                    </a:lnTo>
                    <a:lnTo>
                      <a:pt x="125" y="145"/>
                    </a:lnTo>
                    <a:lnTo>
                      <a:pt x="122" y="146"/>
                    </a:lnTo>
                    <a:lnTo>
                      <a:pt x="122" y="146"/>
                    </a:lnTo>
                    <a:lnTo>
                      <a:pt x="122" y="148"/>
                    </a:lnTo>
                    <a:lnTo>
                      <a:pt x="122" y="148"/>
                    </a:lnTo>
                    <a:lnTo>
                      <a:pt x="125" y="148"/>
                    </a:lnTo>
                    <a:lnTo>
                      <a:pt x="122" y="149"/>
                    </a:lnTo>
                    <a:lnTo>
                      <a:pt x="117" y="153"/>
                    </a:lnTo>
                    <a:lnTo>
                      <a:pt x="120" y="151"/>
                    </a:lnTo>
                    <a:lnTo>
                      <a:pt x="122" y="151"/>
                    </a:lnTo>
                    <a:lnTo>
                      <a:pt x="125" y="153"/>
                    </a:lnTo>
                    <a:lnTo>
                      <a:pt x="122" y="153"/>
                    </a:lnTo>
                    <a:lnTo>
                      <a:pt x="120" y="154"/>
                    </a:lnTo>
                    <a:lnTo>
                      <a:pt x="122" y="154"/>
                    </a:lnTo>
                    <a:lnTo>
                      <a:pt x="120" y="156"/>
                    </a:lnTo>
                    <a:lnTo>
                      <a:pt x="120" y="154"/>
                    </a:lnTo>
                    <a:lnTo>
                      <a:pt x="119" y="154"/>
                    </a:lnTo>
                    <a:lnTo>
                      <a:pt x="117" y="154"/>
                    </a:lnTo>
                    <a:lnTo>
                      <a:pt x="119" y="153"/>
                    </a:lnTo>
                    <a:lnTo>
                      <a:pt x="116" y="154"/>
                    </a:lnTo>
                    <a:lnTo>
                      <a:pt x="116" y="156"/>
                    </a:lnTo>
                    <a:lnTo>
                      <a:pt x="114" y="157"/>
                    </a:lnTo>
                    <a:lnTo>
                      <a:pt x="116" y="157"/>
                    </a:lnTo>
                    <a:lnTo>
                      <a:pt x="114" y="159"/>
                    </a:lnTo>
                    <a:lnTo>
                      <a:pt x="113" y="161"/>
                    </a:lnTo>
                    <a:lnTo>
                      <a:pt x="109" y="161"/>
                    </a:lnTo>
                    <a:lnTo>
                      <a:pt x="103" y="161"/>
                    </a:lnTo>
                    <a:lnTo>
                      <a:pt x="105" y="159"/>
                    </a:lnTo>
                    <a:lnTo>
                      <a:pt x="103" y="159"/>
                    </a:lnTo>
                    <a:lnTo>
                      <a:pt x="100" y="161"/>
                    </a:lnTo>
                    <a:lnTo>
                      <a:pt x="100" y="161"/>
                    </a:lnTo>
                    <a:lnTo>
                      <a:pt x="100" y="162"/>
                    </a:lnTo>
                    <a:lnTo>
                      <a:pt x="97" y="162"/>
                    </a:lnTo>
                    <a:lnTo>
                      <a:pt x="90" y="164"/>
                    </a:lnTo>
                    <a:lnTo>
                      <a:pt x="93" y="164"/>
                    </a:lnTo>
                    <a:lnTo>
                      <a:pt x="97" y="164"/>
                    </a:lnTo>
                    <a:lnTo>
                      <a:pt x="93" y="165"/>
                    </a:lnTo>
                    <a:lnTo>
                      <a:pt x="97" y="164"/>
                    </a:lnTo>
                    <a:lnTo>
                      <a:pt x="101" y="165"/>
                    </a:lnTo>
                    <a:lnTo>
                      <a:pt x="105" y="164"/>
                    </a:lnTo>
                    <a:lnTo>
                      <a:pt x="108" y="164"/>
                    </a:lnTo>
                    <a:lnTo>
                      <a:pt x="111" y="165"/>
                    </a:lnTo>
                    <a:lnTo>
                      <a:pt x="106" y="165"/>
                    </a:lnTo>
                    <a:lnTo>
                      <a:pt x="113" y="167"/>
                    </a:lnTo>
                    <a:lnTo>
                      <a:pt x="117" y="167"/>
                    </a:lnTo>
                    <a:lnTo>
                      <a:pt x="111" y="167"/>
                    </a:lnTo>
                    <a:lnTo>
                      <a:pt x="116" y="170"/>
                    </a:lnTo>
                    <a:lnTo>
                      <a:pt x="105" y="170"/>
                    </a:lnTo>
                    <a:lnTo>
                      <a:pt x="106" y="170"/>
                    </a:lnTo>
                    <a:lnTo>
                      <a:pt x="109" y="170"/>
                    </a:lnTo>
                    <a:lnTo>
                      <a:pt x="114" y="170"/>
                    </a:lnTo>
                    <a:lnTo>
                      <a:pt x="109" y="173"/>
                    </a:lnTo>
                    <a:lnTo>
                      <a:pt x="103" y="170"/>
                    </a:lnTo>
                    <a:lnTo>
                      <a:pt x="103" y="170"/>
                    </a:lnTo>
                    <a:lnTo>
                      <a:pt x="105" y="170"/>
                    </a:lnTo>
                    <a:lnTo>
                      <a:pt x="103" y="167"/>
                    </a:lnTo>
                    <a:lnTo>
                      <a:pt x="105" y="167"/>
                    </a:lnTo>
                    <a:lnTo>
                      <a:pt x="106" y="170"/>
                    </a:lnTo>
                    <a:lnTo>
                      <a:pt x="108" y="170"/>
                    </a:lnTo>
                    <a:lnTo>
                      <a:pt x="109" y="170"/>
                    </a:lnTo>
                    <a:lnTo>
                      <a:pt x="109" y="167"/>
                    </a:lnTo>
                    <a:lnTo>
                      <a:pt x="111" y="167"/>
                    </a:lnTo>
                    <a:lnTo>
                      <a:pt x="106" y="167"/>
                    </a:lnTo>
                    <a:lnTo>
                      <a:pt x="100" y="167"/>
                    </a:lnTo>
                    <a:lnTo>
                      <a:pt x="97" y="165"/>
                    </a:lnTo>
                    <a:lnTo>
                      <a:pt x="93" y="165"/>
                    </a:lnTo>
                    <a:lnTo>
                      <a:pt x="97" y="167"/>
                    </a:lnTo>
                    <a:lnTo>
                      <a:pt x="93" y="165"/>
                    </a:lnTo>
                    <a:lnTo>
                      <a:pt x="90" y="165"/>
                    </a:lnTo>
                    <a:lnTo>
                      <a:pt x="90" y="167"/>
                    </a:lnTo>
                    <a:lnTo>
                      <a:pt x="93" y="167"/>
                    </a:lnTo>
                    <a:lnTo>
                      <a:pt x="93" y="167"/>
                    </a:lnTo>
                    <a:lnTo>
                      <a:pt x="90" y="167"/>
                    </a:lnTo>
                    <a:lnTo>
                      <a:pt x="87" y="167"/>
                    </a:lnTo>
                    <a:lnTo>
                      <a:pt x="87" y="170"/>
                    </a:lnTo>
                    <a:lnTo>
                      <a:pt x="86" y="170"/>
                    </a:lnTo>
                    <a:lnTo>
                      <a:pt x="84" y="170"/>
                    </a:lnTo>
                    <a:lnTo>
                      <a:pt x="84" y="170"/>
                    </a:lnTo>
                    <a:lnTo>
                      <a:pt x="82" y="170"/>
                    </a:lnTo>
                    <a:lnTo>
                      <a:pt x="81" y="173"/>
                    </a:lnTo>
                    <a:lnTo>
                      <a:pt x="86" y="170"/>
                    </a:lnTo>
                    <a:lnTo>
                      <a:pt x="90" y="170"/>
                    </a:lnTo>
                    <a:lnTo>
                      <a:pt x="98" y="168"/>
                    </a:lnTo>
                    <a:lnTo>
                      <a:pt x="97" y="170"/>
                    </a:lnTo>
                    <a:lnTo>
                      <a:pt x="100" y="170"/>
                    </a:lnTo>
                    <a:lnTo>
                      <a:pt x="100" y="170"/>
                    </a:lnTo>
                    <a:lnTo>
                      <a:pt x="101" y="170"/>
                    </a:lnTo>
                    <a:lnTo>
                      <a:pt x="93" y="170"/>
                    </a:lnTo>
                    <a:lnTo>
                      <a:pt x="90" y="170"/>
                    </a:lnTo>
                    <a:lnTo>
                      <a:pt x="87" y="170"/>
                    </a:lnTo>
                    <a:lnTo>
                      <a:pt x="87" y="170"/>
                    </a:lnTo>
                    <a:lnTo>
                      <a:pt x="82" y="173"/>
                    </a:lnTo>
                    <a:lnTo>
                      <a:pt x="79" y="173"/>
                    </a:lnTo>
                    <a:lnTo>
                      <a:pt x="78" y="176"/>
                    </a:lnTo>
                    <a:lnTo>
                      <a:pt x="78" y="176"/>
                    </a:lnTo>
                    <a:lnTo>
                      <a:pt x="84" y="176"/>
                    </a:lnTo>
                    <a:lnTo>
                      <a:pt x="81" y="176"/>
                    </a:lnTo>
                    <a:lnTo>
                      <a:pt x="79" y="176"/>
                    </a:lnTo>
                    <a:lnTo>
                      <a:pt x="76" y="178"/>
                    </a:lnTo>
                    <a:lnTo>
                      <a:pt x="78" y="178"/>
                    </a:lnTo>
                    <a:lnTo>
                      <a:pt x="79" y="178"/>
                    </a:lnTo>
                    <a:lnTo>
                      <a:pt x="81" y="180"/>
                    </a:lnTo>
                    <a:lnTo>
                      <a:pt x="78" y="181"/>
                    </a:lnTo>
                    <a:lnTo>
                      <a:pt x="84" y="180"/>
                    </a:lnTo>
                    <a:lnTo>
                      <a:pt x="86" y="180"/>
                    </a:lnTo>
                    <a:lnTo>
                      <a:pt x="87" y="180"/>
                    </a:lnTo>
                    <a:lnTo>
                      <a:pt x="90" y="180"/>
                    </a:lnTo>
                    <a:lnTo>
                      <a:pt x="87" y="181"/>
                    </a:lnTo>
                    <a:lnTo>
                      <a:pt x="87" y="181"/>
                    </a:lnTo>
                    <a:lnTo>
                      <a:pt x="86" y="181"/>
                    </a:lnTo>
                    <a:lnTo>
                      <a:pt x="84" y="183"/>
                    </a:lnTo>
                    <a:lnTo>
                      <a:pt x="82" y="183"/>
                    </a:lnTo>
                    <a:lnTo>
                      <a:pt x="78" y="183"/>
                    </a:lnTo>
                    <a:lnTo>
                      <a:pt x="79" y="184"/>
                    </a:lnTo>
                    <a:lnTo>
                      <a:pt x="82" y="184"/>
                    </a:lnTo>
                    <a:lnTo>
                      <a:pt x="87" y="184"/>
                    </a:lnTo>
                    <a:lnTo>
                      <a:pt x="78" y="186"/>
                    </a:lnTo>
                    <a:lnTo>
                      <a:pt x="76" y="184"/>
                    </a:lnTo>
                    <a:lnTo>
                      <a:pt x="73" y="188"/>
                    </a:lnTo>
                    <a:lnTo>
                      <a:pt x="74" y="189"/>
                    </a:lnTo>
                    <a:lnTo>
                      <a:pt x="73" y="191"/>
                    </a:lnTo>
                    <a:lnTo>
                      <a:pt x="76" y="192"/>
                    </a:lnTo>
                    <a:lnTo>
                      <a:pt x="74" y="192"/>
                    </a:lnTo>
                    <a:lnTo>
                      <a:pt x="76" y="194"/>
                    </a:lnTo>
                    <a:lnTo>
                      <a:pt x="78" y="194"/>
                    </a:lnTo>
                    <a:lnTo>
                      <a:pt x="79" y="194"/>
                    </a:lnTo>
                    <a:lnTo>
                      <a:pt x="82" y="192"/>
                    </a:lnTo>
                    <a:lnTo>
                      <a:pt x="84" y="192"/>
                    </a:lnTo>
                    <a:lnTo>
                      <a:pt x="86" y="192"/>
                    </a:lnTo>
                    <a:lnTo>
                      <a:pt x="90" y="191"/>
                    </a:lnTo>
                    <a:lnTo>
                      <a:pt x="87" y="192"/>
                    </a:lnTo>
                    <a:lnTo>
                      <a:pt x="87" y="192"/>
                    </a:lnTo>
                    <a:lnTo>
                      <a:pt x="84" y="194"/>
                    </a:lnTo>
                    <a:lnTo>
                      <a:pt x="81" y="194"/>
                    </a:lnTo>
                    <a:lnTo>
                      <a:pt x="79" y="194"/>
                    </a:lnTo>
                    <a:lnTo>
                      <a:pt x="79" y="195"/>
                    </a:lnTo>
                    <a:lnTo>
                      <a:pt x="78" y="197"/>
                    </a:lnTo>
                    <a:lnTo>
                      <a:pt x="79" y="197"/>
                    </a:lnTo>
                    <a:lnTo>
                      <a:pt x="81" y="197"/>
                    </a:lnTo>
                    <a:lnTo>
                      <a:pt x="78" y="199"/>
                    </a:lnTo>
                    <a:lnTo>
                      <a:pt x="79" y="199"/>
                    </a:lnTo>
                    <a:lnTo>
                      <a:pt x="79" y="200"/>
                    </a:lnTo>
                    <a:lnTo>
                      <a:pt x="81" y="199"/>
                    </a:lnTo>
                    <a:lnTo>
                      <a:pt x="86" y="197"/>
                    </a:lnTo>
                    <a:lnTo>
                      <a:pt x="87" y="195"/>
                    </a:lnTo>
                    <a:lnTo>
                      <a:pt x="87" y="197"/>
                    </a:lnTo>
                    <a:lnTo>
                      <a:pt x="82" y="199"/>
                    </a:lnTo>
                    <a:lnTo>
                      <a:pt x="79" y="200"/>
                    </a:lnTo>
                    <a:lnTo>
                      <a:pt x="78" y="202"/>
                    </a:lnTo>
                    <a:lnTo>
                      <a:pt x="79" y="202"/>
                    </a:lnTo>
                    <a:lnTo>
                      <a:pt x="81" y="202"/>
                    </a:lnTo>
                    <a:lnTo>
                      <a:pt x="82" y="202"/>
                    </a:lnTo>
                    <a:lnTo>
                      <a:pt x="81" y="202"/>
                    </a:lnTo>
                    <a:lnTo>
                      <a:pt x="81" y="205"/>
                    </a:lnTo>
                    <a:lnTo>
                      <a:pt x="79" y="205"/>
                    </a:lnTo>
                    <a:lnTo>
                      <a:pt x="79" y="208"/>
                    </a:lnTo>
                    <a:lnTo>
                      <a:pt x="78" y="208"/>
                    </a:lnTo>
                    <a:lnTo>
                      <a:pt x="76" y="215"/>
                    </a:lnTo>
                    <a:lnTo>
                      <a:pt x="79" y="213"/>
                    </a:lnTo>
                    <a:lnTo>
                      <a:pt x="82" y="210"/>
                    </a:lnTo>
                    <a:lnTo>
                      <a:pt x="86" y="208"/>
                    </a:lnTo>
                    <a:lnTo>
                      <a:pt x="87" y="208"/>
                    </a:lnTo>
                    <a:lnTo>
                      <a:pt x="87" y="208"/>
                    </a:lnTo>
                    <a:lnTo>
                      <a:pt x="90" y="208"/>
                    </a:lnTo>
                    <a:lnTo>
                      <a:pt x="90" y="208"/>
                    </a:lnTo>
                    <a:lnTo>
                      <a:pt x="93" y="205"/>
                    </a:lnTo>
                    <a:lnTo>
                      <a:pt x="93" y="208"/>
                    </a:lnTo>
                    <a:lnTo>
                      <a:pt x="97" y="208"/>
                    </a:lnTo>
                    <a:lnTo>
                      <a:pt x="100" y="205"/>
                    </a:lnTo>
                    <a:lnTo>
                      <a:pt x="97" y="208"/>
                    </a:lnTo>
                    <a:lnTo>
                      <a:pt x="97" y="208"/>
                    </a:lnTo>
                    <a:lnTo>
                      <a:pt x="100" y="208"/>
                    </a:lnTo>
                    <a:lnTo>
                      <a:pt x="97" y="210"/>
                    </a:lnTo>
                    <a:lnTo>
                      <a:pt x="100" y="211"/>
                    </a:lnTo>
                    <a:lnTo>
                      <a:pt x="100" y="213"/>
                    </a:lnTo>
                    <a:lnTo>
                      <a:pt x="97" y="211"/>
                    </a:lnTo>
                    <a:lnTo>
                      <a:pt x="97" y="210"/>
                    </a:lnTo>
                    <a:lnTo>
                      <a:pt x="93" y="208"/>
                    </a:lnTo>
                    <a:lnTo>
                      <a:pt x="93" y="208"/>
                    </a:lnTo>
                    <a:lnTo>
                      <a:pt x="90" y="208"/>
                    </a:lnTo>
                    <a:lnTo>
                      <a:pt x="93" y="210"/>
                    </a:lnTo>
                    <a:lnTo>
                      <a:pt x="90" y="210"/>
                    </a:lnTo>
                    <a:lnTo>
                      <a:pt x="93" y="211"/>
                    </a:lnTo>
                    <a:lnTo>
                      <a:pt x="90" y="211"/>
                    </a:lnTo>
                    <a:lnTo>
                      <a:pt x="87" y="213"/>
                    </a:lnTo>
                    <a:lnTo>
                      <a:pt x="86" y="215"/>
                    </a:lnTo>
                    <a:lnTo>
                      <a:pt x="84" y="215"/>
                    </a:lnTo>
                    <a:lnTo>
                      <a:pt x="81" y="215"/>
                    </a:lnTo>
                    <a:lnTo>
                      <a:pt x="79" y="216"/>
                    </a:lnTo>
                    <a:lnTo>
                      <a:pt x="81" y="218"/>
                    </a:lnTo>
                    <a:lnTo>
                      <a:pt x="79" y="219"/>
                    </a:lnTo>
                    <a:lnTo>
                      <a:pt x="81" y="219"/>
                    </a:lnTo>
                    <a:lnTo>
                      <a:pt x="78" y="221"/>
                    </a:lnTo>
                    <a:lnTo>
                      <a:pt x="78" y="222"/>
                    </a:lnTo>
                    <a:lnTo>
                      <a:pt x="79" y="222"/>
                    </a:lnTo>
                    <a:lnTo>
                      <a:pt x="81" y="222"/>
                    </a:lnTo>
                    <a:lnTo>
                      <a:pt x="82" y="221"/>
                    </a:lnTo>
                    <a:lnTo>
                      <a:pt x="87" y="221"/>
                    </a:lnTo>
                    <a:lnTo>
                      <a:pt x="84" y="222"/>
                    </a:lnTo>
                    <a:lnTo>
                      <a:pt x="81" y="222"/>
                    </a:lnTo>
                    <a:lnTo>
                      <a:pt x="81" y="222"/>
                    </a:lnTo>
                    <a:lnTo>
                      <a:pt x="79" y="222"/>
                    </a:lnTo>
                    <a:lnTo>
                      <a:pt x="82" y="226"/>
                    </a:lnTo>
                    <a:lnTo>
                      <a:pt x="79" y="226"/>
                    </a:lnTo>
                    <a:lnTo>
                      <a:pt x="79" y="226"/>
                    </a:lnTo>
                    <a:lnTo>
                      <a:pt x="81" y="226"/>
                    </a:lnTo>
                    <a:lnTo>
                      <a:pt x="81" y="229"/>
                    </a:lnTo>
                    <a:lnTo>
                      <a:pt x="84" y="226"/>
                    </a:lnTo>
                    <a:lnTo>
                      <a:pt x="87" y="226"/>
                    </a:lnTo>
                    <a:lnTo>
                      <a:pt x="86" y="229"/>
                    </a:lnTo>
                    <a:lnTo>
                      <a:pt x="84" y="229"/>
                    </a:lnTo>
                    <a:lnTo>
                      <a:pt x="82" y="229"/>
                    </a:lnTo>
                    <a:lnTo>
                      <a:pt x="84" y="229"/>
                    </a:lnTo>
                    <a:lnTo>
                      <a:pt x="86" y="229"/>
                    </a:lnTo>
                    <a:lnTo>
                      <a:pt x="84" y="232"/>
                    </a:lnTo>
                    <a:lnTo>
                      <a:pt x="86" y="232"/>
                    </a:lnTo>
                    <a:lnTo>
                      <a:pt x="82" y="235"/>
                    </a:lnTo>
                    <a:lnTo>
                      <a:pt x="82" y="237"/>
                    </a:lnTo>
                    <a:lnTo>
                      <a:pt x="86" y="238"/>
                    </a:lnTo>
                    <a:lnTo>
                      <a:pt x="90" y="240"/>
                    </a:lnTo>
                    <a:lnTo>
                      <a:pt x="87" y="240"/>
                    </a:lnTo>
                    <a:lnTo>
                      <a:pt x="90" y="241"/>
                    </a:lnTo>
                    <a:lnTo>
                      <a:pt x="87" y="241"/>
                    </a:lnTo>
                    <a:lnTo>
                      <a:pt x="87" y="241"/>
                    </a:lnTo>
                    <a:lnTo>
                      <a:pt x="86" y="243"/>
                    </a:lnTo>
                    <a:lnTo>
                      <a:pt x="90" y="243"/>
                    </a:lnTo>
                    <a:lnTo>
                      <a:pt x="93" y="240"/>
                    </a:lnTo>
                    <a:lnTo>
                      <a:pt x="93" y="241"/>
                    </a:lnTo>
                    <a:lnTo>
                      <a:pt x="93" y="241"/>
                    </a:lnTo>
                    <a:lnTo>
                      <a:pt x="90" y="243"/>
                    </a:lnTo>
                    <a:lnTo>
                      <a:pt x="87" y="245"/>
                    </a:lnTo>
                    <a:lnTo>
                      <a:pt x="87" y="246"/>
                    </a:lnTo>
                    <a:lnTo>
                      <a:pt x="90" y="245"/>
                    </a:lnTo>
                    <a:lnTo>
                      <a:pt x="90" y="243"/>
                    </a:lnTo>
                    <a:lnTo>
                      <a:pt x="93" y="243"/>
                    </a:lnTo>
                    <a:lnTo>
                      <a:pt x="90" y="245"/>
                    </a:lnTo>
                    <a:lnTo>
                      <a:pt x="90" y="246"/>
                    </a:lnTo>
                    <a:lnTo>
                      <a:pt x="90" y="246"/>
                    </a:lnTo>
                    <a:lnTo>
                      <a:pt x="90" y="248"/>
                    </a:lnTo>
                    <a:lnTo>
                      <a:pt x="87" y="249"/>
                    </a:lnTo>
                    <a:lnTo>
                      <a:pt x="90" y="249"/>
                    </a:lnTo>
                    <a:lnTo>
                      <a:pt x="90" y="249"/>
                    </a:lnTo>
                    <a:lnTo>
                      <a:pt x="97" y="248"/>
                    </a:lnTo>
                    <a:lnTo>
                      <a:pt x="93" y="249"/>
                    </a:lnTo>
                    <a:lnTo>
                      <a:pt x="93" y="249"/>
                    </a:lnTo>
                    <a:lnTo>
                      <a:pt x="87" y="251"/>
                    </a:lnTo>
                    <a:lnTo>
                      <a:pt x="90" y="251"/>
                    </a:lnTo>
                    <a:lnTo>
                      <a:pt x="93" y="251"/>
                    </a:lnTo>
                    <a:lnTo>
                      <a:pt x="93" y="253"/>
                    </a:lnTo>
                    <a:lnTo>
                      <a:pt x="93" y="254"/>
                    </a:lnTo>
                    <a:lnTo>
                      <a:pt x="93" y="253"/>
                    </a:lnTo>
                    <a:lnTo>
                      <a:pt x="93" y="254"/>
                    </a:lnTo>
                    <a:lnTo>
                      <a:pt x="97" y="253"/>
                    </a:lnTo>
                    <a:lnTo>
                      <a:pt x="97" y="253"/>
                    </a:lnTo>
                    <a:lnTo>
                      <a:pt x="97" y="254"/>
                    </a:lnTo>
                    <a:lnTo>
                      <a:pt x="97" y="254"/>
                    </a:lnTo>
                    <a:lnTo>
                      <a:pt x="100" y="254"/>
                    </a:lnTo>
                    <a:lnTo>
                      <a:pt x="97" y="256"/>
                    </a:lnTo>
                    <a:lnTo>
                      <a:pt x="100" y="256"/>
                    </a:lnTo>
                    <a:lnTo>
                      <a:pt x="93" y="257"/>
                    </a:lnTo>
                    <a:lnTo>
                      <a:pt x="97" y="257"/>
                    </a:lnTo>
                    <a:lnTo>
                      <a:pt x="101" y="257"/>
                    </a:lnTo>
                    <a:lnTo>
                      <a:pt x="106" y="257"/>
                    </a:lnTo>
                    <a:lnTo>
                      <a:pt x="105" y="257"/>
                    </a:lnTo>
                    <a:lnTo>
                      <a:pt x="108" y="257"/>
                    </a:lnTo>
                    <a:lnTo>
                      <a:pt x="108" y="257"/>
                    </a:lnTo>
                    <a:lnTo>
                      <a:pt x="111" y="256"/>
                    </a:lnTo>
                    <a:lnTo>
                      <a:pt x="113" y="256"/>
                    </a:lnTo>
                    <a:lnTo>
                      <a:pt x="114" y="257"/>
                    </a:lnTo>
                    <a:lnTo>
                      <a:pt x="116" y="256"/>
                    </a:lnTo>
                    <a:lnTo>
                      <a:pt x="114" y="256"/>
                    </a:lnTo>
                    <a:lnTo>
                      <a:pt x="117" y="254"/>
                    </a:lnTo>
                    <a:lnTo>
                      <a:pt x="119" y="254"/>
                    </a:lnTo>
                    <a:lnTo>
                      <a:pt x="117" y="253"/>
                    </a:lnTo>
                    <a:lnTo>
                      <a:pt x="119" y="253"/>
                    </a:lnTo>
                    <a:lnTo>
                      <a:pt x="120" y="253"/>
                    </a:lnTo>
                    <a:lnTo>
                      <a:pt x="120" y="254"/>
                    </a:lnTo>
                    <a:lnTo>
                      <a:pt x="119" y="256"/>
                    </a:lnTo>
                    <a:lnTo>
                      <a:pt x="117" y="256"/>
                    </a:lnTo>
                    <a:lnTo>
                      <a:pt x="116" y="257"/>
                    </a:lnTo>
                    <a:lnTo>
                      <a:pt x="120" y="256"/>
                    </a:lnTo>
                    <a:lnTo>
                      <a:pt x="117" y="257"/>
                    </a:lnTo>
                    <a:lnTo>
                      <a:pt x="116" y="257"/>
                    </a:lnTo>
                    <a:lnTo>
                      <a:pt x="117" y="257"/>
                    </a:lnTo>
                    <a:lnTo>
                      <a:pt x="119" y="257"/>
                    </a:lnTo>
                    <a:lnTo>
                      <a:pt x="117" y="261"/>
                    </a:lnTo>
                    <a:lnTo>
                      <a:pt x="119" y="261"/>
                    </a:lnTo>
                    <a:lnTo>
                      <a:pt x="114" y="261"/>
                    </a:lnTo>
                    <a:lnTo>
                      <a:pt x="117" y="261"/>
                    </a:lnTo>
                    <a:lnTo>
                      <a:pt x="119" y="261"/>
                    </a:lnTo>
                    <a:lnTo>
                      <a:pt x="119" y="264"/>
                    </a:lnTo>
                    <a:lnTo>
                      <a:pt x="120" y="261"/>
                    </a:lnTo>
                    <a:lnTo>
                      <a:pt x="122" y="261"/>
                    </a:lnTo>
                    <a:lnTo>
                      <a:pt x="120" y="264"/>
                    </a:lnTo>
                    <a:lnTo>
                      <a:pt x="122" y="261"/>
                    </a:lnTo>
                    <a:lnTo>
                      <a:pt x="122" y="264"/>
                    </a:lnTo>
                    <a:lnTo>
                      <a:pt x="125" y="261"/>
                    </a:lnTo>
                    <a:lnTo>
                      <a:pt x="128" y="261"/>
                    </a:lnTo>
                    <a:lnTo>
                      <a:pt x="125" y="264"/>
                    </a:lnTo>
                    <a:lnTo>
                      <a:pt x="122" y="264"/>
                    </a:lnTo>
                    <a:lnTo>
                      <a:pt x="122" y="267"/>
                    </a:lnTo>
                    <a:lnTo>
                      <a:pt x="120" y="267"/>
                    </a:lnTo>
                    <a:lnTo>
                      <a:pt x="122" y="268"/>
                    </a:lnTo>
                    <a:lnTo>
                      <a:pt x="122" y="267"/>
                    </a:lnTo>
                    <a:lnTo>
                      <a:pt x="125" y="268"/>
                    </a:lnTo>
                    <a:lnTo>
                      <a:pt x="125" y="268"/>
                    </a:lnTo>
                    <a:lnTo>
                      <a:pt x="128" y="267"/>
                    </a:lnTo>
                    <a:lnTo>
                      <a:pt x="128" y="267"/>
                    </a:lnTo>
                    <a:lnTo>
                      <a:pt x="132" y="264"/>
                    </a:lnTo>
                    <a:lnTo>
                      <a:pt x="132" y="264"/>
                    </a:lnTo>
                    <a:lnTo>
                      <a:pt x="132" y="267"/>
                    </a:lnTo>
                    <a:lnTo>
                      <a:pt x="133" y="267"/>
                    </a:lnTo>
                    <a:lnTo>
                      <a:pt x="132" y="267"/>
                    </a:lnTo>
                    <a:lnTo>
                      <a:pt x="133" y="268"/>
                    </a:lnTo>
                    <a:lnTo>
                      <a:pt x="135" y="268"/>
                    </a:lnTo>
                    <a:lnTo>
                      <a:pt x="136" y="268"/>
                    </a:lnTo>
                    <a:lnTo>
                      <a:pt x="136" y="267"/>
                    </a:lnTo>
                    <a:lnTo>
                      <a:pt x="139" y="268"/>
                    </a:lnTo>
                    <a:lnTo>
                      <a:pt x="139" y="267"/>
                    </a:lnTo>
                    <a:lnTo>
                      <a:pt x="141" y="267"/>
                    </a:lnTo>
                    <a:lnTo>
                      <a:pt x="141" y="267"/>
                    </a:lnTo>
                    <a:lnTo>
                      <a:pt x="143" y="267"/>
                    </a:lnTo>
                    <a:lnTo>
                      <a:pt x="141" y="264"/>
                    </a:lnTo>
                    <a:lnTo>
                      <a:pt x="139" y="264"/>
                    </a:lnTo>
                    <a:lnTo>
                      <a:pt x="141" y="264"/>
                    </a:lnTo>
                    <a:lnTo>
                      <a:pt x="138" y="264"/>
                    </a:lnTo>
                    <a:lnTo>
                      <a:pt x="139" y="264"/>
                    </a:lnTo>
                    <a:lnTo>
                      <a:pt x="136" y="261"/>
                    </a:lnTo>
                    <a:lnTo>
                      <a:pt x="138" y="261"/>
                    </a:lnTo>
                    <a:lnTo>
                      <a:pt x="139" y="261"/>
                    </a:lnTo>
                    <a:lnTo>
                      <a:pt x="141" y="264"/>
                    </a:lnTo>
                    <a:lnTo>
                      <a:pt x="143" y="264"/>
                    </a:lnTo>
                    <a:lnTo>
                      <a:pt x="141" y="261"/>
                    </a:lnTo>
                    <a:lnTo>
                      <a:pt x="144" y="261"/>
                    </a:lnTo>
                    <a:lnTo>
                      <a:pt x="146" y="261"/>
                    </a:lnTo>
                    <a:lnTo>
                      <a:pt x="147" y="261"/>
                    </a:lnTo>
                    <a:lnTo>
                      <a:pt x="146" y="261"/>
                    </a:lnTo>
                    <a:lnTo>
                      <a:pt x="147" y="257"/>
                    </a:lnTo>
                    <a:lnTo>
                      <a:pt x="149" y="257"/>
                    </a:lnTo>
                    <a:lnTo>
                      <a:pt x="141" y="257"/>
                    </a:lnTo>
                    <a:lnTo>
                      <a:pt x="147" y="257"/>
                    </a:lnTo>
                    <a:lnTo>
                      <a:pt x="149" y="257"/>
                    </a:lnTo>
                    <a:lnTo>
                      <a:pt x="151" y="256"/>
                    </a:lnTo>
                    <a:lnTo>
                      <a:pt x="146" y="256"/>
                    </a:lnTo>
                    <a:lnTo>
                      <a:pt x="141" y="254"/>
                    </a:lnTo>
                    <a:lnTo>
                      <a:pt x="146" y="254"/>
                    </a:lnTo>
                    <a:lnTo>
                      <a:pt x="149" y="254"/>
                    </a:lnTo>
                    <a:lnTo>
                      <a:pt x="152" y="253"/>
                    </a:lnTo>
                    <a:lnTo>
                      <a:pt x="151" y="253"/>
                    </a:lnTo>
                    <a:lnTo>
                      <a:pt x="149" y="253"/>
                    </a:lnTo>
                    <a:lnTo>
                      <a:pt x="147" y="251"/>
                    </a:lnTo>
                    <a:lnTo>
                      <a:pt x="152" y="251"/>
                    </a:lnTo>
                    <a:lnTo>
                      <a:pt x="154" y="251"/>
                    </a:lnTo>
                    <a:lnTo>
                      <a:pt x="154" y="249"/>
                    </a:lnTo>
                    <a:lnTo>
                      <a:pt x="152" y="249"/>
                    </a:lnTo>
                    <a:lnTo>
                      <a:pt x="149" y="248"/>
                    </a:lnTo>
                    <a:lnTo>
                      <a:pt x="155" y="248"/>
                    </a:lnTo>
                    <a:lnTo>
                      <a:pt x="157" y="246"/>
                    </a:lnTo>
                    <a:lnTo>
                      <a:pt x="157" y="246"/>
                    </a:lnTo>
                    <a:lnTo>
                      <a:pt x="155" y="246"/>
                    </a:lnTo>
                    <a:lnTo>
                      <a:pt x="154" y="245"/>
                    </a:lnTo>
                    <a:lnTo>
                      <a:pt x="157" y="246"/>
                    </a:lnTo>
                    <a:lnTo>
                      <a:pt x="160" y="245"/>
                    </a:lnTo>
                    <a:lnTo>
                      <a:pt x="157" y="243"/>
                    </a:lnTo>
                    <a:lnTo>
                      <a:pt x="160" y="243"/>
                    </a:lnTo>
                    <a:lnTo>
                      <a:pt x="160" y="241"/>
                    </a:lnTo>
                    <a:lnTo>
                      <a:pt x="160" y="240"/>
                    </a:lnTo>
                    <a:lnTo>
                      <a:pt x="160" y="238"/>
                    </a:lnTo>
                    <a:lnTo>
                      <a:pt x="157" y="237"/>
                    </a:lnTo>
                    <a:lnTo>
                      <a:pt x="163" y="237"/>
                    </a:lnTo>
                    <a:lnTo>
                      <a:pt x="160" y="235"/>
                    </a:lnTo>
                    <a:lnTo>
                      <a:pt x="157" y="234"/>
                    </a:lnTo>
                    <a:lnTo>
                      <a:pt x="155" y="232"/>
                    </a:lnTo>
                    <a:lnTo>
                      <a:pt x="160" y="234"/>
                    </a:lnTo>
                    <a:lnTo>
                      <a:pt x="160" y="232"/>
                    </a:lnTo>
                    <a:lnTo>
                      <a:pt x="163" y="232"/>
                    </a:lnTo>
                    <a:lnTo>
                      <a:pt x="160" y="232"/>
                    </a:lnTo>
                    <a:lnTo>
                      <a:pt x="163" y="232"/>
                    </a:lnTo>
                    <a:lnTo>
                      <a:pt x="166" y="232"/>
                    </a:lnTo>
                    <a:lnTo>
                      <a:pt x="166" y="232"/>
                    </a:lnTo>
                    <a:lnTo>
                      <a:pt x="170" y="232"/>
                    </a:lnTo>
                    <a:lnTo>
                      <a:pt x="170" y="229"/>
                    </a:lnTo>
                    <a:lnTo>
                      <a:pt x="171" y="229"/>
                    </a:lnTo>
                    <a:lnTo>
                      <a:pt x="170" y="226"/>
                    </a:lnTo>
                    <a:lnTo>
                      <a:pt x="171" y="229"/>
                    </a:lnTo>
                    <a:lnTo>
                      <a:pt x="173" y="229"/>
                    </a:lnTo>
                    <a:lnTo>
                      <a:pt x="173" y="226"/>
                    </a:lnTo>
                    <a:lnTo>
                      <a:pt x="171" y="226"/>
                    </a:lnTo>
                    <a:lnTo>
                      <a:pt x="171" y="226"/>
                    </a:lnTo>
                    <a:lnTo>
                      <a:pt x="171" y="222"/>
                    </a:lnTo>
                    <a:lnTo>
                      <a:pt x="174" y="226"/>
                    </a:lnTo>
                    <a:lnTo>
                      <a:pt x="176" y="226"/>
                    </a:lnTo>
                    <a:lnTo>
                      <a:pt x="178" y="226"/>
                    </a:lnTo>
                    <a:lnTo>
                      <a:pt x="173" y="222"/>
                    </a:lnTo>
                    <a:lnTo>
                      <a:pt x="176" y="224"/>
                    </a:lnTo>
                    <a:lnTo>
                      <a:pt x="176" y="226"/>
                    </a:lnTo>
                    <a:lnTo>
                      <a:pt x="176" y="224"/>
                    </a:lnTo>
                    <a:lnTo>
                      <a:pt x="176" y="222"/>
                    </a:lnTo>
                    <a:lnTo>
                      <a:pt x="178" y="226"/>
                    </a:lnTo>
                    <a:lnTo>
                      <a:pt x="179" y="226"/>
                    </a:lnTo>
                    <a:lnTo>
                      <a:pt x="178" y="222"/>
                    </a:lnTo>
                    <a:lnTo>
                      <a:pt x="179" y="222"/>
                    </a:lnTo>
                    <a:lnTo>
                      <a:pt x="182" y="222"/>
                    </a:lnTo>
                    <a:lnTo>
                      <a:pt x="181" y="222"/>
                    </a:lnTo>
                    <a:lnTo>
                      <a:pt x="179" y="221"/>
                    </a:lnTo>
                    <a:lnTo>
                      <a:pt x="174" y="221"/>
                    </a:lnTo>
                    <a:lnTo>
                      <a:pt x="178" y="219"/>
                    </a:lnTo>
                    <a:lnTo>
                      <a:pt x="179" y="221"/>
                    </a:lnTo>
                    <a:lnTo>
                      <a:pt x="186" y="221"/>
                    </a:lnTo>
                    <a:lnTo>
                      <a:pt x="186" y="219"/>
                    </a:lnTo>
                    <a:lnTo>
                      <a:pt x="184" y="218"/>
                    </a:lnTo>
                    <a:lnTo>
                      <a:pt x="187" y="216"/>
                    </a:lnTo>
                    <a:lnTo>
                      <a:pt x="186" y="215"/>
                    </a:lnTo>
                    <a:lnTo>
                      <a:pt x="182" y="215"/>
                    </a:lnTo>
                    <a:lnTo>
                      <a:pt x="179" y="213"/>
                    </a:lnTo>
                    <a:lnTo>
                      <a:pt x="182" y="213"/>
                    </a:lnTo>
                    <a:lnTo>
                      <a:pt x="186" y="213"/>
                    </a:lnTo>
                    <a:lnTo>
                      <a:pt x="187" y="213"/>
                    </a:lnTo>
                    <a:lnTo>
                      <a:pt x="190" y="213"/>
                    </a:lnTo>
                    <a:lnTo>
                      <a:pt x="190" y="211"/>
                    </a:lnTo>
                    <a:lnTo>
                      <a:pt x="189" y="211"/>
                    </a:lnTo>
                    <a:lnTo>
                      <a:pt x="190" y="210"/>
                    </a:lnTo>
                    <a:lnTo>
                      <a:pt x="189" y="208"/>
                    </a:lnTo>
                    <a:lnTo>
                      <a:pt x="187" y="205"/>
                    </a:lnTo>
                    <a:lnTo>
                      <a:pt x="187" y="205"/>
                    </a:lnTo>
                    <a:lnTo>
                      <a:pt x="190" y="202"/>
                    </a:lnTo>
                    <a:lnTo>
                      <a:pt x="192" y="202"/>
                    </a:lnTo>
                    <a:lnTo>
                      <a:pt x="193" y="205"/>
                    </a:lnTo>
                    <a:lnTo>
                      <a:pt x="195" y="205"/>
                    </a:lnTo>
                    <a:lnTo>
                      <a:pt x="197" y="205"/>
                    </a:lnTo>
                    <a:lnTo>
                      <a:pt x="197" y="202"/>
                    </a:lnTo>
                    <a:lnTo>
                      <a:pt x="198" y="202"/>
                    </a:lnTo>
                    <a:lnTo>
                      <a:pt x="200" y="202"/>
                    </a:lnTo>
                    <a:lnTo>
                      <a:pt x="200" y="200"/>
                    </a:lnTo>
                    <a:lnTo>
                      <a:pt x="198" y="199"/>
                    </a:lnTo>
                    <a:lnTo>
                      <a:pt x="201" y="199"/>
                    </a:lnTo>
                    <a:lnTo>
                      <a:pt x="201" y="197"/>
                    </a:lnTo>
                    <a:lnTo>
                      <a:pt x="201" y="197"/>
                    </a:lnTo>
                    <a:lnTo>
                      <a:pt x="205" y="197"/>
                    </a:lnTo>
                    <a:lnTo>
                      <a:pt x="205" y="199"/>
                    </a:lnTo>
                    <a:lnTo>
                      <a:pt x="205" y="197"/>
                    </a:lnTo>
                    <a:lnTo>
                      <a:pt x="208" y="195"/>
                    </a:lnTo>
                    <a:lnTo>
                      <a:pt x="211" y="197"/>
                    </a:lnTo>
                    <a:lnTo>
                      <a:pt x="213" y="197"/>
                    </a:lnTo>
                    <a:lnTo>
                      <a:pt x="211" y="195"/>
                    </a:lnTo>
                    <a:lnTo>
                      <a:pt x="213" y="195"/>
                    </a:lnTo>
                    <a:lnTo>
                      <a:pt x="213" y="197"/>
                    </a:lnTo>
                    <a:lnTo>
                      <a:pt x="216" y="197"/>
                    </a:lnTo>
                    <a:lnTo>
                      <a:pt x="217" y="195"/>
                    </a:lnTo>
                    <a:lnTo>
                      <a:pt x="217" y="194"/>
                    </a:lnTo>
                    <a:lnTo>
                      <a:pt x="216" y="194"/>
                    </a:lnTo>
                    <a:lnTo>
                      <a:pt x="216" y="192"/>
                    </a:lnTo>
                    <a:lnTo>
                      <a:pt x="217" y="192"/>
                    </a:lnTo>
                    <a:lnTo>
                      <a:pt x="217" y="194"/>
                    </a:lnTo>
                    <a:lnTo>
                      <a:pt x="220" y="192"/>
                    </a:lnTo>
                    <a:lnTo>
                      <a:pt x="220" y="191"/>
                    </a:lnTo>
                    <a:lnTo>
                      <a:pt x="222" y="189"/>
                    </a:lnTo>
                    <a:lnTo>
                      <a:pt x="224" y="188"/>
                    </a:lnTo>
                    <a:lnTo>
                      <a:pt x="230" y="188"/>
                    </a:lnTo>
                    <a:lnTo>
                      <a:pt x="225" y="189"/>
                    </a:lnTo>
                    <a:lnTo>
                      <a:pt x="224" y="191"/>
                    </a:lnTo>
                    <a:lnTo>
                      <a:pt x="222" y="194"/>
                    </a:lnTo>
                    <a:lnTo>
                      <a:pt x="225" y="194"/>
                    </a:lnTo>
                    <a:lnTo>
                      <a:pt x="227" y="194"/>
                    </a:lnTo>
                    <a:lnTo>
                      <a:pt x="228" y="194"/>
                    </a:lnTo>
                    <a:lnTo>
                      <a:pt x="228" y="192"/>
                    </a:lnTo>
                    <a:lnTo>
                      <a:pt x="230" y="192"/>
                    </a:lnTo>
                    <a:lnTo>
                      <a:pt x="230" y="194"/>
                    </a:lnTo>
                    <a:lnTo>
                      <a:pt x="232" y="194"/>
                    </a:lnTo>
                    <a:lnTo>
                      <a:pt x="233" y="192"/>
                    </a:lnTo>
                    <a:lnTo>
                      <a:pt x="235" y="192"/>
                    </a:lnTo>
                    <a:lnTo>
                      <a:pt x="235" y="191"/>
                    </a:lnTo>
                    <a:lnTo>
                      <a:pt x="236" y="192"/>
                    </a:lnTo>
                    <a:lnTo>
                      <a:pt x="236" y="194"/>
                    </a:lnTo>
                    <a:lnTo>
                      <a:pt x="236" y="192"/>
                    </a:lnTo>
                    <a:lnTo>
                      <a:pt x="240" y="192"/>
                    </a:lnTo>
                    <a:lnTo>
                      <a:pt x="243" y="191"/>
                    </a:lnTo>
                    <a:lnTo>
                      <a:pt x="246" y="191"/>
                    </a:lnTo>
                    <a:lnTo>
                      <a:pt x="243" y="188"/>
                    </a:lnTo>
                    <a:lnTo>
                      <a:pt x="246" y="188"/>
                    </a:lnTo>
                    <a:lnTo>
                      <a:pt x="246" y="188"/>
                    </a:lnTo>
                    <a:lnTo>
                      <a:pt x="249" y="189"/>
                    </a:lnTo>
                    <a:lnTo>
                      <a:pt x="249" y="188"/>
                    </a:lnTo>
                    <a:lnTo>
                      <a:pt x="249" y="186"/>
                    </a:lnTo>
                    <a:lnTo>
                      <a:pt x="251" y="188"/>
                    </a:lnTo>
                    <a:lnTo>
                      <a:pt x="252" y="188"/>
                    </a:lnTo>
                    <a:lnTo>
                      <a:pt x="257" y="184"/>
                    </a:lnTo>
                    <a:lnTo>
                      <a:pt x="257" y="183"/>
                    </a:lnTo>
                    <a:lnTo>
                      <a:pt x="259" y="183"/>
                    </a:lnTo>
                    <a:lnTo>
                      <a:pt x="259" y="184"/>
                    </a:lnTo>
                    <a:lnTo>
                      <a:pt x="260" y="183"/>
                    </a:lnTo>
                    <a:lnTo>
                      <a:pt x="262" y="181"/>
                    </a:lnTo>
                    <a:lnTo>
                      <a:pt x="263" y="183"/>
                    </a:lnTo>
                    <a:lnTo>
                      <a:pt x="263" y="180"/>
                    </a:lnTo>
                    <a:lnTo>
                      <a:pt x="265" y="180"/>
                    </a:lnTo>
                    <a:lnTo>
                      <a:pt x="265" y="178"/>
                    </a:lnTo>
                    <a:lnTo>
                      <a:pt x="267" y="178"/>
                    </a:lnTo>
                    <a:lnTo>
                      <a:pt x="267" y="178"/>
                    </a:lnTo>
                    <a:lnTo>
                      <a:pt x="268" y="176"/>
                    </a:lnTo>
                    <a:lnTo>
                      <a:pt x="268" y="176"/>
                    </a:lnTo>
                    <a:lnTo>
                      <a:pt x="271" y="173"/>
                    </a:lnTo>
                    <a:lnTo>
                      <a:pt x="271" y="173"/>
                    </a:lnTo>
                    <a:lnTo>
                      <a:pt x="273" y="173"/>
                    </a:lnTo>
                    <a:lnTo>
                      <a:pt x="274" y="170"/>
                    </a:lnTo>
                    <a:lnTo>
                      <a:pt x="281" y="170"/>
                    </a:lnTo>
                    <a:lnTo>
                      <a:pt x="282" y="170"/>
                    </a:lnTo>
                    <a:lnTo>
                      <a:pt x="286" y="167"/>
                    </a:lnTo>
                    <a:lnTo>
                      <a:pt x="286" y="167"/>
                    </a:lnTo>
                    <a:lnTo>
                      <a:pt x="287" y="167"/>
                    </a:lnTo>
                    <a:lnTo>
                      <a:pt x="286" y="165"/>
                    </a:lnTo>
                    <a:lnTo>
                      <a:pt x="284" y="165"/>
                    </a:lnTo>
                    <a:lnTo>
                      <a:pt x="286" y="164"/>
                    </a:lnTo>
                    <a:lnTo>
                      <a:pt x="284" y="162"/>
                    </a:lnTo>
                    <a:lnTo>
                      <a:pt x="284" y="161"/>
                    </a:lnTo>
                    <a:lnTo>
                      <a:pt x="286" y="159"/>
                    </a:lnTo>
                    <a:lnTo>
                      <a:pt x="286" y="162"/>
                    </a:lnTo>
                    <a:lnTo>
                      <a:pt x="287" y="162"/>
                    </a:lnTo>
                    <a:lnTo>
                      <a:pt x="287" y="164"/>
                    </a:lnTo>
                    <a:lnTo>
                      <a:pt x="289" y="164"/>
                    </a:lnTo>
                    <a:lnTo>
                      <a:pt x="292" y="165"/>
                    </a:lnTo>
                    <a:lnTo>
                      <a:pt x="290" y="165"/>
                    </a:lnTo>
                    <a:lnTo>
                      <a:pt x="292" y="167"/>
                    </a:lnTo>
                    <a:lnTo>
                      <a:pt x="301" y="167"/>
                    </a:lnTo>
                    <a:lnTo>
                      <a:pt x="298" y="164"/>
                    </a:lnTo>
                    <a:lnTo>
                      <a:pt x="301" y="165"/>
                    </a:lnTo>
                    <a:lnTo>
                      <a:pt x="305" y="165"/>
                    </a:lnTo>
                    <a:lnTo>
                      <a:pt x="303" y="164"/>
                    </a:lnTo>
                    <a:lnTo>
                      <a:pt x="305" y="164"/>
                    </a:lnTo>
                    <a:lnTo>
                      <a:pt x="306" y="164"/>
                    </a:lnTo>
                    <a:lnTo>
                      <a:pt x="306" y="162"/>
                    </a:lnTo>
                    <a:lnTo>
                      <a:pt x="308" y="164"/>
                    </a:lnTo>
                    <a:lnTo>
                      <a:pt x="309" y="164"/>
                    </a:lnTo>
                    <a:lnTo>
                      <a:pt x="313" y="164"/>
                    </a:lnTo>
                    <a:lnTo>
                      <a:pt x="314" y="164"/>
                    </a:lnTo>
                    <a:lnTo>
                      <a:pt x="314" y="162"/>
                    </a:lnTo>
                    <a:lnTo>
                      <a:pt x="317" y="164"/>
                    </a:lnTo>
                    <a:lnTo>
                      <a:pt x="322" y="162"/>
                    </a:lnTo>
                    <a:lnTo>
                      <a:pt x="324" y="162"/>
                    </a:lnTo>
                    <a:lnTo>
                      <a:pt x="325" y="162"/>
                    </a:lnTo>
                    <a:lnTo>
                      <a:pt x="327" y="161"/>
                    </a:lnTo>
                    <a:lnTo>
                      <a:pt x="330" y="161"/>
                    </a:lnTo>
                    <a:lnTo>
                      <a:pt x="330" y="161"/>
                    </a:lnTo>
                    <a:lnTo>
                      <a:pt x="336" y="159"/>
                    </a:lnTo>
                    <a:lnTo>
                      <a:pt x="341" y="159"/>
                    </a:lnTo>
                    <a:lnTo>
                      <a:pt x="344" y="157"/>
                    </a:lnTo>
                    <a:lnTo>
                      <a:pt x="347" y="156"/>
                    </a:lnTo>
                    <a:lnTo>
                      <a:pt x="351" y="154"/>
                    </a:lnTo>
                    <a:lnTo>
                      <a:pt x="354" y="154"/>
                    </a:lnTo>
                    <a:lnTo>
                      <a:pt x="354" y="153"/>
                    </a:lnTo>
                    <a:lnTo>
                      <a:pt x="355" y="153"/>
                    </a:lnTo>
                    <a:lnTo>
                      <a:pt x="357" y="153"/>
                    </a:lnTo>
                    <a:lnTo>
                      <a:pt x="355" y="151"/>
                    </a:lnTo>
                    <a:lnTo>
                      <a:pt x="357" y="151"/>
                    </a:lnTo>
                    <a:lnTo>
                      <a:pt x="359" y="151"/>
                    </a:lnTo>
                    <a:lnTo>
                      <a:pt x="360" y="151"/>
                    </a:lnTo>
                    <a:lnTo>
                      <a:pt x="360" y="149"/>
                    </a:lnTo>
                    <a:lnTo>
                      <a:pt x="362" y="149"/>
                    </a:lnTo>
                    <a:lnTo>
                      <a:pt x="365" y="149"/>
                    </a:lnTo>
                    <a:lnTo>
                      <a:pt x="365" y="148"/>
                    </a:lnTo>
                    <a:lnTo>
                      <a:pt x="368" y="148"/>
                    </a:lnTo>
                    <a:lnTo>
                      <a:pt x="371" y="148"/>
                    </a:lnTo>
                    <a:lnTo>
                      <a:pt x="371" y="146"/>
                    </a:lnTo>
                    <a:lnTo>
                      <a:pt x="368" y="145"/>
                    </a:lnTo>
                    <a:lnTo>
                      <a:pt x="371" y="145"/>
                    </a:lnTo>
                    <a:lnTo>
                      <a:pt x="373" y="145"/>
                    </a:lnTo>
                    <a:lnTo>
                      <a:pt x="373" y="143"/>
                    </a:lnTo>
                    <a:lnTo>
                      <a:pt x="376" y="145"/>
                    </a:lnTo>
                    <a:lnTo>
                      <a:pt x="378" y="145"/>
                    </a:lnTo>
                    <a:lnTo>
                      <a:pt x="374" y="143"/>
                    </a:lnTo>
                    <a:lnTo>
                      <a:pt x="381" y="143"/>
                    </a:lnTo>
                    <a:lnTo>
                      <a:pt x="386" y="141"/>
                    </a:lnTo>
                    <a:lnTo>
                      <a:pt x="382" y="141"/>
                    </a:lnTo>
                    <a:lnTo>
                      <a:pt x="379" y="141"/>
                    </a:lnTo>
                    <a:lnTo>
                      <a:pt x="371" y="141"/>
                    </a:lnTo>
                    <a:lnTo>
                      <a:pt x="368" y="141"/>
                    </a:lnTo>
                    <a:lnTo>
                      <a:pt x="365" y="138"/>
                    </a:lnTo>
                    <a:lnTo>
                      <a:pt x="362" y="138"/>
                    </a:lnTo>
                    <a:lnTo>
                      <a:pt x="359" y="138"/>
                    </a:lnTo>
                    <a:lnTo>
                      <a:pt x="359" y="138"/>
                    </a:lnTo>
                    <a:lnTo>
                      <a:pt x="355" y="138"/>
                    </a:lnTo>
                    <a:lnTo>
                      <a:pt x="351" y="138"/>
                    </a:lnTo>
                    <a:lnTo>
                      <a:pt x="346" y="138"/>
                    </a:lnTo>
                    <a:lnTo>
                      <a:pt x="349" y="138"/>
                    </a:lnTo>
                    <a:lnTo>
                      <a:pt x="346" y="135"/>
                    </a:lnTo>
                    <a:lnTo>
                      <a:pt x="352" y="135"/>
                    </a:lnTo>
                    <a:lnTo>
                      <a:pt x="360" y="135"/>
                    </a:lnTo>
                    <a:lnTo>
                      <a:pt x="359" y="132"/>
                    </a:lnTo>
                    <a:lnTo>
                      <a:pt x="360" y="132"/>
                    </a:lnTo>
                    <a:lnTo>
                      <a:pt x="360" y="132"/>
                    </a:lnTo>
                    <a:lnTo>
                      <a:pt x="357" y="132"/>
                    </a:lnTo>
                    <a:lnTo>
                      <a:pt x="359" y="130"/>
                    </a:lnTo>
                    <a:lnTo>
                      <a:pt x="352" y="132"/>
                    </a:lnTo>
                    <a:lnTo>
                      <a:pt x="346" y="132"/>
                    </a:lnTo>
                    <a:lnTo>
                      <a:pt x="352" y="130"/>
                    </a:lnTo>
                    <a:lnTo>
                      <a:pt x="357" y="130"/>
                    </a:lnTo>
                    <a:lnTo>
                      <a:pt x="359" y="129"/>
                    </a:lnTo>
                    <a:lnTo>
                      <a:pt x="360" y="129"/>
                    </a:lnTo>
                    <a:lnTo>
                      <a:pt x="360" y="127"/>
                    </a:lnTo>
                    <a:lnTo>
                      <a:pt x="362" y="127"/>
                    </a:lnTo>
                    <a:lnTo>
                      <a:pt x="360" y="126"/>
                    </a:lnTo>
                    <a:lnTo>
                      <a:pt x="359" y="126"/>
                    </a:lnTo>
                    <a:lnTo>
                      <a:pt x="354" y="126"/>
                    </a:lnTo>
                    <a:lnTo>
                      <a:pt x="344" y="124"/>
                    </a:lnTo>
                    <a:lnTo>
                      <a:pt x="343" y="124"/>
                    </a:lnTo>
                    <a:lnTo>
                      <a:pt x="344" y="122"/>
                    </a:lnTo>
                    <a:lnTo>
                      <a:pt x="341" y="121"/>
                    </a:lnTo>
                    <a:lnTo>
                      <a:pt x="340" y="119"/>
                    </a:lnTo>
                    <a:lnTo>
                      <a:pt x="343" y="121"/>
                    </a:lnTo>
                    <a:lnTo>
                      <a:pt x="346" y="122"/>
                    </a:lnTo>
                    <a:lnTo>
                      <a:pt x="351" y="124"/>
                    </a:lnTo>
                    <a:lnTo>
                      <a:pt x="352" y="124"/>
                    </a:lnTo>
                    <a:lnTo>
                      <a:pt x="357" y="124"/>
                    </a:lnTo>
                    <a:lnTo>
                      <a:pt x="362" y="126"/>
                    </a:lnTo>
                    <a:lnTo>
                      <a:pt x="365" y="127"/>
                    </a:lnTo>
                    <a:lnTo>
                      <a:pt x="368" y="129"/>
                    </a:lnTo>
                    <a:lnTo>
                      <a:pt x="371" y="132"/>
                    </a:lnTo>
                    <a:lnTo>
                      <a:pt x="371" y="132"/>
                    </a:lnTo>
                    <a:lnTo>
                      <a:pt x="371" y="135"/>
                    </a:lnTo>
                    <a:lnTo>
                      <a:pt x="376" y="135"/>
                    </a:lnTo>
                    <a:lnTo>
                      <a:pt x="379" y="138"/>
                    </a:lnTo>
                    <a:lnTo>
                      <a:pt x="382" y="138"/>
                    </a:lnTo>
                    <a:lnTo>
                      <a:pt x="384" y="135"/>
                    </a:lnTo>
                    <a:lnTo>
                      <a:pt x="384" y="132"/>
                    </a:lnTo>
                    <a:lnTo>
                      <a:pt x="386" y="132"/>
                    </a:lnTo>
                    <a:lnTo>
                      <a:pt x="386" y="135"/>
                    </a:lnTo>
                    <a:lnTo>
                      <a:pt x="387" y="135"/>
                    </a:lnTo>
                    <a:lnTo>
                      <a:pt x="389" y="138"/>
                    </a:lnTo>
                    <a:lnTo>
                      <a:pt x="390" y="138"/>
                    </a:lnTo>
                    <a:lnTo>
                      <a:pt x="392" y="138"/>
                    </a:lnTo>
                    <a:lnTo>
                      <a:pt x="394" y="135"/>
                    </a:lnTo>
                    <a:lnTo>
                      <a:pt x="392" y="135"/>
                    </a:lnTo>
                    <a:lnTo>
                      <a:pt x="392" y="135"/>
                    </a:lnTo>
                    <a:lnTo>
                      <a:pt x="394" y="132"/>
                    </a:lnTo>
                    <a:lnTo>
                      <a:pt x="394" y="132"/>
                    </a:lnTo>
                    <a:lnTo>
                      <a:pt x="392" y="132"/>
                    </a:lnTo>
                    <a:lnTo>
                      <a:pt x="394" y="130"/>
                    </a:lnTo>
                    <a:lnTo>
                      <a:pt x="389" y="130"/>
                    </a:lnTo>
                    <a:lnTo>
                      <a:pt x="392" y="129"/>
                    </a:lnTo>
                    <a:lnTo>
                      <a:pt x="394" y="129"/>
                    </a:lnTo>
                    <a:lnTo>
                      <a:pt x="394" y="127"/>
                    </a:lnTo>
                    <a:lnTo>
                      <a:pt x="394" y="127"/>
                    </a:lnTo>
                    <a:lnTo>
                      <a:pt x="394" y="126"/>
                    </a:lnTo>
                    <a:lnTo>
                      <a:pt x="392" y="126"/>
                    </a:lnTo>
                    <a:lnTo>
                      <a:pt x="387" y="127"/>
                    </a:lnTo>
                    <a:lnTo>
                      <a:pt x="389" y="126"/>
                    </a:lnTo>
                    <a:lnTo>
                      <a:pt x="390" y="124"/>
                    </a:lnTo>
                    <a:lnTo>
                      <a:pt x="394" y="122"/>
                    </a:lnTo>
                    <a:lnTo>
                      <a:pt x="390" y="122"/>
                    </a:lnTo>
                    <a:lnTo>
                      <a:pt x="387" y="124"/>
                    </a:lnTo>
                    <a:lnTo>
                      <a:pt x="387" y="122"/>
                    </a:lnTo>
                    <a:lnTo>
                      <a:pt x="386" y="122"/>
                    </a:lnTo>
                    <a:lnTo>
                      <a:pt x="384" y="122"/>
                    </a:lnTo>
                    <a:lnTo>
                      <a:pt x="386" y="121"/>
                    </a:lnTo>
                    <a:lnTo>
                      <a:pt x="389" y="121"/>
                    </a:lnTo>
                    <a:lnTo>
                      <a:pt x="387" y="119"/>
                    </a:lnTo>
                    <a:lnTo>
                      <a:pt x="384" y="118"/>
                    </a:lnTo>
                    <a:lnTo>
                      <a:pt x="381" y="118"/>
                    </a:lnTo>
                    <a:lnTo>
                      <a:pt x="379" y="116"/>
                    </a:lnTo>
                    <a:lnTo>
                      <a:pt x="376" y="114"/>
                    </a:lnTo>
                    <a:lnTo>
                      <a:pt x="371" y="113"/>
                    </a:lnTo>
                    <a:lnTo>
                      <a:pt x="371" y="111"/>
                    </a:lnTo>
                    <a:lnTo>
                      <a:pt x="371" y="110"/>
                    </a:lnTo>
                    <a:lnTo>
                      <a:pt x="371" y="110"/>
                    </a:lnTo>
                    <a:lnTo>
                      <a:pt x="365" y="110"/>
                    </a:lnTo>
                    <a:lnTo>
                      <a:pt x="359" y="111"/>
                    </a:lnTo>
                    <a:lnTo>
                      <a:pt x="359" y="110"/>
                    </a:lnTo>
                    <a:lnTo>
                      <a:pt x="354" y="110"/>
                    </a:lnTo>
                    <a:lnTo>
                      <a:pt x="355" y="110"/>
                    </a:lnTo>
                    <a:lnTo>
                      <a:pt x="362" y="110"/>
                    </a:lnTo>
                    <a:lnTo>
                      <a:pt x="365" y="110"/>
                    </a:lnTo>
                    <a:lnTo>
                      <a:pt x="368" y="107"/>
                    </a:lnTo>
                    <a:lnTo>
                      <a:pt x="371" y="107"/>
                    </a:lnTo>
                    <a:lnTo>
                      <a:pt x="368" y="107"/>
                    </a:lnTo>
                    <a:lnTo>
                      <a:pt x="365" y="107"/>
                    </a:lnTo>
                    <a:lnTo>
                      <a:pt x="362" y="103"/>
                    </a:lnTo>
                    <a:lnTo>
                      <a:pt x="359" y="107"/>
                    </a:lnTo>
                    <a:lnTo>
                      <a:pt x="357" y="107"/>
                    </a:lnTo>
                    <a:lnTo>
                      <a:pt x="360" y="103"/>
                    </a:lnTo>
                    <a:lnTo>
                      <a:pt x="355" y="103"/>
                    </a:lnTo>
                    <a:lnTo>
                      <a:pt x="352" y="100"/>
                    </a:lnTo>
                    <a:lnTo>
                      <a:pt x="354" y="100"/>
                    </a:lnTo>
                    <a:lnTo>
                      <a:pt x="355" y="103"/>
                    </a:lnTo>
                    <a:lnTo>
                      <a:pt x="357" y="103"/>
                    </a:lnTo>
                    <a:lnTo>
                      <a:pt x="365" y="103"/>
                    </a:lnTo>
                    <a:lnTo>
                      <a:pt x="368" y="103"/>
                    </a:lnTo>
                    <a:lnTo>
                      <a:pt x="371" y="103"/>
                    </a:lnTo>
                    <a:lnTo>
                      <a:pt x="373" y="100"/>
                    </a:lnTo>
                    <a:lnTo>
                      <a:pt x="374" y="100"/>
                    </a:lnTo>
                    <a:lnTo>
                      <a:pt x="371" y="103"/>
                    </a:lnTo>
                    <a:lnTo>
                      <a:pt x="373" y="103"/>
                    </a:lnTo>
                    <a:lnTo>
                      <a:pt x="376" y="103"/>
                    </a:lnTo>
                    <a:lnTo>
                      <a:pt x="381" y="103"/>
                    </a:lnTo>
                    <a:lnTo>
                      <a:pt x="384" y="103"/>
                    </a:lnTo>
                    <a:lnTo>
                      <a:pt x="387" y="103"/>
                    </a:lnTo>
                    <a:lnTo>
                      <a:pt x="379" y="100"/>
                    </a:lnTo>
                    <a:lnTo>
                      <a:pt x="376" y="100"/>
                    </a:lnTo>
                    <a:lnTo>
                      <a:pt x="371" y="100"/>
                    </a:lnTo>
                    <a:lnTo>
                      <a:pt x="368" y="97"/>
                    </a:lnTo>
                    <a:lnTo>
                      <a:pt x="371" y="97"/>
                    </a:lnTo>
                    <a:lnTo>
                      <a:pt x="371" y="97"/>
                    </a:lnTo>
                    <a:lnTo>
                      <a:pt x="374" y="100"/>
                    </a:lnTo>
                    <a:lnTo>
                      <a:pt x="376" y="100"/>
                    </a:lnTo>
                    <a:lnTo>
                      <a:pt x="378" y="100"/>
                    </a:lnTo>
                    <a:lnTo>
                      <a:pt x="381" y="97"/>
                    </a:lnTo>
                    <a:lnTo>
                      <a:pt x="384" y="97"/>
                    </a:lnTo>
                    <a:lnTo>
                      <a:pt x="386" y="97"/>
                    </a:lnTo>
                    <a:lnTo>
                      <a:pt x="389" y="97"/>
                    </a:lnTo>
                    <a:lnTo>
                      <a:pt x="394" y="100"/>
                    </a:lnTo>
                    <a:lnTo>
                      <a:pt x="389" y="100"/>
                    </a:lnTo>
                    <a:lnTo>
                      <a:pt x="386" y="97"/>
                    </a:lnTo>
                    <a:lnTo>
                      <a:pt x="384" y="100"/>
                    </a:lnTo>
                    <a:lnTo>
                      <a:pt x="382" y="100"/>
                    </a:lnTo>
                    <a:lnTo>
                      <a:pt x="392" y="103"/>
                    </a:lnTo>
                    <a:lnTo>
                      <a:pt x="397" y="103"/>
                    </a:lnTo>
                    <a:lnTo>
                      <a:pt x="401" y="103"/>
                    </a:lnTo>
                    <a:lnTo>
                      <a:pt x="406" y="100"/>
                    </a:lnTo>
                    <a:lnTo>
                      <a:pt x="411" y="103"/>
                    </a:lnTo>
                    <a:lnTo>
                      <a:pt x="413" y="100"/>
                    </a:lnTo>
                    <a:lnTo>
                      <a:pt x="413" y="100"/>
                    </a:lnTo>
                    <a:lnTo>
                      <a:pt x="414" y="97"/>
                    </a:lnTo>
                    <a:lnTo>
                      <a:pt x="416" y="97"/>
                    </a:lnTo>
                    <a:lnTo>
                      <a:pt x="409" y="95"/>
                    </a:lnTo>
                    <a:lnTo>
                      <a:pt x="405" y="95"/>
                    </a:lnTo>
                    <a:lnTo>
                      <a:pt x="401" y="95"/>
                    </a:lnTo>
                    <a:lnTo>
                      <a:pt x="401" y="97"/>
                    </a:lnTo>
                    <a:lnTo>
                      <a:pt x="403" y="97"/>
                    </a:lnTo>
                    <a:lnTo>
                      <a:pt x="401" y="100"/>
                    </a:lnTo>
                    <a:lnTo>
                      <a:pt x="400" y="97"/>
                    </a:lnTo>
                    <a:lnTo>
                      <a:pt x="397" y="95"/>
                    </a:lnTo>
                    <a:lnTo>
                      <a:pt x="398" y="95"/>
                    </a:lnTo>
                    <a:lnTo>
                      <a:pt x="401" y="94"/>
                    </a:lnTo>
                    <a:lnTo>
                      <a:pt x="398" y="92"/>
                    </a:lnTo>
                    <a:lnTo>
                      <a:pt x="401" y="92"/>
                    </a:lnTo>
                    <a:lnTo>
                      <a:pt x="405" y="91"/>
                    </a:lnTo>
                    <a:lnTo>
                      <a:pt x="403" y="89"/>
                    </a:lnTo>
                    <a:lnTo>
                      <a:pt x="405" y="89"/>
                    </a:lnTo>
                    <a:lnTo>
                      <a:pt x="406" y="91"/>
                    </a:lnTo>
                    <a:lnTo>
                      <a:pt x="403" y="92"/>
                    </a:lnTo>
                    <a:lnTo>
                      <a:pt x="403" y="94"/>
                    </a:lnTo>
                    <a:lnTo>
                      <a:pt x="406" y="94"/>
                    </a:lnTo>
                    <a:lnTo>
                      <a:pt x="411" y="95"/>
                    </a:lnTo>
                    <a:lnTo>
                      <a:pt x="417" y="94"/>
                    </a:lnTo>
                    <a:lnTo>
                      <a:pt x="416" y="91"/>
                    </a:lnTo>
                    <a:lnTo>
                      <a:pt x="417" y="91"/>
                    </a:lnTo>
                    <a:lnTo>
                      <a:pt x="417" y="92"/>
                    </a:lnTo>
                    <a:lnTo>
                      <a:pt x="424" y="92"/>
                    </a:lnTo>
                    <a:lnTo>
                      <a:pt x="427" y="92"/>
                    </a:lnTo>
                    <a:lnTo>
                      <a:pt x="428" y="91"/>
                    </a:lnTo>
                    <a:lnTo>
                      <a:pt x="427" y="89"/>
                    </a:lnTo>
                    <a:lnTo>
                      <a:pt x="427" y="87"/>
                    </a:lnTo>
                    <a:lnTo>
                      <a:pt x="424" y="89"/>
                    </a:lnTo>
                    <a:lnTo>
                      <a:pt x="421" y="87"/>
                    </a:lnTo>
                    <a:lnTo>
                      <a:pt x="421" y="87"/>
                    </a:lnTo>
                    <a:lnTo>
                      <a:pt x="424" y="86"/>
                    </a:lnTo>
                    <a:lnTo>
                      <a:pt x="424" y="86"/>
                    </a:lnTo>
                    <a:lnTo>
                      <a:pt x="417" y="83"/>
                    </a:lnTo>
                    <a:lnTo>
                      <a:pt x="416" y="86"/>
                    </a:lnTo>
                    <a:lnTo>
                      <a:pt x="417" y="87"/>
                    </a:lnTo>
                    <a:lnTo>
                      <a:pt x="417" y="87"/>
                    </a:lnTo>
                    <a:lnTo>
                      <a:pt x="416" y="87"/>
                    </a:lnTo>
                    <a:lnTo>
                      <a:pt x="416" y="86"/>
                    </a:lnTo>
                    <a:lnTo>
                      <a:pt x="416" y="86"/>
                    </a:lnTo>
                    <a:lnTo>
                      <a:pt x="417" y="83"/>
                    </a:lnTo>
                    <a:lnTo>
                      <a:pt x="417" y="83"/>
                    </a:lnTo>
                    <a:lnTo>
                      <a:pt x="416" y="83"/>
                    </a:lnTo>
                    <a:lnTo>
                      <a:pt x="413" y="80"/>
                    </a:lnTo>
                    <a:lnTo>
                      <a:pt x="406" y="80"/>
                    </a:lnTo>
                    <a:lnTo>
                      <a:pt x="409" y="80"/>
                    </a:lnTo>
                    <a:lnTo>
                      <a:pt x="406" y="76"/>
                    </a:lnTo>
                    <a:lnTo>
                      <a:pt x="408" y="76"/>
                    </a:lnTo>
                    <a:lnTo>
                      <a:pt x="411" y="76"/>
                    </a:lnTo>
                    <a:lnTo>
                      <a:pt x="416" y="80"/>
                    </a:lnTo>
                    <a:lnTo>
                      <a:pt x="421" y="80"/>
                    </a:lnTo>
                    <a:lnTo>
                      <a:pt x="424" y="83"/>
                    </a:lnTo>
                    <a:lnTo>
                      <a:pt x="427" y="83"/>
                    </a:lnTo>
                    <a:lnTo>
                      <a:pt x="427" y="83"/>
                    </a:lnTo>
                    <a:lnTo>
                      <a:pt x="428" y="80"/>
                    </a:lnTo>
                    <a:lnTo>
                      <a:pt x="428" y="80"/>
                    </a:lnTo>
                    <a:lnTo>
                      <a:pt x="428" y="76"/>
                    </a:lnTo>
                    <a:lnTo>
                      <a:pt x="428" y="76"/>
                    </a:lnTo>
                    <a:lnTo>
                      <a:pt x="427" y="75"/>
                    </a:lnTo>
                    <a:lnTo>
                      <a:pt x="424" y="73"/>
                    </a:lnTo>
                    <a:lnTo>
                      <a:pt x="427" y="73"/>
                    </a:lnTo>
                    <a:lnTo>
                      <a:pt x="428" y="73"/>
                    </a:lnTo>
                    <a:lnTo>
                      <a:pt x="428" y="72"/>
                    </a:lnTo>
                    <a:lnTo>
                      <a:pt x="427" y="72"/>
                    </a:lnTo>
                    <a:lnTo>
                      <a:pt x="424" y="70"/>
                    </a:lnTo>
                    <a:lnTo>
                      <a:pt x="417" y="70"/>
                    </a:lnTo>
                    <a:lnTo>
                      <a:pt x="424" y="72"/>
                    </a:lnTo>
                    <a:lnTo>
                      <a:pt x="421" y="72"/>
                    </a:lnTo>
                    <a:lnTo>
                      <a:pt x="417" y="72"/>
                    </a:lnTo>
                    <a:lnTo>
                      <a:pt x="413" y="72"/>
                    </a:lnTo>
                    <a:lnTo>
                      <a:pt x="414" y="70"/>
                    </a:lnTo>
                    <a:lnTo>
                      <a:pt x="411" y="68"/>
                    </a:lnTo>
                    <a:lnTo>
                      <a:pt x="413" y="67"/>
                    </a:lnTo>
                    <a:lnTo>
                      <a:pt x="411" y="67"/>
                    </a:lnTo>
                    <a:lnTo>
                      <a:pt x="409" y="67"/>
                    </a:lnTo>
                    <a:lnTo>
                      <a:pt x="409" y="68"/>
                    </a:lnTo>
                    <a:lnTo>
                      <a:pt x="406" y="67"/>
                    </a:lnTo>
                    <a:lnTo>
                      <a:pt x="411" y="64"/>
                    </a:lnTo>
                    <a:lnTo>
                      <a:pt x="413" y="65"/>
                    </a:lnTo>
                    <a:lnTo>
                      <a:pt x="414" y="67"/>
                    </a:lnTo>
                    <a:lnTo>
                      <a:pt x="417" y="65"/>
                    </a:lnTo>
                    <a:lnTo>
                      <a:pt x="421" y="65"/>
                    </a:lnTo>
                    <a:lnTo>
                      <a:pt x="417" y="64"/>
                    </a:lnTo>
                    <a:lnTo>
                      <a:pt x="421" y="64"/>
                    </a:lnTo>
                    <a:lnTo>
                      <a:pt x="421" y="64"/>
                    </a:lnTo>
                    <a:lnTo>
                      <a:pt x="427" y="62"/>
                    </a:lnTo>
                    <a:lnTo>
                      <a:pt x="435" y="64"/>
                    </a:lnTo>
                    <a:lnTo>
                      <a:pt x="440" y="65"/>
                    </a:lnTo>
                    <a:lnTo>
                      <a:pt x="443" y="65"/>
                    </a:lnTo>
                    <a:lnTo>
                      <a:pt x="444" y="64"/>
                    </a:lnTo>
                    <a:lnTo>
                      <a:pt x="446" y="62"/>
                    </a:lnTo>
                    <a:lnTo>
                      <a:pt x="444" y="59"/>
                    </a:lnTo>
                    <a:lnTo>
                      <a:pt x="441" y="59"/>
                    </a:lnTo>
                    <a:lnTo>
                      <a:pt x="438" y="59"/>
                    </a:lnTo>
                    <a:lnTo>
                      <a:pt x="436" y="61"/>
                    </a:lnTo>
                    <a:lnTo>
                      <a:pt x="435" y="59"/>
                    </a:lnTo>
                    <a:lnTo>
                      <a:pt x="430" y="57"/>
                    </a:lnTo>
                    <a:lnTo>
                      <a:pt x="432" y="57"/>
                    </a:lnTo>
                    <a:lnTo>
                      <a:pt x="428" y="57"/>
                    </a:lnTo>
                    <a:lnTo>
                      <a:pt x="427" y="56"/>
                    </a:lnTo>
                    <a:lnTo>
                      <a:pt x="424" y="56"/>
                    </a:lnTo>
                    <a:lnTo>
                      <a:pt x="428" y="54"/>
                    </a:lnTo>
                    <a:lnTo>
                      <a:pt x="432" y="54"/>
                    </a:lnTo>
                    <a:lnTo>
                      <a:pt x="441" y="56"/>
                    </a:lnTo>
                    <a:lnTo>
                      <a:pt x="440" y="54"/>
                    </a:lnTo>
                    <a:lnTo>
                      <a:pt x="436" y="53"/>
                    </a:lnTo>
                    <a:lnTo>
                      <a:pt x="430" y="53"/>
                    </a:lnTo>
                    <a:lnTo>
                      <a:pt x="427" y="53"/>
                    </a:lnTo>
                    <a:lnTo>
                      <a:pt x="424" y="53"/>
                    </a:lnTo>
                    <a:lnTo>
                      <a:pt x="421" y="54"/>
                    </a:lnTo>
                    <a:lnTo>
                      <a:pt x="417" y="56"/>
                    </a:lnTo>
                    <a:lnTo>
                      <a:pt x="416" y="54"/>
                    </a:lnTo>
                    <a:lnTo>
                      <a:pt x="424" y="51"/>
                    </a:lnTo>
                    <a:lnTo>
                      <a:pt x="421" y="51"/>
                    </a:lnTo>
                    <a:lnTo>
                      <a:pt x="424" y="51"/>
                    </a:lnTo>
                    <a:lnTo>
                      <a:pt x="424" y="51"/>
                    </a:lnTo>
                    <a:lnTo>
                      <a:pt x="424" y="48"/>
                    </a:lnTo>
                    <a:lnTo>
                      <a:pt x="427" y="48"/>
                    </a:lnTo>
                    <a:lnTo>
                      <a:pt x="427" y="45"/>
                    </a:lnTo>
                    <a:lnTo>
                      <a:pt x="427" y="45"/>
                    </a:lnTo>
                    <a:lnTo>
                      <a:pt x="427" y="45"/>
                    </a:lnTo>
                    <a:lnTo>
                      <a:pt x="433" y="41"/>
                    </a:lnTo>
                    <a:lnTo>
                      <a:pt x="435" y="41"/>
                    </a:lnTo>
                    <a:lnTo>
                      <a:pt x="438" y="41"/>
                    </a:lnTo>
                    <a:lnTo>
                      <a:pt x="440" y="41"/>
                    </a:lnTo>
                    <a:lnTo>
                      <a:pt x="441" y="41"/>
                    </a:lnTo>
                    <a:lnTo>
                      <a:pt x="444" y="40"/>
                    </a:lnTo>
                    <a:lnTo>
                      <a:pt x="446" y="40"/>
                    </a:lnTo>
                    <a:lnTo>
                      <a:pt x="448" y="38"/>
                    </a:lnTo>
                    <a:lnTo>
                      <a:pt x="444" y="38"/>
                    </a:lnTo>
                    <a:lnTo>
                      <a:pt x="441" y="40"/>
                    </a:lnTo>
                    <a:lnTo>
                      <a:pt x="443" y="38"/>
                    </a:lnTo>
                    <a:lnTo>
                      <a:pt x="443" y="37"/>
                    </a:lnTo>
                    <a:lnTo>
                      <a:pt x="446" y="35"/>
                    </a:lnTo>
                    <a:lnTo>
                      <a:pt x="449" y="34"/>
                    </a:lnTo>
                    <a:lnTo>
                      <a:pt x="455" y="34"/>
                    </a:lnTo>
                    <a:lnTo>
                      <a:pt x="463" y="30"/>
                    </a:lnTo>
                    <a:lnTo>
                      <a:pt x="462" y="30"/>
                    </a:lnTo>
                    <a:lnTo>
                      <a:pt x="455" y="30"/>
                    </a:lnTo>
                    <a:lnTo>
                      <a:pt x="451" y="30"/>
                    </a:lnTo>
                    <a:lnTo>
                      <a:pt x="444" y="30"/>
                    </a:lnTo>
                    <a:lnTo>
                      <a:pt x="441" y="32"/>
                    </a:lnTo>
                    <a:lnTo>
                      <a:pt x="441" y="34"/>
                    </a:lnTo>
                    <a:lnTo>
                      <a:pt x="438" y="34"/>
                    </a:lnTo>
                    <a:lnTo>
                      <a:pt x="436" y="32"/>
                    </a:lnTo>
                    <a:lnTo>
                      <a:pt x="438" y="32"/>
                    </a:lnTo>
                    <a:lnTo>
                      <a:pt x="440" y="30"/>
                    </a:lnTo>
                    <a:lnTo>
                      <a:pt x="438" y="30"/>
                    </a:lnTo>
                    <a:lnTo>
                      <a:pt x="448" y="29"/>
                    </a:lnTo>
                    <a:lnTo>
                      <a:pt x="459" y="29"/>
                    </a:lnTo>
                    <a:lnTo>
                      <a:pt x="467" y="29"/>
                    </a:lnTo>
                    <a:lnTo>
                      <a:pt x="476" y="26"/>
                    </a:lnTo>
                    <a:lnTo>
                      <a:pt x="470" y="26"/>
                    </a:lnTo>
                    <a:lnTo>
                      <a:pt x="465" y="26"/>
                    </a:lnTo>
                    <a:lnTo>
                      <a:pt x="459" y="26"/>
                    </a:lnTo>
                    <a:lnTo>
                      <a:pt x="462" y="24"/>
                    </a:lnTo>
                    <a:lnTo>
                      <a:pt x="468" y="24"/>
                    </a:lnTo>
                    <a:lnTo>
                      <a:pt x="476" y="24"/>
                    </a:lnTo>
                    <a:lnTo>
                      <a:pt x="482" y="22"/>
                    </a:lnTo>
                    <a:lnTo>
                      <a:pt x="484" y="22"/>
                    </a:lnTo>
                    <a:lnTo>
                      <a:pt x="487" y="21"/>
                    </a:lnTo>
                    <a:lnTo>
                      <a:pt x="490" y="21"/>
                    </a:lnTo>
                    <a:lnTo>
                      <a:pt x="494" y="21"/>
                    </a:lnTo>
                    <a:lnTo>
                      <a:pt x="498" y="19"/>
                    </a:lnTo>
                    <a:lnTo>
                      <a:pt x="505" y="18"/>
                    </a:lnTo>
                    <a:lnTo>
                      <a:pt x="508" y="18"/>
                    </a:lnTo>
                    <a:lnTo>
                      <a:pt x="511" y="16"/>
                    </a:lnTo>
                    <a:lnTo>
                      <a:pt x="490" y="13"/>
                    </a:lnTo>
                    <a:lnTo>
                      <a:pt x="490" y="13"/>
                    </a:lnTo>
                    <a:lnTo>
                      <a:pt x="490" y="13"/>
                    </a:lnTo>
                    <a:lnTo>
                      <a:pt x="490" y="13"/>
                    </a:lnTo>
                    <a:lnTo>
                      <a:pt x="490" y="13"/>
                    </a:lnTo>
                    <a:lnTo>
                      <a:pt x="490" y="13"/>
                    </a:lnTo>
                    <a:lnTo>
                      <a:pt x="490" y="13"/>
                    </a:lnTo>
                    <a:close/>
                    <a:moveTo>
                      <a:pt x="103" y="119"/>
                    </a:moveTo>
                    <a:lnTo>
                      <a:pt x="101" y="119"/>
                    </a:lnTo>
                    <a:lnTo>
                      <a:pt x="106" y="116"/>
                    </a:lnTo>
                    <a:lnTo>
                      <a:pt x="103" y="119"/>
                    </a:lnTo>
                    <a:lnTo>
                      <a:pt x="103" y="119"/>
                    </a:lnTo>
                    <a:lnTo>
                      <a:pt x="103" y="119"/>
                    </a:lnTo>
                    <a:lnTo>
                      <a:pt x="103" y="119"/>
                    </a:lnTo>
                    <a:lnTo>
                      <a:pt x="103" y="119"/>
                    </a:lnTo>
                    <a:lnTo>
                      <a:pt x="103" y="119"/>
                    </a:lnTo>
                    <a:lnTo>
                      <a:pt x="103" y="119"/>
                    </a:lnTo>
                    <a:close/>
                    <a:moveTo>
                      <a:pt x="109" y="164"/>
                    </a:moveTo>
                    <a:lnTo>
                      <a:pt x="106" y="162"/>
                    </a:lnTo>
                    <a:lnTo>
                      <a:pt x="111" y="162"/>
                    </a:lnTo>
                    <a:lnTo>
                      <a:pt x="109" y="164"/>
                    </a:lnTo>
                    <a:lnTo>
                      <a:pt x="109" y="164"/>
                    </a:lnTo>
                    <a:lnTo>
                      <a:pt x="109" y="164"/>
                    </a:lnTo>
                    <a:lnTo>
                      <a:pt x="109" y="164"/>
                    </a:lnTo>
                    <a:lnTo>
                      <a:pt x="109" y="164"/>
                    </a:lnTo>
                    <a:lnTo>
                      <a:pt x="109" y="164"/>
                    </a:lnTo>
                    <a:lnTo>
                      <a:pt x="109" y="164"/>
                    </a:lnTo>
                    <a:close/>
                    <a:moveTo>
                      <a:pt x="84" y="205"/>
                    </a:moveTo>
                    <a:lnTo>
                      <a:pt x="82" y="205"/>
                    </a:lnTo>
                    <a:lnTo>
                      <a:pt x="84" y="205"/>
                    </a:lnTo>
                    <a:lnTo>
                      <a:pt x="86" y="205"/>
                    </a:lnTo>
                    <a:lnTo>
                      <a:pt x="84" y="205"/>
                    </a:lnTo>
                    <a:lnTo>
                      <a:pt x="84" y="205"/>
                    </a:lnTo>
                    <a:lnTo>
                      <a:pt x="84" y="205"/>
                    </a:lnTo>
                    <a:lnTo>
                      <a:pt x="84" y="205"/>
                    </a:lnTo>
                    <a:lnTo>
                      <a:pt x="84" y="205"/>
                    </a:lnTo>
                    <a:lnTo>
                      <a:pt x="84" y="205"/>
                    </a:lnTo>
                    <a:lnTo>
                      <a:pt x="84" y="205"/>
                    </a:lnTo>
                    <a:close/>
                    <a:moveTo>
                      <a:pt x="90" y="215"/>
                    </a:moveTo>
                    <a:lnTo>
                      <a:pt x="89" y="215"/>
                    </a:lnTo>
                    <a:lnTo>
                      <a:pt x="93" y="213"/>
                    </a:lnTo>
                    <a:lnTo>
                      <a:pt x="90" y="215"/>
                    </a:lnTo>
                    <a:lnTo>
                      <a:pt x="90" y="215"/>
                    </a:lnTo>
                    <a:lnTo>
                      <a:pt x="90" y="215"/>
                    </a:lnTo>
                    <a:lnTo>
                      <a:pt x="90" y="215"/>
                    </a:lnTo>
                    <a:lnTo>
                      <a:pt x="90" y="215"/>
                    </a:lnTo>
                    <a:lnTo>
                      <a:pt x="90" y="215"/>
                    </a:lnTo>
                    <a:lnTo>
                      <a:pt x="90" y="215"/>
                    </a:lnTo>
                    <a:close/>
                    <a:moveTo>
                      <a:pt x="93" y="205"/>
                    </a:moveTo>
                    <a:lnTo>
                      <a:pt x="90" y="202"/>
                    </a:lnTo>
                    <a:lnTo>
                      <a:pt x="93" y="202"/>
                    </a:lnTo>
                    <a:lnTo>
                      <a:pt x="93" y="202"/>
                    </a:lnTo>
                    <a:lnTo>
                      <a:pt x="93" y="205"/>
                    </a:lnTo>
                    <a:lnTo>
                      <a:pt x="93" y="205"/>
                    </a:lnTo>
                    <a:lnTo>
                      <a:pt x="93" y="205"/>
                    </a:lnTo>
                    <a:lnTo>
                      <a:pt x="93" y="205"/>
                    </a:lnTo>
                    <a:lnTo>
                      <a:pt x="93" y="205"/>
                    </a:lnTo>
                    <a:lnTo>
                      <a:pt x="93" y="205"/>
                    </a:lnTo>
                    <a:lnTo>
                      <a:pt x="93" y="205"/>
                    </a:lnTo>
                    <a:close/>
                    <a:moveTo>
                      <a:pt x="90" y="184"/>
                    </a:moveTo>
                    <a:lnTo>
                      <a:pt x="87" y="186"/>
                    </a:lnTo>
                    <a:lnTo>
                      <a:pt x="82" y="188"/>
                    </a:lnTo>
                    <a:lnTo>
                      <a:pt x="78" y="191"/>
                    </a:lnTo>
                    <a:lnTo>
                      <a:pt x="81" y="188"/>
                    </a:lnTo>
                    <a:lnTo>
                      <a:pt x="86" y="186"/>
                    </a:lnTo>
                    <a:lnTo>
                      <a:pt x="90" y="184"/>
                    </a:lnTo>
                    <a:lnTo>
                      <a:pt x="93" y="183"/>
                    </a:lnTo>
                    <a:lnTo>
                      <a:pt x="90" y="184"/>
                    </a:lnTo>
                    <a:lnTo>
                      <a:pt x="90" y="184"/>
                    </a:lnTo>
                    <a:lnTo>
                      <a:pt x="90" y="184"/>
                    </a:lnTo>
                    <a:lnTo>
                      <a:pt x="90" y="184"/>
                    </a:lnTo>
                    <a:lnTo>
                      <a:pt x="90" y="184"/>
                    </a:lnTo>
                    <a:lnTo>
                      <a:pt x="90" y="184"/>
                    </a:lnTo>
                    <a:lnTo>
                      <a:pt x="90" y="184"/>
                    </a:lnTo>
                    <a:close/>
                    <a:moveTo>
                      <a:pt x="97" y="176"/>
                    </a:moveTo>
                    <a:lnTo>
                      <a:pt x="90" y="176"/>
                    </a:lnTo>
                    <a:lnTo>
                      <a:pt x="97" y="173"/>
                    </a:lnTo>
                    <a:lnTo>
                      <a:pt x="105" y="173"/>
                    </a:lnTo>
                    <a:lnTo>
                      <a:pt x="100" y="176"/>
                    </a:lnTo>
                    <a:lnTo>
                      <a:pt x="97" y="176"/>
                    </a:lnTo>
                    <a:lnTo>
                      <a:pt x="97" y="176"/>
                    </a:lnTo>
                    <a:lnTo>
                      <a:pt x="97" y="176"/>
                    </a:lnTo>
                    <a:lnTo>
                      <a:pt x="97" y="176"/>
                    </a:lnTo>
                    <a:lnTo>
                      <a:pt x="97" y="176"/>
                    </a:lnTo>
                    <a:lnTo>
                      <a:pt x="97" y="176"/>
                    </a:lnTo>
                    <a:lnTo>
                      <a:pt x="97" y="176"/>
                    </a:lnTo>
                    <a:close/>
                    <a:moveTo>
                      <a:pt x="105" y="176"/>
                    </a:moveTo>
                    <a:lnTo>
                      <a:pt x="103" y="178"/>
                    </a:lnTo>
                    <a:lnTo>
                      <a:pt x="101" y="176"/>
                    </a:lnTo>
                    <a:lnTo>
                      <a:pt x="105" y="176"/>
                    </a:lnTo>
                    <a:lnTo>
                      <a:pt x="105" y="176"/>
                    </a:lnTo>
                    <a:lnTo>
                      <a:pt x="105" y="176"/>
                    </a:lnTo>
                    <a:lnTo>
                      <a:pt x="105" y="176"/>
                    </a:lnTo>
                    <a:lnTo>
                      <a:pt x="105" y="176"/>
                    </a:lnTo>
                    <a:lnTo>
                      <a:pt x="105" y="176"/>
                    </a:lnTo>
                    <a:lnTo>
                      <a:pt x="105" y="176"/>
                    </a:lnTo>
                    <a:close/>
                    <a:moveTo>
                      <a:pt x="103" y="181"/>
                    </a:moveTo>
                    <a:lnTo>
                      <a:pt x="100" y="181"/>
                    </a:lnTo>
                    <a:lnTo>
                      <a:pt x="103" y="180"/>
                    </a:lnTo>
                    <a:lnTo>
                      <a:pt x="105" y="181"/>
                    </a:lnTo>
                    <a:lnTo>
                      <a:pt x="103" y="181"/>
                    </a:lnTo>
                    <a:lnTo>
                      <a:pt x="103" y="181"/>
                    </a:lnTo>
                    <a:lnTo>
                      <a:pt x="103" y="181"/>
                    </a:lnTo>
                    <a:lnTo>
                      <a:pt x="103" y="181"/>
                    </a:lnTo>
                    <a:lnTo>
                      <a:pt x="103" y="181"/>
                    </a:lnTo>
                    <a:lnTo>
                      <a:pt x="103" y="181"/>
                    </a:lnTo>
                    <a:lnTo>
                      <a:pt x="103" y="181"/>
                    </a:lnTo>
                    <a:close/>
                    <a:moveTo>
                      <a:pt x="108" y="180"/>
                    </a:moveTo>
                    <a:lnTo>
                      <a:pt x="105" y="180"/>
                    </a:lnTo>
                    <a:lnTo>
                      <a:pt x="109" y="180"/>
                    </a:lnTo>
                    <a:lnTo>
                      <a:pt x="111" y="180"/>
                    </a:lnTo>
                    <a:lnTo>
                      <a:pt x="108" y="180"/>
                    </a:lnTo>
                    <a:lnTo>
                      <a:pt x="108" y="180"/>
                    </a:lnTo>
                    <a:lnTo>
                      <a:pt x="108" y="180"/>
                    </a:lnTo>
                    <a:lnTo>
                      <a:pt x="108" y="180"/>
                    </a:lnTo>
                    <a:lnTo>
                      <a:pt x="108" y="180"/>
                    </a:lnTo>
                    <a:lnTo>
                      <a:pt x="108" y="180"/>
                    </a:lnTo>
                    <a:lnTo>
                      <a:pt x="108" y="180"/>
                    </a:lnTo>
                    <a:close/>
                    <a:moveTo>
                      <a:pt x="111" y="173"/>
                    </a:moveTo>
                    <a:lnTo>
                      <a:pt x="109" y="173"/>
                    </a:lnTo>
                    <a:lnTo>
                      <a:pt x="111" y="173"/>
                    </a:lnTo>
                    <a:lnTo>
                      <a:pt x="114" y="173"/>
                    </a:lnTo>
                    <a:lnTo>
                      <a:pt x="111" y="173"/>
                    </a:lnTo>
                    <a:lnTo>
                      <a:pt x="111" y="173"/>
                    </a:lnTo>
                    <a:lnTo>
                      <a:pt x="111" y="173"/>
                    </a:lnTo>
                    <a:lnTo>
                      <a:pt x="111" y="173"/>
                    </a:lnTo>
                    <a:lnTo>
                      <a:pt x="111" y="173"/>
                    </a:lnTo>
                    <a:lnTo>
                      <a:pt x="111" y="173"/>
                    </a:lnTo>
                    <a:lnTo>
                      <a:pt x="111" y="173"/>
                    </a:lnTo>
                    <a:close/>
                    <a:moveTo>
                      <a:pt x="122" y="256"/>
                    </a:moveTo>
                    <a:lnTo>
                      <a:pt x="122" y="257"/>
                    </a:lnTo>
                    <a:lnTo>
                      <a:pt x="120" y="257"/>
                    </a:lnTo>
                    <a:lnTo>
                      <a:pt x="122" y="256"/>
                    </a:lnTo>
                    <a:lnTo>
                      <a:pt x="122" y="256"/>
                    </a:lnTo>
                    <a:lnTo>
                      <a:pt x="122" y="253"/>
                    </a:lnTo>
                    <a:lnTo>
                      <a:pt x="125" y="254"/>
                    </a:lnTo>
                    <a:lnTo>
                      <a:pt x="125" y="254"/>
                    </a:lnTo>
                    <a:lnTo>
                      <a:pt x="122" y="256"/>
                    </a:lnTo>
                    <a:lnTo>
                      <a:pt x="122" y="256"/>
                    </a:lnTo>
                    <a:lnTo>
                      <a:pt x="122" y="256"/>
                    </a:lnTo>
                    <a:lnTo>
                      <a:pt x="122" y="256"/>
                    </a:lnTo>
                    <a:lnTo>
                      <a:pt x="122" y="256"/>
                    </a:lnTo>
                    <a:lnTo>
                      <a:pt x="122" y="256"/>
                    </a:lnTo>
                    <a:lnTo>
                      <a:pt x="122" y="256"/>
                    </a:lnTo>
                    <a:close/>
                    <a:moveTo>
                      <a:pt x="166" y="229"/>
                    </a:moveTo>
                    <a:lnTo>
                      <a:pt x="166" y="226"/>
                    </a:lnTo>
                    <a:lnTo>
                      <a:pt x="168" y="229"/>
                    </a:lnTo>
                    <a:lnTo>
                      <a:pt x="166" y="229"/>
                    </a:lnTo>
                    <a:lnTo>
                      <a:pt x="166" y="229"/>
                    </a:lnTo>
                    <a:lnTo>
                      <a:pt x="166" y="229"/>
                    </a:lnTo>
                    <a:lnTo>
                      <a:pt x="166" y="229"/>
                    </a:lnTo>
                    <a:lnTo>
                      <a:pt x="166" y="229"/>
                    </a:lnTo>
                    <a:lnTo>
                      <a:pt x="166" y="229"/>
                    </a:lnTo>
                    <a:lnTo>
                      <a:pt x="166" y="229"/>
                    </a:lnTo>
                    <a:close/>
                    <a:moveTo>
                      <a:pt x="301" y="10"/>
                    </a:moveTo>
                    <a:lnTo>
                      <a:pt x="295" y="7"/>
                    </a:lnTo>
                    <a:lnTo>
                      <a:pt x="292" y="7"/>
                    </a:lnTo>
                    <a:lnTo>
                      <a:pt x="295" y="7"/>
                    </a:lnTo>
                    <a:lnTo>
                      <a:pt x="298" y="7"/>
                    </a:lnTo>
                    <a:lnTo>
                      <a:pt x="301" y="7"/>
                    </a:lnTo>
                    <a:lnTo>
                      <a:pt x="301" y="10"/>
                    </a:lnTo>
                    <a:lnTo>
                      <a:pt x="301" y="10"/>
                    </a:lnTo>
                    <a:lnTo>
                      <a:pt x="301" y="10"/>
                    </a:lnTo>
                    <a:lnTo>
                      <a:pt x="301" y="10"/>
                    </a:lnTo>
                    <a:lnTo>
                      <a:pt x="301" y="10"/>
                    </a:lnTo>
                    <a:lnTo>
                      <a:pt x="301" y="10"/>
                    </a:lnTo>
                    <a:lnTo>
                      <a:pt x="301" y="10"/>
                    </a:lnTo>
                    <a:lnTo>
                      <a:pt x="301" y="10"/>
                    </a:lnTo>
                    <a:close/>
                    <a:moveTo>
                      <a:pt x="365" y="113"/>
                    </a:moveTo>
                    <a:lnTo>
                      <a:pt x="368" y="113"/>
                    </a:lnTo>
                    <a:lnTo>
                      <a:pt x="371" y="113"/>
                    </a:lnTo>
                    <a:lnTo>
                      <a:pt x="368" y="114"/>
                    </a:lnTo>
                    <a:lnTo>
                      <a:pt x="365" y="116"/>
                    </a:lnTo>
                    <a:lnTo>
                      <a:pt x="365" y="113"/>
                    </a:lnTo>
                    <a:lnTo>
                      <a:pt x="365" y="113"/>
                    </a:lnTo>
                    <a:lnTo>
                      <a:pt x="365" y="113"/>
                    </a:lnTo>
                    <a:lnTo>
                      <a:pt x="365" y="113"/>
                    </a:lnTo>
                    <a:lnTo>
                      <a:pt x="365" y="113"/>
                    </a:lnTo>
                    <a:lnTo>
                      <a:pt x="365" y="113"/>
                    </a:lnTo>
                    <a:lnTo>
                      <a:pt x="365" y="113"/>
                    </a:lnTo>
                    <a:close/>
                    <a:moveTo>
                      <a:pt x="362" y="3"/>
                    </a:moveTo>
                    <a:lnTo>
                      <a:pt x="368" y="3"/>
                    </a:lnTo>
                    <a:lnTo>
                      <a:pt x="374" y="3"/>
                    </a:lnTo>
                    <a:lnTo>
                      <a:pt x="359" y="3"/>
                    </a:lnTo>
                    <a:lnTo>
                      <a:pt x="357" y="3"/>
                    </a:lnTo>
                    <a:lnTo>
                      <a:pt x="362" y="3"/>
                    </a:lnTo>
                    <a:lnTo>
                      <a:pt x="362" y="3"/>
                    </a:lnTo>
                    <a:lnTo>
                      <a:pt x="362" y="3"/>
                    </a:lnTo>
                    <a:lnTo>
                      <a:pt x="362" y="3"/>
                    </a:lnTo>
                    <a:lnTo>
                      <a:pt x="362" y="3"/>
                    </a:lnTo>
                    <a:lnTo>
                      <a:pt x="362" y="3"/>
                    </a:lnTo>
                    <a:lnTo>
                      <a:pt x="362" y="3"/>
                    </a:lnTo>
                    <a:close/>
                    <a:moveTo>
                      <a:pt x="336" y="119"/>
                    </a:moveTo>
                    <a:lnTo>
                      <a:pt x="340" y="119"/>
                    </a:lnTo>
                    <a:lnTo>
                      <a:pt x="336" y="119"/>
                    </a:lnTo>
                    <a:lnTo>
                      <a:pt x="336" y="119"/>
                    </a:lnTo>
                    <a:lnTo>
                      <a:pt x="336" y="119"/>
                    </a:lnTo>
                    <a:lnTo>
                      <a:pt x="336" y="119"/>
                    </a:lnTo>
                    <a:lnTo>
                      <a:pt x="336" y="119"/>
                    </a:lnTo>
                    <a:lnTo>
                      <a:pt x="336" y="119"/>
                    </a:lnTo>
                    <a:lnTo>
                      <a:pt x="336" y="119"/>
                    </a:lnTo>
                    <a:lnTo>
                      <a:pt x="336" y="119"/>
                    </a:lnTo>
                    <a:close/>
                    <a:moveTo>
                      <a:pt x="343" y="141"/>
                    </a:moveTo>
                    <a:lnTo>
                      <a:pt x="340" y="141"/>
                    </a:lnTo>
                    <a:lnTo>
                      <a:pt x="338" y="141"/>
                    </a:lnTo>
                    <a:lnTo>
                      <a:pt x="336" y="141"/>
                    </a:lnTo>
                    <a:lnTo>
                      <a:pt x="333" y="141"/>
                    </a:lnTo>
                    <a:lnTo>
                      <a:pt x="336" y="141"/>
                    </a:lnTo>
                    <a:lnTo>
                      <a:pt x="343" y="138"/>
                    </a:lnTo>
                    <a:lnTo>
                      <a:pt x="344" y="138"/>
                    </a:lnTo>
                    <a:lnTo>
                      <a:pt x="343" y="141"/>
                    </a:lnTo>
                    <a:lnTo>
                      <a:pt x="343" y="141"/>
                    </a:lnTo>
                    <a:lnTo>
                      <a:pt x="343" y="141"/>
                    </a:lnTo>
                    <a:lnTo>
                      <a:pt x="343" y="141"/>
                    </a:lnTo>
                    <a:lnTo>
                      <a:pt x="343" y="141"/>
                    </a:lnTo>
                    <a:lnTo>
                      <a:pt x="343" y="141"/>
                    </a:lnTo>
                    <a:lnTo>
                      <a:pt x="343" y="141"/>
                    </a:lnTo>
                    <a:close/>
                    <a:moveTo>
                      <a:pt x="343" y="132"/>
                    </a:moveTo>
                    <a:lnTo>
                      <a:pt x="344" y="132"/>
                    </a:lnTo>
                    <a:lnTo>
                      <a:pt x="338" y="135"/>
                    </a:lnTo>
                    <a:lnTo>
                      <a:pt x="336" y="135"/>
                    </a:lnTo>
                    <a:lnTo>
                      <a:pt x="333" y="138"/>
                    </a:lnTo>
                    <a:lnTo>
                      <a:pt x="330" y="138"/>
                    </a:lnTo>
                    <a:lnTo>
                      <a:pt x="330" y="137"/>
                    </a:lnTo>
                    <a:lnTo>
                      <a:pt x="330" y="135"/>
                    </a:lnTo>
                    <a:lnTo>
                      <a:pt x="336" y="132"/>
                    </a:lnTo>
                    <a:lnTo>
                      <a:pt x="336" y="132"/>
                    </a:lnTo>
                    <a:lnTo>
                      <a:pt x="340" y="132"/>
                    </a:lnTo>
                    <a:lnTo>
                      <a:pt x="336" y="129"/>
                    </a:lnTo>
                    <a:lnTo>
                      <a:pt x="340" y="130"/>
                    </a:lnTo>
                    <a:lnTo>
                      <a:pt x="343" y="132"/>
                    </a:lnTo>
                    <a:lnTo>
                      <a:pt x="343" y="132"/>
                    </a:lnTo>
                    <a:lnTo>
                      <a:pt x="343" y="132"/>
                    </a:lnTo>
                    <a:lnTo>
                      <a:pt x="343" y="132"/>
                    </a:lnTo>
                    <a:lnTo>
                      <a:pt x="343" y="132"/>
                    </a:lnTo>
                    <a:lnTo>
                      <a:pt x="343" y="132"/>
                    </a:lnTo>
                    <a:lnTo>
                      <a:pt x="343" y="132"/>
                    </a:lnTo>
                    <a:close/>
                    <a:moveTo>
                      <a:pt x="338" y="7"/>
                    </a:moveTo>
                    <a:lnTo>
                      <a:pt x="336" y="5"/>
                    </a:lnTo>
                    <a:lnTo>
                      <a:pt x="346" y="5"/>
                    </a:lnTo>
                    <a:lnTo>
                      <a:pt x="351" y="5"/>
                    </a:lnTo>
                    <a:lnTo>
                      <a:pt x="349" y="7"/>
                    </a:lnTo>
                    <a:lnTo>
                      <a:pt x="346" y="5"/>
                    </a:lnTo>
                    <a:lnTo>
                      <a:pt x="338" y="7"/>
                    </a:lnTo>
                    <a:lnTo>
                      <a:pt x="338" y="7"/>
                    </a:lnTo>
                    <a:lnTo>
                      <a:pt x="338" y="7"/>
                    </a:lnTo>
                    <a:lnTo>
                      <a:pt x="338" y="7"/>
                    </a:lnTo>
                    <a:lnTo>
                      <a:pt x="338" y="7"/>
                    </a:lnTo>
                    <a:lnTo>
                      <a:pt x="338" y="7"/>
                    </a:lnTo>
                    <a:lnTo>
                      <a:pt x="338" y="7"/>
                    </a:lnTo>
                    <a:close/>
                    <a:moveTo>
                      <a:pt x="351" y="107"/>
                    </a:moveTo>
                    <a:lnTo>
                      <a:pt x="349" y="107"/>
                    </a:lnTo>
                    <a:lnTo>
                      <a:pt x="351" y="107"/>
                    </a:lnTo>
                    <a:lnTo>
                      <a:pt x="352" y="107"/>
                    </a:lnTo>
                    <a:lnTo>
                      <a:pt x="351" y="107"/>
                    </a:lnTo>
                    <a:lnTo>
                      <a:pt x="351" y="107"/>
                    </a:lnTo>
                    <a:lnTo>
                      <a:pt x="351" y="107"/>
                    </a:lnTo>
                    <a:lnTo>
                      <a:pt x="351" y="107"/>
                    </a:lnTo>
                    <a:lnTo>
                      <a:pt x="351" y="107"/>
                    </a:lnTo>
                    <a:lnTo>
                      <a:pt x="351" y="107"/>
                    </a:lnTo>
                    <a:lnTo>
                      <a:pt x="351" y="107"/>
                    </a:lnTo>
                    <a:close/>
                    <a:moveTo>
                      <a:pt x="349" y="16"/>
                    </a:moveTo>
                    <a:lnTo>
                      <a:pt x="351" y="13"/>
                    </a:lnTo>
                    <a:lnTo>
                      <a:pt x="352" y="13"/>
                    </a:lnTo>
                    <a:lnTo>
                      <a:pt x="359" y="13"/>
                    </a:lnTo>
                    <a:lnTo>
                      <a:pt x="365" y="13"/>
                    </a:lnTo>
                    <a:lnTo>
                      <a:pt x="349" y="16"/>
                    </a:lnTo>
                    <a:lnTo>
                      <a:pt x="349" y="16"/>
                    </a:lnTo>
                    <a:lnTo>
                      <a:pt x="349" y="16"/>
                    </a:lnTo>
                    <a:lnTo>
                      <a:pt x="349" y="16"/>
                    </a:lnTo>
                    <a:lnTo>
                      <a:pt x="349" y="16"/>
                    </a:lnTo>
                    <a:lnTo>
                      <a:pt x="349" y="16"/>
                    </a:lnTo>
                    <a:lnTo>
                      <a:pt x="349" y="16"/>
                    </a:lnTo>
                    <a:close/>
                    <a:moveTo>
                      <a:pt x="367" y="13"/>
                    </a:moveTo>
                    <a:lnTo>
                      <a:pt x="373" y="13"/>
                    </a:lnTo>
                    <a:lnTo>
                      <a:pt x="371" y="10"/>
                    </a:lnTo>
                    <a:lnTo>
                      <a:pt x="381" y="13"/>
                    </a:lnTo>
                    <a:lnTo>
                      <a:pt x="367" y="13"/>
                    </a:lnTo>
                    <a:lnTo>
                      <a:pt x="367" y="13"/>
                    </a:lnTo>
                    <a:lnTo>
                      <a:pt x="367" y="13"/>
                    </a:lnTo>
                    <a:lnTo>
                      <a:pt x="367" y="13"/>
                    </a:lnTo>
                    <a:lnTo>
                      <a:pt x="367" y="13"/>
                    </a:lnTo>
                    <a:lnTo>
                      <a:pt x="367" y="13"/>
                    </a:lnTo>
                    <a:lnTo>
                      <a:pt x="367" y="13"/>
                    </a:lnTo>
                    <a:close/>
                    <a:moveTo>
                      <a:pt x="409" y="86"/>
                    </a:moveTo>
                    <a:lnTo>
                      <a:pt x="406" y="86"/>
                    </a:lnTo>
                    <a:lnTo>
                      <a:pt x="403" y="83"/>
                    </a:lnTo>
                    <a:lnTo>
                      <a:pt x="406" y="83"/>
                    </a:lnTo>
                    <a:lnTo>
                      <a:pt x="409" y="86"/>
                    </a:lnTo>
                    <a:lnTo>
                      <a:pt x="409" y="86"/>
                    </a:lnTo>
                    <a:lnTo>
                      <a:pt x="409" y="86"/>
                    </a:lnTo>
                    <a:lnTo>
                      <a:pt x="409" y="86"/>
                    </a:lnTo>
                    <a:lnTo>
                      <a:pt x="409" y="86"/>
                    </a:lnTo>
                    <a:lnTo>
                      <a:pt x="409" y="86"/>
                    </a:lnTo>
                    <a:lnTo>
                      <a:pt x="409" y="86"/>
                    </a:lnTo>
                    <a:close/>
                    <a:moveTo>
                      <a:pt x="101" y="113"/>
                    </a:moveTo>
                    <a:lnTo>
                      <a:pt x="100" y="113"/>
                    </a:lnTo>
                    <a:lnTo>
                      <a:pt x="100" y="113"/>
                    </a:lnTo>
                    <a:lnTo>
                      <a:pt x="100" y="114"/>
                    </a:lnTo>
                    <a:lnTo>
                      <a:pt x="101" y="113"/>
                    </a:lnTo>
                    <a:lnTo>
                      <a:pt x="101" y="113"/>
                    </a:lnTo>
                    <a:lnTo>
                      <a:pt x="101" y="113"/>
                    </a:lnTo>
                    <a:lnTo>
                      <a:pt x="101" y="113"/>
                    </a:lnTo>
                    <a:lnTo>
                      <a:pt x="101" y="113"/>
                    </a:lnTo>
                    <a:lnTo>
                      <a:pt x="101" y="113"/>
                    </a:lnTo>
                    <a:lnTo>
                      <a:pt x="101" y="113"/>
                    </a:lnTo>
                    <a:close/>
                    <a:moveTo>
                      <a:pt x="101" y="94"/>
                    </a:moveTo>
                    <a:lnTo>
                      <a:pt x="106" y="92"/>
                    </a:lnTo>
                    <a:lnTo>
                      <a:pt x="97" y="94"/>
                    </a:lnTo>
                    <a:lnTo>
                      <a:pt x="101" y="94"/>
                    </a:lnTo>
                    <a:lnTo>
                      <a:pt x="101" y="94"/>
                    </a:lnTo>
                    <a:lnTo>
                      <a:pt x="101" y="94"/>
                    </a:lnTo>
                    <a:lnTo>
                      <a:pt x="101" y="94"/>
                    </a:lnTo>
                    <a:lnTo>
                      <a:pt x="101" y="94"/>
                    </a:lnTo>
                    <a:lnTo>
                      <a:pt x="101" y="94"/>
                    </a:lnTo>
                    <a:lnTo>
                      <a:pt x="101" y="94"/>
                    </a:lnTo>
                    <a:close/>
                    <a:moveTo>
                      <a:pt x="14" y="59"/>
                    </a:moveTo>
                    <a:lnTo>
                      <a:pt x="19" y="57"/>
                    </a:lnTo>
                    <a:lnTo>
                      <a:pt x="14" y="57"/>
                    </a:lnTo>
                    <a:lnTo>
                      <a:pt x="9" y="57"/>
                    </a:lnTo>
                    <a:lnTo>
                      <a:pt x="11" y="59"/>
                    </a:lnTo>
                    <a:lnTo>
                      <a:pt x="14" y="59"/>
                    </a:lnTo>
                    <a:lnTo>
                      <a:pt x="14" y="59"/>
                    </a:lnTo>
                    <a:lnTo>
                      <a:pt x="14" y="59"/>
                    </a:lnTo>
                    <a:lnTo>
                      <a:pt x="14" y="59"/>
                    </a:lnTo>
                    <a:lnTo>
                      <a:pt x="14" y="59"/>
                    </a:lnTo>
                    <a:lnTo>
                      <a:pt x="14" y="59"/>
                    </a:lnTo>
                    <a:lnTo>
                      <a:pt x="14" y="59"/>
                    </a:lnTo>
                    <a:close/>
                    <a:moveTo>
                      <a:pt x="3" y="57"/>
                    </a:moveTo>
                    <a:lnTo>
                      <a:pt x="0" y="59"/>
                    </a:lnTo>
                    <a:lnTo>
                      <a:pt x="3" y="59"/>
                    </a:lnTo>
                    <a:lnTo>
                      <a:pt x="9" y="59"/>
                    </a:lnTo>
                    <a:lnTo>
                      <a:pt x="3" y="57"/>
                    </a:lnTo>
                    <a:lnTo>
                      <a:pt x="3" y="57"/>
                    </a:lnTo>
                    <a:lnTo>
                      <a:pt x="3" y="57"/>
                    </a:lnTo>
                    <a:lnTo>
                      <a:pt x="3" y="57"/>
                    </a:lnTo>
                    <a:lnTo>
                      <a:pt x="3" y="57"/>
                    </a:lnTo>
                    <a:lnTo>
                      <a:pt x="3" y="57"/>
                    </a:lnTo>
                    <a:lnTo>
                      <a:pt x="3" y="57"/>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63" name="Freeform 371">
                <a:extLst>
                  <a:ext uri="{FF2B5EF4-FFF2-40B4-BE49-F238E27FC236}">
                    <a16:creationId xmlns:a16="http://schemas.microsoft.com/office/drawing/2014/main" id="{0EAE675F-4B48-D598-6188-CCAC9767E4F9}"/>
                  </a:ext>
                </a:extLst>
              </p:cNvPr>
              <p:cNvSpPr>
                <a:spLocks noEditPoints="1"/>
              </p:cNvSpPr>
              <p:nvPr/>
            </p:nvSpPr>
            <p:spPr bwMode="auto">
              <a:xfrm>
                <a:off x="2606442" y="1519599"/>
                <a:ext cx="2234099" cy="1155183"/>
              </a:xfrm>
              <a:custGeom>
                <a:avLst/>
                <a:gdLst>
                  <a:gd name="T0" fmla="*/ 550 w 996"/>
                  <a:gd name="T1" fmla="*/ 72 h 515"/>
                  <a:gd name="T2" fmla="*/ 540 w 996"/>
                  <a:gd name="T3" fmla="*/ 45 h 515"/>
                  <a:gd name="T4" fmla="*/ 462 w 996"/>
                  <a:gd name="T5" fmla="*/ 65 h 515"/>
                  <a:gd name="T6" fmla="*/ 432 w 996"/>
                  <a:gd name="T7" fmla="*/ 89 h 515"/>
                  <a:gd name="T8" fmla="*/ 631 w 996"/>
                  <a:gd name="T9" fmla="*/ 83 h 515"/>
                  <a:gd name="T10" fmla="*/ 593 w 996"/>
                  <a:gd name="T11" fmla="*/ 77 h 515"/>
                  <a:gd name="T12" fmla="*/ 666 w 996"/>
                  <a:gd name="T13" fmla="*/ 29 h 515"/>
                  <a:gd name="T14" fmla="*/ 704 w 996"/>
                  <a:gd name="T15" fmla="*/ 86 h 515"/>
                  <a:gd name="T16" fmla="*/ 689 w 996"/>
                  <a:gd name="T17" fmla="*/ 62 h 515"/>
                  <a:gd name="T18" fmla="*/ 483 w 996"/>
                  <a:gd name="T19" fmla="*/ 113 h 515"/>
                  <a:gd name="T20" fmla="*/ 421 w 996"/>
                  <a:gd name="T21" fmla="*/ 132 h 515"/>
                  <a:gd name="T22" fmla="*/ 512 w 996"/>
                  <a:gd name="T23" fmla="*/ 154 h 515"/>
                  <a:gd name="T24" fmla="*/ 562 w 996"/>
                  <a:gd name="T25" fmla="*/ 124 h 515"/>
                  <a:gd name="T26" fmla="*/ 731 w 996"/>
                  <a:gd name="T27" fmla="*/ 161 h 515"/>
                  <a:gd name="T28" fmla="*/ 809 w 996"/>
                  <a:gd name="T29" fmla="*/ 148 h 515"/>
                  <a:gd name="T30" fmla="*/ 788 w 996"/>
                  <a:gd name="T31" fmla="*/ 121 h 515"/>
                  <a:gd name="T32" fmla="*/ 705 w 996"/>
                  <a:gd name="T33" fmla="*/ 100 h 515"/>
                  <a:gd name="T34" fmla="*/ 640 w 996"/>
                  <a:gd name="T35" fmla="*/ 132 h 515"/>
                  <a:gd name="T36" fmla="*/ 750 w 996"/>
                  <a:gd name="T37" fmla="*/ 153 h 515"/>
                  <a:gd name="T38" fmla="*/ 721 w 996"/>
                  <a:gd name="T39" fmla="*/ 207 h 515"/>
                  <a:gd name="T40" fmla="*/ 791 w 996"/>
                  <a:gd name="T41" fmla="*/ 229 h 515"/>
                  <a:gd name="T42" fmla="*/ 797 w 996"/>
                  <a:gd name="T43" fmla="*/ 183 h 515"/>
                  <a:gd name="T44" fmla="*/ 716 w 996"/>
                  <a:gd name="T45" fmla="*/ 150 h 515"/>
                  <a:gd name="T46" fmla="*/ 815 w 996"/>
                  <a:gd name="T47" fmla="*/ 386 h 515"/>
                  <a:gd name="T48" fmla="*/ 812 w 996"/>
                  <a:gd name="T49" fmla="*/ 435 h 515"/>
                  <a:gd name="T50" fmla="*/ 715 w 996"/>
                  <a:gd name="T51" fmla="*/ 143 h 515"/>
                  <a:gd name="T52" fmla="*/ 815 w 996"/>
                  <a:gd name="T53" fmla="*/ 7 h 515"/>
                  <a:gd name="T54" fmla="*/ 782 w 996"/>
                  <a:gd name="T55" fmla="*/ 37 h 515"/>
                  <a:gd name="T56" fmla="*/ 721 w 996"/>
                  <a:gd name="T57" fmla="*/ 65 h 515"/>
                  <a:gd name="T58" fmla="*/ 839 w 996"/>
                  <a:gd name="T59" fmla="*/ 37 h 515"/>
                  <a:gd name="T60" fmla="*/ 764 w 996"/>
                  <a:gd name="T61" fmla="*/ 27 h 515"/>
                  <a:gd name="T62" fmla="*/ 710 w 996"/>
                  <a:gd name="T63" fmla="*/ 48 h 515"/>
                  <a:gd name="T64" fmla="*/ 631 w 996"/>
                  <a:gd name="T65" fmla="*/ 167 h 515"/>
                  <a:gd name="T66" fmla="*/ 818 w 996"/>
                  <a:gd name="T67" fmla="*/ 351 h 515"/>
                  <a:gd name="T68" fmla="*/ 788 w 996"/>
                  <a:gd name="T69" fmla="*/ 292 h 515"/>
                  <a:gd name="T70" fmla="*/ 731 w 996"/>
                  <a:gd name="T71" fmla="*/ 288 h 515"/>
                  <a:gd name="T72" fmla="*/ 659 w 996"/>
                  <a:gd name="T73" fmla="*/ 243 h 515"/>
                  <a:gd name="T74" fmla="*/ 564 w 996"/>
                  <a:gd name="T75" fmla="*/ 383 h 515"/>
                  <a:gd name="T76" fmla="*/ 464 w 996"/>
                  <a:gd name="T77" fmla="*/ 281 h 515"/>
                  <a:gd name="T78" fmla="*/ 599 w 996"/>
                  <a:gd name="T79" fmla="*/ 197 h 515"/>
                  <a:gd name="T80" fmla="*/ 689 w 996"/>
                  <a:gd name="T81" fmla="*/ 146 h 515"/>
                  <a:gd name="T82" fmla="*/ 615 w 996"/>
                  <a:gd name="T83" fmla="*/ 146 h 515"/>
                  <a:gd name="T84" fmla="*/ 605 w 996"/>
                  <a:gd name="T85" fmla="*/ 107 h 515"/>
                  <a:gd name="T86" fmla="*/ 540 w 996"/>
                  <a:gd name="T87" fmla="*/ 173 h 515"/>
                  <a:gd name="T88" fmla="*/ 437 w 996"/>
                  <a:gd name="T89" fmla="*/ 164 h 515"/>
                  <a:gd name="T90" fmla="*/ 337 w 996"/>
                  <a:gd name="T91" fmla="*/ 145 h 515"/>
                  <a:gd name="T92" fmla="*/ 183 w 996"/>
                  <a:gd name="T93" fmla="*/ 153 h 515"/>
                  <a:gd name="T94" fmla="*/ 45 w 996"/>
                  <a:gd name="T95" fmla="*/ 337 h 515"/>
                  <a:gd name="T96" fmla="*/ 45 w 996"/>
                  <a:gd name="T97" fmla="*/ 392 h 515"/>
                  <a:gd name="T98" fmla="*/ 437 w 996"/>
                  <a:gd name="T99" fmla="*/ 423 h 515"/>
                  <a:gd name="T100" fmla="*/ 501 w 996"/>
                  <a:gd name="T101" fmla="*/ 473 h 515"/>
                  <a:gd name="T102" fmla="*/ 650 w 996"/>
                  <a:gd name="T103" fmla="*/ 442 h 515"/>
                  <a:gd name="T104" fmla="*/ 693 w 996"/>
                  <a:gd name="T105" fmla="*/ 477 h 515"/>
                  <a:gd name="T106" fmla="*/ 689 w 996"/>
                  <a:gd name="T107" fmla="*/ 432 h 515"/>
                  <a:gd name="T108" fmla="*/ 220 w 996"/>
                  <a:gd name="T109" fmla="*/ 219 h 515"/>
                  <a:gd name="T110" fmla="*/ 212 w 996"/>
                  <a:gd name="T111" fmla="*/ 194 h 515"/>
                  <a:gd name="T112" fmla="*/ 264 w 996"/>
                  <a:gd name="T113" fmla="*/ 270 h 515"/>
                  <a:gd name="T114" fmla="*/ 266 w 996"/>
                  <a:gd name="T115" fmla="*/ 256 h 515"/>
                  <a:gd name="T116" fmla="*/ 294 w 996"/>
                  <a:gd name="T117" fmla="*/ 288 h 515"/>
                  <a:gd name="T118" fmla="*/ 362 w 996"/>
                  <a:gd name="T119" fmla="*/ 373 h 515"/>
                  <a:gd name="T120" fmla="*/ 669 w 996"/>
                  <a:gd name="T121" fmla="*/ 219 h 515"/>
                  <a:gd name="T122" fmla="*/ 599 w 996"/>
                  <a:gd name="T123" fmla="*/ 219 h 515"/>
                  <a:gd name="T124" fmla="*/ 743 w 996"/>
                  <a:gd name="T125" fmla="*/ 264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6" h="515">
                    <a:moveTo>
                      <a:pt x="526" y="77"/>
                    </a:moveTo>
                    <a:lnTo>
                      <a:pt x="526" y="77"/>
                    </a:lnTo>
                    <a:lnTo>
                      <a:pt x="521" y="77"/>
                    </a:lnTo>
                    <a:lnTo>
                      <a:pt x="521" y="77"/>
                    </a:lnTo>
                    <a:lnTo>
                      <a:pt x="508" y="77"/>
                    </a:lnTo>
                    <a:lnTo>
                      <a:pt x="508" y="77"/>
                    </a:lnTo>
                    <a:lnTo>
                      <a:pt x="508" y="73"/>
                    </a:lnTo>
                    <a:lnTo>
                      <a:pt x="508" y="73"/>
                    </a:lnTo>
                    <a:lnTo>
                      <a:pt x="502" y="73"/>
                    </a:lnTo>
                    <a:lnTo>
                      <a:pt x="502" y="73"/>
                    </a:lnTo>
                    <a:lnTo>
                      <a:pt x="508" y="72"/>
                    </a:lnTo>
                    <a:lnTo>
                      <a:pt x="508" y="72"/>
                    </a:lnTo>
                    <a:lnTo>
                      <a:pt x="505" y="70"/>
                    </a:lnTo>
                    <a:lnTo>
                      <a:pt x="505" y="70"/>
                    </a:lnTo>
                    <a:lnTo>
                      <a:pt x="502" y="69"/>
                    </a:lnTo>
                    <a:lnTo>
                      <a:pt x="502" y="69"/>
                    </a:lnTo>
                    <a:lnTo>
                      <a:pt x="494" y="69"/>
                    </a:lnTo>
                    <a:lnTo>
                      <a:pt x="494" y="69"/>
                    </a:lnTo>
                    <a:lnTo>
                      <a:pt x="497" y="67"/>
                    </a:lnTo>
                    <a:lnTo>
                      <a:pt x="497" y="67"/>
                    </a:lnTo>
                    <a:lnTo>
                      <a:pt x="496" y="65"/>
                    </a:lnTo>
                    <a:lnTo>
                      <a:pt x="496" y="65"/>
                    </a:lnTo>
                    <a:lnTo>
                      <a:pt x="494" y="65"/>
                    </a:lnTo>
                    <a:lnTo>
                      <a:pt x="494" y="65"/>
                    </a:lnTo>
                    <a:lnTo>
                      <a:pt x="488" y="65"/>
                    </a:lnTo>
                    <a:lnTo>
                      <a:pt x="488" y="65"/>
                    </a:lnTo>
                    <a:lnTo>
                      <a:pt x="480" y="67"/>
                    </a:lnTo>
                    <a:lnTo>
                      <a:pt x="480" y="67"/>
                    </a:lnTo>
                    <a:lnTo>
                      <a:pt x="483" y="69"/>
                    </a:lnTo>
                    <a:lnTo>
                      <a:pt x="483" y="69"/>
                    </a:lnTo>
                    <a:lnTo>
                      <a:pt x="477" y="69"/>
                    </a:lnTo>
                    <a:lnTo>
                      <a:pt x="477" y="69"/>
                    </a:lnTo>
                    <a:lnTo>
                      <a:pt x="474" y="70"/>
                    </a:lnTo>
                    <a:lnTo>
                      <a:pt x="474" y="70"/>
                    </a:lnTo>
                    <a:lnTo>
                      <a:pt x="467" y="72"/>
                    </a:lnTo>
                    <a:lnTo>
                      <a:pt x="467" y="72"/>
                    </a:lnTo>
                    <a:lnTo>
                      <a:pt x="470" y="73"/>
                    </a:lnTo>
                    <a:lnTo>
                      <a:pt x="470" y="73"/>
                    </a:lnTo>
                    <a:lnTo>
                      <a:pt x="464" y="73"/>
                    </a:lnTo>
                    <a:lnTo>
                      <a:pt x="464" y="73"/>
                    </a:lnTo>
                    <a:lnTo>
                      <a:pt x="458" y="73"/>
                    </a:lnTo>
                    <a:lnTo>
                      <a:pt x="458" y="73"/>
                    </a:lnTo>
                    <a:lnTo>
                      <a:pt x="461" y="77"/>
                    </a:lnTo>
                    <a:lnTo>
                      <a:pt x="461" y="77"/>
                    </a:lnTo>
                    <a:lnTo>
                      <a:pt x="462" y="77"/>
                    </a:lnTo>
                    <a:lnTo>
                      <a:pt x="462" y="77"/>
                    </a:lnTo>
                    <a:lnTo>
                      <a:pt x="456" y="77"/>
                    </a:lnTo>
                    <a:lnTo>
                      <a:pt x="456" y="77"/>
                    </a:lnTo>
                    <a:lnTo>
                      <a:pt x="448" y="80"/>
                    </a:lnTo>
                    <a:lnTo>
                      <a:pt x="448" y="80"/>
                    </a:lnTo>
                    <a:lnTo>
                      <a:pt x="450" y="80"/>
                    </a:lnTo>
                    <a:lnTo>
                      <a:pt x="450" y="80"/>
                    </a:lnTo>
                    <a:lnTo>
                      <a:pt x="453" y="80"/>
                    </a:lnTo>
                    <a:lnTo>
                      <a:pt x="453" y="80"/>
                    </a:lnTo>
                    <a:lnTo>
                      <a:pt x="459" y="80"/>
                    </a:lnTo>
                    <a:lnTo>
                      <a:pt x="459" y="80"/>
                    </a:lnTo>
                    <a:lnTo>
                      <a:pt x="458" y="80"/>
                    </a:lnTo>
                    <a:lnTo>
                      <a:pt x="458" y="80"/>
                    </a:lnTo>
                    <a:lnTo>
                      <a:pt x="461" y="81"/>
                    </a:lnTo>
                    <a:lnTo>
                      <a:pt x="461" y="81"/>
                    </a:lnTo>
                    <a:lnTo>
                      <a:pt x="462" y="81"/>
                    </a:lnTo>
                    <a:lnTo>
                      <a:pt x="462" y="81"/>
                    </a:lnTo>
                    <a:lnTo>
                      <a:pt x="464" y="80"/>
                    </a:lnTo>
                    <a:lnTo>
                      <a:pt x="464" y="80"/>
                    </a:lnTo>
                    <a:lnTo>
                      <a:pt x="466" y="80"/>
                    </a:lnTo>
                    <a:lnTo>
                      <a:pt x="466" y="80"/>
                    </a:lnTo>
                    <a:lnTo>
                      <a:pt x="467" y="80"/>
                    </a:lnTo>
                    <a:lnTo>
                      <a:pt x="467" y="80"/>
                    </a:lnTo>
                    <a:lnTo>
                      <a:pt x="467" y="81"/>
                    </a:lnTo>
                    <a:lnTo>
                      <a:pt x="467" y="81"/>
                    </a:lnTo>
                    <a:lnTo>
                      <a:pt x="470" y="81"/>
                    </a:lnTo>
                    <a:lnTo>
                      <a:pt x="470" y="81"/>
                    </a:lnTo>
                    <a:lnTo>
                      <a:pt x="474" y="80"/>
                    </a:lnTo>
                    <a:lnTo>
                      <a:pt x="474" y="80"/>
                    </a:lnTo>
                    <a:lnTo>
                      <a:pt x="477" y="80"/>
                    </a:lnTo>
                    <a:lnTo>
                      <a:pt x="477" y="80"/>
                    </a:lnTo>
                    <a:lnTo>
                      <a:pt x="477" y="80"/>
                    </a:lnTo>
                    <a:lnTo>
                      <a:pt x="477" y="80"/>
                    </a:lnTo>
                    <a:lnTo>
                      <a:pt x="480" y="80"/>
                    </a:lnTo>
                    <a:lnTo>
                      <a:pt x="480" y="80"/>
                    </a:lnTo>
                    <a:lnTo>
                      <a:pt x="480" y="77"/>
                    </a:lnTo>
                    <a:lnTo>
                      <a:pt x="480" y="77"/>
                    </a:lnTo>
                    <a:lnTo>
                      <a:pt x="482" y="77"/>
                    </a:lnTo>
                    <a:lnTo>
                      <a:pt x="482" y="77"/>
                    </a:lnTo>
                    <a:lnTo>
                      <a:pt x="483" y="77"/>
                    </a:lnTo>
                    <a:lnTo>
                      <a:pt x="483" y="77"/>
                    </a:lnTo>
                    <a:lnTo>
                      <a:pt x="480" y="80"/>
                    </a:lnTo>
                    <a:lnTo>
                      <a:pt x="480" y="80"/>
                    </a:lnTo>
                    <a:lnTo>
                      <a:pt x="480" y="80"/>
                    </a:lnTo>
                    <a:lnTo>
                      <a:pt x="480" y="80"/>
                    </a:lnTo>
                    <a:lnTo>
                      <a:pt x="482" y="80"/>
                    </a:lnTo>
                    <a:lnTo>
                      <a:pt x="482" y="80"/>
                    </a:lnTo>
                    <a:lnTo>
                      <a:pt x="485" y="80"/>
                    </a:lnTo>
                    <a:lnTo>
                      <a:pt x="485" y="80"/>
                    </a:lnTo>
                    <a:lnTo>
                      <a:pt x="489" y="80"/>
                    </a:lnTo>
                    <a:lnTo>
                      <a:pt x="489" y="80"/>
                    </a:lnTo>
                    <a:lnTo>
                      <a:pt x="493" y="80"/>
                    </a:lnTo>
                    <a:lnTo>
                      <a:pt x="493" y="80"/>
                    </a:lnTo>
                    <a:lnTo>
                      <a:pt x="491" y="80"/>
                    </a:lnTo>
                    <a:lnTo>
                      <a:pt x="491" y="80"/>
                    </a:lnTo>
                    <a:lnTo>
                      <a:pt x="496" y="80"/>
                    </a:lnTo>
                    <a:lnTo>
                      <a:pt x="496" y="80"/>
                    </a:lnTo>
                    <a:lnTo>
                      <a:pt x="486" y="81"/>
                    </a:lnTo>
                    <a:lnTo>
                      <a:pt x="486" y="81"/>
                    </a:lnTo>
                    <a:lnTo>
                      <a:pt x="477" y="83"/>
                    </a:lnTo>
                    <a:lnTo>
                      <a:pt x="477" y="83"/>
                    </a:lnTo>
                    <a:lnTo>
                      <a:pt x="467" y="84"/>
                    </a:lnTo>
                    <a:lnTo>
                      <a:pt x="467" y="84"/>
                    </a:lnTo>
                    <a:lnTo>
                      <a:pt x="467" y="88"/>
                    </a:lnTo>
                    <a:lnTo>
                      <a:pt x="467" y="88"/>
                    </a:lnTo>
                    <a:lnTo>
                      <a:pt x="470" y="88"/>
                    </a:lnTo>
                    <a:lnTo>
                      <a:pt x="470" y="88"/>
                    </a:lnTo>
                    <a:lnTo>
                      <a:pt x="480" y="89"/>
                    </a:lnTo>
                    <a:lnTo>
                      <a:pt x="480" y="89"/>
                    </a:lnTo>
                    <a:lnTo>
                      <a:pt x="493" y="86"/>
                    </a:lnTo>
                    <a:lnTo>
                      <a:pt x="493" y="86"/>
                    </a:lnTo>
                    <a:lnTo>
                      <a:pt x="501" y="84"/>
                    </a:lnTo>
                    <a:lnTo>
                      <a:pt x="501" y="84"/>
                    </a:lnTo>
                    <a:lnTo>
                      <a:pt x="508" y="83"/>
                    </a:lnTo>
                    <a:lnTo>
                      <a:pt x="508" y="83"/>
                    </a:lnTo>
                    <a:lnTo>
                      <a:pt x="515" y="81"/>
                    </a:lnTo>
                    <a:lnTo>
                      <a:pt x="515" y="81"/>
                    </a:lnTo>
                    <a:lnTo>
                      <a:pt x="521" y="80"/>
                    </a:lnTo>
                    <a:lnTo>
                      <a:pt x="521" y="80"/>
                    </a:lnTo>
                    <a:lnTo>
                      <a:pt x="521" y="81"/>
                    </a:lnTo>
                    <a:lnTo>
                      <a:pt x="521" y="81"/>
                    </a:lnTo>
                    <a:lnTo>
                      <a:pt x="524" y="81"/>
                    </a:lnTo>
                    <a:lnTo>
                      <a:pt x="524" y="81"/>
                    </a:lnTo>
                    <a:lnTo>
                      <a:pt x="528" y="81"/>
                    </a:lnTo>
                    <a:lnTo>
                      <a:pt x="528" y="81"/>
                    </a:lnTo>
                    <a:lnTo>
                      <a:pt x="531" y="80"/>
                    </a:lnTo>
                    <a:lnTo>
                      <a:pt x="531" y="80"/>
                    </a:lnTo>
                    <a:lnTo>
                      <a:pt x="531" y="81"/>
                    </a:lnTo>
                    <a:lnTo>
                      <a:pt x="531" y="81"/>
                    </a:lnTo>
                    <a:lnTo>
                      <a:pt x="532" y="83"/>
                    </a:lnTo>
                    <a:lnTo>
                      <a:pt x="532" y="83"/>
                    </a:lnTo>
                    <a:lnTo>
                      <a:pt x="537" y="81"/>
                    </a:lnTo>
                    <a:lnTo>
                      <a:pt x="537" y="81"/>
                    </a:lnTo>
                    <a:lnTo>
                      <a:pt x="543" y="81"/>
                    </a:lnTo>
                    <a:lnTo>
                      <a:pt x="543" y="81"/>
                    </a:lnTo>
                    <a:lnTo>
                      <a:pt x="548" y="80"/>
                    </a:lnTo>
                    <a:lnTo>
                      <a:pt x="548" y="80"/>
                    </a:lnTo>
                    <a:lnTo>
                      <a:pt x="555" y="77"/>
                    </a:lnTo>
                    <a:lnTo>
                      <a:pt x="555" y="77"/>
                    </a:lnTo>
                    <a:lnTo>
                      <a:pt x="559" y="73"/>
                    </a:lnTo>
                    <a:lnTo>
                      <a:pt x="559" y="73"/>
                    </a:lnTo>
                    <a:lnTo>
                      <a:pt x="561" y="73"/>
                    </a:lnTo>
                    <a:lnTo>
                      <a:pt x="561" y="73"/>
                    </a:lnTo>
                    <a:lnTo>
                      <a:pt x="561" y="72"/>
                    </a:lnTo>
                    <a:lnTo>
                      <a:pt x="561" y="72"/>
                    </a:lnTo>
                    <a:lnTo>
                      <a:pt x="559" y="70"/>
                    </a:lnTo>
                    <a:lnTo>
                      <a:pt x="559" y="70"/>
                    </a:lnTo>
                    <a:lnTo>
                      <a:pt x="555" y="70"/>
                    </a:lnTo>
                    <a:lnTo>
                      <a:pt x="555" y="70"/>
                    </a:lnTo>
                    <a:lnTo>
                      <a:pt x="551" y="72"/>
                    </a:lnTo>
                    <a:lnTo>
                      <a:pt x="551" y="72"/>
                    </a:lnTo>
                    <a:lnTo>
                      <a:pt x="550" y="72"/>
                    </a:lnTo>
                    <a:lnTo>
                      <a:pt x="550" y="72"/>
                    </a:lnTo>
                    <a:lnTo>
                      <a:pt x="550" y="73"/>
                    </a:lnTo>
                    <a:lnTo>
                      <a:pt x="550" y="73"/>
                    </a:lnTo>
                    <a:lnTo>
                      <a:pt x="547" y="73"/>
                    </a:lnTo>
                    <a:lnTo>
                      <a:pt x="547" y="73"/>
                    </a:lnTo>
                    <a:lnTo>
                      <a:pt x="548" y="72"/>
                    </a:lnTo>
                    <a:lnTo>
                      <a:pt x="548" y="72"/>
                    </a:lnTo>
                    <a:lnTo>
                      <a:pt x="543" y="72"/>
                    </a:lnTo>
                    <a:lnTo>
                      <a:pt x="543" y="72"/>
                    </a:lnTo>
                    <a:lnTo>
                      <a:pt x="543" y="70"/>
                    </a:lnTo>
                    <a:lnTo>
                      <a:pt x="543" y="70"/>
                    </a:lnTo>
                    <a:lnTo>
                      <a:pt x="540" y="70"/>
                    </a:lnTo>
                    <a:lnTo>
                      <a:pt x="540" y="70"/>
                    </a:lnTo>
                    <a:lnTo>
                      <a:pt x="543" y="69"/>
                    </a:lnTo>
                    <a:lnTo>
                      <a:pt x="543" y="69"/>
                    </a:lnTo>
                    <a:lnTo>
                      <a:pt x="547" y="67"/>
                    </a:lnTo>
                    <a:lnTo>
                      <a:pt x="547" y="67"/>
                    </a:lnTo>
                    <a:lnTo>
                      <a:pt x="543" y="67"/>
                    </a:lnTo>
                    <a:lnTo>
                      <a:pt x="543" y="67"/>
                    </a:lnTo>
                    <a:lnTo>
                      <a:pt x="547" y="64"/>
                    </a:lnTo>
                    <a:lnTo>
                      <a:pt x="547" y="64"/>
                    </a:lnTo>
                    <a:lnTo>
                      <a:pt x="548" y="62"/>
                    </a:lnTo>
                    <a:lnTo>
                      <a:pt x="548" y="62"/>
                    </a:lnTo>
                    <a:lnTo>
                      <a:pt x="543" y="62"/>
                    </a:lnTo>
                    <a:lnTo>
                      <a:pt x="543" y="62"/>
                    </a:lnTo>
                    <a:lnTo>
                      <a:pt x="540" y="62"/>
                    </a:lnTo>
                    <a:lnTo>
                      <a:pt x="540" y="62"/>
                    </a:lnTo>
                    <a:lnTo>
                      <a:pt x="534" y="65"/>
                    </a:lnTo>
                    <a:lnTo>
                      <a:pt x="534" y="65"/>
                    </a:lnTo>
                    <a:lnTo>
                      <a:pt x="531" y="65"/>
                    </a:lnTo>
                    <a:lnTo>
                      <a:pt x="531" y="65"/>
                    </a:lnTo>
                    <a:lnTo>
                      <a:pt x="528" y="67"/>
                    </a:lnTo>
                    <a:lnTo>
                      <a:pt x="528" y="67"/>
                    </a:lnTo>
                    <a:lnTo>
                      <a:pt x="529" y="69"/>
                    </a:lnTo>
                    <a:lnTo>
                      <a:pt x="529" y="69"/>
                    </a:lnTo>
                    <a:lnTo>
                      <a:pt x="531" y="69"/>
                    </a:lnTo>
                    <a:lnTo>
                      <a:pt x="531" y="69"/>
                    </a:lnTo>
                    <a:lnTo>
                      <a:pt x="532" y="70"/>
                    </a:lnTo>
                    <a:lnTo>
                      <a:pt x="532" y="70"/>
                    </a:lnTo>
                    <a:lnTo>
                      <a:pt x="528" y="72"/>
                    </a:lnTo>
                    <a:lnTo>
                      <a:pt x="528" y="72"/>
                    </a:lnTo>
                    <a:lnTo>
                      <a:pt x="526" y="72"/>
                    </a:lnTo>
                    <a:lnTo>
                      <a:pt x="526" y="72"/>
                    </a:lnTo>
                    <a:lnTo>
                      <a:pt x="523" y="72"/>
                    </a:lnTo>
                    <a:lnTo>
                      <a:pt x="523" y="72"/>
                    </a:lnTo>
                    <a:lnTo>
                      <a:pt x="528" y="73"/>
                    </a:lnTo>
                    <a:lnTo>
                      <a:pt x="528" y="73"/>
                    </a:lnTo>
                    <a:lnTo>
                      <a:pt x="531" y="73"/>
                    </a:lnTo>
                    <a:lnTo>
                      <a:pt x="531" y="73"/>
                    </a:lnTo>
                    <a:lnTo>
                      <a:pt x="528" y="77"/>
                    </a:lnTo>
                    <a:lnTo>
                      <a:pt x="526" y="77"/>
                    </a:lnTo>
                    <a:lnTo>
                      <a:pt x="526" y="77"/>
                    </a:lnTo>
                    <a:lnTo>
                      <a:pt x="526" y="77"/>
                    </a:lnTo>
                    <a:close/>
                    <a:moveTo>
                      <a:pt x="502" y="62"/>
                    </a:moveTo>
                    <a:lnTo>
                      <a:pt x="502" y="62"/>
                    </a:lnTo>
                    <a:lnTo>
                      <a:pt x="505" y="62"/>
                    </a:lnTo>
                    <a:lnTo>
                      <a:pt x="505" y="62"/>
                    </a:lnTo>
                    <a:lnTo>
                      <a:pt x="508" y="61"/>
                    </a:lnTo>
                    <a:lnTo>
                      <a:pt x="508" y="61"/>
                    </a:lnTo>
                    <a:lnTo>
                      <a:pt x="505" y="61"/>
                    </a:lnTo>
                    <a:lnTo>
                      <a:pt x="505" y="61"/>
                    </a:lnTo>
                    <a:lnTo>
                      <a:pt x="502" y="61"/>
                    </a:lnTo>
                    <a:lnTo>
                      <a:pt x="502" y="61"/>
                    </a:lnTo>
                    <a:lnTo>
                      <a:pt x="497" y="62"/>
                    </a:lnTo>
                    <a:lnTo>
                      <a:pt x="502" y="62"/>
                    </a:lnTo>
                    <a:lnTo>
                      <a:pt x="502" y="62"/>
                    </a:lnTo>
                    <a:lnTo>
                      <a:pt x="502" y="62"/>
                    </a:lnTo>
                    <a:close/>
                    <a:moveTo>
                      <a:pt x="534" y="56"/>
                    </a:moveTo>
                    <a:lnTo>
                      <a:pt x="534" y="56"/>
                    </a:lnTo>
                    <a:lnTo>
                      <a:pt x="543" y="54"/>
                    </a:lnTo>
                    <a:lnTo>
                      <a:pt x="543" y="54"/>
                    </a:lnTo>
                    <a:lnTo>
                      <a:pt x="547" y="54"/>
                    </a:lnTo>
                    <a:lnTo>
                      <a:pt x="547" y="54"/>
                    </a:lnTo>
                    <a:lnTo>
                      <a:pt x="551" y="51"/>
                    </a:lnTo>
                    <a:lnTo>
                      <a:pt x="551" y="51"/>
                    </a:lnTo>
                    <a:lnTo>
                      <a:pt x="548" y="51"/>
                    </a:lnTo>
                    <a:lnTo>
                      <a:pt x="548" y="51"/>
                    </a:lnTo>
                    <a:lnTo>
                      <a:pt x="547" y="51"/>
                    </a:lnTo>
                    <a:lnTo>
                      <a:pt x="547" y="51"/>
                    </a:lnTo>
                    <a:lnTo>
                      <a:pt x="548" y="50"/>
                    </a:lnTo>
                    <a:lnTo>
                      <a:pt x="548" y="50"/>
                    </a:lnTo>
                    <a:lnTo>
                      <a:pt x="550" y="50"/>
                    </a:lnTo>
                    <a:lnTo>
                      <a:pt x="550" y="50"/>
                    </a:lnTo>
                    <a:lnTo>
                      <a:pt x="555" y="50"/>
                    </a:lnTo>
                    <a:lnTo>
                      <a:pt x="555" y="50"/>
                    </a:lnTo>
                    <a:lnTo>
                      <a:pt x="561" y="48"/>
                    </a:lnTo>
                    <a:lnTo>
                      <a:pt x="561" y="48"/>
                    </a:lnTo>
                    <a:lnTo>
                      <a:pt x="556" y="48"/>
                    </a:lnTo>
                    <a:lnTo>
                      <a:pt x="556" y="48"/>
                    </a:lnTo>
                    <a:lnTo>
                      <a:pt x="553" y="48"/>
                    </a:lnTo>
                    <a:lnTo>
                      <a:pt x="553" y="48"/>
                    </a:lnTo>
                    <a:lnTo>
                      <a:pt x="543" y="48"/>
                    </a:lnTo>
                    <a:lnTo>
                      <a:pt x="543" y="48"/>
                    </a:lnTo>
                    <a:lnTo>
                      <a:pt x="532" y="50"/>
                    </a:lnTo>
                    <a:lnTo>
                      <a:pt x="532" y="50"/>
                    </a:lnTo>
                    <a:lnTo>
                      <a:pt x="526" y="51"/>
                    </a:lnTo>
                    <a:lnTo>
                      <a:pt x="526" y="51"/>
                    </a:lnTo>
                    <a:lnTo>
                      <a:pt x="524" y="51"/>
                    </a:lnTo>
                    <a:lnTo>
                      <a:pt x="524" y="51"/>
                    </a:lnTo>
                    <a:lnTo>
                      <a:pt x="524" y="54"/>
                    </a:lnTo>
                    <a:lnTo>
                      <a:pt x="524" y="54"/>
                    </a:lnTo>
                    <a:lnTo>
                      <a:pt x="528" y="56"/>
                    </a:lnTo>
                    <a:lnTo>
                      <a:pt x="534" y="56"/>
                    </a:lnTo>
                    <a:lnTo>
                      <a:pt x="534" y="56"/>
                    </a:lnTo>
                    <a:lnTo>
                      <a:pt x="534" y="56"/>
                    </a:lnTo>
                    <a:close/>
                    <a:moveTo>
                      <a:pt x="564" y="80"/>
                    </a:moveTo>
                    <a:lnTo>
                      <a:pt x="564" y="80"/>
                    </a:lnTo>
                    <a:lnTo>
                      <a:pt x="567" y="80"/>
                    </a:lnTo>
                    <a:lnTo>
                      <a:pt x="567" y="80"/>
                    </a:lnTo>
                    <a:lnTo>
                      <a:pt x="567" y="77"/>
                    </a:lnTo>
                    <a:lnTo>
                      <a:pt x="567" y="77"/>
                    </a:lnTo>
                    <a:lnTo>
                      <a:pt x="564" y="77"/>
                    </a:lnTo>
                    <a:lnTo>
                      <a:pt x="564" y="77"/>
                    </a:lnTo>
                    <a:lnTo>
                      <a:pt x="561" y="77"/>
                    </a:lnTo>
                    <a:lnTo>
                      <a:pt x="561" y="77"/>
                    </a:lnTo>
                    <a:lnTo>
                      <a:pt x="556" y="80"/>
                    </a:lnTo>
                    <a:lnTo>
                      <a:pt x="556" y="80"/>
                    </a:lnTo>
                    <a:lnTo>
                      <a:pt x="558" y="81"/>
                    </a:lnTo>
                    <a:lnTo>
                      <a:pt x="558" y="81"/>
                    </a:lnTo>
                    <a:lnTo>
                      <a:pt x="559" y="81"/>
                    </a:lnTo>
                    <a:lnTo>
                      <a:pt x="564" y="80"/>
                    </a:lnTo>
                    <a:lnTo>
                      <a:pt x="564" y="80"/>
                    </a:lnTo>
                    <a:lnTo>
                      <a:pt x="564" y="80"/>
                    </a:lnTo>
                    <a:close/>
                    <a:moveTo>
                      <a:pt x="540" y="45"/>
                    </a:moveTo>
                    <a:lnTo>
                      <a:pt x="540" y="45"/>
                    </a:lnTo>
                    <a:lnTo>
                      <a:pt x="547" y="45"/>
                    </a:lnTo>
                    <a:lnTo>
                      <a:pt x="547" y="45"/>
                    </a:lnTo>
                    <a:lnTo>
                      <a:pt x="548" y="45"/>
                    </a:lnTo>
                    <a:lnTo>
                      <a:pt x="548" y="45"/>
                    </a:lnTo>
                    <a:lnTo>
                      <a:pt x="551" y="45"/>
                    </a:lnTo>
                    <a:lnTo>
                      <a:pt x="551" y="45"/>
                    </a:lnTo>
                    <a:lnTo>
                      <a:pt x="555" y="45"/>
                    </a:lnTo>
                    <a:lnTo>
                      <a:pt x="555" y="45"/>
                    </a:lnTo>
                    <a:lnTo>
                      <a:pt x="558" y="45"/>
                    </a:lnTo>
                    <a:lnTo>
                      <a:pt x="558" y="45"/>
                    </a:lnTo>
                    <a:lnTo>
                      <a:pt x="562" y="45"/>
                    </a:lnTo>
                    <a:lnTo>
                      <a:pt x="562" y="45"/>
                    </a:lnTo>
                    <a:lnTo>
                      <a:pt x="564" y="45"/>
                    </a:lnTo>
                    <a:lnTo>
                      <a:pt x="564" y="45"/>
                    </a:lnTo>
                    <a:lnTo>
                      <a:pt x="567" y="45"/>
                    </a:lnTo>
                    <a:lnTo>
                      <a:pt x="567" y="45"/>
                    </a:lnTo>
                    <a:lnTo>
                      <a:pt x="570" y="42"/>
                    </a:lnTo>
                    <a:lnTo>
                      <a:pt x="570" y="42"/>
                    </a:lnTo>
                    <a:lnTo>
                      <a:pt x="567" y="42"/>
                    </a:lnTo>
                    <a:lnTo>
                      <a:pt x="567" y="42"/>
                    </a:lnTo>
                    <a:lnTo>
                      <a:pt x="562" y="42"/>
                    </a:lnTo>
                    <a:lnTo>
                      <a:pt x="562" y="42"/>
                    </a:lnTo>
                    <a:lnTo>
                      <a:pt x="550" y="42"/>
                    </a:lnTo>
                    <a:lnTo>
                      <a:pt x="550" y="42"/>
                    </a:lnTo>
                    <a:lnTo>
                      <a:pt x="543" y="45"/>
                    </a:lnTo>
                    <a:lnTo>
                      <a:pt x="543" y="45"/>
                    </a:lnTo>
                    <a:lnTo>
                      <a:pt x="537" y="45"/>
                    </a:lnTo>
                    <a:lnTo>
                      <a:pt x="537" y="45"/>
                    </a:lnTo>
                    <a:lnTo>
                      <a:pt x="537" y="45"/>
                    </a:lnTo>
                    <a:lnTo>
                      <a:pt x="540" y="45"/>
                    </a:lnTo>
                    <a:lnTo>
                      <a:pt x="540" y="45"/>
                    </a:lnTo>
                    <a:lnTo>
                      <a:pt x="540" y="45"/>
                    </a:lnTo>
                    <a:close/>
                    <a:moveTo>
                      <a:pt x="529" y="153"/>
                    </a:moveTo>
                    <a:lnTo>
                      <a:pt x="529" y="153"/>
                    </a:lnTo>
                    <a:lnTo>
                      <a:pt x="532" y="154"/>
                    </a:lnTo>
                    <a:lnTo>
                      <a:pt x="532" y="154"/>
                    </a:lnTo>
                    <a:lnTo>
                      <a:pt x="534" y="154"/>
                    </a:lnTo>
                    <a:lnTo>
                      <a:pt x="534" y="154"/>
                    </a:lnTo>
                    <a:lnTo>
                      <a:pt x="535" y="156"/>
                    </a:lnTo>
                    <a:lnTo>
                      <a:pt x="535" y="156"/>
                    </a:lnTo>
                    <a:lnTo>
                      <a:pt x="537" y="156"/>
                    </a:lnTo>
                    <a:lnTo>
                      <a:pt x="537" y="156"/>
                    </a:lnTo>
                    <a:lnTo>
                      <a:pt x="540" y="158"/>
                    </a:lnTo>
                    <a:lnTo>
                      <a:pt x="540" y="158"/>
                    </a:lnTo>
                    <a:lnTo>
                      <a:pt x="540" y="158"/>
                    </a:lnTo>
                    <a:lnTo>
                      <a:pt x="540" y="158"/>
                    </a:lnTo>
                    <a:lnTo>
                      <a:pt x="547" y="159"/>
                    </a:lnTo>
                    <a:lnTo>
                      <a:pt x="547" y="159"/>
                    </a:lnTo>
                    <a:lnTo>
                      <a:pt x="550" y="158"/>
                    </a:lnTo>
                    <a:lnTo>
                      <a:pt x="550" y="158"/>
                    </a:lnTo>
                    <a:lnTo>
                      <a:pt x="555" y="156"/>
                    </a:lnTo>
                    <a:lnTo>
                      <a:pt x="555" y="156"/>
                    </a:lnTo>
                    <a:lnTo>
                      <a:pt x="559" y="154"/>
                    </a:lnTo>
                    <a:lnTo>
                      <a:pt x="559" y="154"/>
                    </a:lnTo>
                    <a:lnTo>
                      <a:pt x="562" y="154"/>
                    </a:lnTo>
                    <a:lnTo>
                      <a:pt x="562" y="154"/>
                    </a:lnTo>
                    <a:lnTo>
                      <a:pt x="562" y="153"/>
                    </a:lnTo>
                    <a:lnTo>
                      <a:pt x="562" y="153"/>
                    </a:lnTo>
                    <a:lnTo>
                      <a:pt x="561" y="153"/>
                    </a:lnTo>
                    <a:lnTo>
                      <a:pt x="561" y="153"/>
                    </a:lnTo>
                    <a:lnTo>
                      <a:pt x="558" y="153"/>
                    </a:lnTo>
                    <a:lnTo>
                      <a:pt x="558" y="153"/>
                    </a:lnTo>
                    <a:lnTo>
                      <a:pt x="559" y="150"/>
                    </a:lnTo>
                    <a:lnTo>
                      <a:pt x="559" y="150"/>
                    </a:lnTo>
                    <a:lnTo>
                      <a:pt x="558" y="150"/>
                    </a:lnTo>
                    <a:lnTo>
                      <a:pt x="558" y="150"/>
                    </a:lnTo>
                    <a:lnTo>
                      <a:pt x="558" y="148"/>
                    </a:lnTo>
                    <a:lnTo>
                      <a:pt x="558" y="148"/>
                    </a:lnTo>
                    <a:lnTo>
                      <a:pt x="558" y="146"/>
                    </a:lnTo>
                    <a:lnTo>
                      <a:pt x="558" y="146"/>
                    </a:lnTo>
                    <a:lnTo>
                      <a:pt x="555" y="145"/>
                    </a:lnTo>
                    <a:lnTo>
                      <a:pt x="555" y="145"/>
                    </a:lnTo>
                    <a:lnTo>
                      <a:pt x="553" y="143"/>
                    </a:lnTo>
                    <a:lnTo>
                      <a:pt x="553" y="143"/>
                    </a:lnTo>
                    <a:lnTo>
                      <a:pt x="553" y="142"/>
                    </a:lnTo>
                    <a:lnTo>
                      <a:pt x="553" y="142"/>
                    </a:lnTo>
                    <a:lnTo>
                      <a:pt x="551" y="142"/>
                    </a:lnTo>
                    <a:lnTo>
                      <a:pt x="551" y="142"/>
                    </a:lnTo>
                    <a:lnTo>
                      <a:pt x="547" y="142"/>
                    </a:lnTo>
                    <a:lnTo>
                      <a:pt x="547" y="142"/>
                    </a:lnTo>
                    <a:lnTo>
                      <a:pt x="543" y="143"/>
                    </a:lnTo>
                    <a:lnTo>
                      <a:pt x="543" y="143"/>
                    </a:lnTo>
                    <a:lnTo>
                      <a:pt x="543" y="143"/>
                    </a:lnTo>
                    <a:lnTo>
                      <a:pt x="543" y="143"/>
                    </a:lnTo>
                    <a:lnTo>
                      <a:pt x="543" y="145"/>
                    </a:lnTo>
                    <a:lnTo>
                      <a:pt x="543" y="145"/>
                    </a:lnTo>
                    <a:lnTo>
                      <a:pt x="540" y="145"/>
                    </a:lnTo>
                    <a:lnTo>
                      <a:pt x="540" y="145"/>
                    </a:lnTo>
                    <a:lnTo>
                      <a:pt x="537" y="146"/>
                    </a:lnTo>
                    <a:lnTo>
                      <a:pt x="537" y="146"/>
                    </a:lnTo>
                    <a:lnTo>
                      <a:pt x="540" y="148"/>
                    </a:lnTo>
                    <a:lnTo>
                      <a:pt x="540" y="148"/>
                    </a:lnTo>
                    <a:lnTo>
                      <a:pt x="532" y="148"/>
                    </a:lnTo>
                    <a:lnTo>
                      <a:pt x="532" y="148"/>
                    </a:lnTo>
                    <a:lnTo>
                      <a:pt x="529" y="150"/>
                    </a:lnTo>
                    <a:lnTo>
                      <a:pt x="529" y="150"/>
                    </a:lnTo>
                    <a:lnTo>
                      <a:pt x="526" y="151"/>
                    </a:lnTo>
                    <a:lnTo>
                      <a:pt x="526" y="151"/>
                    </a:lnTo>
                    <a:lnTo>
                      <a:pt x="524" y="153"/>
                    </a:lnTo>
                    <a:lnTo>
                      <a:pt x="524" y="153"/>
                    </a:lnTo>
                    <a:lnTo>
                      <a:pt x="526" y="153"/>
                    </a:lnTo>
                    <a:lnTo>
                      <a:pt x="529" y="153"/>
                    </a:lnTo>
                    <a:lnTo>
                      <a:pt x="529" y="153"/>
                    </a:lnTo>
                    <a:lnTo>
                      <a:pt x="529" y="153"/>
                    </a:lnTo>
                    <a:close/>
                    <a:moveTo>
                      <a:pt x="13" y="351"/>
                    </a:moveTo>
                    <a:lnTo>
                      <a:pt x="13" y="351"/>
                    </a:lnTo>
                    <a:lnTo>
                      <a:pt x="16" y="348"/>
                    </a:lnTo>
                    <a:lnTo>
                      <a:pt x="16" y="348"/>
                    </a:lnTo>
                    <a:lnTo>
                      <a:pt x="23" y="345"/>
                    </a:lnTo>
                    <a:lnTo>
                      <a:pt x="23" y="345"/>
                    </a:lnTo>
                    <a:lnTo>
                      <a:pt x="18" y="345"/>
                    </a:lnTo>
                    <a:lnTo>
                      <a:pt x="18" y="345"/>
                    </a:lnTo>
                    <a:lnTo>
                      <a:pt x="15" y="348"/>
                    </a:lnTo>
                    <a:lnTo>
                      <a:pt x="15" y="348"/>
                    </a:lnTo>
                    <a:lnTo>
                      <a:pt x="15" y="345"/>
                    </a:lnTo>
                    <a:lnTo>
                      <a:pt x="15" y="345"/>
                    </a:lnTo>
                    <a:lnTo>
                      <a:pt x="13" y="345"/>
                    </a:lnTo>
                    <a:lnTo>
                      <a:pt x="13" y="345"/>
                    </a:lnTo>
                    <a:lnTo>
                      <a:pt x="10" y="348"/>
                    </a:lnTo>
                    <a:lnTo>
                      <a:pt x="10" y="348"/>
                    </a:lnTo>
                    <a:lnTo>
                      <a:pt x="13" y="345"/>
                    </a:lnTo>
                    <a:lnTo>
                      <a:pt x="13" y="345"/>
                    </a:lnTo>
                    <a:lnTo>
                      <a:pt x="10" y="345"/>
                    </a:lnTo>
                    <a:lnTo>
                      <a:pt x="10" y="345"/>
                    </a:lnTo>
                    <a:lnTo>
                      <a:pt x="7" y="345"/>
                    </a:lnTo>
                    <a:lnTo>
                      <a:pt x="7" y="345"/>
                    </a:lnTo>
                    <a:lnTo>
                      <a:pt x="4" y="348"/>
                    </a:lnTo>
                    <a:lnTo>
                      <a:pt x="4" y="348"/>
                    </a:lnTo>
                    <a:lnTo>
                      <a:pt x="4" y="351"/>
                    </a:lnTo>
                    <a:lnTo>
                      <a:pt x="4" y="351"/>
                    </a:lnTo>
                    <a:lnTo>
                      <a:pt x="2" y="351"/>
                    </a:lnTo>
                    <a:lnTo>
                      <a:pt x="2" y="351"/>
                    </a:lnTo>
                    <a:lnTo>
                      <a:pt x="4" y="354"/>
                    </a:lnTo>
                    <a:lnTo>
                      <a:pt x="4" y="354"/>
                    </a:lnTo>
                    <a:lnTo>
                      <a:pt x="4" y="354"/>
                    </a:lnTo>
                    <a:lnTo>
                      <a:pt x="4" y="354"/>
                    </a:lnTo>
                    <a:lnTo>
                      <a:pt x="4" y="354"/>
                    </a:lnTo>
                    <a:lnTo>
                      <a:pt x="4" y="354"/>
                    </a:lnTo>
                    <a:lnTo>
                      <a:pt x="2" y="356"/>
                    </a:lnTo>
                    <a:lnTo>
                      <a:pt x="2" y="356"/>
                    </a:lnTo>
                    <a:lnTo>
                      <a:pt x="2" y="358"/>
                    </a:lnTo>
                    <a:lnTo>
                      <a:pt x="2" y="358"/>
                    </a:lnTo>
                    <a:lnTo>
                      <a:pt x="7" y="356"/>
                    </a:lnTo>
                    <a:lnTo>
                      <a:pt x="7" y="356"/>
                    </a:lnTo>
                    <a:lnTo>
                      <a:pt x="13" y="351"/>
                    </a:lnTo>
                    <a:lnTo>
                      <a:pt x="13" y="351"/>
                    </a:lnTo>
                    <a:close/>
                    <a:moveTo>
                      <a:pt x="421" y="72"/>
                    </a:moveTo>
                    <a:lnTo>
                      <a:pt x="421" y="72"/>
                    </a:lnTo>
                    <a:lnTo>
                      <a:pt x="423" y="72"/>
                    </a:lnTo>
                    <a:lnTo>
                      <a:pt x="423" y="72"/>
                    </a:lnTo>
                    <a:lnTo>
                      <a:pt x="428" y="70"/>
                    </a:lnTo>
                    <a:lnTo>
                      <a:pt x="428" y="70"/>
                    </a:lnTo>
                    <a:lnTo>
                      <a:pt x="429" y="72"/>
                    </a:lnTo>
                    <a:lnTo>
                      <a:pt x="429" y="72"/>
                    </a:lnTo>
                    <a:lnTo>
                      <a:pt x="432" y="72"/>
                    </a:lnTo>
                    <a:lnTo>
                      <a:pt x="432" y="72"/>
                    </a:lnTo>
                    <a:lnTo>
                      <a:pt x="435" y="70"/>
                    </a:lnTo>
                    <a:lnTo>
                      <a:pt x="435" y="70"/>
                    </a:lnTo>
                    <a:lnTo>
                      <a:pt x="437" y="69"/>
                    </a:lnTo>
                    <a:lnTo>
                      <a:pt x="437" y="69"/>
                    </a:lnTo>
                    <a:lnTo>
                      <a:pt x="437" y="70"/>
                    </a:lnTo>
                    <a:lnTo>
                      <a:pt x="437" y="70"/>
                    </a:lnTo>
                    <a:lnTo>
                      <a:pt x="435" y="72"/>
                    </a:lnTo>
                    <a:lnTo>
                      <a:pt x="435" y="72"/>
                    </a:lnTo>
                    <a:lnTo>
                      <a:pt x="437" y="72"/>
                    </a:lnTo>
                    <a:lnTo>
                      <a:pt x="437" y="72"/>
                    </a:lnTo>
                    <a:lnTo>
                      <a:pt x="439" y="73"/>
                    </a:lnTo>
                    <a:lnTo>
                      <a:pt x="439" y="73"/>
                    </a:lnTo>
                    <a:lnTo>
                      <a:pt x="442" y="72"/>
                    </a:lnTo>
                    <a:lnTo>
                      <a:pt x="442" y="72"/>
                    </a:lnTo>
                    <a:lnTo>
                      <a:pt x="445" y="70"/>
                    </a:lnTo>
                    <a:lnTo>
                      <a:pt x="445" y="70"/>
                    </a:lnTo>
                    <a:lnTo>
                      <a:pt x="447" y="69"/>
                    </a:lnTo>
                    <a:lnTo>
                      <a:pt x="447" y="69"/>
                    </a:lnTo>
                    <a:lnTo>
                      <a:pt x="450" y="67"/>
                    </a:lnTo>
                    <a:lnTo>
                      <a:pt x="450" y="67"/>
                    </a:lnTo>
                    <a:lnTo>
                      <a:pt x="448" y="70"/>
                    </a:lnTo>
                    <a:lnTo>
                      <a:pt x="448" y="70"/>
                    </a:lnTo>
                    <a:lnTo>
                      <a:pt x="451" y="70"/>
                    </a:lnTo>
                    <a:lnTo>
                      <a:pt x="451" y="70"/>
                    </a:lnTo>
                    <a:lnTo>
                      <a:pt x="453" y="69"/>
                    </a:lnTo>
                    <a:lnTo>
                      <a:pt x="453" y="69"/>
                    </a:lnTo>
                    <a:lnTo>
                      <a:pt x="456" y="67"/>
                    </a:lnTo>
                    <a:lnTo>
                      <a:pt x="456" y="67"/>
                    </a:lnTo>
                    <a:lnTo>
                      <a:pt x="459" y="67"/>
                    </a:lnTo>
                    <a:lnTo>
                      <a:pt x="459" y="67"/>
                    </a:lnTo>
                    <a:lnTo>
                      <a:pt x="458" y="65"/>
                    </a:lnTo>
                    <a:lnTo>
                      <a:pt x="458" y="65"/>
                    </a:lnTo>
                    <a:lnTo>
                      <a:pt x="462" y="65"/>
                    </a:lnTo>
                    <a:lnTo>
                      <a:pt x="462" y="65"/>
                    </a:lnTo>
                    <a:lnTo>
                      <a:pt x="466" y="64"/>
                    </a:lnTo>
                    <a:lnTo>
                      <a:pt x="466" y="64"/>
                    </a:lnTo>
                    <a:lnTo>
                      <a:pt x="467" y="62"/>
                    </a:lnTo>
                    <a:lnTo>
                      <a:pt x="467" y="62"/>
                    </a:lnTo>
                    <a:lnTo>
                      <a:pt x="470" y="62"/>
                    </a:lnTo>
                    <a:lnTo>
                      <a:pt x="470" y="62"/>
                    </a:lnTo>
                    <a:lnTo>
                      <a:pt x="467" y="64"/>
                    </a:lnTo>
                    <a:lnTo>
                      <a:pt x="467" y="64"/>
                    </a:lnTo>
                    <a:lnTo>
                      <a:pt x="464" y="67"/>
                    </a:lnTo>
                    <a:lnTo>
                      <a:pt x="464" y="67"/>
                    </a:lnTo>
                    <a:lnTo>
                      <a:pt x="467" y="67"/>
                    </a:lnTo>
                    <a:lnTo>
                      <a:pt x="467" y="67"/>
                    </a:lnTo>
                    <a:lnTo>
                      <a:pt x="470" y="67"/>
                    </a:lnTo>
                    <a:lnTo>
                      <a:pt x="470" y="67"/>
                    </a:lnTo>
                    <a:lnTo>
                      <a:pt x="474" y="65"/>
                    </a:lnTo>
                    <a:lnTo>
                      <a:pt x="474" y="65"/>
                    </a:lnTo>
                    <a:lnTo>
                      <a:pt x="477" y="64"/>
                    </a:lnTo>
                    <a:lnTo>
                      <a:pt x="477" y="64"/>
                    </a:lnTo>
                    <a:lnTo>
                      <a:pt x="483" y="64"/>
                    </a:lnTo>
                    <a:lnTo>
                      <a:pt x="483" y="64"/>
                    </a:lnTo>
                    <a:lnTo>
                      <a:pt x="486" y="62"/>
                    </a:lnTo>
                    <a:lnTo>
                      <a:pt x="486" y="62"/>
                    </a:lnTo>
                    <a:lnTo>
                      <a:pt x="488" y="62"/>
                    </a:lnTo>
                    <a:lnTo>
                      <a:pt x="488" y="62"/>
                    </a:lnTo>
                    <a:lnTo>
                      <a:pt x="486" y="61"/>
                    </a:lnTo>
                    <a:lnTo>
                      <a:pt x="486" y="61"/>
                    </a:lnTo>
                    <a:lnTo>
                      <a:pt x="489" y="61"/>
                    </a:lnTo>
                    <a:lnTo>
                      <a:pt x="489" y="61"/>
                    </a:lnTo>
                    <a:lnTo>
                      <a:pt x="491" y="61"/>
                    </a:lnTo>
                    <a:lnTo>
                      <a:pt x="491" y="61"/>
                    </a:lnTo>
                    <a:lnTo>
                      <a:pt x="489" y="58"/>
                    </a:lnTo>
                    <a:lnTo>
                      <a:pt x="489" y="58"/>
                    </a:lnTo>
                    <a:lnTo>
                      <a:pt x="496" y="58"/>
                    </a:lnTo>
                    <a:lnTo>
                      <a:pt x="496" y="58"/>
                    </a:lnTo>
                    <a:lnTo>
                      <a:pt x="501" y="56"/>
                    </a:lnTo>
                    <a:lnTo>
                      <a:pt x="501" y="56"/>
                    </a:lnTo>
                    <a:lnTo>
                      <a:pt x="499" y="54"/>
                    </a:lnTo>
                    <a:lnTo>
                      <a:pt x="499" y="54"/>
                    </a:lnTo>
                    <a:lnTo>
                      <a:pt x="496" y="54"/>
                    </a:lnTo>
                    <a:lnTo>
                      <a:pt x="496" y="54"/>
                    </a:lnTo>
                    <a:lnTo>
                      <a:pt x="489" y="54"/>
                    </a:lnTo>
                    <a:lnTo>
                      <a:pt x="489" y="54"/>
                    </a:lnTo>
                    <a:lnTo>
                      <a:pt x="491" y="56"/>
                    </a:lnTo>
                    <a:lnTo>
                      <a:pt x="491" y="56"/>
                    </a:lnTo>
                    <a:lnTo>
                      <a:pt x="488" y="56"/>
                    </a:lnTo>
                    <a:lnTo>
                      <a:pt x="488" y="56"/>
                    </a:lnTo>
                    <a:lnTo>
                      <a:pt x="485" y="56"/>
                    </a:lnTo>
                    <a:lnTo>
                      <a:pt x="485" y="56"/>
                    </a:lnTo>
                    <a:lnTo>
                      <a:pt x="477" y="56"/>
                    </a:lnTo>
                    <a:lnTo>
                      <a:pt x="477" y="56"/>
                    </a:lnTo>
                    <a:lnTo>
                      <a:pt x="466" y="58"/>
                    </a:lnTo>
                    <a:lnTo>
                      <a:pt x="466" y="58"/>
                    </a:lnTo>
                    <a:lnTo>
                      <a:pt x="455" y="61"/>
                    </a:lnTo>
                    <a:lnTo>
                      <a:pt x="455" y="61"/>
                    </a:lnTo>
                    <a:lnTo>
                      <a:pt x="437" y="65"/>
                    </a:lnTo>
                    <a:lnTo>
                      <a:pt x="437" y="65"/>
                    </a:lnTo>
                    <a:lnTo>
                      <a:pt x="428" y="67"/>
                    </a:lnTo>
                    <a:lnTo>
                      <a:pt x="428" y="67"/>
                    </a:lnTo>
                    <a:lnTo>
                      <a:pt x="421" y="69"/>
                    </a:lnTo>
                    <a:lnTo>
                      <a:pt x="421" y="69"/>
                    </a:lnTo>
                    <a:lnTo>
                      <a:pt x="421" y="70"/>
                    </a:lnTo>
                    <a:lnTo>
                      <a:pt x="421" y="70"/>
                    </a:lnTo>
                    <a:lnTo>
                      <a:pt x="421" y="70"/>
                    </a:lnTo>
                    <a:lnTo>
                      <a:pt x="421" y="70"/>
                    </a:lnTo>
                    <a:lnTo>
                      <a:pt x="418" y="72"/>
                    </a:lnTo>
                    <a:lnTo>
                      <a:pt x="421" y="72"/>
                    </a:lnTo>
                    <a:lnTo>
                      <a:pt x="421" y="72"/>
                    </a:lnTo>
                    <a:lnTo>
                      <a:pt x="421" y="72"/>
                    </a:lnTo>
                    <a:close/>
                    <a:moveTo>
                      <a:pt x="42" y="362"/>
                    </a:moveTo>
                    <a:lnTo>
                      <a:pt x="42" y="362"/>
                    </a:lnTo>
                    <a:lnTo>
                      <a:pt x="42" y="361"/>
                    </a:lnTo>
                    <a:lnTo>
                      <a:pt x="42" y="361"/>
                    </a:lnTo>
                    <a:lnTo>
                      <a:pt x="39" y="364"/>
                    </a:lnTo>
                    <a:lnTo>
                      <a:pt x="42" y="362"/>
                    </a:lnTo>
                    <a:lnTo>
                      <a:pt x="42" y="362"/>
                    </a:lnTo>
                    <a:lnTo>
                      <a:pt x="42" y="362"/>
                    </a:lnTo>
                    <a:close/>
                    <a:moveTo>
                      <a:pt x="29" y="358"/>
                    </a:moveTo>
                    <a:lnTo>
                      <a:pt x="29" y="358"/>
                    </a:lnTo>
                    <a:lnTo>
                      <a:pt x="32" y="356"/>
                    </a:lnTo>
                    <a:lnTo>
                      <a:pt x="32" y="356"/>
                    </a:lnTo>
                    <a:lnTo>
                      <a:pt x="32" y="354"/>
                    </a:lnTo>
                    <a:lnTo>
                      <a:pt x="32" y="354"/>
                    </a:lnTo>
                    <a:lnTo>
                      <a:pt x="31" y="351"/>
                    </a:lnTo>
                    <a:lnTo>
                      <a:pt x="31" y="351"/>
                    </a:lnTo>
                    <a:lnTo>
                      <a:pt x="29" y="351"/>
                    </a:lnTo>
                    <a:lnTo>
                      <a:pt x="29" y="351"/>
                    </a:lnTo>
                    <a:lnTo>
                      <a:pt x="27" y="351"/>
                    </a:lnTo>
                    <a:lnTo>
                      <a:pt x="27" y="351"/>
                    </a:lnTo>
                    <a:lnTo>
                      <a:pt x="29" y="354"/>
                    </a:lnTo>
                    <a:lnTo>
                      <a:pt x="29" y="354"/>
                    </a:lnTo>
                    <a:lnTo>
                      <a:pt x="29" y="356"/>
                    </a:lnTo>
                    <a:lnTo>
                      <a:pt x="29" y="358"/>
                    </a:lnTo>
                    <a:lnTo>
                      <a:pt x="29" y="358"/>
                    </a:lnTo>
                    <a:lnTo>
                      <a:pt x="29" y="358"/>
                    </a:lnTo>
                    <a:close/>
                    <a:moveTo>
                      <a:pt x="332" y="116"/>
                    </a:moveTo>
                    <a:lnTo>
                      <a:pt x="332" y="116"/>
                    </a:lnTo>
                    <a:lnTo>
                      <a:pt x="332" y="118"/>
                    </a:lnTo>
                    <a:lnTo>
                      <a:pt x="332" y="118"/>
                    </a:lnTo>
                    <a:lnTo>
                      <a:pt x="335" y="118"/>
                    </a:lnTo>
                    <a:lnTo>
                      <a:pt x="335" y="118"/>
                    </a:lnTo>
                    <a:lnTo>
                      <a:pt x="337" y="119"/>
                    </a:lnTo>
                    <a:lnTo>
                      <a:pt x="337" y="119"/>
                    </a:lnTo>
                    <a:lnTo>
                      <a:pt x="339" y="121"/>
                    </a:lnTo>
                    <a:lnTo>
                      <a:pt x="339" y="121"/>
                    </a:lnTo>
                    <a:lnTo>
                      <a:pt x="337" y="124"/>
                    </a:lnTo>
                    <a:lnTo>
                      <a:pt x="337" y="124"/>
                    </a:lnTo>
                    <a:lnTo>
                      <a:pt x="337" y="126"/>
                    </a:lnTo>
                    <a:lnTo>
                      <a:pt x="337" y="126"/>
                    </a:lnTo>
                    <a:lnTo>
                      <a:pt x="339" y="127"/>
                    </a:lnTo>
                    <a:lnTo>
                      <a:pt x="339" y="127"/>
                    </a:lnTo>
                    <a:lnTo>
                      <a:pt x="342" y="127"/>
                    </a:lnTo>
                    <a:lnTo>
                      <a:pt x="342" y="127"/>
                    </a:lnTo>
                    <a:lnTo>
                      <a:pt x="345" y="126"/>
                    </a:lnTo>
                    <a:lnTo>
                      <a:pt x="345" y="126"/>
                    </a:lnTo>
                    <a:lnTo>
                      <a:pt x="354" y="123"/>
                    </a:lnTo>
                    <a:lnTo>
                      <a:pt x="354" y="123"/>
                    </a:lnTo>
                    <a:lnTo>
                      <a:pt x="358" y="123"/>
                    </a:lnTo>
                    <a:lnTo>
                      <a:pt x="358" y="123"/>
                    </a:lnTo>
                    <a:lnTo>
                      <a:pt x="362" y="123"/>
                    </a:lnTo>
                    <a:lnTo>
                      <a:pt x="362" y="123"/>
                    </a:lnTo>
                    <a:lnTo>
                      <a:pt x="367" y="121"/>
                    </a:lnTo>
                    <a:lnTo>
                      <a:pt x="367" y="121"/>
                    </a:lnTo>
                    <a:lnTo>
                      <a:pt x="372" y="118"/>
                    </a:lnTo>
                    <a:lnTo>
                      <a:pt x="372" y="118"/>
                    </a:lnTo>
                    <a:lnTo>
                      <a:pt x="377" y="115"/>
                    </a:lnTo>
                    <a:lnTo>
                      <a:pt x="377" y="115"/>
                    </a:lnTo>
                    <a:lnTo>
                      <a:pt x="383" y="113"/>
                    </a:lnTo>
                    <a:lnTo>
                      <a:pt x="383" y="113"/>
                    </a:lnTo>
                    <a:lnTo>
                      <a:pt x="389" y="111"/>
                    </a:lnTo>
                    <a:lnTo>
                      <a:pt x="389" y="111"/>
                    </a:lnTo>
                    <a:lnTo>
                      <a:pt x="393" y="110"/>
                    </a:lnTo>
                    <a:lnTo>
                      <a:pt x="393" y="110"/>
                    </a:lnTo>
                    <a:lnTo>
                      <a:pt x="399" y="107"/>
                    </a:lnTo>
                    <a:lnTo>
                      <a:pt x="399" y="107"/>
                    </a:lnTo>
                    <a:lnTo>
                      <a:pt x="405" y="107"/>
                    </a:lnTo>
                    <a:lnTo>
                      <a:pt x="405" y="107"/>
                    </a:lnTo>
                    <a:lnTo>
                      <a:pt x="410" y="104"/>
                    </a:lnTo>
                    <a:lnTo>
                      <a:pt x="410" y="104"/>
                    </a:lnTo>
                    <a:lnTo>
                      <a:pt x="415" y="104"/>
                    </a:lnTo>
                    <a:lnTo>
                      <a:pt x="415" y="104"/>
                    </a:lnTo>
                    <a:lnTo>
                      <a:pt x="428" y="100"/>
                    </a:lnTo>
                    <a:lnTo>
                      <a:pt x="428" y="100"/>
                    </a:lnTo>
                    <a:lnTo>
                      <a:pt x="439" y="100"/>
                    </a:lnTo>
                    <a:lnTo>
                      <a:pt x="439" y="100"/>
                    </a:lnTo>
                    <a:lnTo>
                      <a:pt x="442" y="97"/>
                    </a:lnTo>
                    <a:lnTo>
                      <a:pt x="442" y="97"/>
                    </a:lnTo>
                    <a:lnTo>
                      <a:pt x="442" y="97"/>
                    </a:lnTo>
                    <a:lnTo>
                      <a:pt x="442" y="97"/>
                    </a:lnTo>
                    <a:lnTo>
                      <a:pt x="439" y="94"/>
                    </a:lnTo>
                    <a:lnTo>
                      <a:pt x="439" y="94"/>
                    </a:lnTo>
                    <a:lnTo>
                      <a:pt x="437" y="92"/>
                    </a:lnTo>
                    <a:lnTo>
                      <a:pt x="437" y="92"/>
                    </a:lnTo>
                    <a:lnTo>
                      <a:pt x="435" y="91"/>
                    </a:lnTo>
                    <a:lnTo>
                      <a:pt x="435" y="91"/>
                    </a:lnTo>
                    <a:lnTo>
                      <a:pt x="432" y="89"/>
                    </a:lnTo>
                    <a:lnTo>
                      <a:pt x="432" y="89"/>
                    </a:lnTo>
                    <a:lnTo>
                      <a:pt x="428" y="89"/>
                    </a:lnTo>
                    <a:lnTo>
                      <a:pt x="428" y="89"/>
                    </a:lnTo>
                    <a:lnTo>
                      <a:pt x="421" y="91"/>
                    </a:lnTo>
                    <a:lnTo>
                      <a:pt x="421" y="91"/>
                    </a:lnTo>
                    <a:lnTo>
                      <a:pt x="420" y="91"/>
                    </a:lnTo>
                    <a:lnTo>
                      <a:pt x="420" y="91"/>
                    </a:lnTo>
                    <a:lnTo>
                      <a:pt x="421" y="91"/>
                    </a:lnTo>
                    <a:lnTo>
                      <a:pt x="421" y="91"/>
                    </a:lnTo>
                    <a:lnTo>
                      <a:pt x="418" y="91"/>
                    </a:lnTo>
                    <a:lnTo>
                      <a:pt x="418" y="91"/>
                    </a:lnTo>
                    <a:lnTo>
                      <a:pt x="412" y="89"/>
                    </a:lnTo>
                    <a:lnTo>
                      <a:pt x="412" y="89"/>
                    </a:lnTo>
                    <a:lnTo>
                      <a:pt x="407" y="88"/>
                    </a:lnTo>
                    <a:lnTo>
                      <a:pt x="407" y="88"/>
                    </a:lnTo>
                    <a:lnTo>
                      <a:pt x="404" y="86"/>
                    </a:lnTo>
                    <a:lnTo>
                      <a:pt x="404" y="86"/>
                    </a:lnTo>
                    <a:lnTo>
                      <a:pt x="399" y="86"/>
                    </a:lnTo>
                    <a:lnTo>
                      <a:pt x="399" y="86"/>
                    </a:lnTo>
                    <a:lnTo>
                      <a:pt x="391" y="88"/>
                    </a:lnTo>
                    <a:lnTo>
                      <a:pt x="391" y="88"/>
                    </a:lnTo>
                    <a:lnTo>
                      <a:pt x="383" y="88"/>
                    </a:lnTo>
                    <a:lnTo>
                      <a:pt x="383" y="88"/>
                    </a:lnTo>
                    <a:lnTo>
                      <a:pt x="377" y="89"/>
                    </a:lnTo>
                    <a:lnTo>
                      <a:pt x="377" y="89"/>
                    </a:lnTo>
                    <a:lnTo>
                      <a:pt x="372" y="92"/>
                    </a:lnTo>
                    <a:lnTo>
                      <a:pt x="372" y="92"/>
                    </a:lnTo>
                    <a:lnTo>
                      <a:pt x="370" y="94"/>
                    </a:lnTo>
                    <a:lnTo>
                      <a:pt x="370" y="94"/>
                    </a:lnTo>
                    <a:lnTo>
                      <a:pt x="372" y="94"/>
                    </a:lnTo>
                    <a:lnTo>
                      <a:pt x="372" y="94"/>
                    </a:lnTo>
                    <a:lnTo>
                      <a:pt x="367" y="97"/>
                    </a:lnTo>
                    <a:lnTo>
                      <a:pt x="367" y="97"/>
                    </a:lnTo>
                    <a:lnTo>
                      <a:pt x="361" y="100"/>
                    </a:lnTo>
                    <a:lnTo>
                      <a:pt x="361" y="100"/>
                    </a:lnTo>
                    <a:lnTo>
                      <a:pt x="356" y="100"/>
                    </a:lnTo>
                    <a:lnTo>
                      <a:pt x="356" y="100"/>
                    </a:lnTo>
                    <a:lnTo>
                      <a:pt x="351" y="104"/>
                    </a:lnTo>
                    <a:lnTo>
                      <a:pt x="351" y="104"/>
                    </a:lnTo>
                    <a:lnTo>
                      <a:pt x="354" y="104"/>
                    </a:lnTo>
                    <a:lnTo>
                      <a:pt x="354" y="104"/>
                    </a:lnTo>
                    <a:lnTo>
                      <a:pt x="351" y="107"/>
                    </a:lnTo>
                    <a:lnTo>
                      <a:pt x="351" y="107"/>
                    </a:lnTo>
                    <a:lnTo>
                      <a:pt x="348" y="107"/>
                    </a:lnTo>
                    <a:lnTo>
                      <a:pt x="348" y="107"/>
                    </a:lnTo>
                    <a:lnTo>
                      <a:pt x="345" y="107"/>
                    </a:lnTo>
                    <a:lnTo>
                      <a:pt x="345" y="107"/>
                    </a:lnTo>
                    <a:lnTo>
                      <a:pt x="345" y="108"/>
                    </a:lnTo>
                    <a:lnTo>
                      <a:pt x="345" y="108"/>
                    </a:lnTo>
                    <a:lnTo>
                      <a:pt x="340" y="110"/>
                    </a:lnTo>
                    <a:lnTo>
                      <a:pt x="340" y="110"/>
                    </a:lnTo>
                    <a:lnTo>
                      <a:pt x="337" y="111"/>
                    </a:lnTo>
                    <a:lnTo>
                      <a:pt x="337" y="111"/>
                    </a:lnTo>
                    <a:lnTo>
                      <a:pt x="332" y="113"/>
                    </a:lnTo>
                    <a:lnTo>
                      <a:pt x="332" y="113"/>
                    </a:lnTo>
                    <a:lnTo>
                      <a:pt x="329" y="115"/>
                    </a:lnTo>
                    <a:lnTo>
                      <a:pt x="329" y="115"/>
                    </a:lnTo>
                    <a:lnTo>
                      <a:pt x="324" y="116"/>
                    </a:lnTo>
                    <a:lnTo>
                      <a:pt x="324" y="116"/>
                    </a:lnTo>
                    <a:lnTo>
                      <a:pt x="329" y="116"/>
                    </a:lnTo>
                    <a:lnTo>
                      <a:pt x="332" y="116"/>
                    </a:lnTo>
                    <a:lnTo>
                      <a:pt x="332" y="116"/>
                    </a:lnTo>
                    <a:lnTo>
                      <a:pt x="332" y="116"/>
                    </a:lnTo>
                    <a:close/>
                    <a:moveTo>
                      <a:pt x="4" y="359"/>
                    </a:moveTo>
                    <a:lnTo>
                      <a:pt x="4" y="359"/>
                    </a:lnTo>
                    <a:lnTo>
                      <a:pt x="2" y="361"/>
                    </a:lnTo>
                    <a:lnTo>
                      <a:pt x="2" y="361"/>
                    </a:lnTo>
                    <a:lnTo>
                      <a:pt x="0" y="362"/>
                    </a:lnTo>
                    <a:lnTo>
                      <a:pt x="0" y="362"/>
                    </a:lnTo>
                    <a:lnTo>
                      <a:pt x="2" y="362"/>
                    </a:lnTo>
                    <a:lnTo>
                      <a:pt x="2" y="362"/>
                    </a:lnTo>
                    <a:lnTo>
                      <a:pt x="2" y="365"/>
                    </a:lnTo>
                    <a:lnTo>
                      <a:pt x="2" y="365"/>
                    </a:lnTo>
                    <a:lnTo>
                      <a:pt x="2" y="367"/>
                    </a:lnTo>
                    <a:lnTo>
                      <a:pt x="2" y="367"/>
                    </a:lnTo>
                    <a:lnTo>
                      <a:pt x="4" y="372"/>
                    </a:lnTo>
                    <a:lnTo>
                      <a:pt x="4" y="372"/>
                    </a:lnTo>
                    <a:lnTo>
                      <a:pt x="4" y="372"/>
                    </a:lnTo>
                    <a:lnTo>
                      <a:pt x="4" y="372"/>
                    </a:lnTo>
                    <a:lnTo>
                      <a:pt x="7" y="370"/>
                    </a:lnTo>
                    <a:lnTo>
                      <a:pt x="7" y="370"/>
                    </a:lnTo>
                    <a:lnTo>
                      <a:pt x="4" y="370"/>
                    </a:lnTo>
                    <a:lnTo>
                      <a:pt x="4" y="370"/>
                    </a:lnTo>
                    <a:lnTo>
                      <a:pt x="4" y="369"/>
                    </a:lnTo>
                    <a:lnTo>
                      <a:pt x="4" y="369"/>
                    </a:lnTo>
                    <a:lnTo>
                      <a:pt x="4" y="365"/>
                    </a:lnTo>
                    <a:lnTo>
                      <a:pt x="4" y="365"/>
                    </a:lnTo>
                    <a:lnTo>
                      <a:pt x="4" y="362"/>
                    </a:lnTo>
                    <a:lnTo>
                      <a:pt x="4" y="362"/>
                    </a:lnTo>
                    <a:lnTo>
                      <a:pt x="4" y="362"/>
                    </a:lnTo>
                    <a:lnTo>
                      <a:pt x="4" y="362"/>
                    </a:lnTo>
                    <a:lnTo>
                      <a:pt x="4" y="361"/>
                    </a:lnTo>
                    <a:lnTo>
                      <a:pt x="4" y="361"/>
                    </a:lnTo>
                    <a:lnTo>
                      <a:pt x="7" y="359"/>
                    </a:lnTo>
                    <a:lnTo>
                      <a:pt x="7" y="359"/>
                    </a:lnTo>
                    <a:lnTo>
                      <a:pt x="10" y="359"/>
                    </a:lnTo>
                    <a:lnTo>
                      <a:pt x="10" y="359"/>
                    </a:lnTo>
                    <a:lnTo>
                      <a:pt x="10" y="358"/>
                    </a:lnTo>
                    <a:lnTo>
                      <a:pt x="10" y="358"/>
                    </a:lnTo>
                    <a:lnTo>
                      <a:pt x="7" y="358"/>
                    </a:lnTo>
                    <a:lnTo>
                      <a:pt x="7" y="358"/>
                    </a:lnTo>
                    <a:lnTo>
                      <a:pt x="4" y="358"/>
                    </a:lnTo>
                    <a:lnTo>
                      <a:pt x="4" y="358"/>
                    </a:lnTo>
                    <a:lnTo>
                      <a:pt x="2" y="358"/>
                    </a:lnTo>
                    <a:lnTo>
                      <a:pt x="2" y="358"/>
                    </a:lnTo>
                    <a:lnTo>
                      <a:pt x="0" y="359"/>
                    </a:lnTo>
                    <a:lnTo>
                      <a:pt x="4" y="359"/>
                    </a:lnTo>
                    <a:lnTo>
                      <a:pt x="4" y="359"/>
                    </a:lnTo>
                    <a:lnTo>
                      <a:pt x="4" y="359"/>
                    </a:lnTo>
                    <a:close/>
                    <a:moveTo>
                      <a:pt x="567" y="146"/>
                    </a:moveTo>
                    <a:lnTo>
                      <a:pt x="567" y="146"/>
                    </a:lnTo>
                    <a:lnTo>
                      <a:pt x="567" y="145"/>
                    </a:lnTo>
                    <a:lnTo>
                      <a:pt x="567" y="145"/>
                    </a:lnTo>
                    <a:lnTo>
                      <a:pt x="567" y="143"/>
                    </a:lnTo>
                    <a:lnTo>
                      <a:pt x="567" y="143"/>
                    </a:lnTo>
                    <a:lnTo>
                      <a:pt x="564" y="145"/>
                    </a:lnTo>
                    <a:lnTo>
                      <a:pt x="564" y="145"/>
                    </a:lnTo>
                    <a:lnTo>
                      <a:pt x="567" y="145"/>
                    </a:lnTo>
                    <a:lnTo>
                      <a:pt x="567" y="145"/>
                    </a:lnTo>
                    <a:lnTo>
                      <a:pt x="564" y="148"/>
                    </a:lnTo>
                    <a:lnTo>
                      <a:pt x="567" y="146"/>
                    </a:lnTo>
                    <a:lnTo>
                      <a:pt x="567" y="146"/>
                    </a:lnTo>
                    <a:lnTo>
                      <a:pt x="567" y="146"/>
                    </a:lnTo>
                    <a:close/>
                    <a:moveTo>
                      <a:pt x="588" y="58"/>
                    </a:moveTo>
                    <a:lnTo>
                      <a:pt x="588" y="58"/>
                    </a:lnTo>
                    <a:lnTo>
                      <a:pt x="591" y="58"/>
                    </a:lnTo>
                    <a:lnTo>
                      <a:pt x="591" y="58"/>
                    </a:lnTo>
                    <a:lnTo>
                      <a:pt x="591" y="56"/>
                    </a:lnTo>
                    <a:lnTo>
                      <a:pt x="591" y="56"/>
                    </a:lnTo>
                    <a:lnTo>
                      <a:pt x="589" y="54"/>
                    </a:lnTo>
                    <a:lnTo>
                      <a:pt x="589" y="54"/>
                    </a:lnTo>
                    <a:lnTo>
                      <a:pt x="589" y="53"/>
                    </a:lnTo>
                    <a:lnTo>
                      <a:pt x="589" y="53"/>
                    </a:lnTo>
                    <a:lnTo>
                      <a:pt x="586" y="51"/>
                    </a:lnTo>
                    <a:lnTo>
                      <a:pt x="586" y="51"/>
                    </a:lnTo>
                    <a:lnTo>
                      <a:pt x="585" y="53"/>
                    </a:lnTo>
                    <a:lnTo>
                      <a:pt x="585" y="53"/>
                    </a:lnTo>
                    <a:lnTo>
                      <a:pt x="583" y="54"/>
                    </a:lnTo>
                    <a:lnTo>
                      <a:pt x="583" y="54"/>
                    </a:lnTo>
                    <a:lnTo>
                      <a:pt x="583" y="56"/>
                    </a:lnTo>
                    <a:lnTo>
                      <a:pt x="583" y="56"/>
                    </a:lnTo>
                    <a:lnTo>
                      <a:pt x="583" y="58"/>
                    </a:lnTo>
                    <a:lnTo>
                      <a:pt x="583" y="58"/>
                    </a:lnTo>
                    <a:lnTo>
                      <a:pt x="585" y="59"/>
                    </a:lnTo>
                    <a:lnTo>
                      <a:pt x="588" y="58"/>
                    </a:lnTo>
                    <a:lnTo>
                      <a:pt x="588" y="58"/>
                    </a:lnTo>
                    <a:lnTo>
                      <a:pt x="588" y="58"/>
                    </a:lnTo>
                    <a:close/>
                    <a:moveTo>
                      <a:pt x="631" y="80"/>
                    </a:moveTo>
                    <a:lnTo>
                      <a:pt x="631" y="80"/>
                    </a:lnTo>
                    <a:lnTo>
                      <a:pt x="628" y="80"/>
                    </a:lnTo>
                    <a:lnTo>
                      <a:pt x="628" y="80"/>
                    </a:lnTo>
                    <a:lnTo>
                      <a:pt x="626" y="81"/>
                    </a:lnTo>
                    <a:lnTo>
                      <a:pt x="626" y="81"/>
                    </a:lnTo>
                    <a:lnTo>
                      <a:pt x="628" y="81"/>
                    </a:lnTo>
                    <a:lnTo>
                      <a:pt x="628" y="81"/>
                    </a:lnTo>
                    <a:lnTo>
                      <a:pt x="628" y="81"/>
                    </a:lnTo>
                    <a:lnTo>
                      <a:pt x="628" y="81"/>
                    </a:lnTo>
                    <a:lnTo>
                      <a:pt x="631" y="83"/>
                    </a:lnTo>
                    <a:lnTo>
                      <a:pt x="631" y="83"/>
                    </a:lnTo>
                    <a:lnTo>
                      <a:pt x="634" y="84"/>
                    </a:lnTo>
                    <a:lnTo>
                      <a:pt x="634" y="84"/>
                    </a:lnTo>
                    <a:lnTo>
                      <a:pt x="637" y="84"/>
                    </a:lnTo>
                    <a:lnTo>
                      <a:pt x="637" y="84"/>
                    </a:lnTo>
                    <a:lnTo>
                      <a:pt x="643" y="84"/>
                    </a:lnTo>
                    <a:lnTo>
                      <a:pt x="643" y="84"/>
                    </a:lnTo>
                    <a:lnTo>
                      <a:pt x="648" y="83"/>
                    </a:lnTo>
                    <a:lnTo>
                      <a:pt x="648" y="83"/>
                    </a:lnTo>
                    <a:lnTo>
                      <a:pt x="653" y="80"/>
                    </a:lnTo>
                    <a:lnTo>
                      <a:pt x="653" y="80"/>
                    </a:lnTo>
                    <a:lnTo>
                      <a:pt x="653" y="80"/>
                    </a:lnTo>
                    <a:lnTo>
                      <a:pt x="653" y="80"/>
                    </a:lnTo>
                    <a:lnTo>
                      <a:pt x="653" y="77"/>
                    </a:lnTo>
                    <a:lnTo>
                      <a:pt x="653" y="77"/>
                    </a:lnTo>
                    <a:lnTo>
                      <a:pt x="651" y="77"/>
                    </a:lnTo>
                    <a:lnTo>
                      <a:pt x="651" y="77"/>
                    </a:lnTo>
                    <a:lnTo>
                      <a:pt x="648" y="73"/>
                    </a:lnTo>
                    <a:lnTo>
                      <a:pt x="648" y="73"/>
                    </a:lnTo>
                    <a:lnTo>
                      <a:pt x="634" y="77"/>
                    </a:lnTo>
                    <a:lnTo>
                      <a:pt x="634" y="77"/>
                    </a:lnTo>
                    <a:lnTo>
                      <a:pt x="637" y="77"/>
                    </a:lnTo>
                    <a:lnTo>
                      <a:pt x="637" y="77"/>
                    </a:lnTo>
                    <a:lnTo>
                      <a:pt x="634" y="80"/>
                    </a:lnTo>
                    <a:lnTo>
                      <a:pt x="631" y="80"/>
                    </a:lnTo>
                    <a:lnTo>
                      <a:pt x="631" y="80"/>
                    </a:lnTo>
                    <a:lnTo>
                      <a:pt x="631" y="80"/>
                    </a:lnTo>
                    <a:close/>
                    <a:moveTo>
                      <a:pt x="612" y="45"/>
                    </a:moveTo>
                    <a:lnTo>
                      <a:pt x="612" y="45"/>
                    </a:lnTo>
                    <a:lnTo>
                      <a:pt x="621" y="45"/>
                    </a:lnTo>
                    <a:lnTo>
                      <a:pt x="621" y="45"/>
                    </a:lnTo>
                    <a:lnTo>
                      <a:pt x="623" y="45"/>
                    </a:lnTo>
                    <a:lnTo>
                      <a:pt x="623" y="45"/>
                    </a:lnTo>
                    <a:lnTo>
                      <a:pt x="628" y="45"/>
                    </a:lnTo>
                    <a:lnTo>
                      <a:pt x="628" y="45"/>
                    </a:lnTo>
                    <a:lnTo>
                      <a:pt x="631" y="48"/>
                    </a:lnTo>
                    <a:lnTo>
                      <a:pt x="631" y="48"/>
                    </a:lnTo>
                    <a:lnTo>
                      <a:pt x="631" y="48"/>
                    </a:lnTo>
                    <a:lnTo>
                      <a:pt x="631" y="48"/>
                    </a:lnTo>
                    <a:lnTo>
                      <a:pt x="634" y="48"/>
                    </a:lnTo>
                    <a:lnTo>
                      <a:pt x="634" y="48"/>
                    </a:lnTo>
                    <a:lnTo>
                      <a:pt x="631" y="48"/>
                    </a:lnTo>
                    <a:lnTo>
                      <a:pt x="631" y="48"/>
                    </a:lnTo>
                    <a:lnTo>
                      <a:pt x="634" y="50"/>
                    </a:lnTo>
                    <a:lnTo>
                      <a:pt x="634" y="50"/>
                    </a:lnTo>
                    <a:lnTo>
                      <a:pt x="637" y="51"/>
                    </a:lnTo>
                    <a:lnTo>
                      <a:pt x="637" y="51"/>
                    </a:lnTo>
                    <a:lnTo>
                      <a:pt x="639" y="51"/>
                    </a:lnTo>
                    <a:lnTo>
                      <a:pt x="639" y="51"/>
                    </a:lnTo>
                    <a:lnTo>
                      <a:pt x="642" y="50"/>
                    </a:lnTo>
                    <a:lnTo>
                      <a:pt x="642" y="50"/>
                    </a:lnTo>
                    <a:lnTo>
                      <a:pt x="645" y="50"/>
                    </a:lnTo>
                    <a:lnTo>
                      <a:pt x="645" y="50"/>
                    </a:lnTo>
                    <a:lnTo>
                      <a:pt x="647" y="48"/>
                    </a:lnTo>
                    <a:lnTo>
                      <a:pt x="647" y="48"/>
                    </a:lnTo>
                    <a:lnTo>
                      <a:pt x="647" y="45"/>
                    </a:lnTo>
                    <a:lnTo>
                      <a:pt x="647" y="45"/>
                    </a:lnTo>
                    <a:lnTo>
                      <a:pt x="645" y="45"/>
                    </a:lnTo>
                    <a:lnTo>
                      <a:pt x="645" y="45"/>
                    </a:lnTo>
                    <a:lnTo>
                      <a:pt x="647" y="45"/>
                    </a:lnTo>
                    <a:lnTo>
                      <a:pt x="647" y="45"/>
                    </a:lnTo>
                    <a:lnTo>
                      <a:pt x="650" y="42"/>
                    </a:lnTo>
                    <a:lnTo>
                      <a:pt x="650" y="42"/>
                    </a:lnTo>
                    <a:lnTo>
                      <a:pt x="647" y="42"/>
                    </a:lnTo>
                    <a:lnTo>
                      <a:pt x="647" y="42"/>
                    </a:lnTo>
                    <a:lnTo>
                      <a:pt x="648" y="42"/>
                    </a:lnTo>
                    <a:lnTo>
                      <a:pt x="648" y="42"/>
                    </a:lnTo>
                    <a:lnTo>
                      <a:pt x="643" y="42"/>
                    </a:lnTo>
                    <a:lnTo>
                      <a:pt x="643" y="42"/>
                    </a:lnTo>
                    <a:lnTo>
                      <a:pt x="640" y="42"/>
                    </a:lnTo>
                    <a:lnTo>
                      <a:pt x="640" y="42"/>
                    </a:lnTo>
                    <a:lnTo>
                      <a:pt x="643" y="38"/>
                    </a:lnTo>
                    <a:lnTo>
                      <a:pt x="643" y="38"/>
                    </a:lnTo>
                    <a:lnTo>
                      <a:pt x="639" y="38"/>
                    </a:lnTo>
                    <a:lnTo>
                      <a:pt x="639" y="38"/>
                    </a:lnTo>
                    <a:lnTo>
                      <a:pt x="634" y="38"/>
                    </a:lnTo>
                    <a:lnTo>
                      <a:pt x="634" y="38"/>
                    </a:lnTo>
                    <a:lnTo>
                      <a:pt x="631" y="38"/>
                    </a:lnTo>
                    <a:lnTo>
                      <a:pt x="631" y="38"/>
                    </a:lnTo>
                    <a:lnTo>
                      <a:pt x="631" y="38"/>
                    </a:lnTo>
                    <a:lnTo>
                      <a:pt x="631" y="38"/>
                    </a:lnTo>
                    <a:lnTo>
                      <a:pt x="634" y="37"/>
                    </a:lnTo>
                    <a:lnTo>
                      <a:pt x="634" y="37"/>
                    </a:lnTo>
                    <a:lnTo>
                      <a:pt x="631" y="35"/>
                    </a:lnTo>
                    <a:lnTo>
                      <a:pt x="631" y="35"/>
                    </a:lnTo>
                    <a:lnTo>
                      <a:pt x="631" y="35"/>
                    </a:lnTo>
                    <a:lnTo>
                      <a:pt x="631" y="35"/>
                    </a:lnTo>
                    <a:lnTo>
                      <a:pt x="628" y="35"/>
                    </a:lnTo>
                    <a:lnTo>
                      <a:pt x="628" y="35"/>
                    </a:lnTo>
                    <a:lnTo>
                      <a:pt x="618" y="35"/>
                    </a:lnTo>
                    <a:lnTo>
                      <a:pt x="618" y="35"/>
                    </a:lnTo>
                    <a:lnTo>
                      <a:pt x="613" y="37"/>
                    </a:lnTo>
                    <a:lnTo>
                      <a:pt x="613" y="37"/>
                    </a:lnTo>
                    <a:lnTo>
                      <a:pt x="610" y="38"/>
                    </a:lnTo>
                    <a:lnTo>
                      <a:pt x="610" y="38"/>
                    </a:lnTo>
                    <a:lnTo>
                      <a:pt x="612" y="38"/>
                    </a:lnTo>
                    <a:lnTo>
                      <a:pt x="612" y="38"/>
                    </a:lnTo>
                    <a:lnTo>
                      <a:pt x="615" y="38"/>
                    </a:lnTo>
                    <a:lnTo>
                      <a:pt x="615" y="38"/>
                    </a:lnTo>
                    <a:lnTo>
                      <a:pt x="612" y="38"/>
                    </a:lnTo>
                    <a:lnTo>
                      <a:pt x="612" y="38"/>
                    </a:lnTo>
                    <a:lnTo>
                      <a:pt x="610" y="42"/>
                    </a:lnTo>
                    <a:lnTo>
                      <a:pt x="610" y="42"/>
                    </a:lnTo>
                    <a:lnTo>
                      <a:pt x="612" y="42"/>
                    </a:lnTo>
                    <a:lnTo>
                      <a:pt x="612" y="42"/>
                    </a:lnTo>
                    <a:lnTo>
                      <a:pt x="615" y="38"/>
                    </a:lnTo>
                    <a:lnTo>
                      <a:pt x="615" y="38"/>
                    </a:lnTo>
                    <a:lnTo>
                      <a:pt x="618" y="38"/>
                    </a:lnTo>
                    <a:lnTo>
                      <a:pt x="618" y="38"/>
                    </a:lnTo>
                    <a:lnTo>
                      <a:pt x="616" y="42"/>
                    </a:lnTo>
                    <a:lnTo>
                      <a:pt x="616" y="42"/>
                    </a:lnTo>
                    <a:lnTo>
                      <a:pt x="620" y="42"/>
                    </a:lnTo>
                    <a:lnTo>
                      <a:pt x="620" y="42"/>
                    </a:lnTo>
                    <a:lnTo>
                      <a:pt x="623" y="42"/>
                    </a:lnTo>
                    <a:lnTo>
                      <a:pt x="623" y="42"/>
                    </a:lnTo>
                    <a:lnTo>
                      <a:pt x="618" y="42"/>
                    </a:lnTo>
                    <a:lnTo>
                      <a:pt x="618" y="42"/>
                    </a:lnTo>
                    <a:lnTo>
                      <a:pt x="620" y="42"/>
                    </a:lnTo>
                    <a:lnTo>
                      <a:pt x="620" y="42"/>
                    </a:lnTo>
                    <a:lnTo>
                      <a:pt x="616" y="45"/>
                    </a:lnTo>
                    <a:lnTo>
                      <a:pt x="616" y="45"/>
                    </a:lnTo>
                    <a:lnTo>
                      <a:pt x="613" y="45"/>
                    </a:lnTo>
                    <a:lnTo>
                      <a:pt x="613" y="45"/>
                    </a:lnTo>
                    <a:lnTo>
                      <a:pt x="609" y="42"/>
                    </a:lnTo>
                    <a:lnTo>
                      <a:pt x="609" y="42"/>
                    </a:lnTo>
                    <a:lnTo>
                      <a:pt x="605" y="45"/>
                    </a:lnTo>
                    <a:lnTo>
                      <a:pt x="605" y="45"/>
                    </a:lnTo>
                    <a:lnTo>
                      <a:pt x="605" y="45"/>
                    </a:lnTo>
                    <a:lnTo>
                      <a:pt x="605" y="45"/>
                    </a:lnTo>
                    <a:lnTo>
                      <a:pt x="605" y="45"/>
                    </a:lnTo>
                    <a:lnTo>
                      <a:pt x="612" y="45"/>
                    </a:lnTo>
                    <a:lnTo>
                      <a:pt x="612" y="45"/>
                    </a:lnTo>
                    <a:lnTo>
                      <a:pt x="612" y="45"/>
                    </a:lnTo>
                    <a:close/>
                    <a:moveTo>
                      <a:pt x="586" y="73"/>
                    </a:moveTo>
                    <a:lnTo>
                      <a:pt x="586" y="73"/>
                    </a:lnTo>
                    <a:lnTo>
                      <a:pt x="585" y="73"/>
                    </a:lnTo>
                    <a:lnTo>
                      <a:pt x="585" y="73"/>
                    </a:lnTo>
                    <a:lnTo>
                      <a:pt x="582" y="73"/>
                    </a:lnTo>
                    <a:lnTo>
                      <a:pt x="582" y="73"/>
                    </a:lnTo>
                    <a:lnTo>
                      <a:pt x="580" y="73"/>
                    </a:lnTo>
                    <a:lnTo>
                      <a:pt x="580" y="73"/>
                    </a:lnTo>
                    <a:lnTo>
                      <a:pt x="580" y="77"/>
                    </a:lnTo>
                    <a:lnTo>
                      <a:pt x="580" y="77"/>
                    </a:lnTo>
                    <a:lnTo>
                      <a:pt x="588" y="77"/>
                    </a:lnTo>
                    <a:lnTo>
                      <a:pt x="588" y="77"/>
                    </a:lnTo>
                    <a:lnTo>
                      <a:pt x="596" y="73"/>
                    </a:lnTo>
                    <a:lnTo>
                      <a:pt x="596" y="73"/>
                    </a:lnTo>
                    <a:lnTo>
                      <a:pt x="605" y="73"/>
                    </a:lnTo>
                    <a:lnTo>
                      <a:pt x="605" y="73"/>
                    </a:lnTo>
                    <a:lnTo>
                      <a:pt x="602" y="77"/>
                    </a:lnTo>
                    <a:lnTo>
                      <a:pt x="602" y="77"/>
                    </a:lnTo>
                    <a:lnTo>
                      <a:pt x="599" y="77"/>
                    </a:lnTo>
                    <a:lnTo>
                      <a:pt x="599" y="77"/>
                    </a:lnTo>
                    <a:lnTo>
                      <a:pt x="596" y="77"/>
                    </a:lnTo>
                    <a:lnTo>
                      <a:pt x="596" y="77"/>
                    </a:lnTo>
                    <a:lnTo>
                      <a:pt x="593" y="77"/>
                    </a:lnTo>
                    <a:lnTo>
                      <a:pt x="593" y="77"/>
                    </a:lnTo>
                    <a:lnTo>
                      <a:pt x="596" y="80"/>
                    </a:lnTo>
                    <a:lnTo>
                      <a:pt x="596" y="80"/>
                    </a:lnTo>
                    <a:lnTo>
                      <a:pt x="596" y="80"/>
                    </a:lnTo>
                    <a:lnTo>
                      <a:pt x="596" y="80"/>
                    </a:lnTo>
                    <a:lnTo>
                      <a:pt x="593" y="80"/>
                    </a:lnTo>
                    <a:lnTo>
                      <a:pt x="593" y="80"/>
                    </a:lnTo>
                    <a:lnTo>
                      <a:pt x="593" y="80"/>
                    </a:lnTo>
                    <a:lnTo>
                      <a:pt x="593" y="80"/>
                    </a:lnTo>
                    <a:lnTo>
                      <a:pt x="596" y="81"/>
                    </a:lnTo>
                    <a:lnTo>
                      <a:pt x="596" y="81"/>
                    </a:lnTo>
                    <a:lnTo>
                      <a:pt x="602" y="80"/>
                    </a:lnTo>
                    <a:lnTo>
                      <a:pt x="602" y="80"/>
                    </a:lnTo>
                    <a:lnTo>
                      <a:pt x="602" y="81"/>
                    </a:lnTo>
                    <a:lnTo>
                      <a:pt x="602" y="81"/>
                    </a:lnTo>
                    <a:lnTo>
                      <a:pt x="605" y="80"/>
                    </a:lnTo>
                    <a:lnTo>
                      <a:pt x="605" y="80"/>
                    </a:lnTo>
                    <a:lnTo>
                      <a:pt x="609" y="81"/>
                    </a:lnTo>
                    <a:lnTo>
                      <a:pt x="609" y="81"/>
                    </a:lnTo>
                    <a:lnTo>
                      <a:pt x="613" y="81"/>
                    </a:lnTo>
                    <a:lnTo>
                      <a:pt x="613" y="81"/>
                    </a:lnTo>
                    <a:lnTo>
                      <a:pt x="615" y="80"/>
                    </a:lnTo>
                    <a:lnTo>
                      <a:pt x="615" y="80"/>
                    </a:lnTo>
                    <a:lnTo>
                      <a:pt x="615" y="80"/>
                    </a:lnTo>
                    <a:lnTo>
                      <a:pt x="615" y="80"/>
                    </a:lnTo>
                    <a:lnTo>
                      <a:pt x="616" y="80"/>
                    </a:lnTo>
                    <a:lnTo>
                      <a:pt x="616" y="80"/>
                    </a:lnTo>
                    <a:lnTo>
                      <a:pt x="618" y="80"/>
                    </a:lnTo>
                    <a:lnTo>
                      <a:pt x="618" y="80"/>
                    </a:lnTo>
                    <a:lnTo>
                      <a:pt x="616" y="80"/>
                    </a:lnTo>
                    <a:lnTo>
                      <a:pt x="616" y="80"/>
                    </a:lnTo>
                    <a:lnTo>
                      <a:pt x="618" y="77"/>
                    </a:lnTo>
                    <a:lnTo>
                      <a:pt x="618" y="77"/>
                    </a:lnTo>
                    <a:lnTo>
                      <a:pt x="621" y="77"/>
                    </a:lnTo>
                    <a:lnTo>
                      <a:pt x="621" y="77"/>
                    </a:lnTo>
                    <a:lnTo>
                      <a:pt x="620" y="77"/>
                    </a:lnTo>
                    <a:lnTo>
                      <a:pt x="620" y="77"/>
                    </a:lnTo>
                    <a:lnTo>
                      <a:pt x="623" y="77"/>
                    </a:lnTo>
                    <a:lnTo>
                      <a:pt x="623" y="77"/>
                    </a:lnTo>
                    <a:lnTo>
                      <a:pt x="624" y="77"/>
                    </a:lnTo>
                    <a:lnTo>
                      <a:pt x="624" y="77"/>
                    </a:lnTo>
                    <a:lnTo>
                      <a:pt x="628" y="73"/>
                    </a:lnTo>
                    <a:lnTo>
                      <a:pt x="628" y="73"/>
                    </a:lnTo>
                    <a:lnTo>
                      <a:pt x="624" y="73"/>
                    </a:lnTo>
                    <a:lnTo>
                      <a:pt x="624" y="73"/>
                    </a:lnTo>
                    <a:lnTo>
                      <a:pt x="628" y="72"/>
                    </a:lnTo>
                    <a:lnTo>
                      <a:pt x="628" y="72"/>
                    </a:lnTo>
                    <a:lnTo>
                      <a:pt x="631" y="70"/>
                    </a:lnTo>
                    <a:lnTo>
                      <a:pt x="631" y="70"/>
                    </a:lnTo>
                    <a:lnTo>
                      <a:pt x="634" y="69"/>
                    </a:lnTo>
                    <a:lnTo>
                      <a:pt x="634" y="69"/>
                    </a:lnTo>
                    <a:lnTo>
                      <a:pt x="634" y="67"/>
                    </a:lnTo>
                    <a:lnTo>
                      <a:pt x="634" y="67"/>
                    </a:lnTo>
                    <a:lnTo>
                      <a:pt x="634" y="67"/>
                    </a:lnTo>
                    <a:lnTo>
                      <a:pt x="634" y="67"/>
                    </a:lnTo>
                    <a:lnTo>
                      <a:pt x="634" y="65"/>
                    </a:lnTo>
                    <a:lnTo>
                      <a:pt x="634" y="65"/>
                    </a:lnTo>
                    <a:lnTo>
                      <a:pt x="631" y="64"/>
                    </a:lnTo>
                    <a:lnTo>
                      <a:pt x="631" y="64"/>
                    </a:lnTo>
                    <a:lnTo>
                      <a:pt x="628" y="64"/>
                    </a:lnTo>
                    <a:lnTo>
                      <a:pt x="628" y="64"/>
                    </a:lnTo>
                    <a:lnTo>
                      <a:pt x="626" y="64"/>
                    </a:lnTo>
                    <a:lnTo>
                      <a:pt x="626" y="64"/>
                    </a:lnTo>
                    <a:lnTo>
                      <a:pt x="624" y="65"/>
                    </a:lnTo>
                    <a:lnTo>
                      <a:pt x="624" y="65"/>
                    </a:lnTo>
                    <a:lnTo>
                      <a:pt x="623" y="65"/>
                    </a:lnTo>
                    <a:lnTo>
                      <a:pt x="623" y="65"/>
                    </a:lnTo>
                    <a:lnTo>
                      <a:pt x="618" y="64"/>
                    </a:lnTo>
                    <a:lnTo>
                      <a:pt x="618" y="64"/>
                    </a:lnTo>
                    <a:lnTo>
                      <a:pt x="612" y="64"/>
                    </a:lnTo>
                    <a:lnTo>
                      <a:pt x="612" y="64"/>
                    </a:lnTo>
                    <a:lnTo>
                      <a:pt x="610" y="65"/>
                    </a:lnTo>
                    <a:lnTo>
                      <a:pt x="610" y="65"/>
                    </a:lnTo>
                    <a:lnTo>
                      <a:pt x="609" y="65"/>
                    </a:lnTo>
                    <a:lnTo>
                      <a:pt x="609" y="65"/>
                    </a:lnTo>
                    <a:lnTo>
                      <a:pt x="609" y="67"/>
                    </a:lnTo>
                    <a:lnTo>
                      <a:pt x="609" y="67"/>
                    </a:lnTo>
                    <a:lnTo>
                      <a:pt x="612" y="69"/>
                    </a:lnTo>
                    <a:lnTo>
                      <a:pt x="612" y="69"/>
                    </a:lnTo>
                    <a:lnTo>
                      <a:pt x="615" y="69"/>
                    </a:lnTo>
                    <a:lnTo>
                      <a:pt x="615" y="69"/>
                    </a:lnTo>
                    <a:lnTo>
                      <a:pt x="612" y="70"/>
                    </a:lnTo>
                    <a:lnTo>
                      <a:pt x="612" y="70"/>
                    </a:lnTo>
                    <a:lnTo>
                      <a:pt x="610" y="70"/>
                    </a:lnTo>
                    <a:lnTo>
                      <a:pt x="610" y="70"/>
                    </a:lnTo>
                    <a:lnTo>
                      <a:pt x="609" y="70"/>
                    </a:lnTo>
                    <a:lnTo>
                      <a:pt x="609" y="70"/>
                    </a:lnTo>
                    <a:lnTo>
                      <a:pt x="612" y="72"/>
                    </a:lnTo>
                    <a:lnTo>
                      <a:pt x="612" y="72"/>
                    </a:lnTo>
                    <a:lnTo>
                      <a:pt x="607" y="72"/>
                    </a:lnTo>
                    <a:lnTo>
                      <a:pt x="607" y="72"/>
                    </a:lnTo>
                    <a:lnTo>
                      <a:pt x="607" y="70"/>
                    </a:lnTo>
                    <a:lnTo>
                      <a:pt x="607" y="70"/>
                    </a:lnTo>
                    <a:lnTo>
                      <a:pt x="605" y="70"/>
                    </a:lnTo>
                    <a:lnTo>
                      <a:pt x="605" y="70"/>
                    </a:lnTo>
                    <a:lnTo>
                      <a:pt x="605" y="70"/>
                    </a:lnTo>
                    <a:lnTo>
                      <a:pt x="605" y="70"/>
                    </a:lnTo>
                    <a:lnTo>
                      <a:pt x="605" y="69"/>
                    </a:lnTo>
                    <a:lnTo>
                      <a:pt x="605" y="69"/>
                    </a:lnTo>
                    <a:lnTo>
                      <a:pt x="605" y="69"/>
                    </a:lnTo>
                    <a:lnTo>
                      <a:pt x="605" y="69"/>
                    </a:lnTo>
                    <a:lnTo>
                      <a:pt x="605" y="67"/>
                    </a:lnTo>
                    <a:lnTo>
                      <a:pt x="605" y="67"/>
                    </a:lnTo>
                    <a:lnTo>
                      <a:pt x="602" y="65"/>
                    </a:lnTo>
                    <a:lnTo>
                      <a:pt x="602" y="65"/>
                    </a:lnTo>
                    <a:lnTo>
                      <a:pt x="599" y="67"/>
                    </a:lnTo>
                    <a:lnTo>
                      <a:pt x="599" y="67"/>
                    </a:lnTo>
                    <a:lnTo>
                      <a:pt x="596" y="69"/>
                    </a:lnTo>
                    <a:lnTo>
                      <a:pt x="596" y="69"/>
                    </a:lnTo>
                    <a:lnTo>
                      <a:pt x="596" y="69"/>
                    </a:lnTo>
                    <a:lnTo>
                      <a:pt x="596" y="69"/>
                    </a:lnTo>
                    <a:lnTo>
                      <a:pt x="596" y="70"/>
                    </a:lnTo>
                    <a:lnTo>
                      <a:pt x="596" y="70"/>
                    </a:lnTo>
                    <a:lnTo>
                      <a:pt x="596" y="72"/>
                    </a:lnTo>
                    <a:lnTo>
                      <a:pt x="596" y="72"/>
                    </a:lnTo>
                    <a:lnTo>
                      <a:pt x="596" y="72"/>
                    </a:lnTo>
                    <a:lnTo>
                      <a:pt x="596" y="72"/>
                    </a:lnTo>
                    <a:lnTo>
                      <a:pt x="596" y="73"/>
                    </a:lnTo>
                    <a:lnTo>
                      <a:pt x="596" y="73"/>
                    </a:lnTo>
                    <a:lnTo>
                      <a:pt x="596" y="73"/>
                    </a:lnTo>
                    <a:lnTo>
                      <a:pt x="596" y="73"/>
                    </a:lnTo>
                    <a:lnTo>
                      <a:pt x="593" y="73"/>
                    </a:lnTo>
                    <a:lnTo>
                      <a:pt x="593" y="73"/>
                    </a:lnTo>
                    <a:lnTo>
                      <a:pt x="589" y="72"/>
                    </a:lnTo>
                    <a:lnTo>
                      <a:pt x="586" y="73"/>
                    </a:lnTo>
                    <a:lnTo>
                      <a:pt x="586" y="73"/>
                    </a:lnTo>
                    <a:lnTo>
                      <a:pt x="586" y="73"/>
                    </a:lnTo>
                    <a:close/>
                    <a:moveTo>
                      <a:pt x="618" y="50"/>
                    </a:moveTo>
                    <a:lnTo>
                      <a:pt x="618" y="50"/>
                    </a:lnTo>
                    <a:lnTo>
                      <a:pt x="616" y="50"/>
                    </a:lnTo>
                    <a:lnTo>
                      <a:pt x="616" y="50"/>
                    </a:lnTo>
                    <a:lnTo>
                      <a:pt x="615" y="51"/>
                    </a:lnTo>
                    <a:lnTo>
                      <a:pt x="615" y="51"/>
                    </a:lnTo>
                    <a:lnTo>
                      <a:pt x="621" y="53"/>
                    </a:lnTo>
                    <a:lnTo>
                      <a:pt x="621" y="53"/>
                    </a:lnTo>
                    <a:lnTo>
                      <a:pt x="626" y="51"/>
                    </a:lnTo>
                    <a:lnTo>
                      <a:pt x="626" y="51"/>
                    </a:lnTo>
                    <a:lnTo>
                      <a:pt x="626" y="50"/>
                    </a:lnTo>
                    <a:lnTo>
                      <a:pt x="626" y="50"/>
                    </a:lnTo>
                    <a:lnTo>
                      <a:pt x="623" y="50"/>
                    </a:lnTo>
                    <a:lnTo>
                      <a:pt x="618" y="50"/>
                    </a:lnTo>
                    <a:lnTo>
                      <a:pt x="618" y="50"/>
                    </a:lnTo>
                    <a:lnTo>
                      <a:pt x="618" y="50"/>
                    </a:lnTo>
                    <a:close/>
                    <a:moveTo>
                      <a:pt x="672" y="31"/>
                    </a:moveTo>
                    <a:lnTo>
                      <a:pt x="672" y="31"/>
                    </a:lnTo>
                    <a:lnTo>
                      <a:pt x="672" y="31"/>
                    </a:lnTo>
                    <a:lnTo>
                      <a:pt x="672" y="31"/>
                    </a:lnTo>
                    <a:lnTo>
                      <a:pt x="675" y="31"/>
                    </a:lnTo>
                    <a:lnTo>
                      <a:pt x="675" y="31"/>
                    </a:lnTo>
                    <a:lnTo>
                      <a:pt x="678" y="29"/>
                    </a:lnTo>
                    <a:lnTo>
                      <a:pt x="678" y="29"/>
                    </a:lnTo>
                    <a:lnTo>
                      <a:pt x="677" y="27"/>
                    </a:lnTo>
                    <a:lnTo>
                      <a:pt x="677" y="27"/>
                    </a:lnTo>
                    <a:lnTo>
                      <a:pt x="674" y="27"/>
                    </a:lnTo>
                    <a:lnTo>
                      <a:pt x="674" y="27"/>
                    </a:lnTo>
                    <a:lnTo>
                      <a:pt x="669" y="27"/>
                    </a:lnTo>
                    <a:lnTo>
                      <a:pt x="669" y="27"/>
                    </a:lnTo>
                    <a:lnTo>
                      <a:pt x="666" y="29"/>
                    </a:lnTo>
                    <a:lnTo>
                      <a:pt x="666" y="29"/>
                    </a:lnTo>
                    <a:lnTo>
                      <a:pt x="669" y="29"/>
                    </a:lnTo>
                    <a:lnTo>
                      <a:pt x="672" y="31"/>
                    </a:lnTo>
                    <a:lnTo>
                      <a:pt x="672" y="31"/>
                    </a:lnTo>
                    <a:lnTo>
                      <a:pt x="672" y="31"/>
                    </a:lnTo>
                    <a:close/>
                    <a:moveTo>
                      <a:pt x="663" y="48"/>
                    </a:moveTo>
                    <a:lnTo>
                      <a:pt x="663" y="48"/>
                    </a:lnTo>
                    <a:lnTo>
                      <a:pt x="658" y="48"/>
                    </a:lnTo>
                    <a:lnTo>
                      <a:pt x="658" y="48"/>
                    </a:lnTo>
                    <a:lnTo>
                      <a:pt x="663" y="50"/>
                    </a:lnTo>
                    <a:lnTo>
                      <a:pt x="663" y="50"/>
                    </a:lnTo>
                    <a:lnTo>
                      <a:pt x="661" y="50"/>
                    </a:lnTo>
                    <a:lnTo>
                      <a:pt x="661" y="50"/>
                    </a:lnTo>
                    <a:lnTo>
                      <a:pt x="661" y="51"/>
                    </a:lnTo>
                    <a:lnTo>
                      <a:pt x="661" y="51"/>
                    </a:lnTo>
                    <a:lnTo>
                      <a:pt x="666" y="50"/>
                    </a:lnTo>
                    <a:lnTo>
                      <a:pt x="666" y="50"/>
                    </a:lnTo>
                    <a:lnTo>
                      <a:pt x="666" y="50"/>
                    </a:lnTo>
                    <a:lnTo>
                      <a:pt x="666" y="50"/>
                    </a:lnTo>
                    <a:lnTo>
                      <a:pt x="672" y="50"/>
                    </a:lnTo>
                    <a:lnTo>
                      <a:pt x="672" y="50"/>
                    </a:lnTo>
                    <a:lnTo>
                      <a:pt x="677" y="50"/>
                    </a:lnTo>
                    <a:lnTo>
                      <a:pt x="677" y="50"/>
                    </a:lnTo>
                    <a:lnTo>
                      <a:pt x="682" y="48"/>
                    </a:lnTo>
                    <a:lnTo>
                      <a:pt x="682" y="48"/>
                    </a:lnTo>
                    <a:lnTo>
                      <a:pt x="680" y="48"/>
                    </a:lnTo>
                    <a:lnTo>
                      <a:pt x="680" y="48"/>
                    </a:lnTo>
                    <a:lnTo>
                      <a:pt x="678" y="48"/>
                    </a:lnTo>
                    <a:lnTo>
                      <a:pt x="678" y="48"/>
                    </a:lnTo>
                    <a:lnTo>
                      <a:pt x="686" y="45"/>
                    </a:lnTo>
                    <a:lnTo>
                      <a:pt x="686" y="45"/>
                    </a:lnTo>
                    <a:lnTo>
                      <a:pt x="683" y="45"/>
                    </a:lnTo>
                    <a:lnTo>
                      <a:pt x="683" y="45"/>
                    </a:lnTo>
                    <a:lnTo>
                      <a:pt x="682" y="45"/>
                    </a:lnTo>
                    <a:lnTo>
                      <a:pt x="682" y="45"/>
                    </a:lnTo>
                    <a:lnTo>
                      <a:pt x="677" y="45"/>
                    </a:lnTo>
                    <a:lnTo>
                      <a:pt x="677" y="45"/>
                    </a:lnTo>
                    <a:lnTo>
                      <a:pt x="677" y="42"/>
                    </a:lnTo>
                    <a:lnTo>
                      <a:pt x="677" y="42"/>
                    </a:lnTo>
                    <a:lnTo>
                      <a:pt x="675" y="42"/>
                    </a:lnTo>
                    <a:lnTo>
                      <a:pt x="675" y="42"/>
                    </a:lnTo>
                    <a:lnTo>
                      <a:pt x="672" y="42"/>
                    </a:lnTo>
                    <a:lnTo>
                      <a:pt x="672" y="42"/>
                    </a:lnTo>
                    <a:lnTo>
                      <a:pt x="669" y="42"/>
                    </a:lnTo>
                    <a:lnTo>
                      <a:pt x="669" y="42"/>
                    </a:lnTo>
                    <a:lnTo>
                      <a:pt x="663" y="42"/>
                    </a:lnTo>
                    <a:lnTo>
                      <a:pt x="663" y="42"/>
                    </a:lnTo>
                    <a:lnTo>
                      <a:pt x="663" y="42"/>
                    </a:lnTo>
                    <a:lnTo>
                      <a:pt x="663" y="42"/>
                    </a:lnTo>
                    <a:lnTo>
                      <a:pt x="663" y="45"/>
                    </a:lnTo>
                    <a:lnTo>
                      <a:pt x="663" y="45"/>
                    </a:lnTo>
                    <a:lnTo>
                      <a:pt x="661" y="45"/>
                    </a:lnTo>
                    <a:lnTo>
                      <a:pt x="661" y="45"/>
                    </a:lnTo>
                    <a:lnTo>
                      <a:pt x="659" y="45"/>
                    </a:lnTo>
                    <a:lnTo>
                      <a:pt x="659" y="45"/>
                    </a:lnTo>
                    <a:lnTo>
                      <a:pt x="659" y="48"/>
                    </a:lnTo>
                    <a:lnTo>
                      <a:pt x="659" y="48"/>
                    </a:lnTo>
                    <a:lnTo>
                      <a:pt x="666" y="48"/>
                    </a:lnTo>
                    <a:lnTo>
                      <a:pt x="666" y="48"/>
                    </a:lnTo>
                    <a:lnTo>
                      <a:pt x="663" y="48"/>
                    </a:lnTo>
                    <a:lnTo>
                      <a:pt x="663" y="48"/>
                    </a:lnTo>
                    <a:lnTo>
                      <a:pt x="663" y="48"/>
                    </a:lnTo>
                    <a:lnTo>
                      <a:pt x="663" y="48"/>
                    </a:lnTo>
                    <a:close/>
                    <a:moveTo>
                      <a:pt x="651" y="62"/>
                    </a:moveTo>
                    <a:lnTo>
                      <a:pt x="651" y="62"/>
                    </a:lnTo>
                    <a:lnTo>
                      <a:pt x="645" y="62"/>
                    </a:lnTo>
                    <a:lnTo>
                      <a:pt x="645" y="62"/>
                    </a:lnTo>
                    <a:lnTo>
                      <a:pt x="650" y="64"/>
                    </a:lnTo>
                    <a:lnTo>
                      <a:pt x="650" y="64"/>
                    </a:lnTo>
                    <a:lnTo>
                      <a:pt x="655" y="64"/>
                    </a:lnTo>
                    <a:lnTo>
                      <a:pt x="655" y="64"/>
                    </a:lnTo>
                    <a:lnTo>
                      <a:pt x="653" y="65"/>
                    </a:lnTo>
                    <a:lnTo>
                      <a:pt x="653" y="65"/>
                    </a:lnTo>
                    <a:lnTo>
                      <a:pt x="650" y="65"/>
                    </a:lnTo>
                    <a:lnTo>
                      <a:pt x="650" y="65"/>
                    </a:lnTo>
                    <a:lnTo>
                      <a:pt x="651" y="67"/>
                    </a:lnTo>
                    <a:lnTo>
                      <a:pt x="651" y="67"/>
                    </a:lnTo>
                    <a:lnTo>
                      <a:pt x="653" y="67"/>
                    </a:lnTo>
                    <a:lnTo>
                      <a:pt x="653" y="67"/>
                    </a:lnTo>
                    <a:lnTo>
                      <a:pt x="655" y="69"/>
                    </a:lnTo>
                    <a:lnTo>
                      <a:pt x="655" y="69"/>
                    </a:lnTo>
                    <a:lnTo>
                      <a:pt x="658" y="67"/>
                    </a:lnTo>
                    <a:lnTo>
                      <a:pt x="658" y="67"/>
                    </a:lnTo>
                    <a:lnTo>
                      <a:pt x="666" y="69"/>
                    </a:lnTo>
                    <a:lnTo>
                      <a:pt x="666" y="69"/>
                    </a:lnTo>
                    <a:lnTo>
                      <a:pt x="669" y="67"/>
                    </a:lnTo>
                    <a:lnTo>
                      <a:pt x="669" y="67"/>
                    </a:lnTo>
                    <a:lnTo>
                      <a:pt x="672" y="67"/>
                    </a:lnTo>
                    <a:lnTo>
                      <a:pt x="672" y="67"/>
                    </a:lnTo>
                    <a:lnTo>
                      <a:pt x="672" y="67"/>
                    </a:lnTo>
                    <a:lnTo>
                      <a:pt x="672" y="67"/>
                    </a:lnTo>
                    <a:lnTo>
                      <a:pt x="672" y="69"/>
                    </a:lnTo>
                    <a:lnTo>
                      <a:pt x="672" y="69"/>
                    </a:lnTo>
                    <a:lnTo>
                      <a:pt x="672" y="70"/>
                    </a:lnTo>
                    <a:lnTo>
                      <a:pt x="672" y="70"/>
                    </a:lnTo>
                    <a:lnTo>
                      <a:pt x="672" y="72"/>
                    </a:lnTo>
                    <a:lnTo>
                      <a:pt x="672" y="72"/>
                    </a:lnTo>
                    <a:lnTo>
                      <a:pt x="674" y="72"/>
                    </a:lnTo>
                    <a:lnTo>
                      <a:pt x="674" y="72"/>
                    </a:lnTo>
                    <a:lnTo>
                      <a:pt x="672" y="73"/>
                    </a:lnTo>
                    <a:lnTo>
                      <a:pt x="672" y="73"/>
                    </a:lnTo>
                    <a:lnTo>
                      <a:pt x="669" y="77"/>
                    </a:lnTo>
                    <a:lnTo>
                      <a:pt x="669" y="77"/>
                    </a:lnTo>
                    <a:lnTo>
                      <a:pt x="666" y="77"/>
                    </a:lnTo>
                    <a:lnTo>
                      <a:pt x="666" y="77"/>
                    </a:lnTo>
                    <a:lnTo>
                      <a:pt x="663" y="80"/>
                    </a:lnTo>
                    <a:lnTo>
                      <a:pt x="663" y="80"/>
                    </a:lnTo>
                    <a:lnTo>
                      <a:pt x="666" y="80"/>
                    </a:lnTo>
                    <a:lnTo>
                      <a:pt x="666" y="80"/>
                    </a:lnTo>
                    <a:lnTo>
                      <a:pt x="663" y="81"/>
                    </a:lnTo>
                    <a:lnTo>
                      <a:pt x="663" y="81"/>
                    </a:lnTo>
                    <a:lnTo>
                      <a:pt x="663" y="83"/>
                    </a:lnTo>
                    <a:lnTo>
                      <a:pt x="663" y="83"/>
                    </a:lnTo>
                    <a:lnTo>
                      <a:pt x="663" y="84"/>
                    </a:lnTo>
                    <a:lnTo>
                      <a:pt x="663" y="84"/>
                    </a:lnTo>
                    <a:lnTo>
                      <a:pt x="666" y="84"/>
                    </a:lnTo>
                    <a:lnTo>
                      <a:pt x="666" y="84"/>
                    </a:lnTo>
                    <a:lnTo>
                      <a:pt x="669" y="84"/>
                    </a:lnTo>
                    <a:lnTo>
                      <a:pt x="669" y="84"/>
                    </a:lnTo>
                    <a:lnTo>
                      <a:pt x="672" y="83"/>
                    </a:lnTo>
                    <a:lnTo>
                      <a:pt x="672" y="83"/>
                    </a:lnTo>
                    <a:lnTo>
                      <a:pt x="669" y="84"/>
                    </a:lnTo>
                    <a:lnTo>
                      <a:pt x="669" y="84"/>
                    </a:lnTo>
                    <a:lnTo>
                      <a:pt x="672" y="84"/>
                    </a:lnTo>
                    <a:lnTo>
                      <a:pt x="672" y="84"/>
                    </a:lnTo>
                    <a:lnTo>
                      <a:pt x="672" y="86"/>
                    </a:lnTo>
                    <a:lnTo>
                      <a:pt x="672" y="86"/>
                    </a:lnTo>
                    <a:lnTo>
                      <a:pt x="675" y="86"/>
                    </a:lnTo>
                    <a:lnTo>
                      <a:pt x="675" y="86"/>
                    </a:lnTo>
                    <a:lnTo>
                      <a:pt x="680" y="86"/>
                    </a:lnTo>
                    <a:lnTo>
                      <a:pt x="680" y="86"/>
                    </a:lnTo>
                    <a:lnTo>
                      <a:pt x="683" y="86"/>
                    </a:lnTo>
                    <a:lnTo>
                      <a:pt x="683" y="86"/>
                    </a:lnTo>
                    <a:lnTo>
                      <a:pt x="688" y="83"/>
                    </a:lnTo>
                    <a:lnTo>
                      <a:pt x="688" y="83"/>
                    </a:lnTo>
                    <a:lnTo>
                      <a:pt x="688" y="84"/>
                    </a:lnTo>
                    <a:lnTo>
                      <a:pt x="688" y="84"/>
                    </a:lnTo>
                    <a:lnTo>
                      <a:pt x="689" y="83"/>
                    </a:lnTo>
                    <a:lnTo>
                      <a:pt x="689" y="83"/>
                    </a:lnTo>
                    <a:lnTo>
                      <a:pt x="693" y="83"/>
                    </a:lnTo>
                    <a:lnTo>
                      <a:pt x="693" y="83"/>
                    </a:lnTo>
                    <a:lnTo>
                      <a:pt x="693" y="83"/>
                    </a:lnTo>
                    <a:lnTo>
                      <a:pt x="693" y="83"/>
                    </a:lnTo>
                    <a:lnTo>
                      <a:pt x="689" y="84"/>
                    </a:lnTo>
                    <a:lnTo>
                      <a:pt x="689" y="84"/>
                    </a:lnTo>
                    <a:lnTo>
                      <a:pt x="688" y="86"/>
                    </a:lnTo>
                    <a:lnTo>
                      <a:pt x="688" y="86"/>
                    </a:lnTo>
                    <a:lnTo>
                      <a:pt x="693" y="88"/>
                    </a:lnTo>
                    <a:lnTo>
                      <a:pt x="693" y="88"/>
                    </a:lnTo>
                    <a:lnTo>
                      <a:pt x="697" y="86"/>
                    </a:lnTo>
                    <a:lnTo>
                      <a:pt x="697" y="86"/>
                    </a:lnTo>
                    <a:lnTo>
                      <a:pt x="701" y="88"/>
                    </a:lnTo>
                    <a:lnTo>
                      <a:pt x="701" y="88"/>
                    </a:lnTo>
                    <a:lnTo>
                      <a:pt x="702" y="88"/>
                    </a:lnTo>
                    <a:lnTo>
                      <a:pt x="702" y="88"/>
                    </a:lnTo>
                    <a:lnTo>
                      <a:pt x="704" y="86"/>
                    </a:lnTo>
                    <a:lnTo>
                      <a:pt x="704" y="86"/>
                    </a:lnTo>
                    <a:lnTo>
                      <a:pt x="707" y="88"/>
                    </a:lnTo>
                    <a:lnTo>
                      <a:pt x="707" y="88"/>
                    </a:lnTo>
                    <a:lnTo>
                      <a:pt x="709" y="86"/>
                    </a:lnTo>
                    <a:lnTo>
                      <a:pt x="709" y="86"/>
                    </a:lnTo>
                    <a:lnTo>
                      <a:pt x="710" y="88"/>
                    </a:lnTo>
                    <a:lnTo>
                      <a:pt x="710" y="88"/>
                    </a:lnTo>
                    <a:lnTo>
                      <a:pt x="712" y="88"/>
                    </a:lnTo>
                    <a:lnTo>
                      <a:pt x="712" y="88"/>
                    </a:lnTo>
                    <a:lnTo>
                      <a:pt x="715" y="86"/>
                    </a:lnTo>
                    <a:lnTo>
                      <a:pt x="715" y="86"/>
                    </a:lnTo>
                    <a:lnTo>
                      <a:pt x="716" y="88"/>
                    </a:lnTo>
                    <a:lnTo>
                      <a:pt x="716" y="88"/>
                    </a:lnTo>
                    <a:lnTo>
                      <a:pt x="718" y="86"/>
                    </a:lnTo>
                    <a:lnTo>
                      <a:pt x="718" y="86"/>
                    </a:lnTo>
                    <a:lnTo>
                      <a:pt x="721" y="84"/>
                    </a:lnTo>
                    <a:lnTo>
                      <a:pt x="721" y="84"/>
                    </a:lnTo>
                    <a:lnTo>
                      <a:pt x="718" y="86"/>
                    </a:lnTo>
                    <a:lnTo>
                      <a:pt x="718" y="86"/>
                    </a:lnTo>
                    <a:lnTo>
                      <a:pt x="721" y="88"/>
                    </a:lnTo>
                    <a:lnTo>
                      <a:pt x="721" y="88"/>
                    </a:lnTo>
                    <a:lnTo>
                      <a:pt x="724" y="88"/>
                    </a:lnTo>
                    <a:lnTo>
                      <a:pt x="724" y="88"/>
                    </a:lnTo>
                    <a:lnTo>
                      <a:pt x="731" y="86"/>
                    </a:lnTo>
                    <a:lnTo>
                      <a:pt x="731" y="86"/>
                    </a:lnTo>
                    <a:lnTo>
                      <a:pt x="734" y="84"/>
                    </a:lnTo>
                    <a:lnTo>
                      <a:pt x="734" y="84"/>
                    </a:lnTo>
                    <a:lnTo>
                      <a:pt x="736" y="83"/>
                    </a:lnTo>
                    <a:lnTo>
                      <a:pt x="736" y="83"/>
                    </a:lnTo>
                    <a:lnTo>
                      <a:pt x="737" y="83"/>
                    </a:lnTo>
                    <a:lnTo>
                      <a:pt x="737" y="83"/>
                    </a:lnTo>
                    <a:lnTo>
                      <a:pt x="737" y="84"/>
                    </a:lnTo>
                    <a:lnTo>
                      <a:pt x="737" y="84"/>
                    </a:lnTo>
                    <a:lnTo>
                      <a:pt x="737" y="86"/>
                    </a:lnTo>
                    <a:lnTo>
                      <a:pt x="737" y="86"/>
                    </a:lnTo>
                    <a:lnTo>
                      <a:pt x="740" y="88"/>
                    </a:lnTo>
                    <a:lnTo>
                      <a:pt x="740" y="88"/>
                    </a:lnTo>
                    <a:lnTo>
                      <a:pt x="747" y="88"/>
                    </a:lnTo>
                    <a:lnTo>
                      <a:pt x="747" y="88"/>
                    </a:lnTo>
                    <a:lnTo>
                      <a:pt x="751" y="86"/>
                    </a:lnTo>
                    <a:lnTo>
                      <a:pt x="751" y="86"/>
                    </a:lnTo>
                    <a:lnTo>
                      <a:pt x="756" y="86"/>
                    </a:lnTo>
                    <a:lnTo>
                      <a:pt x="756" y="86"/>
                    </a:lnTo>
                    <a:lnTo>
                      <a:pt x="759" y="86"/>
                    </a:lnTo>
                    <a:lnTo>
                      <a:pt x="759" y="86"/>
                    </a:lnTo>
                    <a:lnTo>
                      <a:pt x="763" y="83"/>
                    </a:lnTo>
                    <a:lnTo>
                      <a:pt x="763" y="83"/>
                    </a:lnTo>
                    <a:lnTo>
                      <a:pt x="764" y="81"/>
                    </a:lnTo>
                    <a:lnTo>
                      <a:pt x="764" y="81"/>
                    </a:lnTo>
                    <a:lnTo>
                      <a:pt x="766" y="80"/>
                    </a:lnTo>
                    <a:lnTo>
                      <a:pt x="766" y="80"/>
                    </a:lnTo>
                    <a:lnTo>
                      <a:pt x="769" y="80"/>
                    </a:lnTo>
                    <a:lnTo>
                      <a:pt x="769" y="80"/>
                    </a:lnTo>
                    <a:lnTo>
                      <a:pt x="774" y="80"/>
                    </a:lnTo>
                    <a:lnTo>
                      <a:pt x="774" y="80"/>
                    </a:lnTo>
                    <a:lnTo>
                      <a:pt x="775" y="77"/>
                    </a:lnTo>
                    <a:lnTo>
                      <a:pt x="775" y="77"/>
                    </a:lnTo>
                    <a:lnTo>
                      <a:pt x="772" y="77"/>
                    </a:lnTo>
                    <a:lnTo>
                      <a:pt x="772" y="77"/>
                    </a:lnTo>
                    <a:lnTo>
                      <a:pt x="774" y="77"/>
                    </a:lnTo>
                    <a:lnTo>
                      <a:pt x="774" y="77"/>
                    </a:lnTo>
                    <a:lnTo>
                      <a:pt x="770" y="73"/>
                    </a:lnTo>
                    <a:lnTo>
                      <a:pt x="770" y="73"/>
                    </a:lnTo>
                    <a:lnTo>
                      <a:pt x="769" y="73"/>
                    </a:lnTo>
                    <a:lnTo>
                      <a:pt x="769" y="73"/>
                    </a:lnTo>
                    <a:lnTo>
                      <a:pt x="764" y="73"/>
                    </a:lnTo>
                    <a:lnTo>
                      <a:pt x="764" y="73"/>
                    </a:lnTo>
                    <a:lnTo>
                      <a:pt x="764" y="73"/>
                    </a:lnTo>
                    <a:lnTo>
                      <a:pt x="764" y="73"/>
                    </a:lnTo>
                    <a:lnTo>
                      <a:pt x="763" y="72"/>
                    </a:lnTo>
                    <a:lnTo>
                      <a:pt x="763" y="72"/>
                    </a:lnTo>
                    <a:lnTo>
                      <a:pt x="756" y="73"/>
                    </a:lnTo>
                    <a:lnTo>
                      <a:pt x="756" y="73"/>
                    </a:lnTo>
                    <a:lnTo>
                      <a:pt x="751" y="73"/>
                    </a:lnTo>
                    <a:lnTo>
                      <a:pt x="751" y="73"/>
                    </a:lnTo>
                    <a:lnTo>
                      <a:pt x="747" y="73"/>
                    </a:lnTo>
                    <a:lnTo>
                      <a:pt x="747" y="73"/>
                    </a:lnTo>
                    <a:lnTo>
                      <a:pt x="740" y="73"/>
                    </a:lnTo>
                    <a:lnTo>
                      <a:pt x="740" y="73"/>
                    </a:lnTo>
                    <a:lnTo>
                      <a:pt x="734" y="73"/>
                    </a:lnTo>
                    <a:lnTo>
                      <a:pt x="734" y="73"/>
                    </a:lnTo>
                    <a:lnTo>
                      <a:pt x="721" y="77"/>
                    </a:lnTo>
                    <a:lnTo>
                      <a:pt x="721" y="77"/>
                    </a:lnTo>
                    <a:lnTo>
                      <a:pt x="724" y="77"/>
                    </a:lnTo>
                    <a:lnTo>
                      <a:pt x="724" y="77"/>
                    </a:lnTo>
                    <a:lnTo>
                      <a:pt x="716" y="77"/>
                    </a:lnTo>
                    <a:lnTo>
                      <a:pt x="716" y="77"/>
                    </a:lnTo>
                    <a:lnTo>
                      <a:pt x="716" y="77"/>
                    </a:lnTo>
                    <a:lnTo>
                      <a:pt x="716" y="77"/>
                    </a:lnTo>
                    <a:lnTo>
                      <a:pt x="713" y="73"/>
                    </a:lnTo>
                    <a:lnTo>
                      <a:pt x="713" y="73"/>
                    </a:lnTo>
                    <a:lnTo>
                      <a:pt x="710" y="73"/>
                    </a:lnTo>
                    <a:lnTo>
                      <a:pt x="710" y="73"/>
                    </a:lnTo>
                    <a:lnTo>
                      <a:pt x="709" y="77"/>
                    </a:lnTo>
                    <a:lnTo>
                      <a:pt x="709" y="77"/>
                    </a:lnTo>
                    <a:lnTo>
                      <a:pt x="707" y="77"/>
                    </a:lnTo>
                    <a:lnTo>
                      <a:pt x="707" y="77"/>
                    </a:lnTo>
                    <a:lnTo>
                      <a:pt x="705" y="77"/>
                    </a:lnTo>
                    <a:lnTo>
                      <a:pt x="705" y="77"/>
                    </a:lnTo>
                    <a:lnTo>
                      <a:pt x="702" y="77"/>
                    </a:lnTo>
                    <a:lnTo>
                      <a:pt x="702" y="77"/>
                    </a:lnTo>
                    <a:lnTo>
                      <a:pt x="701" y="73"/>
                    </a:lnTo>
                    <a:lnTo>
                      <a:pt x="701" y="73"/>
                    </a:lnTo>
                    <a:lnTo>
                      <a:pt x="699" y="73"/>
                    </a:lnTo>
                    <a:lnTo>
                      <a:pt x="699" y="73"/>
                    </a:lnTo>
                    <a:lnTo>
                      <a:pt x="697" y="73"/>
                    </a:lnTo>
                    <a:lnTo>
                      <a:pt x="697" y="73"/>
                    </a:lnTo>
                    <a:lnTo>
                      <a:pt x="697" y="77"/>
                    </a:lnTo>
                    <a:lnTo>
                      <a:pt x="697" y="77"/>
                    </a:lnTo>
                    <a:lnTo>
                      <a:pt x="696" y="77"/>
                    </a:lnTo>
                    <a:lnTo>
                      <a:pt x="696" y="77"/>
                    </a:lnTo>
                    <a:lnTo>
                      <a:pt x="696" y="77"/>
                    </a:lnTo>
                    <a:lnTo>
                      <a:pt x="696" y="77"/>
                    </a:lnTo>
                    <a:lnTo>
                      <a:pt x="693" y="73"/>
                    </a:lnTo>
                    <a:lnTo>
                      <a:pt x="693" y="73"/>
                    </a:lnTo>
                    <a:lnTo>
                      <a:pt x="696" y="73"/>
                    </a:lnTo>
                    <a:lnTo>
                      <a:pt x="696" y="73"/>
                    </a:lnTo>
                    <a:lnTo>
                      <a:pt x="697" y="73"/>
                    </a:lnTo>
                    <a:lnTo>
                      <a:pt x="697" y="73"/>
                    </a:lnTo>
                    <a:lnTo>
                      <a:pt x="696" y="73"/>
                    </a:lnTo>
                    <a:lnTo>
                      <a:pt x="696" y="73"/>
                    </a:lnTo>
                    <a:lnTo>
                      <a:pt x="693" y="73"/>
                    </a:lnTo>
                    <a:lnTo>
                      <a:pt x="693" y="73"/>
                    </a:lnTo>
                    <a:lnTo>
                      <a:pt x="696" y="72"/>
                    </a:lnTo>
                    <a:lnTo>
                      <a:pt x="696" y="72"/>
                    </a:lnTo>
                    <a:lnTo>
                      <a:pt x="693" y="72"/>
                    </a:lnTo>
                    <a:lnTo>
                      <a:pt x="693" y="72"/>
                    </a:lnTo>
                    <a:lnTo>
                      <a:pt x="693" y="72"/>
                    </a:lnTo>
                    <a:lnTo>
                      <a:pt x="693" y="72"/>
                    </a:lnTo>
                    <a:lnTo>
                      <a:pt x="688" y="72"/>
                    </a:lnTo>
                    <a:lnTo>
                      <a:pt x="688" y="72"/>
                    </a:lnTo>
                    <a:lnTo>
                      <a:pt x="683" y="73"/>
                    </a:lnTo>
                    <a:lnTo>
                      <a:pt x="683" y="73"/>
                    </a:lnTo>
                    <a:lnTo>
                      <a:pt x="685" y="72"/>
                    </a:lnTo>
                    <a:lnTo>
                      <a:pt x="685" y="72"/>
                    </a:lnTo>
                    <a:lnTo>
                      <a:pt x="688" y="70"/>
                    </a:lnTo>
                    <a:lnTo>
                      <a:pt x="688" y="70"/>
                    </a:lnTo>
                    <a:lnTo>
                      <a:pt x="685" y="69"/>
                    </a:lnTo>
                    <a:lnTo>
                      <a:pt x="685" y="69"/>
                    </a:lnTo>
                    <a:lnTo>
                      <a:pt x="686" y="69"/>
                    </a:lnTo>
                    <a:lnTo>
                      <a:pt x="686" y="69"/>
                    </a:lnTo>
                    <a:lnTo>
                      <a:pt x="689" y="69"/>
                    </a:lnTo>
                    <a:lnTo>
                      <a:pt x="689" y="69"/>
                    </a:lnTo>
                    <a:lnTo>
                      <a:pt x="693" y="70"/>
                    </a:lnTo>
                    <a:lnTo>
                      <a:pt x="693" y="70"/>
                    </a:lnTo>
                    <a:lnTo>
                      <a:pt x="693" y="69"/>
                    </a:lnTo>
                    <a:lnTo>
                      <a:pt x="693" y="69"/>
                    </a:lnTo>
                    <a:lnTo>
                      <a:pt x="696" y="69"/>
                    </a:lnTo>
                    <a:lnTo>
                      <a:pt x="696" y="69"/>
                    </a:lnTo>
                    <a:lnTo>
                      <a:pt x="702" y="69"/>
                    </a:lnTo>
                    <a:lnTo>
                      <a:pt x="702" y="69"/>
                    </a:lnTo>
                    <a:lnTo>
                      <a:pt x="699" y="67"/>
                    </a:lnTo>
                    <a:lnTo>
                      <a:pt x="699" y="67"/>
                    </a:lnTo>
                    <a:lnTo>
                      <a:pt x="696" y="65"/>
                    </a:lnTo>
                    <a:lnTo>
                      <a:pt x="696" y="65"/>
                    </a:lnTo>
                    <a:lnTo>
                      <a:pt x="693" y="64"/>
                    </a:lnTo>
                    <a:lnTo>
                      <a:pt x="693" y="64"/>
                    </a:lnTo>
                    <a:lnTo>
                      <a:pt x="689" y="62"/>
                    </a:lnTo>
                    <a:lnTo>
                      <a:pt x="689" y="62"/>
                    </a:lnTo>
                    <a:lnTo>
                      <a:pt x="685" y="64"/>
                    </a:lnTo>
                    <a:lnTo>
                      <a:pt x="685" y="64"/>
                    </a:lnTo>
                    <a:lnTo>
                      <a:pt x="677" y="64"/>
                    </a:lnTo>
                    <a:lnTo>
                      <a:pt x="677" y="64"/>
                    </a:lnTo>
                    <a:lnTo>
                      <a:pt x="675" y="64"/>
                    </a:lnTo>
                    <a:lnTo>
                      <a:pt x="675" y="64"/>
                    </a:lnTo>
                    <a:lnTo>
                      <a:pt x="675" y="62"/>
                    </a:lnTo>
                    <a:lnTo>
                      <a:pt x="675" y="62"/>
                    </a:lnTo>
                    <a:lnTo>
                      <a:pt x="674" y="61"/>
                    </a:lnTo>
                    <a:lnTo>
                      <a:pt x="674" y="61"/>
                    </a:lnTo>
                    <a:lnTo>
                      <a:pt x="669" y="61"/>
                    </a:lnTo>
                    <a:lnTo>
                      <a:pt x="669" y="61"/>
                    </a:lnTo>
                    <a:lnTo>
                      <a:pt x="663" y="59"/>
                    </a:lnTo>
                    <a:lnTo>
                      <a:pt x="663" y="59"/>
                    </a:lnTo>
                    <a:lnTo>
                      <a:pt x="659" y="59"/>
                    </a:lnTo>
                    <a:lnTo>
                      <a:pt x="659" y="59"/>
                    </a:lnTo>
                    <a:lnTo>
                      <a:pt x="651" y="59"/>
                    </a:lnTo>
                    <a:lnTo>
                      <a:pt x="651" y="59"/>
                    </a:lnTo>
                    <a:lnTo>
                      <a:pt x="650" y="61"/>
                    </a:lnTo>
                    <a:lnTo>
                      <a:pt x="651" y="62"/>
                    </a:lnTo>
                    <a:lnTo>
                      <a:pt x="651" y="62"/>
                    </a:lnTo>
                    <a:lnTo>
                      <a:pt x="651" y="62"/>
                    </a:lnTo>
                    <a:close/>
                    <a:moveTo>
                      <a:pt x="772" y="83"/>
                    </a:moveTo>
                    <a:lnTo>
                      <a:pt x="772" y="83"/>
                    </a:lnTo>
                    <a:lnTo>
                      <a:pt x="770" y="81"/>
                    </a:lnTo>
                    <a:lnTo>
                      <a:pt x="770" y="81"/>
                    </a:lnTo>
                    <a:lnTo>
                      <a:pt x="769" y="81"/>
                    </a:lnTo>
                    <a:lnTo>
                      <a:pt x="769" y="81"/>
                    </a:lnTo>
                    <a:lnTo>
                      <a:pt x="764" y="81"/>
                    </a:lnTo>
                    <a:lnTo>
                      <a:pt x="764" y="81"/>
                    </a:lnTo>
                    <a:lnTo>
                      <a:pt x="766" y="83"/>
                    </a:lnTo>
                    <a:lnTo>
                      <a:pt x="772" y="83"/>
                    </a:lnTo>
                    <a:lnTo>
                      <a:pt x="772" y="83"/>
                    </a:lnTo>
                    <a:lnTo>
                      <a:pt x="772" y="83"/>
                    </a:lnTo>
                    <a:close/>
                    <a:moveTo>
                      <a:pt x="535" y="132"/>
                    </a:moveTo>
                    <a:lnTo>
                      <a:pt x="535" y="132"/>
                    </a:lnTo>
                    <a:lnTo>
                      <a:pt x="534" y="132"/>
                    </a:lnTo>
                    <a:lnTo>
                      <a:pt x="534" y="132"/>
                    </a:lnTo>
                    <a:lnTo>
                      <a:pt x="537" y="132"/>
                    </a:lnTo>
                    <a:lnTo>
                      <a:pt x="537" y="132"/>
                    </a:lnTo>
                    <a:lnTo>
                      <a:pt x="537" y="132"/>
                    </a:lnTo>
                    <a:lnTo>
                      <a:pt x="537" y="132"/>
                    </a:lnTo>
                    <a:lnTo>
                      <a:pt x="537" y="132"/>
                    </a:lnTo>
                    <a:lnTo>
                      <a:pt x="535" y="132"/>
                    </a:lnTo>
                    <a:lnTo>
                      <a:pt x="535" y="132"/>
                    </a:lnTo>
                    <a:lnTo>
                      <a:pt x="535" y="132"/>
                    </a:lnTo>
                    <a:close/>
                    <a:moveTo>
                      <a:pt x="453" y="73"/>
                    </a:moveTo>
                    <a:lnTo>
                      <a:pt x="453" y="73"/>
                    </a:lnTo>
                    <a:lnTo>
                      <a:pt x="458" y="73"/>
                    </a:lnTo>
                    <a:lnTo>
                      <a:pt x="458" y="73"/>
                    </a:lnTo>
                    <a:lnTo>
                      <a:pt x="462" y="70"/>
                    </a:lnTo>
                    <a:lnTo>
                      <a:pt x="462" y="70"/>
                    </a:lnTo>
                    <a:lnTo>
                      <a:pt x="456" y="70"/>
                    </a:lnTo>
                    <a:lnTo>
                      <a:pt x="456" y="70"/>
                    </a:lnTo>
                    <a:lnTo>
                      <a:pt x="450" y="72"/>
                    </a:lnTo>
                    <a:lnTo>
                      <a:pt x="450" y="72"/>
                    </a:lnTo>
                    <a:lnTo>
                      <a:pt x="445" y="73"/>
                    </a:lnTo>
                    <a:lnTo>
                      <a:pt x="445" y="73"/>
                    </a:lnTo>
                    <a:lnTo>
                      <a:pt x="439" y="77"/>
                    </a:lnTo>
                    <a:lnTo>
                      <a:pt x="439" y="77"/>
                    </a:lnTo>
                    <a:lnTo>
                      <a:pt x="442" y="77"/>
                    </a:lnTo>
                    <a:lnTo>
                      <a:pt x="442" y="77"/>
                    </a:lnTo>
                    <a:lnTo>
                      <a:pt x="447" y="77"/>
                    </a:lnTo>
                    <a:lnTo>
                      <a:pt x="453" y="73"/>
                    </a:lnTo>
                    <a:lnTo>
                      <a:pt x="453" y="73"/>
                    </a:lnTo>
                    <a:lnTo>
                      <a:pt x="453" y="73"/>
                    </a:lnTo>
                    <a:close/>
                    <a:moveTo>
                      <a:pt x="520" y="143"/>
                    </a:moveTo>
                    <a:lnTo>
                      <a:pt x="520" y="143"/>
                    </a:lnTo>
                    <a:lnTo>
                      <a:pt x="523" y="142"/>
                    </a:lnTo>
                    <a:lnTo>
                      <a:pt x="523" y="142"/>
                    </a:lnTo>
                    <a:lnTo>
                      <a:pt x="524" y="138"/>
                    </a:lnTo>
                    <a:lnTo>
                      <a:pt x="524" y="138"/>
                    </a:lnTo>
                    <a:lnTo>
                      <a:pt x="521" y="138"/>
                    </a:lnTo>
                    <a:lnTo>
                      <a:pt x="521" y="138"/>
                    </a:lnTo>
                    <a:lnTo>
                      <a:pt x="520" y="138"/>
                    </a:lnTo>
                    <a:lnTo>
                      <a:pt x="520" y="138"/>
                    </a:lnTo>
                    <a:lnTo>
                      <a:pt x="520" y="135"/>
                    </a:lnTo>
                    <a:lnTo>
                      <a:pt x="520" y="135"/>
                    </a:lnTo>
                    <a:lnTo>
                      <a:pt x="518" y="135"/>
                    </a:lnTo>
                    <a:lnTo>
                      <a:pt x="518" y="135"/>
                    </a:lnTo>
                    <a:lnTo>
                      <a:pt x="513" y="132"/>
                    </a:lnTo>
                    <a:lnTo>
                      <a:pt x="513" y="132"/>
                    </a:lnTo>
                    <a:lnTo>
                      <a:pt x="512" y="132"/>
                    </a:lnTo>
                    <a:lnTo>
                      <a:pt x="512" y="132"/>
                    </a:lnTo>
                    <a:lnTo>
                      <a:pt x="512" y="132"/>
                    </a:lnTo>
                    <a:lnTo>
                      <a:pt x="512" y="132"/>
                    </a:lnTo>
                    <a:lnTo>
                      <a:pt x="508" y="132"/>
                    </a:lnTo>
                    <a:lnTo>
                      <a:pt x="508" y="132"/>
                    </a:lnTo>
                    <a:lnTo>
                      <a:pt x="508" y="132"/>
                    </a:lnTo>
                    <a:lnTo>
                      <a:pt x="508" y="132"/>
                    </a:lnTo>
                    <a:lnTo>
                      <a:pt x="505" y="129"/>
                    </a:lnTo>
                    <a:lnTo>
                      <a:pt x="505" y="129"/>
                    </a:lnTo>
                    <a:lnTo>
                      <a:pt x="505" y="129"/>
                    </a:lnTo>
                    <a:lnTo>
                      <a:pt x="505" y="129"/>
                    </a:lnTo>
                    <a:lnTo>
                      <a:pt x="505" y="129"/>
                    </a:lnTo>
                    <a:lnTo>
                      <a:pt x="505" y="129"/>
                    </a:lnTo>
                    <a:lnTo>
                      <a:pt x="505" y="127"/>
                    </a:lnTo>
                    <a:lnTo>
                      <a:pt x="505" y="127"/>
                    </a:lnTo>
                    <a:lnTo>
                      <a:pt x="505" y="126"/>
                    </a:lnTo>
                    <a:lnTo>
                      <a:pt x="505" y="126"/>
                    </a:lnTo>
                    <a:lnTo>
                      <a:pt x="508" y="124"/>
                    </a:lnTo>
                    <a:lnTo>
                      <a:pt x="508" y="124"/>
                    </a:lnTo>
                    <a:lnTo>
                      <a:pt x="512" y="123"/>
                    </a:lnTo>
                    <a:lnTo>
                      <a:pt x="512" y="123"/>
                    </a:lnTo>
                    <a:lnTo>
                      <a:pt x="512" y="119"/>
                    </a:lnTo>
                    <a:lnTo>
                      <a:pt x="512" y="119"/>
                    </a:lnTo>
                    <a:lnTo>
                      <a:pt x="512" y="116"/>
                    </a:lnTo>
                    <a:lnTo>
                      <a:pt x="512" y="116"/>
                    </a:lnTo>
                    <a:lnTo>
                      <a:pt x="516" y="110"/>
                    </a:lnTo>
                    <a:lnTo>
                      <a:pt x="516" y="110"/>
                    </a:lnTo>
                    <a:lnTo>
                      <a:pt x="518" y="108"/>
                    </a:lnTo>
                    <a:lnTo>
                      <a:pt x="518" y="108"/>
                    </a:lnTo>
                    <a:lnTo>
                      <a:pt x="520" y="107"/>
                    </a:lnTo>
                    <a:lnTo>
                      <a:pt x="520" y="107"/>
                    </a:lnTo>
                    <a:lnTo>
                      <a:pt x="518" y="104"/>
                    </a:lnTo>
                    <a:lnTo>
                      <a:pt x="518" y="104"/>
                    </a:lnTo>
                    <a:lnTo>
                      <a:pt x="516" y="104"/>
                    </a:lnTo>
                    <a:lnTo>
                      <a:pt x="516" y="104"/>
                    </a:lnTo>
                    <a:lnTo>
                      <a:pt x="513" y="100"/>
                    </a:lnTo>
                    <a:lnTo>
                      <a:pt x="513" y="100"/>
                    </a:lnTo>
                    <a:lnTo>
                      <a:pt x="508" y="100"/>
                    </a:lnTo>
                    <a:lnTo>
                      <a:pt x="508" y="100"/>
                    </a:lnTo>
                    <a:lnTo>
                      <a:pt x="505" y="100"/>
                    </a:lnTo>
                    <a:lnTo>
                      <a:pt x="505" y="100"/>
                    </a:lnTo>
                    <a:lnTo>
                      <a:pt x="505" y="100"/>
                    </a:lnTo>
                    <a:lnTo>
                      <a:pt x="505" y="100"/>
                    </a:lnTo>
                    <a:lnTo>
                      <a:pt x="502" y="100"/>
                    </a:lnTo>
                    <a:lnTo>
                      <a:pt x="502" y="100"/>
                    </a:lnTo>
                    <a:lnTo>
                      <a:pt x="502" y="100"/>
                    </a:lnTo>
                    <a:lnTo>
                      <a:pt x="502" y="100"/>
                    </a:lnTo>
                    <a:lnTo>
                      <a:pt x="501" y="104"/>
                    </a:lnTo>
                    <a:lnTo>
                      <a:pt x="501" y="104"/>
                    </a:lnTo>
                    <a:lnTo>
                      <a:pt x="497" y="104"/>
                    </a:lnTo>
                    <a:lnTo>
                      <a:pt x="497" y="104"/>
                    </a:lnTo>
                    <a:lnTo>
                      <a:pt x="494" y="108"/>
                    </a:lnTo>
                    <a:lnTo>
                      <a:pt x="494" y="108"/>
                    </a:lnTo>
                    <a:lnTo>
                      <a:pt x="491" y="113"/>
                    </a:lnTo>
                    <a:lnTo>
                      <a:pt x="491" y="113"/>
                    </a:lnTo>
                    <a:lnTo>
                      <a:pt x="489" y="115"/>
                    </a:lnTo>
                    <a:lnTo>
                      <a:pt x="489" y="115"/>
                    </a:lnTo>
                    <a:lnTo>
                      <a:pt x="491" y="118"/>
                    </a:lnTo>
                    <a:lnTo>
                      <a:pt x="491" y="118"/>
                    </a:lnTo>
                    <a:lnTo>
                      <a:pt x="488" y="118"/>
                    </a:lnTo>
                    <a:lnTo>
                      <a:pt x="488" y="118"/>
                    </a:lnTo>
                    <a:lnTo>
                      <a:pt x="485" y="119"/>
                    </a:lnTo>
                    <a:lnTo>
                      <a:pt x="485" y="119"/>
                    </a:lnTo>
                    <a:lnTo>
                      <a:pt x="482" y="119"/>
                    </a:lnTo>
                    <a:lnTo>
                      <a:pt x="482" y="119"/>
                    </a:lnTo>
                    <a:lnTo>
                      <a:pt x="480" y="119"/>
                    </a:lnTo>
                    <a:lnTo>
                      <a:pt x="480" y="119"/>
                    </a:lnTo>
                    <a:lnTo>
                      <a:pt x="483" y="116"/>
                    </a:lnTo>
                    <a:lnTo>
                      <a:pt x="483" y="116"/>
                    </a:lnTo>
                    <a:lnTo>
                      <a:pt x="482" y="116"/>
                    </a:lnTo>
                    <a:lnTo>
                      <a:pt x="482" y="116"/>
                    </a:lnTo>
                    <a:lnTo>
                      <a:pt x="483" y="113"/>
                    </a:lnTo>
                    <a:lnTo>
                      <a:pt x="483" y="113"/>
                    </a:lnTo>
                    <a:lnTo>
                      <a:pt x="488" y="108"/>
                    </a:lnTo>
                    <a:lnTo>
                      <a:pt x="488" y="108"/>
                    </a:lnTo>
                    <a:lnTo>
                      <a:pt x="486" y="108"/>
                    </a:lnTo>
                    <a:lnTo>
                      <a:pt x="486" y="108"/>
                    </a:lnTo>
                    <a:lnTo>
                      <a:pt x="485" y="107"/>
                    </a:lnTo>
                    <a:lnTo>
                      <a:pt x="485" y="107"/>
                    </a:lnTo>
                    <a:lnTo>
                      <a:pt x="483" y="107"/>
                    </a:lnTo>
                    <a:lnTo>
                      <a:pt x="483" y="107"/>
                    </a:lnTo>
                    <a:lnTo>
                      <a:pt x="483" y="104"/>
                    </a:lnTo>
                    <a:lnTo>
                      <a:pt x="483" y="104"/>
                    </a:lnTo>
                    <a:lnTo>
                      <a:pt x="482" y="104"/>
                    </a:lnTo>
                    <a:lnTo>
                      <a:pt x="482" y="104"/>
                    </a:lnTo>
                    <a:lnTo>
                      <a:pt x="480" y="104"/>
                    </a:lnTo>
                    <a:lnTo>
                      <a:pt x="480" y="104"/>
                    </a:lnTo>
                    <a:lnTo>
                      <a:pt x="477" y="104"/>
                    </a:lnTo>
                    <a:lnTo>
                      <a:pt x="477" y="104"/>
                    </a:lnTo>
                    <a:lnTo>
                      <a:pt x="474" y="104"/>
                    </a:lnTo>
                    <a:lnTo>
                      <a:pt x="474" y="104"/>
                    </a:lnTo>
                    <a:lnTo>
                      <a:pt x="474" y="107"/>
                    </a:lnTo>
                    <a:lnTo>
                      <a:pt x="474" y="107"/>
                    </a:lnTo>
                    <a:lnTo>
                      <a:pt x="477" y="107"/>
                    </a:lnTo>
                    <a:lnTo>
                      <a:pt x="477" y="107"/>
                    </a:lnTo>
                    <a:lnTo>
                      <a:pt x="480" y="107"/>
                    </a:lnTo>
                    <a:lnTo>
                      <a:pt x="480" y="107"/>
                    </a:lnTo>
                    <a:lnTo>
                      <a:pt x="477" y="107"/>
                    </a:lnTo>
                    <a:lnTo>
                      <a:pt x="477" y="107"/>
                    </a:lnTo>
                    <a:lnTo>
                      <a:pt x="474" y="107"/>
                    </a:lnTo>
                    <a:lnTo>
                      <a:pt x="474" y="107"/>
                    </a:lnTo>
                    <a:lnTo>
                      <a:pt x="477" y="108"/>
                    </a:lnTo>
                    <a:lnTo>
                      <a:pt x="477" y="108"/>
                    </a:lnTo>
                    <a:lnTo>
                      <a:pt x="477" y="110"/>
                    </a:lnTo>
                    <a:lnTo>
                      <a:pt x="477" y="110"/>
                    </a:lnTo>
                    <a:lnTo>
                      <a:pt x="474" y="108"/>
                    </a:lnTo>
                    <a:lnTo>
                      <a:pt x="474" y="108"/>
                    </a:lnTo>
                    <a:lnTo>
                      <a:pt x="474" y="110"/>
                    </a:lnTo>
                    <a:lnTo>
                      <a:pt x="474" y="110"/>
                    </a:lnTo>
                    <a:lnTo>
                      <a:pt x="470" y="110"/>
                    </a:lnTo>
                    <a:lnTo>
                      <a:pt x="470" y="110"/>
                    </a:lnTo>
                    <a:lnTo>
                      <a:pt x="467" y="108"/>
                    </a:lnTo>
                    <a:lnTo>
                      <a:pt x="467" y="108"/>
                    </a:lnTo>
                    <a:lnTo>
                      <a:pt x="464" y="110"/>
                    </a:lnTo>
                    <a:lnTo>
                      <a:pt x="464" y="110"/>
                    </a:lnTo>
                    <a:lnTo>
                      <a:pt x="462" y="111"/>
                    </a:lnTo>
                    <a:lnTo>
                      <a:pt x="462" y="111"/>
                    </a:lnTo>
                    <a:lnTo>
                      <a:pt x="461" y="111"/>
                    </a:lnTo>
                    <a:lnTo>
                      <a:pt x="461" y="111"/>
                    </a:lnTo>
                    <a:lnTo>
                      <a:pt x="462" y="110"/>
                    </a:lnTo>
                    <a:lnTo>
                      <a:pt x="462" y="110"/>
                    </a:lnTo>
                    <a:lnTo>
                      <a:pt x="459" y="111"/>
                    </a:lnTo>
                    <a:lnTo>
                      <a:pt x="459" y="111"/>
                    </a:lnTo>
                    <a:lnTo>
                      <a:pt x="455" y="113"/>
                    </a:lnTo>
                    <a:lnTo>
                      <a:pt x="455" y="113"/>
                    </a:lnTo>
                    <a:lnTo>
                      <a:pt x="458" y="111"/>
                    </a:lnTo>
                    <a:lnTo>
                      <a:pt x="458" y="111"/>
                    </a:lnTo>
                    <a:lnTo>
                      <a:pt x="461" y="110"/>
                    </a:lnTo>
                    <a:lnTo>
                      <a:pt x="461" y="110"/>
                    </a:lnTo>
                    <a:lnTo>
                      <a:pt x="464" y="108"/>
                    </a:lnTo>
                    <a:lnTo>
                      <a:pt x="464" y="108"/>
                    </a:lnTo>
                    <a:lnTo>
                      <a:pt x="467" y="107"/>
                    </a:lnTo>
                    <a:lnTo>
                      <a:pt x="467" y="107"/>
                    </a:lnTo>
                    <a:lnTo>
                      <a:pt x="462" y="107"/>
                    </a:lnTo>
                    <a:lnTo>
                      <a:pt x="462" y="107"/>
                    </a:lnTo>
                    <a:lnTo>
                      <a:pt x="456" y="104"/>
                    </a:lnTo>
                    <a:lnTo>
                      <a:pt x="456" y="104"/>
                    </a:lnTo>
                    <a:lnTo>
                      <a:pt x="451" y="104"/>
                    </a:lnTo>
                    <a:lnTo>
                      <a:pt x="451" y="104"/>
                    </a:lnTo>
                    <a:lnTo>
                      <a:pt x="445" y="107"/>
                    </a:lnTo>
                    <a:lnTo>
                      <a:pt x="445" y="107"/>
                    </a:lnTo>
                    <a:lnTo>
                      <a:pt x="447" y="107"/>
                    </a:lnTo>
                    <a:lnTo>
                      <a:pt x="447" y="107"/>
                    </a:lnTo>
                    <a:lnTo>
                      <a:pt x="445" y="108"/>
                    </a:lnTo>
                    <a:lnTo>
                      <a:pt x="445" y="108"/>
                    </a:lnTo>
                    <a:lnTo>
                      <a:pt x="442" y="108"/>
                    </a:lnTo>
                    <a:lnTo>
                      <a:pt x="442" y="108"/>
                    </a:lnTo>
                    <a:lnTo>
                      <a:pt x="435" y="108"/>
                    </a:lnTo>
                    <a:lnTo>
                      <a:pt x="435" y="108"/>
                    </a:lnTo>
                    <a:lnTo>
                      <a:pt x="439" y="107"/>
                    </a:lnTo>
                    <a:lnTo>
                      <a:pt x="439" y="107"/>
                    </a:lnTo>
                    <a:lnTo>
                      <a:pt x="442" y="107"/>
                    </a:lnTo>
                    <a:lnTo>
                      <a:pt x="442" y="107"/>
                    </a:lnTo>
                    <a:lnTo>
                      <a:pt x="448" y="104"/>
                    </a:lnTo>
                    <a:lnTo>
                      <a:pt x="448" y="104"/>
                    </a:lnTo>
                    <a:lnTo>
                      <a:pt x="448" y="100"/>
                    </a:lnTo>
                    <a:lnTo>
                      <a:pt x="448" y="100"/>
                    </a:lnTo>
                    <a:lnTo>
                      <a:pt x="445" y="100"/>
                    </a:lnTo>
                    <a:lnTo>
                      <a:pt x="445" y="100"/>
                    </a:lnTo>
                    <a:lnTo>
                      <a:pt x="439" y="100"/>
                    </a:lnTo>
                    <a:lnTo>
                      <a:pt x="439" y="100"/>
                    </a:lnTo>
                    <a:lnTo>
                      <a:pt x="421" y="104"/>
                    </a:lnTo>
                    <a:lnTo>
                      <a:pt x="421" y="104"/>
                    </a:lnTo>
                    <a:lnTo>
                      <a:pt x="412" y="107"/>
                    </a:lnTo>
                    <a:lnTo>
                      <a:pt x="412" y="107"/>
                    </a:lnTo>
                    <a:lnTo>
                      <a:pt x="404" y="108"/>
                    </a:lnTo>
                    <a:lnTo>
                      <a:pt x="404" y="108"/>
                    </a:lnTo>
                    <a:lnTo>
                      <a:pt x="397" y="110"/>
                    </a:lnTo>
                    <a:lnTo>
                      <a:pt x="397" y="110"/>
                    </a:lnTo>
                    <a:lnTo>
                      <a:pt x="401" y="111"/>
                    </a:lnTo>
                    <a:lnTo>
                      <a:pt x="401" y="111"/>
                    </a:lnTo>
                    <a:lnTo>
                      <a:pt x="396" y="113"/>
                    </a:lnTo>
                    <a:lnTo>
                      <a:pt x="396" y="113"/>
                    </a:lnTo>
                    <a:lnTo>
                      <a:pt x="389" y="115"/>
                    </a:lnTo>
                    <a:lnTo>
                      <a:pt x="389" y="115"/>
                    </a:lnTo>
                    <a:lnTo>
                      <a:pt x="383" y="116"/>
                    </a:lnTo>
                    <a:lnTo>
                      <a:pt x="383" y="116"/>
                    </a:lnTo>
                    <a:lnTo>
                      <a:pt x="383" y="118"/>
                    </a:lnTo>
                    <a:lnTo>
                      <a:pt x="383" y="118"/>
                    </a:lnTo>
                    <a:lnTo>
                      <a:pt x="383" y="121"/>
                    </a:lnTo>
                    <a:lnTo>
                      <a:pt x="383" y="121"/>
                    </a:lnTo>
                    <a:lnTo>
                      <a:pt x="386" y="119"/>
                    </a:lnTo>
                    <a:lnTo>
                      <a:pt x="386" y="119"/>
                    </a:lnTo>
                    <a:lnTo>
                      <a:pt x="389" y="121"/>
                    </a:lnTo>
                    <a:lnTo>
                      <a:pt x="389" y="121"/>
                    </a:lnTo>
                    <a:lnTo>
                      <a:pt x="393" y="119"/>
                    </a:lnTo>
                    <a:lnTo>
                      <a:pt x="393" y="119"/>
                    </a:lnTo>
                    <a:lnTo>
                      <a:pt x="391" y="121"/>
                    </a:lnTo>
                    <a:lnTo>
                      <a:pt x="391" y="121"/>
                    </a:lnTo>
                    <a:lnTo>
                      <a:pt x="389" y="121"/>
                    </a:lnTo>
                    <a:lnTo>
                      <a:pt x="389" y="121"/>
                    </a:lnTo>
                    <a:lnTo>
                      <a:pt x="386" y="123"/>
                    </a:lnTo>
                    <a:lnTo>
                      <a:pt x="386" y="123"/>
                    </a:lnTo>
                    <a:lnTo>
                      <a:pt x="389" y="123"/>
                    </a:lnTo>
                    <a:lnTo>
                      <a:pt x="389" y="123"/>
                    </a:lnTo>
                    <a:lnTo>
                      <a:pt x="389" y="124"/>
                    </a:lnTo>
                    <a:lnTo>
                      <a:pt x="389" y="124"/>
                    </a:lnTo>
                    <a:lnTo>
                      <a:pt x="396" y="123"/>
                    </a:lnTo>
                    <a:lnTo>
                      <a:pt x="396" y="123"/>
                    </a:lnTo>
                    <a:lnTo>
                      <a:pt x="405" y="121"/>
                    </a:lnTo>
                    <a:lnTo>
                      <a:pt x="405" y="121"/>
                    </a:lnTo>
                    <a:lnTo>
                      <a:pt x="412" y="121"/>
                    </a:lnTo>
                    <a:lnTo>
                      <a:pt x="412" y="121"/>
                    </a:lnTo>
                    <a:lnTo>
                      <a:pt x="415" y="121"/>
                    </a:lnTo>
                    <a:lnTo>
                      <a:pt x="415" y="121"/>
                    </a:lnTo>
                    <a:lnTo>
                      <a:pt x="410" y="123"/>
                    </a:lnTo>
                    <a:lnTo>
                      <a:pt x="410" y="123"/>
                    </a:lnTo>
                    <a:lnTo>
                      <a:pt x="408" y="123"/>
                    </a:lnTo>
                    <a:lnTo>
                      <a:pt x="408" y="123"/>
                    </a:lnTo>
                    <a:lnTo>
                      <a:pt x="402" y="124"/>
                    </a:lnTo>
                    <a:lnTo>
                      <a:pt x="402" y="124"/>
                    </a:lnTo>
                    <a:lnTo>
                      <a:pt x="396" y="124"/>
                    </a:lnTo>
                    <a:lnTo>
                      <a:pt x="396" y="124"/>
                    </a:lnTo>
                    <a:lnTo>
                      <a:pt x="386" y="126"/>
                    </a:lnTo>
                    <a:lnTo>
                      <a:pt x="386" y="126"/>
                    </a:lnTo>
                    <a:lnTo>
                      <a:pt x="380" y="127"/>
                    </a:lnTo>
                    <a:lnTo>
                      <a:pt x="380" y="127"/>
                    </a:lnTo>
                    <a:lnTo>
                      <a:pt x="377" y="129"/>
                    </a:lnTo>
                    <a:lnTo>
                      <a:pt x="377" y="129"/>
                    </a:lnTo>
                    <a:lnTo>
                      <a:pt x="380" y="129"/>
                    </a:lnTo>
                    <a:lnTo>
                      <a:pt x="380" y="129"/>
                    </a:lnTo>
                    <a:lnTo>
                      <a:pt x="380" y="132"/>
                    </a:lnTo>
                    <a:lnTo>
                      <a:pt x="380" y="132"/>
                    </a:lnTo>
                    <a:lnTo>
                      <a:pt x="394" y="132"/>
                    </a:lnTo>
                    <a:lnTo>
                      <a:pt x="394" y="132"/>
                    </a:lnTo>
                    <a:lnTo>
                      <a:pt x="402" y="132"/>
                    </a:lnTo>
                    <a:lnTo>
                      <a:pt x="402" y="132"/>
                    </a:lnTo>
                    <a:lnTo>
                      <a:pt x="410" y="132"/>
                    </a:lnTo>
                    <a:lnTo>
                      <a:pt x="410" y="132"/>
                    </a:lnTo>
                    <a:lnTo>
                      <a:pt x="421" y="132"/>
                    </a:lnTo>
                    <a:lnTo>
                      <a:pt x="421" y="132"/>
                    </a:lnTo>
                    <a:lnTo>
                      <a:pt x="424" y="132"/>
                    </a:lnTo>
                    <a:lnTo>
                      <a:pt x="424" y="132"/>
                    </a:lnTo>
                    <a:lnTo>
                      <a:pt x="428" y="132"/>
                    </a:lnTo>
                    <a:lnTo>
                      <a:pt x="428" y="132"/>
                    </a:lnTo>
                    <a:lnTo>
                      <a:pt x="429" y="135"/>
                    </a:lnTo>
                    <a:lnTo>
                      <a:pt x="429" y="135"/>
                    </a:lnTo>
                    <a:lnTo>
                      <a:pt x="431" y="135"/>
                    </a:lnTo>
                    <a:lnTo>
                      <a:pt x="431" y="135"/>
                    </a:lnTo>
                    <a:lnTo>
                      <a:pt x="429" y="135"/>
                    </a:lnTo>
                    <a:lnTo>
                      <a:pt x="429" y="135"/>
                    </a:lnTo>
                    <a:lnTo>
                      <a:pt x="426" y="135"/>
                    </a:lnTo>
                    <a:lnTo>
                      <a:pt x="426" y="135"/>
                    </a:lnTo>
                    <a:lnTo>
                      <a:pt x="418" y="138"/>
                    </a:lnTo>
                    <a:lnTo>
                      <a:pt x="418" y="138"/>
                    </a:lnTo>
                    <a:lnTo>
                      <a:pt x="405" y="135"/>
                    </a:lnTo>
                    <a:lnTo>
                      <a:pt x="405" y="135"/>
                    </a:lnTo>
                    <a:lnTo>
                      <a:pt x="386" y="138"/>
                    </a:lnTo>
                    <a:lnTo>
                      <a:pt x="386" y="138"/>
                    </a:lnTo>
                    <a:lnTo>
                      <a:pt x="380" y="138"/>
                    </a:lnTo>
                    <a:lnTo>
                      <a:pt x="380" y="138"/>
                    </a:lnTo>
                    <a:lnTo>
                      <a:pt x="374" y="138"/>
                    </a:lnTo>
                    <a:lnTo>
                      <a:pt x="374" y="138"/>
                    </a:lnTo>
                    <a:lnTo>
                      <a:pt x="372" y="142"/>
                    </a:lnTo>
                    <a:lnTo>
                      <a:pt x="372" y="142"/>
                    </a:lnTo>
                    <a:lnTo>
                      <a:pt x="372" y="143"/>
                    </a:lnTo>
                    <a:lnTo>
                      <a:pt x="372" y="143"/>
                    </a:lnTo>
                    <a:lnTo>
                      <a:pt x="374" y="145"/>
                    </a:lnTo>
                    <a:lnTo>
                      <a:pt x="374" y="145"/>
                    </a:lnTo>
                    <a:lnTo>
                      <a:pt x="374" y="146"/>
                    </a:lnTo>
                    <a:lnTo>
                      <a:pt x="374" y="146"/>
                    </a:lnTo>
                    <a:lnTo>
                      <a:pt x="377" y="148"/>
                    </a:lnTo>
                    <a:lnTo>
                      <a:pt x="377" y="148"/>
                    </a:lnTo>
                    <a:lnTo>
                      <a:pt x="380" y="148"/>
                    </a:lnTo>
                    <a:lnTo>
                      <a:pt x="380" y="148"/>
                    </a:lnTo>
                    <a:lnTo>
                      <a:pt x="389" y="148"/>
                    </a:lnTo>
                    <a:lnTo>
                      <a:pt x="389" y="148"/>
                    </a:lnTo>
                    <a:lnTo>
                      <a:pt x="397" y="150"/>
                    </a:lnTo>
                    <a:lnTo>
                      <a:pt x="397" y="150"/>
                    </a:lnTo>
                    <a:lnTo>
                      <a:pt x="393" y="153"/>
                    </a:lnTo>
                    <a:lnTo>
                      <a:pt x="393" y="153"/>
                    </a:lnTo>
                    <a:lnTo>
                      <a:pt x="391" y="156"/>
                    </a:lnTo>
                    <a:lnTo>
                      <a:pt x="391" y="156"/>
                    </a:lnTo>
                    <a:lnTo>
                      <a:pt x="393" y="158"/>
                    </a:lnTo>
                    <a:lnTo>
                      <a:pt x="393" y="158"/>
                    </a:lnTo>
                    <a:lnTo>
                      <a:pt x="391" y="158"/>
                    </a:lnTo>
                    <a:lnTo>
                      <a:pt x="391" y="158"/>
                    </a:lnTo>
                    <a:lnTo>
                      <a:pt x="394" y="159"/>
                    </a:lnTo>
                    <a:lnTo>
                      <a:pt x="394" y="159"/>
                    </a:lnTo>
                    <a:lnTo>
                      <a:pt x="396" y="159"/>
                    </a:lnTo>
                    <a:lnTo>
                      <a:pt x="396" y="159"/>
                    </a:lnTo>
                    <a:lnTo>
                      <a:pt x="401" y="158"/>
                    </a:lnTo>
                    <a:lnTo>
                      <a:pt x="401" y="158"/>
                    </a:lnTo>
                    <a:lnTo>
                      <a:pt x="407" y="158"/>
                    </a:lnTo>
                    <a:lnTo>
                      <a:pt x="407" y="158"/>
                    </a:lnTo>
                    <a:lnTo>
                      <a:pt x="410" y="158"/>
                    </a:lnTo>
                    <a:lnTo>
                      <a:pt x="410" y="158"/>
                    </a:lnTo>
                    <a:lnTo>
                      <a:pt x="415" y="156"/>
                    </a:lnTo>
                    <a:lnTo>
                      <a:pt x="415" y="156"/>
                    </a:lnTo>
                    <a:lnTo>
                      <a:pt x="415" y="158"/>
                    </a:lnTo>
                    <a:lnTo>
                      <a:pt x="415" y="158"/>
                    </a:lnTo>
                    <a:lnTo>
                      <a:pt x="418" y="158"/>
                    </a:lnTo>
                    <a:lnTo>
                      <a:pt x="418" y="158"/>
                    </a:lnTo>
                    <a:lnTo>
                      <a:pt x="424" y="156"/>
                    </a:lnTo>
                    <a:lnTo>
                      <a:pt x="424" y="156"/>
                    </a:lnTo>
                    <a:lnTo>
                      <a:pt x="434" y="154"/>
                    </a:lnTo>
                    <a:lnTo>
                      <a:pt x="434" y="154"/>
                    </a:lnTo>
                    <a:lnTo>
                      <a:pt x="439" y="153"/>
                    </a:lnTo>
                    <a:lnTo>
                      <a:pt x="439" y="153"/>
                    </a:lnTo>
                    <a:lnTo>
                      <a:pt x="442" y="153"/>
                    </a:lnTo>
                    <a:lnTo>
                      <a:pt x="442" y="153"/>
                    </a:lnTo>
                    <a:lnTo>
                      <a:pt x="453" y="151"/>
                    </a:lnTo>
                    <a:lnTo>
                      <a:pt x="453" y="151"/>
                    </a:lnTo>
                    <a:lnTo>
                      <a:pt x="461" y="146"/>
                    </a:lnTo>
                    <a:lnTo>
                      <a:pt x="461" y="146"/>
                    </a:lnTo>
                    <a:lnTo>
                      <a:pt x="466" y="146"/>
                    </a:lnTo>
                    <a:lnTo>
                      <a:pt x="466" y="146"/>
                    </a:lnTo>
                    <a:lnTo>
                      <a:pt x="467" y="146"/>
                    </a:lnTo>
                    <a:lnTo>
                      <a:pt x="467" y="146"/>
                    </a:lnTo>
                    <a:lnTo>
                      <a:pt x="466" y="148"/>
                    </a:lnTo>
                    <a:lnTo>
                      <a:pt x="466" y="148"/>
                    </a:lnTo>
                    <a:lnTo>
                      <a:pt x="464" y="150"/>
                    </a:lnTo>
                    <a:lnTo>
                      <a:pt x="464" y="150"/>
                    </a:lnTo>
                    <a:lnTo>
                      <a:pt x="467" y="150"/>
                    </a:lnTo>
                    <a:lnTo>
                      <a:pt x="467" y="150"/>
                    </a:lnTo>
                    <a:lnTo>
                      <a:pt x="467" y="150"/>
                    </a:lnTo>
                    <a:lnTo>
                      <a:pt x="467" y="150"/>
                    </a:lnTo>
                    <a:lnTo>
                      <a:pt x="470" y="150"/>
                    </a:lnTo>
                    <a:lnTo>
                      <a:pt x="470" y="150"/>
                    </a:lnTo>
                    <a:lnTo>
                      <a:pt x="474" y="150"/>
                    </a:lnTo>
                    <a:lnTo>
                      <a:pt x="474" y="150"/>
                    </a:lnTo>
                    <a:lnTo>
                      <a:pt x="474" y="151"/>
                    </a:lnTo>
                    <a:lnTo>
                      <a:pt x="474" y="151"/>
                    </a:lnTo>
                    <a:lnTo>
                      <a:pt x="470" y="153"/>
                    </a:lnTo>
                    <a:lnTo>
                      <a:pt x="470" y="153"/>
                    </a:lnTo>
                    <a:lnTo>
                      <a:pt x="474" y="153"/>
                    </a:lnTo>
                    <a:lnTo>
                      <a:pt x="474" y="153"/>
                    </a:lnTo>
                    <a:lnTo>
                      <a:pt x="477" y="153"/>
                    </a:lnTo>
                    <a:lnTo>
                      <a:pt x="477" y="153"/>
                    </a:lnTo>
                    <a:lnTo>
                      <a:pt x="480" y="153"/>
                    </a:lnTo>
                    <a:lnTo>
                      <a:pt x="480" y="153"/>
                    </a:lnTo>
                    <a:lnTo>
                      <a:pt x="483" y="154"/>
                    </a:lnTo>
                    <a:lnTo>
                      <a:pt x="483" y="154"/>
                    </a:lnTo>
                    <a:lnTo>
                      <a:pt x="488" y="154"/>
                    </a:lnTo>
                    <a:lnTo>
                      <a:pt x="488" y="154"/>
                    </a:lnTo>
                    <a:lnTo>
                      <a:pt x="493" y="154"/>
                    </a:lnTo>
                    <a:lnTo>
                      <a:pt x="493" y="154"/>
                    </a:lnTo>
                    <a:lnTo>
                      <a:pt x="497" y="153"/>
                    </a:lnTo>
                    <a:lnTo>
                      <a:pt x="497" y="153"/>
                    </a:lnTo>
                    <a:lnTo>
                      <a:pt x="502" y="151"/>
                    </a:lnTo>
                    <a:lnTo>
                      <a:pt x="502" y="151"/>
                    </a:lnTo>
                    <a:lnTo>
                      <a:pt x="505" y="151"/>
                    </a:lnTo>
                    <a:lnTo>
                      <a:pt x="505" y="151"/>
                    </a:lnTo>
                    <a:lnTo>
                      <a:pt x="505" y="150"/>
                    </a:lnTo>
                    <a:lnTo>
                      <a:pt x="505" y="150"/>
                    </a:lnTo>
                    <a:lnTo>
                      <a:pt x="505" y="148"/>
                    </a:lnTo>
                    <a:lnTo>
                      <a:pt x="505" y="148"/>
                    </a:lnTo>
                    <a:lnTo>
                      <a:pt x="508" y="146"/>
                    </a:lnTo>
                    <a:lnTo>
                      <a:pt x="508" y="146"/>
                    </a:lnTo>
                    <a:lnTo>
                      <a:pt x="505" y="145"/>
                    </a:lnTo>
                    <a:lnTo>
                      <a:pt x="505" y="145"/>
                    </a:lnTo>
                    <a:lnTo>
                      <a:pt x="501" y="146"/>
                    </a:lnTo>
                    <a:lnTo>
                      <a:pt x="501" y="146"/>
                    </a:lnTo>
                    <a:lnTo>
                      <a:pt x="496" y="148"/>
                    </a:lnTo>
                    <a:lnTo>
                      <a:pt x="496" y="148"/>
                    </a:lnTo>
                    <a:lnTo>
                      <a:pt x="497" y="146"/>
                    </a:lnTo>
                    <a:lnTo>
                      <a:pt x="497" y="146"/>
                    </a:lnTo>
                    <a:lnTo>
                      <a:pt x="497" y="145"/>
                    </a:lnTo>
                    <a:lnTo>
                      <a:pt x="497" y="145"/>
                    </a:lnTo>
                    <a:lnTo>
                      <a:pt x="496" y="145"/>
                    </a:lnTo>
                    <a:lnTo>
                      <a:pt x="496" y="145"/>
                    </a:lnTo>
                    <a:lnTo>
                      <a:pt x="497" y="143"/>
                    </a:lnTo>
                    <a:lnTo>
                      <a:pt x="497" y="143"/>
                    </a:lnTo>
                    <a:lnTo>
                      <a:pt x="499" y="143"/>
                    </a:lnTo>
                    <a:lnTo>
                      <a:pt x="499" y="143"/>
                    </a:lnTo>
                    <a:lnTo>
                      <a:pt x="501" y="145"/>
                    </a:lnTo>
                    <a:lnTo>
                      <a:pt x="501" y="145"/>
                    </a:lnTo>
                    <a:lnTo>
                      <a:pt x="502" y="145"/>
                    </a:lnTo>
                    <a:lnTo>
                      <a:pt x="502" y="145"/>
                    </a:lnTo>
                    <a:lnTo>
                      <a:pt x="505" y="142"/>
                    </a:lnTo>
                    <a:lnTo>
                      <a:pt x="505" y="142"/>
                    </a:lnTo>
                    <a:lnTo>
                      <a:pt x="508" y="142"/>
                    </a:lnTo>
                    <a:lnTo>
                      <a:pt x="508" y="142"/>
                    </a:lnTo>
                    <a:lnTo>
                      <a:pt x="512" y="140"/>
                    </a:lnTo>
                    <a:lnTo>
                      <a:pt x="512" y="140"/>
                    </a:lnTo>
                    <a:lnTo>
                      <a:pt x="513" y="142"/>
                    </a:lnTo>
                    <a:lnTo>
                      <a:pt x="513" y="142"/>
                    </a:lnTo>
                    <a:lnTo>
                      <a:pt x="515" y="142"/>
                    </a:lnTo>
                    <a:lnTo>
                      <a:pt x="515" y="142"/>
                    </a:lnTo>
                    <a:lnTo>
                      <a:pt x="518" y="140"/>
                    </a:lnTo>
                    <a:lnTo>
                      <a:pt x="518" y="140"/>
                    </a:lnTo>
                    <a:lnTo>
                      <a:pt x="516" y="142"/>
                    </a:lnTo>
                    <a:lnTo>
                      <a:pt x="520" y="143"/>
                    </a:lnTo>
                    <a:lnTo>
                      <a:pt x="520" y="143"/>
                    </a:lnTo>
                    <a:lnTo>
                      <a:pt x="520" y="143"/>
                    </a:lnTo>
                    <a:close/>
                    <a:moveTo>
                      <a:pt x="512" y="154"/>
                    </a:moveTo>
                    <a:lnTo>
                      <a:pt x="512" y="154"/>
                    </a:lnTo>
                    <a:lnTo>
                      <a:pt x="515" y="154"/>
                    </a:lnTo>
                    <a:lnTo>
                      <a:pt x="515" y="154"/>
                    </a:lnTo>
                    <a:lnTo>
                      <a:pt x="516" y="153"/>
                    </a:lnTo>
                    <a:lnTo>
                      <a:pt x="516" y="153"/>
                    </a:lnTo>
                    <a:lnTo>
                      <a:pt x="516" y="151"/>
                    </a:lnTo>
                    <a:lnTo>
                      <a:pt x="516" y="151"/>
                    </a:lnTo>
                    <a:lnTo>
                      <a:pt x="515" y="151"/>
                    </a:lnTo>
                    <a:lnTo>
                      <a:pt x="512" y="154"/>
                    </a:lnTo>
                    <a:lnTo>
                      <a:pt x="512" y="154"/>
                    </a:lnTo>
                    <a:lnTo>
                      <a:pt x="512" y="154"/>
                    </a:lnTo>
                    <a:close/>
                    <a:moveTo>
                      <a:pt x="526" y="94"/>
                    </a:moveTo>
                    <a:lnTo>
                      <a:pt x="526" y="94"/>
                    </a:lnTo>
                    <a:lnTo>
                      <a:pt x="518" y="97"/>
                    </a:lnTo>
                    <a:lnTo>
                      <a:pt x="518" y="97"/>
                    </a:lnTo>
                    <a:lnTo>
                      <a:pt x="515" y="97"/>
                    </a:lnTo>
                    <a:lnTo>
                      <a:pt x="515" y="97"/>
                    </a:lnTo>
                    <a:lnTo>
                      <a:pt x="516" y="100"/>
                    </a:lnTo>
                    <a:lnTo>
                      <a:pt x="516" y="100"/>
                    </a:lnTo>
                    <a:lnTo>
                      <a:pt x="520" y="100"/>
                    </a:lnTo>
                    <a:lnTo>
                      <a:pt x="520" y="100"/>
                    </a:lnTo>
                    <a:lnTo>
                      <a:pt x="518" y="100"/>
                    </a:lnTo>
                    <a:lnTo>
                      <a:pt x="518" y="100"/>
                    </a:lnTo>
                    <a:lnTo>
                      <a:pt x="520" y="104"/>
                    </a:lnTo>
                    <a:lnTo>
                      <a:pt x="520" y="104"/>
                    </a:lnTo>
                    <a:lnTo>
                      <a:pt x="520" y="104"/>
                    </a:lnTo>
                    <a:lnTo>
                      <a:pt x="520" y="104"/>
                    </a:lnTo>
                    <a:lnTo>
                      <a:pt x="521" y="107"/>
                    </a:lnTo>
                    <a:lnTo>
                      <a:pt x="521" y="107"/>
                    </a:lnTo>
                    <a:lnTo>
                      <a:pt x="524" y="104"/>
                    </a:lnTo>
                    <a:lnTo>
                      <a:pt x="524" y="104"/>
                    </a:lnTo>
                    <a:lnTo>
                      <a:pt x="528" y="104"/>
                    </a:lnTo>
                    <a:lnTo>
                      <a:pt x="528" y="104"/>
                    </a:lnTo>
                    <a:lnTo>
                      <a:pt x="534" y="100"/>
                    </a:lnTo>
                    <a:lnTo>
                      <a:pt x="534" y="100"/>
                    </a:lnTo>
                    <a:lnTo>
                      <a:pt x="537" y="97"/>
                    </a:lnTo>
                    <a:lnTo>
                      <a:pt x="537" y="97"/>
                    </a:lnTo>
                    <a:lnTo>
                      <a:pt x="537" y="97"/>
                    </a:lnTo>
                    <a:lnTo>
                      <a:pt x="537" y="97"/>
                    </a:lnTo>
                    <a:lnTo>
                      <a:pt x="532" y="94"/>
                    </a:lnTo>
                    <a:lnTo>
                      <a:pt x="526" y="94"/>
                    </a:lnTo>
                    <a:lnTo>
                      <a:pt x="526" y="94"/>
                    </a:lnTo>
                    <a:lnTo>
                      <a:pt x="526" y="94"/>
                    </a:lnTo>
                    <a:close/>
                    <a:moveTo>
                      <a:pt x="588" y="72"/>
                    </a:moveTo>
                    <a:lnTo>
                      <a:pt x="588" y="72"/>
                    </a:lnTo>
                    <a:lnTo>
                      <a:pt x="591" y="70"/>
                    </a:lnTo>
                    <a:lnTo>
                      <a:pt x="591" y="70"/>
                    </a:lnTo>
                    <a:lnTo>
                      <a:pt x="586" y="70"/>
                    </a:lnTo>
                    <a:lnTo>
                      <a:pt x="586" y="70"/>
                    </a:lnTo>
                    <a:lnTo>
                      <a:pt x="583" y="70"/>
                    </a:lnTo>
                    <a:lnTo>
                      <a:pt x="583" y="70"/>
                    </a:lnTo>
                    <a:lnTo>
                      <a:pt x="578" y="70"/>
                    </a:lnTo>
                    <a:lnTo>
                      <a:pt x="578" y="70"/>
                    </a:lnTo>
                    <a:lnTo>
                      <a:pt x="575" y="72"/>
                    </a:lnTo>
                    <a:lnTo>
                      <a:pt x="575" y="72"/>
                    </a:lnTo>
                    <a:lnTo>
                      <a:pt x="583" y="72"/>
                    </a:lnTo>
                    <a:lnTo>
                      <a:pt x="588" y="72"/>
                    </a:lnTo>
                    <a:lnTo>
                      <a:pt x="588" y="72"/>
                    </a:lnTo>
                    <a:lnTo>
                      <a:pt x="588" y="72"/>
                    </a:lnTo>
                    <a:close/>
                    <a:moveTo>
                      <a:pt x="591" y="65"/>
                    </a:moveTo>
                    <a:lnTo>
                      <a:pt x="591" y="65"/>
                    </a:lnTo>
                    <a:lnTo>
                      <a:pt x="588" y="64"/>
                    </a:lnTo>
                    <a:lnTo>
                      <a:pt x="588" y="64"/>
                    </a:lnTo>
                    <a:lnTo>
                      <a:pt x="585" y="64"/>
                    </a:lnTo>
                    <a:lnTo>
                      <a:pt x="585" y="64"/>
                    </a:lnTo>
                    <a:lnTo>
                      <a:pt x="583" y="64"/>
                    </a:lnTo>
                    <a:lnTo>
                      <a:pt x="583" y="64"/>
                    </a:lnTo>
                    <a:lnTo>
                      <a:pt x="580" y="64"/>
                    </a:lnTo>
                    <a:lnTo>
                      <a:pt x="580" y="64"/>
                    </a:lnTo>
                    <a:lnTo>
                      <a:pt x="578" y="65"/>
                    </a:lnTo>
                    <a:lnTo>
                      <a:pt x="578" y="65"/>
                    </a:lnTo>
                    <a:lnTo>
                      <a:pt x="577" y="67"/>
                    </a:lnTo>
                    <a:lnTo>
                      <a:pt x="577" y="67"/>
                    </a:lnTo>
                    <a:lnTo>
                      <a:pt x="585" y="67"/>
                    </a:lnTo>
                    <a:lnTo>
                      <a:pt x="591" y="65"/>
                    </a:lnTo>
                    <a:lnTo>
                      <a:pt x="591" y="65"/>
                    </a:lnTo>
                    <a:lnTo>
                      <a:pt x="591" y="65"/>
                    </a:lnTo>
                    <a:close/>
                    <a:moveTo>
                      <a:pt x="572" y="97"/>
                    </a:moveTo>
                    <a:lnTo>
                      <a:pt x="572" y="97"/>
                    </a:lnTo>
                    <a:lnTo>
                      <a:pt x="570" y="97"/>
                    </a:lnTo>
                    <a:lnTo>
                      <a:pt x="570" y="97"/>
                    </a:lnTo>
                    <a:lnTo>
                      <a:pt x="567" y="97"/>
                    </a:lnTo>
                    <a:lnTo>
                      <a:pt x="567" y="97"/>
                    </a:lnTo>
                    <a:lnTo>
                      <a:pt x="564" y="97"/>
                    </a:lnTo>
                    <a:lnTo>
                      <a:pt x="564" y="97"/>
                    </a:lnTo>
                    <a:lnTo>
                      <a:pt x="562" y="97"/>
                    </a:lnTo>
                    <a:lnTo>
                      <a:pt x="562" y="97"/>
                    </a:lnTo>
                    <a:lnTo>
                      <a:pt x="564" y="100"/>
                    </a:lnTo>
                    <a:lnTo>
                      <a:pt x="564" y="100"/>
                    </a:lnTo>
                    <a:lnTo>
                      <a:pt x="567" y="100"/>
                    </a:lnTo>
                    <a:lnTo>
                      <a:pt x="567" y="100"/>
                    </a:lnTo>
                    <a:lnTo>
                      <a:pt x="570" y="100"/>
                    </a:lnTo>
                    <a:lnTo>
                      <a:pt x="570" y="100"/>
                    </a:lnTo>
                    <a:lnTo>
                      <a:pt x="572" y="100"/>
                    </a:lnTo>
                    <a:lnTo>
                      <a:pt x="572" y="100"/>
                    </a:lnTo>
                    <a:lnTo>
                      <a:pt x="570" y="100"/>
                    </a:lnTo>
                    <a:lnTo>
                      <a:pt x="570" y="100"/>
                    </a:lnTo>
                    <a:lnTo>
                      <a:pt x="570" y="100"/>
                    </a:lnTo>
                    <a:lnTo>
                      <a:pt x="570" y="100"/>
                    </a:lnTo>
                    <a:lnTo>
                      <a:pt x="567" y="104"/>
                    </a:lnTo>
                    <a:lnTo>
                      <a:pt x="567" y="104"/>
                    </a:lnTo>
                    <a:lnTo>
                      <a:pt x="567" y="104"/>
                    </a:lnTo>
                    <a:lnTo>
                      <a:pt x="567" y="104"/>
                    </a:lnTo>
                    <a:lnTo>
                      <a:pt x="567" y="104"/>
                    </a:lnTo>
                    <a:lnTo>
                      <a:pt x="567" y="104"/>
                    </a:lnTo>
                    <a:lnTo>
                      <a:pt x="567" y="107"/>
                    </a:lnTo>
                    <a:lnTo>
                      <a:pt x="567" y="107"/>
                    </a:lnTo>
                    <a:lnTo>
                      <a:pt x="564" y="107"/>
                    </a:lnTo>
                    <a:lnTo>
                      <a:pt x="564" y="107"/>
                    </a:lnTo>
                    <a:lnTo>
                      <a:pt x="567" y="104"/>
                    </a:lnTo>
                    <a:lnTo>
                      <a:pt x="567" y="104"/>
                    </a:lnTo>
                    <a:lnTo>
                      <a:pt x="564" y="104"/>
                    </a:lnTo>
                    <a:lnTo>
                      <a:pt x="564" y="104"/>
                    </a:lnTo>
                    <a:lnTo>
                      <a:pt x="564" y="107"/>
                    </a:lnTo>
                    <a:lnTo>
                      <a:pt x="564" y="107"/>
                    </a:lnTo>
                    <a:lnTo>
                      <a:pt x="559" y="107"/>
                    </a:lnTo>
                    <a:lnTo>
                      <a:pt x="559" y="107"/>
                    </a:lnTo>
                    <a:lnTo>
                      <a:pt x="555" y="107"/>
                    </a:lnTo>
                    <a:lnTo>
                      <a:pt x="555" y="107"/>
                    </a:lnTo>
                    <a:lnTo>
                      <a:pt x="555" y="107"/>
                    </a:lnTo>
                    <a:lnTo>
                      <a:pt x="555" y="107"/>
                    </a:lnTo>
                    <a:lnTo>
                      <a:pt x="555" y="104"/>
                    </a:lnTo>
                    <a:lnTo>
                      <a:pt x="555" y="104"/>
                    </a:lnTo>
                    <a:lnTo>
                      <a:pt x="553" y="104"/>
                    </a:lnTo>
                    <a:lnTo>
                      <a:pt x="553" y="104"/>
                    </a:lnTo>
                    <a:lnTo>
                      <a:pt x="550" y="104"/>
                    </a:lnTo>
                    <a:lnTo>
                      <a:pt x="550" y="104"/>
                    </a:lnTo>
                    <a:lnTo>
                      <a:pt x="547" y="104"/>
                    </a:lnTo>
                    <a:lnTo>
                      <a:pt x="547" y="104"/>
                    </a:lnTo>
                    <a:lnTo>
                      <a:pt x="543" y="107"/>
                    </a:lnTo>
                    <a:lnTo>
                      <a:pt x="543" y="107"/>
                    </a:lnTo>
                    <a:lnTo>
                      <a:pt x="543" y="107"/>
                    </a:lnTo>
                    <a:lnTo>
                      <a:pt x="543" y="107"/>
                    </a:lnTo>
                    <a:lnTo>
                      <a:pt x="543" y="108"/>
                    </a:lnTo>
                    <a:lnTo>
                      <a:pt x="543" y="108"/>
                    </a:lnTo>
                    <a:lnTo>
                      <a:pt x="543" y="108"/>
                    </a:lnTo>
                    <a:lnTo>
                      <a:pt x="543" y="108"/>
                    </a:lnTo>
                    <a:lnTo>
                      <a:pt x="547" y="110"/>
                    </a:lnTo>
                    <a:lnTo>
                      <a:pt x="547" y="110"/>
                    </a:lnTo>
                    <a:lnTo>
                      <a:pt x="547" y="111"/>
                    </a:lnTo>
                    <a:lnTo>
                      <a:pt x="547" y="111"/>
                    </a:lnTo>
                    <a:lnTo>
                      <a:pt x="548" y="111"/>
                    </a:lnTo>
                    <a:lnTo>
                      <a:pt x="548" y="111"/>
                    </a:lnTo>
                    <a:lnTo>
                      <a:pt x="550" y="111"/>
                    </a:lnTo>
                    <a:lnTo>
                      <a:pt x="550" y="111"/>
                    </a:lnTo>
                    <a:lnTo>
                      <a:pt x="550" y="113"/>
                    </a:lnTo>
                    <a:lnTo>
                      <a:pt x="550" y="113"/>
                    </a:lnTo>
                    <a:lnTo>
                      <a:pt x="551" y="113"/>
                    </a:lnTo>
                    <a:lnTo>
                      <a:pt x="551" y="113"/>
                    </a:lnTo>
                    <a:lnTo>
                      <a:pt x="553" y="113"/>
                    </a:lnTo>
                    <a:lnTo>
                      <a:pt x="553" y="113"/>
                    </a:lnTo>
                    <a:lnTo>
                      <a:pt x="555" y="116"/>
                    </a:lnTo>
                    <a:lnTo>
                      <a:pt x="555" y="116"/>
                    </a:lnTo>
                    <a:lnTo>
                      <a:pt x="556" y="119"/>
                    </a:lnTo>
                    <a:lnTo>
                      <a:pt x="556" y="119"/>
                    </a:lnTo>
                    <a:lnTo>
                      <a:pt x="556" y="124"/>
                    </a:lnTo>
                    <a:lnTo>
                      <a:pt x="556" y="124"/>
                    </a:lnTo>
                    <a:lnTo>
                      <a:pt x="562" y="124"/>
                    </a:lnTo>
                    <a:lnTo>
                      <a:pt x="562" y="124"/>
                    </a:lnTo>
                    <a:lnTo>
                      <a:pt x="567" y="121"/>
                    </a:lnTo>
                    <a:lnTo>
                      <a:pt x="567" y="121"/>
                    </a:lnTo>
                    <a:lnTo>
                      <a:pt x="567" y="119"/>
                    </a:lnTo>
                    <a:lnTo>
                      <a:pt x="567" y="119"/>
                    </a:lnTo>
                    <a:lnTo>
                      <a:pt x="567" y="119"/>
                    </a:lnTo>
                    <a:lnTo>
                      <a:pt x="567" y="119"/>
                    </a:lnTo>
                    <a:lnTo>
                      <a:pt x="570" y="119"/>
                    </a:lnTo>
                    <a:lnTo>
                      <a:pt x="570" y="119"/>
                    </a:lnTo>
                    <a:lnTo>
                      <a:pt x="572" y="121"/>
                    </a:lnTo>
                    <a:lnTo>
                      <a:pt x="572" y="121"/>
                    </a:lnTo>
                    <a:lnTo>
                      <a:pt x="577" y="119"/>
                    </a:lnTo>
                    <a:lnTo>
                      <a:pt x="577" y="119"/>
                    </a:lnTo>
                    <a:lnTo>
                      <a:pt x="582" y="118"/>
                    </a:lnTo>
                    <a:lnTo>
                      <a:pt x="582" y="118"/>
                    </a:lnTo>
                    <a:lnTo>
                      <a:pt x="585" y="118"/>
                    </a:lnTo>
                    <a:lnTo>
                      <a:pt x="585" y="118"/>
                    </a:lnTo>
                    <a:lnTo>
                      <a:pt x="586" y="118"/>
                    </a:lnTo>
                    <a:lnTo>
                      <a:pt x="586" y="118"/>
                    </a:lnTo>
                    <a:lnTo>
                      <a:pt x="585" y="116"/>
                    </a:lnTo>
                    <a:lnTo>
                      <a:pt x="585" y="116"/>
                    </a:lnTo>
                    <a:lnTo>
                      <a:pt x="588" y="116"/>
                    </a:lnTo>
                    <a:lnTo>
                      <a:pt x="588" y="116"/>
                    </a:lnTo>
                    <a:lnTo>
                      <a:pt x="586" y="115"/>
                    </a:lnTo>
                    <a:lnTo>
                      <a:pt x="586" y="115"/>
                    </a:lnTo>
                    <a:lnTo>
                      <a:pt x="589" y="115"/>
                    </a:lnTo>
                    <a:lnTo>
                      <a:pt x="589" y="115"/>
                    </a:lnTo>
                    <a:lnTo>
                      <a:pt x="589" y="113"/>
                    </a:lnTo>
                    <a:lnTo>
                      <a:pt x="589" y="113"/>
                    </a:lnTo>
                    <a:lnTo>
                      <a:pt x="589" y="111"/>
                    </a:lnTo>
                    <a:lnTo>
                      <a:pt x="589" y="111"/>
                    </a:lnTo>
                    <a:lnTo>
                      <a:pt x="593" y="110"/>
                    </a:lnTo>
                    <a:lnTo>
                      <a:pt x="593" y="110"/>
                    </a:lnTo>
                    <a:lnTo>
                      <a:pt x="596" y="108"/>
                    </a:lnTo>
                    <a:lnTo>
                      <a:pt x="596" y="108"/>
                    </a:lnTo>
                    <a:lnTo>
                      <a:pt x="596" y="107"/>
                    </a:lnTo>
                    <a:lnTo>
                      <a:pt x="596" y="107"/>
                    </a:lnTo>
                    <a:lnTo>
                      <a:pt x="591" y="108"/>
                    </a:lnTo>
                    <a:lnTo>
                      <a:pt x="591" y="108"/>
                    </a:lnTo>
                    <a:lnTo>
                      <a:pt x="593" y="107"/>
                    </a:lnTo>
                    <a:lnTo>
                      <a:pt x="593" y="107"/>
                    </a:lnTo>
                    <a:lnTo>
                      <a:pt x="593" y="107"/>
                    </a:lnTo>
                    <a:lnTo>
                      <a:pt x="593" y="107"/>
                    </a:lnTo>
                    <a:lnTo>
                      <a:pt x="593" y="104"/>
                    </a:lnTo>
                    <a:lnTo>
                      <a:pt x="593" y="104"/>
                    </a:lnTo>
                    <a:lnTo>
                      <a:pt x="588" y="104"/>
                    </a:lnTo>
                    <a:lnTo>
                      <a:pt x="588" y="104"/>
                    </a:lnTo>
                    <a:lnTo>
                      <a:pt x="582" y="107"/>
                    </a:lnTo>
                    <a:lnTo>
                      <a:pt x="582" y="107"/>
                    </a:lnTo>
                    <a:lnTo>
                      <a:pt x="583" y="104"/>
                    </a:lnTo>
                    <a:lnTo>
                      <a:pt x="583" y="104"/>
                    </a:lnTo>
                    <a:lnTo>
                      <a:pt x="585" y="104"/>
                    </a:lnTo>
                    <a:lnTo>
                      <a:pt x="585" y="104"/>
                    </a:lnTo>
                    <a:lnTo>
                      <a:pt x="589" y="104"/>
                    </a:lnTo>
                    <a:lnTo>
                      <a:pt x="589" y="104"/>
                    </a:lnTo>
                    <a:lnTo>
                      <a:pt x="599" y="100"/>
                    </a:lnTo>
                    <a:lnTo>
                      <a:pt x="599" y="100"/>
                    </a:lnTo>
                    <a:lnTo>
                      <a:pt x="599" y="97"/>
                    </a:lnTo>
                    <a:lnTo>
                      <a:pt x="599" y="97"/>
                    </a:lnTo>
                    <a:lnTo>
                      <a:pt x="599" y="97"/>
                    </a:lnTo>
                    <a:lnTo>
                      <a:pt x="599" y="97"/>
                    </a:lnTo>
                    <a:lnTo>
                      <a:pt x="602" y="97"/>
                    </a:lnTo>
                    <a:lnTo>
                      <a:pt x="602" y="97"/>
                    </a:lnTo>
                    <a:lnTo>
                      <a:pt x="605" y="97"/>
                    </a:lnTo>
                    <a:lnTo>
                      <a:pt x="605" y="97"/>
                    </a:lnTo>
                    <a:lnTo>
                      <a:pt x="605" y="94"/>
                    </a:lnTo>
                    <a:lnTo>
                      <a:pt x="605" y="94"/>
                    </a:lnTo>
                    <a:lnTo>
                      <a:pt x="602" y="94"/>
                    </a:lnTo>
                    <a:lnTo>
                      <a:pt x="602" y="94"/>
                    </a:lnTo>
                    <a:lnTo>
                      <a:pt x="599" y="94"/>
                    </a:lnTo>
                    <a:lnTo>
                      <a:pt x="599" y="94"/>
                    </a:lnTo>
                    <a:lnTo>
                      <a:pt x="599" y="94"/>
                    </a:lnTo>
                    <a:lnTo>
                      <a:pt x="599" y="94"/>
                    </a:lnTo>
                    <a:lnTo>
                      <a:pt x="593" y="94"/>
                    </a:lnTo>
                    <a:lnTo>
                      <a:pt x="593" y="94"/>
                    </a:lnTo>
                    <a:lnTo>
                      <a:pt x="589" y="94"/>
                    </a:lnTo>
                    <a:lnTo>
                      <a:pt x="589" y="94"/>
                    </a:lnTo>
                    <a:lnTo>
                      <a:pt x="585" y="97"/>
                    </a:lnTo>
                    <a:lnTo>
                      <a:pt x="585" y="97"/>
                    </a:lnTo>
                    <a:lnTo>
                      <a:pt x="585" y="94"/>
                    </a:lnTo>
                    <a:lnTo>
                      <a:pt x="585" y="94"/>
                    </a:lnTo>
                    <a:lnTo>
                      <a:pt x="583" y="94"/>
                    </a:lnTo>
                    <a:lnTo>
                      <a:pt x="583" y="94"/>
                    </a:lnTo>
                    <a:lnTo>
                      <a:pt x="582" y="94"/>
                    </a:lnTo>
                    <a:lnTo>
                      <a:pt x="582" y="94"/>
                    </a:lnTo>
                    <a:lnTo>
                      <a:pt x="578" y="94"/>
                    </a:lnTo>
                    <a:lnTo>
                      <a:pt x="578" y="94"/>
                    </a:lnTo>
                    <a:lnTo>
                      <a:pt x="577" y="94"/>
                    </a:lnTo>
                    <a:lnTo>
                      <a:pt x="577" y="94"/>
                    </a:lnTo>
                    <a:lnTo>
                      <a:pt x="572" y="94"/>
                    </a:lnTo>
                    <a:lnTo>
                      <a:pt x="572" y="94"/>
                    </a:lnTo>
                    <a:lnTo>
                      <a:pt x="570" y="94"/>
                    </a:lnTo>
                    <a:lnTo>
                      <a:pt x="572" y="97"/>
                    </a:lnTo>
                    <a:lnTo>
                      <a:pt x="572" y="97"/>
                    </a:lnTo>
                    <a:lnTo>
                      <a:pt x="572" y="97"/>
                    </a:lnTo>
                    <a:close/>
                    <a:moveTo>
                      <a:pt x="562" y="146"/>
                    </a:moveTo>
                    <a:lnTo>
                      <a:pt x="562" y="146"/>
                    </a:lnTo>
                    <a:lnTo>
                      <a:pt x="564" y="145"/>
                    </a:lnTo>
                    <a:lnTo>
                      <a:pt x="564" y="145"/>
                    </a:lnTo>
                    <a:lnTo>
                      <a:pt x="564" y="145"/>
                    </a:lnTo>
                    <a:lnTo>
                      <a:pt x="562" y="146"/>
                    </a:lnTo>
                    <a:lnTo>
                      <a:pt x="562" y="146"/>
                    </a:lnTo>
                    <a:lnTo>
                      <a:pt x="562" y="146"/>
                    </a:lnTo>
                    <a:close/>
                    <a:moveTo>
                      <a:pt x="624" y="229"/>
                    </a:moveTo>
                    <a:lnTo>
                      <a:pt x="624" y="229"/>
                    </a:lnTo>
                    <a:lnTo>
                      <a:pt x="618" y="229"/>
                    </a:lnTo>
                    <a:lnTo>
                      <a:pt x="618" y="229"/>
                    </a:lnTo>
                    <a:lnTo>
                      <a:pt x="615" y="229"/>
                    </a:lnTo>
                    <a:lnTo>
                      <a:pt x="615" y="229"/>
                    </a:lnTo>
                    <a:lnTo>
                      <a:pt x="612" y="229"/>
                    </a:lnTo>
                    <a:lnTo>
                      <a:pt x="612" y="229"/>
                    </a:lnTo>
                    <a:lnTo>
                      <a:pt x="605" y="234"/>
                    </a:lnTo>
                    <a:lnTo>
                      <a:pt x="605" y="234"/>
                    </a:lnTo>
                    <a:lnTo>
                      <a:pt x="605" y="235"/>
                    </a:lnTo>
                    <a:lnTo>
                      <a:pt x="605" y="235"/>
                    </a:lnTo>
                    <a:lnTo>
                      <a:pt x="605" y="237"/>
                    </a:lnTo>
                    <a:lnTo>
                      <a:pt x="605" y="237"/>
                    </a:lnTo>
                    <a:lnTo>
                      <a:pt x="609" y="237"/>
                    </a:lnTo>
                    <a:lnTo>
                      <a:pt x="609" y="237"/>
                    </a:lnTo>
                    <a:lnTo>
                      <a:pt x="610" y="237"/>
                    </a:lnTo>
                    <a:lnTo>
                      <a:pt x="610" y="237"/>
                    </a:lnTo>
                    <a:lnTo>
                      <a:pt x="612" y="237"/>
                    </a:lnTo>
                    <a:lnTo>
                      <a:pt x="612" y="237"/>
                    </a:lnTo>
                    <a:lnTo>
                      <a:pt x="613" y="237"/>
                    </a:lnTo>
                    <a:lnTo>
                      <a:pt x="613" y="237"/>
                    </a:lnTo>
                    <a:lnTo>
                      <a:pt x="616" y="235"/>
                    </a:lnTo>
                    <a:lnTo>
                      <a:pt x="616" y="235"/>
                    </a:lnTo>
                    <a:lnTo>
                      <a:pt x="624" y="232"/>
                    </a:lnTo>
                    <a:lnTo>
                      <a:pt x="624" y="232"/>
                    </a:lnTo>
                    <a:lnTo>
                      <a:pt x="631" y="229"/>
                    </a:lnTo>
                    <a:lnTo>
                      <a:pt x="631" y="229"/>
                    </a:lnTo>
                    <a:lnTo>
                      <a:pt x="628" y="226"/>
                    </a:lnTo>
                    <a:lnTo>
                      <a:pt x="624" y="229"/>
                    </a:lnTo>
                    <a:lnTo>
                      <a:pt x="624" y="229"/>
                    </a:lnTo>
                    <a:lnTo>
                      <a:pt x="624" y="229"/>
                    </a:lnTo>
                    <a:close/>
                    <a:moveTo>
                      <a:pt x="718" y="173"/>
                    </a:moveTo>
                    <a:lnTo>
                      <a:pt x="718" y="173"/>
                    </a:lnTo>
                    <a:lnTo>
                      <a:pt x="721" y="173"/>
                    </a:lnTo>
                    <a:lnTo>
                      <a:pt x="721" y="173"/>
                    </a:lnTo>
                    <a:lnTo>
                      <a:pt x="729" y="173"/>
                    </a:lnTo>
                    <a:lnTo>
                      <a:pt x="729" y="173"/>
                    </a:lnTo>
                    <a:lnTo>
                      <a:pt x="734" y="170"/>
                    </a:lnTo>
                    <a:lnTo>
                      <a:pt x="734" y="170"/>
                    </a:lnTo>
                    <a:lnTo>
                      <a:pt x="739" y="170"/>
                    </a:lnTo>
                    <a:lnTo>
                      <a:pt x="739" y="170"/>
                    </a:lnTo>
                    <a:lnTo>
                      <a:pt x="740" y="164"/>
                    </a:lnTo>
                    <a:lnTo>
                      <a:pt x="740" y="164"/>
                    </a:lnTo>
                    <a:lnTo>
                      <a:pt x="742" y="164"/>
                    </a:lnTo>
                    <a:lnTo>
                      <a:pt x="742" y="164"/>
                    </a:lnTo>
                    <a:lnTo>
                      <a:pt x="743" y="162"/>
                    </a:lnTo>
                    <a:lnTo>
                      <a:pt x="743" y="162"/>
                    </a:lnTo>
                    <a:lnTo>
                      <a:pt x="742" y="161"/>
                    </a:lnTo>
                    <a:lnTo>
                      <a:pt x="742" y="161"/>
                    </a:lnTo>
                    <a:lnTo>
                      <a:pt x="737" y="161"/>
                    </a:lnTo>
                    <a:lnTo>
                      <a:pt x="737" y="161"/>
                    </a:lnTo>
                    <a:lnTo>
                      <a:pt x="731" y="161"/>
                    </a:lnTo>
                    <a:lnTo>
                      <a:pt x="731" y="161"/>
                    </a:lnTo>
                    <a:lnTo>
                      <a:pt x="721" y="164"/>
                    </a:lnTo>
                    <a:lnTo>
                      <a:pt x="721" y="164"/>
                    </a:lnTo>
                    <a:lnTo>
                      <a:pt x="718" y="167"/>
                    </a:lnTo>
                    <a:lnTo>
                      <a:pt x="718" y="167"/>
                    </a:lnTo>
                    <a:lnTo>
                      <a:pt x="716" y="170"/>
                    </a:lnTo>
                    <a:lnTo>
                      <a:pt x="716" y="170"/>
                    </a:lnTo>
                    <a:lnTo>
                      <a:pt x="718" y="170"/>
                    </a:lnTo>
                    <a:lnTo>
                      <a:pt x="718" y="170"/>
                    </a:lnTo>
                    <a:lnTo>
                      <a:pt x="716" y="173"/>
                    </a:lnTo>
                    <a:lnTo>
                      <a:pt x="718" y="173"/>
                    </a:lnTo>
                    <a:lnTo>
                      <a:pt x="718" y="173"/>
                    </a:lnTo>
                    <a:lnTo>
                      <a:pt x="718" y="173"/>
                    </a:lnTo>
                    <a:close/>
                    <a:moveTo>
                      <a:pt x="855" y="178"/>
                    </a:moveTo>
                    <a:lnTo>
                      <a:pt x="855" y="178"/>
                    </a:lnTo>
                    <a:lnTo>
                      <a:pt x="858" y="177"/>
                    </a:lnTo>
                    <a:lnTo>
                      <a:pt x="858" y="177"/>
                    </a:lnTo>
                    <a:lnTo>
                      <a:pt x="856" y="177"/>
                    </a:lnTo>
                    <a:lnTo>
                      <a:pt x="856" y="177"/>
                    </a:lnTo>
                    <a:lnTo>
                      <a:pt x="855" y="177"/>
                    </a:lnTo>
                    <a:lnTo>
                      <a:pt x="855" y="177"/>
                    </a:lnTo>
                    <a:lnTo>
                      <a:pt x="855" y="175"/>
                    </a:lnTo>
                    <a:lnTo>
                      <a:pt x="855" y="175"/>
                    </a:lnTo>
                    <a:lnTo>
                      <a:pt x="853" y="177"/>
                    </a:lnTo>
                    <a:lnTo>
                      <a:pt x="853" y="177"/>
                    </a:lnTo>
                    <a:lnTo>
                      <a:pt x="853" y="177"/>
                    </a:lnTo>
                    <a:lnTo>
                      <a:pt x="853" y="177"/>
                    </a:lnTo>
                    <a:lnTo>
                      <a:pt x="853" y="180"/>
                    </a:lnTo>
                    <a:lnTo>
                      <a:pt x="853" y="180"/>
                    </a:lnTo>
                    <a:lnTo>
                      <a:pt x="850" y="178"/>
                    </a:lnTo>
                    <a:lnTo>
                      <a:pt x="850" y="178"/>
                    </a:lnTo>
                    <a:lnTo>
                      <a:pt x="850" y="177"/>
                    </a:lnTo>
                    <a:lnTo>
                      <a:pt x="850" y="177"/>
                    </a:lnTo>
                    <a:lnTo>
                      <a:pt x="847" y="178"/>
                    </a:lnTo>
                    <a:lnTo>
                      <a:pt x="847" y="178"/>
                    </a:lnTo>
                    <a:lnTo>
                      <a:pt x="847" y="177"/>
                    </a:lnTo>
                    <a:lnTo>
                      <a:pt x="847" y="177"/>
                    </a:lnTo>
                    <a:lnTo>
                      <a:pt x="843" y="177"/>
                    </a:lnTo>
                    <a:lnTo>
                      <a:pt x="843" y="177"/>
                    </a:lnTo>
                    <a:lnTo>
                      <a:pt x="847" y="173"/>
                    </a:lnTo>
                    <a:lnTo>
                      <a:pt x="847" y="173"/>
                    </a:lnTo>
                    <a:lnTo>
                      <a:pt x="850" y="173"/>
                    </a:lnTo>
                    <a:lnTo>
                      <a:pt x="850" y="173"/>
                    </a:lnTo>
                    <a:lnTo>
                      <a:pt x="847" y="173"/>
                    </a:lnTo>
                    <a:lnTo>
                      <a:pt x="847" y="173"/>
                    </a:lnTo>
                    <a:lnTo>
                      <a:pt x="843" y="173"/>
                    </a:lnTo>
                    <a:lnTo>
                      <a:pt x="843" y="173"/>
                    </a:lnTo>
                    <a:lnTo>
                      <a:pt x="842" y="173"/>
                    </a:lnTo>
                    <a:lnTo>
                      <a:pt x="842" y="173"/>
                    </a:lnTo>
                    <a:lnTo>
                      <a:pt x="839" y="173"/>
                    </a:lnTo>
                    <a:lnTo>
                      <a:pt x="839" y="173"/>
                    </a:lnTo>
                    <a:lnTo>
                      <a:pt x="837" y="173"/>
                    </a:lnTo>
                    <a:lnTo>
                      <a:pt x="837" y="173"/>
                    </a:lnTo>
                    <a:lnTo>
                      <a:pt x="839" y="173"/>
                    </a:lnTo>
                    <a:lnTo>
                      <a:pt x="839" y="173"/>
                    </a:lnTo>
                    <a:lnTo>
                      <a:pt x="840" y="173"/>
                    </a:lnTo>
                    <a:lnTo>
                      <a:pt x="840" y="173"/>
                    </a:lnTo>
                    <a:lnTo>
                      <a:pt x="840" y="170"/>
                    </a:lnTo>
                    <a:lnTo>
                      <a:pt x="840" y="170"/>
                    </a:lnTo>
                    <a:lnTo>
                      <a:pt x="842" y="170"/>
                    </a:lnTo>
                    <a:lnTo>
                      <a:pt x="842" y="170"/>
                    </a:lnTo>
                    <a:lnTo>
                      <a:pt x="840" y="167"/>
                    </a:lnTo>
                    <a:lnTo>
                      <a:pt x="840" y="167"/>
                    </a:lnTo>
                    <a:lnTo>
                      <a:pt x="839" y="167"/>
                    </a:lnTo>
                    <a:lnTo>
                      <a:pt x="839" y="167"/>
                    </a:lnTo>
                    <a:lnTo>
                      <a:pt x="836" y="167"/>
                    </a:lnTo>
                    <a:lnTo>
                      <a:pt x="836" y="167"/>
                    </a:lnTo>
                    <a:lnTo>
                      <a:pt x="836" y="167"/>
                    </a:lnTo>
                    <a:lnTo>
                      <a:pt x="836" y="167"/>
                    </a:lnTo>
                    <a:lnTo>
                      <a:pt x="834" y="167"/>
                    </a:lnTo>
                    <a:lnTo>
                      <a:pt x="834" y="167"/>
                    </a:lnTo>
                    <a:lnTo>
                      <a:pt x="837" y="164"/>
                    </a:lnTo>
                    <a:lnTo>
                      <a:pt x="837" y="164"/>
                    </a:lnTo>
                    <a:lnTo>
                      <a:pt x="836" y="164"/>
                    </a:lnTo>
                    <a:lnTo>
                      <a:pt x="836" y="164"/>
                    </a:lnTo>
                    <a:lnTo>
                      <a:pt x="834" y="164"/>
                    </a:lnTo>
                    <a:lnTo>
                      <a:pt x="834" y="164"/>
                    </a:lnTo>
                    <a:lnTo>
                      <a:pt x="831" y="167"/>
                    </a:lnTo>
                    <a:lnTo>
                      <a:pt x="831" y="167"/>
                    </a:lnTo>
                    <a:lnTo>
                      <a:pt x="829" y="167"/>
                    </a:lnTo>
                    <a:lnTo>
                      <a:pt x="829" y="167"/>
                    </a:lnTo>
                    <a:lnTo>
                      <a:pt x="829" y="167"/>
                    </a:lnTo>
                    <a:lnTo>
                      <a:pt x="829" y="167"/>
                    </a:lnTo>
                    <a:lnTo>
                      <a:pt x="831" y="164"/>
                    </a:lnTo>
                    <a:lnTo>
                      <a:pt x="831" y="164"/>
                    </a:lnTo>
                    <a:lnTo>
                      <a:pt x="829" y="164"/>
                    </a:lnTo>
                    <a:lnTo>
                      <a:pt x="829" y="164"/>
                    </a:lnTo>
                    <a:lnTo>
                      <a:pt x="828" y="164"/>
                    </a:lnTo>
                    <a:lnTo>
                      <a:pt x="828" y="164"/>
                    </a:lnTo>
                    <a:lnTo>
                      <a:pt x="823" y="167"/>
                    </a:lnTo>
                    <a:lnTo>
                      <a:pt x="823" y="167"/>
                    </a:lnTo>
                    <a:lnTo>
                      <a:pt x="826" y="164"/>
                    </a:lnTo>
                    <a:lnTo>
                      <a:pt x="826" y="164"/>
                    </a:lnTo>
                    <a:lnTo>
                      <a:pt x="829" y="162"/>
                    </a:lnTo>
                    <a:lnTo>
                      <a:pt x="829" y="162"/>
                    </a:lnTo>
                    <a:lnTo>
                      <a:pt x="824" y="164"/>
                    </a:lnTo>
                    <a:lnTo>
                      <a:pt x="824" y="164"/>
                    </a:lnTo>
                    <a:lnTo>
                      <a:pt x="818" y="167"/>
                    </a:lnTo>
                    <a:lnTo>
                      <a:pt x="818" y="167"/>
                    </a:lnTo>
                    <a:lnTo>
                      <a:pt x="821" y="164"/>
                    </a:lnTo>
                    <a:lnTo>
                      <a:pt x="821" y="164"/>
                    </a:lnTo>
                    <a:lnTo>
                      <a:pt x="824" y="164"/>
                    </a:lnTo>
                    <a:lnTo>
                      <a:pt x="824" y="164"/>
                    </a:lnTo>
                    <a:lnTo>
                      <a:pt x="821" y="162"/>
                    </a:lnTo>
                    <a:lnTo>
                      <a:pt x="821" y="162"/>
                    </a:lnTo>
                    <a:lnTo>
                      <a:pt x="820" y="162"/>
                    </a:lnTo>
                    <a:lnTo>
                      <a:pt x="820" y="162"/>
                    </a:lnTo>
                    <a:lnTo>
                      <a:pt x="821" y="161"/>
                    </a:lnTo>
                    <a:lnTo>
                      <a:pt x="821" y="161"/>
                    </a:lnTo>
                    <a:lnTo>
                      <a:pt x="818" y="161"/>
                    </a:lnTo>
                    <a:lnTo>
                      <a:pt x="818" y="161"/>
                    </a:lnTo>
                    <a:lnTo>
                      <a:pt x="818" y="161"/>
                    </a:lnTo>
                    <a:lnTo>
                      <a:pt x="818" y="161"/>
                    </a:lnTo>
                    <a:lnTo>
                      <a:pt x="815" y="161"/>
                    </a:lnTo>
                    <a:lnTo>
                      <a:pt x="815" y="161"/>
                    </a:lnTo>
                    <a:lnTo>
                      <a:pt x="815" y="161"/>
                    </a:lnTo>
                    <a:lnTo>
                      <a:pt x="815" y="161"/>
                    </a:lnTo>
                    <a:lnTo>
                      <a:pt x="813" y="161"/>
                    </a:lnTo>
                    <a:lnTo>
                      <a:pt x="813" y="161"/>
                    </a:lnTo>
                    <a:lnTo>
                      <a:pt x="818" y="159"/>
                    </a:lnTo>
                    <a:lnTo>
                      <a:pt x="818" y="159"/>
                    </a:lnTo>
                    <a:lnTo>
                      <a:pt x="818" y="159"/>
                    </a:lnTo>
                    <a:lnTo>
                      <a:pt x="818" y="159"/>
                    </a:lnTo>
                    <a:lnTo>
                      <a:pt x="815" y="158"/>
                    </a:lnTo>
                    <a:lnTo>
                      <a:pt x="815" y="158"/>
                    </a:lnTo>
                    <a:lnTo>
                      <a:pt x="815" y="158"/>
                    </a:lnTo>
                    <a:lnTo>
                      <a:pt x="815" y="158"/>
                    </a:lnTo>
                    <a:lnTo>
                      <a:pt x="812" y="159"/>
                    </a:lnTo>
                    <a:lnTo>
                      <a:pt x="812" y="159"/>
                    </a:lnTo>
                    <a:lnTo>
                      <a:pt x="813" y="158"/>
                    </a:lnTo>
                    <a:lnTo>
                      <a:pt x="813" y="158"/>
                    </a:lnTo>
                    <a:lnTo>
                      <a:pt x="809" y="158"/>
                    </a:lnTo>
                    <a:lnTo>
                      <a:pt x="809" y="158"/>
                    </a:lnTo>
                    <a:lnTo>
                      <a:pt x="807" y="156"/>
                    </a:lnTo>
                    <a:lnTo>
                      <a:pt x="807" y="156"/>
                    </a:lnTo>
                    <a:lnTo>
                      <a:pt x="809" y="156"/>
                    </a:lnTo>
                    <a:lnTo>
                      <a:pt x="809" y="156"/>
                    </a:lnTo>
                    <a:lnTo>
                      <a:pt x="813" y="156"/>
                    </a:lnTo>
                    <a:lnTo>
                      <a:pt x="813" y="156"/>
                    </a:lnTo>
                    <a:lnTo>
                      <a:pt x="810" y="154"/>
                    </a:lnTo>
                    <a:lnTo>
                      <a:pt x="810" y="154"/>
                    </a:lnTo>
                    <a:lnTo>
                      <a:pt x="815" y="154"/>
                    </a:lnTo>
                    <a:lnTo>
                      <a:pt x="815" y="154"/>
                    </a:lnTo>
                    <a:lnTo>
                      <a:pt x="812" y="153"/>
                    </a:lnTo>
                    <a:lnTo>
                      <a:pt x="812" y="153"/>
                    </a:lnTo>
                    <a:lnTo>
                      <a:pt x="815" y="151"/>
                    </a:lnTo>
                    <a:lnTo>
                      <a:pt x="815" y="151"/>
                    </a:lnTo>
                    <a:lnTo>
                      <a:pt x="818" y="151"/>
                    </a:lnTo>
                    <a:lnTo>
                      <a:pt x="818" y="151"/>
                    </a:lnTo>
                    <a:lnTo>
                      <a:pt x="815" y="150"/>
                    </a:lnTo>
                    <a:lnTo>
                      <a:pt x="815" y="150"/>
                    </a:lnTo>
                    <a:lnTo>
                      <a:pt x="818" y="150"/>
                    </a:lnTo>
                    <a:lnTo>
                      <a:pt x="818" y="150"/>
                    </a:lnTo>
                    <a:lnTo>
                      <a:pt x="815" y="148"/>
                    </a:lnTo>
                    <a:lnTo>
                      <a:pt x="815" y="148"/>
                    </a:lnTo>
                    <a:lnTo>
                      <a:pt x="813" y="148"/>
                    </a:lnTo>
                    <a:lnTo>
                      <a:pt x="813" y="148"/>
                    </a:lnTo>
                    <a:lnTo>
                      <a:pt x="809" y="148"/>
                    </a:lnTo>
                    <a:lnTo>
                      <a:pt x="809" y="148"/>
                    </a:lnTo>
                    <a:lnTo>
                      <a:pt x="812" y="146"/>
                    </a:lnTo>
                    <a:lnTo>
                      <a:pt x="812" y="146"/>
                    </a:lnTo>
                    <a:lnTo>
                      <a:pt x="815" y="146"/>
                    </a:lnTo>
                    <a:lnTo>
                      <a:pt x="815" y="146"/>
                    </a:lnTo>
                    <a:lnTo>
                      <a:pt x="818" y="148"/>
                    </a:lnTo>
                    <a:lnTo>
                      <a:pt x="818" y="148"/>
                    </a:lnTo>
                    <a:lnTo>
                      <a:pt x="821" y="150"/>
                    </a:lnTo>
                    <a:lnTo>
                      <a:pt x="821" y="150"/>
                    </a:lnTo>
                    <a:lnTo>
                      <a:pt x="824" y="150"/>
                    </a:lnTo>
                    <a:lnTo>
                      <a:pt x="824" y="150"/>
                    </a:lnTo>
                    <a:lnTo>
                      <a:pt x="829" y="150"/>
                    </a:lnTo>
                    <a:lnTo>
                      <a:pt x="829" y="150"/>
                    </a:lnTo>
                    <a:lnTo>
                      <a:pt x="831" y="150"/>
                    </a:lnTo>
                    <a:lnTo>
                      <a:pt x="831" y="150"/>
                    </a:lnTo>
                    <a:lnTo>
                      <a:pt x="829" y="148"/>
                    </a:lnTo>
                    <a:lnTo>
                      <a:pt x="829" y="148"/>
                    </a:lnTo>
                    <a:lnTo>
                      <a:pt x="828" y="146"/>
                    </a:lnTo>
                    <a:lnTo>
                      <a:pt x="828" y="146"/>
                    </a:lnTo>
                    <a:lnTo>
                      <a:pt x="824" y="145"/>
                    </a:lnTo>
                    <a:lnTo>
                      <a:pt x="824" y="145"/>
                    </a:lnTo>
                    <a:lnTo>
                      <a:pt x="818" y="145"/>
                    </a:lnTo>
                    <a:lnTo>
                      <a:pt x="818" y="145"/>
                    </a:lnTo>
                    <a:lnTo>
                      <a:pt x="815" y="145"/>
                    </a:lnTo>
                    <a:lnTo>
                      <a:pt x="815" y="145"/>
                    </a:lnTo>
                    <a:lnTo>
                      <a:pt x="812" y="145"/>
                    </a:lnTo>
                    <a:lnTo>
                      <a:pt x="812" y="145"/>
                    </a:lnTo>
                    <a:lnTo>
                      <a:pt x="821" y="142"/>
                    </a:lnTo>
                    <a:lnTo>
                      <a:pt x="821" y="142"/>
                    </a:lnTo>
                    <a:lnTo>
                      <a:pt x="826" y="142"/>
                    </a:lnTo>
                    <a:lnTo>
                      <a:pt x="826" y="142"/>
                    </a:lnTo>
                    <a:lnTo>
                      <a:pt x="829" y="142"/>
                    </a:lnTo>
                    <a:lnTo>
                      <a:pt x="829" y="142"/>
                    </a:lnTo>
                    <a:lnTo>
                      <a:pt x="831" y="140"/>
                    </a:lnTo>
                    <a:lnTo>
                      <a:pt x="831" y="140"/>
                    </a:lnTo>
                    <a:lnTo>
                      <a:pt x="829" y="138"/>
                    </a:lnTo>
                    <a:lnTo>
                      <a:pt x="829" y="138"/>
                    </a:lnTo>
                    <a:lnTo>
                      <a:pt x="828" y="135"/>
                    </a:lnTo>
                    <a:lnTo>
                      <a:pt x="828" y="135"/>
                    </a:lnTo>
                    <a:lnTo>
                      <a:pt x="824" y="135"/>
                    </a:lnTo>
                    <a:lnTo>
                      <a:pt x="824" y="135"/>
                    </a:lnTo>
                    <a:lnTo>
                      <a:pt x="823" y="138"/>
                    </a:lnTo>
                    <a:lnTo>
                      <a:pt x="823" y="138"/>
                    </a:lnTo>
                    <a:lnTo>
                      <a:pt x="818" y="138"/>
                    </a:lnTo>
                    <a:lnTo>
                      <a:pt x="818" y="138"/>
                    </a:lnTo>
                    <a:lnTo>
                      <a:pt x="817" y="140"/>
                    </a:lnTo>
                    <a:lnTo>
                      <a:pt x="817" y="140"/>
                    </a:lnTo>
                    <a:lnTo>
                      <a:pt x="818" y="138"/>
                    </a:lnTo>
                    <a:lnTo>
                      <a:pt x="818" y="138"/>
                    </a:lnTo>
                    <a:lnTo>
                      <a:pt x="818" y="138"/>
                    </a:lnTo>
                    <a:lnTo>
                      <a:pt x="818" y="138"/>
                    </a:lnTo>
                    <a:lnTo>
                      <a:pt x="815" y="138"/>
                    </a:lnTo>
                    <a:lnTo>
                      <a:pt x="815" y="138"/>
                    </a:lnTo>
                    <a:lnTo>
                      <a:pt x="812" y="138"/>
                    </a:lnTo>
                    <a:lnTo>
                      <a:pt x="812" y="138"/>
                    </a:lnTo>
                    <a:lnTo>
                      <a:pt x="818" y="135"/>
                    </a:lnTo>
                    <a:lnTo>
                      <a:pt x="818" y="135"/>
                    </a:lnTo>
                    <a:lnTo>
                      <a:pt x="821" y="135"/>
                    </a:lnTo>
                    <a:lnTo>
                      <a:pt x="821" y="135"/>
                    </a:lnTo>
                    <a:lnTo>
                      <a:pt x="823" y="135"/>
                    </a:lnTo>
                    <a:lnTo>
                      <a:pt x="823" y="135"/>
                    </a:lnTo>
                    <a:lnTo>
                      <a:pt x="824" y="132"/>
                    </a:lnTo>
                    <a:lnTo>
                      <a:pt x="824" y="132"/>
                    </a:lnTo>
                    <a:lnTo>
                      <a:pt x="826" y="132"/>
                    </a:lnTo>
                    <a:lnTo>
                      <a:pt x="826" y="132"/>
                    </a:lnTo>
                    <a:lnTo>
                      <a:pt x="821" y="132"/>
                    </a:lnTo>
                    <a:lnTo>
                      <a:pt x="821" y="132"/>
                    </a:lnTo>
                    <a:lnTo>
                      <a:pt x="818" y="129"/>
                    </a:lnTo>
                    <a:lnTo>
                      <a:pt x="818" y="129"/>
                    </a:lnTo>
                    <a:lnTo>
                      <a:pt x="810" y="132"/>
                    </a:lnTo>
                    <a:lnTo>
                      <a:pt x="810" y="132"/>
                    </a:lnTo>
                    <a:lnTo>
                      <a:pt x="815" y="129"/>
                    </a:lnTo>
                    <a:lnTo>
                      <a:pt x="815" y="129"/>
                    </a:lnTo>
                    <a:lnTo>
                      <a:pt x="813" y="129"/>
                    </a:lnTo>
                    <a:lnTo>
                      <a:pt x="813" y="129"/>
                    </a:lnTo>
                    <a:lnTo>
                      <a:pt x="810" y="129"/>
                    </a:lnTo>
                    <a:lnTo>
                      <a:pt x="810" y="129"/>
                    </a:lnTo>
                    <a:lnTo>
                      <a:pt x="805" y="132"/>
                    </a:lnTo>
                    <a:lnTo>
                      <a:pt x="805" y="132"/>
                    </a:lnTo>
                    <a:lnTo>
                      <a:pt x="799" y="135"/>
                    </a:lnTo>
                    <a:lnTo>
                      <a:pt x="799" y="135"/>
                    </a:lnTo>
                    <a:lnTo>
                      <a:pt x="794" y="138"/>
                    </a:lnTo>
                    <a:lnTo>
                      <a:pt x="794" y="138"/>
                    </a:lnTo>
                    <a:lnTo>
                      <a:pt x="801" y="132"/>
                    </a:lnTo>
                    <a:lnTo>
                      <a:pt x="801" y="132"/>
                    </a:lnTo>
                    <a:lnTo>
                      <a:pt x="797" y="132"/>
                    </a:lnTo>
                    <a:lnTo>
                      <a:pt x="797" y="132"/>
                    </a:lnTo>
                    <a:lnTo>
                      <a:pt x="797" y="132"/>
                    </a:lnTo>
                    <a:lnTo>
                      <a:pt x="797" y="132"/>
                    </a:lnTo>
                    <a:lnTo>
                      <a:pt x="794" y="135"/>
                    </a:lnTo>
                    <a:lnTo>
                      <a:pt x="794" y="135"/>
                    </a:lnTo>
                    <a:lnTo>
                      <a:pt x="791" y="135"/>
                    </a:lnTo>
                    <a:lnTo>
                      <a:pt x="791" y="135"/>
                    </a:lnTo>
                    <a:lnTo>
                      <a:pt x="794" y="132"/>
                    </a:lnTo>
                    <a:lnTo>
                      <a:pt x="794" y="132"/>
                    </a:lnTo>
                    <a:lnTo>
                      <a:pt x="797" y="132"/>
                    </a:lnTo>
                    <a:lnTo>
                      <a:pt x="797" y="132"/>
                    </a:lnTo>
                    <a:lnTo>
                      <a:pt x="802" y="132"/>
                    </a:lnTo>
                    <a:lnTo>
                      <a:pt x="802" y="132"/>
                    </a:lnTo>
                    <a:lnTo>
                      <a:pt x="807" y="129"/>
                    </a:lnTo>
                    <a:lnTo>
                      <a:pt x="807" y="129"/>
                    </a:lnTo>
                    <a:lnTo>
                      <a:pt x="810" y="127"/>
                    </a:lnTo>
                    <a:lnTo>
                      <a:pt x="810" y="127"/>
                    </a:lnTo>
                    <a:lnTo>
                      <a:pt x="807" y="127"/>
                    </a:lnTo>
                    <a:lnTo>
                      <a:pt x="807" y="127"/>
                    </a:lnTo>
                    <a:lnTo>
                      <a:pt x="802" y="129"/>
                    </a:lnTo>
                    <a:lnTo>
                      <a:pt x="802" y="129"/>
                    </a:lnTo>
                    <a:lnTo>
                      <a:pt x="794" y="129"/>
                    </a:lnTo>
                    <a:lnTo>
                      <a:pt x="794" y="129"/>
                    </a:lnTo>
                    <a:lnTo>
                      <a:pt x="791" y="132"/>
                    </a:lnTo>
                    <a:lnTo>
                      <a:pt x="791" y="132"/>
                    </a:lnTo>
                    <a:lnTo>
                      <a:pt x="791" y="132"/>
                    </a:lnTo>
                    <a:lnTo>
                      <a:pt x="791" y="132"/>
                    </a:lnTo>
                    <a:lnTo>
                      <a:pt x="794" y="129"/>
                    </a:lnTo>
                    <a:lnTo>
                      <a:pt x="794" y="129"/>
                    </a:lnTo>
                    <a:lnTo>
                      <a:pt x="791" y="129"/>
                    </a:lnTo>
                    <a:lnTo>
                      <a:pt x="791" y="129"/>
                    </a:lnTo>
                    <a:lnTo>
                      <a:pt x="791" y="129"/>
                    </a:lnTo>
                    <a:lnTo>
                      <a:pt x="791" y="129"/>
                    </a:lnTo>
                    <a:lnTo>
                      <a:pt x="794" y="127"/>
                    </a:lnTo>
                    <a:lnTo>
                      <a:pt x="794" y="127"/>
                    </a:lnTo>
                    <a:lnTo>
                      <a:pt x="797" y="127"/>
                    </a:lnTo>
                    <a:lnTo>
                      <a:pt x="797" y="127"/>
                    </a:lnTo>
                    <a:lnTo>
                      <a:pt x="801" y="127"/>
                    </a:lnTo>
                    <a:lnTo>
                      <a:pt x="801" y="127"/>
                    </a:lnTo>
                    <a:lnTo>
                      <a:pt x="804" y="126"/>
                    </a:lnTo>
                    <a:lnTo>
                      <a:pt x="804" y="126"/>
                    </a:lnTo>
                    <a:lnTo>
                      <a:pt x="805" y="126"/>
                    </a:lnTo>
                    <a:lnTo>
                      <a:pt x="805" y="126"/>
                    </a:lnTo>
                    <a:lnTo>
                      <a:pt x="807" y="124"/>
                    </a:lnTo>
                    <a:lnTo>
                      <a:pt x="807" y="124"/>
                    </a:lnTo>
                    <a:lnTo>
                      <a:pt x="807" y="123"/>
                    </a:lnTo>
                    <a:lnTo>
                      <a:pt x="807" y="123"/>
                    </a:lnTo>
                    <a:lnTo>
                      <a:pt x="804" y="121"/>
                    </a:lnTo>
                    <a:lnTo>
                      <a:pt x="804" y="121"/>
                    </a:lnTo>
                    <a:lnTo>
                      <a:pt x="797" y="121"/>
                    </a:lnTo>
                    <a:lnTo>
                      <a:pt x="797" y="121"/>
                    </a:lnTo>
                    <a:lnTo>
                      <a:pt x="794" y="123"/>
                    </a:lnTo>
                    <a:lnTo>
                      <a:pt x="794" y="123"/>
                    </a:lnTo>
                    <a:lnTo>
                      <a:pt x="791" y="124"/>
                    </a:lnTo>
                    <a:lnTo>
                      <a:pt x="791" y="124"/>
                    </a:lnTo>
                    <a:lnTo>
                      <a:pt x="788" y="126"/>
                    </a:lnTo>
                    <a:lnTo>
                      <a:pt x="788" y="126"/>
                    </a:lnTo>
                    <a:lnTo>
                      <a:pt x="785" y="127"/>
                    </a:lnTo>
                    <a:lnTo>
                      <a:pt x="785" y="127"/>
                    </a:lnTo>
                    <a:lnTo>
                      <a:pt x="788" y="126"/>
                    </a:lnTo>
                    <a:lnTo>
                      <a:pt x="788" y="126"/>
                    </a:lnTo>
                    <a:lnTo>
                      <a:pt x="791" y="124"/>
                    </a:lnTo>
                    <a:lnTo>
                      <a:pt x="791" y="124"/>
                    </a:lnTo>
                    <a:lnTo>
                      <a:pt x="788" y="124"/>
                    </a:lnTo>
                    <a:lnTo>
                      <a:pt x="788" y="124"/>
                    </a:lnTo>
                    <a:lnTo>
                      <a:pt x="786" y="124"/>
                    </a:lnTo>
                    <a:lnTo>
                      <a:pt x="786" y="124"/>
                    </a:lnTo>
                    <a:lnTo>
                      <a:pt x="786" y="123"/>
                    </a:lnTo>
                    <a:lnTo>
                      <a:pt x="786" y="123"/>
                    </a:lnTo>
                    <a:lnTo>
                      <a:pt x="788" y="121"/>
                    </a:lnTo>
                    <a:lnTo>
                      <a:pt x="788" y="121"/>
                    </a:lnTo>
                    <a:lnTo>
                      <a:pt x="786" y="121"/>
                    </a:lnTo>
                    <a:lnTo>
                      <a:pt x="786" y="121"/>
                    </a:lnTo>
                    <a:lnTo>
                      <a:pt x="785" y="123"/>
                    </a:lnTo>
                    <a:lnTo>
                      <a:pt x="785" y="123"/>
                    </a:lnTo>
                    <a:lnTo>
                      <a:pt x="780" y="126"/>
                    </a:lnTo>
                    <a:lnTo>
                      <a:pt x="780" y="126"/>
                    </a:lnTo>
                    <a:lnTo>
                      <a:pt x="783" y="123"/>
                    </a:lnTo>
                    <a:lnTo>
                      <a:pt x="783" y="123"/>
                    </a:lnTo>
                    <a:lnTo>
                      <a:pt x="780" y="123"/>
                    </a:lnTo>
                    <a:lnTo>
                      <a:pt x="780" y="123"/>
                    </a:lnTo>
                    <a:lnTo>
                      <a:pt x="783" y="121"/>
                    </a:lnTo>
                    <a:lnTo>
                      <a:pt x="783" y="121"/>
                    </a:lnTo>
                    <a:lnTo>
                      <a:pt x="783" y="119"/>
                    </a:lnTo>
                    <a:lnTo>
                      <a:pt x="783" y="119"/>
                    </a:lnTo>
                    <a:lnTo>
                      <a:pt x="782" y="119"/>
                    </a:lnTo>
                    <a:lnTo>
                      <a:pt x="782" y="119"/>
                    </a:lnTo>
                    <a:lnTo>
                      <a:pt x="778" y="121"/>
                    </a:lnTo>
                    <a:lnTo>
                      <a:pt x="778" y="121"/>
                    </a:lnTo>
                    <a:lnTo>
                      <a:pt x="777" y="123"/>
                    </a:lnTo>
                    <a:lnTo>
                      <a:pt x="777" y="123"/>
                    </a:lnTo>
                    <a:lnTo>
                      <a:pt x="775" y="123"/>
                    </a:lnTo>
                    <a:lnTo>
                      <a:pt x="775" y="123"/>
                    </a:lnTo>
                    <a:lnTo>
                      <a:pt x="774" y="123"/>
                    </a:lnTo>
                    <a:lnTo>
                      <a:pt x="774" y="123"/>
                    </a:lnTo>
                    <a:lnTo>
                      <a:pt x="780" y="119"/>
                    </a:lnTo>
                    <a:lnTo>
                      <a:pt x="780" y="119"/>
                    </a:lnTo>
                    <a:lnTo>
                      <a:pt x="775" y="121"/>
                    </a:lnTo>
                    <a:lnTo>
                      <a:pt x="775" y="121"/>
                    </a:lnTo>
                    <a:lnTo>
                      <a:pt x="772" y="121"/>
                    </a:lnTo>
                    <a:lnTo>
                      <a:pt x="772" y="121"/>
                    </a:lnTo>
                    <a:lnTo>
                      <a:pt x="777" y="119"/>
                    </a:lnTo>
                    <a:lnTo>
                      <a:pt x="777" y="119"/>
                    </a:lnTo>
                    <a:lnTo>
                      <a:pt x="774" y="119"/>
                    </a:lnTo>
                    <a:lnTo>
                      <a:pt x="774" y="119"/>
                    </a:lnTo>
                    <a:lnTo>
                      <a:pt x="782" y="118"/>
                    </a:lnTo>
                    <a:lnTo>
                      <a:pt x="782" y="118"/>
                    </a:lnTo>
                    <a:lnTo>
                      <a:pt x="788" y="116"/>
                    </a:lnTo>
                    <a:lnTo>
                      <a:pt x="788" y="116"/>
                    </a:lnTo>
                    <a:lnTo>
                      <a:pt x="786" y="115"/>
                    </a:lnTo>
                    <a:lnTo>
                      <a:pt x="786" y="115"/>
                    </a:lnTo>
                    <a:lnTo>
                      <a:pt x="785" y="113"/>
                    </a:lnTo>
                    <a:lnTo>
                      <a:pt x="785" y="113"/>
                    </a:lnTo>
                    <a:lnTo>
                      <a:pt x="778" y="115"/>
                    </a:lnTo>
                    <a:lnTo>
                      <a:pt x="778" y="115"/>
                    </a:lnTo>
                    <a:lnTo>
                      <a:pt x="782" y="113"/>
                    </a:lnTo>
                    <a:lnTo>
                      <a:pt x="782" y="113"/>
                    </a:lnTo>
                    <a:lnTo>
                      <a:pt x="783" y="110"/>
                    </a:lnTo>
                    <a:lnTo>
                      <a:pt x="783" y="110"/>
                    </a:lnTo>
                    <a:lnTo>
                      <a:pt x="782" y="108"/>
                    </a:lnTo>
                    <a:lnTo>
                      <a:pt x="782" y="108"/>
                    </a:lnTo>
                    <a:lnTo>
                      <a:pt x="778" y="108"/>
                    </a:lnTo>
                    <a:lnTo>
                      <a:pt x="778" y="108"/>
                    </a:lnTo>
                    <a:lnTo>
                      <a:pt x="775" y="110"/>
                    </a:lnTo>
                    <a:lnTo>
                      <a:pt x="775" y="110"/>
                    </a:lnTo>
                    <a:lnTo>
                      <a:pt x="774" y="108"/>
                    </a:lnTo>
                    <a:lnTo>
                      <a:pt x="774" y="108"/>
                    </a:lnTo>
                    <a:lnTo>
                      <a:pt x="772" y="107"/>
                    </a:lnTo>
                    <a:lnTo>
                      <a:pt x="772" y="107"/>
                    </a:lnTo>
                    <a:lnTo>
                      <a:pt x="766" y="107"/>
                    </a:lnTo>
                    <a:lnTo>
                      <a:pt x="766" y="107"/>
                    </a:lnTo>
                    <a:lnTo>
                      <a:pt x="756" y="108"/>
                    </a:lnTo>
                    <a:lnTo>
                      <a:pt x="756" y="108"/>
                    </a:lnTo>
                    <a:lnTo>
                      <a:pt x="753" y="108"/>
                    </a:lnTo>
                    <a:lnTo>
                      <a:pt x="753" y="108"/>
                    </a:lnTo>
                    <a:lnTo>
                      <a:pt x="753" y="110"/>
                    </a:lnTo>
                    <a:lnTo>
                      <a:pt x="753" y="110"/>
                    </a:lnTo>
                    <a:lnTo>
                      <a:pt x="753" y="111"/>
                    </a:lnTo>
                    <a:lnTo>
                      <a:pt x="753" y="111"/>
                    </a:lnTo>
                    <a:lnTo>
                      <a:pt x="753" y="111"/>
                    </a:lnTo>
                    <a:lnTo>
                      <a:pt x="753" y="111"/>
                    </a:lnTo>
                    <a:lnTo>
                      <a:pt x="751" y="113"/>
                    </a:lnTo>
                    <a:lnTo>
                      <a:pt x="751" y="113"/>
                    </a:lnTo>
                    <a:lnTo>
                      <a:pt x="751" y="111"/>
                    </a:lnTo>
                    <a:lnTo>
                      <a:pt x="751" y="111"/>
                    </a:lnTo>
                    <a:lnTo>
                      <a:pt x="748" y="113"/>
                    </a:lnTo>
                    <a:lnTo>
                      <a:pt x="748" y="113"/>
                    </a:lnTo>
                    <a:lnTo>
                      <a:pt x="750" y="115"/>
                    </a:lnTo>
                    <a:lnTo>
                      <a:pt x="750" y="115"/>
                    </a:lnTo>
                    <a:lnTo>
                      <a:pt x="748" y="115"/>
                    </a:lnTo>
                    <a:lnTo>
                      <a:pt x="748" y="115"/>
                    </a:lnTo>
                    <a:lnTo>
                      <a:pt x="745" y="115"/>
                    </a:lnTo>
                    <a:lnTo>
                      <a:pt x="745" y="115"/>
                    </a:lnTo>
                    <a:lnTo>
                      <a:pt x="747" y="116"/>
                    </a:lnTo>
                    <a:lnTo>
                      <a:pt x="747" y="116"/>
                    </a:lnTo>
                    <a:lnTo>
                      <a:pt x="742" y="116"/>
                    </a:lnTo>
                    <a:lnTo>
                      <a:pt x="742" y="116"/>
                    </a:lnTo>
                    <a:lnTo>
                      <a:pt x="748" y="111"/>
                    </a:lnTo>
                    <a:lnTo>
                      <a:pt x="748" y="111"/>
                    </a:lnTo>
                    <a:lnTo>
                      <a:pt x="745" y="111"/>
                    </a:lnTo>
                    <a:lnTo>
                      <a:pt x="745" y="111"/>
                    </a:lnTo>
                    <a:lnTo>
                      <a:pt x="743" y="111"/>
                    </a:lnTo>
                    <a:lnTo>
                      <a:pt x="743" y="111"/>
                    </a:lnTo>
                    <a:lnTo>
                      <a:pt x="740" y="113"/>
                    </a:lnTo>
                    <a:lnTo>
                      <a:pt x="740" y="113"/>
                    </a:lnTo>
                    <a:lnTo>
                      <a:pt x="742" y="111"/>
                    </a:lnTo>
                    <a:lnTo>
                      <a:pt x="742" y="111"/>
                    </a:lnTo>
                    <a:lnTo>
                      <a:pt x="742" y="110"/>
                    </a:lnTo>
                    <a:lnTo>
                      <a:pt x="742" y="110"/>
                    </a:lnTo>
                    <a:lnTo>
                      <a:pt x="739" y="111"/>
                    </a:lnTo>
                    <a:lnTo>
                      <a:pt x="739" y="111"/>
                    </a:lnTo>
                    <a:lnTo>
                      <a:pt x="737" y="113"/>
                    </a:lnTo>
                    <a:lnTo>
                      <a:pt x="737" y="113"/>
                    </a:lnTo>
                    <a:lnTo>
                      <a:pt x="736" y="113"/>
                    </a:lnTo>
                    <a:lnTo>
                      <a:pt x="736" y="113"/>
                    </a:lnTo>
                    <a:lnTo>
                      <a:pt x="734" y="113"/>
                    </a:lnTo>
                    <a:lnTo>
                      <a:pt x="734" y="113"/>
                    </a:lnTo>
                    <a:lnTo>
                      <a:pt x="729" y="116"/>
                    </a:lnTo>
                    <a:lnTo>
                      <a:pt x="729" y="116"/>
                    </a:lnTo>
                    <a:lnTo>
                      <a:pt x="728" y="116"/>
                    </a:lnTo>
                    <a:lnTo>
                      <a:pt x="728" y="116"/>
                    </a:lnTo>
                    <a:lnTo>
                      <a:pt x="728" y="115"/>
                    </a:lnTo>
                    <a:lnTo>
                      <a:pt x="728" y="115"/>
                    </a:lnTo>
                    <a:lnTo>
                      <a:pt x="728" y="115"/>
                    </a:lnTo>
                    <a:lnTo>
                      <a:pt x="728" y="115"/>
                    </a:lnTo>
                    <a:lnTo>
                      <a:pt x="731" y="115"/>
                    </a:lnTo>
                    <a:lnTo>
                      <a:pt x="731" y="115"/>
                    </a:lnTo>
                    <a:lnTo>
                      <a:pt x="729" y="113"/>
                    </a:lnTo>
                    <a:lnTo>
                      <a:pt x="729" y="113"/>
                    </a:lnTo>
                    <a:lnTo>
                      <a:pt x="731" y="111"/>
                    </a:lnTo>
                    <a:lnTo>
                      <a:pt x="731" y="111"/>
                    </a:lnTo>
                    <a:lnTo>
                      <a:pt x="736" y="110"/>
                    </a:lnTo>
                    <a:lnTo>
                      <a:pt x="736" y="110"/>
                    </a:lnTo>
                    <a:lnTo>
                      <a:pt x="732" y="110"/>
                    </a:lnTo>
                    <a:lnTo>
                      <a:pt x="732" y="110"/>
                    </a:lnTo>
                    <a:lnTo>
                      <a:pt x="740" y="107"/>
                    </a:lnTo>
                    <a:lnTo>
                      <a:pt x="740" y="107"/>
                    </a:lnTo>
                    <a:lnTo>
                      <a:pt x="739" y="107"/>
                    </a:lnTo>
                    <a:lnTo>
                      <a:pt x="739" y="107"/>
                    </a:lnTo>
                    <a:lnTo>
                      <a:pt x="740" y="104"/>
                    </a:lnTo>
                    <a:lnTo>
                      <a:pt x="740" y="104"/>
                    </a:lnTo>
                    <a:lnTo>
                      <a:pt x="742" y="104"/>
                    </a:lnTo>
                    <a:lnTo>
                      <a:pt x="742" y="104"/>
                    </a:lnTo>
                    <a:lnTo>
                      <a:pt x="740" y="100"/>
                    </a:lnTo>
                    <a:lnTo>
                      <a:pt x="740" y="100"/>
                    </a:lnTo>
                    <a:lnTo>
                      <a:pt x="737" y="100"/>
                    </a:lnTo>
                    <a:lnTo>
                      <a:pt x="737" y="100"/>
                    </a:lnTo>
                    <a:lnTo>
                      <a:pt x="740" y="97"/>
                    </a:lnTo>
                    <a:lnTo>
                      <a:pt x="740" y="97"/>
                    </a:lnTo>
                    <a:lnTo>
                      <a:pt x="739" y="97"/>
                    </a:lnTo>
                    <a:lnTo>
                      <a:pt x="739" y="97"/>
                    </a:lnTo>
                    <a:lnTo>
                      <a:pt x="737" y="94"/>
                    </a:lnTo>
                    <a:lnTo>
                      <a:pt x="737" y="94"/>
                    </a:lnTo>
                    <a:lnTo>
                      <a:pt x="734" y="94"/>
                    </a:lnTo>
                    <a:lnTo>
                      <a:pt x="734" y="94"/>
                    </a:lnTo>
                    <a:lnTo>
                      <a:pt x="724" y="97"/>
                    </a:lnTo>
                    <a:lnTo>
                      <a:pt x="724" y="97"/>
                    </a:lnTo>
                    <a:lnTo>
                      <a:pt x="716" y="97"/>
                    </a:lnTo>
                    <a:lnTo>
                      <a:pt x="716" y="97"/>
                    </a:lnTo>
                    <a:lnTo>
                      <a:pt x="713" y="97"/>
                    </a:lnTo>
                    <a:lnTo>
                      <a:pt x="713" y="97"/>
                    </a:lnTo>
                    <a:lnTo>
                      <a:pt x="710" y="100"/>
                    </a:lnTo>
                    <a:lnTo>
                      <a:pt x="710" y="100"/>
                    </a:lnTo>
                    <a:lnTo>
                      <a:pt x="709" y="100"/>
                    </a:lnTo>
                    <a:lnTo>
                      <a:pt x="709" y="100"/>
                    </a:lnTo>
                    <a:lnTo>
                      <a:pt x="707" y="100"/>
                    </a:lnTo>
                    <a:lnTo>
                      <a:pt x="707" y="100"/>
                    </a:lnTo>
                    <a:lnTo>
                      <a:pt x="705" y="100"/>
                    </a:lnTo>
                    <a:lnTo>
                      <a:pt x="705" y="100"/>
                    </a:lnTo>
                    <a:lnTo>
                      <a:pt x="702" y="100"/>
                    </a:lnTo>
                    <a:lnTo>
                      <a:pt x="702" y="100"/>
                    </a:lnTo>
                    <a:lnTo>
                      <a:pt x="705" y="104"/>
                    </a:lnTo>
                    <a:lnTo>
                      <a:pt x="705" y="104"/>
                    </a:lnTo>
                    <a:lnTo>
                      <a:pt x="707" y="104"/>
                    </a:lnTo>
                    <a:lnTo>
                      <a:pt x="707" y="104"/>
                    </a:lnTo>
                    <a:lnTo>
                      <a:pt x="713" y="104"/>
                    </a:lnTo>
                    <a:lnTo>
                      <a:pt x="713" y="104"/>
                    </a:lnTo>
                    <a:lnTo>
                      <a:pt x="709" y="104"/>
                    </a:lnTo>
                    <a:lnTo>
                      <a:pt x="709" y="104"/>
                    </a:lnTo>
                    <a:lnTo>
                      <a:pt x="704" y="104"/>
                    </a:lnTo>
                    <a:lnTo>
                      <a:pt x="704" y="104"/>
                    </a:lnTo>
                    <a:lnTo>
                      <a:pt x="701" y="104"/>
                    </a:lnTo>
                    <a:lnTo>
                      <a:pt x="701" y="104"/>
                    </a:lnTo>
                    <a:lnTo>
                      <a:pt x="697" y="104"/>
                    </a:lnTo>
                    <a:lnTo>
                      <a:pt x="697" y="104"/>
                    </a:lnTo>
                    <a:lnTo>
                      <a:pt x="702" y="107"/>
                    </a:lnTo>
                    <a:lnTo>
                      <a:pt x="702" y="107"/>
                    </a:lnTo>
                    <a:lnTo>
                      <a:pt x="697" y="104"/>
                    </a:lnTo>
                    <a:lnTo>
                      <a:pt x="697" y="104"/>
                    </a:lnTo>
                    <a:lnTo>
                      <a:pt x="693" y="107"/>
                    </a:lnTo>
                    <a:lnTo>
                      <a:pt x="693" y="107"/>
                    </a:lnTo>
                    <a:lnTo>
                      <a:pt x="693" y="107"/>
                    </a:lnTo>
                    <a:lnTo>
                      <a:pt x="693" y="107"/>
                    </a:lnTo>
                    <a:lnTo>
                      <a:pt x="693" y="108"/>
                    </a:lnTo>
                    <a:lnTo>
                      <a:pt x="693" y="108"/>
                    </a:lnTo>
                    <a:lnTo>
                      <a:pt x="693" y="110"/>
                    </a:lnTo>
                    <a:lnTo>
                      <a:pt x="693" y="110"/>
                    </a:lnTo>
                    <a:lnTo>
                      <a:pt x="696" y="111"/>
                    </a:lnTo>
                    <a:lnTo>
                      <a:pt x="696" y="111"/>
                    </a:lnTo>
                    <a:lnTo>
                      <a:pt x="696" y="111"/>
                    </a:lnTo>
                    <a:lnTo>
                      <a:pt x="696" y="111"/>
                    </a:lnTo>
                    <a:lnTo>
                      <a:pt x="696" y="113"/>
                    </a:lnTo>
                    <a:lnTo>
                      <a:pt x="696" y="113"/>
                    </a:lnTo>
                    <a:lnTo>
                      <a:pt x="697" y="115"/>
                    </a:lnTo>
                    <a:lnTo>
                      <a:pt x="697" y="115"/>
                    </a:lnTo>
                    <a:lnTo>
                      <a:pt x="697" y="116"/>
                    </a:lnTo>
                    <a:lnTo>
                      <a:pt x="697" y="116"/>
                    </a:lnTo>
                    <a:lnTo>
                      <a:pt x="696" y="115"/>
                    </a:lnTo>
                    <a:lnTo>
                      <a:pt x="696" y="115"/>
                    </a:lnTo>
                    <a:lnTo>
                      <a:pt x="696" y="113"/>
                    </a:lnTo>
                    <a:lnTo>
                      <a:pt x="696" y="113"/>
                    </a:lnTo>
                    <a:lnTo>
                      <a:pt x="693" y="113"/>
                    </a:lnTo>
                    <a:lnTo>
                      <a:pt x="693" y="113"/>
                    </a:lnTo>
                    <a:lnTo>
                      <a:pt x="689" y="113"/>
                    </a:lnTo>
                    <a:lnTo>
                      <a:pt x="689" y="113"/>
                    </a:lnTo>
                    <a:lnTo>
                      <a:pt x="688" y="113"/>
                    </a:lnTo>
                    <a:lnTo>
                      <a:pt x="688" y="113"/>
                    </a:lnTo>
                    <a:lnTo>
                      <a:pt x="685" y="115"/>
                    </a:lnTo>
                    <a:lnTo>
                      <a:pt x="685" y="115"/>
                    </a:lnTo>
                    <a:lnTo>
                      <a:pt x="682" y="115"/>
                    </a:lnTo>
                    <a:lnTo>
                      <a:pt x="682" y="115"/>
                    </a:lnTo>
                    <a:lnTo>
                      <a:pt x="683" y="116"/>
                    </a:lnTo>
                    <a:lnTo>
                      <a:pt x="683" y="116"/>
                    </a:lnTo>
                    <a:lnTo>
                      <a:pt x="685" y="118"/>
                    </a:lnTo>
                    <a:lnTo>
                      <a:pt x="685" y="118"/>
                    </a:lnTo>
                    <a:lnTo>
                      <a:pt x="683" y="118"/>
                    </a:lnTo>
                    <a:lnTo>
                      <a:pt x="683" y="118"/>
                    </a:lnTo>
                    <a:lnTo>
                      <a:pt x="686" y="119"/>
                    </a:lnTo>
                    <a:lnTo>
                      <a:pt x="686" y="119"/>
                    </a:lnTo>
                    <a:lnTo>
                      <a:pt x="689" y="119"/>
                    </a:lnTo>
                    <a:lnTo>
                      <a:pt x="689" y="119"/>
                    </a:lnTo>
                    <a:lnTo>
                      <a:pt x="689" y="121"/>
                    </a:lnTo>
                    <a:lnTo>
                      <a:pt x="689" y="121"/>
                    </a:lnTo>
                    <a:lnTo>
                      <a:pt x="688" y="123"/>
                    </a:lnTo>
                    <a:lnTo>
                      <a:pt x="688" y="123"/>
                    </a:lnTo>
                    <a:lnTo>
                      <a:pt x="685" y="124"/>
                    </a:lnTo>
                    <a:lnTo>
                      <a:pt x="685" y="124"/>
                    </a:lnTo>
                    <a:lnTo>
                      <a:pt x="683" y="123"/>
                    </a:lnTo>
                    <a:lnTo>
                      <a:pt x="683" y="123"/>
                    </a:lnTo>
                    <a:lnTo>
                      <a:pt x="680" y="119"/>
                    </a:lnTo>
                    <a:lnTo>
                      <a:pt x="680" y="119"/>
                    </a:lnTo>
                    <a:lnTo>
                      <a:pt x="678" y="118"/>
                    </a:lnTo>
                    <a:lnTo>
                      <a:pt x="678" y="118"/>
                    </a:lnTo>
                    <a:lnTo>
                      <a:pt x="678" y="116"/>
                    </a:lnTo>
                    <a:lnTo>
                      <a:pt x="678" y="116"/>
                    </a:lnTo>
                    <a:lnTo>
                      <a:pt x="680" y="113"/>
                    </a:lnTo>
                    <a:lnTo>
                      <a:pt x="680" y="113"/>
                    </a:lnTo>
                    <a:lnTo>
                      <a:pt x="685" y="110"/>
                    </a:lnTo>
                    <a:lnTo>
                      <a:pt x="685" y="110"/>
                    </a:lnTo>
                    <a:lnTo>
                      <a:pt x="683" y="108"/>
                    </a:lnTo>
                    <a:lnTo>
                      <a:pt x="683" y="108"/>
                    </a:lnTo>
                    <a:lnTo>
                      <a:pt x="683" y="107"/>
                    </a:lnTo>
                    <a:lnTo>
                      <a:pt x="683" y="107"/>
                    </a:lnTo>
                    <a:lnTo>
                      <a:pt x="686" y="107"/>
                    </a:lnTo>
                    <a:lnTo>
                      <a:pt x="686" y="107"/>
                    </a:lnTo>
                    <a:lnTo>
                      <a:pt x="689" y="104"/>
                    </a:lnTo>
                    <a:lnTo>
                      <a:pt x="689" y="104"/>
                    </a:lnTo>
                    <a:lnTo>
                      <a:pt x="699" y="100"/>
                    </a:lnTo>
                    <a:lnTo>
                      <a:pt x="699" y="100"/>
                    </a:lnTo>
                    <a:lnTo>
                      <a:pt x="709" y="97"/>
                    </a:lnTo>
                    <a:lnTo>
                      <a:pt x="709" y="97"/>
                    </a:lnTo>
                    <a:lnTo>
                      <a:pt x="710" y="94"/>
                    </a:lnTo>
                    <a:lnTo>
                      <a:pt x="710" y="94"/>
                    </a:lnTo>
                    <a:lnTo>
                      <a:pt x="707" y="94"/>
                    </a:lnTo>
                    <a:lnTo>
                      <a:pt x="707" y="94"/>
                    </a:lnTo>
                    <a:lnTo>
                      <a:pt x="696" y="94"/>
                    </a:lnTo>
                    <a:lnTo>
                      <a:pt x="696" y="94"/>
                    </a:lnTo>
                    <a:lnTo>
                      <a:pt x="688" y="94"/>
                    </a:lnTo>
                    <a:lnTo>
                      <a:pt x="688" y="94"/>
                    </a:lnTo>
                    <a:lnTo>
                      <a:pt x="677" y="97"/>
                    </a:lnTo>
                    <a:lnTo>
                      <a:pt x="677" y="97"/>
                    </a:lnTo>
                    <a:lnTo>
                      <a:pt x="669" y="100"/>
                    </a:lnTo>
                    <a:lnTo>
                      <a:pt x="669" y="100"/>
                    </a:lnTo>
                    <a:lnTo>
                      <a:pt x="666" y="104"/>
                    </a:lnTo>
                    <a:lnTo>
                      <a:pt x="666" y="104"/>
                    </a:lnTo>
                    <a:lnTo>
                      <a:pt x="663" y="107"/>
                    </a:lnTo>
                    <a:lnTo>
                      <a:pt x="663" y="107"/>
                    </a:lnTo>
                    <a:lnTo>
                      <a:pt x="661" y="107"/>
                    </a:lnTo>
                    <a:lnTo>
                      <a:pt x="661" y="107"/>
                    </a:lnTo>
                    <a:lnTo>
                      <a:pt x="659" y="107"/>
                    </a:lnTo>
                    <a:lnTo>
                      <a:pt x="659" y="107"/>
                    </a:lnTo>
                    <a:lnTo>
                      <a:pt x="653" y="110"/>
                    </a:lnTo>
                    <a:lnTo>
                      <a:pt x="653" y="110"/>
                    </a:lnTo>
                    <a:lnTo>
                      <a:pt x="650" y="111"/>
                    </a:lnTo>
                    <a:lnTo>
                      <a:pt x="650" y="111"/>
                    </a:lnTo>
                    <a:lnTo>
                      <a:pt x="650" y="113"/>
                    </a:lnTo>
                    <a:lnTo>
                      <a:pt x="650" y="113"/>
                    </a:lnTo>
                    <a:lnTo>
                      <a:pt x="651" y="113"/>
                    </a:lnTo>
                    <a:lnTo>
                      <a:pt x="651" y="113"/>
                    </a:lnTo>
                    <a:lnTo>
                      <a:pt x="647" y="115"/>
                    </a:lnTo>
                    <a:lnTo>
                      <a:pt x="647" y="115"/>
                    </a:lnTo>
                    <a:lnTo>
                      <a:pt x="645" y="118"/>
                    </a:lnTo>
                    <a:lnTo>
                      <a:pt x="645" y="118"/>
                    </a:lnTo>
                    <a:lnTo>
                      <a:pt x="639" y="123"/>
                    </a:lnTo>
                    <a:lnTo>
                      <a:pt x="639" y="123"/>
                    </a:lnTo>
                    <a:lnTo>
                      <a:pt x="640" y="123"/>
                    </a:lnTo>
                    <a:lnTo>
                      <a:pt x="640" y="123"/>
                    </a:lnTo>
                    <a:lnTo>
                      <a:pt x="642" y="124"/>
                    </a:lnTo>
                    <a:lnTo>
                      <a:pt x="642" y="124"/>
                    </a:lnTo>
                    <a:lnTo>
                      <a:pt x="648" y="124"/>
                    </a:lnTo>
                    <a:lnTo>
                      <a:pt x="648" y="124"/>
                    </a:lnTo>
                    <a:lnTo>
                      <a:pt x="658" y="124"/>
                    </a:lnTo>
                    <a:lnTo>
                      <a:pt x="658" y="124"/>
                    </a:lnTo>
                    <a:lnTo>
                      <a:pt x="658" y="126"/>
                    </a:lnTo>
                    <a:lnTo>
                      <a:pt x="658" y="126"/>
                    </a:lnTo>
                    <a:lnTo>
                      <a:pt x="659" y="127"/>
                    </a:lnTo>
                    <a:lnTo>
                      <a:pt x="659" y="127"/>
                    </a:lnTo>
                    <a:lnTo>
                      <a:pt x="663" y="127"/>
                    </a:lnTo>
                    <a:lnTo>
                      <a:pt x="663" y="127"/>
                    </a:lnTo>
                    <a:lnTo>
                      <a:pt x="656" y="129"/>
                    </a:lnTo>
                    <a:lnTo>
                      <a:pt x="656" y="129"/>
                    </a:lnTo>
                    <a:lnTo>
                      <a:pt x="650" y="129"/>
                    </a:lnTo>
                    <a:lnTo>
                      <a:pt x="650" y="129"/>
                    </a:lnTo>
                    <a:lnTo>
                      <a:pt x="645" y="127"/>
                    </a:lnTo>
                    <a:lnTo>
                      <a:pt x="645" y="127"/>
                    </a:lnTo>
                    <a:lnTo>
                      <a:pt x="640" y="127"/>
                    </a:lnTo>
                    <a:lnTo>
                      <a:pt x="640" y="127"/>
                    </a:lnTo>
                    <a:lnTo>
                      <a:pt x="639" y="129"/>
                    </a:lnTo>
                    <a:lnTo>
                      <a:pt x="639" y="129"/>
                    </a:lnTo>
                    <a:lnTo>
                      <a:pt x="639" y="132"/>
                    </a:lnTo>
                    <a:lnTo>
                      <a:pt x="639" y="132"/>
                    </a:lnTo>
                    <a:lnTo>
                      <a:pt x="639" y="132"/>
                    </a:lnTo>
                    <a:lnTo>
                      <a:pt x="639" y="132"/>
                    </a:lnTo>
                    <a:lnTo>
                      <a:pt x="640" y="132"/>
                    </a:lnTo>
                    <a:lnTo>
                      <a:pt x="640" y="132"/>
                    </a:lnTo>
                    <a:lnTo>
                      <a:pt x="642" y="135"/>
                    </a:lnTo>
                    <a:lnTo>
                      <a:pt x="642" y="135"/>
                    </a:lnTo>
                    <a:lnTo>
                      <a:pt x="645" y="135"/>
                    </a:lnTo>
                    <a:lnTo>
                      <a:pt x="645" y="135"/>
                    </a:lnTo>
                    <a:lnTo>
                      <a:pt x="647" y="135"/>
                    </a:lnTo>
                    <a:lnTo>
                      <a:pt x="647" y="135"/>
                    </a:lnTo>
                    <a:lnTo>
                      <a:pt x="651" y="135"/>
                    </a:lnTo>
                    <a:lnTo>
                      <a:pt x="651" y="135"/>
                    </a:lnTo>
                    <a:lnTo>
                      <a:pt x="655" y="135"/>
                    </a:lnTo>
                    <a:lnTo>
                      <a:pt x="655" y="135"/>
                    </a:lnTo>
                    <a:lnTo>
                      <a:pt x="653" y="135"/>
                    </a:lnTo>
                    <a:lnTo>
                      <a:pt x="653" y="135"/>
                    </a:lnTo>
                    <a:lnTo>
                      <a:pt x="656" y="135"/>
                    </a:lnTo>
                    <a:lnTo>
                      <a:pt x="656" y="135"/>
                    </a:lnTo>
                    <a:lnTo>
                      <a:pt x="658" y="135"/>
                    </a:lnTo>
                    <a:lnTo>
                      <a:pt x="658" y="135"/>
                    </a:lnTo>
                    <a:lnTo>
                      <a:pt x="659" y="135"/>
                    </a:lnTo>
                    <a:lnTo>
                      <a:pt x="659" y="135"/>
                    </a:lnTo>
                    <a:lnTo>
                      <a:pt x="663" y="132"/>
                    </a:lnTo>
                    <a:lnTo>
                      <a:pt x="663" y="132"/>
                    </a:lnTo>
                    <a:lnTo>
                      <a:pt x="661" y="135"/>
                    </a:lnTo>
                    <a:lnTo>
                      <a:pt x="661" y="135"/>
                    </a:lnTo>
                    <a:lnTo>
                      <a:pt x="659" y="135"/>
                    </a:lnTo>
                    <a:lnTo>
                      <a:pt x="659" y="135"/>
                    </a:lnTo>
                    <a:lnTo>
                      <a:pt x="659" y="138"/>
                    </a:lnTo>
                    <a:lnTo>
                      <a:pt x="659" y="138"/>
                    </a:lnTo>
                    <a:lnTo>
                      <a:pt x="661" y="138"/>
                    </a:lnTo>
                    <a:lnTo>
                      <a:pt x="661" y="138"/>
                    </a:lnTo>
                    <a:lnTo>
                      <a:pt x="663" y="138"/>
                    </a:lnTo>
                    <a:lnTo>
                      <a:pt x="663" y="138"/>
                    </a:lnTo>
                    <a:lnTo>
                      <a:pt x="663" y="138"/>
                    </a:lnTo>
                    <a:lnTo>
                      <a:pt x="663" y="138"/>
                    </a:lnTo>
                    <a:lnTo>
                      <a:pt x="666" y="138"/>
                    </a:lnTo>
                    <a:lnTo>
                      <a:pt x="666" y="138"/>
                    </a:lnTo>
                    <a:lnTo>
                      <a:pt x="669" y="138"/>
                    </a:lnTo>
                    <a:lnTo>
                      <a:pt x="669" y="138"/>
                    </a:lnTo>
                    <a:lnTo>
                      <a:pt x="672" y="138"/>
                    </a:lnTo>
                    <a:lnTo>
                      <a:pt x="672" y="138"/>
                    </a:lnTo>
                    <a:lnTo>
                      <a:pt x="672" y="138"/>
                    </a:lnTo>
                    <a:lnTo>
                      <a:pt x="672" y="138"/>
                    </a:lnTo>
                    <a:lnTo>
                      <a:pt x="675" y="140"/>
                    </a:lnTo>
                    <a:lnTo>
                      <a:pt x="675" y="140"/>
                    </a:lnTo>
                    <a:lnTo>
                      <a:pt x="680" y="140"/>
                    </a:lnTo>
                    <a:lnTo>
                      <a:pt x="680" y="140"/>
                    </a:lnTo>
                    <a:lnTo>
                      <a:pt x="685" y="138"/>
                    </a:lnTo>
                    <a:lnTo>
                      <a:pt x="685" y="138"/>
                    </a:lnTo>
                    <a:lnTo>
                      <a:pt x="689" y="140"/>
                    </a:lnTo>
                    <a:lnTo>
                      <a:pt x="689" y="140"/>
                    </a:lnTo>
                    <a:lnTo>
                      <a:pt x="689" y="140"/>
                    </a:lnTo>
                    <a:lnTo>
                      <a:pt x="689" y="140"/>
                    </a:lnTo>
                    <a:lnTo>
                      <a:pt x="693" y="142"/>
                    </a:lnTo>
                    <a:lnTo>
                      <a:pt x="693" y="142"/>
                    </a:lnTo>
                    <a:lnTo>
                      <a:pt x="697" y="140"/>
                    </a:lnTo>
                    <a:lnTo>
                      <a:pt x="697" y="140"/>
                    </a:lnTo>
                    <a:lnTo>
                      <a:pt x="696" y="138"/>
                    </a:lnTo>
                    <a:lnTo>
                      <a:pt x="696" y="138"/>
                    </a:lnTo>
                    <a:lnTo>
                      <a:pt x="689" y="135"/>
                    </a:lnTo>
                    <a:lnTo>
                      <a:pt x="689" y="135"/>
                    </a:lnTo>
                    <a:lnTo>
                      <a:pt x="696" y="138"/>
                    </a:lnTo>
                    <a:lnTo>
                      <a:pt x="696" y="138"/>
                    </a:lnTo>
                    <a:lnTo>
                      <a:pt x="702" y="142"/>
                    </a:lnTo>
                    <a:lnTo>
                      <a:pt x="702" y="142"/>
                    </a:lnTo>
                    <a:lnTo>
                      <a:pt x="704" y="142"/>
                    </a:lnTo>
                    <a:lnTo>
                      <a:pt x="704" y="142"/>
                    </a:lnTo>
                    <a:lnTo>
                      <a:pt x="705" y="142"/>
                    </a:lnTo>
                    <a:lnTo>
                      <a:pt x="705" y="142"/>
                    </a:lnTo>
                    <a:lnTo>
                      <a:pt x="705" y="140"/>
                    </a:lnTo>
                    <a:lnTo>
                      <a:pt x="705" y="140"/>
                    </a:lnTo>
                    <a:lnTo>
                      <a:pt x="702" y="138"/>
                    </a:lnTo>
                    <a:lnTo>
                      <a:pt x="702" y="138"/>
                    </a:lnTo>
                    <a:lnTo>
                      <a:pt x="701" y="138"/>
                    </a:lnTo>
                    <a:lnTo>
                      <a:pt x="701" y="138"/>
                    </a:lnTo>
                    <a:lnTo>
                      <a:pt x="704" y="138"/>
                    </a:lnTo>
                    <a:lnTo>
                      <a:pt x="704" y="138"/>
                    </a:lnTo>
                    <a:lnTo>
                      <a:pt x="709" y="138"/>
                    </a:lnTo>
                    <a:lnTo>
                      <a:pt x="709" y="138"/>
                    </a:lnTo>
                    <a:lnTo>
                      <a:pt x="712" y="140"/>
                    </a:lnTo>
                    <a:lnTo>
                      <a:pt x="712" y="140"/>
                    </a:lnTo>
                    <a:lnTo>
                      <a:pt x="716" y="138"/>
                    </a:lnTo>
                    <a:lnTo>
                      <a:pt x="716" y="138"/>
                    </a:lnTo>
                    <a:lnTo>
                      <a:pt x="718" y="140"/>
                    </a:lnTo>
                    <a:lnTo>
                      <a:pt x="718" y="140"/>
                    </a:lnTo>
                    <a:lnTo>
                      <a:pt x="718" y="142"/>
                    </a:lnTo>
                    <a:lnTo>
                      <a:pt x="718" y="142"/>
                    </a:lnTo>
                    <a:lnTo>
                      <a:pt x="724" y="140"/>
                    </a:lnTo>
                    <a:lnTo>
                      <a:pt x="724" y="140"/>
                    </a:lnTo>
                    <a:lnTo>
                      <a:pt x="728" y="138"/>
                    </a:lnTo>
                    <a:lnTo>
                      <a:pt x="728" y="138"/>
                    </a:lnTo>
                    <a:lnTo>
                      <a:pt x="728" y="135"/>
                    </a:lnTo>
                    <a:lnTo>
                      <a:pt x="728" y="135"/>
                    </a:lnTo>
                    <a:lnTo>
                      <a:pt x="724" y="135"/>
                    </a:lnTo>
                    <a:lnTo>
                      <a:pt x="724" y="135"/>
                    </a:lnTo>
                    <a:lnTo>
                      <a:pt x="728" y="135"/>
                    </a:lnTo>
                    <a:lnTo>
                      <a:pt x="728" y="135"/>
                    </a:lnTo>
                    <a:lnTo>
                      <a:pt x="728" y="132"/>
                    </a:lnTo>
                    <a:lnTo>
                      <a:pt x="728" y="132"/>
                    </a:lnTo>
                    <a:lnTo>
                      <a:pt x="728" y="135"/>
                    </a:lnTo>
                    <a:lnTo>
                      <a:pt x="728" y="135"/>
                    </a:lnTo>
                    <a:lnTo>
                      <a:pt x="729" y="135"/>
                    </a:lnTo>
                    <a:lnTo>
                      <a:pt x="729" y="135"/>
                    </a:lnTo>
                    <a:lnTo>
                      <a:pt x="731" y="135"/>
                    </a:lnTo>
                    <a:lnTo>
                      <a:pt x="731" y="135"/>
                    </a:lnTo>
                    <a:lnTo>
                      <a:pt x="732" y="135"/>
                    </a:lnTo>
                    <a:lnTo>
                      <a:pt x="732" y="135"/>
                    </a:lnTo>
                    <a:lnTo>
                      <a:pt x="736" y="135"/>
                    </a:lnTo>
                    <a:lnTo>
                      <a:pt x="736" y="135"/>
                    </a:lnTo>
                    <a:lnTo>
                      <a:pt x="737" y="138"/>
                    </a:lnTo>
                    <a:lnTo>
                      <a:pt x="737" y="138"/>
                    </a:lnTo>
                    <a:lnTo>
                      <a:pt x="737" y="138"/>
                    </a:lnTo>
                    <a:lnTo>
                      <a:pt x="737" y="138"/>
                    </a:lnTo>
                    <a:lnTo>
                      <a:pt x="734" y="142"/>
                    </a:lnTo>
                    <a:lnTo>
                      <a:pt x="734" y="142"/>
                    </a:lnTo>
                    <a:lnTo>
                      <a:pt x="739" y="142"/>
                    </a:lnTo>
                    <a:lnTo>
                      <a:pt x="739" y="142"/>
                    </a:lnTo>
                    <a:lnTo>
                      <a:pt x="740" y="142"/>
                    </a:lnTo>
                    <a:lnTo>
                      <a:pt x="740" y="142"/>
                    </a:lnTo>
                    <a:lnTo>
                      <a:pt x="740" y="142"/>
                    </a:lnTo>
                    <a:lnTo>
                      <a:pt x="740" y="142"/>
                    </a:lnTo>
                    <a:lnTo>
                      <a:pt x="742" y="142"/>
                    </a:lnTo>
                    <a:lnTo>
                      <a:pt x="742" y="142"/>
                    </a:lnTo>
                    <a:lnTo>
                      <a:pt x="742" y="143"/>
                    </a:lnTo>
                    <a:lnTo>
                      <a:pt x="742" y="143"/>
                    </a:lnTo>
                    <a:lnTo>
                      <a:pt x="740" y="143"/>
                    </a:lnTo>
                    <a:lnTo>
                      <a:pt x="740" y="143"/>
                    </a:lnTo>
                    <a:lnTo>
                      <a:pt x="737" y="143"/>
                    </a:lnTo>
                    <a:lnTo>
                      <a:pt x="737" y="143"/>
                    </a:lnTo>
                    <a:lnTo>
                      <a:pt x="740" y="145"/>
                    </a:lnTo>
                    <a:lnTo>
                      <a:pt x="740" y="145"/>
                    </a:lnTo>
                    <a:lnTo>
                      <a:pt x="742" y="145"/>
                    </a:lnTo>
                    <a:lnTo>
                      <a:pt x="742" y="145"/>
                    </a:lnTo>
                    <a:lnTo>
                      <a:pt x="745" y="146"/>
                    </a:lnTo>
                    <a:lnTo>
                      <a:pt x="745" y="146"/>
                    </a:lnTo>
                    <a:lnTo>
                      <a:pt x="747" y="148"/>
                    </a:lnTo>
                    <a:lnTo>
                      <a:pt x="747" y="148"/>
                    </a:lnTo>
                    <a:lnTo>
                      <a:pt x="748" y="150"/>
                    </a:lnTo>
                    <a:lnTo>
                      <a:pt x="748" y="150"/>
                    </a:lnTo>
                    <a:lnTo>
                      <a:pt x="747" y="151"/>
                    </a:lnTo>
                    <a:lnTo>
                      <a:pt x="747" y="151"/>
                    </a:lnTo>
                    <a:lnTo>
                      <a:pt x="745" y="151"/>
                    </a:lnTo>
                    <a:lnTo>
                      <a:pt x="745" y="151"/>
                    </a:lnTo>
                    <a:lnTo>
                      <a:pt x="740" y="151"/>
                    </a:lnTo>
                    <a:lnTo>
                      <a:pt x="740" y="151"/>
                    </a:lnTo>
                    <a:lnTo>
                      <a:pt x="737" y="151"/>
                    </a:lnTo>
                    <a:lnTo>
                      <a:pt x="737" y="151"/>
                    </a:lnTo>
                    <a:lnTo>
                      <a:pt x="736" y="153"/>
                    </a:lnTo>
                    <a:lnTo>
                      <a:pt x="736" y="153"/>
                    </a:lnTo>
                    <a:lnTo>
                      <a:pt x="736" y="154"/>
                    </a:lnTo>
                    <a:lnTo>
                      <a:pt x="736" y="154"/>
                    </a:lnTo>
                    <a:lnTo>
                      <a:pt x="734" y="156"/>
                    </a:lnTo>
                    <a:lnTo>
                      <a:pt x="734" y="156"/>
                    </a:lnTo>
                    <a:lnTo>
                      <a:pt x="740" y="154"/>
                    </a:lnTo>
                    <a:lnTo>
                      <a:pt x="740" y="154"/>
                    </a:lnTo>
                    <a:lnTo>
                      <a:pt x="747" y="153"/>
                    </a:lnTo>
                    <a:lnTo>
                      <a:pt x="747" y="153"/>
                    </a:lnTo>
                    <a:lnTo>
                      <a:pt x="748" y="151"/>
                    </a:lnTo>
                    <a:lnTo>
                      <a:pt x="748" y="151"/>
                    </a:lnTo>
                    <a:lnTo>
                      <a:pt x="750" y="153"/>
                    </a:lnTo>
                    <a:lnTo>
                      <a:pt x="750" y="153"/>
                    </a:lnTo>
                    <a:lnTo>
                      <a:pt x="753" y="151"/>
                    </a:lnTo>
                    <a:lnTo>
                      <a:pt x="753" y="151"/>
                    </a:lnTo>
                    <a:lnTo>
                      <a:pt x="753" y="151"/>
                    </a:lnTo>
                    <a:lnTo>
                      <a:pt x="753" y="151"/>
                    </a:lnTo>
                    <a:lnTo>
                      <a:pt x="753" y="153"/>
                    </a:lnTo>
                    <a:lnTo>
                      <a:pt x="753" y="153"/>
                    </a:lnTo>
                    <a:lnTo>
                      <a:pt x="753" y="153"/>
                    </a:lnTo>
                    <a:lnTo>
                      <a:pt x="753" y="153"/>
                    </a:lnTo>
                    <a:lnTo>
                      <a:pt x="751" y="154"/>
                    </a:lnTo>
                    <a:lnTo>
                      <a:pt x="751" y="154"/>
                    </a:lnTo>
                    <a:lnTo>
                      <a:pt x="753" y="154"/>
                    </a:lnTo>
                    <a:lnTo>
                      <a:pt x="753" y="154"/>
                    </a:lnTo>
                    <a:lnTo>
                      <a:pt x="753" y="156"/>
                    </a:lnTo>
                    <a:lnTo>
                      <a:pt x="753" y="156"/>
                    </a:lnTo>
                    <a:lnTo>
                      <a:pt x="753" y="158"/>
                    </a:lnTo>
                    <a:lnTo>
                      <a:pt x="753" y="158"/>
                    </a:lnTo>
                    <a:lnTo>
                      <a:pt x="756" y="158"/>
                    </a:lnTo>
                    <a:lnTo>
                      <a:pt x="756" y="158"/>
                    </a:lnTo>
                    <a:lnTo>
                      <a:pt x="756" y="156"/>
                    </a:lnTo>
                    <a:lnTo>
                      <a:pt x="756" y="156"/>
                    </a:lnTo>
                    <a:lnTo>
                      <a:pt x="759" y="156"/>
                    </a:lnTo>
                    <a:lnTo>
                      <a:pt x="759" y="156"/>
                    </a:lnTo>
                    <a:lnTo>
                      <a:pt x="756" y="159"/>
                    </a:lnTo>
                    <a:lnTo>
                      <a:pt x="756" y="159"/>
                    </a:lnTo>
                    <a:lnTo>
                      <a:pt x="756" y="161"/>
                    </a:lnTo>
                    <a:lnTo>
                      <a:pt x="756" y="161"/>
                    </a:lnTo>
                    <a:lnTo>
                      <a:pt x="759" y="161"/>
                    </a:lnTo>
                    <a:lnTo>
                      <a:pt x="759" y="161"/>
                    </a:lnTo>
                    <a:lnTo>
                      <a:pt x="763" y="159"/>
                    </a:lnTo>
                    <a:lnTo>
                      <a:pt x="763" y="159"/>
                    </a:lnTo>
                    <a:lnTo>
                      <a:pt x="759" y="161"/>
                    </a:lnTo>
                    <a:lnTo>
                      <a:pt x="759" y="161"/>
                    </a:lnTo>
                    <a:lnTo>
                      <a:pt x="763" y="161"/>
                    </a:lnTo>
                    <a:lnTo>
                      <a:pt x="763" y="161"/>
                    </a:lnTo>
                    <a:lnTo>
                      <a:pt x="763" y="162"/>
                    </a:lnTo>
                    <a:lnTo>
                      <a:pt x="763" y="162"/>
                    </a:lnTo>
                    <a:lnTo>
                      <a:pt x="763" y="164"/>
                    </a:lnTo>
                    <a:lnTo>
                      <a:pt x="763" y="164"/>
                    </a:lnTo>
                    <a:lnTo>
                      <a:pt x="763" y="164"/>
                    </a:lnTo>
                    <a:lnTo>
                      <a:pt x="763" y="164"/>
                    </a:lnTo>
                    <a:lnTo>
                      <a:pt x="763" y="167"/>
                    </a:lnTo>
                    <a:lnTo>
                      <a:pt x="763" y="167"/>
                    </a:lnTo>
                    <a:lnTo>
                      <a:pt x="763" y="167"/>
                    </a:lnTo>
                    <a:lnTo>
                      <a:pt x="763" y="167"/>
                    </a:lnTo>
                    <a:lnTo>
                      <a:pt x="763" y="170"/>
                    </a:lnTo>
                    <a:lnTo>
                      <a:pt x="763" y="170"/>
                    </a:lnTo>
                    <a:lnTo>
                      <a:pt x="763" y="173"/>
                    </a:lnTo>
                    <a:lnTo>
                      <a:pt x="763" y="173"/>
                    </a:lnTo>
                    <a:lnTo>
                      <a:pt x="756" y="175"/>
                    </a:lnTo>
                    <a:lnTo>
                      <a:pt x="756" y="175"/>
                    </a:lnTo>
                    <a:lnTo>
                      <a:pt x="753" y="177"/>
                    </a:lnTo>
                    <a:lnTo>
                      <a:pt x="753" y="177"/>
                    </a:lnTo>
                    <a:lnTo>
                      <a:pt x="753" y="178"/>
                    </a:lnTo>
                    <a:lnTo>
                      <a:pt x="753" y="178"/>
                    </a:lnTo>
                    <a:lnTo>
                      <a:pt x="753" y="180"/>
                    </a:lnTo>
                    <a:lnTo>
                      <a:pt x="753" y="180"/>
                    </a:lnTo>
                    <a:lnTo>
                      <a:pt x="740" y="183"/>
                    </a:lnTo>
                    <a:lnTo>
                      <a:pt x="740" y="183"/>
                    </a:lnTo>
                    <a:lnTo>
                      <a:pt x="734" y="186"/>
                    </a:lnTo>
                    <a:lnTo>
                      <a:pt x="734" y="186"/>
                    </a:lnTo>
                    <a:lnTo>
                      <a:pt x="731" y="186"/>
                    </a:lnTo>
                    <a:lnTo>
                      <a:pt x="731" y="186"/>
                    </a:lnTo>
                    <a:lnTo>
                      <a:pt x="731" y="188"/>
                    </a:lnTo>
                    <a:lnTo>
                      <a:pt x="731" y="188"/>
                    </a:lnTo>
                    <a:lnTo>
                      <a:pt x="732" y="191"/>
                    </a:lnTo>
                    <a:lnTo>
                      <a:pt x="732" y="191"/>
                    </a:lnTo>
                    <a:lnTo>
                      <a:pt x="734" y="192"/>
                    </a:lnTo>
                    <a:lnTo>
                      <a:pt x="734" y="192"/>
                    </a:lnTo>
                    <a:lnTo>
                      <a:pt x="736" y="194"/>
                    </a:lnTo>
                    <a:lnTo>
                      <a:pt x="736" y="194"/>
                    </a:lnTo>
                    <a:lnTo>
                      <a:pt x="734" y="194"/>
                    </a:lnTo>
                    <a:lnTo>
                      <a:pt x="734" y="194"/>
                    </a:lnTo>
                    <a:lnTo>
                      <a:pt x="729" y="194"/>
                    </a:lnTo>
                    <a:lnTo>
                      <a:pt x="729" y="194"/>
                    </a:lnTo>
                    <a:lnTo>
                      <a:pt x="724" y="197"/>
                    </a:lnTo>
                    <a:lnTo>
                      <a:pt x="724" y="197"/>
                    </a:lnTo>
                    <a:lnTo>
                      <a:pt x="718" y="197"/>
                    </a:lnTo>
                    <a:lnTo>
                      <a:pt x="718" y="197"/>
                    </a:lnTo>
                    <a:lnTo>
                      <a:pt x="718" y="197"/>
                    </a:lnTo>
                    <a:lnTo>
                      <a:pt x="718" y="197"/>
                    </a:lnTo>
                    <a:lnTo>
                      <a:pt x="716" y="197"/>
                    </a:lnTo>
                    <a:lnTo>
                      <a:pt x="716" y="197"/>
                    </a:lnTo>
                    <a:lnTo>
                      <a:pt x="713" y="197"/>
                    </a:lnTo>
                    <a:lnTo>
                      <a:pt x="713" y="197"/>
                    </a:lnTo>
                    <a:lnTo>
                      <a:pt x="710" y="197"/>
                    </a:lnTo>
                    <a:lnTo>
                      <a:pt x="710" y="197"/>
                    </a:lnTo>
                    <a:lnTo>
                      <a:pt x="707" y="197"/>
                    </a:lnTo>
                    <a:lnTo>
                      <a:pt x="707" y="197"/>
                    </a:lnTo>
                    <a:lnTo>
                      <a:pt x="701" y="197"/>
                    </a:lnTo>
                    <a:lnTo>
                      <a:pt x="701" y="197"/>
                    </a:lnTo>
                    <a:lnTo>
                      <a:pt x="697" y="197"/>
                    </a:lnTo>
                    <a:lnTo>
                      <a:pt x="697" y="197"/>
                    </a:lnTo>
                    <a:lnTo>
                      <a:pt x="696" y="197"/>
                    </a:lnTo>
                    <a:lnTo>
                      <a:pt x="696" y="197"/>
                    </a:lnTo>
                    <a:lnTo>
                      <a:pt x="696" y="197"/>
                    </a:lnTo>
                    <a:lnTo>
                      <a:pt x="696" y="197"/>
                    </a:lnTo>
                    <a:lnTo>
                      <a:pt x="696" y="199"/>
                    </a:lnTo>
                    <a:lnTo>
                      <a:pt x="696" y="199"/>
                    </a:lnTo>
                    <a:lnTo>
                      <a:pt x="693" y="199"/>
                    </a:lnTo>
                    <a:lnTo>
                      <a:pt x="693" y="199"/>
                    </a:lnTo>
                    <a:lnTo>
                      <a:pt x="689" y="199"/>
                    </a:lnTo>
                    <a:lnTo>
                      <a:pt x="689" y="199"/>
                    </a:lnTo>
                    <a:lnTo>
                      <a:pt x="686" y="200"/>
                    </a:lnTo>
                    <a:lnTo>
                      <a:pt x="686" y="200"/>
                    </a:lnTo>
                    <a:lnTo>
                      <a:pt x="685" y="204"/>
                    </a:lnTo>
                    <a:lnTo>
                      <a:pt x="685" y="204"/>
                    </a:lnTo>
                    <a:lnTo>
                      <a:pt x="682" y="205"/>
                    </a:lnTo>
                    <a:lnTo>
                      <a:pt x="682" y="205"/>
                    </a:lnTo>
                    <a:lnTo>
                      <a:pt x="683" y="205"/>
                    </a:lnTo>
                    <a:lnTo>
                      <a:pt x="683" y="205"/>
                    </a:lnTo>
                    <a:lnTo>
                      <a:pt x="683" y="207"/>
                    </a:lnTo>
                    <a:lnTo>
                      <a:pt x="683" y="207"/>
                    </a:lnTo>
                    <a:lnTo>
                      <a:pt x="685" y="210"/>
                    </a:lnTo>
                    <a:lnTo>
                      <a:pt x="685" y="210"/>
                    </a:lnTo>
                    <a:lnTo>
                      <a:pt x="689" y="210"/>
                    </a:lnTo>
                    <a:lnTo>
                      <a:pt x="689" y="210"/>
                    </a:lnTo>
                    <a:lnTo>
                      <a:pt x="693" y="212"/>
                    </a:lnTo>
                    <a:lnTo>
                      <a:pt x="693" y="212"/>
                    </a:lnTo>
                    <a:lnTo>
                      <a:pt x="693" y="212"/>
                    </a:lnTo>
                    <a:lnTo>
                      <a:pt x="693" y="212"/>
                    </a:lnTo>
                    <a:lnTo>
                      <a:pt x="693" y="210"/>
                    </a:lnTo>
                    <a:lnTo>
                      <a:pt x="693" y="210"/>
                    </a:lnTo>
                    <a:lnTo>
                      <a:pt x="696" y="210"/>
                    </a:lnTo>
                    <a:lnTo>
                      <a:pt x="696" y="210"/>
                    </a:lnTo>
                    <a:lnTo>
                      <a:pt x="697" y="210"/>
                    </a:lnTo>
                    <a:lnTo>
                      <a:pt x="697" y="210"/>
                    </a:lnTo>
                    <a:lnTo>
                      <a:pt x="701" y="210"/>
                    </a:lnTo>
                    <a:lnTo>
                      <a:pt x="701" y="210"/>
                    </a:lnTo>
                    <a:lnTo>
                      <a:pt x="704" y="208"/>
                    </a:lnTo>
                    <a:lnTo>
                      <a:pt x="704" y="208"/>
                    </a:lnTo>
                    <a:lnTo>
                      <a:pt x="704" y="207"/>
                    </a:lnTo>
                    <a:lnTo>
                      <a:pt x="704" y="207"/>
                    </a:lnTo>
                    <a:lnTo>
                      <a:pt x="705" y="207"/>
                    </a:lnTo>
                    <a:lnTo>
                      <a:pt x="705" y="207"/>
                    </a:lnTo>
                    <a:lnTo>
                      <a:pt x="710" y="208"/>
                    </a:lnTo>
                    <a:lnTo>
                      <a:pt x="710" y="208"/>
                    </a:lnTo>
                    <a:lnTo>
                      <a:pt x="713" y="208"/>
                    </a:lnTo>
                    <a:lnTo>
                      <a:pt x="713" y="208"/>
                    </a:lnTo>
                    <a:lnTo>
                      <a:pt x="716" y="208"/>
                    </a:lnTo>
                    <a:lnTo>
                      <a:pt x="716" y="208"/>
                    </a:lnTo>
                    <a:lnTo>
                      <a:pt x="716" y="205"/>
                    </a:lnTo>
                    <a:lnTo>
                      <a:pt x="716" y="205"/>
                    </a:lnTo>
                    <a:lnTo>
                      <a:pt x="715" y="204"/>
                    </a:lnTo>
                    <a:lnTo>
                      <a:pt x="715" y="204"/>
                    </a:lnTo>
                    <a:lnTo>
                      <a:pt x="718" y="202"/>
                    </a:lnTo>
                    <a:lnTo>
                      <a:pt x="718" y="202"/>
                    </a:lnTo>
                    <a:lnTo>
                      <a:pt x="718" y="204"/>
                    </a:lnTo>
                    <a:lnTo>
                      <a:pt x="718" y="204"/>
                    </a:lnTo>
                    <a:lnTo>
                      <a:pt x="718" y="205"/>
                    </a:lnTo>
                    <a:lnTo>
                      <a:pt x="718" y="205"/>
                    </a:lnTo>
                    <a:lnTo>
                      <a:pt x="721" y="205"/>
                    </a:lnTo>
                    <a:lnTo>
                      <a:pt x="721" y="205"/>
                    </a:lnTo>
                    <a:lnTo>
                      <a:pt x="721" y="207"/>
                    </a:lnTo>
                    <a:lnTo>
                      <a:pt x="721" y="207"/>
                    </a:lnTo>
                    <a:lnTo>
                      <a:pt x="721" y="207"/>
                    </a:lnTo>
                    <a:lnTo>
                      <a:pt x="721" y="207"/>
                    </a:lnTo>
                    <a:lnTo>
                      <a:pt x="721" y="208"/>
                    </a:lnTo>
                    <a:lnTo>
                      <a:pt x="721" y="208"/>
                    </a:lnTo>
                    <a:lnTo>
                      <a:pt x="721" y="208"/>
                    </a:lnTo>
                    <a:lnTo>
                      <a:pt x="721" y="208"/>
                    </a:lnTo>
                    <a:lnTo>
                      <a:pt x="724" y="207"/>
                    </a:lnTo>
                    <a:lnTo>
                      <a:pt x="724" y="207"/>
                    </a:lnTo>
                    <a:lnTo>
                      <a:pt x="724" y="207"/>
                    </a:lnTo>
                    <a:lnTo>
                      <a:pt x="724" y="207"/>
                    </a:lnTo>
                    <a:lnTo>
                      <a:pt x="728" y="205"/>
                    </a:lnTo>
                    <a:lnTo>
                      <a:pt x="728" y="205"/>
                    </a:lnTo>
                    <a:lnTo>
                      <a:pt x="728" y="207"/>
                    </a:lnTo>
                    <a:lnTo>
                      <a:pt x="728" y="207"/>
                    </a:lnTo>
                    <a:lnTo>
                      <a:pt x="728" y="207"/>
                    </a:lnTo>
                    <a:lnTo>
                      <a:pt x="728" y="207"/>
                    </a:lnTo>
                    <a:lnTo>
                      <a:pt x="728" y="208"/>
                    </a:lnTo>
                    <a:lnTo>
                      <a:pt x="728" y="208"/>
                    </a:lnTo>
                    <a:lnTo>
                      <a:pt x="728" y="210"/>
                    </a:lnTo>
                    <a:lnTo>
                      <a:pt x="728" y="210"/>
                    </a:lnTo>
                    <a:lnTo>
                      <a:pt x="728" y="212"/>
                    </a:lnTo>
                    <a:lnTo>
                      <a:pt x="728" y="212"/>
                    </a:lnTo>
                    <a:lnTo>
                      <a:pt x="729" y="213"/>
                    </a:lnTo>
                    <a:lnTo>
                      <a:pt x="729" y="213"/>
                    </a:lnTo>
                    <a:lnTo>
                      <a:pt x="729" y="215"/>
                    </a:lnTo>
                    <a:lnTo>
                      <a:pt x="729" y="215"/>
                    </a:lnTo>
                    <a:lnTo>
                      <a:pt x="731" y="213"/>
                    </a:lnTo>
                    <a:lnTo>
                      <a:pt x="731" y="213"/>
                    </a:lnTo>
                    <a:lnTo>
                      <a:pt x="729" y="216"/>
                    </a:lnTo>
                    <a:lnTo>
                      <a:pt x="729" y="216"/>
                    </a:lnTo>
                    <a:lnTo>
                      <a:pt x="731" y="216"/>
                    </a:lnTo>
                    <a:lnTo>
                      <a:pt x="731" y="216"/>
                    </a:lnTo>
                    <a:lnTo>
                      <a:pt x="732" y="216"/>
                    </a:lnTo>
                    <a:lnTo>
                      <a:pt x="732" y="216"/>
                    </a:lnTo>
                    <a:lnTo>
                      <a:pt x="731" y="218"/>
                    </a:lnTo>
                    <a:lnTo>
                      <a:pt x="731" y="218"/>
                    </a:lnTo>
                    <a:lnTo>
                      <a:pt x="734" y="218"/>
                    </a:lnTo>
                    <a:lnTo>
                      <a:pt x="734" y="218"/>
                    </a:lnTo>
                    <a:lnTo>
                      <a:pt x="736" y="216"/>
                    </a:lnTo>
                    <a:lnTo>
                      <a:pt x="736" y="216"/>
                    </a:lnTo>
                    <a:lnTo>
                      <a:pt x="737" y="218"/>
                    </a:lnTo>
                    <a:lnTo>
                      <a:pt x="737" y="218"/>
                    </a:lnTo>
                    <a:lnTo>
                      <a:pt x="739" y="218"/>
                    </a:lnTo>
                    <a:lnTo>
                      <a:pt x="739" y="218"/>
                    </a:lnTo>
                    <a:lnTo>
                      <a:pt x="740" y="219"/>
                    </a:lnTo>
                    <a:lnTo>
                      <a:pt x="740" y="219"/>
                    </a:lnTo>
                    <a:lnTo>
                      <a:pt x="736" y="219"/>
                    </a:lnTo>
                    <a:lnTo>
                      <a:pt x="736" y="219"/>
                    </a:lnTo>
                    <a:lnTo>
                      <a:pt x="731" y="219"/>
                    </a:lnTo>
                    <a:lnTo>
                      <a:pt x="731" y="219"/>
                    </a:lnTo>
                    <a:lnTo>
                      <a:pt x="732" y="223"/>
                    </a:lnTo>
                    <a:lnTo>
                      <a:pt x="732" y="223"/>
                    </a:lnTo>
                    <a:lnTo>
                      <a:pt x="734" y="226"/>
                    </a:lnTo>
                    <a:lnTo>
                      <a:pt x="734" y="226"/>
                    </a:lnTo>
                    <a:lnTo>
                      <a:pt x="736" y="226"/>
                    </a:lnTo>
                    <a:lnTo>
                      <a:pt x="736" y="226"/>
                    </a:lnTo>
                    <a:lnTo>
                      <a:pt x="737" y="226"/>
                    </a:lnTo>
                    <a:lnTo>
                      <a:pt x="737" y="226"/>
                    </a:lnTo>
                    <a:lnTo>
                      <a:pt x="740" y="229"/>
                    </a:lnTo>
                    <a:lnTo>
                      <a:pt x="740" y="229"/>
                    </a:lnTo>
                    <a:lnTo>
                      <a:pt x="743" y="229"/>
                    </a:lnTo>
                    <a:lnTo>
                      <a:pt x="743" y="229"/>
                    </a:lnTo>
                    <a:lnTo>
                      <a:pt x="748" y="229"/>
                    </a:lnTo>
                    <a:lnTo>
                      <a:pt x="748" y="229"/>
                    </a:lnTo>
                    <a:lnTo>
                      <a:pt x="751" y="229"/>
                    </a:lnTo>
                    <a:lnTo>
                      <a:pt x="751" y="229"/>
                    </a:lnTo>
                    <a:lnTo>
                      <a:pt x="751" y="231"/>
                    </a:lnTo>
                    <a:lnTo>
                      <a:pt x="751" y="231"/>
                    </a:lnTo>
                    <a:lnTo>
                      <a:pt x="753" y="234"/>
                    </a:lnTo>
                    <a:lnTo>
                      <a:pt x="753" y="234"/>
                    </a:lnTo>
                    <a:lnTo>
                      <a:pt x="756" y="235"/>
                    </a:lnTo>
                    <a:lnTo>
                      <a:pt x="756" y="235"/>
                    </a:lnTo>
                    <a:lnTo>
                      <a:pt x="759" y="237"/>
                    </a:lnTo>
                    <a:lnTo>
                      <a:pt x="759" y="237"/>
                    </a:lnTo>
                    <a:lnTo>
                      <a:pt x="764" y="237"/>
                    </a:lnTo>
                    <a:lnTo>
                      <a:pt x="764" y="237"/>
                    </a:lnTo>
                    <a:lnTo>
                      <a:pt x="770" y="238"/>
                    </a:lnTo>
                    <a:lnTo>
                      <a:pt x="770" y="238"/>
                    </a:lnTo>
                    <a:lnTo>
                      <a:pt x="775" y="240"/>
                    </a:lnTo>
                    <a:lnTo>
                      <a:pt x="775" y="240"/>
                    </a:lnTo>
                    <a:lnTo>
                      <a:pt x="780" y="242"/>
                    </a:lnTo>
                    <a:lnTo>
                      <a:pt x="780" y="242"/>
                    </a:lnTo>
                    <a:lnTo>
                      <a:pt x="780" y="238"/>
                    </a:lnTo>
                    <a:lnTo>
                      <a:pt x="780" y="238"/>
                    </a:lnTo>
                    <a:lnTo>
                      <a:pt x="782" y="238"/>
                    </a:lnTo>
                    <a:lnTo>
                      <a:pt x="782" y="238"/>
                    </a:lnTo>
                    <a:lnTo>
                      <a:pt x="782" y="237"/>
                    </a:lnTo>
                    <a:lnTo>
                      <a:pt x="782" y="237"/>
                    </a:lnTo>
                    <a:lnTo>
                      <a:pt x="782" y="235"/>
                    </a:lnTo>
                    <a:lnTo>
                      <a:pt x="782" y="235"/>
                    </a:lnTo>
                    <a:lnTo>
                      <a:pt x="780" y="235"/>
                    </a:lnTo>
                    <a:lnTo>
                      <a:pt x="780" y="235"/>
                    </a:lnTo>
                    <a:lnTo>
                      <a:pt x="778" y="234"/>
                    </a:lnTo>
                    <a:lnTo>
                      <a:pt x="778" y="234"/>
                    </a:lnTo>
                    <a:lnTo>
                      <a:pt x="780" y="232"/>
                    </a:lnTo>
                    <a:lnTo>
                      <a:pt x="780" y="232"/>
                    </a:lnTo>
                    <a:lnTo>
                      <a:pt x="778" y="231"/>
                    </a:lnTo>
                    <a:lnTo>
                      <a:pt x="778" y="231"/>
                    </a:lnTo>
                    <a:lnTo>
                      <a:pt x="777" y="231"/>
                    </a:lnTo>
                    <a:lnTo>
                      <a:pt x="777" y="231"/>
                    </a:lnTo>
                    <a:lnTo>
                      <a:pt x="775" y="231"/>
                    </a:lnTo>
                    <a:lnTo>
                      <a:pt x="775" y="231"/>
                    </a:lnTo>
                    <a:lnTo>
                      <a:pt x="775" y="229"/>
                    </a:lnTo>
                    <a:lnTo>
                      <a:pt x="775" y="229"/>
                    </a:lnTo>
                    <a:lnTo>
                      <a:pt x="774" y="229"/>
                    </a:lnTo>
                    <a:lnTo>
                      <a:pt x="774" y="229"/>
                    </a:lnTo>
                    <a:lnTo>
                      <a:pt x="774" y="226"/>
                    </a:lnTo>
                    <a:lnTo>
                      <a:pt x="774" y="226"/>
                    </a:lnTo>
                    <a:lnTo>
                      <a:pt x="772" y="229"/>
                    </a:lnTo>
                    <a:lnTo>
                      <a:pt x="772" y="229"/>
                    </a:lnTo>
                    <a:lnTo>
                      <a:pt x="772" y="226"/>
                    </a:lnTo>
                    <a:lnTo>
                      <a:pt x="772" y="226"/>
                    </a:lnTo>
                    <a:lnTo>
                      <a:pt x="767" y="223"/>
                    </a:lnTo>
                    <a:lnTo>
                      <a:pt x="767" y="223"/>
                    </a:lnTo>
                    <a:lnTo>
                      <a:pt x="764" y="219"/>
                    </a:lnTo>
                    <a:lnTo>
                      <a:pt x="764" y="219"/>
                    </a:lnTo>
                    <a:lnTo>
                      <a:pt x="766" y="218"/>
                    </a:lnTo>
                    <a:lnTo>
                      <a:pt x="766" y="218"/>
                    </a:lnTo>
                    <a:lnTo>
                      <a:pt x="767" y="218"/>
                    </a:lnTo>
                    <a:lnTo>
                      <a:pt x="767" y="218"/>
                    </a:lnTo>
                    <a:lnTo>
                      <a:pt x="770" y="218"/>
                    </a:lnTo>
                    <a:lnTo>
                      <a:pt x="770" y="218"/>
                    </a:lnTo>
                    <a:lnTo>
                      <a:pt x="772" y="219"/>
                    </a:lnTo>
                    <a:lnTo>
                      <a:pt x="772" y="219"/>
                    </a:lnTo>
                    <a:lnTo>
                      <a:pt x="774" y="223"/>
                    </a:lnTo>
                    <a:lnTo>
                      <a:pt x="774" y="223"/>
                    </a:lnTo>
                    <a:lnTo>
                      <a:pt x="775" y="218"/>
                    </a:lnTo>
                    <a:lnTo>
                      <a:pt x="775" y="218"/>
                    </a:lnTo>
                    <a:lnTo>
                      <a:pt x="777" y="223"/>
                    </a:lnTo>
                    <a:lnTo>
                      <a:pt x="777" y="223"/>
                    </a:lnTo>
                    <a:lnTo>
                      <a:pt x="780" y="223"/>
                    </a:lnTo>
                    <a:lnTo>
                      <a:pt x="780" y="223"/>
                    </a:lnTo>
                    <a:lnTo>
                      <a:pt x="782" y="223"/>
                    </a:lnTo>
                    <a:lnTo>
                      <a:pt x="782" y="223"/>
                    </a:lnTo>
                    <a:lnTo>
                      <a:pt x="780" y="226"/>
                    </a:lnTo>
                    <a:lnTo>
                      <a:pt x="780" y="226"/>
                    </a:lnTo>
                    <a:lnTo>
                      <a:pt x="782" y="223"/>
                    </a:lnTo>
                    <a:lnTo>
                      <a:pt x="782" y="223"/>
                    </a:lnTo>
                    <a:lnTo>
                      <a:pt x="782" y="226"/>
                    </a:lnTo>
                    <a:lnTo>
                      <a:pt x="782" y="226"/>
                    </a:lnTo>
                    <a:lnTo>
                      <a:pt x="783" y="226"/>
                    </a:lnTo>
                    <a:lnTo>
                      <a:pt x="783" y="226"/>
                    </a:lnTo>
                    <a:lnTo>
                      <a:pt x="783" y="226"/>
                    </a:lnTo>
                    <a:lnTo>
                      <a:pt x="783" y="226"/>
                    </a:lnTo>
                    <a:lnTo>
                      <a:pt x="783" y="223"/>
                    </a:lnTo>
                    <a:lnTo>
                      <a:pt x="783" y="223"/>
                    </a:lnTo>
                    <a:lnTo>
                      <a:pt x="785" y="226"/>
                    </a:lnTo>
                    <a:lnTo>
                      <a:pt x="785" y="226"/>
                    </a:lnTo>
                    <a:lnTo>
                      <a:pt x="786" y="229"/>
                    </a:lnTo>
                    <a:lnTo>
                      <a:pt x="786" y="229"/>
                    </a:lnTo>
                    <a:lnTo>
                      <a:pt x="786" y="226"/>
                    </a:lnTo>
                    <a:lnTo>
                      <a:pt x="786" y="226"/>
                    </a:lnTo>
                    <a:lnTo>
                      <a:pt x="788" y="226"/>
                    </a:lnTo>
                    <a:lnTo>
                      <a:pt x="788" y="226"/>
                    </a:lnTo>
                    <a:lnTo>
                      <a:pt x="788" y="226"/>
                    </a:lnTo>
                    <a:lnTo>
                      <a:pt x="788" y="226"/>
                    </a:lnTo>
                    <a:lnTo>
                      <a:pt x="791" y="226"/>
                    </a:lnTo>
                    <a:lnTo>
                      <a:pt x="791" y="226"/>
                    </a:lnTo>
                    <a:lnTo>
                      <a:pt x="791" y="229"/>
                    </a:lnTo>
                    <a:lnTo>
                      <a:pt x="791" y="229"/>
                    </a:lnTo>
                    <a:lnTo>
                      <a:pt x="791" y="229"/>
                    </a:lnTo>
                    <a:lnTo>
                      <a:pt x="791" y="229"/>
                    </a:lnTo>
                    <a:lnTo>
                      <a:pt x="794" y="229"/>
                    </a:lnTo>
                    <a:lnTo>
                      <a:pt x="794" y="229"/>
                    </a:lnTo>
                    <a:lnTo>
                      <a:pt x="794" y="231"/>
                    </a:lnTo>
                    <a:lnTo>
                      <a:pt x="794" y="231"/>
                    </a:lnTo>
                    <a:lnTo>
                      <a:pt x="794" y="232"/>
                    </a:lnTo>
                    <a:lnTo>
                      <a:pt x="794" y="232"/>
                    </a:lnTo>
                    <a:lnTo>
                      <a:pt x="794" y="232"/>
                    </a:lnTo>
                    <a:lnTo>
                      <a:pt x="794" y="232"/>
                    </a:lnTo>
                    <a:lnTo>
                      <a:pt x="794" y="231"/>
                    </a:lnTo>
                    <a:lnTo>
                      <a:pt x="794" y="231"/>
                    </a:lnTo>
                    <a:lnTo>
                      <a:pt x="794" y="229"/>
                    </a:lnTo>
                    <a:lnTo>
                      <a:pt x="794" y="229"/>
                    </a:lnTo>
                    <a:lnTo>
                      <a:pt x="794" y="226"/>
                    </a:lnTo>
                    <a:lnTo>
                      <a:pt x="794" y="226"/>
                    </a:lnTo>
                    <a:lnTo>
                      <a:pt x="797" y="229"/>
                    </a:lnTo>
                    <a:lnTo>
                      <a:pt x="797" y="229"/>
                    </a:lnTo>
                    <a:lnTo>
                      <a:pt x="799" y="229"/>
                    </a:lnTo>
                    <a:lnTo>
                      <a:pt x="799" y="229"/>
                    </a:lnTo>
                    <a:lnTo>
                      <a:pt x="799" y="226"/>
                    </a:lnTo>
                    <a:lnTo>
                      <a:pt x="799" y="226"/>
                    </a:lnTo>
                    <a:lnTo>
                      <a:pt x="799" y="226"/>
                    </a:lnTo>
                    <a:lnTo>
                      <a:pt x="799" y="226"/>
                    </a:lnTo>
                    <a:lnTo>
                      <a:pt x="797" y="223"/>
                    </a:lnTo>
                    <a:lnTo>
                      <a:pt x="797" y="223"/>
                    </a:lnTo>
                    <a:lnTo>
                      <a:pt x="801" y="223"/>
                    </a:lnTo>
                    <a:lnTo>
                      <a:pt x="801" y="223"/>
                    </a:lnTo>
                    <a:lnTo>
                      <a:pt x="799" y="223"/>
                    </a:lnTo>
                    <a:lnTo>
                      <a:pt x="799" y="223"/>
                    </a:lnTo>
                    <a:lnTo>
                      <a:pt x="801" y="219"/>
                    </a:lnTo>
                    <a:lnTo>
                      <a:pt x="801" y="219"/>
                    </a:lnTo>
                    <a:lnTo>
                      <a:pt x="802" y="219"/>
                    </a:lnTo>
                    <a:lnTo>
                      <a:pt x="802" y="219"/>
                    </a:lnTo>
                    <a:lnTo>
                      <a:pt x="802" y="219"/>
                    </a:lnTo>
                    <a:lnTo>
                      <a:pt x="802" y="219"/>
                    </a:lnTo>
                    <a:lnTo>
                      <a:pt x="802" y="223"/>
                    </a:lnTo>
                    <a:lnTo>
                      <a:pt x="802" y="223"/>
                    </a:lnTo>
                    <a:lnTo>
                      <a:pt x="804" y="223"/>
                    </a:lnTo>
                    <a:lnTo>
                      <a:pt x="804" y="223"/>
                    </a:lnTo>
                    <a:lnTo>
                      <a:pt x="804" y="223"/>
                    </a:lnTo>
                    <a:lnTo>
                      <a:pt x="804" y="223"/>
                    </a:lnTo>
                    <a:lnTo>
                      <a:pt x="805" y="219"/>
                    </a:lnTo>
                    <a:lnTo>
                      <a:pt x="805" y="219"/>
                    </a:lnTo>
                    <a:lnTo>
                      <a:pt x="807" y="219"/>
                    </a:lnTo>
                    <a:lnTo>
                      <a:pt x="807" y="219"/>
                    </a:lnTo>
                    <a:lnTo>
                      <a:pt x="807" y="218"/>
                    </a:lnTo>
                    <a:lnTo>
                      <a:pt x="807" y="218"/>
                    </a:lnTo>
                    <a:lnTo>
                      <a:pt x="805" y="218"/>
                    </a:lnTo>
                    <a:lnTo>
                      <a:pt x="805" y="218"/>
                    </a:lnTo>
                    <a:lnTo>
                      <a:pt x="805" y="216"/>
                    </a:lnTo>
                    <a:lnTo>
                      <a:pt x="805" y="216"/>
                    </a:lnTo>
                    <a:lnTo>
                      <a:pt x="809" y="215"/>
                    </a:lnTo>
                    <a:lnTo>
                      <a:pt x="809" y="215"/>
                    </a:lnTo>
                    <a:lnTo>
                      <a:pt x="804" y="213"/>
                    </a:lnTo>
                    <a:lnTo>
                      <a:pt x="804" y="213"/>
                    </a:lnTo>
                    <a:lnTo>
                      <a:pt x="802" y="212"/>
                    </a:lnTo>
                    <a:lnTo>
                      <a:pt x="802" y="212"/>
                    </a:lnTo>
                    <a:lnTo>
                      <a:pt x="804" y="210"/>
                    </a:lnTo>
                    <a:lnTo>
                      <a:pt x="804" y="210"/>
                    </a:lnTo>
                    <a:lnTo>
                      <a:pt x="805" y="210"/>
                    </a:lnTo>
                    <a:lnTo>
                      <a:pt x="805" y="210"/>
                    </a:lnTo>
                    <a:lnTo>
                      <a:pt x="809" y="207"/>
                    </a:lnTo>
                    <a:lnTo>
                      <a:pt x="809" y="207"/>
                    </a:lnTo>
                    <a:lnTo>
                      <a:pt x="805" y="208"/>
                    </a:lnTo>
                    <a:lnTo>
                      <a:pt x="805" y="208"/>
                    </a:lnTo>
                    <a:lnTo>
                      <a:pt x="805" y="207"/>
                    </a:lnTo>
                    <a:lnTo>
                      <a:pt x="805" y="207"/>
                    </a:lnTo>
                    <a:lnTo>
                      <a:pt x="802" y="207"/>
                    </a:lnTo>
                    <a:lnTo>
                      <a:pt x="802" y="207"/>
                    </a:lnTo>
                    <a:lnTo>
                      <a:pt x="804" y="205"/>
                    </a:lnTo>
                    <a:lnTo>
                      <a:pt x="804" y="205"/>
                    </a:lnTo>
                    <a:lnTo>
                      <a:pt x="805" y="205"/>
                    </a:lnTo>
                    <a:lnTo>
                      <a:pt x="805" y="205"/>
                    </a:lnTo>
                    <a:lnTo>
                      <a:pt x="804" y="204"/>
                    </a:lnTo>
                    <a:lnTo>
                      <a:pt x="804" y="204"/>
                    </a:lnTo>
                    <a:lnTo>
                      <a:pt x="805" y="202"/>
                    </a:lnTo>
                    <a:lnTo>
                      <a:pt x="805" y="202"/>
                    </a:lnTo>
                    <a:lnTo>
                      <a:pt x="804" y="202"/>
                    </a:lnTo>
                    <a:lnTo>
                      <a:pt x="804" y="202"/>
                    </a:lnTo>
                    <a:lnTo>
                      <a:pt x="802" y="204"/>
                    </a:lnTo>
                    <a:lnTo>
                      <a:pt x="802" y="204"/>
                    </a:lnTo>
                    <a:lnTo>
                      <a:pt x="799" y="205"/>
                    </a:lnTo>
                    <a:lnTo>
                      <a:pt x="799" y="205"/>
                    </a:lnTo>
                    <a:lnTo>
                      <a:pt x="801" y="202"/>
                    </a:lnTo>
                    <a:lnTo>
                      <a:pt x="801" y="202"/>
                    </a:lnTo>
                    <a:lnTo>
                      <a:pt x="799" y="202"/>
                    </a:lnTo>
                    <a:lnTo>
                      <a:pt x="799" y="202"/>
                    </a:lnTo>
                    <a:lnTo>
                      <a:pt x="797" y="200"/>
                    </a:lnTo>
                    <a:lnTo>
                      <a:pt x="797" y="200"/>
                    </a:lnTo>
                    <a:lnTo>
                      <a:pt x="794" y="204"/>
                    </a:lnTo>
                    <a:lnTo>
                      <a:pt x="794" y="204"/>
                    </a:lnTo>
                    <a:lnTo>
                      <a:pt x="797" y="200"/>
                    </a:lnTo>
                    <a:lnTo>
                      <a:pt x="797" y="200"/>
                    </a:lnTo>
                    <a:lnTo>
                      <a:pt x="794" y="200"/>
                    </a:lnTo>
                    <a:lnTo>
                      <a:pt x="794" y="200"/>
                    </a:lnTo>
                    <a:lnTo>
                      <a:pt x="797" y="199"/>
                    </a:lnTo>
                    <a:lnTo>
                      <a:pt x="797" y="199"/>
                    </a:lnTo>
                    <a:lnTo>
                      <a:pt x="796" y="199"/>
                    </a:lnTo>
                    <a:lnTo>
                      <a:pt x="796" y="199"/>
                    </a:lnTo>
                    <a:lnTo>
                      <a:pt x="797" y="197"/>
                    </a:lnTo>
                    <a:lnTo>
                      <a:pt x="797" y="197"/>
                    </a:lnTo>
                    <a:lnTo>
                      <a:pt x="794" y="197"/>
                    </a:lnTo>
                    <a:lnTo>
                      <a:pt x="794" y="197"/>
                    </a:lnTo>
                    <a:lnTo>
                      <a:pt x="794" y="197"/>
                    </a:lnTo>
                    <a:lnTo>
                      <a:pt x="794" y="197"/>
                    </a:lnTo>
                    <a:lnTo>
                      <a:pt x="794" y="197"/>
                    </a:lnTo>
                    <a:lnTo>
                      <a:pt x="794" y="197"/>
                    </a:lnTo>
                    <a:lnTo>
                      <a:pt x="797" y="194"/>
                    </a:lnTo>
                    <a:lnTo>
                      <a:pt x="797" y="194"/>
                    </a:lnTo>
                    <a:lnTo>
                      <a:pt x="794" y="194"/>
                    </a:lnTo>
                    <a:lnTo>
                      <a:pt x="794" y="194"/>
                    </a:lnTo>
                    <a:lnTo>
                      <a:pt x="794" y="194"/>
                    </a:lnTo>
                    <a:lnTo>
                      <a:pt x="794" y="194"/>
                    </a:lnTo>
                    <a:lnTo>
                      <a:pt x="794" y="194"/>
                    </a:lnTo>
                    <a:lnTo>
                      <a:pt x="794" y="194"/>
                    </a:lnTo>
                    <a:lnTo>
                      <a:pt x="791" y="194"/>
                    </a:lnTo>
                    <a:lnTo>
                      <a:pt x="791" y="194"/>
                    </a:lnTo>
                    <a:lnTo>
                      <a:pt x="788" y="194"/>
                    </a:lnTo>
                    <a:lnTo>
                      <a:pt x="788" y="194"/>
                    </a:lnTo>
                    <a:lnTo>
                      <a:pt x="791" y="192"/>
                    </a:lnTo>
                    <a:lnTo>
                      <a:pt x="791" y="192"/>
                    </a:lnTo>
                    <a:lnTo>
                      <a:pt x="788" y="192"/>
                    </a:lnTo>
                    <a:lnTo>
                      <a:pt x="788" y="192"/>
                    </a:lnTo>
                    <a:lnTo>
                      <a:pt x="791" y="191"/>
                    </a:lnTo>
                    <a:lnTo>
                      <a:pt x="791" y="191"/>
                    </a:lnTo>
                    <a:lnTo>
                      <a:pt x="788" y="191"/>
                    </a:lnTo>
                    <a:lnTo>
                      <a:pt x="788" y="191"/>
                    </a:lnTo>
                    <a:lnTo>
                      <a:pt x="791" y="189"/>
                    </a:lnTo>
                    <a:lnTo>
                      <a:pt x="791" y="189"/>
                    </a:lnTo>
                    <a:lnTo>
                      <a:pt x="791" y="188"/>
                    </a:lnTo>
                    <a:lnTo>
                      <a:pt x="791" y="188"/>
                    </a:lnTo>
                    <a:lnTo>
                      <a:pt x="791" y="188"/>
                    </a:lnTo>
                    <a:lnTo>
                      <a:pt x="791" y="188"/>
                    </a:lnTo>
                    <a:lnTo>
                      <a:pt x="786" y="186"/>
                    </a:lnTo>
                    <a:lnTo>
                      <a:pt x="786" y="186"/>
                    </a:lnTo>
                    <a:lnTo>
                      <a:pt x="788" y="186"/>
                    </a:lnTo>
                    <a:lnTo>
                      <a:pt x="788" y="186"/>
                    </a:lnTo>
                    <a:lnTo>
                      <a:pt x="794" y="188"/>
                    </a:lnTo>
                    <a:lnTo>
                      <a:pt x="794" y="188"/>
                    </a:lnTo>
                    <a:lnTo>
                      <a:pt x="791" y="189"/>
                    </a:lnTo>
                    <a:lnTo>
                      <a:pt x="791" y="189"/>
                    </a:lnTo>
                    <a:lnTo>
                      <a:pt x="791" y="191"/>
                    </a:lnTo>
                    <a:lnTo>
                      <a:pt x="791" y="191"/>
                    </a:lnTo>
                    <a:lnTo>
                      <a:pt x="794" y="191"/>
                    </a:lnTo>
                    <a:lnTo>
                      <a:pt x="794" y="191"/>
                    </a:lnTo>
                    <a:lnTo>
                      <a:pt x="799" y="189"/>
                    </a:lnTo>
                    <a:lnTo>
                      <a:pt x="799" y="189"/>
                    </a:lnTo>
                    <a:lnTo>
                      <a:pt x="799" y="188"/>
                    </a:lnTo>
                    <a:lnTo>
                      <a:pt x="799" y="188"/>
                    </a:lnTo>
                    <a:lnTo>
                      <a:pt x="797" y="186"/>
                    </a:lnTo>
                    <a:lnTo>
                      <a:pt x="797" y="186"/>
                    </a:lnTo>
                    <a:lnTo>
                      <a:pt x="797" y="185"/>
                    </a:lnTo>
                    <a:lnTo>
                      <a:pt x="797" y="185"/>
                    </a:lnTo>
                    <a:lnTo>
                      <a:pt x="797" y="183"/>
                    </a:lnTo>
                    <a:lnTo>
                      <a:pt x="797" y="183"/>
                    </a:lnTo>
                    <a:lnTo>
                      <a:pt x="797" y="183"/>
                    </a:lnTo>
                    <a:lnTo>
                      <a:pt x="797" y="183"/>
                    </a:lnTo>
                    <a:lnTo>
                      <a:pt x="799" y="185"/>
                    </a:lnTo>
                    <a:lnTo>
                      <a:pt x="799" y="185"/>
                    </a:lnTo>
                    <a:lnTo>
                      <a:pt x="801" y="185"/>
                    </a:lnTo>
                    <a:lnTo>
                      <a:pt x="801" y="185"/>
                    </a:lnTo>
                    <a:lnTo>
                      <a:pt x="804" y="183"/>
                    </a:lnTo>
                    <a:lnTo>
                      <a:pt x="804" y="183"/>
                    </a:lnTo>
                    <a:lnTo>
                      <a:pt x="802" y="181"/>
                    </a:lnTo>
                    <a:lnTo>
                      <a:pt x="802" y="181"/>
                    </a:lnTo>
                    <a:lnTo>
                      <a:pt x="804" y="181"/>
                    </a:lnTo>
                    <a:lnTo>
                      <a:pt x="804" y="181"/>
                    </a:lnTo>
                    <a:lnTo>
                      <a:pt x="805" y="181"/>
                    </a:lnTo>
                    <a:lnTo>
                      <a:pt x="805" y="181"/>
                    </a:lnTo>
                    <a:lnTo>
                      <a:pt x="807" y="181"/>
                    </a:lnTo>
                    <a:lnTo>
                      <a:pt x="807" y="181"/>
                    </a:lnTo>
                    <a:lnTo>
                      <a:pt x="807" y="183"/>
                    </a:lnTo>
                    <a:lnTo>
                      <a:pt x="807" y="183"/>
                    </a:lnTo>
                    <a:lnTo>
                      <a:pt x="809" y="185"/>
                    </a:lnTo>
                    <a:lnTo>
                      <a:pt x="809" y="185"/>
                    </a:lnTo>
                    <a:lnTo>
                      <a:pt x="810" y="183"/>
                    </a:lnTo>
                    <a:lnTo>
                      <a:pt x="810" y="183"/>
                    </a:lnTo>
                    <a:lnTo>
                      <a:pt x="809" y="186"/>
                    </a:lnTo>
                    <a:lnTo>
                      <a:pt x="809" y="186"/>
                    </a:lnTo>
                    <a:lnTo>
                      <a:pt x="810" y="186"/>
                    </a:lnTo>
                    <a:lnTo>
                      <a:pt x="810" y="186"/>
                    </a:lnTo>
                    <a:lnTo>
                      <a:pt x="812" y="186"/>
                    </a:lnTo>
                    <a:lnTo>
                      <a:pt x="812" y="186"/>
                    </a:lnTo>
                    <a:lnTo>
                      <a:pt x="813" y="188"/>
                    </a:lnTo>
                    <a:lnTo>
                      <a:pt x="813" y="188"/>
                    </a:lnTo>
                    <a:lnTo>
                      <a:pt x="812" y="189"/>
                    </a:lnTo>
                    <a:lnTo>
                      <a:pt x="812" y="189"/>
                    </a:lnTo>
                    <a:lnTo>
                      <a:pt x="818" y="189"/>
                    </a:lnTo>
                    <a:lnTo>
                      <a:pt x="818" y="189"/>
                    </a:lnTo>
                    <a:lnTo>
                      <a:pt x="815" y="191"/>
                    </a:lnTo>
                    <a:lnTo>
                      <a:pt x="815" y="191"/>
                    </a:lnTo>
                    <a:lnTo>
                      <a:pt x="815" y="192"/>
                    </a:lnTo>
                    <a:lnTo>
                      <a:pt x="815" y="192"/>
                    </a:lnTo>
                    <a:lnTo>
                      <a:pt x="818" y="192"/>
                    </a:lnTo>
                    <a:lnTo>
                      <a:pt x="818" y="192"/>
                    </a:lnTo>
                    <a:lnTo>
                      <a:pt x="820" y="192"/>
                    </a:lnTo>
                    <a:lnTo>
                      <a:pt x="820" y="192"/>
                    </a:lnTo>
                    <a:lnTo>
                      <a:pt x="818" y="194"/>
                    </a:lnTo>
                    <a:lnTo>
                      <a:pt x="818" y="194"/>
                    </a:lnTo>
                    <a:lnTo>
                      <a:pt x="820" y="194"/>
                    </a:lnTo>
                    <a:lnTo>
                      <a:pt x="820" y="194"/>
                    </a:lnTo>
                    <a:lnTo>
                      <a:pt x="815" y="197"/>
                    </a:lnTo>
                    <a:lnTo>
                      <a:pt x="815" y="197"/>
                    </a:lnTo>
                    <a:lnTo>
                      <a:pt x="818" y="197"/>
                    </a:lnTo>
                    <a:lnTo>
                      <a:pt x="818" y="197"/>
                    </a:lnTo>
                    <a:lnTo>
                      <a:pt x="815" y="197"/>
                    </a:lnTo>
                    <a:lnTo>
                      <a:pt x="815" y="197"/>
                    </a:lnTo>
                    <a:lnTo>
                      <a:pt x="818" y="197"/>
                    </a:lnTo>
                    <a:lnTo>
                      <a:pt x="818" y="197"/>
                    </a:lnTo>
                    <a:lnTo>
                      <a:pt x="818" y="199"/>
                    </a:lnTo>
                    <a:lnTo>
                      <a:pt x="818" y="199"/>
                    </a:lnTo>
                    <a:lnTo>
                      <a:pt x="818" y="199"/>
                    </a:lnTo>
                    <a:lnTo>
                      <a:pt x="818" y="199"/>
                    </a:lnTo>
                    <a:lnTo>
                      <a:pt x="820" y="197"/>
                    </a:lnTo>
                    <a:lnTo>
                      <a:pt x="820" y="197"/>
                    </a:lnTo>
                    <a:lnTo>
                      <a:pt x="823" y="199"/>
                    </a:lnTo>
                    <a:lnTo>
                      <a:pt x="823" y="199"/>
                    </a:lnTo>
                    <a:lnTo>
                      <a:pt x="824" y="199"/>
                    </a:lnTo>
                    <a:lnTo>
                      <a:pt x="824" y="199"/>
                    </a:lnTo>
                    <a:lnTo>
                      <a:pt x="824" y="200"/>
                    </a:lnTo>
                    <a:lnTo>
                      <a:pt x="824" y="200"/>
                    </a:lnTo>
                    <a:lnTo>
                      <a:pt x="826" y="202"/>
                    </a:lnTo>
                    <a:lnTo>
                      <a:pt x="826" y="202"/>
                    </a:lnTo>
                    <a:lnTo>
                      <a:pt x="829" y="199"/>
                    </a:lnTo>
                    <a:lnTo>
                      <a:pt x="829" y="199"/>
                    </a:lnTo>
                    <a:lnTo>
                      <a:pt x="831" y="197"/>
                    </a:lnTo>
                    <a:lnTo>
                      <a:pt x="831" y="197"/>
                    </a:lnTo>
                    <a:lnTo>
                      <a:pt x="831" y="197"/>
                    </a:lnTo>
                    <a:lnTo>
                      <a:pt x="831" y="197"/>
                    </a:lnTo>
                    <a:lnTo>
                      <a:pt x="831" y="194"/>
                    </a:lnTo>
                    <a:lnTo>
                      <a:pt x="831" y="194"/>
                    </a:lnTo>
                    <a:lnTo>
                      <a:pt x="832" y="194"/>
                    </a:lnTo>
                    <a:lnTo>
                      <a:pt x="832" y="194"/>
                    </a:lnTo>
                    <a:lnTo>
                      <a:pt x="831" y="194"/>
                    </a:lnTo>
                    <a:lnTo>
                      <a:pt x="831" y="194"/>
                    </a:lnTo>
                    <a:lnTo>
                      <a:pt x="832" y="192"/>
                    </a:lnTo>
                    <a:lnTo>
                      <a:pt x="832" y="192"/>
                    </a:lnTo>
                    <a:lnTo>
                      <a:pt x="834" y="192"/>
                    </a:lnTo>
                    <a:lnTo>
                      <a:pt x="834" y="192"/>
                    </a:lnTo>
                    <a:lnTo>
                      <a:pt x="834" y="191"/>
                    </a:lnTo>
                    <a:lnTo>
                      <a:pt x="834" y="191"/>
                    </a:lnTo>
                    <a:lnTo>
                      <a:pt x="836" y="194"/>
                    </a:lnTo>
                    <a:lnTo>
                      <a:pt x="836" y="194"/>
                    </a:lnTo>
                    <a:lnTo>
                      <a:pt x="837" y="194"/>
                    </a:lnTo>
                    <a:lnTo>
                      <a:pt x="837" y="194"/>
                    </a:lnTo>
                    <a:lnTo>
                      <a:pt x="839" y="192"/>
                    </a:lnTo>
                    <a:lnTo>
                      <a:pt x="839" y="192"/>
                    </a:lnTo>
                    <a:lnTo>
                      <a:pt x="839" y="194"/>
                    </a:lnTo>
                    <a:lnTo>
                      <a:pt x="839" y="194"/>
                    </a:lnTo>
                    <a:lnTo>
                      <a:pt x="840" y="194"/>
                    </a:lnTo>
                    <a:lnTo>
                      <a:pt x="840" y="194"/>
                    </a:lnTo>
                    <a:lnTo>
                      <a:pt x="840" y="192"/>
                    </a:lnTo>
                    <a:lnTo>
                      <a:pt x="840" y="192"/>
                    </a:lnTo>
                    <a:lnTo>
                      <a:pt x="840" y="191"/>
                    </a:lnTo>
                    <a:lnTo>
                      <a:pt x="840" y="191"/>
                    </a:lnTo>
                    <a:lnTo>
                      <a:pt x="843" y="191"/>
                    </a:lnTo>
                    <a:lnTo>
                      <a:pt x="843" y="191"/>
                    </a:lnTo>
                    <a:lnTo>
                      <a:pt x="843" y="191"/>
                    </a:lnTo>
                    <a:lnTo>
                      <a:pt x="843" y="191"/>
                    </a:lnTo>
                    <a:lnTo>
                      <a:pt x="843" y="189"/>
                    </a:lnTo>
                    <a:lnTo>
                      <a:pt x="843" y="189"/>
                    </a:lnTo>
                    <a:lnTo>
                      <a:pt x="850" y="189"/>
                    </a:lnTo>
                    <a:lnTo>
                      <a:pt x="850" y="189"/>
                    </a:lnTo>
                    <a:lnTo>
                      <a:pt x="847" y="188"/>
                    </a:lnTo>
                    <a:lnTo>
                      <a:pt x="847" y="188"/>
                    </a:lnTo>
                    <a:lnTo>
                      <a:pt x="847" y="186"/>
                    </a:lnTo>
                    <a:lnTo>
                      <a:pt x="847" y="186"/>
                    </a:lnTo>
                    <a:lnTo>
                      <a:pt x="847" y="185"/>
                    </a:lnTo>
                    <a:lnTo>
                      <a:pt x="847" y="185"/>
                    </a:lnTo>
                    <a:lnTo>
                      <a:pt x="847" y="185"/>
                    </a:lnTo>
                    <a:lnTo>
                      <a:pt x="847" y="185"/>
                    </a:lnTo>
                    <a:lnTo>
                      <a:pt x="850" y="183"/>
                    </a:lnTo>
                    <a:lnTo>
                      <a:pt x="850" y="183"/>
                    </a:lnTo>
                    <a:lnTo>
                      <a:pt x="850" y="185"/>
                    </a:lnTo>
                    <a:lnTo>
                      <a:pt x="850" y="185"/>
                    </a:lnTo>
                    <a:lnTo>
                      <a:pt x="853" y="185"/>
                    </a:lnTo>
                    <a:lnTo>
                      <a:pt x="853" y="185"/>
                    </a:lnTo>
                    <a:lnTo>
                      <a:pt x="856" y="183"/>
                    </a:lnTo>
                    <a:lnTo>
                      <a:pt x="856" y="183"/>
                    </a:lnTo>
                    <a:lnTo>
                      <a:pt x="856" y="181"/>
                    </a:lnTo>
                    <a:lnTo>
                      <a:pt x="856" y="181"/>
                    </a:lnTo>
                    <a:lnTo>
                      <a:pt x="859" y="181"/>
                    </a:lnTo>
                    <a:lnTo>
                      <a:pt x="859" y="181"/>
                    </a:lnTo>
                    <a:lnTo>
                      <a:pt x="859" y="180"/>
                    </a:lnTo>
                    <a:lnTo>
                      <a:pt x="859" y="180"/>
                    </a:lnTo>
                    <a:lnTo>
                      <a:pt x="859" y="178"/>
                    </a:lnTo>
                    <a:lnTo>
                      <a:pt x="859" y="178"/>
                    </a:lnTo>
                    <a:lnTo>
                      <a:pt x="858" y="178"/>
                    </a:lnTo>
                    <a:lnTo>
                      <a:pt x="855" y="178"/>
                    </a:lnTo>
                    <a:lnTo>
                      <a:pt x="855" y="178"/>
                    </a:lnTo>
                    <a:lnTo>
                      <a:pt x="855" y="178"/>
                    </a:lnTo>
                    <a:close/>
                    <a:moveTo>
                      <a:pt x="716" y="150"/>
                    </a:moveTo>
                    <a:lnTo>
                      <a:pt x="716" y="150"/>
                    </a:lnTo>
                    <a:lnTo>
                      <a:pt x="713" y="151"/>
                    </a:lnTo>
                    <a:lnTo>
                      <a:pt x="713" y="151"/>
                    </a:lnTo>
                    <a:lnTo>
                      <a:pt x="712" y="153"/>
                    </a:lnTo>
                    <a:lnTo>
                      <a:pt x="712" y="153"/>
                    </a:lnTo>
                    <a:lnTo>
                      <a:pt x="710" y="154"/>
                    </a:lnTo>
                    <a:lnTo>
                      <a:pt x="710" y="154"/>
                    </a:lnTo>
                    <a:lnTo>
                      <a:pt x="715" y="153"/>
                    </a:lnTo>
                    <a:lnTo>
                      <a:pt x="715" y="153"/>
                    </a:lnTo>
                    <a:lnTo>
                      <a:pt x="718" y="151"/>
                    </a:lnTo>
                    <a:lnTo>
                      <a:pt x="718" y="151"/>
                    </a:lnTo>
                    <a:lnTo>
                      <a:pt x="721" y="150"/>
                    </a:lnTo>
                    <a:lnTo>
                      <a:pt x="721" y="150"/>
                    </a:lnTo>
                    <a:lnTo>
                      <a:pt x="724" y="146"/>
                    </a:lnTo>
                    <a:lnTo>
                      <a:pt x="724" y="146"/>
                    </a:lnTo>
                    <a:lnTo>
                      <a:pt x="724" y="146"/>
                    </a:lnTo>
                    <a:lnTo>
                      <a:pt x="724" y="146"/>
                    </a:lnTo>
                    <a:lnTo>
                      <a:pt x="718" y="148"/>
                    </a:lnTo>
                    <a:lnTo>
                      <a:pt x="716" y="150"/>
                    </a:lnTo>
                    <a:lnTo>
                      <a:pt x="716" y="150"/>
                    </a:lnTo>
                    <a:lnTo>
                      <a:pt x="716" y="150"/>
                    </a:lnTo>
                    <a:close/>
                    <a:moveTo>
                      <a:pt x="721" y="145"/>
                    </a:moveTo>
                    <a:lnTo>
                      <a:pt x="721" y="145"/>
                    </a:lnTo>
                    <a:lnTo>
                      <a:pt x="728" y="145"/>
                    </a:lnTo>
                    <a:lnTo>
                      <a:pt x="728" y="145"/>
                    </a:lnTo>
                    <a:lnTo>
                      <a:pt x="729" y="143"/>
                    </a:lnTo>
                    <a:lnTo>
                      <a:pt x="729" y="143"/>
                    </a:lnTo>
                    <a:lnTo>
                      <a:pt x="729" y="142"/>
                    </a:lnTo>
                    <a:lnTo>
                      <a:pt x="729" y="142"/>
                    </a:lnTo>
                    <a:lnTo>
                      <a:pt x="724" y="143"/>
                    </a:lnTo>
                    <a:lnTo>
                      <a:pt x="721" y="145"/>
                    </a:lnTo>
                    <a:lnTo>
                      <a:pt x="721" y="145"/>
                    </a:lnTo>
                    <a:lnTo>
                      <a:pt x="721" y="145"/>
                    </a:lnTo>
                    <a:close/>
                    <a:moveTo>
                      <a:pt x="788" y="118"/>
                    </a:moveTo>
                    <a:lnTo>
                      <a:pt x="788" y="118"/>
                    </a:lnTo>
                    <a:lnTo>
                      <a:pt x="786" y="119"/>
                    </a:lnTo>
                    <a:lnTo>
                      <a:pt x="786" y="119"/>
                    </a:lnTo>
                    <a:lnTo>
                      <a:pt x="783" y="121"/>
                    </a:lnTo>
                    <a:lnTo>
                      <a:pt x="783" y="121"/>
                    </a:lnTo>
                    <a:lnTo>
                      <a:pt x="788" y="119"/>
                    </a:lnTo>
                    <a:lnTo>
                      <a:pt x="788" y="118"/>
                    </a:lnTo>
                    <a:lnTo>
                      <a:pt x="788" y="118"/>
                    </a:lnTo>
                    <a:lnTo>
                      <a:pt x="788" y="118"/>
                    </a:lnTo>
                    <a:close/>
                    <a:moveTo>
                      <a:pt x="815" y="435"/>
                    </a:moveTo>
                    <a:lnTo>
                      <a:pt x="815" y="435"/>
                    </a:lnTo>
                    <a:lnTo>
                      <a:pt x="813" y="437"/>
                    </a:lnTo>
                    <a:lnTo>
                      <a:pt x="813" y="437"/>
                    </a:lnTo>
                    <a:lnTo>
                      <a:pt x="812" y="439"/>
                    </a:lnTo>
                    <a:lnTo>
                      <a:pt x="815" y="435"/>
                    </a:lnTo>
                    <a:lnTo>
                      <a:pt x="815" y="435"/>
                    </a:lnTo>
                    <a:lnTo>
                      <a:pt x="815" y="435"/>
                    </a:lnTo>
                    <a:close/>
                    <a:moveTo>
                      <a:pt x="834" y="421"/>
                    </a:moveTo>
                    <a:lnTo>
                      <a:pt x="834" y="421"/>
                    </a:lnTo>
                    <a:lnTo>
                      <a:pt x="832" y="421"/>
                    </a:lnTo>
                    <a:lnTo>
                      <a:pt x="832" y="421"/>
                    </a:lnTo>
                    <a:lnTo>
                      <a:pt x="831" y="421"/>
                    </a:lnTo>
                    <a:lnTo>
                      <a:pt x="831" y="421"/>
                    </a:lnTo>
                    <a:lnTo>
                      <a:pt x="829" y="421"/>
                    </a:lnTo>
                    <a:lnTo>
                      <a:pt x="829" y="421"/>
                    </a:lnTo>
                    <a:lnTo>
                      <a:pt x="828" y="423"/>
                    </a:lnTo>
                    <a:lnTo>
                      <a:pt x="828" y="423"/>
                    </a:lnTo>
                    <a:lnTo>
                      <a:pt x="826" y="423"/>
                    </a:lnTo>
                    <a:lnTo>
                      <a:pt x="826" y="423"/>
                    </a:lnTo>
                    <a:lnTo>
                      <a:pt x="824" y="424"/>
                    </a:lnTo>
                    <a:lnTo>
                      <a:pt x="824" y="424"/>
                    </a:lnTo>
                    <a:lnTo>
                      <a:pt x="824" y="423"/>
                    </a:lnTo>
                    <a:lnTo>
                      <a:pt x="824" y="423"/>
                    </a:lnTo>
                    <a:lnTo>
                      <a:pt x="826" y="421"/>
                    </a:lnTo>
                    <a:lnTo>
                      <a:pt x="826" y="421"/>
                    </a:lnTo>
                    <a:lnTo>
                      <a:pt x="829" y="419"/>
                    </a:lnTo>
                    <a:lnTo>
                      <a:pt x="829" y="419"/>
                    </a:lnTo>
                    <a:lnTo>
                      <a:pt x="828" y="419"/>
                    </a:lnTo>
                    <a:lnTo>
                      <a:pt x="828" y="419"/>
                    </a:lnTo>
                    <a:lnTo>
                      <a:pt x="826" y="418"/>
                    </a:lnTo>
                    <a:lnTo>
                      <a:pt x="826" y="418"/>
                    </a:lnTo>
                    <a:lnTo>
                      <a:pt x="826" y="419"/>
                    </a:lnTo>
                    <a:lnTo>
                      <a:pt x="826" y="419"/>
                    </a:lnTo>
                    <a:lnTo>
                      <a:pt x="824" y="421"/>
                    </a:lnTo>
                    <a:lnTo>
                      <a:pt x="824" y="421"/>
                    </a:lnTo>
                    <a:lnTo>
                      <a:pt x="824" y="418"/>
                    </a:lnTo>
                    <a:lnTo>
                      <a:pt x="824" y="418"/>
                    </a:lnTo>
                    <a:lnTo>
                      <a:pt x="823" y="418"/>
                    </a:lnTo>
                    <a:lnTo>
                      <a:pt x="823" y="418"/>
                    </a:lnTo>
                    <a:lnTo>
                      <a:pt x="829" y="415"/>
                    </a:lnTo>
                    <a:lnTo>
                      <a:pt x="829" y="415"/>
                    </a:lnTo>
                    <a:lnTo>
                      <a:pt x="834" y="413"/>
                    </a:lnTo>
                    <a:lnTo>
                      <a:pt x="834" y="413"/>
                    </a:lnTo>
                    <a:lnTo>
                      <a:pt x="831" y="410"/>
                    </a:lnTo>
                    <a:lnTo>
                      <a:pt x="831" y="410"/>
                    </a:lnTo>
                    <a:lnTo>
                      <a:pt x="829" y="410"/>
                    </a:lnTo>
                    <a:lnTo>
                      <a:pt x="829" y="410"/>
                    </a:lnTo>
                    <a:lnTo>
                      <a:pt x="828" y="410"/>
                    </a:lnTo>
                    <a:lnTo>
                      <a:pt x="828" y="410"/>
                    </a:lnTo>
                    <a:lnTo>
                      <a:pt x="824" y="410"/>
                    </a:lnTo>
                    <a:lnTo>
                      <a:pt x="824" y="410"/>
                    </a:lnTo>
                    <a:lnTo>
                      <a:pt x="821" y="413"/>
                    </a:lnTo>
                    <a:lnTo>
                      <a:pt x="821" y="413"/>
                    </a:lnTo>
                    <a:lnTo>
                      <a:pt x="823" y="408"/>
                    </a:lnTo>
                    <a:lnTo>
                      <a:pt x="823" y="408"/>
                    </a:lnTo>
                    <a:lnTo>
                      <a:pt x="820" y="412"/>
                    </a:lnTo>
                    <a:lnTo>
                      <a:pt x="820" y="412"/>
                    </a:lnTo>
                    <a:lnTo>
                      <a:pt x="818" y="412"/>
                    </a:lnTo>
                    <a:lnTo>
                      <a:pt x="818" y="412"/>
                    </a:lnTo>
                    <a:lnTo>
                      <a:pt x="818" y="412"/>
                    </a:lnTo>
                    <a:lnTo>
                      <a:pt x="818" y="412"/>
                    </a:lnTo>
                    <a:lnTo>
                      <a:pt x="815" y="413"/>
                    </a:lnTo>
                    <a:lnTo>
                      <a:pt x="815" y="413"/>
                    </a:lnTo>
                    <a:lnTo>
                      <a:pt x="815" y="413"/>
                    </a:lnTo>
                    <a:lnTo>
                      <a:pt x="815" y="413"/>
                    </a:lnTo>
                    <a:lnTo>
                      <a:pt x="815" y="410"/>
                    </a:lnTo>
                    <a:lnTo>
                      <a:pt x="815" y="410"/>
                    </a:lnTo>
                    <a:lnTo>
                      <a:pt x="815" y="408"/>
                    </a:lnTo>
                    <a:lnTo>
                      <a:pt x="815" y="408"/>
                    </a:lnTo>
                    <a:lnTo>
                      <a:pt x="815" y="410"/>
                    </a:lnTo>
                    <a:lnTo>
                      <a:pt x="815" y="410"/>
                    </a:lnTo>
                    <a:lnTo>
                      <a:pt x="813" y="412"/>
                    </a:lnTo>
                    <a:lnTo>
                      <a:pt x="813" y="412"/>
                    </a:lnTo>
                    <a:lnTo>
                      <a:pt x="813" y="410"/>
                    </a:lnTo>
                    <a:lnTo>
                      <a:pt x="813" y="410"/>
                    </a:lnTo>
                    <a:lnTo>
                      <a:pt x="812" y="412"/>
                    </a:lnTo>
                    <a:lnTo>
                      <a:pt x="812" y="412"/>
                    </a:lnTo>
                    <a:lnTo>
                      <a:pt x="812" y="410"/>
                    </a:lnTo>
                    <a:lnTo>
                      <a:pt x="812" y="410"/>
                    </a:lnTo>
                    <a:lnTo>
                      <a:pt x="810" y="410"/>
                    </a:lnTo>
                    <a:lnTo>
                      <a:pt x="810" y="410"/>
                    </a:lnTo>
                    <a:lnTo>
                      <a:pt x="809" y="408"/>
                    </a:lnTo>
                    <a:lnTo>
                      <a:pt x="809" y="408"/>
                    </a:lnTo>
                    <a:lnTo>
                      <a:pt x="805" y="410"/>
                    </a:lnTo>
                    <a:lnTo>
                      <a:pt x="805" y="410"/>
                    </a:lnTo>
                    <a:lnTo>
                      <a:pt x="807" y="408"/>
                    </a:lnTo>
                    <a:lnTo>
                      <a:pt x="807" y="408"/>
                    </a:lnTo>
                    <a:lnTo>
                      <a:pt x="810" y="407"/>
                    </a:lnTo>
                    <a:lnTo>
                      <a:pt x="810" y="407"/>
                    </a:lnTo>
                    <a:lnTo>
                      <a:pt x="807" y="407"/>
                    </a:lnTo>
                    <a:lnTo>
                      <a:pt x="807" y="407"/>
                    </a:lnTo>
                    <a:lnTo>
                      <a:pt x="805" y="407"/>
                    </a:lnTo>
                    <a:lnTo>
                      <a:pt x="805" y="407"/>
                    </a:lnTo>
                    <a:lnTo>
                      <a:pt x="812" y="405"/>
                    </a:lnTo>
                    <a:lnTo>
                      <a:pt x="812" y="405"/>
                    </a:lnTo>
                    <a:lnTo>
                      <a:pt x="813" y="404"/>
                    </a:lnTo>
                    <a:lnTo>
                      <a:pt x="813" y="404"/>
                    </a:lnTo>
                    <a:lnTo>
                      <a:pt x="815" y="402"/>
                    </a:lnTo>
                    <a:lnTo>
                      <a:pt x="815" y="402"/>
                    </a:lnTo>
                    <a:lnTo>
                      <a:pt x="812" y="402"/>
                    </a:lnTo>
                    <a:lnTo>
                      <a:pt x="812" y="402"/>
                    </a:lnTo>
                    <a:lnTo>
                      <a:pt x="809" y="402"/>
                    </a:lnTo>
                    <a:lnTo>
                      <a:pt x="809" y="402"/>
                    </a:lnTo>
                    <a:lnTo>
                      <a:pt x="809" y="400"/>
                    </a:lnTo>
                    <a:lnTo>
                      <a:pt x="809" y="400"/>
                    </a:lnTo>
                    <a:lnTo>
                      <a:pt x="797" y="408"/>
                    </a:lnTo>
                    <a:lnTo>
                      <a:pt x="797" y="408"/>
                    </a:lnTo>
                    <a:lnTo>
                      <a:pt x="797" y="407"/>
                    </a:lnTo>
                    <a:lnTo>
                      <a:pt x="797" y="407"/>
                    </a:lnTo>
                    <a:lnTo>
                      <a:pt x="797" y="405"/>
                    </a:lnTo>
                    <a:lnTo>
                      <a:pt x="797" y="405"/>
                    </a:lnTo>
                    <a:lnTo>
                      <a:pt x="801" y="404"/>
                    </a:lnTo>
                    <a:lnTo>
                      <a:pt x="801" y="404"/>
                    </a:lnTo>
                    <a:lnTo>
                      <a:pt x="804" y="399"/>
                    </a:lnTo>
                    <a:lnTo>
                      <a:pt x="804" y="399"/>
                    </a:lnTo>
                    <a:lnTo>
                      <a:pt x="810" y="394"/>
                    </a:lnTo>
                    <a:lnTo>
                      <a:pt x="810" y="394"/>
                    </a:lnTo>
                    <a:lnTo>
                      <a:pt x="812" y="389"/>
                    </a:lnTo>
                    <a:lnTo>
                      <a:pt x="812" y="389"/>
                    </a:lnTo>
                    <a:lnTo>
                      <a:pt x="813" y="391"/>
                    </a:lnTo>
                    <a:lnTo>
                      <a:pt x="813" y="391"/>
                    </a:lnTo>
                    <a:lnTo>
                      <a:pt x="815" y="389"/>
                    </a:lnTo>
                    <a:lnTo>
                      <a:pt x="815" y="389"/>
                    </a:lnTo>
                    <a:lnTo>
                      <a:pt x="815" y="389"/>
                    </a:lnTo>
                    <a:lnTo>
                      <a:pt x="815" y="389"/>
                    </a:lnTo>
                    <a:lnTo>
                      <a:pt x="818" y="386"/>
                    </a:lnTo>
                    <a:lnTo>
                      <a:pt x="818" y="386"/>
                    </a:lnTo>
                    <a:lnTo>
                      <a:pt x="818" y="386"/>
                    </a:lnTo>
                    <a:lnTo>
                      <a:pt x="818" y="386"/>
                    </a:lnTo>
                    <a:lnTo>
                      <a:pt x="818" y="386"/>
                    </a:lnTo>
                    <a:lnTo>
                      <a:pt x="818" y="386"/>
                    </a:lnTo>
                    <a:lnTo>
                      <a:pt x="815" y="386"/>
                    </a:lnTo>
                    <a:lnTo>
                      <a:pt x="815" y="386"/>
                    </a:lnTo>
                    <a:lnTo>
                      <a:pt x="815" y="383"/>
                    </a:lnTo>
                    <a:lnTo>
                      <a:pt x="815" y="383"/>
                    </a:lnTo>
                    <a:lnTo>
                      <a:pt x="818" y="383"/>
                    </a:lnTo>
                    <a:lnTo>
                      <a:pt x="818" y="383"/>
                    </a:lnTo>
                    <a:lnTo>
                      <a:pt x="820" y="383"/>
                    </a:lnTo>
                    <a:lnTo>
                      <a:pt x="820" y="383"/>
                    </a:lnTo>
                    <a:lnTo>
                      <a:pt x="821" y="383"/>
                    </a:lnTo>
                    <a:lnTo>
                      <a:pt x="821" y="383"/>
                    </a:lnTo>
                    <a:lnTo>
                      <a:pt x="821" y="380"/>
                    </a:lnTo>
                    <a:lnTo>
                      <a:pt x="821" y="380"/>
                    </a:lnTo>
                    <a:lnTo>
                      <a:pt x="821" y="380"/>
                    </a:lnTo>
                    <a:lnTo>
                      <a:pt x="821" y="380"/>
                    </a:lnTo>
                    <a:lnTo>
                      <a:pt x="820" y="380"/>
                    </a:lnTo>
                    <a:lnTo>
                      <a:pt x="820" y="380"/>
                    </a:lnTo>
                    <a:lnTo>
                      <a:pt x="820" y="380"/>
                    </a:lnTo>
                    <a:lnTo>
                      <a:pt x="820" y="380"/>
                    </a:lnTo>
                    <a:lnTo>
                      <a:pt x="818" y="380"/>
                    </a:lnTo>
                    <a:lnTo>
                      <a:pt x="818" y="380"/>
                    </a:lnTo>
                    <a:lnTo>
                      <a:pt x="818" y="380"/>
                    </a:lnTo>
                    <a:lnTo>
                      <a:pt x="818" y="380"/>
                    </a:lnTo>
                    <a:lnTo>
                      <a:pt x="813" y="383"/>
                    </a:lnTo>
                    <a:lnTo>
                      <a:pt x="813" y="383"/>
                    </a:lnTo>
                    <a:lnTo>
                      <a:pt x="810" y="383"/>
                    </a:lnTo>
                    <a:lnTo>
                      <a:pt x="810" y="383"/>
                    </a:lnTo>
                    <a:lnTo>
                      <a:pt x="807" y="386"/>
                    </a:lnTo>
                    <a:lnTo>
                      <a:pt x="807" y="386"/>
                    </a:lnTo>
                    <a:lnTo>
                      <a:pt x="802" y="389"/>
                    </a:lnTo>
                    <a:lnTo>
                      <a:pt x="802" y="389"/>
                    </a:lnTo>
                    <a:lnTo>
                      <a:pt x="797" y="391"/>
                    </a:lnTo>
                    <a:lnTo>
                      <a:pt x="797" y="391"/>
                    </a:lnTo>
                    <a:lnTo>
                      <a:pt x="799" y="392"/>
                    </a:lnTo>
                    <a:lnTo>
                      <a:pt x="799" y="392"/>
                    </a:lnTo>
                    <a:lnTo>
                      <a:pt x="797" y="394"/>
                    </a:lnTo>
                    <a:lnTo>
                      <a:pt x="797" y="394"/>
                    </a:lnTo>
                    <a:lnTo>
                      <a:pt x="794" y="396"/>
                    </a:lnTo>
                    <a:lnTo>
                      <a:pt x="794" y="396"/>
                    </a:lnTo>
                    <a:lnTo>
                      <a:pt x="791" y="400"/>
                    </a:lnTo>
                    <a:lnTo>
                      <a:pt x="791" y="400"/>
                    </a:lnTo>
                    <a:lnTo>
                      <a:pt x="788" y="405"/>
                    </a:lnTo>
                    <a:lnTo>
                      <a:pt x="788" y="405"/>
                    </a:lnTo>
                    <a:lnTo>
                      <a:pt x="786" y="408"/>
                    </a:lnTo>
                    <a:lnTo>
                      <a:pt x="786" y="408"/>
                    </a:lnTo>
                    <a:lnTo>
                      <a:pt x="785" y="408"/>
                    </a:lnTo>
                    <a:lnTo>
                      <a:pt x="785" y="408"/>
                    </a:lnTo>
                    <a:lnTo>
                      <a:pt x="783" y="410"/>
                    </a:lnTo>
                    <a:lnTo>
                      <a:pt x="783" y="410"/>
                    </a:lnTo>
                    <a:lnTo>
                      <a:pt x="782" y="413"/>
                    </a:lnTo>
                    <a:lnTo>
                      <a:pt x="782" y="413"/>
                    </a:lnTo>
                    <a:lnTo>
                      <a:pt x="783" y="413"/>
                    </a:lnTo>
                    <a:lnTo>
                      <a:pt x="783" y="413"/>
                    </a:lnTo>
                    <a:lnTo>
                      <a:pt x="783" y="415"/>
                    </a:lnTo>
                    <a:lnTo>
                      <a:pt x="783" y="415"/>
                    </a:lnTo>
                    <a:lnTo>
                      <a:pt x="782" y="415"/>
                    </a:lnTo>
                    <a:lnTo>
                      <a:pt x="782" y="415"/>
                    </a:lnTo>
                    <a:lnTo>
                      <a:pt x="782" y="415"/>
                    </a:lnTo>
                    <a:lnTo>
                      <a:pt x="782" y="415"/>
                    </a:lnTo>
                    <a:lnTo>
                      <a:pt x="780" y="415"/>
                    </a:lnTo>
                    <a:lnTo>
                      <a:pt x="780" y="415"/>
                    </a:lnTo>
                    <a:lnTo>
                      <a:pt x="777" y="415"/>
                    </a:lnTo>
                    <a:lnTo>
                      <a:pt x="777" y="415"/>
                    </a:lnTo>
                    <a:lnTo>
                      <a:pt x="775" y="418"/>
                    </a:lnTo>
                    <a:lnTo>
                      <a:pt x="775" y="418"/>
                    </a:lnTo>
                    <a:lnTo>
                      <a:pt x="772" y="421"/>
                    </a:lnTo>
                    <a:lnTo>
                      <a:pt x="772" y="421"/>
                    </a:lnTo>
                    <a:lnTo>
                      <a:pt x="770" y="421"/>
                    </a:lnTo>
                    <a:lnTo>
                      <a:pt x="770" y="421"/>
                    </a:lnTo>
                    <a:lnTo>
                      <a:pt x="769" y="421"/>
                    </a:lnTo>
                    <a:lnTo>
                      <a:pt x="769" y="421"/>
                    </a:lnTo>
                    <a:lnTo>
                      <a:pt x="772" y="418"/>
                    </a:lnTo>
                    <a:lnTo>
                      <a:pt x="772" y="418"/>
                    </a:lnTo>
                    <a:lnTo>
                      <a:pt x="769" y="419"/>
                    </a:lnTo>
                    <a:lnTo>
                      <a:pt x="769" y="419"/>
                    </a:lnTo>
                    <a:lnTo>
                      <a:pt x="767" y="421"/>
                    </a:lnTo>
                    <a:lnTo>
                      <a:pt x="767" y="421"/>
                    </a:lnTo>
                    <a:lnTo>
                      <a:pt x="766" y="423"/>
                    </a:lnTo>
                    <a:lnTo>
                      <a:pt x="766" y="423"/>
                    </a:lnTo>
                    <a:lnTo>
                      <a:pt x="770" y="423"/>
                    </a:lnTo>
                    <a:lnTo>
                      <a:pt x="770" y="423"/>
                    </a:lnTo>
                    <a:lnTo>
                      <a:pt x="775" y="423"/>
                    </a:lnTo>
                    <a:lnTo>
                      <a:pt x="775" y="423"/>
                    </a:lnTo>
                    <a:lnTo>
                      <a:pt x="770" y="424"/>
                    </a:lnTo>
                    <a:lnTo>
                      <a:pt x="770" y="424"/>
                    </a:lnTo>
                    <a:lnTo>
                      <a:pt x="767" y="427"/>
                    </a:lnTo>
                    <a:lnTo>
                      <a:pt x="767" y="427"/>
                    </a:lnTo>
                    <a:lnTo>
                      <a:pt x="763" y="429"/>
                    </a:lnTo>
                    <a:lnTo>
                      <a:pt x="763" y="429"/>
                    </a:lnTo>
                    <a:lnTo>
                      <a:pt x="763" y="431"/>
                    </a:lnTo>
                    <a:lnTo>
                      <a:pt x="763" y="431"/>
                    </a:lnTo>
                    <a:lnTo>
                      <a:pt x="759" y="434"/>
                    </a:lnTo>
                    <a:lnTo>
                      <a:pt x="759" y="434"/>
                    </a:lnTo>
                    <a:lnTo>
                      <a:pt x="759" y="435"/>
                    </a:lnTo>
                    <a:lnTo>
                      <a:pt x="759" y="435"/>
                    </a:lnTo>
                    <a:lnTo>
                      <a:pt x="763" y="435"/>
                    </a:lnTo>
                    <a:lnTo>
                      <a:pt x="763" y="435"/>
                    </a:lnTo>
                    <a:lnTo>
                      <a:pt x="770" y="435"/>
                    </a:lnTo>
                    <a:lnTo>
                      <a:pt x="770" y="435"/>
                    </a:lnTo>
                    <a:lnTo>
                      <a:pt x="772" y="434"/>
                    </a:lnTo>
                    <a:lnTo>
                      <a:pt x="772" y="434"/>
                    </a:lnTo>
                    <a:lnTo>
                      <a:pt x="772" y="435"/>
                    </a:lnTo>
                    <a:lnTo>
                      <a:pt x="772" y="435"/>
                    </a:lnTo>
                    <a:lnTo>
                      <a:pt x="774" y="435"/>
                    </a:lnTo>
                    <a:lnTo>
                      <a:pt x="774" y="435"/>
                    </a:lnTo>
                    <a:lnTo>
                      <a:pt x="777" y="435"/>
                    </a:lnTo>
                    <a:lnTo>
                      <a:pt x="777" y="435"/>
                    </a:lnTo>
                    <a:lnTo>
                      <a:pt x="780" y="435"/>
                    </a:lnTo>
                    <a:lnTo>
                      <a:pt x="780" y="435"/>
                    </a:lnTo>
                    <a:lnTo>
                      <a:pt x="783" y="435"/>
                    </a:lnTo>
                    <a:lnTo>
                      <a:pt x="783" y="435"/>
                    </a:lnTo>
                    <a:lnTo>
                      <a:pt x="786" y="435"/>
                    </a:lnTo>
                    <a:lnTo>
                      <a:pt x="786" y="435"/>
                    </a:lnTo>
                    <a:lnTo>
                      <a:pt x="788" y="435"/>
                    </a:lnTo>
                    <a:lnTo>
                      <a:pt x="788" y="435"/>
                    </a:lnTo>
                    <a:lnTo>
                      <a:pt x="788" y="435"/>
                    </a:lnTo>
                    <a:lnTo>
                      <a:pt x="788" y="435"/>
                    </a:lnTo>
                    <a:lnTo>
                      <a:pt x="791" y="435"/>
                    </a:lnTo>
                    <a:lnTo>
                      <a:pt x="791" y="435"/>
                    </a:lnTo>
                    <a:lnTo>
                      <a:pt x="794" y="435"/>
                    </a:lnTo>
                    <a:lnTo>
                      <a:pt x="794" y="435"/>
                    </a:lnTo>
                    <a:lnTo>
                      <a:pt x="794" y="434"/>
                    </a:lnTo>
                    <a:lnTo>
                      <a:pt x="794" y="434"/>
                    </a:lnTo>
                    <a:lnTo>
                      <a:pt x="794" y="435"/>
                    </a:lnTo>
                    <a:lnTo>
                      <a:pt x="794" y="435"/>
                    </a:lnTo>
                    <a:lnTo>
                      <a:pt x="797" y="432"/>
                    </a:lnTo>
                    <a:lnTo>
                      <a:pt x="797" y="432"/>
                    </a:lnTo>
                    <a:lnTo>
                      <a:pt x="797" y="434"/>
                    </a:lnTo>
                    <a:lnTo>
                      <a:pt x="797" y="434"/>
                    </a:lnTo>
                    <a:lnTo>
                      <a:pt x="799" y="432"/>
                    </a:lnTo>
                    <a:lnTo>
                      <a:pt x="799" y="432"/>
                    </a:lnTo>
                    <a:lnTo>
                      <a:pt x="801" y="431"/>
                    </a:lnTo>
                    <a:lnTo>
                      <a:pt x="801" y="431"/>
                    </a:lnTo>
                    <a:lnTo>
                      <a:pt x="799" y="434"/>
                    </a:lnTo>
                    <a:lnTo>
                      <a:pt x="799" y="434"/>
                    </a:lnTo>
                    <a:lnTo>
                      <a:pt x="799" y="435"/>
                    </a:lnTo>
                    <a:lnTo>
                      <a:pt x="799" y="435"/>
                    </a:lnTo>
                    <a:lnTo>
                      <a:pt x="797" y="435"/>
                    </a:lnTo>
                    <a:lnTo>
                      <a:pt x="797" y="435"/>
                    </a:lnTo>
                    <a:lnTo>
                      <a:pt x="797" y="435"/>
                    </a:lnTo>
                    <a:lnTo>
                      <a:pt x="797" y="435"/>
                    </a:lnTo>
                    <a:lnTo>
                      <a:pt x="797" y="435"/>
                    </a:lnTo>
                    <a:lnTo>
                      <a:pt x="797" y="435"/>
                    </a:lnTo>
                    <a:lnTo>
                      <a:pt x="799" y="435"/>
                    </a:lnTo>
                    <a:lnTo>
                      <a:pt x="799" y="435"/>
                    </a:lnTo>
                    <a:lnTo>
                      <a:pt x="801" y="435"/>
                    </a:lnTo>
                    <a:lnTo>
                      <a:pt x="801" y="435"/>
                    </a:lnTo>
                    <a:lnTo>
                      <a:pt x="801" y="439"/>
                    </a:lnTo>
                    <a:lnTo>
                      <a:pt x="801" y="439"/>
                    </a:lnTo>
                    <a:lnTo>
                      <a:pt x="802" y="435"/>
                    </a:lnTo>
                    <a:lnTo>
                      <a:pt x="802" y="435"/>
                    </a:lnTo>
                    <a:lnTo>
                      <a:pt x="804" y="435"/>
                    </a:lnTo>
                    <a:lnTo>
                      <a:pt x="804" y="435"/>
                    </a:lnTo>
                    <a:lnTo>
                      <a:pt x="807" y="435"/>
                    </a:lnTo>
                    <a:lnTo>
                      <a:pt x="807" y="435"/>
                    </a:lnTo>
                    <a:lnTo>
                      <a:pt x="810" y="434"/>
                    </a:lnTo>
                    <a:lnTo>
                      <a:pt x="810" y="434"/>
                    </a:lnTo>
                    <a:lnTo>
                      <a:pt x="809" y="435"/>
                    </a:lnTo>
                    <a:lnTo>
                      <a:pt x="809" y="435"/>
                    </a:lnTo>
                    <a:lnTo>
                      <a:pt x="812" y="435"/>
                    </a:lnTo>
                    <a:lnTo>
                      <a:pt x="812" y="435"/>
                    </a:lnTo>
                    <a:lnTo>
                      <a:pt x="810" y="435"/>
                    </a:lnTo>
                    <a:lnTo>
                      <a:pt x="810" y="435"/>
                    </a:lnTo>
                    <a:lnTo>
                      <a:pt x="805" y="439"/>
                    </a:lnTo>
                    <a:lnTo>
                      <a:pt x="805" y="439"/>
                    </a:lnTo>
                    <a:lnTo>
                      <a:pt x="801" y="442"/>
                    </a:lnTo>
                    <a:lnTo>
                      <a:pt x="801" y="442"/>
                    </a:lnTo>
                    <a:lnTo>
                      <a:pt x="797" y="442"/>
                    </a:lnTo>
                    <a:lnTo>
                      <a:pt x="797" y="442"/>
                    </a:lnTo>
                    <a:lnTo>
                      <a:pt x="794" y="445"/>
                    </a:lnTo>
                    <a:lnTo>
                      <a:pt x="794" y="445"/>
                    </a:lnTo>
                    <a:lnTo>
                      <a:pt x="794" y="445"/>
                    </a:lnTo>
                    <a:lnTo>
                      <a:pt x="794" y="445"/>
                    </a:lnTo>
                    <a:lnTo>
                      <a:pt x="797" y="445"/>
                    </a:lnTo>
                    <a:lnTo>
                      <a:pt x="797" y="445"/>
                    </a:lnTo>
                    <a:lnTo>
                      <a:pt x="802" y="445"/>
                    </a:lnTo>
                    <a:lnTo>
                      <a:pt x="802" y="445"/>
                    </a:lnTo>
                    <a:lnTo>
                      <a:pt x="805" y="442"/>
                    </a:lnTo>
                    <a:lnTo>
                      <a:pt x="805" y="442"/>
                    </a:lnTo>
                    <a:lnTo>
                      <a:pt x="810" y="439"/>
                    </a:lnTo>
                    <a:lnTo>
                      <a:pt x="810" y="439"/>
                    </a:lnTo>
                    <a:lnTo>
                      <a:pt x="813" y="437"/>
                    </a:lnTo>
                    <a:lnTo>
                      <a:pt x="813" y="437"/>
                    </a:lnTo>
                    <a:lnTo>
                      <a:pt x="815" y="435"/>
                    </a:lnTo>
                    <a:lnTo>
                      <a:pt x="815" y="435"/>
                    </a:lnTo>
                    <a:lnTo>
                      <a:pt x="818" y="432"/>
                    </a:lnTo>
                    <a:lnTo>
                      <a:pt x="818" y="432"/>
                    </a:lnTo>
                    <a:lnTo>
                      <a:pt x="820" y="432"/>
                    </a:lnTo>
                    <a:lnTo>
                      <a:pt x="820" y="432"/>
                    </a:lnTo>
                    <a:lnTo>
                      <a:pt x="820" y="435"/>
                    </a:lnTo>
                    <a:lnTo>
                      <a:pt x="820" y="435"/>
                    </a:lnTo>
                    <a:lnTo>
                      <a:pt x="820" y="439"/>
                    </a:lnTo>
                    <a:lnTo>
                      <a:pt x="820" y="439"/>
                    </a:lnTo>
                    <a:lnTo>
                      <a:pt x="818" y="442"/>
                    </a:lnTo>
                    <a:lnTo>
                      <a:pt x="818" y="442"/>
                    </a:lnTo>
                    <a:lnTo>
                      <a:pt x="815" y="442"/>
                    </a:lnTo>
                    <a:lnTo>
                      <a:pt x="815" y="442"/>
                    </a:lnTo>
                    <a:lnTo>
                      <a:pt x="815" y="445"/>
                    </a:lnTo>
                    <a:lnTo>
                      <a:pt x="815" y="445"/>
                    </a:lnTo>
                    <a:lnTo>
                      <a:pt x="815" y="445"/>
                    </a:lnTo>
                    <a:lnTo>
                      <a:pt x="815" y="445"/>
                    </a:lnTo>
                    <a:lnTo>
                      <a:pt x="818" y="445"/>
                    </a:lnTo>
                    <a:lnTo>
                      <a:pt x="818" y="445"/>
                    </a:lnTo>
                    <a:lnTo>
                      <a:pt x="823" y="442"/>
                    </a:lnTo>
                    <a:lnTo>
                      <a:pt x="823" y="442"/>
                    </a:lnTo>
                    <a:lnTo>
                      <a:pt x="821" y="442"/>
                    </a:lnTo>
                    <a:lnTo>
                      <a:pt x="821" y="442"/>
                    </a:lnTo>
                    <a:lnTo>
                      <a:pt x="820" y="445"/>
                    </a:lnTo>
                    <a:lnTo>
                      <a:pt x="820" y="445"/>
                    </a:lnTo>
                    <a:lnTo>
                      <a:pt x="821" y="445"/>
                    </a:lnTo>
                    <a:lnTo>
                      <a:pt x="821" y="445"/>
                    </a:lnTo>
                    <a:lnTo>
                      <a:pt x="820" y="445"/>
                    </a:lnTo>
                    <a:lnTo>
                      <a:pt x="820" y="445"/>
                    </a:lnTo>
                    <a:lnTo>
                      <a:pt x="821" y="445"/>
                    </a:lnTo>
                    <a:lnTo>
                      <a:pt x="821" y="445"/>
                    </a:lnTo>
                    <a:lnTo>
                      <a:pt x="820" y="446"/>
                    </a:lnTo>
                    <a:lnTo>
                      <a:pt x="820" y="446"/>
                    </a:lnTo>
                    <a:lnTo>
                      <a:pt x="820" y="448"/>
                    </a:lnTo>
                    <a:lnTo>
                      <a:pt x="820" y="448"/>
                    </a:lnTo>
                    <a:lnTo>
                      <a:pt x="821" y="448"/>
                    </a:lnTo>
                    <a:lnTo>
                      <a:pt x="821" y="448"/>
                    </a:lnTo>
                    <a:lnTo>
                      <a:pt x="824" y="448"/>
                    </a:lnTo>
                    <a:lnTo>
                      <a:pt x="824" y="448"/>
                    </a:lnTo>
                    <a:lnTo>
                      <a:pt x="826" y="448"/>
                    </a:lnTo>
                    <a:lnTo>
                      <a:pt x="826" y="448"/>
                    </a:lnTo>
                    <a:lnTo>
                      <a:pt x="826" y="446"/>
                    </a:lnTo>
                    <a:lnTo>
                      <a:pt x="826" y="446"/>
                    </a:lnTo>
                    <a:lnTo>
                      <a:pt x="829" y="445"/>
                    </a:lnTo>
                    <a:lnTo>
                      <a:pt x="829" y="445"/>
                    </a:lnTo>
                    <a:lnTo>
                      <a:pt x="834" y="439"/>
                    </a:lnTo>
                    <a:lnTo>
                      <a:pt x="834" y="439"/>
                    </a:lnTo>
                    <a:lnTo>
                      <a:pt x="834" y="434"/>
                    </a:lnTo>
                    <a:lnTo>
                      <a:pt x="834" y="434"/>
                    </a:lnTo>
                    <a:lnTo>
                      <a:pt x="832" y="434"/>
                    </a:lnTo>
                    <a:lnTo>
                      <a:pt x="832" y="434"/>
                    </a:lnTo>
                    <a:lnTo>
                      <a:pt x="831" y="435"/>
                    </a:lnTo>
                    <a:lnTo>
                      <a:pt x="831" y="435"/>
                    </a:lnTo>
                    <a:lnTo>
                      <a:pt x="829" y="435"/>
                    </a:lnTo>
                    <a:lnTo>
                      <a:pt x="829" y="435"/>
                    </a:lnTo>
                    <a:lnTo>
                      <a:pt x="828" y="439"/>
                    </a:lnTo>
                    <a:lnTo>
                      <a:pt x="828" y="439"/>
                    </a:lnTo>
                    <a:lnTo>
                      <a:pt x="828" y="435"/>
                    </a:lnTo>
                    <a:lnTo>
                      <a:pt x="828" y="435"/>
                    </a:lnTo>
                    <a:lnTo>
                      <a:pt x="829" y="434"/>
                    </a:lnTo>
                    <a:lnTo>
                      <a:pt x="829" y="434"/>
                    </a:lnTo>
                    <a:lnTo>
                      <a:pt x="832" y="431"/>
                    </a:lnTo>
                    <a:lnTo>
                      <a:pt x="832" y="431"/>
                    </a:lnTo>
                    <a:lnTo>
                      <a:pt x="836" y="427"/>
                    </a:lnTo>
                    <a:lnTo>
                      <a:pt x="836" y="427"/>
                    </a:lnTo>
                    <a:lnTo>
                      <a:pt x="832" y="427"/>
                    </a:lnTo>
                    <a:lnTo>
                      <a:pt x="832" y="427"/>
                    </a:lnTo>
                    <a:lnTo>
                      <a:pt x="831" y="429"/>
                    </a:lnTo>
                    <a:lnTo>
                      <a:pt x="831" y="429"/>
                    </a:lnTo>
                    <a:lnTo>
                      <a:pt x="826" y="432"/>
                    </a:lnTo>
                    <a:lnTo>
                      <a:pt x="826" y="432"/>
                    </a:lnTo>
                    <a:lnTo>
                      <a:pt x="823" y="435"/>
                    </a:lnTo>
                    <a:lnTo>
                      <a:pt x="823" y="435"/>
                    </a:lnTo>
                    <a:lnTo>
                      <a:pt x="823" y="435"/>
                    </a:lnTo>
                    <a:lnTo>
                      <a:pt x="823" y="435"/>
                    </a:lnTo>
                    <a:lnTo>
                      <a:pt x="823" y="434"/>
                    </a:lnTo>
                    <a:lnTo>
                      <a:pt x="823" y="434"/>
                    </a:lnTo>
                    <a:lnTo>
                      <a:pt x="821" y="434"/>
                    </a:lnTo>
                    <a:lnTo>
                      <a:pt x="821" y="434"/>
                    </a:lnTo>
                    <a:lnTo>
                      <a:pt x="821" y="432"/>
                    </a:lnTo>
                    <a:lnTo>
                      <a:pt x="821" y="432"/>
                    </a:lnTo>
                    <a:lnTo>
                      <a:pt x="823" y="431"/>
                    </a:lnTo>
                    <a:lnTo>
                      <a:pt x="823" y="431"/>
                    </a:lnTo>
                    <a:lnTo>
                      <a:pt x="824" y="429"/>
                    </a:lnTo>
                    <a:lnTo>
                      <a:pt x="824" y="429"/>
                    </a:lnTo>
                    <a:lnTo>
                      <a:pt x="823" y="429"/>
                    </a:lnTo>
                    <a:lnTo>
                      <a:pt x="823" y="429"/>
                    </a:lnTo>
                    <a:lnTo>
                      <a:pt x="823" y="427"/>
                    </a:lnTo>
                    <a:lnTo>
                      <a:pt x="823" y="427"/>
                    </a:lnTo>
                    <a:lnTo>
                      <a:pt x="824" y="427"/>
                    </a:lnTo>
                    <a:lnTo>
                      <a:pt x="824" y="427"/>
                    </a:lnTo>
                    <a:lnTo>
                      <a:pt x="826" y="427"/>
                    </a:lnTo>
                    <a:lnTo>
                      <a:pt x="826" y="427"/>
                    </a:lnTo>
                    <a:lnTo>
                      <a:pt x="828" y="426"/>
                    </a:lnTo>
                    <a:lnTo>
                      <a:pt x="828" y="426"/>
                    </a:lnTo>
                    <a:lnTo>
                      <a:pt x="834" y="423"/>
                    </a:lnTo>
                    <a:lnTo>
                      <a:pt x="834" y="423"/>
                    </a:lnTo>
                    <a:lnTo>
                      <a:pt x="836" y="423"/>
                    </a:lnTo>
                    <a:lnTo>
                      <a:pt x="836" y="423"/>
                    </a:lnTo>
                    <a:lnTo>
                      <a:pt x="836" y="421"/>
                    </a:lnTo>
                    <a:lnTo>
                      <a:pt x="836" y="421"/>
                    </a:lnTo>
                    <a:lnTo>
                      <a:pt x="834" y="419"/>
                    </a:lnTo>
                    <a:lnTo>
                      <a:pt x="834" y="421"/>
                    </a:lnTo>
                    <a:lnTo>
                      <a:pt x="834" y="421"/>
                    </a:lnTo>
                    <a:lnTo>
                      <a:pt x="834" y="421"/>
                    </a:lnTo>
                    <a:close/>
                    <a:moveTo>
                      <a:pt x="821" y="200"/>
                    </a:moveTo>
                    <a:lnTo>
                      <a:pt x="821" y="200"/>
                    </a:lnTo>
                    <a:lnTo>
                      <a:pt x="823" y="199"/>
                    </a:lnTo>
                    <a:lnTo>
                      <a:pt x="823" y="199"/>
                    </a:lnTo>
                    <a:lnTo>
                      <a:pt x="821" y="199"/>
                    </a:lnTo>
                    <a:lnTo>
                      <a:pt x="821" y="200"/>
                    </a:lnTo>
                    <a:lnTo>
                      <a:pt x="821" y="200"/>
                    </a:lnTo>
                    <a:lnTo>
                      <a:pt x="821" y="200"/>
                    </a:lnTo>
                    <a:close/>
                    <a:moveTo>
                      <a:pt x="348" y="361"/>
                    </a:moveTo>
                    <a:lnTo>
                      <a:pt x="348" y="361"/>
                    </a:lnTo>
                    <a:lnTo>
                      <a:pt x="347" y="361"/>
                    </a:lnTo>
                    <a:lnTo>
                      <a:pt x="347" y="361"/>
                    </a:lnTo>
                    <a:lnTo>
                      <a:pt x="347" y="361"/>
                    </a:lnTo>
                    <a:lnTo>
                      <a:pt x="348" y="361"/>
                    </a:lnTo>
                    <a:lnTo>
                      <a:pt x="348" y="361"/>
                    </a:lnTo>
                    <a:close/>
                    <a:moveTo>
                      <a:pt x="712" y="142"/>
                    </a:moveTo>
                    <a:lnTo>
                      <a:pt x="712" y="142"/>
                    </a:lnTo>
                    <a:lnTo>
                      <a:pt x="709" y="142"/>
                    </a:lnTo>
                    <a:lnTo>
                      <a:pt x="709" y="142"/>
                    </a:lnTo>
                    <a:lnTo>
                      <a:pt x="709" y="143"/>
                    </a:lnTo>
                    <a:lnTo>
                      <a:pt x="709" y="143"/>
                    </a:lnTo>
                    <a:lnTo>
                      <a:pt x="707" y="143"/>
                    </a:lnTo>
                    <a:lnTo>
                      <a:pt x="707" y="143"/>
                    </a:lnTo>
                    <a:lnTo>
                      <a:pt x="710" y="145"/>
                    </a:lnTo>
                    <a:lnTo>
                      <a:pt x="710" y="145"/>
                    </a:lnTo>
                    <a:lnTo>
                      <a:pt x="712" y="145"/>
                    </a:lnTo>
                    <a:lnTo>
                      <a:pt x="712" y="145"/>
                    </a:lnTo>
                    <a:lnTo>
                      <a:pt x="715" y="143"/>
                    </a:lnTo>
                    <a:lnTo>
                      <a:pt x="715" y="143"/>
                    </a:lnTo>
                    <a:lnTo>
                      <a:pt x="718" y="143"/>
                    </a:lnTo>
                    <a:lnTo>
                      <a:pt x="718" y="143"/>
                    </a:lnTo>
                    <a:lnTo>
                      <a:pt x="718" y="142"/>
                    </a:lnTo>
                    <a:lnTo>
                      <a:pt x="718" y="142"/>
                    </a:lnTo>
                    <a:lnTo>
                      <a:pt x="715" y="142"/>
                    </a:lnTo>
                    <a:lnTo>
                      <a:pt x="712" y="142"/>
                    </a:lnTo>
                    <a:lnTo>
                      <a:pt x="712" y="142"/>
                    </a:lnTo>
                    <a:lnTo>
                      <a:pt x="712" y="142"/>
                    </a:lnTo>
                    <a:close/>
                    <a:moveTo>
                      <a:pt x="994" y="7"/>
                    </a:moveTo>
                    <a:lnTo>
                      <a:pt x="994" y="7"/>
                    </a:lnTo>
                    <a:lnTo>
                      <a:pt x="993" y="4"/>
                    </a:lnTo>
                    <a:lnTo>
                      <a:pt x="993" y="4"/>
                    </a:lnTo>
                    <a:lnTo>
                      <a:pt x="988" y="7"/>
                    </a:lnTo>
                    <a:lnTo>
                      <a:pt x="988" y="7"/>
                    </a:lnTo>
                    <a:lnTo>
                      <a:pt x="990" y="4"/>
                    </a:lnTo>
                    <a:lnTo>
                      <a:pt x="990" y="4"/>
                    </a:lnTo>
                    <a:lnTo>
                      <a:pt x="986" y="7"/>
                    </a:lnTo>
                    <a:lnTo>
                      <a:pt x="986" y="7"/>
                    </a:lnTo>
                    <a:lnTo>
                      <a:pt x="980" y="7"/>
                    </a:lnTo>
                    <a:lnTo>
                      <a:pt x="980" y="7"/>
                    </a:lnTo>
                    <a:lnTo>
                      <a:pt x="983" y="4"/>
                    </a:lnTo>
                    <a:lnTo>
                      <a:pt x="983" y="4"/>
                    </a:lnTo>
                    <a:lnTo>
                      <a:pt x="980" y="4"/>
                    </a:lnTo>
                    <a:lnTo>
                      <a:pt x="980" y="4"/>
                    </a:lnTo>
                    <a:lnTo>
                      <a:pt x="978" y="4"/>
                    </a:lnTo>
                    <a:lnTo>
                      <a:pt x="978" y="4"/>
                    </a:lnTo>
                    <a:lnTo>
                      <a:pt x="975" y="4"/>
                    </a:lnTo>
                    <a:lnTo>
                      <a:pt x="975" y="4"/>
                    </a:lnTo>
                    <a:lnTo>
                      <a:pt x="972" y="2"/>
                    </a:lnTo>
                    <a:lnTo>
                      <a:pt x="972" y="2"/>
                    </a:lnTo>
                    <a:lnTo>
                      <a:pt x="967" y="4"/>
                    </a:lnTo>
                    <a:lnTo>
                      <a:pt x="967" y="4"/>
                    </a:lnTo>
                    <a:lnTo>
                      <a:pt x="958" y="4"/>
                    </a:lnTo>
                    <a:lnTo>
                      <a:pt x="958" y="4"/>
                    </a:lnTo>
                    <a:lnTo>
                      <a:pt x="963" y="2"/>
                    </a:lnTo>
                    <a:lnTo>
                      <a:pt x="963" y="2"/>
                    </a:lnTo>
                    <a:lnTo>
                      <a:pt x="951" y="2"/>
                    </a:lnTo>
                    <a:lnTo>
                      <a:pt x="951" y="2"/>
                    </a:lnTo>
                    <a:lnTo>
                      <a:pt x="945" y="2"/>
                    </a:lnTo>
                    <a:lnTo>
                      <a:pt x="945" y="2"/>
                    </a:lnTo>
                    <a:lnTo>
                      <a:pt x="940" y="2"/>
                    </a:lnTo>
                    <a:lnTo>
                      <a:pt x="940" y="2"/>
                    </a:lnTo>
                    <a:lnTo>
                      <a:pt x="939" y="2"/>
                    </a:lnTo>
                    <a:lnTo>
                      <a:pt x="939" y="2"/>
                    </a:lnTo>
                    <a:lnTo>
                      <a:pt x="934" y="0"/>
                    </a:lnTo>
                    <a:lnTo>
                      <a:pt x="934" y="0"/>
                    </a:lnTo>
                    <a:lnTo>
                      <a:pt x="924" y="2"/>
                    </a:lnTo>
                    <a:lnTo>
                      <a:pt x="924" y="2"/>
                    </a:lnTo>
                    <a:lnTo>
                      <a:pt x="923" y="2"/>
                    </a:lnTo>
                    <a:lnTo>
                      <a:pt x="923" y="2"/>
                    </a:lnTo>
                    <a:lnTo>
                      <a:pt x="923" y="0"/>
                    </a:lnTo>
                    <a:lnTo>
                      <a:pt x="923" y="0"/>
                    </a:lnTo>
                    <a:lnTo>
                      <a:pt x="917" y="0"/>
                    </a:lnTo>
                    <a:lnTo>
                      <a:pt x="917" y="0"/>
                    </a:lnTo>
                    <a:lnTo>
                      <a:pt x="907" y="2"/>
                    </a:lnTo>
                    <a:lnTo>
                      <a:pt x="907" y="2"/>
                    </a:lnTo>
                    <a:lnTo>
                      <a:pt x="913" y="4"/>
                    </a:lnTo>
                    <a:lnTo>
                      <a:pt x="913" y="4"/>
                    </a:lnTo>
                    <a:lnTo>
                      <a:pt x="910" y="4"/>
                    </a:lnTo>
                    <a:lnTo>
                      <a:pt x="910" y="4"/>
                    </a:lnTo>
                    <a:lnTo>
                      <a:pt x="907" y="4"/>
                    </a:lnTo>
                    <a:lnTo>
                      <a:pt x="907" y="4"/>
                    </a:lnTo>
                    <a:lnTo>
                      <a:pt x="902" y="2"/>
                    </a:lnTo>
                    <a:lnTo>
                      <a:pt x="902" y="2"/>
                    </a:lnTo>
                    <a:lnTo>
                      <a:pt x="897" y="2"/>
                    </a:lnTo>
                    <a:lnTo>
                      <a:pt x="897" y="2"/>
                    </a:lnTo>
                    <a:lnTo>
                      <a:pt x="888" y="2"/>
                    </a:lnTo>
                    <a:lnTo>
                      <a:pt x="888" y="2"/>
                    </a:lnTo>
                    <a:lnTo>
                      <a:pt x="882" y="0"/>
                    </a:lnTo>
                    <a:lnTo>
                      <a:pt x="882" y="0"/>
                    </a:lnTo>
                    <a:lnTo>
                      <a:pt x="878" y="2"/>
                    </a:lnTo>
                    <a:lnTo>
                      <a:pt x="878" y="2"/>
                    </a:lnTo>
                    <a:lnTo>
                      <a:pt x="888" y="4"/>
                    </a:lnTo>
                    <a:lnTo>
                      <a:pt x="888" y="4"/>
                    </a:lnTo>
                    <a:lnTo>
                      <a:pt x="885" y="4"/>
                    </a:lnTo>
                    <a:lnTo>
                      <a:pt x="885" y="4"/>
                    </a:lnTo>
                    <a:lnTo>
                      <a:pt x="890" y="4"/>
                    </a:lnTo>
                    <a:lnTo>
                      <a:pt x="890" y="4"/>
                    </a:lnTo>
                    <a:lnTo>
                      <a:pt x="885" y="4"/>
                    </a:lnTo>
                    <a:lnTo>
                      <a:pt x="885" y="4"/>
                    </a:lnTo>
                    <a:lnTo>
                      <a:pt x="882" y="7"/>
                    </a:lnTo>
                    <a:lnTo>
                      <a:pt x="882" y="7"/>
                    </a:lnTo>
                    <a:lnTo>
                      <a:pt x="885" y="4"/>
                    </a:lnTo>
                    <a:lnTo>
                      <a:pt x="885" y="4"/>
                    </a:lnTo>
                    <a:lnTo>
                      <a:pt x="878" y="4"/>
                    </a:lnTo>
                    <a:lnTo>
                      <a:pt x="878" y="4"/>
                    </a:lnTo>
                    <a:lnTo>
                      <a:pt x="875" y="4"/>
                    </a:lnTo>
                    <a:lnTo>
                      <a:pt x="875" y="4"/>
                    </a:lnTo>
                    <a:lnTo>
                      <a:pt x="872" y="2"/>
                    </a:lnTo>
                    <a:lnTo>
                      <a:pt x="872" y="2"/>
                    </a:lnTo>
                    <a:lnTo>
                      <a:pt x="870" y="2"/>
                    </a:lnTo>
                    <a:lnTo>
                      <a:pt x="870" y="2"/>
                    </a:lnTo>
                    <a:lnTo>
                      <a:pt x="866" y="2"/>
                    </a:lnTo>
                    <a:lnTo>
                      <a:pt x="866" y="2"/>
                    </a:lnTo>
                    <a:lnTo>
                      <a:pt x="861" y="2"/>
                    </a:lnTo>
                    <a:lnTo>
                      <a:pt x="861" y="2"/>
                    </a:lnTo>
                    <a:lnTo>
                      <a:pt x="856" y="2"/>
                    </a:lnTo>
                    <a:lnTo>
                      <a:pt x="856" y="2"/>
                    </a:lnTo>
                    <a:lnTo>
                      <a:pt x="859" y="4"/>
                    </a:lnTo>
                    <a:lnTo>
                      <a:pt x="859" y="4"/>
                    </a:lnTo>
                    <a:lnTo>
                      <a:pt x="861" y="4"/>
                    </a:lnTo>
                    <a:lnTo>
                      <a:pt x="861" y="4"/>
                    </a:lnTo>
                    <a:lnTo>
                      <a:pt x="863" y="4"/>
                    </a:lnTo>
                    <a:lnTo>
                      <a:pt x="863" y="4"/>
                    </a:lnTo>
                    <a:lnTo>
                      <a:pt x="856" y="4"/>
                    </a:lnTo>
                    <a:lnTo>
                      <a:pt x="856" y="4"/>
                    </a:lnTo>
                    <a:lnTo>
                      <a:pt x="853" y="4"/>
                    </a:lnTo>
                    <a:lnTo>
                      <a:pt x="853" y="4"/>
                    </a:lnTo>
                    <a:lnTo>
                      <a:pt x="850" y="4"/>
                    </a:lnTo>
                    <a:lnTo>
                      <a:pt x="850" y="4"/>
                    </a:lnTo>
                    <a:lnTo>
                      <a:pt x="847" y="4"/>
                    </a:lnTo>
                    <a:lnTo>
                      <a:pt x="847" y="4"/>
                    </a:lnTo>
                    <a:lnTo>
                      <a:pt x="850" y="4"/>
                    </a:lnTo>
                    <a:lnTo>
                      <a:pt x="850" y="4"/>
                    </a:lnTo>
                    <a:lnTo>
                      <a:pt x="843" y="4"/>
                    </a:lnTo>
                    <a:lnTo>
                      <a:pt x="843" y="4"/>
                    </a:lnTo>
                    <a:lnTo>
                      <a:pt x="842" y="4"/>
                    </a:lnTo>
                    <a:lnTo>
                      <a:pt x="842" y="4"/>
                    </a:lnTo>
                    <a:lnTo>
                      <a:pt x="839" y="4"/>
                    </a:lnTo>
                    <a:lnTo>
                      <a:pt x="839" y="4"/>
                    </a:lnTo>
                    <a:lnTo>
                      <a:pt x="836" y="7"/>
                    </a:lnTo>
                    <a:lnTo>
                      <a:pt x="836" y="7"/>
                    </a:lnTo>
                    <a:lnTo>
                      <a:pt x="834" y="7"/>
                    </a:lnTo>
                    <a:lnTo>
                      <a:pt x="834" y="7"/>
                    </a:lnTo>
                    <a:lnTo>
                      <a:pt x="843" y="10"/>
                    </a:lnTo>
                    <a:lnTo>
                      <a:pt x="843" y="10"/>
                    </a:lnTo>
                    <a:lnTo>
                      <a:pt x="850" y="10"/>
                    </a:lnTo>
                    <a:lnTo>
                      <a:pt x="850" y="10"/>
                    </a:lnTo>
                    <a:lnTo>
                      <a:pt x="853" y="13"/>
                    </a:lnTo>
                    <a:lnTo>
                      <a:pt x="853" y="13"/>
                    </a:lnTo>
                    <a:lnTo>
                      <a:pt x="847" y="10"/>
                    </a:lnTo>
                    <a:lnTo>
                      <a:pt x="847" y="10"/>
                    </a:lnTo>
                    <a:lnTo>
                      <a:pt x="842" y="10"/>
                    </a:lnTo>
                    <a:lnTo>
                      <a:pt x="842" y="10"/>
                    </a:lnTo>
                    <a:lnTo>
                      <a:pt x="836" y="7"/>
                    </a:lnTo>
                    <a:lnTo>
                      <a:pt x="836" y="7"/>
                    </a:lnTo>
                    <a:lnTo>
                      <a:pt x="831" y="7"/>
                    </a:lnTo>
                    <a:lnTo>
                      <a:pt x="831" y="7"/>
                    </a:lnTo>
                    <a:lnTo>
                      <a:pt x="829" y="7"/>
                    </a:lnTo>
                    <a:lnTo>
                      <a:pt x="829" y="7"/>
                    </a:lnTo>
                    <a:lnTo>
                      <a:pt x="831" y="10"/>
                    </a:lnTo>
                    <a:lnTo>
                      <a:pt x="831" y="10"/>
                    </a:lnTo>
                    <a:lnTo>
                      <a:pt x="826" y="10"/>
                    </a:lnTo>
                    <a:lnTo>
                      <a:pt x="826" y="10"/>
                    </a:lnTo>
                    <a:lnTo>
                      <a:pt x="828" y="7"/>
                    </a:lnTo>
                    <a:lnTo>
                      <a:pt x="828" y="7"/>
                    </a:lnTo>
                    <a:lnTo>
                      <a:pt x="824" y="7"/>
                    </a:lnTo>
                    <a:lnTo>
                      <a:pt x="824" y="7"/>
                    </a:lnTo>
                    <a:lnTo>
                      <a:pt x="823" y="7"/>
                    </a:lnTo>
                    <a:lnTo>
                      <a:pt x="823" y="7"/>
                    </a:lnTo>
                    <a:lnTo>
                      <a:pt x="818" y="7"/>
                    </a:lnTo>
                    <a:lnTo>
                      <a:pt x="818" y="7"/>
                    </a:lnTo>
                    <a:lnTo>
                      <a:pt x="818" y="7"/>
                    </a:lnTo>
                    <a:lnTo>
                      <a:pt x="818" y="7"/>
                    </a:lnTo>
                    <a:lnTo>
                      <a:pt x="815" y="7"/>
                    </a:lnTo>
                    <a:lnTo>
                      <a:pt x="815" y="7"/>
                    </a:lnTo>
                    <a:lnTo>
                      <a:pt x="810" y="7"/>
                    </a:lnTo>
                    <a:lnTo>
                      <a:pt x="810" y="7"/>
                    </a:lnTo>
                    <a:lnTo>
                      <a:pt x="812" y="7"/>
                    </a:lnTo>
                    <a:lnTo>
                      <a:pt x="812" y="7"/>
                    </a:lnTo>
                    <a:lnTo>
                      <a:pt x="805" y="7"/>
                    </a:lnTo>
                    <a:lnTo>
                      <a:pt x="805" y="7"/>
                    </a:lnTo>
                    <a:lnTo>
                      <a:pt x="802" y="7"/>
                    </a:lnTo>
                    <a:lnTo>
                      <a:pt x="802" y="7"/>
                    </a:lnTo>
                    <a:lnTo>
                      <a:pt x="799" y="10"/>
                    </a:lnTo>
                    <a:lnTo>
                      <a:pt x="799" y="10"/>
                    </a:lnTo>
                    <a:lnTo>
                      <a:pt x="797" y="10"/>
                    </a:lnTo>
                    <a:lnTo>
                      <a:pt x="797" y="10"/>
                    </a:lnTo>
                    <a:lnTo>
                      <a:pt x="794" y="10"/>
                    </a:lnTo>
                    <a:lnTo>
                      <a:pt x="794" y="10"/>
                    </a:lnTo>
                    <a:lnTo>
                      <a:pt x="794" y="10"/>
                    </a:lnTo>
                    <a:lnTo>
                      <a:pt x="794" y="10"/>
                    </a:lnTo>
                    <a:lnTo>
                      <a:pt x="788" y="10"/>
                    </a:lnTo>
                    <a:lnTo>
                      <a:pt x="788" y="10"/>
                    </a:lnTo>
                    <a:lnTo>
                      <a:pt x="782" y="10"/>
                    </a:lnTo>
                    <a:lnTo>
                      <a:pt x="782" y="10"/>
                    </a:lnTo>
                    <a:lnTo>
                      <a:pt x="777" y="10"/>
                    </a:lnTo>
                    <a:lnTo>
                      <a:pt x="777" y="10"/>
                    </a:lnTo>
                    <a:lnTo>
                      <a:pt x="774" y="10"/>
                    </a:lnTo>
                    <a:lnTo>
                      <a:pt x="774" y="10"/>
                    </a:lnTo>
                    <a:lnTo>
                      <a:pt x="767" y="10"/>
                    </a:lnTo>
                    <a:lnTo>
                      <a:pt x="767" y="10"/>
                    </a:lnTo>
                    <a:lnTo>
                      <a:pt x="753" y="13"/>
                    </a:lnTo>
                    <a:lnTo>
                      <a:pt x="753" y="13"/>
                    </a:lnTo>
                    <a:lnTo>
                      <a:pt x="763" y="13"/>
                    </a:lnTo>
                    <a:lnTo>
                      <a:pt x="763" y="13"/>
                    </a:lnTo>
                    <a:lnTo>
                      <a:pt x="766" y="13"/>
                    </a:lnTo>
                    <a:lnTo>
                      <a:pt x="766" y="13"/>
                    </a:lnTo>
                    <a:lnTo>
                      <a:pt x="759" y="15"/>
                    </a:lnTo>
                    <a:lnTo>
                      <a:pt x="759" y="15"/>
                    </a:lnTo>
                    <a:lnTo>
                      <a:pt x="763" y="15"/>
                    </a:lnTo>
                    <a:lnTo>
                      <a:pt x="763" y="15"/>
                    </a:lnTo>
                    <a:lnTo>
                      <a:pt x="764" y="15"/>
                    </a:lnTo>
                    <a:lnTo>
                      <a:pt x="764" y="15"/>
                    </a:lnTo>
                    <a:lnTo>
                      <a:pt x="769" y="15"/>
                    </a:lnTo>
                    <a:lnTo>
                      <a:pt x="769" y="15"/>
                    </a:lnTo>
                    <a:lnTo>
                      <a:pt x="764" y="16"/>
                    </a:lnTo>
                    <a:lnTo>
                      <a:pt x="764" y="16"/>
                    </a:lnTo>
                    <a:lnTo>
                      <a:pt x="759" y="16"/>
                    </a:lnTo>
                    <a:lnTo>
                      <a:pt x="759" y="16"/>
                    </a:lnTo>
                    <a:lnTo>
                      <a:pt x="763" y="18"/>
                    </a:lnTo>
                    <a:lnTo>
                      <a:pt x="763" y="18"/>
                    </a:lnTo>
                    <a:lnTo>
                      <a:pt x="763" y="18"/>
                    </a:lnTo>
                    <a:lnTo>
                      <a:pt x="763" y="18"/>
                    </a:lnTo>
                    <a:lnTo>
                      <a:pt x="766" y="18"/>
                    </a:lnTo>
                    <a:lnTo>
                      <a:pt x="766" y="18"/>
                    </a:lnTo>
                    <a:lnTo>
                      <a:pt x="774" y="18"/>
                    </a:lnTo>
                    <a:lnTo>
                      <a:pt x="774" y="18"/>
                    </a:lnTo>
                    <a:lnTo>
                      <a:pt x="763" y="19"/>
                    </a:lnTo>
                    <a:lnTo>
                      <a:pt x="763" y="19"/>
                    </a:lnTo>
                    <a:lnTo>
                      <a:pt x="769" y="23"/>
                    </a:lnTo>
                    <a:lnTo>
                      <a:pt x="769" y="23"/>
                    </a:lnTo>
                    <a:lnTo>
                      <a:pt x="777" y="23"/>
                    </a:lnTo>
                    <a:lnTo>
                      <a:pt x="777" y="23"/>
                    </a:lnTo>
                    <a:lnTo>
                      <a:pt x="788" y="19"/>
                    </a:lnTo>
                    <a:lnTo>
                      <a:pt x="788" y="19"/>
                    </a:lnTo>
                    <a:lnTo>
                      <a:pt x="786" y="21"/>
                    </a:lnTo>
                    <a:lnTo>
                      <a:pt x="786" y="21"/>
                    </a:lnTo>
                    <a:lnTo>
                      <a:pt x="782" y="23"/>
                    </a:lnTo>
                    <a:lnTo>
                      <a:pt x="782" y="23"/>
                    </a:lnTo>
                    <a:lnTo>
                      <a:pt x="786" y="23"/>
                    </a:lnTo>
                    <a:lnTo>
                      <a:pt x="786" y="23"/>
                    </a:lnTo>
                    <a:lnTo>
                      <a:pt x="788" y="23"/>
                    </a:lnTo>
                    <a:lnTo>
                      <a:pt x="788" y="23"/>
                    </a:lnTo>
                    <a:lnTo>
                      <a:pt x="788" y="23"/>
                    </a:lnTo>
                    <a:lnTo>
                      <a:pt x="788" y="23"/>
                    </a:lnTo>
                    <a:lnTo>
                      <a:pt x="794" y="23"/>
                    </a:lnTo>
                    <a:lnTo>
                      <a:pt x="794" y="23"/>
                    </a:lnTo>
                    <a:lnTo>
                      <a:pt x="802" y="23"/>
                    </a:lnTo>
                    <a:lnTo>
                      <a:pt x="802" y="23"/>
                    </a:lnTo>
                    <a:lnTo>
                      <a:pt x="807" y="21"/>
                    </a:lnTo>
                    <a:lnTo>
                      <a:pt x="807" y="21"/>
                    </a:lnTo>
                    <a:lnTo>
                      <a:pt x="812" y="21"/>
                    </a:lnTo>
                    <a:lnTo>
                      <a:pt x="812" y="21"/>
                    </a:lnTo>
                    <a:lnTo>
                      <a:pt x="809" y="23"/>
                    </a:lnTo>
                    <a:lnTo>
                      <a:pt x="809" y="23"/>
                    </a:lnTo>
                    <a:lnTo>
                      <a:pt x="828" y="21"/>
                    </a:lnTo>
                    <a:lnTo>
                      <a:pt x="828" y="21"/>
                    </a:lnTo>
                    <a:lnTo>
                      <a:pt x="837" y="19"/>
                    </a:lnTo>
                    <a:lnTo>
                      <a:pt x="837" y="19"/>
                    </a:lnTo>
                    <a:lnTo>
                      <a:pt x="847" y="18"/>
                    </a:lnTo>
                    <a:lnTo>
                      <a:pt x="847" y="18"/>
                    </a:lnTo>
                    <a:lnTo>
                      <a:pt x="843" y="16"/>
                    </a:lnTo>
                    <a:lnTo>
                      <a:pt x="843" y="16"/>
                    </a:lnTo>
                    <a:lnTo>
                      <a:pt x="847" y="18"/>
                    </a:lnTo>
                    <a:lnTo>
                      <a:pt x="847" y="18"/>
                    </a:lnTo>
                    <a:lnTo>
                      <a:pt x="843" y="19"/>
                    </a:lnTo>
                    <a:lnTo>
                      <a:pt x="843" y="19"/>
                    </a:lnTo>
                    <a:lnTo>
                      <a:pt x="847" y="19"/>
                    </a:lnTo>
                    <a:lnTo>
                      <a:pt x="847" y="19"/>
                    </a:lnTo>
                    <a:lnTo>
                      <a:pt x="834" y="23"/>
                    </a:lnTo>
                    <a:lnTo>
                      <a:pt x="834" y="23"/>
                    </a:lnTo>
                    <a:lnTo>
                      <a:pt x="842" y="23"/>
                    </a:lnTo>
                    <a:lnTo>
                      <a:pt x="842" y="23"/>
                    </a:lnTo>
                    <a:lnTo>
                      <a:pt x="850" y="23"/>
                    </a:lnTo>
                    <a:lnTo>
                      <a:pt x="850" y="23"/>
                    </a:lnTo>
                    <a:lnTo>
                      <a:pt x="826" y="24"/>
                    </a:lnTo>
                    <a:lnTo>
                      <a:pt x="826" y="24"/>
                    </a:lnTo>
                    <a:lnTo>
                      <a:pt x="815" y="24"/>
                    </a:lnTo>
                    <a:lnTo>
                      <a:pt x="815" y="24"/>
                    </a:lnTo>
                    <a:lnTo>
                      <a:pt x="810" y="24"/>
                    </a:lnTo>
                    <a:lnTo>
                      <a:pt x="810" y="24"/>
                    </a:lnTo>
                    <a:lnTo>
                      <a:pt x="805" y="26"/>
                    </a:lnTo>
                    <a:lnTo>
                      <a:pt x="805" y="26"/>
                    </a:lnTo>
                    <a:lnTo>
                      <a:pt x="810" y="27"/>
                    </a:lnTo>
                    <a:lnTo>
                      <a:pt x="810" y="27"/>
                    </a:lnTo>
                    <a:lnTo>
                      <a:pt x="815" y="29"/>
                    </a:lnTo>
                    <a:lnTo>
                      <a:pt x="815" y="29"/>
                    </a:lnTo>
                    <a:lnTo>
                      <a:pt x="813" y="29"/>
                    </a:lnTo>
                    <a:lnTo>
                      <a:pt x="813" y="29"/>
                    </a:lnTo>
                    <a:lnTo>
                      <a:pt x="810" y="31"/>
                    </a:lnTo>
                    <a:lnTo>
                      <a:pt x="810" y="31"/>
                    </a:lnTo>
                    <a:lnTo>
                      <a:pt x="815" y="32"/>
                    </a:lnTo>
                    <a:lnTo>
                      <a:pt x="815" y="32"/>
                    </a:lnTo>
                    <a:lnTo>
                      <a:pt x="812" y="32"/>
                    </a:lnTo>
                    <a:lnTo>
                      <a:pt x="812" y="32"/>
                    </a:lnTo>
                    <a:lnTo>
                      <a:pt x="809" y="32"/>
                    </a:lnTo>
                    <a:lnTo>
                      <a:pt x="809" y="32"/>
                    </a:lnTo>
                    <a:lnTo>
                      <a:pt x="809" y="31"/>
                    </a:lnTo>
                    <a:lnTo>
                      <a:pt x="809" y="31"/>
                    </a:lnTo>
                    <a:lnTo>
                      <a:pt x="807" y="29"/>
                    </a:lnTo>
                    <a:lnTo>
                      <a:pt x="807" y="29"/>
                    </a:lnTo>
                    <a:lnTo>
                      <a:pt x="801" y="27"/>
                    </a:lnTo>
                    <a:lnTo>
                      <a:pt x="801" y="27"/>
                    </a:lnTo>
                    <a:lnTo>
                      <a:pt x="797" y="26"/>
                    </a:lnTo>
                    <a:lnTo>
                      <a:pt x="797" y="26"/>
                    </a:lnTo>
                    <a:lnTo>
                      <a:pt x="794" y="26"/>
                    </a:lnTo>
                    <a:lnTo>
                      <a:pt x="794" y="26"/>
                    </a:lnTo>
                    <a:lnTo>
                      <a:pt x="788" y="26"/>
                    </a:lnTo>
                    <a:lnTo>
                      <a:pt x="788" y="26"/>
                    </a:lnTo>
                    <a:lnTo>
                      <a:pt x="782" y="26"/>
                    </a:lnTo>
                    <a:lnTo>
                      <a:pt x="782" y="26"/>
                    </a:lnTo>
                    <a:lnTo>
                      <a:pt x="778" y="26"/>
                    </a:lnTo>
                    <a:lnTo>
                      <a:pt x="778" y="26"/>
                    </a:lnTo>
                    <a:lnTo>
                      <a:pt x="777" y="27"/>
                    </a:lnTo>
                    <a:lnTo>
                      <a:pt x="777" y="27"/>
                    </a:lnTo>
                    <a:lnTo>
                      <a:pt x="778" y="29"/>
                    </a:lnTo>
                    <a:lnTo>
                      <a:pt x="778" y="29"/>
                    </a:lnTo>
                    <a:lnTo>
                      <a:pt x="777" y="29"/>
                    </a:lnTo>
                    <a:lnTo>
                      <a:pt x="777" y="29"/>
                    </a:lnTo>
                    <a:lnTo>
                      <a:pt x="775" y="29"/>
                    </a:lnTo>
                    <a:lnTo>
                      <a:pt x="775" y="29"/>
                    </a:lnTo>
                    <a:lnTo>
                      <a:pt x="774" y="31"/>
                    </a:lnTo>
                    <a:lnTo>
                      <a:pt x="774" y="31"/>
                    </a:lnTo>
                    <a:lnTo>
                      <a:pt x="777" y="31"/>
                    </a:lnTo>
                    <a:lnTo>
                      <a:pt x="777" y="31"/>
                    </a:lnTo>
                    <a:lnTo>
                      <a:pt x="780" y="32"/>
                    </a:lnTo>
                    <a:lnTo>
                      <a:pt x="780" y="32"/>
                    </a:lnTo>
                    <a:lnTo>
                      <a:pt x="782" y="34"/>
                    </a:lnTo>
                    <a:lnTo>
                      <a:pt x="782" y="34"/>
                    </a:lnTo>
                    <a:lnTo>
                      <a:pt x="783" y="34"/>
                    </a:lnTo>
                    <a:lnTo>
                      <a:pt x="783" y="34"/>
                    </a:lnTo>
                    <a:lnTo>
                      <a:pt x="782" y="37"/>
                    </a:lnTo>
                    <a:lnTo>
                      <a:pt x="782" y="37"/>
                    </a:lnTo>
                    <a:lnTo>
                      <a:pt x="785" y="37"/>
                    </a:lnTo>
                    <a:lnTo>
                      <a:pt x="785" y="37"/>
                    </a:lnTo>
                    <a:lnTo>
                      <a:pt x="788" y="38"/>
                    </a:lnTo>
                    <a:lnTo>
                      <a:pt x="788" y="38"/>
                    </a:lnTo>
                    <a:lnTo>
                      <a:pt x="782" y="38"/>
                    </a:lnTo>
                    <a:lnTo>
                      <a:pt x="782" y="38"/>
                    </a:lnTo>
                    <a:lnTo>
                      <a:pt x="778" y="37"/>
                    </a:lnTo>
                    <a:lnTo>
                      <a:pt x="778" y="37"/>
                    </a:lnTo>
                    <a:lnTo>
                      <a:pt x="777" y="38"/>
                    </a:lnTo>
                    <a:lnTo>
                      <a:pt x="777" y="38"/>
                    </a:lnTo>
                    <a:lnTo>
                      <a:pt x="788" y="38"/>
                    </a:lnTo>
                    <a:lnTo>
                      <a:pt x="788" y="38"/>
                    </a:lnTo>
                    <a:lnTo>
                      <a:pt x="791" y="38"/>
                    </a:lnTo>
                    <a:lnTo>
                      <a:pt x="791" y="38"/>
                    </a:lnTo>
                    <a:lnTo>
                      <a:pt x="786" y="42"/>
                    </a:lnTo>
                    <a:lnTo>
                      <a:pt x="786" y="42"/>
                    </a:lnTo>
                    <a:lnTo>
                      <a:pt x="791" y="42"/>
                    </a:lnTo>
                    <a:lnTo>
                      <a:pt x="791" y="42"/>
                    </a:lnTo>
                    <a:lnTo>
                      <a:pt x="788" y="42"/>
                    </a:lnTo>
                    <a:lnTo>
                      <a:pt x="788" y="42"/>
                    </a:lnTo>
                    <a:lnTo>
                      <a:pt x="788" y="42"/>
                    </a:lnTo>
                    <a:lnTo>
                      <a:pt x="788" y="42"/>
                    </a:lnTo>
                    <a:lnTo>
                      <a:pt x="783" y="42"/>
                    </a:lnTo>
                    <a:lnTo>
                      <a:pt x="783" y="42"/>
                    </a:lnTo>
                    <a:lnTo>
                      <a:pt x="777" y="38"/>
                    </a:lnTo>
                    <a:lnTo>
                      <a:pt x="777" y="38"/>
                    </a:lnTo>
                    <a:lnTo>
                      <a:pt x="770" y="38"/>
                    </a:lnTo>
                    <a:lnTo>
                      <a:pt x="770" y="38"/>
                    </a:lnTo>
                    <a:lnTo>
                      <a:pt x="759" y="38"/>
                    </a:lnTo>
                    <a:lnTo>
                      <a:pt x="759" y="38"/>
                    </a:lnTo>
                    <a:lnTo>
                      <a:pt x="756" y="42"/>
                    </a:lnTo>
                    <a:lnTo>
                      <a:pt x="756" y="42"/>
                    </a:lnTo>
                    <a:lnTo>
                      <a:pt x="753" y="42"/>
                    </a:lnTo>
                    <a:lnTo>
                      <a:pt x="753" y="42"/>
                    </a:lnTo>
                    <a:lnTo>
                      <a:pt x="748" y="45"/>
                    </a:lnTo>
                    <a:lnTo>
                      <a:pt x="748" y="45"/>
                    </a:lnTo>
                    <a:lnTo>
                      <a:pt x="745" y="45"/>
                    </a:lnTo>
                    <a:lnTo>
                      <a:pt x="745" y="45"/>
                    </a:lnTo>
                    <a:lnTo>
                      <a:pt x="745" y="48"/>
                    </a:lnTo>
                    <a:lnTo>
                      <a:pt x="745" y="48"/>
                    </a:lnTo>
                    <a:lnTo>
                      <a:pt x="747" y="48"/>
                    </a:lnTo>
                    <a:lnTo>
                      <a:pt x="747" y="48"/>
                    </a:lnTo>
                    <a:lnTo>
                      <a:pt x="751" y="48"/>
                    </a:lnTo>
                    <a:lnTo>
                      <a:pt x="751" y="48"/>
                    </a:lnTo>
                    <a:lnTo>
                      <a:pt x="759" y="45"/>
                    </a:lnTo>
                    <a:lnTo>
                      <a:pt x="759" y="45"/>
                    </a:lnTo>
                    <a:lnTo>
                      <a:pt x="756" y="48"/>
                    </a:lnTo>
                    <a:lnTo>
                      <a:pt x="756" y="48"/>
                    </a:lnTo>
                    <a:lnTo>
                      <a:pt x="753" y="48"/>
                    </a:lnTo>
                    <a:lnTo>
                      <a:pt x="753" y="48"/>
                    </a:lnTo>
                    <a:lnTo>
                      <a:pt x="756" y="48"/>
                    </a:lnTo>
                    <a:lnTo>
                      <a:pt x="756" y="48"/>
                    </a:lnTo>
                    <a:lnTo>
                      <a:pt x="763" y="48"/>
                    </a:lnTo>
                    <a:lnTo>
                      <a:pt x="763" y="48"/>
                    </a:lnTo>
                    <a:lnTo>
                      <a:pt x="766" y="45"/>
                    </a:lnTo>
                    <a:lnTo>
                      <a:pt x="766" y="45"/>
                    </a:lnTo>
                    <a:lnTo>
                      <a:pt x="770" y="42"/>
                    </a:lnTo>
                    <a:lnTo>
                      <a:pt x="770" y="42"/>
                    </a:lnTo>
                    <a:lnTo>
                      <a:pt x="767" y="45"/>
                    </a:lnTo>
                    <a:lnTo>
                      <a:pt x="767" y="45"/>
                    </a:lnTo>
                    <a:lnTo>
                      <a:pt x="767" y="45"/>
                    </a:lnTo>
                    <a:lnTo>
                      <a:pt x="767" y="45"/>
                    </a:lnTo>
                    <a:lnTo>
                      <a:pt x="766" y="45"/>
                    </a:lnTo>
                    <a:lnTo>
                      <a:pt x="766" y="45"/>
                    </a:lnTo>
                    <a:lnTo>
                      <a:pt x="764" y="48"/>
                    </a:lnTo>
                    <a:lnTo>
                      <a:pt x="764" y="48"/>
                    </a:lnTo>
                    <a:lnTo>
                      <a:pt x="763" y="48"/>
                    </a:lnTo>
                    <a:lnTo>
                      <a:pt x="763" y="48"/>
                    </a:lnTo>
                    <a:lnTo>
                      <a:pt x="753" y="50"/>
                    </a:lnTo>
                    <a:lnTo>
                      <a:pt x="753" y="50"/>
                    </a:lnTo>
                    <a:lnTo>
                      <a:pt x="756" y="50"/>
                    </a:lnTo>
                    <a:lnTo>
                      <a:pt x="756" y="50"/>
                    </a:lnTo>
                    <a:lnTo>
                      <a:pt x="759" y="50"/>
                    </a:lnTo>
                    <a:lnTo>
                      <a:pt x="759" y="50"/>
                    </a:lnTo>
                    <a:lnTo>
                      <a:pt x="756" y="51"/>
                    </a:lnTo>
                    <a:lnTo>
                      <a:pt x="756" y="51"/>
                    </a:lnTo>
                    <a:lnTo>
                      <a:pt x="753" y="53"/>
                    </a:lnTo>
                    <a:lnTo>
                      <a:pt x="753" y="53"/>
                    </a:lnTo>
                    <a:lnTo>
                      <a:pt x="763" y="51"/>
                    </a:lnTo>
                    <a:lnTo>
                      <a:pt x="763" y="51"/>
                    </a:lnTo>
                    <a:lnTo>
                      <a:pt x="756" y="54"/>
                    </a:lnTo>
                    <a:lnTo>
                      <a:pt x="756" y="54"/>
                    </a:lnTo>
                    <a:lnTo>
                      <a:pt x="763" y="54"/>
                    </a:lnTo>
                    <a:lnTo>
                      <a:pt x="763" y="54"/>
                    </a:lnTo>
                    <a:lnTo>
                      <a:pt x="756" y="56"/>
                    </a:lnTo>
                    <a:lnTo>
                      <a:pt x="756" y="56"/>
                    </a:lnTo>
                    <a:lnTo>
                      <a:pt x="756" y="56"/>
                    </a:lnTo>
                    <a:lnTo>
                      <a:pt x="756" y="56"/>
                    </a:lnTo>
                    <a:lnTo>
                      <a:pt x="753" y="56"/>
                    </a:lnTo>
                    <a:lnTo>
                      <a:pt x="753" y="56"/>
                    </a:lnTo>
                    <a:lnTo>
                      <a:pt x="747" y="54"/>
                    </a:lnTo>
                    <a:lnTo>
                      <a:pt x="747" y="54"/>
                    </a:lnTo>
                    <a:lnTo>
                      <a:pt x="750" y="53"/>
                    </a:lnTo>
                    <a:lnTo>
                      <a:pt x="750" y="53"/>
                    </a:lnTo>
                    <a:lnTo>
                      <a:pt x="748" y="51"/>
                    </a:lnTo>
                    <a:lnTo>
                      <a:pt x="748" y="51"/>
                    </a:lnTo>
                    <a:lnTo>
                      <a:pt x="743" y="50"/>
                    </a:lnTo>
                    <a:lnTo>
                      <a:pt x="743" y="50"/>
                    </a:lnTo>
                    <a:lnTo>
                      <a:pt x="736" y="50"/>
                    </a:lnTo>
                    <a:lnTo>
                      <a:pt x="736" y="50"/>
                    </a:lnTo>
                    <a:lnTo>
                      <a:pt x="732" y="51"/>
                    </a:lnTo>
                    <a:lnTo>
                      <a:pt x="732" y="51"/>
                    </a:lnTo>
                    <a:lnTo>
                      <a:pt x="729" y="53"/>
                    </a:lnTo>
                    <a:lnTo>
                      <a:pt x="729" y="53"/>
                    </a:lnTo>
                    <a:lnTo>
                      <a:pt x="731" y="54"/>
                    </a:lnTo>
                    <a:lnTo>
                      <a:pt x="731" y="54"/>
                    </a:lnTo>
                    <a:lnTo>
                      <a:pt x="731" y="56"/>
                    </a:lnTo>
                    <a:lnTo>
                      <a:pt x="731" y="56"/>
                    </a:lnTo>
                    <a:lnTo>
                      <a:pt x="732" y="56"/>
                    </a:lnTo>
                    <a:lnTo>
                      <a:pt x="732" y="56"/>
                    </a:lnTo>
                    <a:lnTo>
                      <a:pt x="734" y="56"/>
                    </a:lnTo>
                    <a:lnTo>
                      <a:pt x="734" y="56"/>
                    </a:lnTo>
                    <a:lnTo>
                      <a:pt x="732" y="58"/>
                    </a:lnTo>
                    <a:lnTo>
                      <a:pt x="732" y="58"/>
                    </a:lnTo>
                    <a:lnTo>
                      <a:pt x="728" y="59"/>
                    </a:lnTo>
                    <a:lnTo>
                      <a:pt x="728" y="59"/>
                    </a:lnTo>
                    <a:lnTo>
                      <a:pt x="718" y="59"/>
                    </a:lnTo>
                    <a:lnTo>
                      <a:pt x="718" y="59"/>
                    </a:lnTo>
                    <a:lnTo>
                      <a:pt x="715" y="59"/>
                    </a:lnTo>
                    <a:lnTo>
                      <a:pt x="715" y="59"/>
                    </a:lnTo>
                    <a:lnTo>
                      <a:pt x="710" y="61"/>
                    </a:lnTo>
                    <a:lnTo>
                      <a:pt x="710" y="61"/>
                    </a:lnTo>
                    <a:lnTo>
                      <a:pt x="709" y="62"/>
                    </a:lnTo>
                    <a:lnTo>
                      <a:pt x="709" y="62"/>
                    </a:lnTo>
                    <a:lnTo>
                      <a:pt x="704" y="65"/>
                    </a:lnTo>
                    <a:lnTo>
                      <a:pt x="704" y="65"/>
                    </a:lnTo>
                    <a:lnTo>
                      <a:pt x="705" y="65"/>
                    </a:lnTo>
                    <a:lnTo>
                      <a:pt x="705" y="65"/>
                    </a:lnTo>
                    <a:lnTo>
                      <a:pt x="707" y="67"/>
                    </a:lnTo>
                    <a:lnTo>
                      <a:pt x="707" y="67"/>
                    </a:lnTo>
                    <a:lnTo>
                      <a:pt x="710" y="65"/>
                    </a:lnTo>
                    <a:lnTo>
                      <a:pt x="710" y="65"/>
                    </a:lnTo>
                    <a:lnTo>
                      <a:pt x="712" y="64"/>
                    </a:lnTo>
                    <a:lnTo>
                      <a:pt x="712" y="64"/>
                    </a:lnTo>
                    <a:lnTo>
                      <a:pt x="710" y="67"/>
                    </a:lnTo>
                    <a:lnTo>
                      <a:pt x="710" y="67"/>
                    </a:lnTo>
                    <a:lnTo>
                      <a:pt x="712" y="65"/>
                    </a:lnTo>
                    <a:lnTo>
                      <a:pt x="712" y="65"/>
                    </a:lnTo>
                    <a:lnTo>
                      <a:pt x="713" y="64"/>
                    </a:lnTo>
                    <a:lnTo>
                      <a:pt x="713" y="64"/>
                    </a:lnTo>
                    <a:lnTo>
                      <a:pt x="715" y="62"/>
                    </a:lnTo>
                    <a:lnTo>
                      <a:pt x="715" y="62"/>
                    </a:lnTo>
                    <a:lnTo>
                      <a:pt x="716" y="62"/>
                    </a:lnTo>
                    <a:lnTo>
                      <a:pt x="716" y="62"/>
                    </a:lnTo>
                    <a:lnTo>
                      <a:pt x="715" y="64"/>
                    </a:lnTo>
                    <a:lnTo>
                      <a:pt x="715" y="64"/>
                    </a:lnTo>
                    <a:lnTo>
                      <a:pt x="713" y="67"/>
                    </a:lnTo>
                    <a:lnTo>
                      <a:pt x="713" y="67"/>
                    </a:lnTo>
                    <a:lnTo>
                      <a:pt x="718" y="67"/>
                    </a:lnTo>
                    <a:lnTo>
                      <a:pt x="718" y="67"/>
                    </a:lnTo>
                    <a:lnTo>
                      <a:pt x="721" y="65"/>
                    </a:lnTo>
                    <a:lnTo>
                      <a:pt x="721" y="65"/>
                    </a:lnTo>
                    <a:lnTo>
                      <a:pt x="721" y="64"/>
                    </a:lnTo>
                    <a:lnTo>
                      <a:pt x="721" y="64"/>
                    </a:lnTo>
                    <a:lnTo>
                      <a:pt x="721" y="65"/>
                    </a:lnTo>
                    <a:lnTo>
                      <a:pt x="721" y="65"/>
                    </a:lnTo>
                    <a:lnTo>
                      <a:pt x="724" y="67"/>
                    </a:lnTo>
                    <a:lnTo>
                      <a:pt x="724" y="67"/>
                    </a:lnTo>
                    <a:lnTo>
                      <a:pt x="728" y="67"/>
                    </a:lnTo>
                    <a:lnTo>
                      <a:pt x="728" y="67"/>
                    </a:lnTo>
                    <a:lnTo>
                      <a:pt x="729" y="65"/>
                    </a:lnTo>
                    <a:lnTo>
                      <a:pt x="729" y="65"/>
                    </a:lnTo>
                    <a:lnTo>
                      <a:pt x="731" y="64"/>
                    </a:lnTo>
                    <a:lnTo>
                      <a:pt x="731" y="64"/>
                    </a:lnTo>
                    <a:lnTo>
                      <a:pt x="732" y="65"/>
                    </a:lnTo>
                    <a:lnTo>
                      <a:pt x="732" y="65"/>
                    </a:lnTo>
                    <a:lnTo>
                      <a:pt x="729" y="67"/>
                    </a:lnTo>
                    <a:lnTo>
                      <a:pt x="729" y="67"/>
                    </a:lnTo>
                    <a:lnTo>
                      <a:pt x="737" y="67"/>
                    </a:lnTo>
                    <a:lnTo>
                      <a:pt x="737" y="67"/>
                    </a:lnTo>
                    <a:lnTo>
                      <a:pt x="745" y="67"/>
                    </a:lnTo>
                    <a:lnTo>
                      <a:pt x="745" y="67"/>
                    </a:lnTo>
                    <a:lnTo>
                      <a:pt x="742" y="65"/>
                    </a:lnTo>
                    <a:lnTo>
                      <a:pt x="742" y="65"/>
                    </a:lnTo>
                    <a:lnTo>
                      <a:pt x="743" y="64"/>
                    </a:lnTo>
                    <a:lnTo>
                      <a:pt x="743" y="64"/>
                    </a:lnTo>
                    <a:lnTo>
                      <a:pt x="745" y="65"/>
                    </a:lnTo>
                    <a:lnTo>
                      <a:pt x="745" y="65"/>
                    </a:lnTo>
                    <a:lnTo>
                      <a:pt x="747" y="65"/>
                    </a:lnTo>
                    <a:lnTo>
                      <a:pt x="747" y="65"/>
                    </a:lnTo>
                    <a:lnTo>
                      <a:pt x="751" y="64"/>
                    </a:lnTo>
                    <a:lnTo>
                      <a:pt x="751" y="64"/>
                    </a:lnTo>
                    <a:lnTo>
                      <a:pt x="751" y="65"/>
                    </a:lnTo>
                    <a:lnTo>
                      <a:pt x="751" y="65"/>
                    </a:lnTo>
                    <a:lnTo>
                      <a:pt x="753" y="65"/>
                    </a:lnTo>
                    <a:lnTo>
                      <a:pt x="753" y="65"/>
                    </a:lnTo>
                    <a:lnTo>
                      <a:pt x="756" y="65"/>
                    </a:lnTo>
                    <a:lnTo>
                      <a:pt x="756" y="65"/>
                    </a:lnTo>
                    <a:lnTo>
                      <a:pt x="756" y="65"/>
                    </a:lnTo>
                    <a:lnTo>
                      <a:pt x="756" y="65"/>
                    </a:lnTo>
                    <a:lnTo>
                      <a:pt x="756" y="64"/>
                    </a:lnTo>
                    <a:lnTo>
                      <a:pt x="756" y="64"/>
                    </a:lnTo>
                    <a:lnTo>
                      <a:pt x="759" y="64"/>
                    </a:lnTo>
                    <a:lnTo>
                      <a:pt x="759" y="64"/>
                    </a:lnTo>
                    <a:lnTo>
                      <a:pt x="759" y="65"/>
                    </a:lnTo>
                    <a:lnTo>
                      <a:pt x="759" y="65"/>
                    </a:lnTo>
                    <a:lnTo>
                      <a:pt x="763" y="67"/>
                    </a:lnTo>
                    <a:lnTo>
                      <a:pt x="763" y="67"/>
                    </a:lnTo>
                    <a:lnTo>
                      <a:pt x="764" y="65"/>
                    </a:lnTo>
                    <a:lnTo>
                      <a:pt x="764" y="65"/>
                    </a:lnTo>
                    <a:lnTo>
                      <a:pt x="766" y="64"/>
                    </a:lnTo>
                    <a:lnTo>
                      <a:pt x="766" y="64"/>
                    </a:lnTo>
                    <a:lnTo>
                      <a:pt x="767" y="64"/>
                    </a:lnTo>
                    <a:lnTo>
                      <a:pt x="767" y="64"/>
                    </a:lnTo>
                    <a:lnTo>
                      <a:pt x="769" y="64"/>
                    </a:lnTo>
                    <a:lnTo>
                      <a:pt x="769" y="64"/>
                    </a:lnTo>
                    <a:lnTo>
                      <a:pt x="767" y="65"/>
                    </a:lnTo>
                    <a:lnTo>
                      <a:pt x="767" y="65"/>
                    </a:lnTo>
                    <a:lnTo>
                      <a:pt x="772" y="65"/>
                    </a:lnTo>
                    <a:lnTo>
                      <a:pt x="772" y="65"/>
                    </a:lnTo>
                    <a:lnTo>
                      <a:pt x="775" y="65"/>
                    </a:lnTo>
                    <a:lnTo>
                      <a:pt x="775" y="65"/>
                    </a:lnTo>
                    <a:lnTo>
                      <a:pt x="777" y="67"/>
                    </a:lnTo>
                    <a:lnTo>
                      <a:pt x="777" y="67"/>
                    </a:lnTo>
                    <a:lnTo>
                      <a:pt x="770" y="70"/>
                    </a:lnTo>
                    <a:lnTo>
                      <a:pt x="770" y="70"/>
                    </a:lnTo>
                    <a:lnTo>
                      <a:pt x="786" y="67"/>
                    </a:lnTo>
                    <a:lnTo>
                      <a:pt x="786" y="67"/>
                    </a:lnTo>
                    <a:lnTo>
                      <a:pt x="791" y="65"/>
                    </a:lnTo>
                    <a:lnTo>
                      <a:pt x="791" y="65"/>
                    </a:lnTo>
                    <a:lnTo>
                      <a:pt x="794" y="65"/>
                    </a:lnTo>
                    <a:lnTo>
                      <a:pt x="794" y="65"/>
                    </a:lnTo>
                    <a:lnTo>
                      <a:pt x="797" y="65"/>
                    </a:lnTo>
                    <a:lnTo>
                      <a:pt x="797" y="65"/>
                    </a:lnTo>
                    <a:lnTo>
                      <a:pt x="797" y="65"/>
                    </a:lnTo>
                    <a:lnTo>
                      <a:pt x="797" y="65"/>
                    </a:lnTo>
                    <a:lnTo>
                      <a:pt x="801" y="64"/>
                    </a:lnTo>
                    <a:lnTo>
                      <a:pt x="801" y="64"/>
                    </a:lnTo>
                    <a:lnTo>
                      <a:pt x="807" y="61"/>
                    </a:lnTo>
                    <a:lnTo>
                      <a:pt x="807" y="61"/>
                    </a:lnTo>
                    <a:lnTo>
                      <a:pt x="805" y="61"/>
                    </a:lnTo>
                    <a:lnTo>
                      <a:pt x="805" y="61"/>
                    </a:lnTo>
                    <a:lnTo>
                      <a:pt x="802" y="61"/>
                    </a:lnTo>
                    <a:lnTo>
                      <a:pt x="802" y="61"/>
                    </a:lnTo>
                    <a:lnTo>
                      <a:pt x="797" y="61"/>
                    </a:lnTo>
                    <a:lnTo>
                      <a:pt x="797" y="61"/>
                    </a:lnTo>
                    <a:lnTo>
                      <a:pt x="797" y="61"/>
                    </a:lnTo>
                    <a:lnTo>
                      <a:pt x="797" y="61"/>
                    </a:lnTo>
                    <a:lnTo>
                      <a:pt x="794" y="61"/>
                    </a:lnTo>
                    <a:lnTo>
                      <a:pt x="794" y="61"/>
                    </a:lnTo>
                    <a:lnTo>
                      <a:pt x="799" y="58"/>
                    </a:lnTo>
                    <a:lnTo>
                      <a:pt x="799" y="58"/>
                    </a:lnTo>
                    <a:lnTo>
                      <a:pt x="797" y="58"/>
                    </a:lnTo>
                    <a:lnTo>
                      <a:pt x="797" y="58"/>
                    </a:lnTo>
                    <a:lnTo>
                      <a:pt x="794" y="58"/>
                    </a:lnTo>
                    <a:lnTo>
                      <a:pt x="794" y="58"/>
                    </a:lnTo>
                    <a:lnTo>
                      <a:pt x="788" y="59"/>
                    </a:lnTo>
                    <a:lnTo>
                      <a:pt x="788" y="59"/>
                    </a:lnTo>
                    <a:lnTo>
                      <a:pt x="791" y="58"/>
                    </a:lnTo>
                    <a:lnTo>
                      <a:pt x="791" y="58"/>
                    </a:lnTo>
                    <a:lnTo>
                      <a:pt x="783" y="56"/>
                    </a:lnTo>
                    <a:lnTo>
                      <a:pt x="783" y="56"/>
                    </a:lnTo>
                    <a:lnTo>
                      <a:pt x="782" y="54"/>
                    </a:lnTo>
                    <a:lnTo>
                      <a:pt x="782" y="54"/>
                    </a:lnTo>
                    <a:lnTo>
                      <a:pt x="782" y="53"/>
                    </a:lnTo>
                    <a:lnTo>
                      <a:pt x="782" y="53"/>
                    </a:lnTo>
                    <a:lnTo>
                      <a:pt x="783" y="53"/>
                    </a:lnTo>
                    <a:lnTo>
                      <a:pt x="783" y="53"/>
                    </a:lnTo>
                    <a:lnTo>
                      <a:pt x="786" y="54"/>
                    </a:lnTo>
                    <a:lnTo>
                      <a:pt x="786" y="54"/>
                    </a:lnTo>
                    <a:lnTo>
                      <a:pt x="788" y="56"/>
                    </a:lnTo>
                    <a:lnTo>
                      <a:pt x="788" y="56"/>
                    </a:lnTo>
                    <a:lnTo>
                      <a:pt x="791" y="56"/>
                    </a:lnTo>
                    <a:lnTo>
                      <a:pt x="791" y="56"/>
                    </a:lnTo>
                    <a:lnTo>
                      <a:pt x="797" y="56"/>
                    </a:lnTo>
                    <a:lnTo>
                      <a:pt x="797" y="56"/>
                    </a:lnTo>
                    <a:lnTo>
                      <a:pt x="802" y="56"/>
                    </a:lnTo>
                    <a:lnTo>
                      <a:pt x="802" y="56"/>
                    </a:lnTo>
                    <a:lnTo>
                      <a:pt x="804" y="56"/>
                    </a:lnTo>
                    <a:lnTo>
                      <a:pt x="804" y="56"/>
                    </a:lnTo>
                    <a:lnTo>
                      <a:pt x="810" y="54"/>
                    </a:lnTo>
                    <a:lnTo>
                      <a:pt x="810" y="54"/>
                    </a:lnTo>
                    <a:lnTo>
                      <a:pt x="813" y="54"/>
                    </a:lnTo>
                    <a:lnTo>
                      <a:pt x="813" y="54"/>
                    </a:lnTo>
                    <a:lnTo>
                      <a:pt x="815" y="53"/>
                    </a:lnTo>
                    <a:lnTo>
                      <a:pt x="815" y="53"/>
                    </a:lnTo>
                    <a:lnTo>
                      <a:pt x="815" y="51"/>
                    </a:lnTo>
                    <a:lnTo>
                      <a:pt x="815" y="51"/>
                    </a:lnTo>
                    <a:lnTo>
                      <a:pt x="815" y="50"/>
                    </a:lnTo>
                    <a:lnTo>
                      <a:pt x="815" y="50"/>
                    </a:lnTo>
                    <a:lnTo>
                      <a:pt x="818" y="50"/>
                    </a:lnTo>
                    <a:lnTo>
                      <a:pt x="818" y="50"/>
                    </a:lnTo>
                    <a:lnTo>
                      <a:pt x="826" y="50"/>
                    </a:lnTo>
                    <a:lnTo>
                      <a:pt x="826" y="50"/>
                    </a:lnTo>
                    <a:lnTo>
                      <a:pt x="829" y="48"/>
                    </a:lnTo>
                    <a:lnTo>
                      <a:pt x="829" y="48"/>
                    </a:lnTo>
                    <a:lnTo>
                      <a:pt x="832" y="48"/>
                    </a:lnTo>
                    <a:lnTo>
                      <a:pt x="832" y="48"/>
                    </a:lnTo>
                    <a:lnTo>
                      <a:pt x="836" y="48"/>
                    </a:lnTo>
                    <a:lnTo>
                      <a:pt x="836" y="48"/>
                    </a:lnTo>
                    <a:lnTo>
                      <a:pt x="839" y="48"/>
                    </a:lnTo>
                    <a:lnTo>
                      <a:pt x="839" y="48"/>
                    </a:lnTo>
                    <a:lnTo>
                      <a:pt x="843" y="48"/>
                    </a:lnTo>
                    <a:lnTo>
                      <a:pt x="843" y="48"/>
                    </a:lnTo>
                    <a:lnTo>
                      <a:pt x="847" y="45"/>
                    </a:lnTo>
                    <a:lnTo>
                      <a:pt x="847" y="45"/>
                    </a:lnTo>
                    <a:lnTo>
                      <a:pt x="840" y="45"/>
                    </a:lnTo>
                    <a:lnTo>
                      <a:pt x="840" y="45"/>
                    </a:lnTo>
                    <a:lnTo>
                      <a:pt x="847" y="45"/>
                    </a:lnTo>
                    <a:lnTo>
                      <a:pt x="847" y="45"/>
                    </a:lnTo>
                    <a:lnTo>
                      <a:pt x="850" y="42"/>
                    </a:lnTo>
                    <a:lnTo>
                      <a:pt x="850" y="42"/>
                    </a:lnTo>
                    <a:lnTo>
                      <a:pt x="853" y="42"/>
                    </a:lnTo>
                    <a:lnTo>
                      <a:pt x="853" y="42"/>
                    </a:lnTo>
                    <a:lnTo>
                      <a:pt x="853" y="42"/>
                    </a:lnTo>
                    <a:lnTo>
                      <a:pt x="853" y="42"/>
                    </a:lnTo>
                    <a:lnTo>
                      <a:pt x="847" y="38"/>
                    </a:lnTo>
                    <a:lnTo>
                      <a:pt x="847" y="38"/>
                    </a:lnTo>
                    <a:lnTo>
                      <a:pt x="842" y="38"/>
                    </a:lnTo>
                    <a:lnTo>
                      <a:pt x="842" y="38"/>
                    </a:lnTo>
                    <a:lnTo>
                      <a:pt x="847" y="38"/>
                    </a:lnTo>
                    <a:lnTo>
                      <a:pt x="847" y="38"/>
                    </a:lnTo>
                    <a:lnTo>
                      <a:pt x="839" y="37"/>
                    </a:lnTo>
                    <a:lnTo>
                      <a:pt x="839" y="37"/>
                    </a:lnTo>
                    <a:lnTo>
                      <a:pt x="847" y="37"/>
                    </a:lnTo>
                    <a:lnTo>
                      <a:pt x="847" y="37"/>
                    </a:lnTo>
                    <a:lnTo>
                      <a:pt x="853" y="38"/>
                    </a:lnTo>
                    <a:lnTo>
                      <a:pt x="853" y="38"/>
                    </a:lnTo>
                    <a:lnTo>
                      <a:pt x="856" y="38"/>
                    </a:lnTo>
                    <a:lnTo>
                      <a:pt x="856" y="38"/>
                    </a:lnTo>
                    <a:lnTo>
                      <a:pt x="859" y="38"/>
                    </a:lnTo>
                    <a:lnTo>
                      <a:pt x="859" y="38"/>
                    </a:lnTo>
                    <a:lnTo>
                      <a:pt x="858" y="37"/>
                    </a:lnTo>
                    <a:lnTo>
                      <a:pt x="858" y="37"/>
                    </a:lnTo>
                    <a:lnTo>
                      <a:pt x="861" y="37"/>
                    </a:lnTo>
                    <a:lnTo>
                      <a:pt x="861" y="37"/>
                    </a:lnTo>
                    <a:lnTo>
                      <a:pt x="850" y="35"/>
                    </a:lnTo>
                    <a:lnTo>
                      <a:pt x="850" y="35"/>
                    </a:lnTo>
                    <a:lnTo>
                      <a:pt x="850" y="35"/>
                    </a:lnTo>
                    <a:lnTo>
                      <a:pt x="850" y="35"/>
                    </a:lnTo>
                    <a:lnTo>
                      <a:pt x="853" y="35"/>
                    </a:lnTo>
                    <a:lnTo>
                      <a:pt x="853" y="35"/>
                    </a:lnTo>
                    <a:lnTo>
                      <a:pt x="861" y="34"/>
                    </a:lnTo>
                    <a:lnTo>
                      <a:pt x="861" y="34"/>
                    </a:lnTo>
                    <a:lnTo>
                      <a:pt x="872" y="34"/>
                    </a:lnTo>
                    <a:lnTo>
                      <a:pt x="872" y="34"/>
                    </a:lnTo>
                    <a:lnTo>
                      <a:pt x="875" y="32"/>
                    </a:lnTo>
                    <a:lnTo>
                      <a:pt x="875" y="32"/>
                    </a:lnTo>
                    <a:lnTo>
                      <a:pt x="877" y="32"/>
                    </a:lnTo>
                    <a:lnTo>
                      <a:pt x="877" y="32"/>
                    </a:lnTo>
                    <a:lnTo>
                      <a:pt x="875" y="31"/>
                    </a:lnTo>
                    <a:lnTo>
                      <a:pt x="875" y="31"/>
                    </a:lnTo>
                    <a:lnTo>
                      <a:pt x="866" y="31"/>
                    </a:lnTo>
                    <a:lnTo>
                      <a:pt x="866" y="31"/>
                    </a:lnTo>
                    <a:lnTo>
                      <a:pt x="869" y="29"/>
                    </a:lnTo>
                    <a:lnTo>
                      <a:pt x="869" y="29"/>
                    </a:lnTo>
                    <a:lnTo>
                      <a:pt x="872" y="29"/>
                    </a:lnTo>
                    <a:lnTo>
                      <a:pt x="872" y="29"/>
                    </a:lnTo>
                    <a:lnTo>
                      <a:pt x="878" y="31"/>
                    </a:lnTo>
                    <a:lnTo>
                      <a:pt x="878" y="31"/>
                    </a:lnTo>
                    <a:lnTo>
                      <a:pt x="878" y="32"/>
                    </a:lnTo>
                    <a:lnTo>
                      <a:pt x="878" y="32"/>
                    </a:lnTo>
                    <a:lnTo>
                      <a:pt x="888" y="32"/>
                    </a:lnTo>
                    <a:lnTo>
                      <a:pt x="888" y="32"/>
                    </a:lnTo>
                    <a:lnTo>
                      <a:pt x="896" y="31"/>
                    </a:lnTo>
                    <a:lnTo>
                      <a:pt x="896" y="31"/>
                    </a:lnTo>
                    <a:lnTo>
                      <a:pt x="893" y="29"/>
                    </a:lnTo>
                    <a:lnTo>
                      <a:pt x="893" y="29"/>
                    </a:lnTo>
                    <a:lnTo>
                      <a:pt x="897" y="29"/>
                    </a:lnTo>
                    <a:lnTo>
                      <a:pt x="897" y="29"/>
                    </a:lnTo>
                    <a:lnTo>
                      <a:pt x="901" y="27"/>
                    </a:lnTo>
                    <a:lnTo>
                      <a:pt x="901" y="27"/>
                    </a:lnTo>
                    <a:lnTo>
                      <a:pt x="899" y="27"/>
                    </a:lnTo>
                    <a:lnTo>
                      <a:pt x="899" y="27"/>
                    </a:lnTo>
                    <a:lnTo>
                      <a:pt x="896" y="27"/>
                    </a:lnTo>
                    <a:lnTo>
                      <a:pt x="896" y="27"/>
                    </a:lnTo>
                    <a:lnTo>
                      <a:pt x="891" y="27"/>
                    </a:lnTo>
                    <a:lnTo>
                      <a:pt x="891" y="27"/>
                    </a:lnTo>
                    <a:lnTo>
                      <a:pt x="888" y="26"/>
                    </a:lnTo>
                    <a:lnTo>
                      <a:pt x="888" y="26"/>
                    </a:lnTo>
                    <a:lnTo>
                      <a:pt x="897" y="26"/>
                    </a:lnTo>
                    <a:lnTo>
                      <a:pt x="897" y="26"/>
                    </a:lnTo>
                    <a:lnTo>
                      <a:pt x="902" y="27"/>
                    </a:lnTo>
                    <a:lnTo>
                      <a:pt x="902" y="27"/>
                    </a:lnTo>
                    <a:lnTo>
                      <a:pt x="907" y="26"/>
                    </a:lnTo>
                    <a:lnTo>
                      <a:pt x="907" y="26"/>
                    </a:lnTo>
                    <a:lnTo>
                      <a:pt x="905" y="24"/>
                    </a:lnTo>
                    <a:lnTo>
                      <a:pt x="905" y="24"/>
                    </a:lnTo>
                    <a:lnTo>
                      <a:pt x="905" y="23"/>
                    </a:lnTo>
                    <a:lnTo>
                      <a:pt x="905" y="23"/>
                    </a:lnTo>
                    <a:lnTo>
                      <a:pt x="907" y="24"/>
                    </a:lnTo>
                    <a:lnTo>
                      <a:pt x="907" y="24"/>
                    </a:lnTo>
                    <a:lnTo>
                      <a:pt x="909" y="24"/>
                    </a:lnTo>
                    <a:lnTo>
                      <a:pt x="909" y="24"/>
                    </a:lnTo>
                    <a:lnTo>
                      <a:pt x="912" y="24"/>
                    </a:lnTo>
                    <a:lnTo>
                      <a:pt x="912" y="24"/>
                    </a:lnTo>
                    <a:lnTo>
                      <a:pt x="913" y="24"/>
                    </a:lnTo>
                    <a:lnTo>
                      <a:pt x="913" y="24"/>
                    </a:lnTo>
                    <a:lnTo>
                      <a:pt x="931" y="19"/>
                    </a:lnTo>
                    <a:lnTo>
                      <a:pt x="931" y="19"/>
                    </a:lnTo>
                    <a:lnTo>
                      <a:pt x="947" y="16"/>
                    </a:lnTo>
                    <a:lnTo>
                      <a:pt x="947" y="16"/>
                    </a:lnTo>
                    <a:lnTo>
                      <a:pt x="955" y="16"/>
                    </a:lnTo>
                    <a:lnTo>
                      <a:pt x="955" y="16"/>
                    </a:lnTo>
                    <a:lnTo>
                      <a:pt x="963" y="15"/>
                    </a:lnTo>
                    <a:lnTo>
                      <a:pt x="963" y="15"/>
                    </a:lnTo>
                    <a:lnTo>
                      <a:pt x="959" y="13"/>
                    </a:lnTo>
                    <a:lnTo>
                      <a:pt x="959" y="13"/>
                    </a:lnTo>
                    <a:lnTo>
                      <a:pt x="955" y="13"/>
                    </a:lnTo>
                    <a:lnTo>
                      <a:pt x="955" y="13"/>
                    </a:lnTo>
                    <a:lnTo>
                      <a:pt x="944" y="15"/>
                    </a:lnTo>
                    <a:lnTo>
                      <a:pt x="944" y="15"/>
                    </a:lnTo>
                    <a:lnTo>
                      <a:pt x="917" y="18"/>
                    </a:lnTo>
                    <a:lnTo>
                      <a:pt x="917" y="18"/>
                    </a:lnTo>
                    <a:lnTo>
                      <a:pt x="920" y="16"/>
                    </a:lnTo>
                    <a:lnTo>
                      <a:pt x="920" y="16"/>
                    </a:lnTo>
                    <a:lnTo>
                      <a:pt x="917" y="16"/>
                    </a:lnTo>
                    <a:lnTo>
                      <a:pt x="917" y="16"/>
                    </a:lnTo>
                    <a:lnTo>
                      <a:pt x="947" y="13"/>
                    </a:lnTo>
                    <a:lnTo>
                      <a:pt x="947" y="13"/>
                    </a:lnTo>
                    <a:lnTo>
                      <a:pt x="944" y="13"/>
                    </a:lnTo>
                    <a:lnTo>
                      <a:pt x="944" y="13"/>
                    </a:lnTo>
                    <a:lnTo>
                      <a:pt x="940" y="13"/>
                    </a:lnTo>
                    <a:lnTo>
                      <a:pt x="940" y="13"/>
                    </a:lnTo>
                    <a:lnTo>
                      <a:pt x="958" y="13"/>
                    </a:lnTo>
                    <a:lnTo>
                      <a:pt x="958" y="13"/>
                    </a:lnTo>
                    <a:lnTo>
                      <a:pt x="969" y="13"/>
                    </a:lnTo>
                    <a:lnTo>
                      <a:pt x="969" y="13"/>
                    </a:lnTo>
                    <a:lnTo>
                      <a:pt x="985" y="10"/>
                    </a:lnTo>
                    <a:lnTo>
                      <a:pt x="985" y="10"/>
                    </a:lnTo>
                    <a:lnTo>
                      <a:pt x="991" y="10"/>
                    </a:lnTo>
                    <a:lnTo>
                      <a:pt x="991" y="10"/>
                    </a:lnTo>
                    <a:lnTo>
                      <a:pt x="996" y="7"/>
                    </a:lnTo>
                    <a:lnTo>
                      <a:pt x="996" y="7"/>
                    </a:lnTo>
                    <a:lnTo>
                      <a:pt x="996" y="7"/>
                    </a:lnTo>
                    <a:lnTo>
                      <a:pt x="994" y="7"/>
                    </a:lnTo>
                    <a:lnTo>
                      <a:pt x="994" y="7"/>
                    </a:lnTo>
                    <a:lnTo>
                      <a:pt x="994" y="7"/>
                    </a:lnTo>
                    <a:close/>
                    <a:moveTo>
                      <a:pt x="710" y="58"/>
                    </a:moveTo>
                    <a:lnTo>
                      <a:pt x="710" y="58"/>
                    </a:lnTo>
                    <a:lnTo>
                      <a:pt x="713" y="56"/>
                    </a:lnTo>
                    <a:lnTo>
                      <a:pt x="713" y="56"/>
                    </a:lnTo>
                    <a:lnTo>
                      <a:pt x="715" y="56"/>
                    </a:lnTo>
                    <a:lnTo>
                      <a:pt x="715" y="56"/>
                    </a:lnTo>
                    <a:lnTo>
                      <a:pt x="715" y="54"/>
                    </a:lnTo>
                    <a:lnTo>
                      <a:pt x="715" y="54"/>
                    </a:lnTo>
                    <a:lnTo>
                      <a:pt x="713" y="53"/>
                    </a:lnTo>
                    <a:lnTo>
                      <a:pt x="713" y="53"/>
                    </a:lnTo>
                    <a:lnTo>
                      <a:pt x="712" y="53"/>
                    </a:lnTo>
                    <a:lnTo>
                      <a:pt x="712" y="53"/>
                    </a:lnTo>
                    <a:lnTo>
                      <a:pt x="707" y="53"/>
                    </a:lnTo>
                    <a:lnTo>
                      <a:pt x="707" y="53"/>
                    </a:lnTo>
                    <a:lnTo>
                      <a:pt x="702" y="54"/>
                    </a:lnTo>
                    <a:lnTo>
                      <a:pt x="702" y="54"/>
                    </a:lnTo>
                    <a:lnTo>
                      <a:pt x="702" y="56"/>
                    </a:lnTo>
                    <a:lnTo>
                      <a:pt x="702" y="56"/>
                    </a:lnTo>
                    <a:lnTo>
                      <a:pt x="704" y="56"/>
                    </a:lnTo>
                    <a:lnTo>
                      <a:pt x="710" y="58"/>
                    </a:lnTo>
                    <a:lnTo>
                      <a:pt x="710" y="58"/>
                    </a:lnTo>
                    <a:lnTo>
                      <a:pt x="710" y="58"/>
                    </a:lnTo>
                    <a:close/>
                    <a:moveTo>
                      <a:pt x="775" y="34"/>
                    </a:moveTo>
                    <a:lnTo>
                      <a:pt x="775" y="34"/>
                    </a:lnTo>
                    <a:lnTo>
                      <a:pt x="772" y="34"/>
                    </a:lnTo>
                    <a:lnTo>
                      <a:pt x="772" y="34"/>
                    </a:lnTo>
                    <a:lnTo>
                      <a:pt x="770" y="32"/>
                    </a:lnTo>
                    <a:lnTo>
                      <a:pt x="770" y="32"/>
                    </a:lnTo>
                    <a:lnTo>
                      <a:pt x="767" y="32"/>
                    </a:lnTo>
                    <a:lnTo>
                      <a:pt x="767" y="32"/>
                    </a:lnTo>
                    <a:lnTo>
                      <a:pt x="764" y="34"/>
                    </a:lnTo>
                    <a:lnTo>
                      <a:pt x="764" y="34"/>
                    </a:lnTo>
                    <a:lnTo>
                      <a:pt x="763" y="34"/>
                    </a:lnTo>
                    <a:lnTo>
                      <a:pt x="763" y="34"/>
                    </a:lnTo>
                    <a:lnTo>
                      <a:pt x="770" y="29"/>
                    </a:lnTo>
                    <a:lnTo>
                      <a:pt x="770" y="29"/>
                    </a:lnTo>
                    <a:lnTo>
                      <a:pt x="769" y="27"/>
                    </a:lnTo>
                    <a:lnTo>
                      <a:pt x="769" y="27"/>
                    </a:lnTo>
                    <a:lnTo>
                      <a:pt x="767" y="27"/>
                    </a:lnTo>
                    <a:lnTo>
                      <a:pt x="767" y="27"/>
                    </a:lnTo>
                    <a:lnTo>
                      <a:pt x="764" y="27"/>
                    </a:lnTo>
                    <a:lnTo>
                      <a:pt x="764" y="27"/>
                    </a:lnTo>
                    <a:lnTo>
                      <a:pt x="767" y="26"/>
                    </a:lnTo>
                    <a:lnTo>
                      <a:pt x="767" y="26"/>
                    </a:lnTo>
                    <a:lnTo>
                      <a:pt x="769" y="26"/>
                    </a:lnTo>
                    <a:lnTo>
                      <a:pt x="769" y="26"/>
                    </a:lnTo>
                    <a:lnTo>
                      <a:pt x="769" y="24"/>
                    </a:lnTo>
                    <a:lnTo>
                      <a:pt x="769" y="24"/>
                    </a:lnTo>
                    <a:lnTo>
                      <a:pt x="767" y="24"/>
                    </a:lnTo>
                    <a:lnTo>
                      <a:pt x="767" y="24"/>
                    </a:lnTo>
                    <a:lnTo>
                      <a:pt x="766" y="24"/>
                    </a:lnTo>
                    <a:lnTo>
                      <a:pt x="766" y="24"/>
                    </a:lnTo>
                    <a:lnTo>
                      <a:pt x="763" y="26"/>
                    </a:lnTo>
                    <a:lnTo>
                      <a:pt x="763" y="26"/>
                    </a:lnTo>
                    <a:lnTo>
                      <a:pt x="763" y="26"/>
                    </a:lnTo>
                    <a:lnTo>
                      <a:pt x="763" y="26"/>
                    </a:lnTo>
                    <a:lnTo>
                      <a:pt x="759" y="27"/>
                    </a:lnTo>
                    <a:lnTo>
                      <a:pt x="759" y="27"/>
                    </a:lnTo>
                    <a:lnTo>
                      <a:pt x="756" y="26"/>
                    </a:lnTo>
                    <a:lnTo>
                      <a:pt x="756" y="26"/>
                    </a:lnTo>
                    <a:lnTo>
                      <a:pt x="759" y="24"/>
                    </a:lnTo>
                    <a:lnTo>
                      <a:pt x="759" y="24"/>
                    </a:lnTo>
                    <a:lnTo>
                      <a:pt x="753" y="23"/>
                    </a:lnTo>
                    <a:lnTo>
                      <a:pt x="753" y="23"/>
                    </a:lnTo>
                    <a:lnTo>
                      <a:pt x="753" y="23"/>
                    </a:lnTo>
                    <a:lnTo>
                      <a:pt x="753" y="23"/>
                    </a:lnTo>
                    <a:lnTo>
                      <a:pt x="751" y="23"/>
                    </a:lnTo>
                    <a:lnTo>
                      <a:pt x="751" y="23"/>
                    </a:lnTo>
                    <a:lnTo>
                      <a:pt x="750" y="21"/>
                    </a:lnTo>
                    <a:lnTo>
                      <a:pt x="750" y="21"/>
                    </a:lnTo>
                    <a:lnTo>
                      <a:pt x="748" y="19"/>
                    </a:lnTo>
                    <a:lnTo>
                      <a:pt x="748" y="19"/>
                    </a:lnTo>
                    <a:lnTo>
                      <a:pt x="747" y="18"/>
                    </a:lnTo>
                    <a:lnTo>
                      <a:pt x="747" y="18"/>
                    </a:lnTo>
                    <a:lnTo>
                      <a:pt x="745" y="16"/>
                    </a:lnTo>
                    <a:lnTo>
                      <a:pt x="745" y="16"/>
                    </a:lnTo>
                    <a:lnTo>
                      <a:pt x="740" y="15"/>
                    </a:lnTo>
                    <a:lnTo>
                      <a:pt x="740" y="15"/>
                    </a:lnTo>
                    <a:lnTo>
                      <a:pt x="736" y="15"/>
                    </a:lnTo>
                    <a:lnTo>
                      <a:pt x="736" y="15"/>
                    </a:lnTo>
                    <a:lnTo>
                      <a:pt x="729" y="16"/>
                    </a:lnTo>
                    <a:lnTo>
                      <a:pt x="729" y="16"/>
                    </a:lnTo>
                    <a:lnTo>
                      <a:pt x="731" y="16"/>
                    </a:lnTo>
                    <a:lnTo>
                      <a:pt x="731" y="16"/>
                    </a:lnTo>
                    <a:lnTo>
                      <a:pt x="734" y="16"/>
                    </a:lnTo>
                    <a:lnTo>
                      <a:pt x="734" y="16"/>
                    </a:lnTo>
                    <a:lnTo>
                      <a:pt x="739" y="16"/>
                    </a:lnTo>
                    <a:lnTo>
                      <a:pt x="739" y="16"/>
                    </a:lnTo>
                    <a:lnTo>
                      <a:pt x="732" y="18"/>
                    </a:lnTo>
                    <a:lnTo>
                      <a:pt x="732" y="18"/>
                    </a:lnTo>
                    <a:lnTo>
                      <a:pt x="729" y="18"/>
                    </a:lnTo>
                    <a:lnTo>
                      <a:pt x="729" y="18"/>
                    </a:lnTo>
                    <a:lnTo>
                      <a:pt x="728" y="18"/>
                    </a:lnTo>
                    <a:lnTo>
                      <a:pt x="728" y="18"/>
                    </a:lnTo>
                    <a:lnTo>
                      <a:pt x="728" y="18"/>
                    </a:lnTo>
                    <a:lnTo>
                      <a:pt x="728" y="18"/>
                    </a:lnTo>
                    <a:lnTo>
                      <a:pt x="721" y="18"/>
                    </a:lnTo>
                    <a:lnTo>
                      <a:pt x="721" y="18"/>
                    </a:lnTo>
                    <a:lnTo>
                      <a:pt x="718" y="18"/>
                    </a:lnTo>
                    <a:lnTo>
                      <a:pt x="718" y="18"/>
                    </a:lnTo>
                    <a:lnTo>
                      <a:pt x="718" y="19"/>
                    </a:lnTo>
                    <a:lnTo>
                      <a:pt x="718" y="19"/>
                    </a:lnTo>
                    <a:lnTo>
                      <a:pt x="716" y="19"/>
                    </a:lnTo>
                    <a:lnTo>
                      <a:pt x="716" y="19"/>
                    </a:lnTo>
                    <a:lnTo>
                      <a:pt x="718" y="21"/>
                    </a:lnTo>
                    <a:lnTo>
                      <a:pt x="718" y="21"/>
                    </a:lnTo>
                    <a:lnTo>
                      <a:pt x="721" y="21"/>
                    </a:lnTo>
                    <a:lnTo>
                      <a:pt x="721" y="21"/>
                    </a:lnTo>
                    <a:lnTo>
                      <a:pt x="721" y="23"/>
                    </a:lnTo>
                    <a:lnTo>
                      <a:pt x="721" y="23"/>
                    </a:lnTo>
                    <a:lnTo>
                      <a:pt x="715" y="23"/>
                    </a:lnTo>
                    <a:lnTo>
                      <a:pt x="715" y="23"/>
                    </a:lnTo>
                    <a:lnTo>
                      <a:pt x="705" y="24"/>
                    </a:lnTo>
                    <a:lnTo>
                      <a:pt x="705" y="24"/>
                    </a:lnTo>
                    <a:lnTo>
                      <a:pt x="699" y="24"/>
                    </a:lnTo>
                    <a:lnTo>
                      <a:pt x="699" y="24"/>
                    </a:lnTo>
                    <a:lnTo>
                      <a:pt x="701" y="26"/>
                    </a:lnTo>
                    <a:lnTo>
                      <a:pt x="701" y="26"/>
                    </a:lnTo>
                    <a:lnTo>
                      <a:pt x="704" y="26"/>
                    </a:lnTo>
                    <a:lnTo>
                      <a:pt x="704" y="26"/>
                    </a:lnTo>
                    <a:lnTo>
                      <a:pt x="705" y="26"/>
                    </a:lnTo>
                    <a:lnTo>
                      <a:pt x="705" y="26"/>
                    </a:lnTo>
                    <a:lnTo>
                      <a:pt x="709" y="27"/>
                    </a:lnTo>
                    <a:lnTo>
                      <a:pt x="709" y="27"/>
                    </a:lnTo>
                    <a:lnTo>
                      <a:pt x="712" y="27"/>
                    </a:lnTo>
                    <a:lnTo>
                      <a:pt x="712" y="27"/>
                    </a:lnTo>
                    <a:lnTo>
                      <a:pt x="713" y="29"/>
                    </a:lnTo>
                    <a:lnTo>
                      <a:pt x="713" y="29"/>
                    </a:lnTo>
                    <a:lnTo>
                      <a:pt x="704" y="27"/>
                    </a:lnTo>
                    <a:lnTo>
                      <a:pt x="704" y="27"/>
                    </a:lnTo>
                    <a:lnTo>
                      <a:pt x="699" y="27"/>
                    </a:lnTo>
                    <a:lnTo>
                      <a:pt x="699" y="27"/>
                    </a:lnTo>
                    <a:lnTo>
                      <a:pt x="696" y="27"/>
                    </a:lnTo>
                    <a:lnTo>
                      <a:pt x="696" y="27"/>
                    </a:lnTo>
                    <a:lnTo>
                      <a:pt x="696" y="29"/>
                    </a:lnTo>
                    <a:lnTo>
                      <a:pt x="696" y="29"/>
                    </a:lnTo>
                    <a:lnTo>
                      <a:pt x="696" y="31"/>
                    </a:lnTo>
                    <a:lnTo>
                      <a:pt x="696" y="31"/>
                    </a:lnTo>
                    <a:lnTo>
                      <a:pt x="696" y="32"/>
                    </a:lnTo>
                    <a:lnTo>
                      <a:pt x="696" y="32"/>
                    </a:lnTo>
                    <a:lnTo>
                      <a:pt x="697" y="32"/>
                    </a:lnTo>
                    <a:lnTo>
                      <a:pt x="697" y="32"/>
                    </a:lnTo>
                    <a:lnTo>
                      <a:pt x="693" y="34"/>
                    </a:lnTo>
                    <a:lnTo>
                      <a:pt x="693" y="34"/>
                    </a:lnTo>
                    <a:lnTo>
                      <a:pt x="696" y="35"/>
                    </a:lnTo>
                    <a:lnTo>
                      <a:pt x="696" y="35"/>
                    </a:lnTo>
                    <a:lnTo>
                      <a:pt x="696" y="35"/>
                    </a:lnTo>
                    <a:lnTo>
                      <a:pt x="696" y="35"/>
                    </a:lnTo>
                    <a:lnTo>
                      <a:pt x="701" y="35"/>
                    </a:lnTo>
                    <a:lnTo>
                      <a:pt x="701" y="35"/>
                    </a:lnTo>
                    <a:lnTo>
                      <a:pt x="704" y="35"/>
                    </a:lnTo>
                    <a:lnTo>
                      <a:pt x="704" y="35"/>
                    </a:lnTo>
                    <a:lnTo>
                      <a:pt x="707" y="35"/>
                    </a:lnTo>
                    <a:lnTo>
                      <a:pt x="707" y="35"/>
                    </a:lnTo>
                    <a:lnTo>
                      <a:pt x="709" y="35"/>
                    </a:lnTo>
                    <a:lnTo>
                      <a:pt x="709" y="35"/>
                    </a:lnTo>
                    <a:lnTo>
                      <a:pt x="713" y="34"/>
                    </a:lnTo>
                    <a:lnTo>
                      <a:pt x="713" y="34"/>
                    </a:lnTo>
                    <a:lnTo>
                      <a:pt x="712" y="35"/>
                    </a:lnTo>
                    <a:lnTo>
                      <a:pt x="712" y="35"/>
                    </a:lnTo>
                    <a:lnTo>
                      <a:pt x="713" y="35"/>
                    </a:lnTo>
                    <a:lnTo>
                      <a:pt x="713" y="35"/>
                    </a:lnTo>
                    <a:lnTo>
                      <a:pt x="715" y="34"/>
                    </a:lnTo>
                    <a:lnTo>
                      <a:pt x="715" y="34"/>
                    </a:lnTo>
                    <a:lnTo>
                      <a:pt x="718" y="34"/>
                    </a:lnTo>
                    <a:lnTo>
                      <a:pt x="718" y="34"/>
                    </a:lnTo>
                    <a:lnTo>
                      <a:pt x="721" y="34"/>
                    </a:lnTo>
                    <a:lnTo>
                      <a:pt x="721" y="34"/>
                    </a:lnTo>
                    <a:lnTo>
                      <a:pt x="718" y="35"/>
                    </a:lnTo>
                    <a:lnTo>
                      <a:pt x="718" y="35"/>
                    </a:lnTo>
                    <a:lnTo>
                      <a:pt x="721" y="35"/>
                    </a:lnTo>
                    <a:lnTo>
                      <a:pt x="721" y="35"/>
                    </a:lnTo>
                    <a:lnTo>
                      <a:pt x="716" y="37"/>
                    </a:lnTo>
                    <a:lnTo>
                      <a:pt x="716" y="37"/>
                    </a:lnTo>
                    <a:lnTo>
                      <a:pt x="707" y="37"/>
                    </a:lnTo>
                    <a:lnTo>
                      <a:pt x="707" y="37"/>
                    </a:lnTo>
                    <a:lnTo>
                      <a:pt x="697" y="38"/>
                    </a:lnTo>
                    <a:lnTo>
                      <a:pt x="697" y="38"/>
                    </a:lnTo>
                    <a:lnTo>
                      <a:pt x="699" y="38"/>
                    </a:lnTo>
                    <a:lnTo>
                      <a:pt x="699" y="38"/>
                    </a:lnTo>
                    <a:lnTo>
                      <a:pt x="701" y="42"/>
                    </a:lnTo>
                    <a:lnTo>
                      <a:pt x="701" y="42"/>
                    </a:lnTo>
                    <a:lnTo>
                      <a:pt x="699" y="42"/>
                    </a:lnTo>
                    <a:lnTo>
                      <a:pt x="699" y="42"/>
                    </a:lnTo>
                    <a:lnTo>
                      <a:pt x="702" y="42"/>
                    </a:lnTo>
                    <a:lnTo>
                      <a:pt x="702" y="42"/>
                    </a:lnTo>
                    <a:lnTo>
                      <a:pt x="705" y="42"/>
                    </a:lnTo>
                    <a:lnTo>
                      <a:pt x="705" y="42"/>
                    </a:lnTo>
                    <a:lnTo>
                      <a:pt x="709" y="42"/>
                    </a:lnTo>
                    <a:lnTo>
                      <a:pt x="709" y="42"/>
                    </a:lnTo>
                    <a:lnTo>
                      <a:pt x="713" y="42"/>
                    </a:lnTo>
                    <a:lnTo>
                      <a:pt x="713" y="42"/>
                    </a:lnTo>
                    <a:lnTo>
                      <a:pt x="709" y="45"/>
                    </a:lnTo>
                    <a:lnTo>
                      <a:pt x="709" y="45"/>
                    </a:lnTo>
                    <a:lnTo>
                      <a:pt x="702" y="45"/>
                    </a:lnTo>
                    <a:lnTo>
                      <a:pt x="702" y="45"/>
                    </a:lnTo>
                    <a:lnTo>
                      <a:pt x="705" y="45"/>
                    </a:lnTo>
                    <a:lnTo>
                      <a:pt x="705" y="45"/>
                    </a:lnTo>
                    <a:lnTo>
                      <a:pt x="710" y="48"/>
                    </a:lnTo>
                    <a:lnTo>
                      <a:pt x="710" y="48"/>
                    </a:lnTo>
                    <a:lnTo>
                      <a:pt x="716" y="48"/>
                    </a:lnTo>
                    <a:lnTo>
                      <a:pt x="716" y="48"/>
                    </a:lnTo>
                    <a:lnTo>
                      <a:pt x="718" y="48"/>
                    </a:lnTo>
                    <a:lnTo>
                      <a:pt x="718" y="48"/>
                    </a:lnTo>
                    <a:lnTo>
                      <a:pt x="721" y="48"/>
                    </a:lnTo>
                    <a:lnTo>
                      <a:pt x="721" y="48"/>
                    </a:lnTo>
                    <a:lnTo>
                      <a:pt x="718" y="45"/>
                    </a:lnTo>
                    <a:lnTo>
                      <a:pt x="718" y="45"/>
                    </a:lnTo>
                    <a:lnTo>
                      <a:pt x="721" y="45"/>
                    </a:lnTo>
                    <a:lnTo>
                      <a:pt x="721" y="45"/>
                    </a:lnTo>
                    <a:lnTo>
                      <a:pt x="728" y="48"/>
                    </a:lnTo>
                    <a:lnTo>
                      <a:pt x="728" y="48"/>
                    </a:lnTo>
                    <a:lnTo>
                      <a:pt x="728" y="45"/>
                    </a:lnTo>
                    <a:lnTo>
                      <a:pt x="728" y="45"/>
                    </a:lnTo>
                    <a:lnTo>
                      <a:pt x="728" y="42"/>
                    </a:lnTo>
                    <a:lnTo>
                      <a:pt x="728" y="42"/>
                    </a:lnTo>
                    <a:lnTo>
                      <a:pt x="728" y="42"/>
                    </a:lnTo>
                    <a:lnTo>
                      <a:pt x="728" y="42"/>
                    </a:lnTo>
                    <a:lnTo>
                      <a:pt x="728" y="45"/>
                    </a:lnTo>
                    <a:lnTo>
                      <a:pt x="728" y="45"/>
                    </a:lnTo>
                    <a:lnTo>
                      <a:pt x="731" y="48"/>
                    </a:lnTo>
                    <a:lnTo>
                      <a:pt x="731" y="48"/>
                    </a:lnTo>
                    <a:lnTo>
                      <a:pt x="732" y="48"/>
                    </a:lnTo>
                    <a:lnTo>
                      <a:pt x="732" y="48"/>
                    </a:lnTo>
                    <a:lnTo>
                      <a:pt x="736" y="45"/>
                    </a:lnTo>
                    <a:lnTo>
                      <a:pt x="736" y="45"/>
                    </a:lnTo>
                    <a:lnTo>
                      <a:pt x="737" y="45"/>
                    </a:lnTo>
                    <a:lnTo>
                      <a:pt x="737" y="45"/>
                    </a:lnTo>
                    <a:lnTo>
                      <a:pt x="739" y="42"/>
                    </a:lnTo>
                    <a:lnTo>
                      <a:pt x="739" y="42"/>
                    </a:lnTo>
                    <a:lnTo>
                      <a:pt x="742" y="45"/>
                    </a:lnTo>
                    <a:lnTo>
                      <a:pt x="742" y="45"/>
                    </a:lnTo>
                    <a:lnTo>
                      <a:pt x="745" y="42"/>
                    </a:lnTo>
                    <a:lnTo>
                      <a:pt x="745" y="42"/>
                    </a:lnTo>
                    <a:lnTo>
                      <a:pt x="743" y="42"/>
                    </a:lnTo>
                    <a:lnTo>
                      <a:pt x="743" y="42"/>
                    </a:lnTo>
                    <a:lnTo>
                      <a:pt x="748" y="38"/>
                    </a:lnTo>
                    <a:lnTo>
                      <a:pt x="748" y="38"/>
                    </a:lnTo>
                    <a:lnTo>
                      <a:pt x="753" y="38"/>
                    </a:lnTo>
                    <a:lnTo>
                      <a:pt x="753" y="38"/>
                    </a:lnTo>
                    <a:lnTo>
                      <a:pt x="750" y="38"/>
                    </a:lnTo>
                    <a:lnTo>
                      <a:pt x="750" y="38"/>
                    </a:lnTo>
                    <a:lnTo>
                      <a:pt x="747" y="42"/>
                    </a:lnTo>
                    <a:lnTo>
                      <a:pt x="747" y="42"/>
                    </a:lnTo>
                    <a:lnTo>
                      <a:pt x="750" y="42"/>
                    </a:lnTo>
                    <a:lnTo>
                      <a:pt x="750" y="42"/>
                    </a:lnTo>
                    <a:lnTo>
                      <a:pt x="753" y="42"/>
                    </a:lnTo>
                    <a:lnTo>
                      <a:pt x="753" y="42"/>
                    </a:lnTo>
                    <a:lnTo>
                      <a:pt x="756" y="38"/>
                    </a:lnTo>
                    <a:lnTo>
                      <a:pt x="756" y="38"/>
                    </a:lnTo>
                    <a:lnTo>
                      <a:pt x="759" y="38"/>
                    </a:lnTo>
                    <a:lnTo>
                      <a:pt x="759" y="38"/>
                    </a:lnTo>
                    <a:lnTo>
                      <a:pt x="763" y="38"/>
                    </a:lnTo>
                    <a:lnTo>
                      <a:pt x="763" y="38"/>
                    </a:lnTo>
                    <a:lnTo>
                      <a:pt x="767" y="37"/>
                    </a:lnTo>
                    <a:lnTo>
                      <a:pt x="767" y="37"/>
                    </a:lnTo>
                    <a:lnTo>
                      <a:pt x="778" y="37"/>
                    </a:lnTo>
                    <a:lnTo>
                      <a:pt x="778" y="37"/>
                    </a:lnTo>
                    <a:lnTo>
                      <a:pt x="777" y="34"/>
                    </a:lnTo>
                    <a:lnTo>
                      <a:pt x="775" y="34"/>
                    </a:lnTo>
                    <a:lnTo>
                      <a:pt x="775" y="34"/>
                    </a:lnTo>
                    <a:lnTo>
                      <a:pt x="775" y="34"/>
                    </a:lnTo>
                    <a:close/>
                    <a:moveTo>
                      <a:pt x="745" y="164"/>
                    </a:moveTo>
                    <a:lnTo>
                      <a:pt x="745" y="164"/>
                    </a:lnTo>
                    <a:lnTo>
                      <a:pt x="747" y="167"/>
                    </a:lnTo>
                    <a:lnTo>
                      <a:pt x="747" y="167"/>
                    </a:lnTo>
                    <a:lnTo>
                      <a:pt x="753" y="167"/>
                    </a:lnTo>
                    <a:lnTo>
                      <a:pt x="753" y="167"/>
                    </a:lnTo>
                    <a:lnTo>
                      <a:pt x="756" y="167"/>
                    </a:lnTo>
                    <a:lnTo>
                      <a:pt x="756" y="167"/>
                    </a:lnTo>
                    <a:lnTo>
                      <a:pt x="756" y="164"/>
                    </a:lnTo>
                    <a:lnTo>
                      <a:pt x="756" y="164"/>
                    </a:lnTo>
                    <a:lnTo>
                      <a:pt x="756" y="164"/>
                    </a:lnTo>
                    <a:lnTo>
                      <a:pt x="756" y="164"/>
                    </a:lnTo>
                    <a:lnTo>
                      <a:pt x="753" y="164"/>
                    </a:lnTo>
                    <a:lnTo>
                      <a:pt x="753" y="164"/>
                    </a:lnTo>
                    <a:lnTo>
                      <a:pt x="751" y="164"/>
                    </a:lnTo>
                    <a:lnTo>
                      <a:pt x="751" y="164"/>
                    </a:lnTo>
                    <a:lnTo>
                      <a:pt x="751" y="162"/>
                    </a:lnTo>
                    <a:lnTo>
                      <a:pt x="751" y="162"/>
                    </a:lnTo>
                    <a:lnTo>
                      <a:pt x="748" y="164"/>
                    </a:lnTo>
                    <a:lnTo>
                      <a:pt x="748" y="164"/>
                    </a:lnTo>
                    <a:lnTo>
                      <a:pt x="745" y="164"/>
                    </a:lnTo>
                    <a:lnTo>
                      <a:pt x="745" y="164"/>
                    </a:lnTo>
                    <a:lnTo>
                      <a:pt x="745" y="164"/>
                    </a:lnTo>
                    <a:lnTo>
                      <a:pt x="745" y="164"/>
                    </a:lnTo>
                    <a:close/>
                    <a:moveTo>
                      <a:pt x="739" y="148"/>
                    </a:moveTo>
                    <a:lnTo>
                      <a:pt x="739" y="148"/>
                    </a:lnTo>
                    <a:lnTo>
                      <a:pt x="739" y="146"/>
                    </a:lnTo>
                    <a:lnTo>
                      <a:pt x="739" y="146"/>
                    </a:lnTo>
                    <a:lnTo>
                      <a:pt x="736" y="146"/>
                    </a:lnTo>
                    <a:lnTo>
                      <a:pt x="736" y="146"/>
                    </a:lnTo>
                    <a:lnTo>
                      <a:pt x="734" y="146"/>
                    </a:lnTo>
                    <a:lnTo>
                      <a:pt x="734" y="146"/>
                    </a:lnTo>
                    <a:lnTo>
                      <a:pt x="732" y="148"/>
                    </a:lnTo>
                    <a:lnTo>
                      <a:pt x="732" y="148"/>
                    </a:lnTo>
                    <a:lnTo>
                      <a:pt x="732" y="150"/>
                    </a:lnTo>
                    <a:lnTo>
                      <a:pt x="732" y="150"/>
                    </a:lnTo>
                    <a:lnTo>
                      <a:pt x="736" y="150"/>
                    </a:lnTo>
                    <a:lnTo>
                      <a:pt x="739" y="148"/>
                    </a:lnTo>
                    <a:lnTo>
                      <a:pt x="739" y="148"/>
                    </a:lnTo>
                    <a:lnTo>
                      <a:pt x="739" y="148"/>
                    </a:lnTo>
                    <a:close/>
                    <a:moveTo>
                      <a:pt x="786" y="248"/>
                    </a:moveTo>
                    <a:lnTo>
                      <a:pt x="786" y="248"/>
                    </a:lnTo>
                    <a:lnTo>
                      <a:pt x="788" y="248"/>
                    </a:lnTo>
                    <a:lnTo>
                      <a:pt x="788" y="248"/>
                    </a:lnTo>
                    <a:lnTo>
                      <a:pt x="791" y="245"/>
                    </a:lnTo>
                    <a:lnTo>
                      <a:pt x="791" y="245"/>
                    </a:lnTo>
                    <a:lnTo>
                      <a:pt x="788" y="243"/>
                    </a:lnTo>
                    <a:lnTo>
                      <a:pt x="788" y="243"/>
                    </a:lnTo>
                    <a:lnTo>
                      <a:pt x="785" y="243"/>
                    </a:lnTo>
                    <a:lnTo>
                      <a:pt x="785" y="243"/>
                    </a:lnTo>
                    <a:lnTo>
                      <a:pt x="783" y="245"/>
                    </a:lnTo>
                    <a:lnTo>
                      <a:pt x="783" y="245"/>
                    </a:lnTo>
                    <a:lnTo>
                      <a:pt x="785" y="246"/>
                    </a:lnTo>
                    <a:lnTo>
                      <a:pt x="786" y="248"/>
                    </a:lnTo>
                    <a:lnTo>
                      <a:pt x="786" y="248"/>
                    </a:lnTo>
                    <a:lnTo>
                      <a:pt x="786" y="248"/>
                    </a:lnTo>
                    <a:close/>
                    <a:moveTo>
                      <a:pt x="748" y="158"/>
                    </a:moveTo>
                    <a:lnTo>
                      <a:pt x="748" y="158"/>
                    </a:lnTo>
                    <a:lnTo>
                      <a:pt x="750" y="156"/>
                    </a:lnTo>
                    <a:lnTo>
                      <a:pt x="750" y="156"/>
                    </a:lnTo>
                    <a:lnTo>
                      <a:pt x="748" y="156"/>
                    </a:lnTo>
                    <a:lnTo>
                      <a:pt x="748" y="156"/>
                    </a:lnTo>
                    <a:lnTo>
                      <a:pt x="747" y="156"/>
                    </a:lnTo>
                    <a:lnTo>
                      <a:pt x="747" y="156"/>
                    </a:lnTo>
                    <a:lnTo>
                      <a:pt x="745" y="156"/>
                    </a:lnTo>
                    <a:lnTo>
                      <a:pt x="745" y="156"/>
                    </a:lnTo>
                    <a:lnTo>
                      <a:pt x="745" y="159"/>
                    </a:lnTo>
                    <a:lnTo>
                      <a:pt x="745" y="159"/>
                    </a:lnTo>
                    <a:lnTo>
                      <a:pt x="745" y="161"/>
                    </a:lnTo>
                    <a:lnTo>
                      <a:pt x="745" y="161"/>
                    </a:lnTo>
                    <a:lnTo>
                      <a:pt x="748" y="159"/>
                    </a:lnTo>
                    <a:lnTo>
                      <a:pt x="748" y="158"/>
                    </a:lnTo>
                    <a:lnTo>
                      <a:pt x="748" y="158"/>
                    </a:lnTo>
                    <a:lnTo>
                      <a:pt x="748" y="158"/>
                    </a:lnTo>
                    <a:close/>
                    <a:moveTo>
                      <a:pt x="656" y="138"/>
                    </a:moveTo>
                    <a:lnTo>
                      <a:pt x="656" y="138"/>
                    </a:lnTo>
                    <a:lnTo>
                      <a:pt x="651" y="138"/>
                    </a:lnTo>
                    <a:lnTo>
                      <a:pt x="651" y="138"/>
                    </a:lnTo>
                    <a:lnTo>
                      <a:pt x="650" y="138"/>
                    </a:lnTo>
                    <a:lnTo>
                      <a:pt x="650" y="138"/>
                    </a:lnTo>
                    <a:lnTo>
                      <a:pt x="650" y="138"/>
                    </a:lnTo>
                    <a:lnTo>
                      <a:pt x="650" y="138"/>
                    </a:lnTo>
                    <a:lnTo>
                      <a:pt x="655" y="140"/>
                    </a:lnTo>
                    <a:lnTo>
                      <a:pt x="656" y="138"/>
                    </a:lnTo>
                    <a:lnTo>
                      <a:pt x="656" y="138"/>
                    </a:lnTo>
                    <a:lnTo>
                      <a:pt x="656" y="138"/>
                    </a:lnTo>
                    <a:close/>
                    <a:moveTo>
                      <a:pt x="634" y="162"/>
                    </a:moveTo>
                    <a:lnTo>
                      <a:pt x="634" y="162"/>
                    </a:lnTo>
                    <a:lnTo>
                      <a:pt x="631" y="164"/>
                    </a:lnTo>
                    <a:lnTo>
                      <a:pt x="631" y="164"/>
                    </a:lnTo>
                    <a:lnTo>
                      <a:pt x="631" y="167"/>
                    </a:lnTo>
                    <a:lnTo>
                      <a:pt x="631" y="167"/>
                    </a:lnTo>
                    <a:lnTo>
                      <a:pt x="631" y="167"/>
                    </a:lnTo>
                    <a:lnTo>
                      <a:pt x="631" y="167"/>
                    </a:lnTo>
                    <a:lnTo>
                      <a:pt x="634" y="167"/>
                    </a:lnTo>
                    <a:lnTo>
                      <a:pt x="634" y="167"/>
                    </a:lnTo>
                    <a:lnTo>
                      <a:pt x="634" y="164"/>
                    </a:lnTo>
                    <a:lnTo>
                      <a:pt x="634" y="164"/>
                    </a:lnTo>
                    <a:lnTo>
                      <a:pt x="637" y="162"/>
                    </a:lnTo>
                    <a:lnTo>
                      <a:pt x="637" y="162"/>
                    </a:lnTo>
                    <a:lnTo>
                      <a:pt x="637" y="161"/>
                    </a:lnTo>
                    <a:lnTo>
                      <a:pt x="637" y="161"/>
                    </a:lnTo>
                    <a:lnTo>
                      <a:pt x="634" y="161"/>
                    </a:lnTo>
                    <a:lnTo>
                      <a:pt x="634" y="162"/>
                    </a:lnTo>
                    <a:lnTo>
                      <a:pt x="634" y="162"/>
                    </a:lnTo>
                    <a:lnTo>
                      <a:pt x="634" y="162"/>
                    </a:lnTo>
                    <a:close/>
                    <a:moveTo>
                      <a:pt x="685" y="218"/>
                    </a:moveTo>
                    <a:lnTo>
                      <a:pt x="685" y="218"/>
                    </a:lnTo>
                    <a:lnTo>
                      <a:pt x="682" y="219"/>
                    </a:lnTo>
                    <a:lnTo>
                      <a:pt x="682" y="219"/>
                    </a:lnTo>
                    <a:lnTo>
                      <a:pt x="682" y="219"/>
                    </a:lnTo>
                    <a:lnTo>
                      <a:pt x="682" y="219"/>
                    </a:lnTo>
                    <a:lnTo>
                      <a:pt x="683" y="219"/>
                    </a:lnTo>
                    <a:lnTo>
                      <a:pt x="683" y="219"/>
                    </a:lnTo>
                    <a:lnTo>
                      <a:pt x="686" y="223"/>
                    </a:lnTo>
                    <a:lnTo>
                      <a:pt x="686" y="223"/>
                    </a:lnTo>
                    <a:lnTo>
                      <a:pt x="688" y="219"/>
                    </a:lnTo>
                    <a:lnTo>
                      <a:pt x="688" y="219"/>
                    </a:lnTo>
                    <a:lnTo>
                      <a:pt x="686" y="219"/>
                    </a:lnTo>
                    <a:lnTo>
                      <a:pt x="686" y="219"/>
                    </a:lnTo>
                    <a:lnTo>
                      <a:pt x="686" y="219"/>
                    </a:lnTo>
                    <a:lnTo>
                      <a:pt x="685" y="218"/>
                    </a:lnTo>
                    <a:lnTo>
                      <a:pt x="685" y="218"/>
                    </a:lnTo>
                    <a:lnTo>
                      <a:pt x="685" y="218"/>
                    </a:lnTo>
                    <a:close/>
                    <a:moveTo>
                      <a:pt x="732" y="407"/>
                    </a:moveTo>
                    <a:lnTo>
                      <a:pt x="732" y="407"/>
                    </a:lnTo>
                    <a:lnTo>
                      <a:pt x="728" y="405"/>
                    </a:lnTo>
                    <a:lnTo>
                      <a:pt x="728" y="405"/>
                    </a:lnTo>
                    <a:lnTo>
                      <a:pt x="724" y="404"/>
                    </a:lnTo>
                    <a:lnTo>
                      <a:pt x="724" y="404"/>
                    </a:lnTo>
                    <a:lnTo>
                      <a:pt x="718" y="404"/>
                    </a:lnTo>
                    <a:lnTo>
                      <a:pt x="718" y="404"/>
                    </a:lnTo>
                    <a:lnTo>
                      <a:pt x="718" y="404"/>
                    </a:lnTo>
                    <a:lnTo>
                      <a:pt x="718" y="404"/>
                    </a:lnTo>
                    <a:lnTo>
                      <a:pt x="715" y="404"/>
                    </a:lnTo>
                    <a:lnTo>
                      <a:pt x="715" y="404"/>
                    </a:lnTo>
                    <a:lnTo>
                      <a:pt x="718" y="407"/>
                    </a:lnTo>
                    <a:lnTo>
                      <a:pt x="718" y="407"/>
                    </a:lnTo>
                    <a:lnTo>
                      <a:pt x="724" y="412"/>
                    </a:lnTo>
                    <a:lnTo>
                      <a:pt x="724" y="412"/>
                    </a:lnTo>
                    <a:lnTo>
                      <a:pt x="729" y="415"/>
                    </a:lnTo>
                    <a:lnTo>
                      <a:pt x="729" y="415"/>
                    </a:lnTo>
                    <a:lnTo>
                      <a:pt x="737" y="415"/>
                    </a:lnTo>
                    <a:lnTo>
                      <a:pt x="737" y="415"/>
                    </a:lnTo>
                    <a:lnTo>
                      <a:pt x="740" y="415"/>
                    </a:lnTo>
                    <a:lnTo>
                      <a:pt x="740" y="415"/>
                    </a:lnTo>
                    <a:lnTo>
                      <a:pt x="742" y="415"/>
                    </a:lnTo>
                    <a:lnTo>
                      <a:pt x="742" y="415"/>
                    </a:lnTo>
                    <a:lnTo>
                      <a:pt x="740" y="413"/>
                    </a:lnTo>
                    <a:lnTo>
                      <a:pt x="740" y="413"/>
                    </a:lnTo>
                    <a:lnTo>
                      <a:pt x="739" y="410"/>
                    </a:lnTo>
                    <a:lnTo>
                      <a:pt x="732" y="407"/>
                    </a:lnTo>
                    <a:lnTo>
                      <a:pt x="732" y="407"/>
                    </a:lnTo>
                    <a:lnTo>
                      <a:pt x="732" y="407"/>
                    </a:lnTo>
                    <a:close/>
                    <a:moveTo>
                      <a:pt x="766" y="399"/>
                    </a:moveTo>
                    <a:lnTo>
                      <a:pt x="766" y="399"/>
                    </a:lnTo>
                    <a:lnTo>
                      <a:pt x="767" y="397"/>
                    </a:lnTo>
                    <a:lnTo>
                      <a:pt x="767" y="397"/>
                    </a:lnTo>
                    <a:lnTo>
                      <a:pt x="770" y="396"/>
                    </a:lnTo>
                    <a:lnTo>
                      <a:pt x="770" y="396"/>
                    </a:lnTo>
                    <a:lnTo>
                      <a:pt x="772" y="394"/>
                    </a:lnTo>
                    <a:lnTo>
                      <a:pt x="772" y="394"/>
                    </a:lnTo>
                    <a:lnTo>
                      <a:pt x="777" y="391"/>
                    </a:lnTo>
                    <a:lnTo>
                      <a:pt x="777" y="391"/>
                    </a:lnTo>
                    <a:lnTo>
                      <a:pt x="780" y="389"/>
                    </a:lnTo>
                    <a:lnTo>
                      <a:pt x="780" y="389"/>
                    </a:lnTo>
                    <a:lnTo>
                      <a:pt x="780" y="391"/>
                    </a:lnTo>
                    <a:lnTo>
                      <a:pt x="780" y="391"/>
                    </a:lnTo>
                    <a:lnTo>
                      <a:pt x="782" y="389"/>
                    </a:lnTo>
                    <a:lnTo>
                      <a:pt x="782" y="389"/>
                    </a:lnTo>
                    <a:lnTo>
                      <a:pt x="782" y="389"/>
                    </a:lnTo>
                    <a:lnTo>
                      <a:pt x="782" y="389"/>
                    </a:lnTo>
                    <a:lnTo>
                      <a:pt x="783" y="386"/>
                    </a:lnTo>
                    <a:lnTo>
                      <a:pt x="783" y="386"/>
                    </a:lnTo>
                    <a:lnTo>
                      <a:pt x="786" y="386"/>
                    </a:lnTo>
                    <a:lnTo>
                      <a:pt x="786" y="386"/>
                    </a:lnTo>
                    <a:lnTo>
                      <a:pt x="786" y="383"/>
                    </a:lnTo>
                    <a:lnTo>
                      <a:pt x="786" y="383"/>
                    </a:lnTo>
                    <a:lnTo>
                      <a:pt x="791" y="383"/>
                    </a:lnTo>
                    <a:lnTo>
                      <a:pt x="791" y="383"/>
                    </a:lnTo>
                    <a:lnTo>
                      <a:pt x="794" y="383"/>
                    </a:lnTo>
                    <a:lnTo>
                      <a:pt x="794" y="383"/>
                    </a:lnTo>
                    <a:lnTo>
                      <a:pt x="799" y="380"/>
                    </a:lnTo>
                    <a:lnTo>
                      <a:pt x="799" y="380"/>
                    </a:lnTo>
                    <a:lnTo>
                      <a:pt x="802" y="383"/>
                    </a:lnTo>
                    <a:lnTo>
                      <a:pt x="802" y="383"/>
                    </a:lnTo>
                    <a:lnTo>
                      <a:pt x="807" y="383"/>
                    </a:lnTo>
                    <a:lnTo>
                      <a:pt x="807" y="383"/>
                    </a:lnTo>
                    <a:lnTo>
                      <a:pt x="813" y="378"/>
                    </a:lnTo>
                    <a:lnTo>
                      <a:pt x="813" y="378"/>
                    </a:lnTo>
                    <a:lnTo>
                      <a:pt x="820" y="375"/>
                    </a:lnTo>
                    <a:lnTo>
                      <a:pt x="820" y="375"/>
                    </a:lnTo>
                    <a:lnTo>
                      <a:pt x="823" y="373"/>
                    </a:lnTo>
                    <a:lnTo>
                      <a:pt x="823" y="373"/>
                    </a:lnTo>
                    <a:lnTo>
                      <a:pt x="823" y="370"/>
                    </a:lnTo>
                    <a:lnTo>
                      <a:pt x="823" y="370"/>
                    </a:lnTo>
                    <a:lnTo>
                      <a:pt x="820" y="369"/>
                    </a:lnTo>
                    <a:lnTo>
                      <a:pt x="820" y="369"/>
                    </a:lnTo>
                    <a:lnTo>
                      <a:pt x="824" y="369"/>
                    </a:lnTo>
                    <a:lnTo>
                      <a:pt x="824" y="369"/>
                    </a:lnTo>
                    <a:lnTo>
                      <a:pt x="824" y="367"/>
                    </a:lnTo>
                    <a:lnTo>
                      <a:pt x="824" y="367"/>
                    </a:lnTo>
                    <a:lnTo>
                      <a:pt x="821" y="367"/>
                    </a:lnTo>
                    <a:lnTo>
                      <a:pt x="821" y="367"/>
                    </a:lnTo>
                    <a:lnTo>
                      <a:pt x="818" y="365"/>
                    </a:lnTo>
                    <a:lnTo>
                      <a:pt x="818" y="365"/>
                    </a:lnTo>
                    <a:lnTo>
                      <a:pt x="820" y="365"/>
                    </a:lnTo>
                    <a:lnTo>
                      <a:pt x="820" y="365"/>
                    </a:lnTo>
                    <a:lnTo>
                      <a:pt x="821" y="365"/>
                    </a:lnTo>
                    <a:lnTo>
                      <a:pt x="821" y="365"/>
                    </a:lnTo>
                    <a:lnTo>
                      <a:pt x="824" y="365"/>
                    </a:lnTo>
                    <a:lnTo>
                      <a:pt x="824" y="365"/>
                    </a:lnTo>
                    <a:lnTo>
                      <a:pt x="824" y="364"/>
                    </a:lnTo>
                    <a:lnTo>
                      <a:pt x="824" y="364"/>
                    </a:lnTo>
                    <a:lnTo>
                      <a:pt x="823" y="364"/>
                    </a:lnTo>
                    <a:lnTo>
                      <a:pt x="823" y="364"/>
                    </a:lnTo>
                    <a:lnTo>
                      <a:pt x="823" y="362"/>
                    </a:lnTo>
                    <a:lnTo>
                      <a:pt x="823" y="362"/>
                    </a:lnTo>
                    <a:lnTo>
                      <a:pt x="824" y="362"/>
                    </a:lnTo>
                    <a:lnTo>
                      <a:pt x="824" y="362"/>
                    </a:lnTo>
                    <a:lnTo>
                      <a:pt x="826" y="362"/>
                    </a:lnTo>
                    <a:lnTo>
                      <a:pt x="826" y="362"/>
                    </a:lnTo>
                    <a:lnTo>
                      <a:pt x="824" y="361"/>
                    </a:lnTo>
                    <a:lnTo>
                      <a:pt x="824" y="361"/>
                    </a:lnTo>
                    <a:lnTo>
                      <a:pt x="823" y="359"/>
                    </a:lnTo>
                    <a:lnTo>
                      <a:pt x="823" y="359"/>
                    </a:lnTo>
                    <a:lnTo>
                      <a:pt x="826" y="359"/>
                    </a:lnTo>
                    <a:lnTo>
                      <a:pt x="826" y="359"/>
                    </a:lnTo>
                    <a:lnTo>
                      <a:pt x="828" y="358"/>
                    </a:lnTo>
                    <a:lnTo>
                      <a:pt x="828" y="358"/>
                    </a:lnTo>
                    <a:lnTo>
                      <a:pt x="829" y="354"/>
                    </a:lnTo>
                    <a:lnTo>
                      <a:pt x="829" y="354"/>
                    </a:lnTo>
                    <a:lnTo>
                      <a:pt x="828" y="354"/>
                    </a:lnTo>
                    <a:lnTo>
                      <a:pt x="828" y="354"/>
                    </a:lnTo>
                    <a:lnTo>
                      <a:pt x="826" y="354"/>
                    </a:lnTo>
                    <a:lnTo>
                      <a:pt x="826" y="354"/>
                    </a:lnTo>
                    <a:lnTo>
                      <a:pt x="826" y="354"/>
                    </a:lnTo>
                    <a:lnTo>
                      <a:pt x="826" y="354"/>
                    </a:lnTo>
                    <a:lnTo>
                      <a:pt x="826" y="351"/>
                    </a:lnTo>
                    <a:lnTo>
                      <a:pt x="826" y="351"/>
                    </a:lnTo>
                    <a:lnTo>
                      <a:pt x="824" y="351"/>
                    </a:lnTo>
                    <a:lnTo>
                      <a:pt x="824" y="351"/>
                    </a:lnTo>
                    <a:lnTo>
                      <a:pt x="821" y="351"/>
                    </a:lnTo>
                    <a:lnTo>
                      <a:pt x="821" y="351"/>
                    </a:lnTo>
                    <a:lnTo>
                      <a:pt x="823" y="351"/>
                    </a:lnTo>
                    <a:lnTo>
                      <a:pt x="823" y="351"/>
                    </a:lnTo>
                    <a:lnTo>
                      <a:pt x="823" y="348"/>
                    </a:lnTo>
                    <a:lnTo>
                      <a:pt x="823" y="348"/>
                    </a:lnTo>
                    <a:lnTo>
                      <a:pt x="820" y="351"/>
                    </a:lnTo>
                    <a:lnTo>
                      <a:pt x="820" y="351"/>
                    </a:lnTo>
                    <a:lnTo>
                      <a:pt x="818" y="351"/>
                    </a:lnTo>
                    <a:lnTo>
                      <a:pt x="818" y="351"/>
                    </a:lnTo>
                    <a:lnTo>
                      <a:pt x="815" y="351"/>
                    </a:lnTo>
                    <a:lnTo>
                      <a:pt x="815" y="351"/>
                    </a:lnTo>
                    <a:lnTo>
                      <a:pt x="815" y="354"/>
                    </a:lnTo>
                    <a:lnTo>
                      <a:pt x="815" y="354"/>
                    </a:lnTo>
                    <a:lnTo>
                      <a:pt x="815" y="351"/>
                    </a:lnTo>
                    <a:lnTo>
                      <a:pt x="815" y="351"/>
                    </a:lnTo>
                    <a:lnTo>
                      <a:pt x="812" y="351"/>
                    </a:lnTo>
                    <a:lnTo>
                      <a:pt x="812" y="351"/>
                    </a:lnTo>
                    <a:lnTo>
                      <a:pt x="818" y="348"/>
                    </a:lnTo>
                    <a:lnTo>
                      <a:pt x="818" y="348"/>
                    </a:lnTo>
                    <a:lnTo>
                      <a:pt x="818" y="345"/>
                    </a:lnTo>
                    <a:lnTo>
                      <a:pt x="818" y="345"/>
                    </a:lnTo>
                    <a:lnTo>
                      <a:pt x="815" y="345"/>
                    </a:lnTo>
                    <a:lnTo>
                      <a:pt x="815" y="345"/>
                    </a:lnTo>
                    <a:lnTo>
                      <a:pt x="813" y="345"/>
                    </a:lnTo>
                    <a:lnTo>
                      <a:pt x="813" y="345"/>
                    </a:lnTo>
                    <a:lnTo>
                      <a:pt x="809" y="343"/>
                    </a:lnTo>
                    <a:lnTo>
                      <a:pt x="809" y="343"/>
                    </a:lnTo>
                    <a:lnTo>
                      <a:pt x="807" y="343"/>
                    </a:lnTo>
                    <a:lnTo>
                      <a:pt x="807" y="343"/>
                    </a:lnTo>
                    <a:lnTo>
                      <a:pt x="812" y="342"/>
                    </a:lnTo>
                    <a:lnTo>
                      <a:pt x="812" y="342"/>
                    </a:lnTo>
                    <a:lnTo>
                      <a:pt x="815" y="342"/>
                    </a:lnTo>
                    <a:lnTo>
                      <a:pt x="815" y="342"/>
                    </a:lnTo>
                    <a:lnTo>
                      <a:pt x="818" y="340"/>
                    </a:lnTo>
                    <a:lnTo>
                      <a:pt x="818" y="340"/>
                    </a:lnTo>
                    <a:lnTo>
                      <a:pt x="820" y="339"/>
                    </a:lnTo>
                    <a:lnTo>
                      <a:pt x="820" y="339"/>
                    </a:lnTo>
                    <a:lnTo>
                      <a:pt x="818" y="337"/>
                    </a:lnTo>
                    <a:lnTo>
                      <a:pt x="818" y="337"/>
                    </a:lnTo>
                    <a:lnTo>
                      <a:pt x="815" y="337"/>
                    </a:lnTo>
                    <a:lnTo>
                      <a:pt x="815" y="337"/>
                    </a:lnTo>
                    <a:lnTo>
                      <a:pt x="810" y="335"/>
                    </a:lnTo>
                    <a:lnTo>
                      <a:pt x="810" y="335"/>
                    </a:lnTo>
                    <a:lnTo>
                      <a:pt x="807" y="334"/>
                    </a:lnTo>
                    <a:lnTo>
                      <a:pt x="807" y="334"/>
                    </a:lnTo>
                    <a:lnTo>
                      <a:pt x="805" y="334"/>
                    </a:lnTo>
                    <a:lnTo>
                      <a:pt x="805" y="334"/>
                    </a:lnTo>
                    <a:lnTo>
                      <a:pt x="805" y="332"/>
                    </a:lnTo>
                    <a:lnTo>
                      <a:pt x="805" y="332"/>
                    </a:lnTo>
                    <a:lnTo>
                      <a:pt x="805" y="331"/>
                    </a:lnTo>
                    <a:lnTo>
                      <a:pt x="805" y="331"/>
                    </a:lnTo>
                    <a:lnTo>
                      <a:pt x="801" y="332"/>
                    </a:lnTo>
                    <a:lnTo>
                      <a:pt x="801" y="332"/>
                    </a:lnTo>
                    <a:lnTo>
                      <a:pt x="804" y="329"/>
                    </a:lnTo>
                    <a:lnTo>
                      <a:pt x="804" y="329"/>
                    </a:lnTo>
                    <a:lnTo>
                      <a:pt x="801" y="331"/>
                    </a:lnTo>
                    <a:lnTo>
                      <a:pt x="801" y="331"/>
                    </a:lnTo>
                    <a:lnTo>
                      <a:pt x="801" y="329"/>
                    </a:lnTo>
                    <a:lnTo>
                      <a:pt x="801" y="329"/>
                    </a:lnTo>
                    <a:lnTo>
                      <a:pt x="797" y="331"/>
                    </a:lnTo>
                    <a:lnTo>
                      <a:pt x="797" y="331"/>
                    </a:lnTo>
                    <a:lnTo>
                      <a:pt x="797" y="327"/>
                    </a:lnTo>
                    <a:lnTo>
                      <a:pt x="797" y="327"/>
                    </a:lnTo>
                    <a:lnTo>
                      <a:pt x="791" y="332"/>
                    </a:lnTo>
                    <a:lnTo>
                      <a:pt x="791" y="332"/>
                    </a:lnTo>
                    <a:lnTo>
                      <a:pt x="794" y="331"/>
                    </a:lnTo>
                    <a:lnTo>
                      <a:pt x="794" y="331"/>
                    </a:lnTo>
                    <a:lnTo>
                      <a:pt x="794" y="329"/>
                    </a:lnTo>
                    <a:lnTo>
                      <a:pt x="794" y="329"/>
                    </a:lnTo>
                    <a:lnTo>
                      <a:pt x="794" y="329"/>
                    </a:lnTo>
                    <a:lnTo>
                      <a:pt x="794" y="329"/>
                    </a:lnTo>
                    <a:lnTo>
                      <a:pt x="791" y="331"/>
                    </a:lnTo>
                    <a:lnTo>
                      <a:pt x="791" y="331"/>
                    </a:lnTo>
                    <a:lnTo>
                      <a:pt x="788" y="332"/>
                    </a:lnTo>
                    <a:lnTo>
                      <a:pt x="788" y="332"/>
                    </a:lnTo>
                    <a:lnTo>
                      <a:pt x="788" y="331"/>
                    </a:lnTo>
                    <a:lnTo>
                      <a:pt x="788" y="331"/>
                    </a:lnTo>
                    <a:lnTo>
                      <a:pt x="791" y="327"/>
                    </a:lnTo>
                    <a:lnTo>
                      <a:pt x="791" y="327"/>
                    </a:lnTo>
                    <a:lnTo>
                      <a:pt x="794" y="326"/>
                    </a:lnTo>
                    <a:lnTo>
                      <a:pt x="794" y="326"/>
                    </a:lnTo>
                    <a:lnTo>
                      <a:pt x="794" y="324"/>
                    </a:lnTo>
                    <a:lnTo>
                      <a:pt x="794" y="324"/>
                    </a:lnTo>
                    <a:lnTo>
                      <a:pt x="794" y="323"/>
                    </a:lnTo>
                    <a:lnTo>
                      <a:pt x="794" y="323"/>
                    </a:lnTo>
                    <a:lnTo>
                      <a:pt x="794" y="323"/>
                    </a:lnTo>
                    <a:lnTo>
                      <a:pt x="794" y="323"/>
                    </a:lnTo>
                    <a:lnTo>
                      <a:pt x="791" y="324"/>
                    </a:lnTo>
                    <a:lnTo>
                      <a:pt x="791" y="324"/>
                    </a:lnTo>
                    <a:lnTo>
                      <a:pt x="791" y="323"/>
                    </a:lnTo>
                    <a:lnTo>
                      <a:pt x="791" y="323"/>
                    </a:lnTo>
                    <a:lnTo>
                      <a:pt x="788" y="323"/>
                    </a:lnTo>
                    <a:lnTo>
                      <a:pt x="788" y="323"/>
                    </a:lnTo>
                    <a:lnTo>
                      <a:pt x="791" y="323"/>
                    </a:lnTo>
                    <a:lnTo>
                      <a:pt x="791" y="323"/>
                    </a:lnTo>
                    <a:lnTo>
                      <a:pt x="788" y="319"/>
                    </a:lnTo>
                    <a:lnTo>
                      <a:pt x="788" y="319"/>
                    </a:lnTo>
                    <a:lnTo>
                      <a:pt x="788" y="319"/>
                    </a:lnTo>
                    <a:lnTo>
                      <a:pt x="788" y="319"/>
                    </a:lnTo>
                    <a:lnTo>
                      <a:pt x="786" y="319"/>
                    </a:lnTo>
                    <a:lnTo>
                      <a:pt x="786" y="319"/>
                    </a:lnTo>
                    <a:lnTo>
                      <a:pt x="788" y="316"/>
                    </a:lnTo>
                    <a:lnTo>
                      <a:pt x="788" y="316"/>
                    </a:lnTo>
                    <a:lnTo>
                      <a:pt x="785" y="316"/>
                    </a:lnTo>
                    <a:lnTo>
                      <a:pt x="785" y="316"/>
                    </a:lnTo>
                    <a:lnTo>
                      <a:pt x="782" y="316"/>
                    </a:lnTo>
                    <a:lnTo>
                      <a:pt x="782" y="316"/>
                    </a:lnTo>
                    <a:lnTo>
                      <a:pt x="783" y="316"/>
                    </a:lnTo>
                    <a:lnTo>
                      <a:pt x="783" y="316"/>
                    </a:lnTo>
                    <a:lnTo>
                      <a:pt x="785" y="313"/>
                    </a:lnTo>
                    <a:lnTo>
                      <a:pt x="785" y="313"/>
                    </a:lnTo>
                    <a:lnTo>
                      <a:pt x="782" y="313"/>
                    </a:lnTo>
                    <a:lnTo>
                      <a:pt x="782" y="313"/>
                    </a:lnTo>
                    <a:lnTo>
                      <a:pt x="785" y="313"/>
                    </a:lnTo>
                    <a:lnTo>
                      <a:pt x="785" y="313"/>
                    </a:lnTo>
                    <a:lnTo>
                      <a:pt x="786" y="310"/>
                    </a:lnTo>
                    <a:lnTo>
                      <a:pt x="786" y="310"/>
                    </a:lnTo>
                    <a:lnTo>
                      <a:pt x="785" y="310"/>
                    </a:lnTo>
                    <a:lnTo>
                      <a:pt x="785" y="310"/>
                    </a:lnTo>
                    <a:lnTo>
                      <a:pt x="782" y="310"/>
                    </a:lnTo>
                    <a:lnTo>
                      <a:pt x="782" y="310"/>
                    </a:lnTo>
                    <a:lnTo>
                      <a:pt x="785" y="310"/>
                    </a:lnTo>
                    <a:lnTo>
                      <a:pt x="785" y="310"/>
                    </a:lnTo>
                    <a:lnTo>
                      <a:pt x="786" y="310"/>
                    </a:lnTo>
                    <a:lnTo>
                      <a:pt x="786" y="310"/>
                    </a:lnTo>
                    <a:lnTo>
                      <a:pt x="788" y="307"/>
                    </a:lnTo>
                    <a:lnTo>
                      <a:pt x="788" y="307"/>
                    </a:lnTo>
                    <a:lnTo>
                      <a:pt x="791" y="307"/>
                    </a:lnTo>
                    <a:lnTo>
                      <a:pt x="791" y="307"/>
                    </a:lnTo>
                    <a:lnTo>
                      <a:pt x="794" y="307"/>
                    </a:lnTo>
                    <a:lnTo>
                      <a:pt x="794" y="307"/>
                    </a:lnTo>
                    <a:lnTo>
                      <a:pt x="794" y="305"/>
                    </a:lnTo>
                    <a:lnTo>
                      <a:pt x="794" y="305"/>
                    </a:lnTo>
                    <a:lnTo>
                      <a:pt x="791" y="304"/>
                    </a:lnTo>
                    <a:lnTo>
                      <a:pt x="791" y="304"/>
                    </a:lnTo>
                    <a:lnTo>
                      <a:pt x="791" y="304"/>
                    </a:lnTo>
                    <a:lnTo>
                      <a:pt x="791" y="304"/>
                    </a:lnTo>
                    <a:lnTo>
                      <a:pt x="788" y="302"/>
                    </a:lnTo>
                    <a:lnTo>
                      <a:pt x="788" y="302"/>
                    </a:lnTo>
                    <a:lnTo>
                      <a:pt x="791" y="300"/>
                    </a:lnTo>
                    <a:lnTo>
                      <a:pt x="791" y="300"/>
                    </a:lnTo>
                    <a:lnTo>
                      <a:pt x="788" y="300"/>
                    </a:lnTo>
                    <a:lnTo>
                      <a:pt x="788" y="300"/>
                    </a:lnTo>
                    <a:lnTo>
                      <a:pt x="785" y="299"/>
                    </a:lnTo>
                    <a:lnTo>
                      <a:pt x="785" y="299"/>
                    </a:lnTo>
                    <a:lnTo>
                      <a:pt x="788" y="299"/>
                    </a:lnTo>
                    <a:lnTo>
                      <a:pt x="788" y="299"/>
                    </a:lnTo>
                    <a:lnTo>
                      <a:pt x="791" y="299"/>
                    </a:lnTo>
                    <a:lnTo>
                      <a:pt x="791" y="299"/>
                    </a:lnTo>
                    <a:lnTo>
                      <a:pt x="791" y="296"/>
                    </a:lnTo>
                    <a:lnTo>
                      <a:pt x="791" y="296"/>
                    </a:lnTo>
                    <a:lnTo>
                      <a:pt x="791" y="296"/>
                    </a:lnTo>
                    <a:lnTo>
                      <a:pt x="791" y="296"/>
                    </a:lnTo>
                    <a:lnTo>
                      <a:pt x="791" y="292"/>
                    </a:lnTo>
                    <a:lnTo>
                      <a:pt x="791" y="292"/>
                    </a:lnTo>
                    <a:lnTo>
                      <a:pt x="788" y="292"/>
                    </a:lnTo>
                    <a:lnTo>
                      <a:pt x="788" y="292"/>
                    </a:lnTo>
                    <a:lnTo>
                      <a:pt x="788" y="296"/>
                    </a:lnTo>
                    <a:lnTo>
                      <a:pt x="788" y="296"/>
                    </a:lnTo>
                    <a:lnTo>
                      <a:pt x="788" y="292"/>
                    </a:lnTo>
                    <a:lnTo>
                      <a:pt x="788" y="292"/>
                    </a:lnTo>
                    <a:lnTo>
                      <a:pt x="786" y="292"/>
                    </a:lnTo>
                    <a:lnTo>
                      <a:pt x="786" y="292"/>
                    </a:lnTo>
                    <a:lnTo>
                      <a:pt x="788" y="292"/>
                    </a:lnTo>
                    <a:lnTo>
                      <a:pt x="788" y="292"/>
                    </a:lnTo>
                    <a:lnTo>
                      <a:pt x="788" y="292"/>
                    </a:lnTo>
                    <a:lnTo>
                      <a:pt x="788" y="292"/>
                    </a:lnTo>
                    <a:lnTo>
                      <a:pt x="788" y="289"/>
                    </a:lnTo>
                    <a:lnTo>
                      <a:pt x="788" y="289"/>
                    </a:lnTo>
                    <a:lnTo>
                      <a:pt x="786" y="289"/>
                    </a:lnTo>
                    <a:lnTo>
                      <a:pt x="786" y="289"/>
                    </a:lnTo>
                    <a:lnTo>
                      <a:pt x="788" y="289"/>
                    </a:lnTo>
                    <a:lnTo>
                      <a:pt x="788" y="289"/>
                    </a:lnTo>
                    <a:lnTo>
                      <a:pt x="788" y="289"/>
                    </a:lnTo>
                    <a:lnTo>
                      <a:pt x="788" y="289"/>
                    </a:lnTo>
                    <a:lnTo>
                      <a:pt x="788" y="286"/>
                    </a:lnTo>
                    <a:lnTo>
                      <a:pt x="788" y="286"/>
                    </a:lnTo>
                    <a:lnTo>
                      <a:pt x="786" y="286"/>
                    </a:lnTo>
                    <a:lnTo>
                      <a:pt x="786" y="286"/>
                    </a:lnTo>
                    <a:lnTo>
                      <a:pt x="783" y="288"/>
                    </a:lnTo>
                    <a:lnTo>
                      <a:pt x="783" y="288"/>
                    </a:lnTo>
                    <a:lnTo>
                      <a:pt x="782" y="288"/>
                    </a:lnTo>
                    <a:lnTo>
                      <a:pt x="782" y="288"/>
                    </a:lnTo>
                    <a:lnTo>
                      <a:pt x="782" y="286"/>
                    </a:lnTo>
                    <a:lnTo>
                      <a:pt x="782" y="286"/>
                    </a:lnTo>
                    <a:lnTo>
                      <a:pt x="785" y="286"/>
                    </a:lnTo>
                    <a:lnTo>
                      <a:pt x="785" y="286"/>
                    </a:lnTo>
                    <a:lnTo>
                      <a:pt x="788" y="285"/>
                    </a:lnTo>
                    <a:lnTo>
                      <a:pt x="788" y="285"/>
                    </a:lnTo>
                    <a:lnTo>
                      <a:pt x="788" y="283"/>
                    </a:lnTo>
                    <a:lnTo>
                      <a:pt x="788" y="283"/>
                    </a:lnTo>
                    <a:lnTo>
                      <a:pt x="788" y="283"/>
                    </a:lnTo>
                    <a:lnTo>
                      <a:pt x="788" y="283"/>
                    </a:lnTo>
                    <a:lnTo>
                      <a:pt x="788" y="281"/>
                    </a:lnTo>
                    <a:lnTo>
                      <a:pt x="788" y="281"/>
                    </a:lnTo>
                    <a:lnTo>
                      <a:pt x="785" y="281"/>
                    </a:lnTo>
                    <a:lnTo>
                      <a:pt x="785" y="281"/>
                    </a:lnTo>
                    <a:lnTo>
                      <a:pt x="788" y="280"/>
                    </a:lnTo>
                    <a:lnTo>
                      <a:pt x="788" y="280"/>
                    </a:lnTo>
                    <a:lnTo>
                      <a:pt x="786" y="280"/>
                    </a:lnTo>
                    <a:lnTo>
                      <a:pt x="786" y="280"/>
                    </a:lnTo>
                    <a:lnTo>
                      <a:pt x="788" y="278"/>
                    </a:lnTo>
                    <a:lnTo>
                      <a:pt x="788" y="278"/>
                    </a:lnTo>
                    <a:lnTo>
                      <a:pt x="785" y="278"/>
                    </a:lnTo>
                    <a:lnTo>
                      <a:pt x="785" y="278"/>
                    </a:lnTo>
                    <a:lnTo>
                      <a:pt x="780" y="280"/>
                    </a:lnTo>
                    <a:lnTo>
                      <a:pt x="780" y="280"/>
                    </a:lnTo>
                    <a:lnTo>
                      <a:pt x="780" y="278"/>
                    </a:lnTo>
                    <a:lnTo>
                      <a:pt x="780" y="278"/>
                    </a:lnTo>
                    <a:lnTo>
                      <a:pt x="783" y="278"/>
                    </a:lnTo>
                    <a:lnTo>
                      <a:pt x="783" y="278"/>
                    </a:lnTo>
                    <a:lnTo>
                      <a:pt x="788" y="275"/>
                    </a:lnTo>
                    <a:lnTo>
                      <a:pt x="788" y="275"/>
                    </a:lnTo>
                    <a:lnTo>
                      <a:pt x="785" y="277"/>
                    </a:lnTo>
                    <a:lnTo>
                      <a:pt x="785" y="277"/>
                    </a:lnTo>
                    <a:lnTo>
                      <a:pt x="786" y="275"/>
                    </a:lnTo>
                    <a:lnTo>
                      <a:pt x="786" y="275"/>
                    </a:lnTo>
                    <a:lnTo>
                      <a:pt x="783" y="275"/>
                    </a:lnTo>
                    <a:lnTo>
                      <a:pt x="783" y="275"/>
                    </a:lnTo>
                    <a:lnTo>
                      <a:pt x="783" y="273"/>
                    </a:lnTo>
                    <a:lnTo>
                      <a:pt x="783" y="273"/>
                    </a:lnTo>
                    <a:lnTo>
                      <a:pt x="785" y="273"/>
                    </a:lnTo>
                    <a:lnTo>
                      <a:pt x="785" y="273"/>
                    </a:lnTo>
                    <a:lnTo>
                      <a:pt x="786" y="272"/>
                    </a:lnTo>
                    <a:lnTo>
                      <a:pt x="786" y="272"/>
                    </a:lnTo>
                    <a:lnTo>
                      <a:pt x="785" y="272"/>
                    </a:lnTo>
                    <a:lnTo>
                      <a:pt x="785" y="272"/>
                    </a:lnTo>
                    <a:lnTo>
                      <a:pt x="783" y="272"/>
                    </a:lnTo>
                    <a:lnTo>
                      <a:pt x="783" y="272"/>
                    </a:lnTo>
                    <a:lnTo>
                      <a:pt x="783" y="270"/>
                    </a:lnTo>
                    <a:lnTo>
                      <a:pt x="783" y="270"/>
                    </a:lnTo>
                    <a:lnTo>
                      <a:pt x="783" y="269"/>
                    </a:lnTo>
                    <a:lnTo>
                      <a:pt x="783" y="269"/>
                    </a:lnTo>
                    <a:lnTo>
                      <a:pt x="783" y="267"/>
                    </a:lnTo>
                    <a:lnTo>
                      <a:pt x="783" y="267"/>
                    </a:lnTo>
                    <a:lnTo>
                      <a:pt x="785" y="265"/>
                    </a:lnTo>
                    <a:lnTo>
                      <a:pt x="785" y="265"/>
                    </a:lnTo>
                    <a:lnTo>
                      <a:pt x="780" y="267"/>
                    </a:lnTo>
                    <a:lnTo>
                      <a:pt x="780" y="267"/>
                    </a:lnTo>
                    <a:lnTo>
                      <a:pt x="783" y="264"/>
                    </a:lnTo>
                    <a:lnTo>
                      <a:pt x="783" y="264"/>
                    </a:lnTo>
                    <a:lnTo>
                      <a:pt x="778" y="265"/>
                    </a:lnTo>
                    <a:lnTo>
                      <a:pt x="778" y="265"/>
                    </a:lnTo>
                    <a:lnTo>
                      <a:pt x="782" y="264"/>
                    </a:lnTo>
                    <a:lnTo>
                      <a:pt x="782" y="264"/>
                    </a:lnTo>
                    <a:lnTo>
                      <a:pt x="783" y="264"/>
                    </a:lnTo>
                    <a:lnTo>
                      <a:pt x="783" y="264"/>
                    </a:lnTo>
                    <a:lnTo>
                      <a:pt x="782" y="264"/>
                    </a:lnTo>
                    <a:lnTo>
                      <a:pt x="782" y="264"/>
                    </a:lnTo>
                    <a:lnTo>
                      <a:pt x="780" y="264"/>
                    </a:lnTo>
                    <a:lnTo>
                      <a:pt x="780" y="264"/>
                    </a:lnTo>
                    <a:lnTo>
                      <a:pt x="775" y="264"/>
                    </a:lnTo>
                    <a:lnTo>
                      <a:pt x="775" y="264"/>
                    </a:lnTo>
                    <a:lnTo>
                      <a:pt x="774" y="267"/>
                    </a:lnTo>
                    <a:lnTo>
                      <a:pt x="774" y="267"/>
                    </a:lnTo>
                    <a:lnTo>
                      <a:pt x="772" y="269"/>
                    </a:lnTo>
                    <a:lnTo>
                      <a:pt x="772" y="269"/>
                    </a:lnTo>
                    <a:lnTo>
                      <a:pt x="770" y="269"/>
                    </a:lnTo>
                    <a:lnTo>
                      <a:pt x="770" y="269"/>
                    </a:lnTo>
                    <a:lnTo>
                      <a:pt x="769" y="269"/>
                    </a:lnTo>
                    <a:lnTo>
                      <a:pt x="769" y="269"/>
                    </a:lnTo>
                    <a:lnTo>
                      <a:pt x="767" y="270"/>
                    </a:lnTo>
                    <a:lnTo>
                      <a:pt x="767" y="270"/>
                    </a:lnTo>
                    <a:lnTo>
                      <a:pt x="769" y="272"/>
                    </a:lnTo>
                    <a:lnTo>
                      <a:pt x="769" y="272"/>
                    </a:lnTo>
                    <a:lnTo>
                      <a:pt x="770" y="273"/>
                    </a:lnTo>
                    <a:lnTo>
                      <a:pt x="770" y="273"/>
                    </a:lnTo>
                    <a:lnTo>
                      <a:pt x="766" y="272"/>
                    </a:lnTo>
                    <a:lnTo>
                      <a:pt x="766" y="272"/>
                    </a:lnTo>
                    <a:lnTo>
                      <a:pt x="766" y="275"/>
                    </a:lnTo>
                    <a:lnTo>
                      <a:pt x="766" y="275"/>
                    </a:lnTo>
                    <a:lnTo>
                      <a:pt x="764" y="275"/>
                    </a:lnTo>
                    <a:lnTo>
                      <a:pt x="764" y="275"/>
                    </a:lnTo>
                    <a:lnTo>
                      <a:pt x="764" y="277"/>
                    </a:lnTo>
                    <a:lnTo>
                      <a:pt x="764" y="277"/>
                    </a:lnTo>
                    <a:lnTo>
                      <a:pt x="763" y="277"/>
                    </a:lnTo>
                    <a:lnTo>
                      <a:pt x="763" y="277"/>
                    </a:lnTo>
                    <a:lnTo>
                      <a:pt x="763" y="278"/>
                    </a:lnTo>
                    <a:lnTo>
                      <a:pt x="763" y="278"/>
                    </a:lnTo>
                    <a:lnTo>
                      <a:pt x="764" y="278"/>
                    </a:lnTo>
                    <a:lnTo>
                      <a:pt x="764" y="278"/>
                    </a:lnTo>
                    <a:lnTo>
                      <a:pt x="763" y="280"/>
                    </a:lnTo>
                    <a:lnTo>
                      <a:pt x="763" y="280"/>
                    </a:lnTo>
                    <a:lnTo>
                      <a:pt x="759" y="280"/>
                    </a:lnTo>
                    <a:lnTo>
                      <a:pt x="759" y="280"/>
                    </a:lnTo>
                    <a:lnTo>
                      <a:pt x="759" y="281"/>
                    </a:lnTo>
                    <a:lnTo>
                      <a:pt x="759" y="281"/>
                    </a:lnTo>
                    <a:lnTo>
                      <a:pt x="756" y="281"/>
                    </a:lnTo>
                    <a:lnTo>
                      <a:pt x="756" y="281"/>
                    </a:lnTo>
                    <a:lnTo>
                      <a:pt x="756" y="283"/>
                    </a:lnTo>
                    <a:lnTo>
                      <a:pt x="756" y="283"/>
                    </a:lnTo>
                    <a:lnTo>
                      <a:pt x="753" y="281"/>
                    </a:lnTo>
                    <a:lnTo>
                      <a:pt x="753" y="281"/>
                    </a:lnTo>
                    <a:lnTo>
                      <a:pt x="751" y="283"/>
                    </a:lnTo>
                    <a:lnTo>
                      <a:pt x="751" y="283"/>
                    </a:lnTo>
                    <a:lnTo>
                      <a:pt x="750" y="286"/>
                    </a:lnTo>
                    <a:lnTo>
                      <a:pt x="750" y="286"/>
                    </a:lnTo>
                    <a:lnTo>
                      <a:pt x="748" y="286"/>
                    </a:lnTo>
                    <a:lnTo>
                      <a:pt x="748" y="286"/>
                    </a:lnTo>
                    <a:lnTo>
                      <a:pt x="745" y="286"/>
                    </a:lnTo>
                    <a:lnTo>
                      <a:pt x="745" y="286"/>
                    </a:lnTo>
                    <a:lnTo>
                      <a:pt x="740" y="289"/>
                    </a:lnTo>
                    <a:lnTo>
                      <a:pt x="740" y="289"/>
                    </a:lnTo>
                    <a:lnTo>
                      <a:pt x="736" y="289"/>
                    </a:lnTo>
                    <a:lnTo>
                      <a:pt x="736" y="289"/>
                    </a:lnTo>
                    <a:lnTo>
                      <a:pt x="732" y="292"/>
                    </a:lnTo>
                    <a:lnTo>
                      <a:pt x="732" y="292"/>
                    </a:lnTo>
                    <a:lnTo>
                      <a:pt x="734" y="289"/>
                    </a:lnTo>
                    <a:lnTo>
                      <a:pt x="734" y="289"/>
                    </a:lnTo>
                    <a:lnTo>
                      <a:pt x="736" y="289"/>
                    </a:lnTo>
                    <a:lnTo>
                      <a:pt x="736" y="289"/>
                    </a:lnTo>
                    <a:lnTo>
                      <a:pt x="736" y="288"/>
                    </a:lnTo>
                    <a:lnTo>
                      <a:pt x="736" y="288"/>
                    </a:lnTo>
                    <a:lnTo>
                      <a:pt x="732" y="289"/>
                    </a:lnTo>
                    <a:lnTo>
                      <a:pt x="732" y="289"/>
                    </a:lnTo>
                    <a:lnTo>
                      <a:pt x="734" y="288"/>
                    </a:lnTo>
                    <a:lnTo>
                      <a:pt x="734" y="288"/>
                    </a:lnTo>
                    <a:lnTo>
                      <a:pt x="734" y="286"/>
                    </a:lnTo>
                    <a:lnTo>
                      <a:pt x="734" y="286"/>
                    </a:lnTo>
                    <a:lnTo>
                      <a:pt x="732" y="286"/>
                    </a:lnTo>
                    <a:lnTo>
                      <a:pt x="732" y="286"/>
                    </a:lnTo>
                    <a:lnTo>
                      <a:pt x="731" y="288"/>
                    </a:lnTo>
                    <a:lnTo>
                      <a:pt x="731" y="288"/>
                    </a:lnTo>
                    <a:lnTo>
                      <a:pt x="731" y="285"/>
                    </a:lnTo>
                    <a:lnTo>
                      <a:pt x="731" y="285"/>
                    </a:lnTo>
                    <a:lnTo>
                      <a:pt x="731" y="283"/>
                    </a:lnTo>
                    <a:lnTo>
                      <a:pt x="731" y="283"/>
                    </a:lnTo>
                    <a:lnTo>
                      <a:pt x="729" y="281"/>
                    </a:lnTo>
                    <a:lnTo>
                      <a:pt x="729" y="281"/>
                    </a:lnTo>
                    <a:lnTo>
                      <a:pt x="724" y="281"/>
                    </a:lnTo>
                    <a:lnTo>
                      <a:pt x="724" y="281"/>
                    </a:lnTo>
                    <a:lnTo>
                      <a:pt x="721" y="283"/>
                    </a:lnTo>
                    <a:lnTo>
                      <a:pt x="721" y="283"/>
                    </a:lnTo>
                    <a:lnTo>
                      <a:pt x="716" y="285"/>
                    </a:lnTo>
                    <a:lnTo>
                      <a:pt x="716" y="285"/>
                    </a:lnTo>
                    <a:lnTo>
                      <a:pt x="716" y="283"/>
                    </a:lnTo>
                    <a:lnTo>
                      <a:pt x="716" y="283"/>
                    </a:lnTo>
                    <a:lnTo>
                      <a:pt x="715" y="283"/>
                    </a:lnTo>
                    <a:lnTo>
                      <a:pt x="715" y="283"/>
                    </a:lnTo>
                    <a:lnTo>
                      <a:pt x="713" y="283"/>
                    </a:lnTo>
                    <a:lnTo>
                      <a:pt x="713" y="283"/>
                    </a:lnTo>
                    <a:lnTo>
                      <a:pt x="718" y="281"/>
                    </a:lnTo>
                    <a:lnTo>
                      <a:pt x="718" y="281"/>
                    </a:lnTo>
                    <a:lnTo>
                      <a:pt x="718" y="278"/>
                    </a:lnTo>
                    <a:lnTo>
                      <a:pt x="718" y="278"/>
                    </a:lnTo>
                    <a:lnTo>
                      <a:pt x="718" y="280"/>
                    </a:lnTo>
                    <a:lnTo>
                      <a:pt x="718" y="280"/>
                    </a:lnTo>
                    <a:lnTo>
                      <a:pt x="718" y="283"/>
                    </a:lnTo>
                    <a:lnTo>
                      <a:pt x="718" y="283"/>
                    </a:lnTo>
                    <a:lnTo>
                      <a:pt x="721" y="280"/>
                    </a:lnTo>
                    <a:lnTo>
                      <a:pt x="721" y="280"/>
                    </a:lnTo>
                    <a:lnTo>
                      <a:pt x="724" y="278"/>
                    </a:lnTo>
                    <a:lnTo>
                      <a:pt x="724" y="278"/>
                    </a:lnTo>
                    <a:lnTo>
                      <a:pt x="724" y="277"/>
                    </a:lnTo>
                    <a:lnTo>
                      <a:pt x="724" y="277"/>
                    </a:lnTo>
                    <a:lnTo>
                      <a:pt x="724" y="277"/>
                    </a:lnTo>
                    <a:lnTo>
                      <a:pt x="724" y="277"/>
                    </a:lnTo>
                    <a:lnTo>
                      <a:pt x="728" y="277"/>
                    </a:lnTo>
                    <a:lnTo>
                      <a:pt x="728" y="277"/>
                    </a:lnTo>
                    <a:lnTo>
                      <a:pt x="728" y="275"/>
                    </a:lnTo>
                    <a:lnTo>
                      <a:pt x="728" y="275"/>
                    </a:lnTo>
                    <a:lnTo>
                      <a:pt x="724" y="275"/>
                    </a:lnTo>
                    <a:lnTo>
                      <a:pt x="724" y="275"/>
                    </a:lnTo>
                    <a:lnTo>
                      <a:pt x="721" y="275"/>
                    </a:lnTo>
                    <a:lnTo>
                      <a:pt x="721" y="275"/>
                    </a:lnTo>
                    <a:lnTo>
                      <a:pt x="724" y="273"/>
                    </a:lnTo>
                    <a:lnTo>
                      <a:pt x="724" y="273"/>
                    </a:lnTo>
                    <a:lnTo>
                      <a:pt x="724" y="272"/>
                    </a:lnTo>
                    <a:lnTo>
                      <a:pt x="724" y="272"/>
                    </a:lnTo>
                    <a:lnTo>
                      <a:pt x="724" y="272"/>
                    </a:lnTo>
                    <a:lnTo>
                      <a:pt x="724" y="272"/>
                    </a:lnTo>
                    <a:lnTo>
                      <a:pt x="728" y="267"/>
                    </a:lnTo>
                    <a:lnTo>
                      <a:pt x="728" y="267"/>
                    </a:lnTo>
                    <a:lnTo>
                      <a:pt x="724" y="265"/>
                    </a:lnTo>
                    <a:lnTo>
                      <a:pt x="724" y="265"/>
                    </a:lnTo>
                    <a:lnTo>
                      <a:pt x="728" y="265"/>
                    </a:lnTo>
                    <a:lnTo>
                      <a:pt x="728" y="265"/>
                    </a:lnTo>
                    <a:lnTo>
                      <a:pt x="729" y="264"/>
                    </a:lnTo>
                    <a:lnTo>
                      <a:pt x="729" y="264"/>
                    </a:lnTo>
                    <a:lnTo>
                      <a:pt x="731" y="261"/>
                    </a:lnTo>
                    <a:lnTo>
                      <a:pt x="731" y="261"/>
                    </a:lnTo>
                    <a:lnTo>
                      <a:pt x="732" y="258"/>
                    </a:lnTo>
                    <a:lnTo>
                      <a:pt x="732" y="258"/>
                    </a:lnTo>
                    <a:lnTo>
                      <a:pt x="734" y="258"/>
                    </a:lnTo>
                    <a:lnTo>
                      <a:pt x="734" y="258"/>
                    </a:lnTo>
                    <a:lnTo>
                      <a:pt x="736" y="254"/>
                    </a:lnTo>
                    <a:lnTo>
                      <a:pt x="736" y="254"/>
                    </a:lnTo>
                    <a:lnTo>
                      <a:pt x="737" y="254"/>
                    </a:lnTo>
                    <a:lnTo>
                      <a:pt x="737" y="254"/>
                    </a:lnTo>
                    <a:lnTo>
                      <a:pt x="737" y="253"/>
                    </a:lnTo>
                    <a:lnTo>
                      <a:pt x="737" y="253"/>
                    </a:lnTo>
                    <a:lnTo>
                      <a:pt x="736" y="253"/>
                    </a:lnTo>
                    <a:lnTo>
                      <a:pt x="736" y="253"/>
                    </a:lnTo>
                    <a:lnTo>
                      <a:pt x="732" y="254"/>
                    </a:lnTo>
                    <a:lnTo>
                      <a:pt x="732" y="254"/>
                    </a:lnTo>
                    <a:lnTo>
                      <a:pt x="729" y="254"/>
                    </a:lnTo>
                    <a:lnTo>
                      <a:pt x="729" y="254"/>
                    </a:lnTo>
                    <a:lnTo>
                      <a:pt x="731" y="253"/>
                    </a:lnTo>
                    <a:lnTo>
                      <a:pt x="731" y="253"/>
                    </a:lnTo>
                    <a:lnTo>
                      <a:pt x="729" y="253"/>
                    </a:lnTo>
                    <a:lnTo>
                      <a:pt x="729" y="253"/>
                    </a:lnTo>
                    <a:lnTo>
                      <a:pt x="728" y="253"/>
                    </a:lnTo>
                    <a:lnTo>
                      <a:pt x="728" y="253"/>
                    </a:lnTo>
                    <a:lnTo>
                      <a:pt x="721" y="251"/>
                    </a:lnTo>
                    <a:lnTo>
                      <a:pt x="721" y="251"/>
                    </a:lnTo>
                    <a:lnTo>
                      <a:pt x="721" y="251"/>
                    </a:lnTo>
                    <a:lnTo>
                      <a:pt x="721" y="251"/>
                    </a:lnTo>
                    <a:lnTo>
                      <a:pt x="718" y="250"/>
                    </a:lnTo>
                    <a:lnTo>
                      <a:pt x="718" y="250"/>
                    </a:lnTo>
                    <a:lnTo>
                      <a:pt x="718" y="251"/>
                    </a:lnTo>
                    <a:lnTo>
                      <a:pt x="718" y="251"/>
                    </a:lnTo>
                    <a:lnTo>
                      <a:pt x="718" y="250"/>
                    </a:lnTo>
                    <a:lnTo>
                      <a:pt x="718" y="250"/>
                    </a:lnTo>
                    <a:lnTo>
                      <a:pt x="718" y="248"/>
                    </a:lnTo>
                    <a:lnTo>
                      <a:pt x="718" y="248"/>
                    </a:lnTo>
                    <a:lnTo>
                      <a:pt x="718" y="248"/>
                    </a:lnTo>
                    <a:lnTo>
                      <a:pt x="718" y="248"/>
                    </a:lnTo>
                    <a:lnTo>
                      <a:pt x="718" y="246"/>
                    </a:lnTo>
                    <a:lnTo>
                      <a:pt x="718" y="246"/>
                    </a:lnTo>
                    <a:lnTo>
                      <a:pt x="721" y="245"/>
                    </a:lnTo>
                    <a:lnTo>
                      <a:pt x="721" y="245"/>
                    </a:lnTo>
                    <a:lnTo>
                      <a:pt x="721" y="243"/>
                    </a:lnTo>
                    <a:lnTo>
                      <a:pt x="721" y="243"/>
                    </a:lnTo>
                    <a:lnTo>
                      <a:pt x="718" y="245"/>
                    </a:lnTo>
                    <a:lnTo>
                      <a:pt x="718" y="245"/>
                    </a:lnTo>
                    <a:lnTo>
                      <a:pt x="718" y="245"/>
                    </a:lnTo>
                    <a:lnTo>
                      <a:pt x="718" y="245"/>
                    </a:lnTo>
                    <a:lnTo>
                      <a:pt x="718" y="243"/>
                    </a:lnTo>
                    <a:lnTo>
                      <a:pt x="718" y="243"/>
                    </a:lnTo>
                    <a:lnTo>
                      <a:pt x="716" y="243"/>
                    </a:lnTo>
                    <a:lnTo>
                      <a:pt x="716" y="243"/>
                    </a:lnTo>
                    <a:lnTo>
                      <a:pt x="718" y="242"/>
                    </a:lnTo>
                    <a:lnTo>
                      <a:pt x="718" y="242"/>
                    </a:lnTo>
                    <a:lnTo>
                      <a:pt x="715" y="242"/>
                    </a:lnTo>
                    <a:lnTo>
                      <a:pt x="715" y="242"/>
                    </a:lnTo>
                    <a:lnTo>
                      <a:pt x="712" y="242"/>
                    </a:lnTo>
                    <a:lnTo>
                      <a:pt x="712" y="242"/>
                    </a:lnTo>
                    <a:lnTo>
                      <a:pt x="713" y="240"/>
                    </a:lnTo>
                    <a:lnTo>
                      <a:pt x="713" y="240"/>
                    </a:lnTo>
                    <a:lnTo>
                      <a:pt x="715" y="238"/>
                    </a:lnTo>
                    <a:lnTo>
                      <a:pt x="715" y="238"/>
                    </a:lnTo>
                    <a:lnTo>
                      <a:pt x="713" y="238"/>
                    </a:lnTo>
                    <a:lnTo>
                      <a:pt x="713" y="238"/>
                    </a:lnTo>
                    <a:lnTo>
                      <a:pt x="712" y="237"/>
                    </a:lnTo>
                    <a:lnTo>
                      <a:pt x="712" y="237"/>
                    </a:lnTo>
                    <a:lnTo>
                      <a:pt x="710" y="235"/>
                    </a:lnTo>
                    <a:lnTo>
                      <a:pt x="710" y="235"/>
                    </a:lnTo>
                    <a:lnTo>
                      <a:pt x="707" y="234"/>
                    </a:lnTo>
                    <a:lnTo>
                      <a:pt x="707" y="234"/>
                    </a:lnTo>
                    <a:lnTo>
                      <a:pt x="704" y="234"/>
                    </a:lnTo>
                    <a:lnTo>
                      <a:pt x="704" y="234"/>
                    </a:lnTo>
                    <a:lnTo>
                      <a:pt x="697" y="235"/>
                    </a:lnTo>
                    <a:lnTo>
                      <a:pt x="697" y="235"/>
                    </a:lnTo>
                    <a:lnTo>
                      <a:pt x="696" y="237"/>
                    </a:lnTo>
                    <a:lnTo>
                      <a:pt x="696" y="237"/>
                    </a:lnTo>
                    <a:lnTo>
                      <a:pt x="696" y="238"/>
                    </a:lnTo>
                    <a:lnTo>
                      <a:pt x="696" y="238"/>
                    </a:lnTo>
                    <a:lnTo>
                      <a:pt x="693" y="237"/>
                    </a:lnTo>
                    <a:lnTo>
                      <a:pt x="693" y="237"/>
                    </a:lnTo>
                    <a:lnTo>
                      <a:pt x="689" y="235"/>
                    </a:lnTo>
                    <a:lnTo>
                      <a:pt x="689" y="235"/>
                    </a:lnTo>
                    <a:lnTo>
                      <a:pt x="685" y="237"/>
                    </a:lnTo>
                    <a:lnTo>
                      <a:pt x="685" y="237"/>
                    </a:lnTo>
                    <a:lnTo>
                      <a:pt x="686" y="235"/>
                    </a:lnTo>
                    <a:lnTo>
                      <a:pt x="686" y="235"/>
                    </a:lnTo>
                    <a:lnTo>
                      <a:pt x="682" y="234"/>
                    </a:lnTo>
                    <a:lnTo>
                      <a:pt x="682" y="234"/>
                    </a:lnTo>
                    <a:lnTo>
                      <a:pt x="675" y="232"/>
                    </a:lnTo>
                    <a:lnTo>
                      <a:pt x="675" y="232"/>
                    </a:lnTo>
                    <a:lnTo>
                      <a:pt x="672" y="232"/>
                    </a:lnTo>
                    <a:lnTo>
                      <a:pt x="672" y="232"/>
                    </a:lnTo>
                    <a:lnTo>
                      <a:pt x="666" y="234"/>
                    </a:lnTo>
                    <a:lnTo>
                      <a:pt x="666" y="234"/>
                    </a:lnTo>
                    <a:lnTo>
                      <a:pt x="663" y="235"/>
                    </a:lnTo>
                    <a:lnTo>
                      <a:pt x="663" y="235"/>
                    </a:lnTo>
                    <a:lnTo>
                      <a:pt x="661" y="240"/>
                    </a:lnTo>
                    <a:lnTo>
                      <a:pt x="661" y="240"/>
                    </a:lnTo>
                    <a:lnTo>
                      <a:pt x="659" y="243"/>
                    </a:lnTo>
                    <a:lnTo>
                      <a:pt x="659" y="243"/>
                    </a:lnTo>
                    <a:lnTo>
                      <a:pt x="663" y="246"/>
                    </a:lnTo>
                    <a:lnTo>
                      <a:pt x="663" y="246"/>
                    </a:lnTo>
                    <a:lnTo>
                      <a:pt x="661" y="246"/>
                    </a:lnTo>
                    <a:lnTo>
                      <a:pt x="661" y="246"/>
                    </a:lnTo>
                    <a:lnTo>
                      <a:pt x="659" y="246"/>
                    </a:lnTo>
                    <a:lnTo>
                      <a:pt x="659" y="246"/>
                    </a:lnTo>
                    <a:lnTo>
                      <a:pt x="658" y="250"/>
                    </a:lnTo>
                    <a:lnTo>
                      <a:pt x="658" y="250"/>
                    </a:lnTo>
                    <a:lnTo>
                      <a:pt x="653" y="253"/>
                    </a:lnTo>
                    <a:lnTo>
                      <a:pt x="653" y="253"/>
                    </a:lnTo>
                    <a:lnTo>
                      <a:pt x="651" y="254"/>
                    </a:lnTo>
                    <a:lnTo>
                      <a:pt x="651" y="254"/>
                    </a:lnTo>
                    <a:lnTo>
                      <a:pt x="650" y="254"/>
                    </a:lnTo>
                    <a:lnTo>
                      <a:pt x="650" y="254"/>
                    </a:lnTo>
                    <a:lnTo>
                      <a:pt x="651" y="254"/>
                    </a:lnTo>
                    <a:lnTo>
                      <a:pt x="651" y="254"/>
                    </a:lnTo>
                    <a:lnTo>
                      <a:pt x="655" y="254"/>
                    </a:lnTo>
                    <a:lnTo>
                      <a:pt x="655" y="254"/>
                    </a:lnTo>
                    <a:lnTo>
                      <a:pt x="651" y="258"/>
                    </a:lnTo>
                    <a:lnTo>
                      <a:pt x="651" y="258"/>
                    </a:lnTo>
                    <a:lnTo>
                      <a:pt x="655" y="258"/>
                    </a:lnTo>
                    <a:lnTo>
                      <a:pt x="655" y="258"/>
                    </a:lnTo>
                    <a:lnTo>
                      <a:pt x="651" y="261"/>
                    </a:lnTo>
                    <a:lnTo>
                      <a:pt x="651" y="261"/>
                    </a:lnTo>
                    <a:lnTo>
                      <a:pt x="650" y="261"/>
                    </a:lnTo>
                    <a:lnTo>
                      <a:pt x="650" y="261"/>
                    </a:lnTo>
                    <a:lnTo>
                      <a:pt x="651" y="264"/>
                    </a:lnTo>
                    <a:lnTo>
                      <a:pt x="651" y="264"/>
                    </a:lnTo>
                    <a:lnTo>
                      <a:pt x="650" y="265"/>
                    </a:lnTo>
                    <a:lnTo>
                      <a:pt x="650" y="265"/>
                    </a:lnTo>
                    <a:lnTo>
                      <a:pt x="651" y="265"/>
                    </a:lnTo>
                    <a:lnTo>
                      <a:pt x="651" y="265"/>
                    </a:lnTo>
                    <a:lnTo>
                      <a:pt x="650" y="267"/>
                    </a:lnTo>
                    <a:lnTo>
                      <a:pt x="650" y="267"/>
                    </a:lnTo>
                    <a:lnTo>
                      <a:pt x="648" y="269"/>
                    </a:lnTo>
                    <a:lnTo>
                      <a:pt x="648" y="269"/>
                    </a:lnTo>
                    <a:lnTo>
                      <a:pt x="647" y="269"/>
                    </a:lnTo>
                    <a:lnTo>
                      <a:pt x="647" y="269"/>
                    </a:lnTo>
                    <a:lnTo>
                      <a:pt x="647" y="270"/>
                    </a:lnTo>
                    <a:lnTo>
                      <a:pt x="647" y="270"/>
                    </a:lnTo>
                    <a:lnTo>
                      <a:pt x="643" y="270"/>
                    </a:lnTo>
                    <a:lnTo>
                      <a:pt x="643" y="270"/>
                    </a:lnTo>
                    <a:lnTo>
                      <a:pt x="642" y="272"/>
                    </a:lnTo>
                    <a:lnTo>
                      <a:pt x="642" y="272"/>
                    </a:lnTo>
                    <a:lnTo>
                      <a:pt x="640" y="273"/>
                    </a:lnTo>
                    <a:lnTo>
                      <a:pt x="640" y="273"/>
                    </a:lnTo>
                    <a:lnTo>
                      <a:pt x="642" y="273"/>
                    </a:lnTo>
                    <a:lnTo>
                      <a:pt x="642" y="273"/>
                    </a:lnTo>
                    <a:lnTo>
                      <a:pt x="637" y="277"/>
                    </a:lnTo>
                    <a:lnTo>
                      <a:pt x="637" y="277"/>
                    </a:lnTo>
                    <a:lnTo>
                      <a:pt x="631" y="280"/>
                    </a:lnTo>
                    <a:lnTo>
                      <a:pt x="631" y="280"/>
                    </a:lnTo>
                    <a:lnTo>
                      <a:pt x="628" y="281"/>
                    </a:lnTo>
                    <a:lnTo>
                      <a:pt x="628" y="281"/>
                    </a:lnTo>
                    <a:lnTo>
                      <a:pt x="628" y="285"/>
                    </a:lnTo>
                    <a:lnTo>
                      <a:pt x="628" y="285"/>
                    </a:lnTo>
                    <a:lnTo>
                      <a:pt x="628" y="286"/>
                    </a:lnTo>
                    <a:lnTo>
                      <a:pt x="628" y="286"/>
                    </a:lnTo>
                    <a:lnTo>
                      <a:pt x="631" y="288"/>
                    </a:lnTo>
                    <a:lnTo>
                      <a:pt x="631" y="288"/>
                    </a:lnTo>
                    <a:lnTo>
                      <a:pt x="631" y="289"/>
                    </a:lnTo>
                    <a:lnTo>
                      <a:pt x="631" y="289"/>
                    </a:lnTo>
                    <a:lnTo>
                      <a:pt x="634" y="289"/>
                    </a:lnTo>
                    <a:lnTo>
                      <a:pt x="634" y="289"/>
                    </a:lnTo>
                    <a:lnTo>
                      <a:pt x="637" y="292"/>
                    </a:lnTo>
                    <a:lnTo>
                      <a:pt x="637" y="292"/>
                    </a:lnTo>
                    <a:lnTo>
                      <a:pt x="637" y="299"/>
                    </a:lnTo>
                    <a:lnTo>
                      <a:pt x="637" y="299"/>
                    </a:lnTo>
                    <a:lnTo>
                      <a:pt x="637" y="304"/>
                    </a:lnTo>
                    <a:lnTo>
                      <a:pt x="637" y="304"/>
                    </a:lnTo>
                    <a:lnTo>
                      <a:pt x="634" y="310"/>
                    </a:lnTo>
                    <a:lnTo>
                      <a:pt x="634" y="310"/>
                    </a:lnTo>
                    <a:lnTo>
                      <a:pt x="631" y="313"/>
                    </a:lnTo>
                    <a:lnTo>
                      <a:pt x="631" y="313"/>
                    </a:lnTo>
                    <a:lnTo>
                      <a:pt x="626" y="319"/>
                    </a:lnTo>
                    <a:lnTo>
                      <a:pt x="626" y="319"/>
                    </a:lnTo>
                    <a:lnTo>
                      <a:pt x="615" y="324"/>
                    </a:lnTo>
                    <a:lnTo>
                      <a:pt x="615" y="324"/>
                    </a:lnTo>
                    <a:lnTo>
                      <a:pt x="602" y="331"/>
                    </a:lnTo>
                    <a:lnTo>
                      <a:pt x="602" y="331"/>
                    </a:lnTo>
                    <a:lnTo>
                      <a:pt x="591" y="335"/>
                    </a:lnTo>
                    <a:lnTo>
                      <a:pt x="591" y="335"/>
                    </a:lnTo>
                    <a:lnTo>
                      <a:pt x="586" y="335"/>
                    </a:lnTo>
                    <a:lnTo>
                      <a:pt x="586" y="335"/>
                    </a:lnTo>
                    <a:lnTo>
                      <a:pt x="583" y="337"/>
                    </a:lnTo>
                    <a:lnTo>
                      <a:pt x="583" y="337"/>
                    </a:lnTo>
                    <a:lnTo>
                      <a:pt x="582" y="339"/>
                    </a:lnTo>
                    <a:lnTo>
                      <a:pt x="582" y="339"/>
                    </a:lnTo>
                    <a:lnTo>
                      <a:pt x="583" y="339"/>
                    </a:lnTo>
                    <a:lnTo>
                      <a:pt x="583" y="339"/>
                    </a:lnTo>
                    <a:lnTo>
                      <a:pt x="583" y="342"/>
                    </a:lnTo>
                    <a:lnTo>
                      <a:pt x="583" y="342"/>
                    </a:lnTo>
                    <a:lnTo>
                      <a:pt x="583" y="343"/>
                    </a:lnTo>
                    <a:lnTo>
                      <a:pt x="583" y="343"/>
                    </a:lnTo>
                    <a:lnTo>
                      <a:pt x="582" y="345"/>
                    </a:lnTo>
                    <a:lnTo>
                      <a:pt x="582" y="345"/>
                    </a:lnTo>
                    <a:lnTo>
                      <a:pt x="585" y="345"/>
                    </a:lnTo>
                    <a:lnTo>
                      <a:pt x="585" y="345"/>
                    </a:lnTo>
                    <a:lnTo>
                      <a:pt x="583" y="345"/>
                    </a:lnTo>
                    <a:lnTo>
                      <a:pt x="583" y="345"/>
                    </a:lnTo>
                    <a:lnTo>
                      <a:pt x="585" y="345"/>
                    </a:lnTo>
                    <a:lnTo>
                      <a:pt x="585" y="345"/>
                    </a:lnTo>
                    <a:lnTo>
                      <a:pt x="583" y="348"/>
                    </a:lnTo>
                    <a:lnTo>
                      <a:pt x="583" y="348"/>
                    </a:lnTo>
                    <a:lnTo>
                      <a:pt x="583" y="348"/>
                    </a:lnTo>
                    <a:lnTo>
                      <a:pt x="583" y="348"/>
                    </a:lnTo>
                    <a:lnTo>
                      <a:pt x="582" y="348"/>
                    </a:lnTo>
                    <a:lnTo>
                      <a:pt x="582" y="348"/>
                    </a:lnTo>
                    <a:lnTo>
                      <a:pt x="580" y="351"/>
                    </a:lnTo>
                    <a:lnTo>
                      <a:pt x="580" y="351"/>
                    </a:lnTo>
                    <a:lnTo>
                      <a:pt x="582" y="351"/>
                    </a:lnTo>
                    <a:lnTo>
                      <a:pt x="582" y="351"/>
                    </a:lnTo>
                    <a:lnTo>
                      <a:pt x="580" y="351"/>
                    </a:lnTo>
                    <a:lnTo>
                      <a:pt x="580" y="351"/>
                    </a:lnTo>
                    <a:lnTo>
                      <a:pt x="582" y="351"/>
                    </a:lnTo>
                    <a:lnTo>
                      <a:pt x="582" y="351"/>
                    </a:lnTo>
                    <a:lnTo>
                      <a:pt x="580" y="354"/>
                    </a:lnTo>
                    <a:lnTo>
                      <a:pt x="580" y="354"/>
                    </a:lnTo>
                    <a:lnTo>
                      <a:pt x="578" y="358"/>
                    </a:lnTo>
                    <a:lnTo>
                      <a:pt x="578" y="358"/>
                    </a:lnTo>
                    <a:lnTo>
                      <a:pt x="577" y="359"/>
                    </a:lnTo>
                    <a:lnTo>
                      <a:pt x="577" y="359"/>
                    </a:lnTo>
                    <a:lnTo>
                      <a:pt x="578" y="361"/>
                    </a:lnTo>
                    <a:lnTo>
                      <a:pt x="578" y="361"/>
                    </a:lnTo>
                    <a:lnTo>
                      <a:pt x="577" y="361"/>
                    </a:lnTo>
                    <a:lnTo>
                      <a:pt x="577" y="361"/>
                    </a:lnTo>
                    <a:lnTo>
                      <a:pt x="578" y="362"/>
                    </a:lnTo>
                    <a:lnTo>
                      <a:pt x="578" y="362"/>
                    </a:lnTo>
                    <a:lnTo>
                      <a:pt x="577" y="362"/>
                    </a:lnTo>
                    <a:lnTo>
                      <a:pt x="577" y="362"/>
                    </a:lnTo>
                    <a:lnTo>
                      <a:pt x="577" y="365"/>
                    </a:lnTo>
                    <a:lnTo>
                      <a:pt x="577" y="365"/>
                    </a:lnTo>
                    <a:lnTo>
                      <a:pt x="577" y="367"/>
                    </a:lnTo>
                    <a:lnTo>
                      <a:pt x="577" y="367"/>
                    </a:lnTo>
                    <a:lnTo>
                      <a:pt x="577" y="369"/>
                    </a:lnTo>
                    <a:lnTo>
                      <a:pt x="577" y="369"/>
                    </a:lnTo>
                    <a:lnTo>
                      <a:pt x="577" y="370"/>
                    </a:lnTo>
                    <a:lnTo>
                      <a:pt x="577" y="370"/>
                    </a:lnTo>
                    <a:lnTo>
                      <a:pt x="574" y="372"/>
                    </a:lnTo>
                    <a:lnTo>
                      <a:pt x="574" y="372"/>
                    </a:lnTo>
                    <a:lnTo>
                      <a:pt x="570" y="375"/>
                    </a:lnTo>
                    <a:lnTo>
                      <a:pt x="570" y="375"/>
                    </a:lnTo>
                    <a:lnTo>
                      <a:pt x="570" y="375"/>
                    </a:lnTo>
                    <a:lnTo>
                      <a:pt x="570" y="375"/>
                    </a:lnTo>
                    <a:lnTo>
                      <a:pt x="570" y="377"/>
                    </a:lnTo>
                    <a:lnTo>
                      <a:pt x="570" y="377"/>
                    </a:lnTo>
                    <a:lnTo>
                      <a:pt x="567" y="378"/>
                    </a:lnTo>
                    <a:lnTo>
                      <a:pt x="567" y="378"/>
                    </a:lnTo>
                    <a:lnTo>
                      <a:pt x="567" y="380"/>
                    </a:lnTo>
                    <a:lnTo>
                      <a:pt x="567" y="380"/>
                    </a:lnTo>
                    <a:lnTo>
                      <a:pt x="567" y="380"/>
                    </a:lnTo>
                    <a:lnTo>
                      <a:pt x="567" y="380"/>
                    </a:lnTo>
                    <a:lnTo>
                      <a:pt x="570" y="380"/>
                    </a:lnTo>
                    <a:lnTo>
                      <a:pt x="570" y="380"/>
                    </a:lnTo>
                    <a:lnTo>
                      <a:pt x="567" y="383"/>
                    </a:lnTo>
                    <a:lnTo>
                      <a:pt x="567" y="383"/>
                    </a:lnTo>
                    <a:lnTo>
                      <a:pt x="564" y="383"/>
                    </a:lnTo>
                    <a:lnTo>
                      <a:pt x="564" y="383"/>
                    </a:lnTo>
                    <a:lnTo>
                      <a:pt x="564" y="383"/>
                    </a:lnTo>
                    <a:lnTo>
                      <a:pt x="564" y="383"/>
                    </a:lnTo>
                    <a:lnTo>
                      <a:pt x="564" y="380"/>
                    </a:lnTo>
                    <a:lnTo>
                      <a:pt x="564" y="380"/>
                    </a:lnTo>
                    <a:lnTo>
                      <a:pt x="564" y="380"/>
                    </a:lnTo>
                    <a:lnTo>
                      <a:pt x="564" y="380"/>
                    </a:lnTo>
                    <a:lnTo>
                      <a:pt x="564" y="380"/>
                    </a:lnTo>
                    <a:lnTo>
                      <a:pt x="564" y="380"/>
                    </a:lnTo>
                    <a:lnTo>
                      <a:pt x="562" y="380"/>
                    </a:lnTo>
                    <a:lnTo>
                      <a:pt x="562" y="380"/>
                    </a:lnTo>
                    <a:lnTo>
                      <a:pt x="559" y="380"/>
                    </a:lnTo>
                    <a:lnTo>
                      <a:pt x="559" y="380"/>
                    </a:lnTo>
                    <a:lnTo>
                      <a:pt x="556" y="383"/>
                    </a:lnTo>
                    <a:lnTo>
                      <a:pt x="556" y="383"/>
                    </a:lnTo>
                    <a:lnTo>
                      <a:pt x="556" y="386"/>
                    </a:lnTo>
                    <a:lnTo>
                      <a:pt x="556" y="386"/>
                    </a:lnTo>
                    <a:lnTo>
                      <a:pt x="556" y="389"/>
                    </a:lnTo>
                    <a:lnTo>
                      <a:pt x="556" y="389"/>
                    </a:lnTo>
                    <a:lnTo>
                      <a:pt x="555" y="386"/>
                    </a:lnTo>
                    <a:lnTo>
                      <a:pt x="555" y="386"/>
                    </a:lnTo>
                    <a:lnTo>
                      <a:pt x="551" y="383"/>
                    </a:lnTo>
                    <a:lnTo>
                      <a:pt x="551" y="383"/>
                    </a:lnTo>
                    <a:lnTo>
                      <a:pt x="550" y="383"/>
                    </a:lnTo>
                    <a:lnTo>
                      <a:pt x="550" y="383"/>
                    </a:lnTo>
                    <a:lnTo>
                      <a:pt x="547" y="386"/>
                    </a:lnTo>
                    <a:lnTo>
                      <a:pt x="547" y="386"/>
                    </a:lnTo>
                    <a:lnTo>
                      <a:pt x="543" y="386"/>
                    </a:lnTo>
                    <a:lnTo>
                      <a:pt x="543" y="386"/>
                    </a:lnTo>
                    <a:lnTo>
                      <a:pt x="540" y="386"/>
                    </a:lnTo>
                    <a:lnTo>
                      <a:pt x="540" y="386"/>
                    </a:lnTo>
                    <a:lnTo>
                      <a:pt x="547" y="383"/>
                    </a:lnTo>
                    <a:lnTo>
                      <a:pt x="547" y="383"/>
                    </a:lnTo>
                    <a:lnTo>
                      <a:pt x="550" y="380"/>
                    </a:lnTo>
                    <a:lnTo>
                      <a:pt x="550" y="380"/>
                    </a:lnTo>
                    <a:lnTo>
                      <a:pt x="550" y="378"/>
                    </a:lnTo>
                    <a:lnTo>
                      <a:pt x="550" y="378"/>
                    </a:lnTo>
                    <a:lnTo>
                      <a:pt x="548" y="375"/>
                    </a:lnTo>
                    <a:lnTo>
                      <a:pt x="548" y="375"/>
                    </a:lnTo>
                    <a:lnTo>
                      <a:pt x="547" y="373"/>
                    </a:lnTo>
                    <a:lnTo>
                      <a:pt x="547" y="373"/>
                    </a:lnTo>
                    <a:lnTo>
                      <a:pt x="543" y="370"/>
                    </a:lnTo>
                    <a:lnTo>
                      <a:pt x="543" y="370"/>
                    </a:lnTo>
                    <a:lnTo>
                      <a:pt x="543" y="370"/>
                    </a:lnTo>
                    <a:lnTo>
                      <a:pt x="543" y="370"/>
                    </a:lnTo>
                    <a:lnTo>
                      <a:pt x="543" y="369"/>
                    </a:lnTo>
                    <a:lnTo>
                      <a:pt x="543" y="369"/>
                    </a:lnTo>
                    <a:lnTo>
                      <a:pt x="543" y="367"/>
                    </a:lnTo>
                    <a:lnTo>
                      <a:pt x="543" y="367"/>
                    </a:lnTo>
                    <a:lnTo>
                      <a:pt x="543" y="364"/>
                    </a:lnTo>
                    <a:lnTo>
                      <a:pt x="543" y="364"/>
                    </a:lnTo>
                    <a:lnTo>
                      <a:pt x="540" y="361"/>
                    </a:lnTo>
                    <a:lnTo>
                      <a:pt x="540" y="361"/>
                    </a:lnTo>
                    <a:lnTo>
                      <a:pt x="547" y="354"/>
                    </a:lnTo>
                    <a:lnTo>
                      <a:pt x="547" y="354"/>
                    </a:lnTo>
                    <a:lnTo>
                      <a:pt x="548" y="348"/>
                    </a:lnTo>
                    <a:lnTo>
                      <a:pt x="548" y="348"/>
                    </a:lnTo>
                    <a:lnTo>
                      <a:pt x="550" y="348"/>
                    </a:lnTo>
                    <a:lnTo>
                      <a:pt x="550" y="348"/>
                    </a:lnTo>
                    <a:lnTo>
                      <a:pt x="550" y="345"/>
                    </a:lnTo>
                    <a:lnTo>
                      <a:pt x="550" y="345"/>
                    </a:lnTo>
                    <a:lnTo>
                      <a:pt x="550" y="343"/>
                    </a:lnTo>
                    <a:lnTo>
                      <a:pt x="550" y="343"/>
                    </a:lnTo>
                    <a:lnTo>
                      <a:pt x="553" y="340"/>
                    </a:lnTo>
                    <a:lnTo>
                      <a:pt x="553" y="340"/>
                    </a:lnTo>
                    <a:lnTo>
                      <a:pt x="556" y="337"/>
                    </a:lnTo>
                    <a:lnTo>
                      <a:pt x="556" y="337"/>
                    </a:lnTo>
                    <a:lnTo>
                      <a:pt x="559" y="331"/>
                    </a:lnTo>
                    <a:lnTo>
                      <a:pt x="559" y="331"/>
                    </a:lnTo>
                    <a:lnTo>
                      <a:pt x="558" y="331"/>
                    </a:lnTo>
                    <a:lnTo>
                      <a:pt x="558" y="331"/>
                    </a:lnTo>
                    <a:lnTo>
                      <a:pt x="556" y="331"/>
                    </a:lnTo>
                    <a:lnTo>
                      <a:pt x="556" y="331"/>
                    </a:lnTo>
                    <a:lnTo>
                      <a:pt x="553" y="331"/>
                    </a:lnTo>
                    <a:lnTo>
                      <a:pt x="553" y="331"/>
                    </a:lnTo>
                    <a:lnTo>
                      <a:pt x="550" y="329"/>
                    </a:lnTo>
                    <a:lnTo>
                      <a:pt x="550" y="329"/>
                    </a:lnTo>
                    <a:lnTo>
                      <a:pt x="547" y="329"/>
                    </a:lnTo>
                    <a:lnTo>
                      <a:pt x="547" y="329"/>
                    </a:lnTo>
                    <a:lnTo>
                      <a:pt x="547" y="329"/>
                    </a:lnTo>
                    <a:lnTo>
                      <a:pt x="547" y="329"/>
                    </a:lnTo>
                    <a:lnTo>
                      <a:pt x="547" y="331"/>
                    </a:lnTo>
                    <a:lnTo>
                      <a:pt x="547" y="331"/>
                    </a:lnTo>
                    <a:lnTo>
                      <a:pt x="543" y="329"/>
                    </a:lnTo>
                    <a:lnTo>
                      <a:pt x="543" y="329"/>
                    </a:lnTo>
                    <a:lnTo>
                      <a:pt x="540" y="329"/>
                    </a:lnTo>
                    <a:lnTo>
                      <a:pt x="540" y="329"/>
                    </a:lnTo>
                    <a:lnTo>
                      <a:pt x="535" y="329"/>
                    </a:lnTo>
                    <a:lnTo>
                      <a:pt x="535" y="329"/>
                    </a:lnTo>
                    <a:lnTo>
                      <a:pt x="532" y="329"/>
                    </a:lnTo>
                    <a:lnTo>
                      <a:pt x="532" y="329"/>
                    </a:lnTo>
                    <a:lnTo>
                      <a:pt x="529" y="329"/>
                    </a:lnTo>
                    <a:lnTo>
                      <a:pt x="529" y="329"/>
                    </a:lnTo>
                    <a:lnTo>
                      <a:pt x="531" y="327"/>
                    </a:lnTo>
                    <a:lnTo>
                      <a:pt x="531" y="327"/>
                    </a:lnTo>
                    <a:lnTo>
                      <a:pt x="528" y="326"/>
                    </a:lnTo>
                    <a:lnTo>
                      <a:pt x="528" y="326"/>
                    </a:lnTo>
                    <a:lnTo>
                      <a:pt x="526" y="324"/>
                    </a:lnTo>
                    <a:lnTo>
                      <a:pt x="526" y="324"/>
                    </a:lnTo>
                    <a:lnTo>
                      <a:pt x="524" y="323"/>
                    </a:lnTo>
                    <a:lnTo>
                      <a:pt x="524" y="323"/>
                    </a:lnTo>
                    <a:lnTo>
                      <a:pt x="521" y="323"/>
                    </a:lnTo>
                    <a:lnTo>
                      <a:pt x="521" y="323"/>
                    </a:lnTo>
                    <a:lnTo>
                      <a:pt x="515" y="319"/>
                    </a:lnTo>
                    <a:lnTo>
                      <a:pt x="515" y="319"/>
                    </a:lnTo>
                    <a:lnTo>
                      <a:pt x="512" y="319"/>
                    </a:lnTo>
                    <a:lnTo>
                      <a:pt x="512" y="319"/>
                    </a:lnTo>
                    <a:lnTo>
                      <a:pt x="508" y="319"/>
                    </a:lnTo>
                    <a:lnTo>
                      <a:pt x="508" y="319"/>
                    </a:lnTo>
                    <a:lnTo>
                      <a:pt x="512" y="316"/>
                    </a:lnTo>
                    <a:lnTo>
                      <a:pt x="512" y="316"/>
                    </a:lnTo>
                    <a:lnTo>
                      <a:pt x="508" y="313"/>
                    </a:lnTo>
                    <a:lnTo>
                      <a:pt x="508" y="313"/>
                    </a:lnTo>
                    <a:lnTo>
                      <a:pt x="505" y="310"/>
                    </a:lnTo>
                    <a:lnTo>
                      <a:pt x="505" y="310"/>
                    </a:lnTo>
                    <a:lnTo>
                      <a:pt x="505" y="308"/>
                    </a:lnTo>
                    <a:lnTo>
                      <a:pt x="505" y="308"/>
                    </a:lnTo>
                    <a:lnTo>
                      <a:pt x="502" y="308"/>
                    </a:lnTo>
                    <a:lnTo>
                      <a:pt x="502" y="308"/>
                    </a:lnTo>
                    <a:lnTo>
                      <a:pt x="497" y="307"/>
                    </a:lnTo>
                    <a:lnTo>
                      <a:pt x="497" y="307"/>
                    </a:lnTo>
                    <a:lnTo>
                      <a:pt x="489" y="304"/>
                    </a:lnTo>
                    <a:lnTo>
                      <a:pt x="489" y="304"/>
                    </a:lnTo>
                    <a:lnTo>
                      <a:pt x="486" y="302"/>
                    </a:lnTo>
                    <a:lnTo>
                      <a:pt x="486" y="302"/>
                    </a:lnTo>
                    <a:lnTo>
                      <a:pt x="482" y="302"/>
                    </a:lnTo>
                    <a:lnTo>
                      <a:pt x="482" y="302"/>
                    </a:lnTo>
                    <a:lnTo>
                      <a:pt x="474" y="305"/>
                    </a:lnTo>
                    <a:lnTo>
                      <a:pt x="474" y="305"/>
                    </a:lnTo>
                    <a:lnTo>
                      <a:pt x="467" y="307"/>
                    </a:lnTo>
                    <a:lnTo>
                      <a:pt x="467" y="307"/>
                    </a:lnTo>
                    <a:lnTo>
                      <a:pt x="462" y="307"/>
                    </a:lnTo>
                    <a:lnTo>
                      <a:pt x="462" y="307"/>
                    </a:lnTo>
                    <a:lnTo>
                      <a:pt x="467" y="304"/>
                    </a:lnTo>
                    <a:lnTo>
                      <a:pt x="467" y="304"/>
                    </a:lnTo>
                    <a:lnTo>
                      <a:pt x="470" y="300"/>
                    </a:lnTo>
                    <a:lnTo>
                      <a:pt x="470" y="300"/>
                    </a:lnTo>
                    <a:lnTo>
                      <a:pt x="474" y="299"/>
                    </a:lnTo>
                    <a:lnTo>
                      <a:pt x="474" y="299"/>
                    </a:lnTo>
                    <a:lnTo>
                      <a:pt x="474" y="292"/>
                    </a:lnTo>
                    <a:lnTo>
                      <a:pt x="474" y="292"/>
                    </a:lnTo>
                    <a:lnTo>
                      <a:pt x="477" y="285"/>
                    </a:lnTo>
                    <a:lnTo>
                      <a:pt x="477" y="285"/>
                    </a:lnTo>
                    <a:lnTo>
                      <a:pt x="477" y="283"/>
                    </a:lnTo>
                    <a:lnTo>
                      <a:pt x="477" y="283"/>
                    </a:lnTo>
                    <a:lnTo>
                      <a:pt x="474" y="283"/>
                    </a:lnTo>
                    <a:lnTo>
                      <a:pt x="474" y="283"/>
                    </a:lnTo>
                    <a:lnTo>
                      <a:pt x="470" y="283"/>
                    </a:lnTo>
                    <a:lnTo>
                      <a:pt x="470" y="283"/>
                    </a:lnTo>
                    <a:lnTo>
                      <a:pt x="467" y="283"/>
                    </a:lnTo>
                    <a:lnTo>
                      <a:pt x="467" y="283"/>
                    </a:lnTo>
                    <a:lnTo>
                      <a:pt x="467" y="283"/>
                    </a:lnTo>
                    <a:lnTo>
                      <a:pt x="467" y="283"/>
                    </a:lnTo>
                    <a:lnTo>
                      <a:pt x="466" y="283"/>
                    </a:lnTo>
                    <a:lnTo>
                      <a:pt x="466" y="283"/>
                    </a:lnTo>
                    <a:lnTo>
                      <a:pt x="464" y="281"/>
                    </a:lnTo>
                    <a:lnTo>
                      <a:pt x="464" y="281"/>
                    </a:lnTo>
                    <a:lnTo>
                      <a:pt x="462" y="281"/>
                    </a:lnTo>
                    <a:lnTo>
                      <a:pt x="462" y="281"/>
                    </a:lnTo>
                    <a:lnTo>
                      <a:pt x="464" y="280"/>
                    </a:lnTo>
                    <a:lnTo>
                      <a:pt x="464" y="280"/>
                    </a:lnTo>
                    <a:lnTo>
                      <a:pt x="461" y="278"/>
                    </a:lnTo>
                    <a:lnTo>
                      <a:pt x="461" y="278"/>
                    </a:lnTo>
                    <a:lnTo>
                      <a:pt x="464" y="278"/>
                    </a:lnTo>
                    <a:lnTo>
                      <a:pt x="464" y="278"/>
                    </a:lnTo>
                    <a:lnTo>
                      <a:pt x="467" y="275"/>
                    </a:lnTo>
                    <a:lnTo>
                      <a:pt x="467" y="275"/>
                    </a:lnTo>
                    <a:lnTo>
                      <a:pt x="467" y="272"/>
                    </a:lnTo>
                    <a:lnTo>
                      <a:pt x="467" y="272"/>
                    </a:lnTo>
                    <a:lnTo>
                      <a:pt x="470" y="269"/>
                    </a:lnTo>
                    <a:lnTo>
                      <a:pt x="470" y="269"/>
                    </a:lnTo>
                    <a:lnTo>
                      <a:pt x="477" y="264"/>
                    </a:lnTo>
                    <a:lnTo>
                      <a:pt x="477" y="264"/>
                    </a:lnTo>
                    <a:lnTo>
                      <a:pt x="477" y="261"/>
                    </a:lnTo>
                    <a:lnTo>
                      <a:pt x="477" y="261"/>
                    </a:lnTo>
                    <a:lnTo>
                      <a:pt x="480" y="261"/>
                    </a:lnTo>
                    <a:lnTo>
                      <a:pt x="480" y="261"/>
                    </a:lnTo>
                    <a:lnTo>
                      <a:pt x="480" y="258"/>
                    </a:lnTo>
                    <a:lnTo>
                      <a:pt x="480" y="258"/>
                    </a:lnTo>
                    <a:lnTo>
                      <a:pt x="482" y="258"/>
                    </a:lnTo>
                    <a:lnTo>
                      <a:pt x="482" y="258"/>
                    </a:lnTo>
                    <a:lnTo>
                      <a:pt x="485" y="258"/>
                    </a:lnTo>
                    <a:lnTo>
                      <a:pt x="485" y="258"/>
                    </a:lnTo>
                    <a:lnTo>
                      <a:pt x="488" y="254"/>
                    </a:lnTo>
                    <a:lnTo>
                      <a:pt x="488" y="254"/>
                    </a:lnTo>
                    <a:lnTo>
                      <a:pt x="491" y="253"/>
                    </a:lnTo>
                    <a:lnTo>
                      <a:pt x="491" y="253"/>
                    </a:lnTo>
                    <a:lnTo>
                      <a:pt x="494" y="250"/>
                    </a:lnTo>
                    <a:lnTo>
                      <a:pt x="494" y="250"/>
                    </a:lnTo>
                    <a:lnTo>
                      <a:pt x="496" y="250"/>
                    </a:lnTo>
                    <a:lnTo>
                      <a:pt x="496" y="250"/>
                    </a:lnTo>
                    <a:lnTo>
                      <a:pt x="496" y="248"/>
                    </a:lnTo>
                    <a:lnTo>
                      <a:pt x="496" y="248"/>
                    </a:lnTo>
                    <a:lnTo>
                      <a:pt x="497" y="246"/>
                    </a:lnTo>
                    <a:lnTo>
                      <a:pt x="497" y="246"/>
                    </a:lnTo>
                    <a:lnTo>
                      <a:pt x="501" y="245"/>
                    </a:lnTo>
                    <a:lnTo>
                      <a:pt x="501" y="245"/>
                    </a:lnTo>
                    <a:lnTo>
                      <a:pt x="502" y="243"/>
                    </a:lnTo>
                    <a:lnTo>
                      <a:pt x="502" y="243"/>
                    </a:lnTo>
                    <a:lnTo>
                      <a:pt x="505" y="242"/>
                    </a:lnTo>
                    <a:lnTo>
                      <a:pt x="505" y="242"/>
                    </a:lnTo>
                    <a:lnTo>
                      <a:pt x="505" y="242"/>
                    </a:lnTo>
                    <a:lnTo>
                      <a:pt x="505" y="242"/>
                    </a:lnTo>
                    <a:lnTo>
                      <a:pt x="505" y="240"/>
                    </a:lnTo>
                    <a:lnTo>
                      <a:pt x="505" y="240"/>
                    </a:lnTo>
                    <a:lnTo>
                      <a:pt x="508" y="240"/>
                    </a:lnTo>
                    <a:lnTo>
                      <a:pt x="508" y="240"/>
                    </a:lnTo>
                    <a:lnTo>
                      <a:pt x="508" y="238"/>
                    </a:lnTo>
                    <a:lnTo>
                      <a:pt x="508" y="238"/>
                    </a:lnTo>
                    <a:lnTo>
                      <a:pt x="512" y="240"/>
                    </a:lnTo>
                    <a:lnTo>
                      <a:pt x="512" y="240"/>
                    </a:lnTo>
                    <a:lnTo>
                      <a:pt x="512" y="238"/>
                    </a:lnTo>
                    <a:lnTo>
                      <a:pt x="512" y="238"/>
                    </a:lnTo>
                    <a:lnTo>
                      <a:pt x="513" y="237"/>
                    </a:lnTo>
                    <a:lnTo>
                      <a:pt x="513" y="237"/>
                    </a:lnTo>
                    <a:lnTo>
                      <a:pt x="515" y="237"/>
                    </a:lnTo>
                    <a:lnTo>
                      <a:pt x="515" y="237"/>
                    </a:lnTo>
                    <a:lnTo>
                      <a:pt x="515" y="235"/>
                    </a:lnTo>
                    <a:lnTo>
                      <a:pt x="515" y="235"/>
                    </a:lnTo>
                    <a:lnTo>
                      <a:pt x="516" y="237"/>
                    </a:lnTo>
                    <a:lnTo>
                      <a:pt x="516" y="237"/>
                    </a:lnTo>
                    <a:lnTo>
                      <a:pt x="518" y="235"/>
                    </a:lnTo>
                    <a:lnTo>
                      <a:pt x="518" y="235"/>
                    </a:lnTo>
                    <a:lnTo>
                      <a:pt x="516" y="235"/>
                    </a:lnTo>
                    <a:lnTo>
                      <a:pt x="516" y="235"/>
                    </a:lnTo>
                    <a:lnTo>
                      <a:pt x="520" y="234"/>
                    </a:lnTo>
                    <a:lnTo>
                      <a:pt x="520" y="234"/>
                    </a:lnTo>
                    <a:lnTo>
                      <a:pt x="523" y="232"/>
                    </a:lnTo>
                    <a:lnTo>
                      <a:pt x="523" y="232"/>
                    </a:lnTo>
                    <a:lnTo>
                      <a:pt x="524" y="232"/>
                    </a:lnTo>
                    <a:lnTo>
                      <a:pt x="524" y="232"/>
                    </a:lnTo>
                    <a:lnTo>
                      <a:pt x="526" y="232"/>
                    </a:lnTo>
                    <a:lnTo>
                      <a:pt x="526" y="232"/>
                    </a:lnTo>
                    <a:lnTo>
                      <a:pt x="528" y="232"/>
                    </a:lnTo>
                    <a:lnTo>
                      <a:pt x="528" y="232"/>
                    </a:lnTo>
                    <a:lnTo>
                      <a:pt x="529" y="231"/>
                    </a:lnTo>
                    <a:lnTo>
                      <a:pt x="529" y="231"/>
                    </a:lnTo>
                    <a:lnTo>
                      <a:pt x="526" y="229"/>
                    </a:lnTo>
                    <a:lnTo>
                      <a:pt x="526" y="229"/>
                    </a:lnTo>
                    <a:lnTo>
                      <a:pt x="528" y="229"/>
                    </a:lnTo>
                    <a:lnTo>
                      <a:pt x="528" y="229"/>
                    </a:lnTo>
                    <a:lnTo>
                      <a:pt x="535" y="229"/>
                    </a:lnTo>
                    <a:lnTo>
                      <a:pt x="535" y="229"/>
                    </a:lnTo>
                    <a:lnTo>
                      <a:pt x="537" y="229"/>
                    </a:lnTo>
                    <a:lnTo>
                      <a:pt x="537" y="229"/>
                    </a:lnTo>
                    <a:lnTo>
                      <a:pt x="540" y="229"/>
                    </a:lnTo>
                    <a:lnTo>
                      <a:pt x="540" y="229"/>
                    </a:lnTo>
                    <a:lnTo>
                      <a:pt x="540" y="229"/>
                    </a:lnTo>
                    <a:lnTo>
                      <a:pt x="540" y="229"/>
                    </a:lnTo>
                    <a:lnTo>
                      <a:pt x="543" y="226"/>
                    </a:lnTo>
                    <a:lnTo>
                      <a:pt x="543" y="226"/>
                    </a:lnTo>
                    <a:lnTo>
                      <a:pt x="547" y="223"/>
                    </a:lnTo>
                    <a:lnTo>
                      <a:pt x="547" y="223"/>
                    </a:lnTo>
                    <a:lnTo>
                      <a:pt x="547" y="223"/>
                    </a:lnTo>
                    <a:lnTo>
                      <a:pt x="547" y="223"/>
                    </a:lnTo>
                    <a:lnTo>
                      <a:pt x="547" y="223"/>
                    </a:lnTo>
                    <a:lnTo>
                      <a:pt x="547" y="223"/>
                    </a:lnTo>
                    <a:lnTo>
                      <a:pt x="547" y="219"/>
                    </a:lnTo>
                    <a:lnTo>
                      <a:pt x="547" y="219"/>
                    </a:lnTo>
                    <a:lnTo>
                      <a:pt x="543" y="219"/>
                    </a:lnTo>
                    <a:lnTo>
                      <a:pt x="543" y="219"/>
                    </a:lnTo>
                    <a:lnTo>
                      <a:pt x="540" y="218"/>
                    </a:lnTo>
                    <a:lnTo>
                      <a:pt x="540" y="218"/>
                    </a:lnTo>
                    <a:lnTo>
                      <a:pt x="547" y="219"/>
                    </a:lnTo>
                    <a:lnTo>
                      <a:pt x="547" y="219"/>
                    </a:lnTo>
                    <a:lnTo>
                      <a:pt x="550" y="219"/>
                    </a:lnTo>
                    <a:lnTo>
                      <a:pt x="550" y="219"/>
                    </a:lnTo>
                    <a:lnTo>
                      <a:pt x="551" y="219"/>
                    </a:lnTo>
                    <a:lnTo>
                      <a:pt x="551" y="219"/>
                    </a:lnTo>
                    <a:lnTo>
                      <a:pt x="551" y="218"/>
                    </a:lnTo>
                    <a:lnTo>
                      <a:pt x="551" y="218"/>
                    </a:lnTo>
                    <a:lnTo>
                      <a:pt x="556" y="219"/>
                    </a:lnTo>
                    <a:lnTo>
                      <a:pt x="556" y="219"/>
                    </a:lnTo>
                    <a:lnTo>
                      <a:pt x="559" y="218"/>
                    </a:lnTo>
                    <a:lnTo>
                      <a:pt x="559" y="218"/>
                    </a:lnTo>
                    <a:lnTo>
                      <a:pt x="561" y="215"/>
                    </a:lnTo>
                    <a:lnTo>
                      <a:pt x="561" y="215"/>
                    </a:lnTo>
                    <a:lnTo>
                      <a:pt x="562" y="215"/>
                    </a:lnTo>
                    <a:lnTo>
                      <a:pt x="562" y="215"/>
                    </a:lnTo>
                    <a:lnTo>
                      <a:pt x="562" y="213"/>
                    </a:lnTo>
                    <a:lnTo>
                      <a:pt x="562" y="213"/>
                    </a:lnTo>
                    <a:lnTo>
                      <a:pt x="564" y="212"/>
                    </a:lnTo>
                    <a:lnTo>
                      <a:pt x="564" y="212"/>
                    </a:lnTo>
                    <a:lnTo>
                      <a:pt x="564" y="212"/>
                    </a:lnTo>
                    <a:lnTo>
                      <a:pt x="564" y="212"/>
                    </a:lnTo>
                    <a:lnTo>
                      <a:pt x="564" y="213"/>
                    </a:lnTo>
                    <a:lnTo>
                      <a:pt x="564" y="213"/>
                    </a:lnTo>
                    <a:lnTo>
                      <a:pt x="564" y="215"/>
                    </a:lnTo>
                    <a:lnTo>
                      <a:pt x="564" y="215"/>
                    </a:lnTo>
                    <a:lnTo>
                      <a:pt x="567" y="213"/>
                    </a:lnTo>
                    <a:lnTo>
                      <a:pt x="567" y="213"/>
                    </a:lnTo>
                    <a:lnTo>
                      <a:pt x="570" y="215"/>
                    </a:lnTo>
                    <a:lnTo>
                      <a:pt x="570" y="215"/>
                    </a:lnTo>
                    <a:lnTo>
                      <a:pt x="570" y="212"/>
                    </a:lnTo>
                    <a:lnTo>
                      <a:pt x="570" y="212"/>
                    </a:lnTo>
                    <a:lnTo>
                      <a:pt x="570" y="213"/>
                    </a:lnTo>
                    <a:lnTo>
                      <a:pt x="570" y="213"/>
                    </a:lnTo>
                    <a:lnTo>
                      <a:pt x="572" y="215"/>
                    </a:lnTo>
                    <a:lnTo>
                      <a:pt x="572" y="215"/>
                    </a:lnTo>
                    <a:lnTo>
                      <a:pt x="577" y="213"/>
                    </a:lnTo>
                    <a:lnTo>
                      <a:pt x="577" y="213"/>
                    </a:lnTo>
                    <a:lnTo>
                      <a:pt x="585" y="210"/>
                    </a:lnTo>
                    <a:lnTo>
                      <a:pt x="585" y="210"/>
                    </a:lnTo>
                    <a:lnTo>
                      <a:pt x="589" y="207"/>
                    </a:lnTo>
                    <a:lnTo>
                      <a:pt x="589" y="207"/>
                    </a:lnTo>
                    <a:lnTo>
                      <a:pt x="593" y="204"/>
                    </a:lnTo>
                    <a:lnTo>
                      <a:pt x="593" y="204"/>
                    </a:lnTo>
                    <a:lnTo>
                      <a:pt x="599" y="202"/>
                    </a:lnTo>
                    <a:lnTo>
                      <a:pt x="599" y="202"/>
                    </a:lnTo>
                    <a:lnTo>
                      <a:pt x="602" y="199"/>
                    </a:lnTo>
                    <a:lnTo>
                      <a:pt x="602" y="199"/>
                    </a:lnTo>
                    <a:lnTo>
                      <a:pt x="602" y="197"/>
                    </a:lnTo>
                    <a:lnTo>
                      <a:pt x="602" y="197"/>
                    </a:lnTo>
                    <a:lnTo>
                      <a:pt x="599" y="197"/>
                    </a:lnTo>
                    <a:lnTo>
                      <a:pt x="599" y="197"/>
                    </a:lnTo>
                    <a:lnTo>
                      <a:pt x="596" y="197"/>
                    </a:lnTo>
                    <a:lnTo>
                      <a:pt x="596" y="197"/>
                    </a:lnTo>
                    <a:lnTo>
                      <a:pt x="585" y="197"/>
                    </a:lnTo>
                    <a:lnTo>
                      <a:pt x="585" y="197"/>
                    </a:lnTo>
                    <a:lnTo>
                      <a:pt x="582" y="194"/>
                    </a:lnTo>
                    <a:lnTo>
                      <a:pt x="582" y="194"/>
                    </a:lnTo>
                    <a:lnTo>
                      <a:pt x="580" y="192"/>
                    </a:lnTo>
                    <a:lnTo>
                      <a:pt x="580" y="192"/>
                    </a:lnTo>
                    <a:lnTo>
                      <a:pt x="577" y="191"/>
                    </a:lnTo>
                    <a:lnTo>
                      <a:pt x="577" y="191"/>
                    </a:lnTo>
                    <a:lnTo>
                      <a:pt x="580" y="191"/>
                    </a:lnTo>
                    <a:lnTo>
                      <a:pt x="580" y="191"/>
                    </a:lnTo>
                    <a:lnTo>
                      <a:pt x="583" y="191"/>
                    </a:lnTo>
                    <a:lnTo>
                      <a:pt x="583" y="191"/>
                    </a:lnTo>
                    <a:lnTo>
                      <a:pt x="582" y="189"/>
                    </a:lnTo>
                    <a:lnTo>
                      <a:pt x="582" y="189"/>
                    </a:lnTo>
                    <a:lnTo>
                      <a:pt x="585" y="191"/>
                    </a:lnTo>
                    <a:lnTo>
                      <a:pt x="585" y="191"/>
                    </a:lnTo>
                    <a:lnTo>
                      <a:pt x="586" y="191"/>
                    </a:lnTo>
                    <a:lnTo>
                      <a:pt x="586" y="191"/>
                    </a:lnTo>
                    <a:lnTo>
                      <a:pt x="593" y="194"/>
                    </a:lnTo>
                    <a:lnTo>
                      <a:pt x="593" y="194"/>
                    </a:lnTo>
                    <a:lnTo>
                      <a:pt x="589" y="194"/>
                    </a:lnTo>
                    <a:lnTo>
                      <a:pt x="589" y="194"/>
                    </a:lnTo>
                    <a:lnTo>
                      <a:pt x="593" y="194"/>
                    </a:lnTo>
                    <a:lnTo>
                      <a:pt x="593" y="194"/>
                    </a:lnTo>
                    <a:lnTo>
                      <a:pt x="593" y="197"/>
                    </a:lnTo>
                    <a:lnTo>
                      <a:pt x="593" y="197"/>
                    </a:lnTo>
                    <a:lnTo>
                      <a:pt x="596" y="197"/>
                    </a:lnTo>
                    <a:lnTo>
                      <a:pt x="596" y="197"/>
                    </a:lnTo>
                    <a:lnTo>
                      <a:pt x="602" y="197"/>
                    </a:lnTo>
                    <a:lnTo>
                      <a:pt x="602" y="197"/>
                    </a:lnTo>
                    <a:lnTo>
                      <a:pt x="605" y="194"/>
                    </a:lnTo>
                    <a:lnTo>
                      <a:pt x="605" y="194"/>
                    </a:lnTo>
                    <a:lnTo>
                      <a:pt x="609" y="194"/>
                    </a:lnTo>
                    <a:lnTo>
                      <a:pt x="609" y="194"/>
                    </a:lnTo>
                    <a:lnTo>
                      <a:pt x="613" y="191"/>
                    </a:lnTo>
                    <a:lnTo>
                      <a:pt x="613" y="191"/>
                    </a:lnTo>
                    <a:lnTo>
                      <a:pt x="618" y="189"/>
                    </a:lnTo>
                    <a:lnTo>
                      <a:pt x="618" y="189"/>
                    </a:lnTo>
                    <a:lnTo>
                      <a:pt x="623" y="188"/>
                    </a:lnTo>
                    <a:lnTo>
                      <a:pt x="623" y="188"/>
                    </a:lnTo>
                    <a:lnTo>
                      <a:pt x="621" y="186"/>
                    </a:lnTo>
                    <a:lnTo>
                      <a:pt x="621" y="186"/>
                    </a:lnTo>
                    <a:lnTo>
                      <a:pt x="620" y="186"/>
                    </a:lnTo>
                    <a:lnTo>
                      <a:pt x="620" y="186"/>
                    </a:lnTo>
                    <a:lnTo>
                      <a:pt x="618" y="185"/>
                    </a:lnTo>
                    <a:lnTo>
                      <a:pt x="618" y="185"/>
                    </a:lnTo>
                    <a:lnTo>
                      <a:pt x="616" y="183"/>
                    </a:lnTo>
                    <a:lnTo>
                      <a:pt x="616" y="183"/>
                    </a:lnTo>
                    <a:lnTo>
                      <a:pt x="618" y="183"/>
                    </a:lnTo>
                    <a:lnTo>
                      <a:pt x="618" y="183"/>
                    </a:lnTo>
                    <a:lnTo>
                      <a:pt x="618" y="181"/>
                    </a:lnTo>
                    <a:lnTo>
                      <a:pt x="618" y="181"/>
                    </a:lnTo>
                    <a:lnTo>
                      <a:pt x="623" y="183"/>
                    </a:lnTo>
                    <a:lnTo>
                      <a:pt x="623" y="183"/>
                    </a:lnTo>
                    <a:lnTo>
                      <a:pt x="628" y="181"/>
                    </a:lnTo>
                    <a:lnTo>
                      <a:pt x="628" y="181"/>
                    </a:lnTo>
                    <a:lnTo>
                      <a:pt x="631" y="181"/>
                    </a:lnTo>
                    <a:lnTo>
                      <a:pt x="631" y="181"/>
                    </a:lnTo>
                    <a:lnTo>
                      <a:pt x="631" y="185"/>
                    </a:lnTo>
                    <a:lnTo>
                      <a:pt x="631" y="185"/>
                    </a:lnTo>
                    <a:lnTo>
                      <a:pt x="634" y="186"/>
                    </a:lnTo>
                    <a:lnTo>
                      <a:pt x="634" y="186"/>
                    </a:lnTo>
                    <a:lnTo>
                      <a:pt x="637" y="186"/>
                    </a:lnTo>
                    <a:lnTo>
                      <a:pt x="637" y="186"/>
                    </a:lnTo>
                    <a:lnTo>
                      <a:pt x="637" y="185"/>
                    </a:lnTo>
                    <a:lnTo>
                      <a:pt x="637" y="185"/>
                    </a:lnTo>
                    <a:lnTo>
                      <a:pt x="637" y="185"/>
                    </a:lnTo>
                    <a:lnTo>
                      <a:pt x="637" y="185"/>
                    </a:lnTo>
                    <a:lnTo>
                      <a:pt x="639" y="185"/>
                    </a:lnTo>
                    <a:lnTo>
                      <a:pt x="639" y="185"/>
                    </a:lnTo>
                    <a:lnTo>
                      <a:pt x="639" y="186"/>
                    </a:lnTo>
                    <a:lnTo>
                      <a:pt x="639" y="186"/>
                    </a:lnTo>
                    <a:lnTo>
                      <a:pt x="642" y="186"/>
                    </a:lnTo>
                    <a:lnTo>
                      <a:pt x="642" y="186"/>
                    </a:lnTo>
                    <a:lnTo>
                      <a:pt x="643" y="186"/>
                    </a:lnTo>
                    <a:lnTo>
                      <a:pt x="643" y="186"/>
                    </a:lnTo>
                    <a:lnTo>
                      <a:pt x="643" y="185"/>
                    </a:lnTo>
                    <a:lnTo>
                      <a:pt x="643" y="185"/>
                    </a:lnTo>
                    <a:lnTo>
                      <a:pt x="642" y="181"/>
                    </a:lnTo>
                    <a:lnTo>
                      <a:pt x="642" y="181"/>
                    </a:lnTo>
                    <a:lnTo>
                      <a:pt x="643" y="180"/>
                    </a:lnTo>
                    <a:lnTo>
                      <a:pt x="643" y="180"/>
                    </a:lnTo>
                    <a:lnTo>
                      <a:pt x="642" y="180"/>
                    </a:lnTo>
                    <a:lnTo>
                      <a:pt x="642" y="180"/>
                    </a:lnTo>
                    <a:lnTo>
                      <a:pt x="643" y="178"/>
                    </a:lnTo>
                    <a:lnTo>
                      <a:pt x="643" y="178"/>
                    </a:lnTo>
                    <a:lnTo>
                      <a:pt x="645" y="180"/>
                    </a:lnTo>
                    <a:lnTo>
                      <a:pt x="645" y="180"/>
                    </a:lnTo>
                    <a:lnTo>
                      <a:pt x="648" y="178"/>
                    </a:lnTo>
                    <a:lnTo>
                      <a:pt x="648" y="178"/>
                    </a:lnTo>
                    <a:lnTo>
                      <a:pt x="645" y="181"/>
                    </a:lnTo>
                    <a:lnTo>
                      <a:pt x="645" y="181"/>
                    </a:lnTo>
                    <a:lnTo>
                      <a:pt x="647" y="183"/>
                    </a:lnTo>
                    <a:lnTo>
                      <a:pt x="647" y="183"/>
                    </a:lnTo>
                    <a:lnTo>
                      <a:pt x="647" y="185"/>
                    </a:lnTo>
                    <a:lnTo>
                      <a:pt x="647" y="185"/>
                    </a:lnTo>
                    <a:lnTo>
                      <a:pt x="655" y="183"/>
                    </a:lnTo>
                    <a:lnTo>
                      <a:pt x="655" y="183"/>
                    </a:lnTo>
                    <a:lnTo>
                      <a:pt x="661" y="180"/>
                    </a:lnTo>
                    <a:lnTo>
                      <a:pt x="661" y="180"/>
                    </a:lnTo>
                    <a:lnTo>
                      <a:pt x="666" y="178"/>
                    </a:lnTo>
                    <a:lnTo>
                      <a:pt x="666" y="178"/>
                    </a:lnTo>
                    <a:lnTo>
                      <a:pt x="669" y="177"/>
                    </a:lnTo>
                    <a:lnTo>
                      <a:pt x="669" y="177"/>
                    </a:lnTo>
                    <a:lnTo>
                      <a:pt x="672" y="175"/>
                    </a:lnTo>
                    <a:lnTo>
                      <a:pt x="672" y="175"/>
                    </a:lnTo>
                    <a:lnTo>
                      <a:pt x="677" y="173"/>
                    </a:lnTo>
                    <a:lnTo>
                      <a:pt x="677" y="173"/>
                    </a:lnTo>
                    <a:lnTo>
                      <a:pt x="678" y="170"/>
                    </a:lnTo>
                    <a:lnTo>
                      <a:pt x="678" y="170"/>
                    </a:lnTo>
                    <a:lnTo>
                      <a:pt x="678" y="170"/>
                    </a:lnTo>
                    <a:lnTo>
                      <a:pt x="678" y="170"/>
                    </a:lnTo>
                    <a:lnTo>
                      <a:pt x="675" y="164"/>
                    </a:lnTo>
                    <a:lnTo>
                      <a:pt x="675" y="164"/>
                    </a:lnTo>
                    <a:lnTo>
                      <a:pt x="677" y="164"/>
                    </a:lnTo>
                    <a:lnTo>
                      <a:pt x="677" y="164"/>
                    </a:lnTo>
                    <a:lnTo>
                      <a:pt x="678" y="162"/>
                    </a:lnTo>
                    <a:lnTo>
                      <a:pt x="678" y="162"/>
                    </a:lnTo>
                    <a:lnTo>
                      <a:pt x="677" y="162"/>
                    </a:lnTo>
                    <a:lnTo>
                      <a:pt x="677" y="162"/>
                    </a:lnTo>
                    <a:lnTo>
                      <a:pt x="675" y="161"/>
                    </a:lnTo>
                    <a:lnTo>
                      <a:pt x="675" y="161"/>
                    </a:lnTo>
                    <a:lnTo>
                      <a:pt x="677" y="161"/>
                    </a:lnTo>
                    <a:lnTo>
                      <a:pt x="677" y="161"/>
                    </a:lnTo>
                    <a:lnTo>
                      <a:pt x="675" y="159"/>
                    </a:lnTo>
                    <a:lnTo>
                      <a:pt x="675" y="159"/>
                    </a:lnTo>
                    <a:lnTo>
                      <a:pt x="682" y="158"/>
                    </a:lnTo>
                    <a:lnTo>
                      <a:pt x="682" y="158"/>
                    </a:lnTo>
                    <a:lnTo>
                      <a:pt x="682" y="159"/>
                    </a:lnTo>
                    <a:lnTo>
                      <a:pt x="682" y="159"/>
                    </a:lnTo>
                    <a:lnTo>
                      <a:pt x="685" y="158"/>
                    </a:lnTo>
                    <a:lnTo>
                      <a:pt x="685" y="158"/>
                    </a:lnTo>
                    <a:lnTo>
                      <a:pt x="689" y="158"/>
                    </a:lnTo>
                    <a:lnTo>
                      <a:pt x="689" y="158"/>
                    </a:lnTo>
                    <a:lnTo>
                      <a:pt x="689" y="156"/>
                    </a:lnTo>
                    <a:lnTo>
                      <a:pt x="689" y="156"/>
                    </a:lnTo>
                    <a:lnTo>
                      <a:pt x="693" y="154"/>
                    </a:lnTo>
                    <a:lnTo>
                      <a:pt x="693" y="154"/>
                    </a:lnTo>
                    <a:lnTo>
                      <a:pt x="685" y="153"/>
                    </a:lnTo>
                    <a:lnTo>
                      <a:pt x="685" y="153"/>
                    </a:lnTo>
                    <a:lnTo>
                      <a:pt x="689" y="153"/>
                    </a:lnTo>
                    <a:lnTo>
                      <a:pt x="689" y="153"/>
                    </a:lnTo>
                    <a:lnTo>
                      <a:pt x="693" y="151"/>
                    </a:lnTo>
                    <a:lnTo>
                      <a:pt x="693" y="151"/>
                    </a:lnTo>
                    <a:lnTo>
                      <a:pt x="696" y="150"/>
                    </a:lnTo>
                    <a:lnTo>
                      <a:pt x="696" y="150"/>
                    </a:lnTo>
                    <a:lnTo>
                      <a:pt x="689" y="148"/>
                    </a:lnTo>
                    <a:lnTo>
                      <a:pt x="689" y="148"/>
                    </a:lnTo>
                    <a:lnTo>
                      <a:pt x="689" y="148"/>
                    </a:lnTo>
                    <a:lnTo>
                      <a:pt x="689" y="148"/>
                    </a:lnTo>
                    <a:lnTo>
                      <a:pt x="688" y="146"/>
                    </a:lnTo>
                    <a:lnTo>
                      <a:pt x="688" y="146"/>
                    </a:lnTo>
                    <a:lnTo>
                      <a:pt x="689" y="146"/>
                    </a:lnTo>
                    <a:lnTo>
                      <a:pt x="689" y="146"/>
                    </a:lnTo>
                    <a:lnTo>
                      <a:pt x="682" y="145"/>
                    </a:lnTo>
                    <a:lnTo>
                      <a:pt x="682" y="145"/>
                    </a:lnTo>
                    <a:lnTo>
                      <a:pt x="685" y="145"/>
                    </a:lnTo>
                    <a:lnTo>
                      <a:pt x="685" y="145"/>
                    </a:lnTo>
                    <a:lnTo>
                      <a:pt x="688" y="145"/>
                    </a:lnTo>
                    <a:lnTo>
                      <a:pt x="688" y="145"/>
                    </a:lnTo>
                    <a:lnTo>
                      <a:pt x="689" y="143"/>
                    </a:lnTo>
                    <a:lnTo>
                      <a:pt x="689" y="143"/>
                    </a:lnTo>
                    <a:lnTo>
                      <a:pt x="682" y="143"/>
                    </a:lnTo>
                    <a:lnTo>
                      <a:pt x="682" y="143"/>
                    </a:lnTo>
                    <a:lnTo>
                      <a:pt x="674" y="142"/>
                    </a:lnTo>
                    <a:lnTo>
                      <a:pt x="674" y="142"/>
                    </a:lnTo>
                    <a:lnTo>
                      <a:pt x="672" y="140"/>
                    </a:lnTo>
                    <a:lnTo>
                      <a:pt x="672" y="140"/>
                    </a:lnTo>
                    <a:lnTo>
                      <a:pt x="666" y="142"/>
                    </a:lnTo>
                    <a:lnTo>
                      <a:pt x="666" y="142"/>
                    </a:lnTo>
                    <a:lnTo>
                      <a:pt x="666" y="142"/>
                    </a:lnTo>
                    <a:lnTo>
                      <a:pt x="666" y="142"/>
                    </a:lnTo>
                    <a:lnTo>
                      <a:pt x="663" y="142"/>
                    </a:lnTo>
                    <a:lnTo>
                      <a:pt x="663" y="142"/>
                    </a:lnTo>
                    <a:lnTo>
                      <a:pt x="663" y="142"/>
                    </a:lnTo>
                    <a:lnTo>
                      <a:pt x="663" y="142"/>
                    </a:lnTo>
                    <a:lnTo>
                      <a:pt x="663" y="143"/>
                    </a:lnTo>
                    <a:lnTo>
                      <a:pt x="663" y="143"/>
                    </a:lnTo>
                    <a:lnTo>
                      <a:pt x="663" y="145"/>
                    </a:lnTo>
                    <a:lnTo>
                      <a:pt x="663" y="145"/>
                    </a:lnTo>
                    <a:lnTo>
                      <a:pt x="659" y="145"/>
                    </a:lnTo>
                    <a:lnTo>
                      <a:pt x="659" y="145"/>
                    </a:lnTo>
                    <a:lnTo>
                      <a:pt x="659" y="146"/>
                    </a:lnTo>
                    <a:lnTo>
                      <a:pt x="659" y="146"/>
                    </a:lnTo>
                    <a:lnTo>
                      <a:pt x="659" y="148"/>
                    </a:lnTo>
                    <a:lnTo>
                      <a:pt x="659" y="148"/>
                    </a:lnTo>
                    <a:lnTo>
                      <a:pt x="658" y="148"/>
                    </a:lnTo>
                    <a:lnTo>
                      <a:pt x="658" y="148"/>
                    </a:lnTo>
                    <a:lnTo>
                      <a:pt x="659" y="150"/>
                    </a:lnTo>
                    <a:lnTo>
                      <a:pt x="659" y="150"/>
                    </a:lnTo>
                    <a:lnTo>
                      <a:pt x="661" y="150"/>
                    </a:lnTo>
                    <a:lnTo>
                      <a:pt x="661" y="150"/>
                    </a:lnTo>
                    <a:lnTo>
                      <a:pt x="663" y="151"/>
                    </a:lnTo>
                    <a:lnTo>
                      <a:pt x="663" y="151"/>
                    </a:lnTo>
                    <a:lnTo>
                      <a:pt x="661" y="151"/>
                    </a:lnTo>
                    <a:lnTo>
                      <a:pt x="661" y="151"/>
                    </a:lnTo>
                    <a:lnTo>
                      <a:pt x="659" y="151"/>
                    </a:lnTo>
                    <a:lnTo>
                      <a:pt x="659" y="151"/>
                    </a:lnTo>
                    <a:lnTo>
                      <a:pt x="661" y="153"/>
                    </a:lnTo>
                    <a:lnTo>
                      <a:pt x="661" y="153"/>
                    </a:lnTo>
                    <a:lnTo>
                      <a:pt x="659" y="153"/>
                    </a:lnTo>
                    <a:lnTo>
                      <a:pt x="659" y="153"/>
                    </a:lnTo>
                    <a:lnTo>
                      <a:pt x="658" y="153"/>
                    </a:lnTo>
                    <a:lnTo>
                      <a:pt x="658" y="153"/>
                    </a:lnTo>
                    <a:lnTo>
                      <a:pt x="656" y="153"/>
                    </a:lnTo>
                    <a:lnTo>
                      <a:pt x="656" y="153"/>
                    </a:lnTo>
                    <a:lnTo>
                      <a:pt x="659" y="154"/>
                    </a:lnTo>
                    <a:lnTo>
                      <a:pt x="659" y="154"/>
                    </a:lnTo>
                    <a:lnTo>
                      <a:pt x="656" y="156"/>
                    </a:lnTo>
                    <a:lnTo>
                      <a:pt x="656" y="156"/>
                    </a:lnTo>
                    <a:lnTo>
                      <a:pt x="653" y="154"/>
                    </a:lnTo>
                    <a:lnTo>
                      <a:pt x="653" y="154"/>
                    </a:lnTo>
                    <a:lnTo>
                      <a:pt x="650" y="156"/>
                    </a:lnTo>
                    <a:lnTo>
                      <a:pt x="650" y="156"/>
                    </a:lnTo>
                    <a:lnTo>
                      <a:pt x="648" y="158"/>
                    </a:lnTo>
                    <a:lnTo>
                      <a:pt x="648" y="158"/>
                    </a:lnTo>
                    <a:lnTo>
                      <a:pt x="645" y="161"/>
                    </a:lnTo>
                    <a:lnTo>
                      <a:pt x="645" y="161"/>
                    </a:lnTo>
                    <a:lnTo>
                      <a:pt x="642" y="162"/>
                    </a:lnTo>
                    <a:lnTo>
                      <a:pt x="642" y="162"/>
                    </a:lnTo>
                    <a:lnTo>
                      <a:pt x="634" y="167"/>
                    </a:lnTo>
                    <a:lnTo>
                      <a:pt x="634" y="167"/>
                    </a:lnTo>
                    <a:lnTo>
                      <a:pt x="631" y="170"/>
                    </a:lnTo>
                    <a:lnTo>
                      <a:pt x="631" y="170"/>
                    </a:lnTo>
                    <a:lnTo>
                      <a:pt x="628" y="173"/>
                    </a:lnTo>
                    <a:lnTo>
                      <a:pt x="628" y="173"/>
                    </a:lnTo>
                    <a:lnTo>
                      <a:pt x="626" y="170"/>
                    </a:lnTo>
                    <a:lnTo>
                      <a:pt x="626" y="170"/>
                    </a:lnTo>
                    <a:lnTo>
                      <a:pt x="624" y="173"/>
                    </a:lnTo>
                    <a:lnTo>
                      <a:pt x="624" y="173"/>
                    </a:lnTo>
                    <a:lnTo>
                      <a:pt x="623" y="173"/>
                    </a:lnTo>
                    <a:lnTo>
                      <a:pt x="623" y="173"/>
                    </a:lnTo>
                    <a:lnTo>
                      <a:pt x="620" y="173"/>
                    </a:lnTo>
                    <a:lnTo>
                      <a:pt x="620" y="173"/>
                    </a:lnTo>
                    <a:lnTo>
                      <a:pt x="618" y="173"/>
                    </a:lnTo>
                    <a:lnTo>
                      <a:pt x="618" y="173"/>
                    </a:lnTo>
                    <a:lnTo>
                      <a:pt x="620" y="173"/>
                    </a:lnTo>
                    <a:lnTo>
                      <a:pt x="620" y="173"/>
                    </a:lnTo>
                    <a:lnTo>
                      <a:pt x="618" y="170"/>
                    </a:lnTo>
                    <a:lnTo>
                      <a:pt x="618" y="170"/>
                    </a:lnTo>
                    <a:lnTo>
                      <a:pt x="616" y="167"/>
                    </a:lnTo>
                    <a:lnTo>
                      <a:pt x="616" y="167"/>
                    </a:lnTo>
                    <a:lnTo>
                      <a:pt x="616" y="164"/>
                    </a:lnTo>
                    <a:lnTo>
                      <a:pt x="616" y="164"/>
                    </a:lnTo>
                    <a:lnTo>
                      <a:pt x="618" y="164"/>
                    </a:lnTo>
                    <a:lnTo>
                      <a:pt x="618" y="164"/>
                    </a:lnTo>
                    <a:lnTo>
                      <a:pt x="623" y="161"/>
                    </a:lnTo>
                    <a:lnTo>
                      <a:pt x="623" y="161"/>
                    </a:lnTo>
                    <a:lnTo>
                      <a:pt x="624" y="161"/>
                    </a:lnTo>
                    <a:lnTo>
                      <a:pt x="624" y="161"/>
                    </a:lnTo>
                    <a:lnTo>
                      <a:pt x="626" y="161"/>
                    </a:lnTo>
                    <a:lnTo>
                      <a:pt x="626" y="161"/>
                    </a:lnTo>
                    <a:lnTo>
                      <a:pt x="628" y="156"/>
                    </a:lnTo>
                    <a:lnTo>
                      <a:pt x="628" y="156"/>
                    </a:lnTo>
                    <a:lnTo>
                      <a:pt x="628" y="154"/>
                    </a:lnTo>
                    <a:lnTo>
                      <a:pt x="628" y="154"/>
                    </a:lnTo>
                    <a:lnTo>
                      <a:pt x="628" y="151"/>
                    </a:lnTo>
                    <a:lnTo>
                      <a:pt x="628" y="151"/>
                    </a:lnTo>
                    <a:lnTo>
                      <a:pt x="624" y="150"/>
                    </a:lnTo>
                    <a:lnTo>
                      <a:pt x="624" y="150"/>
                    </a:lnTo>
                    <a:lnTo>
                      <a:pt x="623" y="148"/>
                    </a:lnTo>
                    <a:lnTo>
                      <a:pt x="623" y="148"/>
                    </a:lnTo>
                    <a:lnTo>
                      <a:pt x="621" y="150"/>
                    </a:lnTo>
                    <a:lnTo>
                      <a:pt x="621" y="150"/>
                    </a:lnTo>
                    <a:lnTo>
                      <a:pt x="616" y="151"/>
                    </a:lnTo>
                    <a:lnTo>
                      <a:pt x="616" y="151"/>
                    </a:lnTo>
                    <a:lnTo>
                      <a:pt x="615" y="153"/>
                    </a:lnTo>
                    <a:lnTo>
                      <a:pt x="615" y="153"/>
                    </a:lnTo>
                    <a:lnTo>
                      <a:pt x="613" y="154"/>
                    </a:lnTo>
                    <a:lnTo>
                      <a:pt x="613" y="154"/>
                    </a:lnTo>
                    <a:lnTo>
                      <a:pt x="612" y="156"/>
                    </a:lnTo>
                    <a:lnTo>
                      <a:pt x="612" y="156"/>
                    </a:lnTo>
                    <a:lnTo>
                      <a:pt x="609" y="156"/>
                    </a:lnTo>
                    <a:lnTo>
                      <a:pt x="609" y="156"/>
                    </a:lnTo>
                    <a:lnTo>
                      <a:pt x="609" y="158"/>
                    </a:lnTo>
                    <a:lnTo>
                      <a:pt x="609" y="158"/>
                    </a:lnTo>
                    <a:lnTo>
                      <a:pt x="609" y="159"/>
                    </a:lnTo>
                    <a:lnTo>
                      <a:pt x="609" y="159"/>
                    </a:lnTo>
                    <a:lnTo>
                      <a:pt x="607" y="159"/>
                    </a:lnTo>
                    <a:lnTo>
                      <a:pt x="607" y="159"/>
                    </a:lnTo>
                    <a:lnTo>
                      <a:pt x="602" y="162"/>
                    </a:lnTo>
                    <a:lnTo>
                      <a:pt x="602" y="162"/>
                    </a:lnTo>
                    <a:lnTo>
                      <a:pt x="602" y="161"/>
                    </a:lnTo>
                    <a:lnTo>
                      <a:pt x="602" y="161"/>
                    </a:lnTo>
                    <a:lnTo>
                      <a:pt x="602" y="161"/>
                    </a:lnTo>
                    <a:lnTo>
                      <a:pt x="602" y="161"/>
                    </a:lnTo>
                    <a:lnTo>
                      <a:pt x="602" y="159"/>
                    </a:lnTo>
                    <a:lnTo>
                      <a:pt x="602" y="159"/>
                    </a:lnTo>
                    <a:lnTo>
                      <a:pt x="602" y="159"/>
                    </a:lnTo>
                    <a:lnTo>
                      <a:pt x="602" y="159"/>
                    </a:lnTo>
                    <a:lnTo>
                      <a:pt x="605" y="158"/>
                    </a:lnTo>
                    <a:lnTo>
                      <a:pt x="605" y="158"/>
                    </a:lnTo>
                    <a:lnTo>
                      <a:pt x="605" y="156"/>
                    </a:lnTo>
                    <a:lnTo>
                      <a:pt x="605" y="156"/>
                    </a:lnTo>
                    <a:lnTo>
                      <a:pt x="605" y="154"/>
                    </a:lnTo>
                    <a:lnTo>
                      <a:pt x="605" y="154"/>
                    </a:lnTo>
                    <a:lnTo>
                      <a:pt x="607" y="153"/>
                    </a:lnTo>
                    <a:lnTo>
                      <a:pt x="607" y="153"/>
                    </a:lnTo>
                    <a:lnTo>
                      <a:pt x="607" y="151"/>
                    </a:lnTo>
                    <a:lnTo>
                      <a:pt x="607" y="151"/>
                    </a:lnTo>
                    <a:lnTo>
                      <a:pt x="605" y="148"/>
                    </a:lnTo>
                    <a:lnTo>
                      <a:pt x="605" y="148"/>
                    </a:lnTo>
                    <a:lnTo>
                      <a:pt x="605" y="148"/>
                    </a:lnTo>
                    <a:lnTo>
                      <a:pt x="605" y="148"/>
                    </a:lnTo>
                    <a:lnTo>
                      <a:pt x="607" y="148"/>
                    </a:lnTo>
                    <a:lnTo>
                      <a:pt x="607" y="148"/>
                    </a:lnTo>
                    <a:lnTo>
                      <a:pt x="609" y="148"/>
                    </a:lnTo>
                    <a:lnTo>
                      <a:pt x="609" y="148"/>
                    </a:lnTo>
                    <a:lnTo>
                      <a:pt x="612" y="146"/>
                    </a:lnTo>
                    <a:lnTo>
                      <a:pt x="612" y="146"/>
                    </a:lnTo>
                    <a:lnTo>
                      <a:pt x="615" y="146"/>
                    </a:lnTo>
                    <a:lnTo>
                      <a:pt x="615" y="146"/>
                    </a:lnTo>
                    <a:lnTo>
                      <a:pt x="612" y="145"/>
                    </a:lnTo>
                    <a:lnTo>
                      <a:pt x="612" y="145"/>
                    </a:lnTo>
                    <a:lnTo>
                      <a:pt x="610" y="145"/>
                    </a:lnTo>
                    <a:lnTo>
                      <a:pt x="610" y="145"/>
                    </a:lnTo>
                    <a:lnTo>
                      <a:pt x="605" y="145"/>
                    </a:lnTo>
                    <a:lnTo>
                      <a:pt x="605" y="145"/>
                    </a:lnTo>
                    <a:lnTo>
                      <a:pt x="609" y="143"/>
                    </a:lnTo>
                    <a:lnTo>
                      <a:pt x="609" y="143"/>
                    </a:lnTo>
                    <a:lnTo>
                      <a:pt x="605" y="143"/>
                    </a:lnTo>
                    <a:lnTo>
                      <a:pt x="605" y="143"/>
                    </a:lnTo>
                    <a:lnTo>
                      <a:pt x="605" y="143"/>
                    </a:lnTo>
                    <a:lnTo>
                      <a:pt x="605" y="143"/>
                    </a:lnTo>
                    <a:lnTo>
                      <a:pt x="602" y="145"/>
                    </a:lnTo>
                    <a:lnTo>
                      <a:pt x="602" y="145"/>
                    </a:lnTo>
                    <a:lnTo>
                      <a:pt x="602" y="145"/>
                    </a:lnTo>
                    <a:lnTo>
                      <a:pt x="602" y="145"/>
                    </a:lnTo>
                    <a:lnTo>
                      <a:pt x="599" y="143"/>
                    </a:lnTo>
                    <a:lnTo>
                      <a:pt x="599" y="143"/>
                    </a:lnTo>
                    <a:lnTo>
                      <a:pt x="596" y="143"/>
                    </a:lnTo>
                    <a:lnTo>
                      <a:pt x="596" y="143"/>
                    </a:lnTo>
                    <a:lnTo>
                      <a:pt x="593" y="143"/>
                    </a:lnTo>
                    <a:lnTo>
                      <a:pt x="593" y="143"/>
                    </a:lnTo>
                    <a:lnTo>
                      <a:pt x="599" y="140"/>
                    </a:lnTo>
                    <a:lnTo>
                      <a:pt x="599" y="140"/>
                    </a:lnTo>
                    <a:lnTo>
                      <a:pt x="605" y="138"/>
                    </a:lnTo>
                    <a:lnTo>
                      <a:pt x="605" y="138"/>
                    </a:lnTo>
                    <a:lnTo>
                      <a:pt x="602" y="138"/>
                    </a:lnTo>
                    <a:lnTo>
                      <a:pt x="602" y="138"/>
                    </a:lnTo>
                    <a:lnTo>
                      <a:pt x="602" y="138"/>
                    </a:lnTo>
                    <a:lnTo>
                      <a:pt x="602" y="138"/>
                    </a:lnTo>
                    <a:lnTo>
                      <a:pt x="605" y="138"/>
                    </a:lnTo>
                    <a:lnTo>
                      <a:pt x="605" y="138"/>
                    </a:lnTo>
                    <a:lnTo>
                      <a:pt x="605" y="138"/>
                    </a:lnTo>
                    <a:lnTo>
                      <a:pt x="605" y="138"/>
                    </a:lnTo>
                    <a:lnTo>
                      <a:pt x="612" y="138"/>
                    </a:lnTo>
                    <a:lnTo>
                      <a:pt x="612" y="138"/>
                    </a:lnTo>
                    <a:lnTo>
                      <a:pt x="610" y="135"/>
                    </a:lnTo>
                    <a:lnTo>
                      <a:pt x="610" y="135"/>
                    </a:lnTo>
                    <a:lnTo>
                      <a:pt x="607" y="135"/>
                    </a:lnTo>
                    <a:lnTo>
                      <a:pt x="607" y="135"/>
                    </a:lnTo>
                    <a:lnTo>
                      <a:pt x="609" y="135"/>
                    </a:lnTo>
                    <a:lnTo>
                      <a:pt x="609" y="135"/>
                    </a:lnTo>
                    <a:lnTo>
                      <a:pt x="609" y="132"/>
                    </a:lnTo>
                    <a:lnTo>
                      <a:pt x="609" y="132"/>
                    </a:lnTo>
                    <a:lnTo>
                      <a:pt x="609" y="132"/>
                    </a:lnTo>
                    <a:lnTo>
                      <a:pt x="609" y="132"/>
                    </a:lnTo>
                    <a:lnTo>
                      <a:pt x="607" y="132"/>
                    </a:lnTo>
                    <a:lnTo>
                      <a:pt x="607" y="132"/>
                    </a:lnTo>
                    <a:lnTo>
                      <a:pt x="607" y="129"/>
                    </a:lnTo>
                    <a:lnTo>
                      <a:pt x="607" y="129"/>
                    </a:lnTo>
                    <a:lnTo>
                      <a:pt x="605" y="129"/>
                    </a:lnTo>
                    <a:lnTo>
                      <a:pt x="605" y="129"/>
                    </a:lnTo>
                    <a:lnTo>
                      <a:pt x="609" y="129"/>
                    </a:lnTo>
                    <a:lnTo>
                      <a:pt x="609" y="129"/>
                    </a:lnTo>
                    <a:lnTo>
                      <a:pt x="610" y="126"/>
                    </a:lnTo>
                    <a:lnTo>
                      <a:pt x="610" y="126"/>
                    </a:lnTo>
                    <a:lnTo>
                      <a:pt x="612" y="124"/>
                    </a:lnTo>
                    <a:lnTo>
                      <a:pt x="612" y="124"/>
                    </a:lnTo>
                    <a:lnTo>
                      <a:pt x="610" y="123"/>
                    </a:lnTo>
                    <a:lnTo>
                      <a:pt x="610" y="123"/>
                    </a:lnTo>
                    <a:lnTo>
                      <a:pt x="609" y="121"/>
                    </a:lnTo>
                    <a:lnTo>
                      <a:pt x="609" y="121"/>
                    </a:lnTo>
                    <a:lnTo>
                      <a:pt x="609" y="119"/>
                    </a:lnTo>
                    <a:lnTo>
                      <a:pt x="609" y="119"/>
                    </a:lnTo>
                    <a:lnTo>
                      <a:pt x="605" y="119"/>
                    </a:lnTo>
                    <a:lnTo>
                      <a:pt x="605" y="119"/>
                    </a:lnTo>
                    <a:lnTo>
                      <a:pt x="602" y="119"/>
                    </a:lnTo>
                    <a:lnTo>
                      <a:pt x="602" y="119"/>
                    </a:lnTo>
                    <a:lnTo>
                      <a:pt x="605" y="118"/>
                    </a:lnTo>
                    <a:lnTo>
                      <a:pt x="605" y="118"/>
                    </a:lnTo>
                    <a:lnTo>
                      <a:pt x="602" y="118"/>
                    </a:lnTo>
                    <a:lnTo>
                      <a:pt x="602" y="118"/>
                    </a:lnTo>
                    <a:lnTo>
                      <a:pt x="605" y="116"/>
                    </a:lnTo>
                    <a:lnTo>
                      <a:pt x="605" y="116"/>
                    </a:lnTo>
                    <a:lnTo>
                      <a:pt x="609" y="116"/>
                    </a:lnTo>
                    <a:lnTo>
                      <a:pt x="609" y="116"/>
                    </a:lnTo>
                    <a:lnTo>
                      <a:pt x="609" y="115"/>
                    </a:lnTo>
                    <a:lnTo>
                      <a:pt x="609" y="115"/>
                    </a:lnTo>
                    <a:lnTo>
                      <a:pt x="620" y="111"/>
                    </a:lnTo>
                    <a:lnTo>
                      <a:pt x="620" y="111"/>
                    </a:lnTo>
                    <a:lnTo>
                      <a:pt x="621" y="110"/>
                    </a:lnTo>
                    <a:lnTo>
                      <a:pt x="621" y="110"/>
                    </a:lnTo>
                    <a:lnTo>
                      <a:pt x="621" y="108"/>
                    </a:lnTo>
                    <a:lnTo>
                      <a:pt x="621" y="108"/>
                    </a:lnTo>
                    <a:lnTo>
                      <a:pt x="616" y="107"/>
                    </a:lnTo>
                    <a:lnTo>
                      <a:pt x="616" y="107"/>
                    </a:lnTo>
                    <a:lnTo>
                      <a:pt x="621" y="107"/>
                    </a:lnTo>
                    <a:lnTo>
                      <a:pt x="621" y="107"/>
                    </a:lnTo>
                    <a:lnTo>
                      <a:pt x="626" y="107"/>
                    </a:lnTo>
                    <a:lnTo>
                      <a:pt x="626" y="107"/>
                    </a:lnTo>
                    <a:lnTo>
                      <a:pt x="634" y="107"/>
                    </a:lnTo>
                    <a:lnTo>
                      <a:pt x="634" y="107"/>
                    </a:lnTo>
                    <a:lnTo>
                      <a:pt x="637" y="107"/>
                    </a:lnTo>
                    <a:lnTo>
                      <a:pt x="637" y="107"/>
                    </a:lnTo>
                    <a:lnTo>
                      <a:pt x="640" y="107"/>
                    </a:lnTo>
                    <a:lnTo>
                      <a:pt x="640" y="107"/>
                    </a:lnTo>
                    <a:lnTo>
                      <a:pt x="645" y="104"/>
                    </a:lnTo>
                    <a:lnTo>
                      <a:pt x="645" y="104"/>
                    </a:lnTo>
                    <a:lnTo>
                      <a:pt x="647" y="104"/>
                    </a:lnTo>
                    <a:lnTo>
                      <a:pt x="647" y="104"/>
                    </a:lnTo>
                    <a:lnTo>
                      <a:pt x="647" y="100"/>
                    </a:lnTo>
                    <a:lnTo>
                      <a:pt x="647" y="100"/>
                    </a:lnTo>
                    <a:lnTo>
                      <a:pt x="651" y="100"/>
                    </a:lnTo>
                    <a:lnTo>
                      <a:pt x="651" y="100"/>
                    </a:lnTo>
                    <a:lnTo>
                      <a:pt x="656" y="97"/>
                    </a:lnTo>
                    <a:lnTo>
                      <a:pt x="656" y="97"/>
                    </a:lnTo>
                    <a:lnTo>
                      <a:pt x="659" y="97"/>
                    </a:lnTo>
                    <a:lnTo>
                      <a:pt x="659" y="97"/>
                    </a:lnTo>
                    <a:lnTo>
                      <a:pt x="661" y="94"/>
                    </a:lnTo>
                    <a:lnTo>
                      <a:pt x="661" y="94"/>
                    </a:lnTo>
                    <a:lnTo>
                      <a:pt x="663" y="94"/>
                    </a:lnTo>
                    <a:lnTo>
                      <a:pt x="663" y="94"/>
                    </a:lnTo>
                    <a:lnTo>
                      <a:pt x="666" y="94"/>
                    </a:lnTo>
                    <a:lnTo>
                      <a:pt x="666" y="94"/>
                    </a:lnTo>
                    <a:lnTo>
                      <a:pt x="661" y="92"/>
                    </a:lnTo>
                    <a:lnTo>
                      <a:pt x="661" y="92"/>
                    </a:lnTo>
                    <a:lnTo>
                      <a:pt x="653" y="92"/>
                    </a:lnTo>
                    <a:lnTo>
                      <a:pt x="653" y="92"/>
                    </a:lnTo>
                    <a:lnTo>
                      <a:pt x="651" y="94"/>
                    </a:lnTo>
                    <a:lnTo>
                      <a:pt x="651" y="94"/>
                    </a:lnTo>
                    <a:lnTo>
                      <a:pt x="648" y="92"/>
                    </a:lnTo>
                    <a:lnTo>
                      <a:pt x="648" y="92"/>
                    </a:lnTo>
                    <a:lnTo>
                      <a:pt x="645" y="91"/>
                    </a:lnTo>
                    <a:lnTo>
                      <a:pt x="645" y="91"/>
                    </a:lnTo>
                    <a:lnTo>
                      <a:pt x="639" y="91"/>
                    </a:lnTo>
                    <a:lnTo>
                      <a:pt x="639" y="91"/>
                    </a:lnTo>
                    <a:lnTo>
                      <a:pt x="634" y="91"/>
                    </a:lnTo>
                    <a:lnTo>
                      <a:pt x="634" y="91"/>
                    </a:lnTo>
                    <a:lnTo>
                      <a:pt x="628" y="92"/>
                    </a:lnTo>
                    <a:lnTo>
                      <a:pt x="628" y="92"/>
                    </a:lnTo>
                    <a:lnTo>
                      <a:pt x="624" y="92"/>
                    </a:lnTo>
                    <a:lnTo>
                      <a:pt x="624" y="92"/>
                    </a:lnTo>
                    <a:lnTo>
                      <a:pt x="623" y="94"/>
                    </a:lnTo>
                    <a:lnTo>
                      <a:pt x="623" y="94"/>
                    </a:lnTo>
                    <a:lnTo>
                      <a:pt x="624" y="94"/>
                    </a:lnTo>
                    <a:lnTo>
                      <a:pt x="624" y="94"/>
                    </a:lnTo>
                    <a:lnTo>
                      <a:pt x="623" y="94"/>
                    </a:lnTo>
                    <a:lnTo>
                      <a:pt x="623" y="94"/>
                    </a:lnTo>
                    <a:lnTo>
                      <a:pt x="624" y="97"/>
                    </a:lnTo>
                    <a:lnTo>
                      <a:pt x="624" y="97"/>
                    </a:lnTo>
                    <a:lnTo>
                      <a:pt x="623" y="97"/>
                    </a:lnTo>
                    <a:lnTo>
                      <a:pt x="623" y="97"/>
                    </a:lnTo>
                    <a:lnTo>
                      <a:pt x="621" y="94"/>
                    </a:lnTo>
                    <a:lnTo>
                      <a:pt x="621" y="94"/>
                    </a:lnTo>
                    <a:lnTo>
                      <a:pt x="618" y="94"/>
                    </a:lnTo>
                    <a:lnTo>
                      <a:pt x="618" y="94"/>
                    </a:lnTo>
                    <a:lnTo>
                      <a:pt x="616" y="94"/>
                    </a:lnTo>
                    <a:lnTo>
                      <a:pt x="616" y="94"/>
                    </a:lnTo>
                    <a:lnTo>
                      <a:pt x="613" y="100"/>
                    </a:lnTo>
                    <a:lnTo>
                      <a:pt x="613" y="100"/>
                    </a:lnTo>
                    <a:lnTo>
                      <a:pt x="610" y="104"/>
                    </a:lnTo>
                    <a:lnTo>
                      <a:pt x="610" y="104"/>
                    </a:lnTo>
                    <a:lnTo>
                      <a:pt x="607" y="104"/>
                    </a:lnTo>
                    <a:lnTo>
                      <a:pt x="607" y="104"/>
                    </a:lnTo>
                    <a:lnTo>
                      <a:pt x="605" y="107"/>
                    </a:lnTo>
                    <a:lnTo>
                      <a:pt x="605" y="107"/>
                    </a:lnTo>
                    <a:lnTo>
                      <a:pt x="605" y="107"/>
                    </a:lnTo>
                    <a:lnTo>
                      <a:pt x="605" y="107"/>
                    </a:lnTo>
                    <a:lnTo>
                      <a:pt x="605" y="108"/>
                    </a:lnTo>
                    <a:lnTo>
                      <a:pt x="605" y="108"/>
                    </a:lnTo>
                    <a:lnTo>
                      <a:pt x="605" y="110"/>
                    </a:lnTo>
                    <a:lnTo>
                      <a:pt x="605" y="110"/>
                    </a:lnTo>
                    <a:lnTo>
                      <a:pt x="602" y="113"/>
                    </a:lnTo>
                    <a:lnTo>
                      <a:pt x="602" y="113"/>
                    </a:lnTo>
                    <a:lnTo>
                      <a:pt x="605" y="113"/>
                    </a:lnTo>
                    <a:lnTo>
                      <a:pt x="605" y="113"/>
                    </a:lnTo>
                    <a:lnTo>
                      <a:pt x="599" y="115"/>
                    </a:lnTo>
                    <a:lnTo>
                      <a:pt x="599" y="115"/>
                    </a:lnTo>
                    <a:lnTo>
                      <a:pt x="602" y="116"/>
                    </a:lnTo>
                    <a:lnTo>
                      <a:pt x="602" y="116"/>
                    </a:lnTo>
                    <a:lnTo>
                      <a:pt x="602" y="116"/>
                    </a:lnTo>
                    <a:lnTo>
                      <a:pt x="602" y="116"/>
                    </a:lnTo>
                    <a:lnTo>
                      <a:pt x="599" y="116"/>
                    </a:lnTo>
                    <a:lnTo>
                      <a:pt x="599" y="116"/>
                    </a:lnTo>
                    <a:lnTo>
                      <a:pt x="599" y="118"/>
                    </a:lnTo>
                    <a:lnTo>
                      <a:pt x="599" y="118"/>
                    </a:lnTo>
                    <a:lnTo>
                      <a:pt x="599" y="118"/>
                    </a:lnTo>
                    <a:lnTo>
                      <a:pt x="599" y="118"/>
                    </a:lnTo>
                    <a:lnTo>
                      <a:pt x="596" y="119"/>
                    </a:lnTo>
                    <a:lnTo>
                      <a:pt x="596" y="119"/>
                    </a:lnTo>
                    <a:lnTo>
                      <a:pt x="591" y="119"/>
                    </a:lnTo>
                    <a:lnTo>
                      <a:pt x="591" y="119"/>
                    </a:lnTo>
                    <a:lnTo>
                      <a:pt x="588" y="121"/>
                    </a:lnTo>
                    <a:lnTo>
                      <a:pt x="588" y="121"/>
                    </a:lnTo>
                    <a:lnTo>
                      <a:pt x="589" y="121"/>
                    </a:lnTo>
                    <a:lnTo>
                      <a:pt x="589" y="121"/>
                    </a:lnTo>
                    <a:lnTo>
                      <a:pt x="593" y="121"/>
                    </a:lnTo>
                    <a:lnTo>
                      <a:pt x="593" y="121"/>
                    </a:lnTo>
                    <a:lnTo>
                      <a:pt x="589" y="123"/>
                    </a:lnTo>
                    <a:lnTo>
                      <a:pt x="589" y="123"/>
                    </a:lnTo>
                    <a:lnTo>
                      <a:pt x="588" y="124"/>
                    </a:lnTo>
                    <a:lnTo>
                      <a:pt x="588" y="124"/>
                    </a:lnTo>
                    <a:lnTo>
                      <a:pt x="586" y="124"/>
                    </a:lnTo>
                    <a:lnTo>
                      <a:pt x="586" y="124"/>
                    </a:lnTo>
                    <a:lnTo>
                      <a:pt x="585" y="123"/>
                    </a:lnTo>
                    <a:lnTo>
                      <a:pt x="585" y="123"/>
                    </a:lnTo>
                    <a:lnTo>
                      <a:pt x="580" y="124"/>
                    </a:lnTo>
                    <a:lnTo>
                      <a:pt x="580" y="124"/>
                    </a:lnTo>
                    <a:lnTo>
                      <a:pt x="578" y="126"/>
                    </a:lnTo>
                    <a:lnTo>
                      <a:pt x="578" y="126"/>
                    </a:lnTo>
                    <a:lnTo>
                      <a:pt x="575" y="129"/>
                    </a:lnTo>
                    <a:lnTo>
                      <a:pt x="575" y="129"/>
                    </a:lnTo>
                    <a:lnTo>
                      <a:pt x="574" y="129"/>
                    </a:lnTo>
                    <a:lnTo>
                      <a:pt x="574" y="129"/>
                    </a:lnTo>
                    <a:lnTo>
                      <a:pt x="572" y="129"/>
                    </a:lnTo>
                    <a:lnTo>
                      <a:pt x="572" y="129"/>
                    </a:lnTo>
                    <a:lnTo>
                      <a:pt x="574" y="132"/>
                    </a:lnTo>
                    <a:lnTo>
                      <a:pt x="574" y="132"/>
                    </a:lnTo>
                    <a:lnTo>
                      <a:pt x="575" y="132"/>
                    </a:lnTo>
                    <a:lnTo>
                      <a:pt x="575" y="132"/>
                    </a:lnTo>
                    <a:lnTo>
                      <a:pt x="577" y="132"/>
                    </a:lnTo>
                    <a:lnTo>
                      <a:pt x="577" y="132"/>
                    </a:lnTo>
                    <a:lnTo>
                      <a:pt x="572" y="132"/>
                    </a:lnTo>
                    <a:lnTo>
                      <a:pt x="572" y="132"/>
                    </a:lnTo>
                    <a:lnTo>
                      <a:pt x="567" y="135"/>
                    </a:lnTo>
                    <a:lnTo>
                      <a:pt x="567" y="135"/>
                    </a:lnTo>
                    <a:lnTo>
                      <a:pt x="564" y="138"/>
                    </a:lnTo>
                    <a:lnTo>
                      <a:pt x="564" y="138"/>
                    </a:lnTo>
                    <a:lnTo>
                      <a:pt x="564" y="138"/>
                    </a:lnTo>
                    <a:lnTo>
                      <a:pt x="564" y="138"/>
                    </a:lnTo>
                    <a:lnTo>
                      <a:pt x="567" y="140"/>
                    </a:lnTo>
                    <a:lnTo>
                      <a:pt x="567" y="140"/>
                    </a:lnTo>
                    <a:lnTo>
                      <a:pt x="564" y="140"/>
                    </a:lnTo>
                    <a:lnTo>
                      <a:pt x="564" y="140"/>
                    </a:lnTo>
                    <a:lnTo>
                      <a:pt x="567" y="142"/>
                    </a:lnTo>
                    <a:lnTo>
                      <a:pt x="567" y="142"/>
                    </a:lnTo>
                    <a:lnTo>
                      <a:pt x="570" y="142"/>
                    </a:lnTo>
                    <a:lnTo>
                      <a:pt x="570" y="142"/>
                    </a:lnTo>
                    <a:lnTo>
                      <a:pt x="570" y="143"/>
                    </a:lnTo>
                    <a:lnTo>
                      <a:pt x="570" y="143"/>
                    </a:lnTo>
                    <a:lnTo>
                      <a:pt x="574" y="145"/>
                    </a:lnTo>
                    <a:lnTo>
                      <a:pt x="574" y="145"/>
                    </a:lnTo>
                    <a:lnTo>
                      <a:pt x="575" y="145"/>
                    </a:lnTo>
                    <a:lnTo>
                      <a:pt x="575" y="145"/>
                    </a:lnTo>
                    <a:lnTo>
                      <a:pt x="577" y="143"/>
                    </a:lnTo>
                    <a:lnTo>
                      <a:pt x="577" y="143"/>
                    </a:lnTo>
                    <a:lnTo>
                      <a:pt x="577" y="145"/>
                    </a:lnTo>
                    <a:lnTo>
                      <a:pt x="577" y="145"/>
                    </a:lnTo>
                    <a:lnTo>
                      <a:pt x="580" y="146"/>
                    </a:lnTo>
                    <a:lnTo>
                      <a:pt x="580" y="146"/>
                    </a:lnTo>
                    <a:lnTo>
                      <a:pt x="577" y="148"/>
                    </a:lnTo>
                    <a:lnTo>
                      <a:pt x="577" y="148"/>
                    </a:lnTo>
                    <a:lnTo>
                      <a:pt x="575" y="150"/>
                    </a:lnTo>
                    <a:lnTo>
                      <a:pt x="575" y="150"/>
                    </a:lnTo>
                    <a:lnTo>
                      <a:pt x="577" y="150"/>
                    </a:lnTo>
                    <a:lnTo>
                      <a:pt x="577" y="150"/>
                    </a:lnTo>
                    <a:lnTo>
                      <a:pt x="574" y="151"/>
                    </a:lnTo>
                    <a:lnTo>
                      <a:pt x="574" y="151"/>
                    </a:lnTo>
                    <a:lnTo>
                      <a:pt x="570" y="151"/>
                    </a:lnTo>
                    <a:lnTo>
                      <a:pt x="570" y="151"/>
                    </a:lnTo>
                    <a:lnTo>
                      <a:pt x="570" y="153"/>
                    </a:lnTo>
                    <a:lnTo>
                      <a:pt x="570" y="153"/>
                    </a:lnTo>
                    <a:lnTo>
                      <a:pt x="567" y="154"/>
                    </a:lnTo>
                    <a:lnTo>
                      <a:pt x="567" y="154"/>
                    </a:lnTo>
                    <a:lnTo>
                      <a:pt x="570" y="154"/>
                    </a:lnTo>
                    <a:lnTo>
                      <a:pt x="570" y="154"/>
                    </a:lnTo>
                    <a:lnTo>
                      <a:pt x="572" y="154"/>
                    </a:lnTo>
                    <a:lnTo>
                      <a:pt x="572" y="154"/>
                    </a:lnTo>
                    <a:lnTo>
                      <a:pt x="574" y="154"/>
                    </a:lnTo>
                    <a:lnTo>
                      <a:pt x="574" y="154"/>
                    </a:lnTo>
                    <a:lnTo>
                      <a:pt x="575" y="151"/>
                    </a:lnTo>
                    <a:lnTo>
                      <a:pt x="575" y="151"/>
                    </a:lnTo>
                    <a:lnTo>
                      <a:pt x="577" y="151"/>
                    </a:lnTo>
                    <a:lnTo>
                      <a:pt x="577" y="151"/>
                    </a:lnTo>
                    <a:lnTo>
                      <a:pt x="578" y="151"/>
                    </a:lnTo>
                    <a:lnTo>
                      <a:pt x="578" y="151"/>
                    </a:lnTo>
                    <a:lnTo>
                      <a:pt x="578" y="153"/>
                    </a:lnTo>
                    <a:lnTo>
                      <a:pt x="578" y="153"/>
                    </a:lnTo>
                    <a:lnTo>
                      <a:pt x="577" y="154"/>
                    </a:lnTo>
                    <a:lnTo>
                      <a:pt x="577" y="154"/>
                    </a:lnTo>
                    <a:lnTo>
                      <a:pt x="574" y="156"/>
                    </a:lnTo>
                    <a:lnTo>
                      <a:pt x="574" y="156"/>
                    </a:lnTo>
                    <a:lnTo>
                      <a:pt x="577" y="156"/>
                    </a:lnTo>
                    <a:lnTo>
                      <a:pt x="577" y="156"/>
                    </a:lnTo>
                    <a:lnTo>
                      <a:pt x="570" y="159"/>
                    </a:lnTo>
                    <a:lnTo>
                      <a:pt x="570" y="159"/>
                    </a:lnTo>
                    <a:lnTo>
                      <a:pt x="564" y="161"/>
                    </a:lnTo>
                    <a:lnTo>
                      <a:pt x="564" y="161"/>
                    </a:lnTo>
                    <a:lnTo>
                      <a:pt x="559" y="164"/>
                    </a:lnTo>
                    <a:lnTo>
                      <a:pt x="559" y="164"/>
                    </a:lnTo>
                    <a:lnTo>
                      <a:pt x="553" y="164"/>
                    </a:lnTo>
                    <a:lnTo>
                      <a:pt x="553" y="164"/>
                    </a:lnTo>
                    <a:lnTo>
                      <a:pt x="550" y="164"/>
                    </a:lnTo>
                    <a:lnTo>
                      <a:pt x="550" y="164"/>
                    </a:lnTo>
                    <a:lnTo>
                      <a:pt x="547" y="167"/>
                    </a:lnTo>
                    <a:lnTo>
                      <a:pt x="547" y="167"/>
                    </a:lnTo>
                    <a:lnTo>
                      <a:pt x="547" y="170"/>
                    </a:lnTo>
                    <a:lnTo>
                      <a:pt x="547" y="170"/>
                    </a:lnTo>
                    <a:lnTo>
                      <a:pt x="547" y="170"/>
                    </a:lnTo>
                    <a:lnTo>
                      <a:pt x="547" y="170"/>
                    </a:lnTo>
                    <a:lnTo>
                      <a:pt x="547" y="170"/>
                    </a:lnTo>
                    <a:lnTo>
                      <a:pt x="547" y="170"/>
                    </a:lnTo>
                    <a:lnTo>
                      <a:pt x="547" y="173"/>
                    </a:lnTo>
                    <a:lnTo>
                      <a:pt x="547" y="173"/>
                    </a:lnTo>
                    <a:lnTo>
                      <a:pt x="543" y="173"/>
                    </a:lnTo>
                    <a:lnTo>
                      <a:pt x="543" y="173"/>
                    </a:lnTo>
                    <a:lnTo>
                      <a:pt x="543" y="175"/>
                    </a:lnTo>
                    <a:lnTo>
                      <a:pt x="543" y="175"/>
                    </a:lnTo>
                    <a:lnTo>
                      <a:pt x="540" y="177"/>
                    </a:lnTo>
                    <a:lnTo>
                      <a:pt x="540" y="177"/>
                    </a:lnTo>
                    <a:lnTo>
                      <a:pt x="540" y="177"/>
                    </a:lnTo>
                    <a:lnTo>
                      <a:pt x="540" y="177"/>
                    </a:lnTo>
                    <a:lnTo>
                      <a:pt x="540" y="175"/>
                    </a:lnTo>
                    <a:lnTo>
                      <a:pt x="540" y="175"/>
                    </a:lnTo>
                    <a:lnTo>
                      <a:pt x="543" y="173"/>
                    </a:lnTo>
                    <a:lnTo>
                      <a:pt x="543" y="173"/>
                    </a:lnTo>
                    <a:lnTo>
                      <a:pt x="540" y="173"/>
                    </a:lnTo>
                    <a:lnTo>
                      <a:pt x="540" y="173"/>
                    </a:lnTo>
                    <a:lnTo>
                      <a:pt x="543" y="173"/>
                    </a:lnTo>
                    <a:lnTo>
                      <a:pt x="543" y="173"/>
                    </a:lnTo>
                    <a:lnTo>
                      <a:pt x="540" y="173"/>
                    </a:lnTo>
                    <a:lnTo>
                      <a:pt x="540" y="173"/>
                    </a:lnTo>
                    <a:lnTo>
                      <a:pt x="540" y="173"/>
                    </a:lnTo>
                    <a:lnTo>
                      <a:pt x="540" y="173"/>
                    </a:lnTo>
                    <a:lnTo>
                      <a:pt x="537" y="173"/>
                    </a:lnTo>
                    <a:lnTo>
                      <a:pt x="537" y="173"/>
                    </a:lnTo>
                    <a:lnTo>
                      <a:pt x="537" y="173"/>
                    </a:lnTo>
                    <a:lnTo>
                      <a:pt x="537" y="173"/>
                    </a:lnTo>
                    <a:lnTo>
                      <a:pt x="540" y="170"/>
                    </a:lnTo>
                    <a:lnTo>
                      <a:pt x="540" y="170"/>
                    </a:lnTo>
                    <a:lnTo>
                      <a:pt x="537" y="170"/>
                    </a:lnTo>
                    <a:lnTo>
                      <a:pt x="537" y="170"/>
                    </a:lnTo>
                    <a:lnTo>
                      <a:pt x="543" y="167"/>
                    </a:lnTo>
                    <a:lnTo>
                      <a:pt x="543" y="167"/>
                    </a:lnTo>
                    <a:lnTo>
                      <a:pt x="547" y="164"/>
                    </a:lnTo>
                    <a:lnTo>
                      <a:pt x="547" y="164"/>
                    </a:lnTo>
                    <a:lnTo>
                      <a:pt x="550" y="161"/>
                    </a:lnTo>
                    <a:lnTo>
                      <a:pt x="550" y="161"/>
                    </a:lnTo>
                    <a:lnTo>
                      <a:pt x="543" y="162"/>
                    </a:lnTo>
                    <a:lnTo>
                      <a:pt x="543" y="162"/>
                    </a:lnTo>
                    <a:lnTo>
                      <a:pt x="540" y="164"/>
                    </a:lnTo>
                    <a:lnTo>
                      <a:pt x="540" y="164"/>
                    </a:lnTo>
                    <a:lnTo>
                      <a:pt x="547" y="161"/>
                    </a:lnTo>
                    <a:lnTo>
                      <a:pt x="547" y="161"/>
                    </a:lnTo>
                    <a:lnTo>
                      <a:pt x="543" y="161"/>
                    </a:lnTo>
                    <a:lnTo>
                      <a:pt x="543" y="161"/>
                    </a:lnTo>
                    <a:lnTo>
                      <a:pt x="540" y="161"/>
                    </a:lnTo>
                    <a:lnTo>
                      <a:pt x="540" y="161"/>
                    </a:lnTo>
                    <a:lnTo>
                      <a:pt x="540" y="159"/>
                    </a:lnTo>
                    <a:lnTo>
                      <a:pt x="540" y="159"/>
                    </a:lnTo>
                    <a:lnTo>
                      <a:pt x="537" y="158"/>
                    </a:lnTo>
                    <a:lnTo>
                      <a:pt x="537" y="158"/>
                    </a:lnTo>
                    <a:lnTo>
                      <a:pt x="535" y="158"/>
                    </a:lnTo>
                    <a:lnTo>
                      <a:pt x="535" y="158"/>
                    </a:lnTo>
                    <a:lnTo>
                      <a:pt x="534" y="159"/>
                    </a:lnTo>
                    <a:lnTo>
                      <a:pt x="534" y="159"/>
                    </a:lnTo>
                    <a:lnTo>
                      <a:pt x="531" y="161"/>
                    </a:lnTo>
                    <a:lnTo>
                      <a:pt x="531" y="161"/>
                    </a:lnTo>
                    <a:lnTo>
                      <a:pt x="526" y="159"/>
                    </a:lnTo>
                    <a:lnTo>
                      <a:pt x="526" y="159"/>
                    </a:lnTo>
                    <a:lnTo>
                      <a:pt x="526" y="162"/>
                    </a:lnTo>
                    <a:lnTo>
                      <a:pt x="526" y="162"/>
                    </a:lnTo>
                    <a:lnTo>
                      <a:pt x="524" y="162"/>
                    </a:lnTo>
                    <a:lnTo>
                      <a:pt x="524" y="162"/>
                    </a:lnTo>
                    <a:lnTo>
                      <a:pt x="524" y="164"/>
                    </a:lnTo>
                    <a:lnTo>
                      <a:pt x="524" y="164"/>
                    </a:lnTo>
                    <a:lnTo>
                      <a:pt x="524" y="167"/>
                    </a:lnTo>
                    <a:lnTo>
                      <a:pt x="524" y="167"/>
                    </a:lnTo>
                    <a:lnTo>
                      <a:pt x="523" y="164"/>
                    </a:lnTo>
                    <a:lnTo>
                      <a:pt x="523" y="164"/>
                    </a:lnTo>
                    <a:lnTo>
                      <a:pt x="521" y="164"/>
                    </a:lnTo>
                    <a:lnTo>
                      <a:pt x="521" y="164"/>
                    </a:lnTo>
                    <a:lnTo>
                      <a:pt x="521" y="164"/>
                    </a:lnTo>
                    <a:lnTo>
                      <a:pt x="521" y="164"/>
                    </a:lnTo>
                    <a:lnTo>
                      <a:pt x="521" y="167"/>
                    </a:lnTo>
                    <a:lnTo>
                      <a:pt x="521" y="167"/>
                    </a:lnTo>
                    <a:lnTo>
                      <a:pt x="518" y="167"/>
                    </a:lnTo>
                    <a:lnTo>
                      <a:pt x="518" y="167"/>
                    </a:lnTo>
                    <a:lnTo>
                      <a:pt x="513" y="167"/>
                    </a:lnTo>
                    <a:lnTo>
                      <a:pt x="513" y="167"/>
                    </a:lnTo>
                    <a:lnTo>
                      <a:pt x="508" y="167"/>
                    </a:lnTo>
                    <a:lnTo>
                      <a:pt x="508" y="167"/>
                    </a:lnTo>
                    <a:lnTo>
                      <a:pt x="501" y="167"/>
                    </a:lnTo>
                    <a:lnTo>
                      <a:pt x="501" y="167"/>
                    </a:lnTo>
                    <a:lnTo>
                      <a:pt x="494" y="167"/>
                    </a:lnTo>
                    <a:lnTo>
                      <a:pt x="494" y="167"/>
                    </a:lnTo>
                    <a:lnTo>
                      <a:pt x="489" y="167"/>
                    </a:lnTo>
                    <a:lnTo>
                      <a:pt x="489" y="167"/>
                    </a:lnTo>
                    <a:lnTo>
                      <a:pt x="485" y="167"/>
                    </a:lnTo>
                    <a:lnTo>
                      <a:pt x="485" y="167"/>
                    </a:lnTo>
                    <a:lnTo>
                      <a:pt x="483" y="167"/>
                    </a:lnTo>
                    <a:lnTo>
                      <a:pt x="483" y="167"/>
                    </a:lnTo>
                    <a:lnTo>
                      <a:pt x="482" y="167"/>
                    </a:lnTo>
                    <a:lnTo>
                      <a:pt x="482" y="167"/>
                    </a:lnTo>
                    <a:lnTo>
                      <a:pt x="480" y="164"/>
                    </a:lnTo>
                    <a:lnTo>
                      <a:pt x="480" y="164"/>
                    </a:lnTo>
                    <a:lnTo>
                      <a:pt x="480" y="164"/>
                    </a:lnTo>
                    <a:lnTo>
                      <a:pt x="480" y="164"/>
                    </a:lnTo>
                    <a:lnTo>
                      <a:pt x="480" y="162"/>
                    </a:lnTo>
                    <a:lnTo>
                      <a:pt x="480" y="162"/>
                    </a:lnTo>
                    <a:lnTo>
                      <a:pt x="470" y="164"/>
                    </a:lnTo>
                    <a:lnTo>
                      <a:pt x="470" y="164"/>
                    </a:lnTo>
                    <a:lnTo>
                      <a:pt x="467" y="164"/>
                    </a:lnTo>
                    <a:lnTo>
                      <a:pt x="467" y="164"/>
                    </a:lnTo>
                    <a:lnTo>
                      <a:pt x="467" y="162"/>
                    </a:lnTo>
                    <a:lnTo>
                      <a:pt x="467" y="162"/>
                    </a:lnTo>
                    <a:lnTo>
                      <a:pt x="467" y="161"/>
                    </a:lnTo>
                    <a:lnTo>
                      <a:pt x="467" y="161"/>
                    </a:lnTo>
                    <a:lnTo>
                      <a:pt x="466" y="162"/>
                    </a:lnTo>
                    <a:lnTo>
                      <a:pt x="466" y="162"/>
                    </a:lnTo>
                    <a:lnTo>
                      <a:pt x="467" y="161"/>
                    </a:lnTo>
                    <a:lnTo>
                      <a:pt x="467" y="161"/>
                    </a:lnTo>
                    <a:lnTo>
                      <a:pt x="466" y="161"/>
                    </a:lnTo>
                    <a:lnTo>
                      <a:pt x="466" y="161"/>
                    </a:lnTo>
                    <a:lnTo>
                      <a:pt x="462" y="159"/>
                    </a:lnTo>
                    <a:lnTo>
                      <a:pt x="462" y="159"/>
                    </a:lnTo>
                    <a:lnTo>
                      <a:pt x="464" y="159"/>
                    </a:lnTo>
                    <a:lnTo>
                      <a:pt x="464" y="159"/>
                    </a:lnTo>
                    <a:lnTo>
                      <a:pt x="466" y="156"/>
                    </a:lnTo>
                    <a:lnTo>
                      <a:pt x="466" y="156"/>
                    </a:lnTo>
                    <a:lnTo>
                      <a:pt x="466" y="154"/>
                    </a:lnTo>
                    <a:lnTo>
                      <a:pt x="466" y="154"/>
                    </a:lnTo>
                    <a:lnTo>
                      <a:pt x="466" y="153"/>
                    </a:lnTo>
                    <a:lnTo>
                      <a:pt x="466" y="153"/>
                    </a:lnTo>
                    <a:lnTo>
                      <a:pt x="462" y="153"/>
                    </a:lnTo>
                    <a:lnTo>
                      <a:pt x="462" y="153"/>
                    </a:lnTo>
                    <a:lnTo>
                      <a:pt x="459" y="153"/>
                    </a:lnTo>
                    <a:lnTo>
                      <a:pt x="459" y="153"/>
                    </a:lnTo>
                    <a:lnTo>
                      <a:pt x="455" y="154"/>
                    </a:lnTo>
                    <a:lnTo>
                      <a:pt x="455" y="154"/>
                    </a:lnTo>
                    <a:lnTo>
                      <a:pt x="442" y="156"/>
                    </a:lnTo>
                    <a:lnTo>
                      <a:pt x="442" y="156"/>
                    </a:lnTo>
                    <a:lnTo>
                      <a:pt x="437" y="158"/>
                    </a:lnTo>
                    <a:lnTo>
                      <a:pt x="437" y="158"/>
                    </a:lnTo>
                    <a:lnTo>
                      <a:pt x="431" y="161"/>
                    </a:lnTo>
                    <a:lnTo>
                      <a:pt x="431" y="161"/>
                    </a:lnTo>
                    <a:lnTo>
                      <a:pt x="432" y="161"/>
                    </a:lnTo>
                    <a:lnTo>
                      <a:pt x="432" y="161"/>
                    </a:lnTo>
                    <a:lnTo>
                      <a:pt x="432" y="162"/>
                    </a:lnTo>
                    <a:lnTo>
                      <a:pt x="432" y="162"/>
                    </a:lnTo>
                    <a:lnTo>
                      <a:pt x="434" y="162"/>
                    </a:lnTo>
                    <a:lnTo>
                      <a:pt x="434" y="162"/>
                    </a:lnTo>
                    <a:lnTo>
                      <a:pt x="435" y="162"/>
                    </a:lnTo>
                    <a:lnTo>
                      <a:pt x="435" y="162"/>
                    </a:lnTo>
                    <a:lnTo>
                      <a:pt x="439" y="162"/>
                    </a:lnTo>
                    <a:lnTo>
                      <a:pt x="439" y="162"/>
                    </a:lnTo>
                    <a:lnTo>
                      <a:pt x="439" y="161"/>
                    </a:lnTo>
                    <a:lnTo>
                      <a:pt x="439" y="161"/>
                    </a:lnTo>
                    <a:lnTo>
                      <a:pt x="439" y="161"/>
                    </a:lnTo>
                    <a:lnTo>
                      <a:pt x="439" y="161"/>
                    </a:lnTo>
                    <a:lnTo>
                      <a:pt x="442" y="161"/>
                    </a:lnTo>
                    <a:lnTo>
                      <a:pt x="442" y="161"/>
                    </a:lnTo>
                    <a:lnTo>
                      <a:pt x="445" y="161"/>
                    </a:lnTo>
                    <a:lnTo>
                      <a:pt x="445" y="161"/>
                    </a:lnTo>
                    <a:lnTo>
                      <a:pt x="448" y="159"/>
                    </a:lnTo>
                    <a:lnTo>
                      <a:pt x="448" y="159"/>
                    </a:lnTo>
                    <a:lnTo>
                      <a:pt x="450" y="161"/>
                    </a:lnTo>
                    <a:lnTo>
                      <a:pt x="450" y="161"/>
                    </a:lnTo>
                    <a:lnTo>
                      <a:pt x="451" y="159"/>
                    </a:lnTo>
                    <a:lnTo>
                      <a:pt x="451" y="159"/>
                    </a:lnTo>
                    <a:lnTo>
                      <a:pt x="455" y="158"/>
                    </a:lnTo>
                    <a:lnTo>
                      <a:pt x="455" y="158"/>
                    </a:lnTo>
                    <a:lnTo>
                      <a:pt x="458" y="158"/>
                    </a:lnTo>
                    <a:lnTo>
                      <a:pt x="458" y="158"/>
                    </a:lnTo>
                    <a:lnTo>
                      <a:pt x="464" y="156"/>
                    </a:lnTo>
                    <a:lnTo>
                      <a:pt x="464" y="156"/>
                    </a:lnTo>
                    <a:lnTo>
                      <a:pt x="461" y="158"/>
                    </a:lnTo>
                    <a:lnTo>
                      <a:pt x="461" y="158"/>
                    </a:lnTo>
                    <a:lnTo>
                      <a:pt x="458" y="159"/>
                    </a:lnTo>
                    <a:lnTo>
                      <a:pt x="458" y="159"/>
                    </a:lnTo>
                    <a:lnTo>
                      <a:pt x="453" y="161"/>
                    </a:lnTo>
                    <a:lnTo>
                      <a:pt x="453" y="161"/>
                    </a:lnTo>
                    <a:lnTo>
                      <a:pt x="450" y="162"/>
                    </a:lnTo>
                    <a:lnTo>
                      <a:pt x="450" y="162"/>
                    </a:lnTo>
                    <a:lnTo>
                      <a:pt x="445" y="162"/>
                    </a:lnTo>
                    <a:lnTo>
                      <a:pt x="445" y="162"/>
                    </a:lnTo>
                    <a:lnTo>
                      <a:pt x="442" y="164"/>
                    </a:lnTo>
                    <a:lnTo>
                      <a:pt x="442" y="164"/>
                    </a:lnTo>
                    <a:lnTo>
                      <a:pt x="437" y="164"/>
                    </a:lnTo>
                    <a:lnTo>
                      <a:pt x="437" y="164"/>
                    </a:lnTo>
                    <a:lnTo>
                      <a:pt x="435" y="164"/>
                    </a:lnTo>
                    <a:lnTo>
                      <a:pt x="435" y="164"/>
                    </a:lnTo>
                    <a:lnTo>
                      <a:pt x="435" y="164"/>
                    </a:lnTo>
                    <a:lnTo>
                      <a:pt x="435" y="164"/>
                    </a:lnTo>
                    <a:lnTo>
                      <a:pt x="434" y="164"/>
                    </a:lnTo>
                    <a:lnTo>
                      <a:pt x="434" y="164"/>
                    </a:lnTo>
                    <a:lnTo>
                      <a:pt x="432" y="167"/>
                    </a:lnTo>
                    <a:lnTo>
                      <a:pt x="432" y="167"/>
                    </a:lnTo>
                    <a:lnTo>
                      <a:pt x="431" y="167"/>
                    </a:lnTo>
                    <a:lnTo>
                      <a:pt x="431" y="167"/>
                    </a:lnTo>
                    <a:lnTo>
                      <a:pt x="431" y="170"/>
                    </a:lnTo>
                    <a:lnTo>
                      <a:pt x="431" y="170"/>
                    </a:lnTo>
                    <a:lnTo>
                      <a:pt x="431" y="170"/>
                    </a:lnTo>
                    <a:lnTo>
                      <a:pt x="431" y="170"/>
                    </a:lnTo>
                    <a:lnTo>
                      <a:pt x="429" y="173"/>
                    </a:lnTo>
                    <a:lnTo>
                      <a:pt x="429" y="173"/>
                    </a:lnTo>
                    <a:lnTo>
                      <a:pt x="429" y="175"/>
                    </a:lnTo>
                    <a:lnTo>
                      <a:pt x="429" y="175"/>
                    </a:lnTo>
                    <a:lnTo>
                      <a:pt x="429" y="177"/>
                    </a:lnTo>
                    <a:lnTo>
                      <a:pt x="429" y="177"/>
                    </a:lnTo>
                    <a:lnTo>
                      <a:pt x="428" y="178"/>
                    </a:lnTo>
                    <a:lnTo>
                      <a:pt x="428" y="178"/>
                    </a:lnTo>
                    <a:lnTo>
                      <a:pt x="428" y="177"/>
                    </a:lnTo>
                    <a:lnTo>
                      <a:pt x="428" y="177"/>
                    </a:lnTo>
                    <a:lnTo>
                      <a:pt x="426" y="178"/>
                    </a:lnTo>
                    <a:lnTo>
                      <a:pt x="426" y="178"/>
                    </a:lnTo>
                    <a:lnTo>
                      <a:pt x="424" y="178"/>
                    </a:lnTo>
                    <a:lnTo>
                      <a:pt x="424" y="178"/>
                    </a:lnTo>
                    <a:lnTo>
                      <a:pt x="424" y="177"/>
                    </a:lnTo>
                    <a:lnTo>
                      <a:pt x="424" y="177"/>
                    </a:lnTo>
                    <a:lnTo>
                      <a:pt x="426" y="175"/>
                    </a:lnTo>
                    <a:lnTo>
                      <a:pt x="426" y="175"/>
                    </a:lnTo>
                    <a:lnTo>
                      <a:pt x="423" y="177"/>
                    </a:lnTo>
                    <a:lnTo>
                      <a:pt x="423" y="177"/>
                    </a:lnTo>
                    <a:lnTo>
                      <a:pt x="421" y="178"/>
                    </a:lnTo>
                    <a:lnTo>
                      <a:pt x="421" y="178"/>
                    </a:lnTo>
                    <a:lnTo>
                      <a:pt x="421" y="180"/>
                    </a:lnTo>
                    <a:lnTo>
                      <a:pt x="421" y="180"/>
                    </a:lnTo>
                    <a:lnTo>
                      <a:pt x="421" y="181"/>
                    </a:lnTo>
                    <a:lnTo>
                      <a:pt x="421" y="181"/>
                    </a:lnTo>
                    <a:lnTo>
                      <a:pt x="421" y="185"/>
                    </a:lnTo>
                    <a:lnTo>
                      <a:pt x="421" y="185"/>
                    </a:lnTo>
                    <a:lnTo>
                      <a:pt x="421" y="181"/>
                    </a:lnTo>
                    <a:lnTo>
                      <a:pt x="421" y="181"/>
                    </a:lnTo>
                    <a:lnTo>
                      <a:pt x="421" y="180"/>
                    </a:lnTo>
                    <a:lnTo>
                      <a:pt x="421" y="180"/>
                    </a:lnTo>
                    <a:lnTo>
                      <a:pt x="418" y="180"/>
                    </a:lnTo>
                    <a:lnTo>
                      <a:pt x="418" y="180"/>
                    </a:lnTo>
                    <a:lnTo>
                      <a:pt x="418" y="178"/>
                    </a:lnTo>
                    <a:lnTo>
                      <a:pt x="418" y="178"/>
                    </a:lnTo>
                    <a:lnTo>
                      <a:pt x="421" y="177"/>
                    </a:lnTo>
                    <a:lnTo>
                      <a:pt x="421" y="177"/>
                    </a:lnTo>
                    <a:lnTo>
                      <a:pt x="418" y="175"/>
                    </a:lnTo>
                    <a:lnTo>
                      <a:pt x="418" y="175"/>
                    </a:lnTo>
                    <a:lnTo>
                      <a:pt x="418" y="175"/>
                    </a:lnTo>
                    <a:lnTo>
                      <a:pt x="418" y="175"/>
                    </a:lnTo>
                    <a:lnTo>
                      <a:pt x="418" y="173"/>
                    </a:lnTo>
                    <a:lnTo>
                      <a:pt x="418" y="173"/>
                    </a:lnTo>
                    <a:lnTo>
                      <a:pt x="421" y="175"/>
                    </a:lnTo>
                    <a:lnTo>
                      <a:pt x="421" y="175"/>
                    </a:lnTo>
                    <a:lnTo>
                      <a:pt x="424" y="175"/>
                    </a:lnTo>
                    <a:lnTo>
                      <a:pt x="424" y="175"/>
                    </a:lnTo>
                    <a:lnTo>
                      <a:pt x="424" y="173"/>
                    </a:lnTo>
                    <a:lnTo>
                      <a:pt x="424" y="173"/>
                    </a:lnTo>
                    <a:lnTo>
                      <a:pt x="424" y="173"/>
                    </a:lnTo>
                    <a:lnTo>
                      <a:pt x="424" y="173"/>
                    </a:lnTo>
                    <a:lnTo>
                      <a:pt x="423" y="170"/>
                    </a:lnTo>
                    <a:lnTo>
                      <a:pt x="423" y="170"/>
                    </a:lnTo>
                    <a:lnTo>
                      <a:pt x="421" y="173"/>
                    </a:lnTo>
                    <a:lnTo>
                      <a:pt x="421" y="173"/>
                    </a:lnTo>
                    <a:lnTo>
                      <a:pt x="423" y="170"/>
                    </a:lnTo>
                    <a:lnTo>
                      <a:pt x="423" y="170"/>
                    </a:lnTo>
                    <a:lnTo>
                      <a:pt x="421" y="170"/>
                    </a:lnTo>
                    <a:lnTo>
                      <a:pt x="421" y="170"/>
                    </a:lnTo>
                    <a:lnTo>
                      <a:pt x="421" y="170"/>
                    </a:lnTo>
                    <a:lnTo>
                      <a:pt x="421" y="170"/>
                    </a:lnTo>
                    <a:lnTo>
                      <a:pt x="418" y="173"/>
                    </a:lnTo>
                    <a:lnTo>
                      <a:pt x="418" y="173"/>
                    </a:lnTo>
                    <a:lnTo>
                      <a:pt x="418" y="170"/>
                    </a:lnTo>
                    <a:lnTo>
                      <a:pt x="418" y="170"/>
                    </a:lnTo>
                    <a:lnTo>
                      <a:pt x="418" y="170"/>
                    </a:lnTo>
                    <a:lnTo>
                      <a:pt x="418" y="170"/>
                    </a:lnTo>
                    <a:lnTo>
                      <a:pt x="421" y="167"/>
                    </a:lnTo>
                    <a:lnTo>
                      <a:pt x="421" y="167"/>
                    </a:lnTo>
                    <a:lnTo>
                      <a:pt x="415" y="167"/>
                    </a:lnTo>
                    <a:lnTo>
                      <a:pt x="415" y="167"/>
                    </a:lnTo>
                    <a:lnTo>
                      <a:pt x="415" y="167"/>
                    </a:lnTo>
                    <a:lnTo>
                      <a:pt x="415" y="167"/>
                    </a:lnTo>
                    <a:lnTo>
                      <a:pt x="415" y="167"/>
                    </a:lnTo>
                    <a:lnTo>
                      <a:pt x="415" y="167"/>
                    </a:lnTo>
                    <a:lnTo>
                      <a:pt x="415" y="164"/>
                    </a:lnTo>
                    <a:lnTo>
                      <a:pt x="415" y="164"/>
                    </a:lnTo>
                    <a:lnTo>
                      <a:pt x="412" y="164"/>
                    </a:lnTo>
                    <a:lnTo>
                      <a:pt x="412" y="164"/>
                    </a:lnTo>
                    <a:lnTo>
                      <a:pt x="410" y="164"/>
                    </a:lnTo>
                    <a:lnTo>
                      <a:pt x="410" y="164"/>
                    </a:lnTo>
                    <a:lnTo>
                      <a:pt x="402" y="167"/>
                    </a:lnTo>
                    <a:lnTo>
                      <a:pt x="402" y="167"/>
                    </a:lnTo>
                    <a:lnTo>
                      <a:pt x="401" y="167"/>
                    </a:lnTo>
                    <a:lnTo>
                      <a:pt x="401" y="167"/>
                    </a:lnTo>
                    <a:lnTo>
                      <a:pt x="397" y="167"/>
                    </a:lnTo>
                    <a:lnTo>
                      <a:pt x="397" y="167"/>
                    </a:lnTo>
                    <a:lnTo>
                      <a:pt x="394" y="167"/>
                    </a:lnTo>
                    <a:lnTo>
                      <a:pt x="394" y="167"/>
                    </a:lnTo>
                    <a:lnTo>
                      <a:pt x="389" y="167"/>
                    </a:lnTo>
                    <a:lnTo>
                      <a:pt x="389" y="167"/>
                    </a:lnTo>
                    <a:lnTo>
                      <a:pt x="386" y="167"/>
                    </a:lnTo>
                    <a:lnTo>
                      <a:pt x="386" y="167"/>
                    </a:lnTo>
                    <a:lnTo>
                      <a:pt x="374" y="167"/>
                    </a:lnTo>
                    <a:lnTo>
                      <a:pt x="374" y="167"/>
                    </a:lnTo>
                    <a:lnTo>
                      <a:pt x="367" y="167"/>
                    </a:lnTo>
                    <a:lnTo>
                      <a:pt x="367" y="167"/>
                    </a:lnTo>
                    <a:lnTo>
                      <a:pt x="362" y="164"/>
                    </a:lnTo>
                    <a:lnTo>
                      <a:pt x="362" y="164"/>
                    </a:lnTo>
                    <a:lnTo>
                      <a:pt x="367" y="164"/>
                    </a:lnTo>
                    <a:lnTo>
                      <a:pt x="367" y="164"/>
                    </a:lnTo>
                    <a:lnTo>
                      <a:pt x="369" y="164"/>
                    </a:lnTo>
                    <a:lnTo>
                      <a:pt x="369" y="164"/>
                    </a:lnTo>
                    <a:lnTo>
                      <a:pt x="372" y="162"/>
                    </a:lnTo>
                    <a:lnTo>
                      <a:pt x="372" y="162"/>
                    </a:lnTo>
                    <a:lnTo>
                      <a:pt x="375" y="162"/>
                    </a:lnTo>
                    <a:lnTo>
                      <a:pt x="375" y="162"/>
                    </a:lnTo>
                    <a:lnTo>
                      <a:pt x="377" y="161"/>
                    </a:lnTo>
                    <a:lnTo>
                      <a:pt x="377" y="161"/>
                    </a:lnTo>
                    <a:lnTo>
                      <a:pt x="380" y="161"/>
                    </a:lnTo>
                    <a:lnTo>
                      <a:pt x="380" y="161"/>
                    </a:lnTo>
                    <a:lnTo>
                      <a:pt x="383" y="159"/>
                    </a:lnTo>
                    <a:lnTo>
                      <a:pt x="383" y="159"/>
                    </a:lnTo>
                    <a:lnTo>
                      <a:pt x="383" y="158"/>
                    </a:lnTo>
                    <a:lnTo>
                      <a:pt x="383" y="158"/>
                    </a:lnTo>
                    <a:lnTo>
                      <a:pt x="383" y="156"/>
                    </a:lnTo>
                    <a:lnTo>
                      <a:pt x="383" y="156"/>
                    </a:lnTo>
                    <a:lnTo>
                      <a:pt x="380" y="154"/>
                    </a:lnTo>
                    <a:lnTo>
                      <a:pt x="380" y="154"/>
                    </a:lnTo>
                    <a:lnTo>
                      <a:pt x="377" y="153"/>
                    </a:lnTo>
                    <a:lnTo>
                      <a:pt x="377" y="153"/>
                    </a:lnTo>
                    <a:lnTo>
                      <a:pt x="374" y="151"/>
                    </a:lnTo>
                    <a:lnTo>
                      <a:pt x="374" y="151"/>
                    </a:lnTo>
                    <a:lnTo>
                      <a:pt x="369" y="153"/>
                    </a:lnTo>
                    <a:lnTo>
                      <a:pt x="369" y="153"/>
                    </a:lnTo>
                    <a:lnTo>
                      <a:pt x="370" y="153"/>
                    </a:lnTo>
                    <a:lnTo>
                      <a:pt x="370" y="153"/>
                    </a:lnTo>
                    <a:lnTo>
                      <a:pt x="364" y="154"/>
                    </a:lnTo>
                    <a:lnTo>
                      <a:pt x="364" y="154"/>
                    </a:lnTo>
                    <a:lnTo>
                      <a:pt x="359" y="153"/>
                    </a:lnTo>
                    <a:lnTo>
                      <a:pt x="359" y="153"/>
                    </a:lnTo>
                    <a:lnTo>
                      <a:pt x="356" y="153"/>
                    </a:lnTo>
                    <a:lnTo>
                      <a:pt x="356" y="153"/>
                    </a:lnTo>
                    <a:lnTo>
                      <a:pt x="351" y="151"/>
                    </a:lnTo>
                    <a:lnTo>
                      <a:pt x="351" y="151"/>
                    </a:lnTo>
                    <a:lnTo>
                      <a:pt x="348" y="148"/>
                    </a:lnTo>
                    <a:lnTo>
                      <a:pt x="348" y="148"/>
                    </a:lnTo>
                    <a:lnTo>
                      <a:pt x="345" y="148"/>
                    </a:lnTo>
                    <a:lnTo>
                      <a:pt x="345" y="148"/>
                    </a:lnTo>
                    <a:lnTo>
                      <a:pt x="340" y="146"/>
                    </a:lnTo>
                    <a:lnTo>
                      <a:pt x="340" y="146"/>
                    </a:lnTo>
                    <a:lnTo>
                      <a:pt x="337" y="145"/>
                    </a:lnTo>
                    <a:lnTo>
                      <a:pt x="337" y="145"/>
                    </a:lnTo>
                    <a:lnTo>
                      <a:pt x="334" y="142"/>
                    </a:lnTo>
                    <a:lnTo>
                      <a:pt x="334" y="142"/>
                    </a:lnTo>
                    <a:lnTo>
                      <a:pt x="329" y="142"/>
                    </a:lnTo>
                    <a:lnTo>
                      <a:pt x="329" y="142"/>
                    </a:lnTo>
                    <a:lnTo>
                      <a:pt x="323" y="142"/>
                    </a:lnTo>
                    <a:lnTo>
                      <a:pt x="323" y="142"/>
                    </a:lnTo>
                    <a:lnTo>
                      <a:pt x="320" y="142"/>
                    </a:lnTo>
                    <a:lnTo>
                      <a:pt x="320" y="142"/>
                    </a:lnTo>
                    <a:lnTo>
                      <a:pt x="310" y="146"/>
                    </a:lnTo>
                    <a:lnTo>
                      <a:pt x="310" y="146"/>
                    </a:lnTo>
                    <a:lnTo>
                      <a:pt x="305" y="148"/>
                    </a:lnTo>
                    <a:lnTo>
                      <a:pt x="305" y="148"/>
                    </a:lnTo>
                    <a:lnTo>
                      <a:pt x="299" y="146"/>
                    </a:lnTo>
                    <a:lnTo>
                      <a:pt x="299" y="146"/>
                    </a:lnTo>
                    <a:lnTo>
                      <a:pt x="304" y="145"/>
                    </a:lnTo>
                    <a:lnTo>
                      <a:pt x="304" y="145"/>
                    </a:lnTo>
                    <a:lnTo>
                      <a:pt x="308" y="143"/>
                    </a:lnTo>
                    <a:lnTo>
                      <a:pt x="308" y="143"/>
                    </a:lnTo>
                    <a:lnTo>
                      <a:pt x="305" y="143"/>
                    </a:lnTo>
                    <a:lnTo>
                      <a:pt x="305" y="143"/>
                    </a:lnTo>
                    <a:lnTo>
                      <a:pt x="307" y="140"/>
                    </a:lnTo>
                    <a:lnTo>
                      <a:pt x="307" y="140"/>
                    </a:lnTo>
                    <a:lnTo>
                      <a:pt x="310" y="138"/>
                    </a:lnTo>
                    <a:lnTo>
                      <a:pt x="310" y="138"/>
                    </a:lnTo>
                    <a:lnTo>
                      <a:pt x="307" y="138"/>
                    </a:lnTo>
                    <a:lnTo>
                      <a:pt x="307" y="138"/>
                    </a:lnTo>
                    <a:lnTo>
                      <a:pt x="302" y="140"/>
                    </a:lnTo>
                    <a:lnTo>
                      <a:pt x="302" y="140"/>
                    </a:lnTo>
                    <a:lnTo>
                      <a:pt x="297" y="142"/>
                    </a:lnTo>
                    <a:lnTo>
                      <a:pt x="297" y="142"/>
                    </a:lnTo>
                    <a:lnTo>
                      <a:pt x="296" y="143"/>
                    </a:lnTo>
                    <a:lnTo>
                      <a:pt x="296" y="143"/>
                    </a:lnTo>
                    <a:lnTo>
                      <a:pt x="296" y="145"/>
                    </a:lnTo>
                    <a:lnTo>
                      <a:pt x="296" y="145"/>
                    </a:lnTo>
                    <a:lnTo>
                      <a:pt x="293" y="145"/>
                    </a:lnTo>
                    <a:lnTo>
                      <a:pt x="293" y="145"/>
                    </a:lnTo>
                    <a:lnTo>
                      <a:pt x="289" y="146"/>
                    </a:lnTo>
                    <a:lnTo>
                      <a:pt x="289" y="146"/>
                    </a:lnTo>
                    <a:lnTo>
                      <a:pt x="286" y="146"/>
                    </a:lnTo>
                    <a:lnTo>
                      <a:pt x="286" y="146"/>
                    </a:lnTo>
                    <a:lnTo>
                      <a:pt x="286" y="145"/>
                    </a:lnTo>
                    <a:lnTo>
                      <a:pt x="286" y="145"/>
                    </a:lnTo>
                    <a:lnTo>
                      <a:pt x="286" y="143"/>
                    </a:lnTo>
                    <a:lnTo>
                      <a:pt x="286" y="143"/>
                    </a:lnTo>
                    <a:lnTo>
                      <a:pt x="286" y="142"/>
                    </a:lnTo>
                    <a:lnTo>
                      <a:pt x="286" y="142"/>
                    </a:lnTo>
                    <a:lnTo>
                      <a:pt x="286" y="138"/>
                    </a:lnTo>
                    <a:lnTo>
                      <a:pt x="286" y="138"/>
                    </a:lnTo>
                    <a:lnTo>
                      <a:pt x="286" y="135"/>
                    </a:lnTo>
                    <a:lnTo>
                      <a:pt x="286" y="135"/>
                    </a:lnTo>
                    <a:lnTo>
                      <a:pt x="286" y="132"/>
                    </a:lnTo>
                    <a:lnTo>
                      <a:pt x="286" y="132"/>
                    </a:lnTo>
                    <a:lnTo>
                      <a:pt x="283" y="135"/>
                    </a:lnTo>
                    <a:lnTo>
                      <a:pt x="283" y="135"/>
                    </a:lnTo>
                    <a:lnTo>
                      <a:pt x="281" y="135"/>
                    </a:lnTo>
                    <a:lnTo>
                      <a:pt x="281" y="135"/>
                    </a:lnTo>
                    <a:lnTo>
                      <a:pt x="285" y="135"/>
                    </a:lnTo>
                    <a:lnTo>
                      <a:pt x="285" y="135"/>
                    </a:lnTo>
                    <a:lnTo>
                      <a:pt x="280" y="138"/>
                    </a:lnTo>
                    <a:lnTo>
                      <a:pt x="280" y="138"/>
                    </a:lnTo>
                    <a:lnTo>
                      <a:pt x="277" y="138"/>
                    </a:lnTo>
                    <a:lnTo>
                      <a:pt x="277" y="138"/>
                    </a:lnTo>
                    <a:lnTo>
                      <a:pt x="270" y="140"/>
                    </a:lnTo>
                    <a:lnTo>
                      <a:pt x="270" y="140"/>
                    </a:lnTo>
                    <a:lnTo>
                      <a:pt x="266" y="142"/>
                    </a:lnTo>
                    <a:lnTo>
                      <a:pt x="266" y="142"/>
                    </a:lnTo>
                    <a:lnTo>
                      <a:pt x="264" y="143"/>
                    </a:lnTo>
                    <a:lnTo>
                      <a:pt x="264" y="143"/>
                    </a:lnTo>
                    <a:lnTo>
                      <a:pt x="261" y="142"/>
                    </a:lnTo>
                    <a:lnTo>
                      <a:pt x="261" y="142"/>
                    </a:lnTo>
                    <a:lnTo>
                      <a:pt x="264" y="142"/>
                    </a:lnTo>
                    <a:lnTo>
                      <a:pt x="264" y="142"/>
                    </a:lnTo>
                    <a:lnTo>
                      <a:pt x="258" y="142"/>
                    </a:lnTo>
                    <a:lnTo>
                      <a:pt x="258" y="142"/>
                    </a:lnTo>
                    <a:lnTo>
                      <a:pt x="250" y="143"/>
                    </a:lnTo>
                    <a:lnTo>
                      <a:pt x="250" y="143"/>
                    </a:lnTo>
                    <a:lnTo>
                      <a:pt x="243" y="146"/>
                    </a:lnTo>
                    <a:lnTo>
                      <a:pt x="243" y="146"/>
                    </a:lnTo>
                    <a:lnTo>
                      <a:pt x="239" y="148"/>
                    </a:lnTo>
                    <a:lnTo>
                      <a:pt x="239" y="148"/>
                    </a:lnTo>
                    <a:lnTo>
                      <a:pt x="240" y="146"/>
                    </a:lnTo>
                    <a:lnTo>
                      <a:pt x="240" y="146"/>
                    </a:lnTo>
                    <a:lnTo>
                      <a:pt x="242" y="145"/>
                    </a:lnTo>
                    <a:lnTo>
                      <a:pt x="242" y="145"/>
                    </a:lnTo>
                    <a:lnTo>
                      <a:pt x="239" y="146"/>
                    </a:lnTo>
                    <a:lnTo>
                      <a:pt x="239" y="146"/>
                    </a:lnTo>
                    <a:lnTo>
                      <a:pt x="242" y="143"/>
                    </a:lnTo>
                    <a:lnTo>
                      <a:pt x="242" y="143"/>
                    </a:lnTo>
                    <a:lnTo>
                      <a:pt x="245" y="143"/>
                    </a:lnTo>
                    <a:lnTo>
                      <a:pt x="245" y="143"/>
                    </a:lnTo>
                    <a:lnTo>
                      <a:pt x="251" y="142"/>
                    </a:lnTo>
                    <a:lnTo>
                      <a:pt x="251" y="142"/>
                    </a:lnTo>
                    <a:lnTo>
                      <a:pt x="261" y="140"/>
                    </a:lnTo>
                    <a:lnTo>
                      <a:pt x="261" y="140"/>
                    </a:lnTo>
                    <a:lnTo>
                      <a:pt x="264" y="138"/>
                    </a:lnTo>
                    <a:lnTo>
                      <a:pt x="264" y="138"/>
                    </a:lnTo>
                    <a:lnTo>
                      <a:pt x="266" y="138"/>
                    </a:lnTo>
                    <a:lnTo>
                      <a:pt x="266" y="138"/>
                    </a:lnTo>
                    <a:lnTo>
                      <a:pt x="264" y="138"/>
                    </a:lnTo>
                    <a:lnTo>
                      <a:pt x="264" y="138"/>
                    </a:lnTo>
                    <a:lnTo>
                      <a:pt x="264" y="135"/>
                    </a:lnTo>
                    <a:lnTo>
                      <a:pt x="264" y="135"/>
                    </a:lnTo>
                    <a:lnTo>
                      <a:pt x="264" y="138"/>
                    </a:lnTo>
                    <a:lnTo>
                      <a:pt x="264" y="138"/>
                    </a:lnTo>
                    <a:lnTo>
                      <a:pt x="258" y="138"/>
                    </a:lnTo>
                    <a:lnTo>
                      <a:pt x="258" y="138"/>
                    </a:lnTo>
                    <a:lnTo>
                      <a:pt x="258" y="138"/>
                    </a:lnTo>
                    <a:lnTo>
                      <a:pt x="258" y="138"/>
                    </a:lnTo>
                    <a:lnTo>
                      <a:pt x="250" y="138"/>
                    </a:lnTo>
                    <a:lnTo>
                      <a:pt x="250" y="138"/>
                    </a:lnTo>
                    <a:lnTo>
                      <a:pt x="247" y="140"/>
                    </a:lnTo>
                    <a:lnTo>
                      <a:pt x="247" y="140"/>
                    </a:lnTo>
                    <a:lnTo>
                      <a:pt x="245" y="140"/>
                    </a:lnTo>
                    <a:lnTo>
                      <a:pt x="245" y="140"/>
                    </a:lnTo>
                    <a:lnTo>
                      <a:pt x="237" y="142"/>
                    </a:lnTo>
                    <a:lnTo>
                      <a:pt x="237" y="142"/>
                    </a:lnTo>
                    <a:lnTo>
                      <a:pt x="234" y="143"/>
                    </a:lnTo>
                    <a:lnTo>
                      <a:pt x="234" y="143"/>
                    </a:lnTo>
                    <a:lnTo>
                      <a:pt x="232" y="142"/>
                    </a:lnTo>
                    <a:lnTo>
                      <a:pt x="232" y="142"/>
                    </a:lnTo>
                    <a:lnTo>
                      <a:pt x="229" y="143"/>
                    </a:lnTo>
                    <a:lnTo>
                      <a:pt x="229" y="143"/>
                    </a:lnTo>
                    <a:lnTo>
                      <a:pt x="229" y="143"/>
                    </a:lnTo>
                    <a:lnTo>
                      <a:pt x="229" y="143"/>
                    </a:lnTo>
                    <a:lnTo>
                      <a:pt x="223" y="145"/>
                    </a:lnTo>
                    <a:lnTo>
                      <a:pt x="223" y="145"/>
                    </a:lnTo>
                    <a:lnTo>
                      <a:pt x="220" y="146"/>
                    </a:lnTo>
                    <a:lnTo>
                      <a:pt x="220" y="146"/>
                    </a:lnTo>
                    <a:lnTo>
                      <a:pt x="207" y="150"/>
                    </a:lnTo>
                    <a:lnTo>
                      <a:pt x="207" y="150"/>
                    </a:lnTo>
                    <a:lnTo>
                      <a:pt x="200" y="151"/>
                    </a:lnTo>
                    <a:lnTo>
                      <a:pt x="200" y="151"/>
                    </a:lnTo>
                    <a:lnTo>
                      <a:pt x="200" y="153"/>
                    </a:lnTo>
                    <a:lnTo>
                      <a:pt x="200" y="153"/>
                    </a:lnTo>
                    <a:lnTo>
                      <a:pt x="199" y="154"/>
                    </a:lnTo>
                    <a:lnTo>
                      <a:pt x="199" y="154"/>
                    </a:lnTo>
                    <a:lnTo>
                      <a:pt x="199" y="156"/>
                    </a:lnTo>
                    <a:lnTo>
                      <a:pt x="199" y="156"/>
                    </a:lnTo>
                    <a:lnTo>
                      <a:pt x="197" y="156"/>
                    </a:lnTo>
                    <a:lnTo>
                      <a:pt x="197" y="156"/>
                    </a:lnTo>
                    <a:lnTo>
                      <a:pt x="197" y="153"/>
                    </a:lnTo>
                    <a:lnTo>
                      <a:pt x="197" y="153"/>
                    </a:lnTo>
                    <a:lnTo>
                      <a:pt x="194" y="153"/>
                    </a:lnTo>
                    <a:lnTo>
                      <a:pt x="194" y="153"/>
                    </a:lnTo>
                    <a:lnTo>
                      <a:pt x="191" y="153"/>
                    </a:lnTo>
                    <a:lnTo>
                      <a:pt x="191" y="153"/>
                    </a:lnTo>
                    <a:lnTo>
                      <a:pt x="191" y="154"/>
                    </a:lnTo>
                    <a:lnTo>
                      <a:pt x="191" y="154"/>
                    </a:lnTo>
                    <a:lnTo>
                      <a:pt x="191" y="156"/>
                    </a:lnTo>
                    <a:lnTo>
                      <a:pt x="191" y="156"/>
                    </a:lnTo>
                    <a:lnTo>
                      <a:pt x="188" y="154"/>
                    </a:lnTo>
                    <a:lnTo>
                      <a:pt x="188" y="154"/>
                    </a:lnTo>
                    <a:lnTo>
                      <a:pt x="185" y="154"/>
                    </a:lnTo>
                    <a:lnTo>
                      <a:pt x="185" y="154"/>
                    </a:lnTo>
                    <a:lnTo>
                      <a:pt x="183" y="153"/>
                    </a:lnTo>
                    <a:lnTo>
                      <a:pt x="183" y="153"/>
                    </a:lnTo>
                    <a:lnTo>
                      <a:pt x="178" y="153"/>
                    </a:lnTo>
                    <a:lnTo>
                      <a:pt x="178" y="153"/>
                    </a:lnTo>
                    <a:lnTo>
                      <a:pt x="174" y="151"/>
                    </a:lnTo>
                    <a:lnTo>
                      <a:pt x="174" y="151"/>
                    </a:lnTo>
                    <a:lnTo>
                      <a:pt x="170" y="150"/>
                    </a:lnTo>
                    <a:lnTo>
                      <a:pt x="170" y="150"/>
                    </a:lnTo>
                    <a:lnTo>
                      <a:pt x="170" y="148"/>
                    </a:lnTo>
                    <a:lnTo>
                      <a:pt x="170" y="148"/>
                    </a:lnTo>
                    <a:lnTo>
                      <a:pt x="167" y="148"/>
                    </a:lnTo>
                    <a:lnTo>
                      <a:pt x="167" y="148"/>
                    </a:lnTo>
                    <a:lnTo>
                      <a:pt x="167" y="146"/>
                    </a:lnTo>
                    <a:lnTo>
                      <a:pt x="167" y="146"/>
                    </a:lnTo>
                    <a:lnTo>
                      <a:pt x="164" y="145"/>
                    </a:lnTo>
                    <a:lnTo>
                      <a:pt x="164" y="145"/>
                    </a:lnTo>
                    <a:lnTo>
                      <a:pt x="164" y="145"/>
                    </a:lnTo>
                    <a:lnTo>
                      <a:pt x="164" y="145"/>
                    </a:lnTo>
                    <a:lnTo>
                      <a:pt x="158" y="145"/>
                    </a:lnTo>
                    <a:lnTo>
                      <a:pt x="158" y="145"/>
                    </a:lnTo>
                    <a:lnTo>
                      <a:pt x="140" y="138"/>
                    </a:lnTo>
                    <a:lnTo>
                      <a:pt x="140" y="138"/>
                    </a:lnTo>
                    <a:lnTo>
                      <a:pt x="143" y="140"/>
                    </a:lnTo>
                    <a:lnTo>
                      <a:pt x="143" y="140"/>
                    </a:lnTo>
                    <a:lnTo>
                      <a:pt x="145" y="142"/>
                    </a:lnTo>
                    <a:lnTo>
                      <a:pt x="145" y="142"/>
                    </a:lnTo>
                    <a:lnTo>
                      <a:pt x="148" y="143"/>
                    </a:lnTo>
                    <a:lnTo>
                      <a:pt x="148" y="143"/>
                    </a:lnTo>
                    <a:lnTo>
                      <a:pt x="150" y="143"/>
                    </a:lnTo>
                    <a:lnTo>
                      <a:pt x="150" y="143"/>
                    </a:lnTo>
                    <a:lnTo>
                      <a:pt x="151" y="143"/>
                    </a:lnTo>
                    <a:lnTo>
                      <a:pt x="151" y="143"/>
                    </a:lnTo>
                    <a:lnTo>
                      <a:pt x="10" y="261"/>
                    </a:lnTo>
                    <a:lnTo>
                      <a:pt x="10" y="261"/>
                    </a:lnTo>
                    <a:lnTo>
                      <a:pt x="13" y="264"/>
                    </a:lnTo>
                    <a:lnTo>
                      <a:pt x="13" y="264"/>
                    </a:lnTo>
                    <a:lnTo>
                      <a:pt x="15" y="264"/>
                    </a:lnTo>
                    <a:lnTo>
                      <a:pt x="15" y="264"/>
                    </a:lnTo>
                    <a:lnTo>
                      <a:pt x="16" y="264"/>
                    </a:lnTo>
                    <a:lnTo>
                      <a:pt x="16" y="264"/>
                    </a:lnTo>
                    <a:lnTo>
                      <a:pt x="20" y="264"/>
                    </a:lnTo>
                    <a:lnTo>
                      <a:pt x="20" y="264"/>
                    </a:lnTo>
                    <a:lnTo>
                      <a:pt x="23" y="261"/>
                    </a:lnTo>
                    <a:lnTo>
                      <a:pt x="23" y="261"/>
                    </a:lnTo>
                    <a:lnTo>
                      <a:pt x="29" y="261"/>
                    </a:lnTo>
                    <a:lnTo>
                      <a:pt x="29" y="261"/>
                    </a:lnTo>
                    <a:lnTo>
                      <a:pt x="26" y="264"/>
                    </a:lnTo>
                    <a:lnTo>
                      <a:pt x="26" y="264"/>
                    </a:lnTo>
                    <a:lnTo>
                      <a:pt x="24" y="264"/>
                    </a:lnTo>
                    <a:lnTo>
                      <a:pt x="24" y="264"/>
                    </a:lnTo>
                    <a:lnTo>
                      <a:pt x="24" y="265"/>
                    </a:lnTo>
                    <a:lnTo>
                      <a:pt x="24" y="265"/>
                    </a:lnTo>
                    <a:lnTo>
                      <a:pt x="26" y="269"/>
                    </a:lnTo>
                    <a:lnTo>
                      <a:pt x="26" y="269"/>
                    </a:lnTo>
                    <a:lnTo>
                      <a:pt x="26" y="272"/>
                    </a:lnTo>
                    <a:lnTo>
                      <a:pt x="26" y="272"/>
                    </a:lnTo>
                    <a:lnTo>
                      <a:pt x="27" y="275"/>
                    </a:lnTo>
                    <a:lnTo>
                      <a:pt x="27" y="275"/>
                    </a:lnTo>
                    <a:lnTo>
                      <a:pt x="27" y="278"/>
                    </a:lnTo>
                    <a:lnTo>
                      <a:pt x="27" y="278"/>
                    </a:lnTo>
                    <a:lnTo>
                      <a:pt x="24" y="280"/>
                    </a:lnTo>
                    <a:lnTo>
                      <a:pt x="24" y="280"/>
                    </a:lnTo>
                    <a:lnTo>
                      <a:pt x="39" y="277"/>
                    </a:lnTo>
                    <a:lnTo>
                      <a:pt x="39" y="277"/>
                    </a:lnTo>
                    <a:lnTo>
                      <a:pt x="40" y="275"/>
                    </a:lnTo>
                    <a:lnTo>
                      <a:pt x="40" y="275"/>
                    </a:lnTo>
                    <a:lnTo>
                      <a:pt x="42" y="273"/>
                    </a:lnTo>
                    <a:lnTo>
                      <a:pt x="42" y="273"/>
                    </a:lnTo>
                    <a:lnTo>
                      <a:pt x="42" y="273"/>
                    </a:lnTo>
                    <a:lnTo>
                      <a:pt x="42" y="273"/>
                    </a:lnTo>
                    <a:lnTo>
                      <a:pt x="45" y="273"/>
                    </a:lnTo>
                    <a:lnTo>
                      <a:pt x="45" y="273"/>
                    </a:lnTo>
                    <a:lnTo>
                      <a:pt x="45" y="270"/>
                    </a:lnTo>
                    <a:lnTo>
                      <a:pt x="45" y="270"/>
                    </a:lnTo>
                    <a:lnTo>
                      <a:pt x="48" y="270"/>
                    </a:lnTo>
                    <a:lnTo>
                      <a:pt x="48" y="270"/>
                    </a:lnTo>
                    <a:lnTo>
                      <a:pt x="50" y="270"/>
                    </a:lnTo>
                    <a:lnTo>
                      <a:pt x="50" y="270"/>
                    </a:lnTo>
                    <a:lnTo>
                      <a:pt x="51" y="270"/>
                    </a:lnTo>
                    <a:lnTo>
                      <a:pt x="51" y="270"/>
                    </a:lnTo>
                    <a:lnTo>
                      <a:pt x="53" y="269"/>
                    </a:lnTo>
                    <a:lnTo>
                      <a:pt x="53" y="269"/>
                    </a:lnTo>
                    <a:lnTo>
                      <a:pt x="58" y="269"/>
                    </a:lnTo>
                    <a:lnTo>
                      <a:pt x="58" y="269"/>
                    </a:lnTo>
                    <a:lnTo>
                      <a:pt x="59" y="270"/>
                    </a:lnTo>
                    <a:lnTo>
                      <a:pt x="59" y="270"/>
                    </a:lnTo>
                    <a:lnTo>
                      <a:pt x="58" y="272"/>
                    </a:lnTo>
                    <a:lnTo>
                      <a:pt x="58" y="272"/>
                    </a:lnTo>
                    <a:lnTo>
                      <a:pt x="56" y="273"/>
                    </a:lnTo>
                    <a:lnTo>
                      <a:pt x="56" y="273"/>
                    </a:lnTo>
                    <a:lnTo>
                      <a:pt x="56" y="275"/>
                    </a:lnTo>
                    <a:lnTo>
                      <a:pt x="56" y="275"/>
                    </a:lnTo>
                    <a:lnTo>
                      <a:pt x="58" y="277"/>
                    </a:lnTo>
                    <a:lnTo>
                      <a:pt x="58" y="277"/>
                    </a:lnTo>
                    <a:lnTo>
                      <a:pt x="58" y="278"/>
                    </a:lnTo>
                    <a:lnTo>
                      <a:pt x="58" y="278"/>
                    </a:lnTo>
                    <a:lnTo>
                      <a:pt x="58" y="280"/>
                    </a:lnTo>
                    <a:lnTo>
                      <a:pt x="58" y="280"/>
                    </a:lnTo>
                    <a:lnTo>
                      <a:pt x="58" y="281"/>
                    </a:lnTo>
                    <a:lnTo>
                      <a:pt x="58" y="281"/>
                    </a:lnTo>
                    <a:lnTo>
                      <a:pt x="59" y="285"/>
                    </a:lnTo>
                    <a:lnTo>
                      <a:pt x="59" y="285"/>
                    </a:lnTo>
                    <a:lnTo>
                      <a:pt x="59" y="286"/>
                    </a:lnTo>
                    <a:lnTo>
                      <a:pt x="59" y="286"/>
                    </a:lnTo>
                    <a:lnTo>
                      <a:pt x="58" y="289"/>
                    </a:lnTo>
                    <a:lnTo>
                      <a:pt x="58" y="289"/>
                    </a:lnTo>
                    <a:lnTo>
                      <a:pt x="56" y="299"/>
                    </a:lnTo>
                    <a:lnTo>
                      <a:pt x="56" y="299"/>
                    </a:lnTo>
                    <a:lnTo>
                      <a:pt x="56" y="300"/>
                    </a:lnTo>
                    <a:lnTo>
                      <a:pt x="56" y="300"/>
                    </a:lnTo>
                    <a:lnTo>
                      <a:pt x="56" y="302"/>
                    </a:lnTo>
                    <a:lnTo>
                      <a:pt x="56" y="302"/>
                    </a:lnTo>
                    <a:lnTo>
                      <a:pt x="54" y="304"/>
                    </a:lnTo>
                    <a:lnTo>
                      <a:pt x="54" y="304"/>
                    </a:lnTo>
                    <a:lnTo>
                      <a:pt x="54" y="305"/>
                    </a:lnTo>
                    <a:lnTo>
                      <a:pt x="54" y="305"/>
                    </a:lnTo>
                    <a:lnTo>
                      <a:pt x="53" y="308"/>
                    </a:lnTo>
                    <a:lnTo>
                      <a:pt x="53" y="308"/>
                    </a:lnTo>
                    <a:lnTo>
                      <a:pt x="53" y="310"/>
                    </a:lnTo>
                    <a:lnTo>
                      <a:pt x="53" y="310"/>
                    </a:lnTo>
                    <a:lnTo>
                      <a:pt x="54" y="312"/>
                    </a:lnTo>
                    <a:lnTo>
                      <a:pt x="54" y="312"/>
                    </a:lnTo>
                    <a:lnTo>
                      <a:pt x="56" y="313"/>
                    </a:lnTo>
                    <a:lnTo>
                      <a:pt x="56" y="313"/>
                    </a:lnTo>
                    <a:lnTo>
                      <a:pt x="59" y="313"/>
                    </a:lnTo>
                    <a:lnTo>
                      <a:pt x="59" y="313"/>
                    </a:lnTo>
                    <a:lnTo>
                      <a:pt x="62" y="316"/>
                    </a:lnTo>
                    <a:lnTo>
                      <a:pt x="62" y="316"/>
                    </a:lnTo>
                    <a:lnTo>
                      <a:pt x="62" y="316"/>
                    </a:lnTo>
                    <a:lnTo>
                      <a:pt x="62" y="316"/>
                    </a:lnTo>
                    <a:lnTo>
                      <a:pt x="62" y="319"/>
                    </a:lnTo>
                    <a:lnTo>
                      <a:pt x="62" y="319"/>
                    </a:lnTo>
                    <a:lnTo>
                      <a:pt x="59" y="323"/>
                    </a:lnTo>
                    <a:lnTo>
                      <a:pt x="59" y="323"/>
                    </a:lnTo>
                    <a:lnTo>
                      <a:pt x="58" y="324"/>
                    </a:lnTo>
                    <a:lnTo>
                      <a:pt x="58" y="324"/>
                    </a:lnTo>
                    <a:lnTo>
                      <a:pt x="54" y="327"/>
                    </a:lnTo>
                    <a:lnTo>
                      <a:pt x="54" y="327"/>
                    </a:lnTo>
                    <a:lnTo>
                      <a:pt x="54" y="329"/>
                    </a:lnTo>
                    <a:lnTo>
                      <a:pt x="54" y="329"/>
                    </a:lnTo>
                    <a:lnTo>
                      <a:pt x="53" y="329"/>
                    </a:lnTo>
                    <a:lnTo>
                      <a:pt x="53" y="329"/>
                    </a:lnTo>
                    <a:lnTo>
                      <a:pt x="51" y="331"/>
                    </a:lnTo>
                    <a:lnTo>
                      <a:pt x="51" y="331"/>
                    </a:lnTo>
                    <a:lnTo>
                      <a:pt x="50" y="332"/>
                    </a:lnTo>
                    <a:lnTo>
                      <a:pt x="50" y="332"/>
                    </a:lnTo>
                    <a:lnTo>
                      <a:pt x="54" y="329"/>
                    </a:lnTo>
                    <a:lnTo>
                      <a:pt x="54" y="329"/>
                    </a:lnTo>
                    <a:lnTo>
                      <a:pt x="54" y="331"/>
                    </a:lnTo>
                    <a:lnTo>
                      <a:pt x="54" y="331"/>
                    </a:lnTo>
                    <a:lnTo>
                      <a:pt x="51" y="332"/>
                    </a:lnTo>
                    <a:lnTo>
                      <a:pt x="51" y="332"/>
                    </a:lnTo>
                    <a:lnTo>
                      <a:pt x="54" y="332"/>
                    </a:lnTo>
                    <a:lnTo>
                      <a:pt x="54" y="332"/>
                    </a:lnTo>
                    <a:lnTo>
                      <a:pt x="51" y="334"/>
                    </a:lnTo>
                    <a:lnTo>
                      <a:pt x="51" y="334"/>
                    </a:lnTo>
                    <a:lnTo>
                      <a:pt x="48" y="335"/>
                    </a:lnTo>
                    <a:lnTo>
                      <a:pt x="48" y="335"/>
                    </a:lnTo>
                    <a:lnTo>
                      <a:pt x="45" y="337"/>
                    </a:lnTo>
                    <a:lnTo>
                      <a:pt x="45" y="337"/>
                    </a:lnTo>
                    <a:lnTo>
                      <a:pt x="42" y="337"/>
                    </a:lnTo>
                    <a:lnTo>
                      <a:pt x="42" y="337"/>
                    </a:lnTo>
                    <a:lnTo>
                      <a:pt x="42" y="339"/>
                    </a:lnTo>
                    <a:lnTo>
                      <a:pt x="42" y="339"/>
                    </a:lnTo>
                    <a:lnTo>
                      <a:pt x="45" y="340"/>
                    </a:lnTo>
                    <a:lnTo>
                      <a:pt x="45" y="340"/>
                    </a:lnTo>
                    <a:lnTo>
                      <a:pt x="42" y="343"/>
                    </a:lnTo>
                    <a:lnTo>
                      <a:pt x="42" y="343"/>
                    </a:lnTo>
                    <a:lnTo>
                      <a:pt x="42" y="339"/>
                    </a:lnTo>
                    <a:lnTo>
                      <a:pt x="42" y="339"/>
                    </a:lnTo>
                    <a:lnTo>
                      <a:pt x="39" y="340"/>
                    </a:lnTo>
                    <a:lnTo>
                      <a:pt x="39" y="340"/>
                    </a:lnTo>
                    <a:lnTo>
                      <a:pt x="39" y="342"/>
                    </a:lnTo>
                    <a:lnTo>
                      <a:pt x="39" y="342"/>
                    </a:lnTo>
                    <a:lnTo>
                      <a:pt x="39" y="343"/>
                    </a:lnTo>
                    <a:lnTo>
                      <a:pt x="39" y="343"/>
                    </a:lnTo>
                    <a:lnTo>
                      <a:pt x="42" y="345"/>
                    </a:lnTo>
                    <a:lnTo>
                      <a:pt x="42" y="345"/>
                    </a:lnTo>
                    <a:lnTo>
                      <a:pt x="42" y="345"/>
                    </a:lnTo>
                    <a:lnTo>
                      <a:pt x="42" y="345"/>
                    </a:lnTo>
                    <a:lnTo>
                      <a:pt x="42" y="345"/>
                    </a:lnTo>
                    <a:lnTo>
                      <a:pt x="42" y="345"/>
                    </a:lnTo>
                    <a:lnTo>
                      <a:pt x="39" y="345"/>
                    </a:lnTo>
                    <a:lnTo>
                      <a:pt x="39" y="345"/>
                    </a:lnTo>
                    <a:lnTo>
                      <a:pt x="39" y="345"/>
                    </a:lnTo>
                    <a:lnTo>
                      <a:pt x="39" y="345"/>
                    </a:lnTo>
                    <a:lnTo>
                      <a:pt x="39" y="351"/>
                    </a:lnTo>
                    <a:lnTo>
                      <a:pt x="39" y="351"/>
                    </a:lnTo>
                    <a:lnTo>
                      <a:pt x="39" y="354"/>
                    </a:lnTo>
                    <a:lnTo>
                      <a:pt x="39" y="354"/>
                    </a:lnTo>
                    <a:lnTo>
                      <a:pt x="45" y="351"/>
                    </a:lnTo>
                    <a:lnTo>
                      <a:pt x="45" y="351"/>
                    </a:lnTo>
                    <a:lnTo>
                      <a:pt x="48" y="348"/>
                    </a:lnTo>
                    <a:lnTo>
                      <a:pt x="48" y="348"/>
                    </a:lnTo>
                    <a:lnTo>
                      <a:pt x="48" y="348"/>
                    </a:lnTo>
                    <a:lnTo>
                      <a:pt x="48" y="348"/>
                    </a:lnTo>
                    <a:lnTo>
                      <a:pt x="48" y="348"/>
                    </a:lnTo>
                    <a:lnTo>
                      <a:pt x="48" y="348"/>
                    </a:lnTo>
                    <a:lnTo>
                      <a:pt x="50" y="348"/>
                    </a:lnTo>
                    <a:lnTo>
                      <a:pt x="50" y="348"/>
                    </a:lnTo>
                    <a:lnTo>
                      <a:pt x="51" y="348"/>
                    </a:lnTo>
                    <a:lnTo>
                      <a:pt x="51" y="348"/>
                    </a:lnTo>
                    <a:lnTo>
                      <a:pt x="51" y="348"/>
                    </a:lnTo>
                    <a:lnTo>
                      <a:pt x="51" y="348"/>
                    </a:lnTo>
                    <a:lnTo>
                      <a:pt x="48" y="351"/>
                    </a:lnTo>
                    <a:lnTo>
                      <a:pt x="48" y="351"/>
                    </a:lnTo>
                    <a:lnTo>
                      <a:pt x="48" y="351"/>
                    </a:lnTo>
                    <a:lnTo>
                      <a:pt x="48" y="351"/>
                    </a:lnTo>
                    <a:lnTo>
                      <a:pt x="48" y="354"/>
                    </a:lnTo>
                    <a:lnTo>
                      <a:pt x="48" y="354"/>
                    </a:lnTo>
                    <a:lnTo>
                      <a:pt x="48" y="354"/>
                    </a:lnTo>
                    <a:lnTo>
                      <a:pt x="48" y="354"/>
                    </a:lnTo>
                    <a:lnTo>
                      <a:pt x="48" y="354"/>
                    </a:lnTo>
                    <a:lnTo>
                      <a:pt x="48" y="354"/>
                    </a:lnTo>
                    <a:lnTo>
                      <a:pt x="45" y="354"/>
                    </a:lnTo>
                    <a:lnTo>
                      <a:pt x="45" y="354"/>
                    </a:lnTo>
                    <a:lnTo>
                      <a:pt x="45" y="351"/>
                    </a:lnTo>
                    <a:lnTo>
                      <a:pt x="45" y="351"/>
                    </a:lnTo>
                    <a:lnTo>
                      <a:pt x="45" y="354"/>
                    </a:lnTo>
                    <a:lnTo>
                      <a:pt x="45" y="354"/>
                    </a:lnTo>
                    <a:lnTo>
                      <a:pt x="42" y="356"/>
                    </a:lnTo>
                    <a:lnTo>
                      <a:pt x="42" y="356"/>
                    </a:lnTo>
                    <a:lnTo>
                      <a:pt x="39" y="356"/>
                    </a:lnTo>
                    <a:lnTo>
                      <a:pt x="39" y="356"/>
                    </a:lnTo>
                    <a:lnTo>
                      <a:pt x="39" y="358"/>
                    </a:lnTo>
                    <a:lnTo>
                      <a:pt x="39" y="358"/>
                    </a:lnTo>
                    <a:lnTo>
                      <a:pt x="35" y="361"/>
                    </a:lnTo>
                    <a:lnTo>
                      <a:pt x="35" y="361"/>
                    </a:lnTo>
                    <a:lnTo>
                      <a:pt x="34" y="362"/>
                    </a:lnTo>
                    <a:lnTo>
                      <a:pt x="34" y="362"/>
                    </a:lnTo>
                    <a:lnTo>
                      <a:pt x="35" y="364"/>
                    </a:lnTo>
                    <a:lnTo>
                      <a:pt x="35" y="364"/>
                    </a:lnTo>
                    <a:lnTo>
                      <a:pt x="37" y="364"/>
                    </a:lnTo>
                    <a:lnTo>
                      <a:pt x="37" y="364"/>
                    </a:lnTo>
                    <a:lnTo>
                      <a:pt x="39" y="362"/>
                    </a:lnTo>
                    <a:lnTo>
                      <a:pt x="39" y="362"/>
                    </a:lnTo>
                    <a:lnTo>
                      <a:pt x="42" y="361"/>
                    </a:lnTo>
                    <a:lnTo>
                      <a:pt x="42" y="361"/>
                    </a:lnTo>
                    <a:lnTo>
                      <a:pt x="42" y="362"/>
                    </a:lnTo>
                    <a:lnTo>
                      <a:pt x="42" y="362"/>
                    </a:lnTo>
                    <a:lnTo>
                      <a:pt x="45" y="362"/>
                    </a:lnTo>
                    <a:lnTo>
                      <a:pt x="45" y="362"/>
                    </a:lnTo>
                    <a:lnTo>
                      <a:pt x="42" y="365"/>
                    </a:lnTo>
                    <a:lnTo>
                      <a:pt x="42" y="365"/>
                    </a:lnTo>
                    <a:lnTo>
                      <a:pt x="37" y="370"/>
                    </a:lnTo>
                    <a:lnTo>
                      <a:pt x="37" y="370"/>
                    </a:lnTo>
                    <a:lnTo>
                      <a:pt x="39" y="370"/>
                    </a:lnTo>
                    <a:lnTo>
                      <a:pt x="39" y="370"/>
                    </a:lnTo>
                    <a:lnTo>
                      <a:pt x="42" y="369"/>
                    </a:lnTo>
                    <a:lnTo>
                      <a:pt x="42" y="369"/>
                    </a:lnTo>
                    <a:lnTo>
                      <a:pt x="42" y="370"/>
                    </a:lnTo>
                    <a:lnTo>
                      <a:pt x="42" y="370"/>
                    </a:lnTo>
                    <a:lnTo>
                      <a:pt x="42" y="372"/>
                    </a:lnTo>
                    <a:lnTo>
                      <a:pt x="42" y="372"/>
                    </a:lnTo>
                    <a:lnTo>
                      <a:pt x="50" y="367"/>
                    </a:lnTo>
                    <a:lnTo>
                      <a:pt x="50" y="367"/>
                    </a:lnTo>
                    <a:lnTo>
                      <a:pt x="50" y="369"/>
                    </a:lnTo>
                    <a:lnTo>
                      <a:pt x="50" y="369"/>
                    </a:lnTo>
                    <a:lnTo>
                      <a:pt x="54" y="369"/>
                    </a:lnTo>
                    <a:lnTo>
                      <a:pt x="54" y="369"/>
                    </a:lnTo>
                    <a:lnTo>
                      <a:pt x="51" y="370"/>
                    </a:lnTo>
                    <a:lnTo>
                      <a:pt x="51" y="370"/>
                    </a:lnTo>
                    <a:lnTo>
                      <a:pt x="51" y="372"/>
                    </a:lnTo>
                    <a:lnTo>
                      <a:pt x="51" y="372"/>
                    </a:lnTo>
                    <a:lnTo>
                      <a:pt x="50" y="370"/>
                    </a:lnTo>
                    <a:lnTo>
                      <a:pt x="50" y="370"/>
                    </a:lnTo>
                    <a:lnTo>
                      <a:pt x="48" y="370"/>
                    </a:lnTo>
                    <a:lnTo>
                      <a:pt x="48" y="370"/>
                    </a:lnTo>
                    <a:lnTo>
                      <a:pt x="42" y="372"/>
                    </a:lnTo>
                    <a:lnTo>
                      <a:pt x="42" y="372"/>
                    </a:lnTo>
                    <a:lnTo>
                      <a:pt x="39" y="375"/>
                    </a:lnTo>
                    <a:lnTo>
                      <a:pt x="39" y="375"/>
                    </a:lnTo>
                    <a:lnTo>
                      <a:pt x="37" y="377"/>
                    </a:lnTo>
                    <a:lnTo>
                      <a:pt x="37" y="377"/>
                    </a:lnTo>
                    <a:lnTo>
                      <a:pt x="35" y="378"/>
                    </a:lnTo>
                    <a:lnTo>
                      <a:pt x="35" y="378"/>
                    </a:lnTo>
                    <a:lnTo>
                      <a:pt x="34" y="383"/>
                    </a:lnTo>
                    <a:lnTo>
                      <a:pt x="34" y="383"/>
                    </a:lnTo>
                    <a:lnTo>
                      <a:pt x="32" y="383"/>
                    </a:lnTo>
                    <a:lnTo>
                      <a:pt x="32" y="383"/>
                    </a:lnTo>
                    <a:lnTo>
                      <a:pt x="34" y="383"/>
                    </a:lnTo>
                    <a:lnTo>
                      <a:pt x="34" y="383"/>
                    </a:lnTo>
                    <a:lnTo>
                      <a:pt x="31" y="386"/>
                    </a:lnTo>
                    <a:lnTo>
                      <a:pt x="31" y="386"/>
                    </a:lnTo>
                    <a:lnTo>
                      <a:pt x="31" y="386"/>
                    </a:lnTo>
                    <a:lnTo>
                      <a:pt x="31" y="386"/>
                    </a:lnTo>
                    <a:lnTo>
                      <a:pt x="32" y="386"/>
                    </a:lnTo>
                    <a:lnTo>
                      <a:pt x="32" y="386"/>
                    </a:lnTo>
                    <a:lnTo>
                      <a:pt x="31" y="389"/>
                    </a:lnTo>
                    <a:lnTo>
                      <a:pt x="31" y="389"/>
                    </a:lnTo>
                    <a:lnTo>
                      <a:pt x="32" y="389"/>
                    </a:lnTo>
                    <a:lnTo>
                      <a:pt x="32" y="389"/>
                    </a:lnTo>
                    <a:lnTo>
                      <a:pt x="35" y="389"/>
                    </a:lnTo>
                    <a:lnTo>
                      <a:pt x="35" y="389"/>
                    </a:lnTo>
                    <a:lnTo>
                      <a:pt x="34" y="389"/>
                    </a:lnTo>
                    <a:lnTo>
                      <a:pt x="34" y="389"/>
                    </a:lnTo>
                    <a:lnTo>
                      <a:pt x="39" y="389"/>
                    </a:lnTo>
                    <a:lnTo>
                      <a:pt x="39" y="389"/>
                    </a:lnTo>
                    <a:lnTo>
                      <a:pt x="42" y="389"/>
                    </a:lnTo>
                    <a:lnTo>
                      <a:pt x="42" y="389"/>
                    </a:lnTo>
                    <a:lnTo>
                      <a:pt x="42" y="386"/>
                    </a:lnTo>
                    <a:lnTo>
                      <a:pt x="42" y="386"/>
                    </a:lnTo>
                    <a:lnTo>
                      <a:pt x="42" y="389"/>
                    </a:lnTo>
                    <a:lnTo>
                      <a:pt x="42" y="389"/>
                    </a:lnTo>
                    <a:lnTo>
                      <a:pt x="42" y="389"/>
                    </a:lnTo>
                    <a:lnTo>
                      <a:pt x="42" y="389"/>
                    </a:lnTo>
                    <a:lnTo>
                      <a:pt x="42" y="389"/>
                    </a:lnTo>
                    <a:lnTo>
                      <a:pt x="42" y="389"/>
                    </a:lnTo>
                    <a:lnTo>
                      <a:pt x="45" y="389"/>
                    </a:lnTo>
                    <a:lnTo>
                      <a:pt x="45" y="389"/>
                    </a:lnTo>
                    <a:lnTo>
                      <a:pt x="45" y="391"/>
                    </a:lnTo>
                    <a:lnTo>
                      <a:pt x="45" y="391"/>
                    </a:lnTo>
                    <a:lnTo>
                      <a:pt x="42" y="392"/>
                    </a:lnTo>
                    <a:lnTo>
                      <a:pt x="42" y="392"/>
                    </a:lnTo>
                    <a:lnTo>
                      <a:pt x="45" y="392"/>
                    </a:lnTo>
                    <a:lnTo>
                      <a:pt x="45" y="392"/>
                    </a:lnTo>
                    <a:lnTo>
                      <a:pt x="42" y="394"/>
                    </a:lnTo>
                    <a:lnTo>
                      <a:pt x="42" y="394"/>
                    </a:lnTo>
                    <a:lnTo>
                      <a:pt x="42" y="394"/>
                    </a:lnTo>
                    <a:lnTo>
                      <a:pt x="42" y="394"/>
                    </a:lnTo>
                    <a:lnTo>
                      <a:pt x="45" y="394"/>
                    </a:lnTo>
                    <a:lnTo>
                      <a:pt x="45" y="394"/>
                    </a:lnTo>
                    <a:lnTo>
                      <a:pt x="45" y="396"/>
                    </a:lnTo>
                    <a:lnTo>
                      <a:pt x="45" y="396"/>
                    </a:lnTo>
                    <a:lnTo>
                      <a:pt x="48" y="392"/>
                    </a:lnTo>
                    <a:lnTo>
                      <a:pt x="48" y="392"/>
                    </a:lnTo>
                    <a:lnTo>
                      <a:pt x="48" y="392"/>
                    </a:lnTo>
                    <a:lnTo>
                      <a:pt x="48" y="392"/>
                    </a:lnTo>
                    <a:lnTo>
                      <a:pt x="48" y="396"/>
                    </a:lnTo>
                    <a:lnTo>
                      <a:pt x="48" y="396"/>
                    </a:lnTo>
                    <a:lnTo>
                      <a:pt x="48" y="396"/>
                    </a:lnTo>
                    <a:lnTo>
                      <a:pt x="48" y="396"/>
                    </a:lnTo>
                    <a:lnTo>
                      <a:pt x="51" y="396"/>
                    </a:lnTo>
                    <a:lnTo>
                      <a:pt x="51" y="396"/>
                    </a:lnTo>
                    <a:lnTo>
                      <a:pt x="51" y="397"/>
                    </a:lnTo>
                    <a:lnTo>
                      <a:pt x="51" y="397"/>
                    </a:lnTo>
                    <a:lnTo>
                      <a:pt x="53" y="397"/>
                    </a:lnTo>
                    <a:lnTo>
                      <a:pt x="53" y="397"/>
                    </a:lnTo>
                    <a:lnTo>
                      <a:pt x="54" y="396"/>
                    </a:lnTo>
                    <a:lnTo>
                      <a:pt x="54" y="396"/>
                    </a:lnTo>
                    <a:lnTo>
                      <a:pt x="56" y="396"/>
                    </a:lnTo>
                    <a:lnTo>
                      <a:pt x="56" y="396"/>
                    </a:lnTo>
                    <a:lnTo>
                      <a:pt x="54" y="397"/>
                    </a:lnTo>
                    <a:lnTo>
                      <a:pt x="54" y="397"/>
                    </a:lnTo>
                    <a:lnTo>
                      <a:pt x="53" y="400"/>
                    </a:lnTo>
                    <a:lnTo>
                      <a:pt x="53" y="400"/>
                    </a:lnTo>
                    <a:lnTo>
                      <a:pt x="50" y="402"/>
                    </a:lnTo>
                    <a:lnTo>
                      <a:pt x="50" y="402"/>
                    </a:lnTo>
                    <a:lnTo>
                      <a:pt x="50" y="404"/>
                    </a:lnTo>
                    <a:lnTo>
                      <a:pt x="50" y="404"/>
                    </a:lnTo>
                    <a:lnTo>
                      <a:pt x="51" y="405"/>
                    </a:lnTo>
                    <a:lnTo>
                      <a:pt x="51" y="405"/>
                    </a:lnTo>
                    <a:lnTo>
                      <a:pt x="56" y="405"/>
                    </a:lnTo>
                    <a:lnTo>
                      <a:pt x="56" y="405"/>
                    </a:lnTo>
                    <a:lnTo>
                      <a:pt x="58" y="404"/>
                    </a:lnTo>
                    <a:lnTo>
                      <a:pt x="58" y="404"/>
                    </a:lnTo>
                    <a:lnTo>
                      <a:pt x="58" y="402"/>
                    </a:lnTo>
                    <a:lnTo>
                      <a:pt x="58" y="402"/>
                    </a:lnTo>
                    <a:lnTo>
                      <a:pt x="59" y="402"/>
                    </a:lnTo>
                    <a:lnTo>
                      <a:pt x="59" y="402"/>
                    </a:lnTo>
                    <a:lnTo>
                      <a:pt x="58" y="405"/>
                    </a:lnTo>
                    <a:lnTo>
                      <a:pt x="58" y="405"/>
                    </a:lnTo>
                    <a:lnTo>
                      <a:pt x="58" y="407"/>
                    </a:lnTo>
                    <a:lnTo>
                      <a:pt x="58" y="407"/>
                    </a:lnTo>
                    <a:lnTo>
                      <a:pt x="56" y="408"/>
                    </a:lnTo>
                    <a:lnTo>
                      <a:pt x="56" y="408"/>
                    </a:lnTo>
                    <a:lnTo>
                      <a:pt x="56" y="407"/>
                    </a:lnTo>
                    <a:lnTo>
                      <a:pt x="56" y="407"/>
                    </a:lnTo>
                    <a:lnTo>
                      <a:pt x="54" y="407"/>
                    </a:lnTo>
                    <a:lnTo>
                      <a:pt x="54" y="407"/>
                    </a:lnTo>
                    <a:lnTo>
                      <a:pt x="54" y="408"/>
                    </a:lnTo>
                    <a:lnTo>
                      <a:pt x="54" y="408"/>
                    </a:lnTo>
                    <a:lnTo>
                      <a:pt x="56" y="410"/>
                    </a:lnTo>
                    <a:lnTo>
                      <a:pt x="56" y="410"/>
                    </a:lnTo>
                    <a:lnTo>
                      <a:pt x="59" y="410"/>
                    </a:lnTo>
                    <a:lnTo>
                      <a:pt x="59" y="410"/>
                    </a:lnTo>
                    <a:lnTo>
                      <a:pt x="62" y="408"/>
                    </a:lnTo>
                    <a:lnTo>
                      <a:pt x="62" y="408"/>
                    </a:lnTo>
                    <a:lnTo>
                      <a:pt x="62" y="412"/>
                    </a:lnTo>
                    <a:lnTo>
                      <a:pt x="62" y="412"/>
                    </a:lnTo>
                    <a:lnTo>
                      <a:pt x="66" y="412"/>
                    </a:lnTo>
                    <a:lnTo>
                      <a:pt x="66" y="412"/>
                    </a:lnTo>
                    <a:lnTo>
                      <a:pt x="62" y="413"/>
                    </a:lnTo>
                    <a:lnTo>
                      <a:pt x="62" y="413"/>
                    </a:lnTo>
                    <a:lnTo>
                      <a:pt x="59" y="413"/>
                    </a:lnTo>
                    <a:lnTo>
                      <a:pt x="59" y="413"/>
                    </a:lnTo>
                    <a:lnTo>
                      <a:pt x="59" y="415"/>
                    </a:lnTo>
                    <a:lnTo>
                      <a:pt x="59" y="415"/>
                    </a:lnTo>
                    <a:lnTo>
                      <a:pt x="59" y="415"/>
                    </a:lnTo>
                    <a:lnTo>
                      <a:pt x="59" y="415"/>
                    </a:lnTo>
                    <a:lnTo>
                      <a:pt x="59" y="415"/>
                    </a:lnTo>
                    <a:lnTo>
                      <a:pt x="59" y="415"/>
                    </a:lnTo>
                    <a:lnTo>
                      <a:pt x="59" y="415"/>
                    </a:lnTo>
                    <a:lnTo>
                      <a:pt x="59" y="415"/>
                    </a:lnTo>
                    <a:lnTo>
                      <a:pt x="62" y="418"/>
                    </a:lnTo>
                    <a:lnTo>
                      <a:pt x="62" y="418"/>
                    </a:lnTo>
                    <a:lnTo>
                      <a:pt x="62" y="415"/>
                    </a:lnTo>
                    <a:lnTo>
                      <a:pt x="62" y="415"/>
                    </a:lnTo>
                    <a:lnTo>
                      <a:pt x="370" y="415"/>
                    </a:lnTo>
                    <a:lnTo>
                      <a:pt x="370" y="415"/>
                    </a:lnTo>
                    <a:lnTo>
                      <a:pt x="372" y="412"/>
                    </a:lnTo>
                    <a:lnTo>
                      <a:pt x="372" y="412"/>
                    </a:lnTo>
                    <a:lnTo>
                      <a:pt x="374" y="410"/>
                    </a:lnTo>
                    <a:lnTo>
                      <a:pt x="374" y="410"/>
                    </a:lnTo>
                    <a:lnTo>
                      <a:pt x="375" y="413"/>
                    </a:lnTo>
                    <a:lnTo>
                      <a:pt x="375" y="413"/>
                    </a:lnTo>
                    <a:lnTo>
                      <a:pt x="374" y="418"/>
                    </a:lnTo>
                    <a:lnTo>
                      <a:pt x="374" y="418"/>
                    </a:lnTo>
                    <a:lnTo>
                      <a:pt x="374" y="418"/>
                    </a:lnTo>
                    <a:lnTo>
                      <a:pt x="374" y="418"/>
                    </a:lnTo>
                    <a:lnTo>
                      <a:pt x="375" y="419"/>
                    </a:lnTo>
                    <a:lnTo>
                      <a:pt x="375" y="419"/>
                    </a:lnTo>
                    <a:lnTo>
                      <a:pt x="377" y="419"/>
                    </a:lnTo>
                    <a:lnTo>
                      <a:pt x="377" y="419"/>
                    </a:lnTo>
                    <a:lnTo>
                      <a:pt x="380" y="419"/>
                    </a:lnTo>
                    <a:lnTo>
                      <a:pt x="380" y="419"/>
                    </a:lnTo>
                    <a:lnTo>
                      <a:pt x="380" y="421"/>
                    </a:lnTo>
                    <a:lnTo>
                      <a:pt x="380" y="421"/>
                    </a:lnTo>
                    <a:lnTo>
                      <a:pt x="380" y="423"/>
                    </a:lnTo>
                    <a:lnTo>
                      <a:pt x="380" y="423"/>
                    </a:lnTo>
                    <a:lnTo>
                      <a:pt x="383" y="421"/>
                    </a:lnTo>
                    <a:lnTo>
                      <a:pt x="383" y="421"/>
                    </a:lnTo>
                    <a:lnTo>
                      <a:pt x="386" y="419"/>
                    </a:lnTo>
                    <a:lnTo>
                      <a:pt x="386" y="419"/>
                    </a:lnTo>
                    <a:lnTo>
                      <a:pt x="389" y="421"/>
                    </a:lnTo>
                    <a:lnTo>
                      <a:pt x="389" y="421"/>
                    </a:lnTo>
                    <a:lnTo>
                      <a:pt x="393" y="421"/>
                    </a:lnTo>
                    <a:lnTo>
                      <a:pt x="393" y="421"/>
                    </a:lnTo>
                    <a:lnTo>
                      <a:pt x="393" y="423"/>
                    </a:lnTo>
                    <a:lnTo>
                      <a:pt x="393" y="423"/>
                    </a:lnTo>
                    <a:lnTo>
                      <a:pt x="394" y="424"/>
                    </a:lnTo>
                    <a:lnTo>
                      <a:pt x="394" y="424"/>
                    </a:lnTo>
                    <a:lnTo>
                      <a:pt x="394" y="426"/>
                    </a:lnTo>
                    <a:lnTo>
                      <a:pt x="394" y="426"/>
                    </a:lnTo>
                    <a:lnTo>
                      <a:pt x="396" y="424"/>
                    </a:lnTo>
                    <a:lnTo>
                      <a:pt x="396" y="424"/>
                    </a:lnTo>
                    <a:lnTo>
                      <a:pt x="397" y="426"/>
                    </a:lnTo>
                    <a:lnTo>
                      <a:pt x="397" y="426"/>
                    </a:lnTo>
                    <a:lnTo>
                      <a:pt x="399" y="426"/>
                    </a:lnTo>
                    <a:lnTo>
                      <a:pt x="399" y="426"/>
                    </a:lnTo>
                    <a:lnTo>
                      <a:pt x="401" y="427"/>
                    </a:lnTo>
                    <a:lnTo>
                      <a:pt x="401" y="427"/>
                    </a:lnTo>
                    <a:lnTo>
                      <a:pt x="402" y="429"/>
                    </a:lnTo>
                    <a:lnTo>
                      <a:pt x="402" y="429"/>
                    </a:lnTo>
                    <a:lnTo>
                      <a:pt x="407" y="427"/>
                    </a:lnTo>
                    <a:lnTo>
                      <a:pt x="407" y="427"/>
                    </a:lnTo>
                    <a:lnTo>
                      <a:pt x="412" y="426"/>
                    </a:lnTo>
                    <a:lnTo>
                      <a:pt x="412" y="426"/>
                    </a:lnTo>
                    <a:lnTo>
                      <a:pt x="412" y="427"/>
                    </a:lnTo>
                    <a:lnTo>
                      <a:pt x="412" y="427"/>
                    </a:lnTo>
                    <a:lnTo>
                      <a:pt x="412" y="427"/>
                    </a:lnTo>
                    <a:lnTo>
                      <a:pt x="412" y="427"/>
                    </a:lnTo>
                    <a:lnTo>
                      <a:pt x="415" y="427"/>
                    </a:lnTo>
                    <a:lnTo>
                      <a:pt x="415" y="427"/>
                    </a:lnTo>
                    <a:lnTo>
                      <a:pt x="416" y="427"/>
                    </a:lnTo>
                    <a:lnTo>
                      <a:pt x="416" y="427"/>
                    </a:lnTo>
                    <a:lnTo>
                      <a:pt x="418" y="429"/>
                    </a:lnTo>
                    <a:lnTo>
                      <a:pt x="418" y="429"/>
                    </a:lnTo>
                    <a:lnTo>
                      <a:pt x="421" y="429"/>
                    </a:lnTo>
                    <a:lnTo>
                      <a:pt x="421" y="429"/>
                    </a:lnTo>
                    <a:lnTo>
                      <a:pt x="426" y="427"/>
                    </a:lnTo>
                    <a:lnTo>
                      <a:pt x="426" y="427"/>
                    </a:lnTo>
                    <a:lnTo>
                      <a:pt x="429" y="426"/>
                    </a:lnTo>
                    <a:lnTo>
                      <a:pt x="429" y="426"/>
                    </a:lnTo>
                    <a:lnTo>
                      <a:pt x="432" y="423"/>
                    </a:lnTo>
                    <a:lnTo>
                      <a:pt x="432" y="423"/>
                    </a:lnTo>
                    <a:lnTo>
                      <a:pt x="437" y="421"/>
                    </a:lnTo>
                    <a:lnTo>
                      <a:pt x="437" y="421"/>
                    </a:lnTo>
                    <a:lnTo>
                      <a:pt x="434" y="424"/>
                    </a:lnTo>
                    <a:lnTo>
                      <a:pt x="434" y="424"/>
                    </a:lnTo>
                    <a:lnTo>
                      <a:pt x="435" y="424"/>
                    </a:lnTo>
                    <a:lnTo>
                      <a:pt x="435" y="424"/>
                    </a:lnTo>
                    <a:lnTo>
                      <a:pt x="437" y="423"/>
                    </a:lnTo>
                    <a:lnTo>
                      <a:pt x="437" y="423"/>
                    </a:lnTo>
                    <a:lnTo>
                      <a:pt x="442" y="418"/>
                    </a:lnTo>
                    <a:lnTo>
                      <a:pt x="442" y="418"/>
                    </a:lnTo>
                    <a:lnTo>
                      <a:pt x="442" y="418"/>
                    </a:lnTo>
                    <a:lnTo>
                      <a:pt x="442" y="418"/>
                    </a:lnTo>
                    <a:lnTo>
                      <a:pt x="442" y="419"/>
                    </a:lnTo>
                    <a:lnTo>
                      <a:pt x="442" y="419"/>
                    </a:lnTo>
                    <a:lnTo>
                      <a:pt x="439" y="421"/>
                    </a:lnTo>
                    <a:lnTo>
                      <a:pt x="439" y="421"/>
                    </a:lnTo>
                    <a:lnTo>
                      <a:pt x="439" y="423"/>
                    </a:lnTo>
                    <a:lnTo>
                      <a:pt x="439" y="423"/>
                    </a:lnTo>
                    <a:lnTo>
                      <a:pt x="442" y="421"/>
                    </a:lnTo>
                    <a:lnTo>
                      <a:pt x="442" y="421"/>
                    </a:lnTo>
                    <a:lnTo>
                      <a:pt x="445" y="421"/>
                    </a:lnTo>
                    <a:lnTo>
                      <a:pt x="445" y="421"/>
                    </a:lnTo>
                    <a:lnTo>
                      <a:pt x="445" y="419"/>
                    </a:lnTo>
                    <a:lnTo>
                      <a:pt x="445" y="419"/>
                    </a:lnTo>
                    <a:lnTo>
                      <a:pt x="445" y="418"/>
                    </a:lnTo>
                    <a:lnTo>
                      <a:pt x="445" y="418"/>
                    </a:lnTo>
                    <a:lnTo>
                      <a:pt x="445" y="415"/>
                    </a:lnTo>
                    <a:lnTo>
                      <a:pt x="445" y="415"/>
                    </a:lnTo>
                    <a:lnTo>
                      <a:pt x="447" y="415"/>
                    </a:lnTo>
                    <a:lnTo>
                      <a:pt x="447" y="415"/>
                    </a:lnTo>
                    <a:lnTo>
                      <a:pt x="453" y="418"/>
                    </a:lnTo>
                    <a:lnTo>
                      <a:pt x="453" y="418"/>
                    </a:lnTo>
                    <a:lnTo>
                      <a:pt x="455" y="418"/>
                    </a:lnTo>
                    <a:lnTo>
                      <a:pt x="455" y="418"/>
                    </a:lnTo>
                    <a:lnTo>
                      <a:pt x="458" y="418"/>
                    </a:lnTo>
                    <a:lnTo>
                      <a:pt x="458" y="418"/>
                    </a:lnTo>
                    <a:lnTo>
                      <a:pt x="461" y="418"/>
                    </a:lnTo>
                    <a:lnTo>
                      <a:pt x="461" y="418"/>
                    </a:lnTo>
                    <a:lnTo>
                      <a:pt x="464" y="419"/>
                    </a:lnTo>
                    <a:lnTo>
                      <a:pt x="464" y="419"/>
                    </a:lnTo>
                    <a:lnTo>
                      <a:pt x="466" y="419"/>
                    </a:lnTo>
                    <a:lnTo>
                      <a:pt x="466" y="419"/>
                    </a:lnTo>
                    <a:lnTo>
                      <a:pt x="466" y="423"/>
                    </a:lnTo>
                    <a:lnTo>
                      <a:pt x="466" y="423"/>
                    </a:lnTo>
                    <a:lnTo>
                      <a:pt x="464" y="426"/>
                    </a:lnTo>
                    <a:lnTo>
                      <a:pt x="464" y="426"/>
                    </a:lnTo>
                    <a:lnTo>
                      <a:pt x="464" y="427"/>
                    </a:lnTo>
                    <a:lnTo>
                      <a:pt x="464" y="427"/>
                    </a:lnTo>
                    <a:lnTo>
                      <a:pt x="466" y="429"/>
                    </a:lnTo>
                    <a:lnTo>
                      <a:pt x="466" y="429"/>
                    </a:lnTo>
                    <a:lnTo>
                      <a:pt x="467" y="431"/>
                    </a:lnTo>
                    <a:lnTo>
                      <a:pt x="467" y="431"/>
                    </a:lnTo>
                    <a:lnTo>
                      <a:pt x="470" y="431"/>
                    </a:lnTo>
                    <a:lnTo>
                      <a:pt x="470" y="431"/>
                    </a:lnTo>
                    <a:lnTo>
                      <a:pt x="477" y="431"/>
                    </a:lnTo>
                    <a:lnTo>
                      <a:pt x="477" y="431"/>
                    </a:lnTo>
                    <a:lnTo>
                      <a:pt x="474" y="434"/>
                    </a:lnTo>
                    <a:lnTo>
                      <a:pt x="474" y="434"/>
                    </a:lnTo>
                    <a:lnTo>
                      <a:pt x="474" y="435"/>
                    </a:lnTo>
                    <a:lnTo>
                      <a:pt x="474" y="435"/>
                    </a:lnTo>
                    <a:lnTo>
                      <a:pt x="474" y="435"/>
                    </a:lnTo>
                    <a:lnTo>
                      <a:pt x="474" y="435"/>
                    </a:lnTo>
                    <a:lnTo>
                      <a:pt x="474" y="439"/>
                    </a:lnTo>
                    <a:lnTo>
                      <a:pt x="474" y="439"/>
                    </a:lnTo>
                    <a:lnTo>
                      <a:pt x="474" y="442"/>
                    </a:lnTo>
                    <a:lnTo>
                      <a:pt x="474" y="442"/>
                    </a:lnTo>
                    <a:lnTo>
                      <a:pt x="470" y="442"/>
                    </a:lnTo>
                    <a:lnTo>
                      <a:pt x="470" y="442"/>
                    </a:lnTo>
                    <a:lnTo>
                      <a:pt x="470" y="445"/>
                    </a:lnTo>
                    <a:lnTo>
                      <a:pt x="470" y="445"/>
                    </a:lnTo>
                    <a:lnTo>
                      <a:pt x="474" y="445"/>
                    </a:lnTo>
                    <a:lnTo>
                      <a:pt x="474" y="445"/>
                    </a:lnTo>
                    <a:lnTo>
                      <a:pt x="474" y="445"/>
                    </a:lnTo>
                    <a:lnTo>
                      <a:pt x="474" y="445"/>
                    </a:lnTo>
                    <a:lnTo>
                      <a:pt x="474" y="445"/>
                    </a:lnTo>
                    <a:lnTo>
                      <a:pt x="474" y="445"/>
                    </a:lnTo>
                    <a:lnTo>
                      <a:pt x="470" y="446"/>
                    </a:lnTo>
                    <a:lnTo>
                      <a:pt x="470" y="446"/>
                    </a:lnTo>
                    <a:lnTo>
                      <a:pt x="474" y="446"/>
                    </a:lnTo>
                    <a:lnTo>
                      <a:pt x="474" y="446"/>
                    </a:lnTo>
                    <a:lnTo>
                      <a:pt x="470" y="450"/>
                    </a:lnTo>
                    <a:lnTo>
                      <a:pt x="470" y="450"/>
                    </a:lnTo>
                    <a:lnTo>
                      <a:pt x="470" y="450"/>
                    </a:lnTo>
                    <a:lnTo>
                      <a:pt x="470" y="450"/>
                    </a:lnTo>
                    <a:lnTo>
                      <a:pt x="474" y="450"/>
                    </a:lnTo>
                    <a:lnTo>
                      <a:pt x="474" y="450"/>
                    </a:lnTo>
                    <a:lnTo>
                      <a:pt x="474" y="451"/>
                    </a:lnTo>
                    <a:lnTo>
                      <a:pt x="474" y="451"/>
                    </a:lnTo>
                    <a:lnTo>
                      <a:pt x="474" y="453"/>
                    </a:lnTo>
                    <a:lnTo>
                      <a:pt x="474" y="453"/>
                    </a:lnTo>
                    <a:lnTo>
                      <a:pt x="477" y="453"/>
                    </a:lnTo>
                    <a:lnTo>
                      <a:pt x="477" y="453"/>
                    </a:lnTo>
                    <a:lnTo>
                      <a:pt x="480" y="453"/>
                    </a:lnTo>
                    <a:lnTo>
                      <a:pt x="480" y="453"/>
                    </a:lnTo>
                    <a:lnTo>
                      <a:pt x="486" y="454"/>
                    </a:lnTo>
                    <a:lnTo>
                      <a:pt x="486" y="454"/>
                    </a:lnTo>
                    <a:lnTo>
                      <a:pt x="489" y="454"/>
                    </a:lnTo>
                    <a:lnTo>
                      <a:pt x="489" y="454"/>
                    </a:lnTo>
                    <a:lnTo>
                      <a:pt x="494" y="454"/>
                    </a:lnTo>
                    <a:lnTo>
                      <a:pt x="494" y="454"/>
                    </a:lnTo>
                    <a:lnTo>
                      <a:pt x="497" y="456"/>
                    </a:lnTo>
                    <a:lnTo>
                      <a:pt x="497" y="456"/>
                    </a:lnTo>
                    <a:lnTo>
                      <a:pt x="499" y="456"/>
                    </a:lnTo>
                    <a:lnTo>
                      <a:pt x="499" y="456"/>
                    </a:lnTo>
                    <a:lnTo>
                      <a:pt x="499" y="458"/>
                    </a:lnTo>
                    <a:lnTo>
                      <a:pt x="499" y="458"/>
                    </a:lnTo>
                    <a:lnTo>
                      <a:pt x="501" y="458"/>
                    </a:lnTo>
                    <a:lnTo>
                      <a:pt x="501" y="458"/>
                    </a:lnTo>
                    <a:lnTo>
                      <a:pt x="502" y="458"/>
                    </a:lnTo>
                    <a:lnTo>
                      <a:pt x="502" y="458"/>
                    </a:lnTo>
                    <a:lnTo>
                      <a:pt x="502" y="458"/>
                    </a:lnTo>
                    <a:lnTo>
                      <a:pt x="502" y="458"/>
                    </a:lnTo>
                    <a:lnTo>
                      <a:pt x="505" y="458"/>
                    </a:lnTo>
                    <a:lnTo>
                      <a:pt x="505" y="458"/>
                    </a:lnTo>
                    <a:lnTo>
                      <a:pt x="505" y="459"/>
                    </a:lnTo>
                    <a:lnTo>
                      <a:pt x="505" y="459"/>
                    </a:lnTo>
                    <a:lnTo>
                      <a:pt x="508" y="459"/>
                    </a:lnTo>
                    <a:lnTo>
                      <a:pt x="508" y="459"/>
                    </a:lnTo>
                    <a:lnTo>
                      <a:pt x="508" y="461"/>
                    </a:lnTo>
                    <a:lnTo>
                      <a:pt x="508" y="461"/>
                    </a:lnTo>
                    <a:lnTo>
                      <a:pt x="508" y="462"/>
                    </a:lnTo>
                    <a:lnTo>
                      <a:pt x="508" y="462"/>
                    </a:lnTo>
                    <a:lnTo>
                      <a:pt x="508" y="464"/>
                    </a:lnTo>
                    <a:lnTo>
                      <a:pt x="508" y="464"/>
                    </a:lnTo>
                    <a:lnTo>
                      <a:pt x="512" y="464"/>
                    </a:lnTo>
                    <a:lnTo>
                      <a:pt x="512" y="464"/>
                    </a:lnTo>
                    <a:lnTo>
                      <a:pt x="512" y="466"/>
                    </a:lnTo>
                    <a:lnTo>
                      <a:pt x="512" y="466"/>
                    </a:lnTo>
                    <a:lnTo>
                      <a:pt x="512" y="467"/>
                    </a:lnTo>
                    <a:lnTo>
                      <a:pt x="512" y="467"/>
                    </a:lnTo>
                    <a:lnTo>
                      <a:pt x="512" y="467"/>
                    </a:lnTo>
                    <a:lnTo>
                      <a:pt x="512" y="467"/>
                    </a:lnTo>
                    <a:lnTo>
                      <a:pt x="512" y="469"/>
                    </a:lnTo>
                    <a:lnTo>
                      <a:pt x="512" y="469"/>
                    </a:lnTo>
                    <a:lnTo>
                      <a:pt x="512" y="470"/>
                    </a:lnTo>
                    <a:lnTo>
                      <a:pt x="512" y="470"/>
                    </a:lnTo>
                    <a:lnTo>
                      <a:pt x="512" y="470"/>
                    </a:lnTo>
                    <a:lnTo>
                      <a:pt x="512" y="470"/>
                    </a:lnTo>
                    <a:lnTo>
                      <a:pt x="512" y="470"/>
                    </a:lnTo>
                    <a:lnTo>
                      <a:pt x="512" y="470"/>
                    </a:lnTo>
                    <a:lnTo>
                      <a:pt x="513" y="473"/>
                    </a:lnTo>
                    <a:lnTo>
                      <a:pt x="513" y="473"/>
                    </a:lnTo>
                    <a:lnTo>
                      <a:pt x="512" y="473"/>
                    </a:lnTo>
                    <a:lnTo>
                      <a:pt x="512" y="473"/>
                    </a:lnTo>
                    <a:lnTo>
                      <a:pt x="512" y="473"/>
                    </a:lnTo>
                    <a:lnTo>
                      <a:pt x="512" y="473"/>
                    </a:lnTo>
                    <a:lnTo>
                      <a:pt x="508" y="473"/>
                    </a:lnTo>
                    <a:lnTo>
                      <a:pt x="508" y="473"/>
                    </a:lnTo>
                    <a:lnTo>
                      <a:pt x="508" y="477"/>
                    </a:lnTo>
                    <a:lnTo>
                      <a:pt x="508" y="477"/>
                    </a:lnTo>
                    <a:lnTo>
                      <a:pt x="508" y="480"/>
                    </a:lnTo>
                    <a:lnTo>
                      <a:pt x="508" y="480"/>
                    </a:lnTo>
                    <a:lnTo>
                      <a:pt x="508" y="480"/>
                    </a:lnTo>
                    <a:lnTo>
                      <a:pt x="508" y="480"/>
                    </a:lnTo>
                    <a:lnTo>
                      <a:pt x="505" y="480"/>
                    </a:lnTo>
                    <a:lnTo>
                      <a:pt x="505" y="480"/>
                    </a:lnTo>
                    <a:lnTo>
                      <a:pt x="502" y="477"/>
                    </a:lnTo>
                    <a:lnTo>
                      <a:pt x="502" y="477"/>
                    </a:lnTo>
                    <a:lnTo>
                      <a:pt x="502" y="477"/>
                    </a:lnTo>
                    <a:lnTo>
                      <a:pt x="502" y="477"/>
                    </a:lnTo>
                    <a:lnTo>
                      <a:pt x="499" y="477"/>
                    </a:lnTo>
                    <a:lnTo>
                      <a:pt x="499" y="477"/>
                    </a:lnTo>
                    <a:lnTo>
                      <a:pt x="501" y="473"/>
                    </a:lnTo>
                    <a:lnTo>
                      <a:pt x="501" y="473"/>
                    </a:lnTo>
                    <a:lnTo>
                      <a:pt x="497" y="477"/>
                    </a:lnTo>
                    <a:lnTo>
                      <a:pt x="497" y="477"/>
                    </a:lnTo>
                    <a:lnTo>
                      <a:pt x="501" y="473"/>
                    </a:lnTo>
                    <a:lnTo>
                      <a:pt x="501" y="473"/>
                    </a:lnTo>
                    <a:lnTo>
                      <a:pt x="499" y="473"/>
                    </a:lnTo>
                    <a:lnTo>
                      <a:pt x="499" y="473"/>
                    </a:lnTo>
                    <a:lnTo>
                      <a:pt x="497" y="470"/>
                    </a:lnTo>
                    <a:lnTo>
                      <a:pt x="497" y="470"/>
                    </a:lnTo>
                    <a:lnTo>
                      <a:pt x="496" y="469"/>
                    </a:lnTo>
                    <a:lnTo>
                      <a:pt x="496" y="469"/>
                    </a:lnTo>
                    <a:lnTo>
                      <a:pt x="494" y="469"/>
                    </a:lnTo>
                    <a:lnTo>
                      <a:pt x="494" y="469"/>
                    </a:lnTo>
                    <a:lnTo>
                      <a:pt x="496" y="470"/>
                    </a:lnTo>
                    <a:lnTo>
                      <a:pt x="496" y="470"/>
                    </a:lnTo>
                    <a:lnTo>
                      <a:pt x="496" y="473"/>
                    </a:lnTo>
                    <a:lnTo>
                      <a:pt x="496" y="473"/>
                    </a:lnTo>
                    <a:lnTo>
                      <a:pt x="494" y="477"/>
                    </a:lnTo>
                    <a:lnTo>
                      <a:pt x="494" y="477"/>
                    </a:lnTo>
                    <a:lnTo>
                      <a:pt x="491" y="480"/>
                    </a:lnTo>
                    <a:lnTo>
                      <a:pt x="491" y="480"/>
                    </a:lnTo>
                    <a:lnTo>
                      <a:pt x="486" y="485"/>
                    </a:lnTo>
                    <a:lnTo>
                      <a:pt x="486" y="485"/>
                    </a:lnTo>
                    <a:lnTo>
                      <a:pt x="483" y="491"/>
                    </a:lnTo>
                    <a:lnTo>
                      <a:pt x="483" y="491"/>
                    </a:lnTo>
                    <a:lnTo>
                      <a:pt x="482" y="494"/>
                    </a:lnTo>
                    <a:lnTo>
                      <a:pt x="482" y="494"/>
                    </a:lnTo>
                    <a:lnTo>
                      <a:pt x="480" y="496"/>
                    </a:lnTo>
                    <a:lnTo>
                      <a:pt x="480" y="496"/>
                    </a:lnTo>
                    <a:lnTo>
                      <a:pt x="474" y="500"/>
                    </a:lnTo>
                    <a:lnTo>
                      <a:pt x="474" y="500"/>
                    </a:lnTo>
                    <a:lnTo>
                      <a:pt x="470" y="502"/>
                    </a:lnTo>
                    <a:lnTo>
                      <a:pt x="470" y="502"/>
                    </a:lnTo>
                    <a:lnTo>
                      <a:pt x="470" y="504"/>
                    </a:lnTo>
                    <a:lnTo>
                      <a:pt x="470" y="504"/>
                    </a:lnTo>
                    <a:lnTo>
                      <a:pt x="467" y="505"/>
                    </a:lnTo>
                    <a:lnTo>
                      <a:pt x="467" y="505"/>
                    </a:lnTo>
                    <a:lnTo>
                      <a:pt x="467" y="505"/>
                    </a:lnTo>
                    <a:lnTo>
                      <a:pt x="467" y="505"/>
                    </a:lnTo>
                    <a:lnTo>
                      <a:pt x="467" y="508"/>
                    </a:lnTo>
                    <a:lnTo>
                      <a:pt x="467" y="508"/>
                    </a:lnTo>
                    <a:lnTo>
                      <a:pt x="467" y="508"/>
                    </a:lnTo>
                    <a:lnTo>
                      <a:pt x="467" y="508"/>
                    </a:lnTo>
                    <a:lnTo>
                      <a:pt x="462" y="508"/>
                    </a:lnTo>
                    <a:lnTo>
                      <a:pt x="462" y="508"/>
                    </a:lnTo>
                    <a:lnTo>
                      <a:pt x="459" y="512"/>
                    </a:lnTo>
                    <a:lnTo>
                      <a:pt x="459" y="512"/>
                    </a:lnTo>
                    <a:lnTo>
                      <a:pt x="458" y="515"/>
                    </a:lnTo>
                    <a:lnTo>
                      <a:pt x="458" y="515"/>
                    </a:lnTo>
                    <a:lnTo>
                      <a:pt x="459" y="515"/>
                    </a:lnTo>
                    <a:lnTo>
                      <a:pt x="459" y="515"/>
                    </a:lnTo>
                    <a:lnTo>
                      <a:pt x="462" y="515"/>
                    </a:lnTo>
                    <a:lnTo>
                      <a:pt x="462" y="515"/>
                    </a:lnTo>
                    <a:lnTo>
                      <a:pt x="464" y="515"/>
                    </a:lnTo>
                    <a:lnTo>
                      <a:pt x="464" y="515"/>
                    </a:lnTo>
                    <a:lnTo>
                      <a:pt x="467" y="512"/>
                    </a:lnTo>
                    <a:lnTo>
                      <a:pt x="467" y="512"/>
                    </a:lnTo>
                    <a:lnTo>
                      <a:pt x="470" y="512"/>
                    </a:lnTo>
                    <a:lnTo>
                      <a:pt x="470" y="512"/>
                    </a:lnTo>
                    <a:lnTo>
                      <a:pt x="477" y="508"/>
                    </a:lnTo>
                    <a:lnTo>
                      <a:pt x="477" y="508"/>
                    </a:lnTo>
                    <a:lnTo>
                      <a:pt x="480" y="505"/>
                    </a:lnTo>
                    <a:lnTo>
                      <a:pt x="480" y="505"/>
                    </a:lnTo>
                    <a:lnTo>
                      <a:pt x="483" y="505"/>
                    </a:lnTo>
                    <a:lnTo>
                      <a:pt x="483" y="505"/>
                    </a:lnTo>
                    <a:lnTo>
                      <a:pt x="488" y="505"/>
                    </a:lnTo>
                    <a:lnTo>
                      <a:pt x="488" y="505"/>
                    </a:lnTo>
                    <a:lnTo>
                      <a:pt x="493" y="505"/>
                    </a:lnTo>
                    <a:lnTo>
                      <a:pt x="493" y="505"/>
                    </a:lnTo>
                    <a:lnTo>
                      <a:pt x="497" y="504"/>
                    </a:lnTo>
                    <a:lnTo>
                      <a:pt x="497" y="504"/>
                    </a:lnTo>
                    <a:lnTo>
                      <a:pt x="502" y="502"/>
                    </a:lnTo>
                    <a:lnTo>
                      <a:pt x="502" y="502"/>
                    </a:lnTo>
                    <a:lnTo>
                      <a:pt x="505" y="502"/>
                    </a:lnTo>
                    <a:lnTo>
                      <a:pt x="505" y="502"/>
                    </a:lnTo>
                    <a:lnTo>
                      <a:pt x="512" y="502"/>
                    </a:lnTo>
                    <a:lnTo>
                      <a:pt x="512" y="502"/>
                    </a:lnTo>
                    <a:lnTo>
                      <a:pt x="512" y="500"/>
                    </a:lnTo>
                    <a:lnTo>
                      <a:pt x="512" y="500"/>
                    </a:lnTo>
                    <a:lnTo>
                      <a:pt x="512" y="499"/>
                    </a:lnTo>
                    <a:lnTo>
                      <a:pt x="512" y="499"/>
                    </a:lnTo>
                    <a:lnTo>
                      <a:pt x="512" y="497"/>
                    </a:lnTo>
                    <a:lnTo>
                      <a:pt x="512" y="497"/>
                    </a:lnTo>
                    <a:lnTo>
                      <a:pt x="505" y="497"/>
                    </a:lnTo>
                    <a:lnTo>
                      <a:pt x="505" y="497"/>
                    </a:lnTo>
                    <a:lnTo>
                      <a:pt x="505" y="497"/>
                    </a:lnTo>
                    <a:lnTo>
                      <a:pt x="505" y="497"/>
                    </a:lnTo>
                    <a:lnTo>
                      <a:pt x="505" y="494"/>
                    </a:lnTo>
                    <a:lnTo>
                      <a:pt x="505" y="494"/>
                    </a:lnTo>
                    <a:lnTo>
                      <a:pt x="512" y="491"/>
                    </a:lnTo>
                    <a:lnTo>
                      <a:pt x="512" y="491"/>
                    </a:lnTo>
                    <a:lnTo>
                      <a:pt x="515" y="488"/>
                    </a:lnTo>
                    <a:lnTo>
                      <a:pt x="515" y="488"/>
                    </a:lnTo>
                    <a:lnTo>
                      <a:pt x="531" y="486"/>
                    </a:lnTo>
                    <a:lnTo>
                      <a:pt x="531" y="486"/>
                    </a:lnTo>
                    <a:lnTo>
                      <a:pt x="535" y="486"/>
                    </a:lnTo>
                    <a:lnTo>
                      <a:pt x="535" y="486"/>
                    </a:lnTo>
                    <a:lnTo>
                      <a:pt x="537" y="486"/>
                    </a:lnTo>
                    <a:lnTo>
                      <a:pt x="537" y="486"/>
                    </a:lnTo>
                    <a:lnTo>
                      <a:pt x="537" y="488"/>
                    </a:lnTo>
                    <a:lnTo>
                      <a:pt x="537" y="488"/>
                    </a:lnTo>
                    <a:lnTo>
                      <a:pt x="540" y="486"/>
                    </a:lnTo>
                    <a:lnTo>
                      <a:pt x="540" y="486"/>
                    </a:lnTo>
                    <a:lnTo>
                      <a:pt x="540" y="486"/>
                    </a:lnTo>
                    <a:lnTo>
                      <a:pt x="540" y="486"/>
                    </a:lnTo>
                    <a:lnTo>
                      <a:pt x="543" y="485"/>
                    </a:lnTo>
                    <a:lnTo>
                      <a:pt x="543" y="485"/>
                    </a:lnTo>
                    <a:lnTo>
                      <a:pt x="540" y="485"/>
                    </a:lnTo>
                    <a:lnTo>
                      <a:pt x="540" y="485"/>
                    </a:lnTo>
                    <a:lnTo>
                      <a:pt x="543" y="483"/>
                    </a:lnTo>
                    <a:lnTo>
                      <a:pt x="543" y="483"/>
                    </a:lnTo>
                    <a:lnTo>
                      <a:pt x="547" y="483"/>
                    </a:lnTo>
                    <a:lnTo>
                      <a:pt x="547" y="483"/>
                    </a:lnTo>
                    <a:lnTo>
                      <a:pt x="550" y="481"/>
                    </a:lnTo>
                    <a:lnTo>
                      <a:pt x="550" y="481"/>
                    </a:lnTo>
                    <a:lnTo>
                      <a:pt x="555" y="480"/>
                    </a:lnTo>
                    <a:lnTo>
                      <a:pt x="555" y="480"/>
                    </a:lnTo>
                    <a:lnTo>
                      <a:pt x="556" y="480"/>
                    </a:lnTo>
                    <a:lnTo>
                      <a:pt x="556" y="480"/>
                    </a:lnTo>
                    <a:lnTo>
                      <a:pt x="561" y="477"/>
                    </a:lnTo>
                    <a:lnTo>
                      <a:pt x="561" y="477"/>
                    </a:lnTo>
                    <a:lnTo>
                      <a:pt x="570" y="470"/>
                    </a:lnTo>
                    <a:lnTo>
                      <a:pt x="570" y="470"/>
                    </a:lnTo>
                    <a:lnTo>
                      <a:pt x="609" y="470"/>
                    </a:lnTo>
                    <a:lnTo>
                      <a:pt x="609" y="470"/>
                    </a:lnTo>
                    <a:lnTo>
                      <a:pt x="612" y="469"/>
                    </a:lnTo>
                    <a:lnTo>
                      <a:pt x="612" y="469"/>
                    </a:lnTo>
                    <a:lnTo>
                      <a:pt x="616" y="467"/>
                    </a:lnTo>
                    <a:lnTo>
                      <a:pt x="616" y="467"/>
                    </a:lnTo>
                    <a:lnTo>
                      <a:pt x="616" y="469"/>
                    </a:lnTo>
                    <a:lnTo>
                      <a:pt x="616" y="469"/>
                    </a:lnTo>
                    <a:lnTo>
                      <a:pt x="618" y="467"/>
                    </a:lnTo>
                    <a:lnTo>
                      <a:pt x="618" y="467"/>
                    </a:lnTo>
                    <a:lnTo>
                      <a:pt x="620" y="467"/>
                    </a:lnTo>
                    <a:lnTo>
                      <a:pt x="620" y="467"/>
                    </a:lnTo>
                    <a:lnTo>
                      <a:pt x="621" y="464"/>
                    </a:lnTo>
                    <a:lnTo>
                      <a:pt x="621" y="464"/>
                    </a:lnTo>
                    <a:lnTo>
                      <a:pt x="624" y="461"/>
                    </a:lnTo>
                    <a:lnTo>
                      <a:pt x="624" y="461"/>
                    </a:lnTo>
                    <a:lnTo>
                      <a:pt x="628" y="459"/>
                    </a:lnTo>
                    <a:lnTo>
                      <a:pt x="628" y="459"/>
                    </a:lnTo>
                    <a:lnTo>
                      <a:pt x="628" y="456"/>
                    </a:lnTo>
                    <a:lnTo>
                      <a:pt x="628" y="456"/>
                    </a:lnTo>
                    <a:lnTo>
                      <a:pt x="631" y="453"/>
                    </a:lnTo>
                    <a:lnTo>
                      <a:pt x="631" y="453"/>
                    </a:lnTo>
                    <a:lnTo>
                      <a:pt x="634" y="450"/>
                    </a:lnTo>
                    <a:lnTo>
                      <a:pt x="634" y="450"/>
                    </a:lnTo>
                    <a:lnTo>
                      <a:pt x="634" y="446"/>
                    </a:lnTo>
                    <a:lnTo>
                      <a:pt x="634" y="446"/>
                    </a:lnTo>
                    <a:lnTo>
                      <a:pt x="642" y="442"/>
                    </a:lnTo>
                    <a:lnTo>
                      <a:pt x="642" y="442"/>
                    </a:lnTo>
                    <a:lnTo>
                      <a:pt x="647" y="439"/>
                    </a:lnTo>
                    <a:lnTo>
                      <a:pt x="647" y="439"/>
                    </a:lnTo>
                    <a:lnTo>
                      <a:pt x="648" y="435"/>
                    </a:lnTo>
                    <a:lnTo>
                      <a:pt x="648" y="435"/>
                    </a:lnTo>
                    <a:lnTo>
                      <a:pt x="650" y="439"/>
                    </a:lnTo>
                    <a:lnTo>
                      <a:pt x="650" y="439"/>
                    </a:lnTo>
                    <a:lnTo>
                      <a:pt x="650" y="442"/>
                    </a:lnTo>
                    <a:lnTo>
                      <a:pt x="650" y="442"/>
                    </a:lnTo>
                    <a:lnTo>
                      <a:pt x="653" y="439"/>
                    </a:lnTo>
                    <a:lnTo>
                      <a:pt x="653" y="439"/>
                    </a:lnTo>
                    <a:lnTo>
                      <a:pt x="658" y="439"/>
                    </a:lnTo>
                    <a:lnTo>
                      <a:pt x="658" y="439"/>
                    </a:lnTo>
                    <a:lnTo>
                      <a:pt x="661" y="439"/>
                    </a:lnTo>
                    <a:lnTo>
                      <a:pt x="661" y="439"/>
                    </a:lnTo>
                    <a:lnTo>
                      <a:pt x="663" y="442"/>
                    </a:lnTo>
                    <a:lnTo>
                      <a:pt x="663" y="442"/>
                    </a:lnTo>
                    <a:lnTo>
                      <a:pt x="661" y="446"/>
                    </a:lnTo>
                    <a:lnTo>
                      <a:pt x="661" y="446"/>
                    </a:lnTo>
                    <a:lnTo>
                      <a:pt x="658" y="454"/>
                    </a:lnTo>
                    <a:lnTo>
                      <a:pt x="658" y="454"/>
                    </a:lnTo>
                    <a:lnTo>
                      <a:pt x="656" y="459"/>
                    </a:lnTo>
                    <a:lnTo>
                      <a:pt x="656" y="459"/>
                    </a:lnTo>
                    <a:lnTo>
                      <a:pt x="656" y="462"/>
                    </a:lnTo>
                    <a:lnTo>
                      <a:pt x="656" y="462"/>
                    </a:lnTo>
                    <a:lnTo>
                      <a:pt x="658" y="464"/>
                    </a:lnTo>
                    <a:lnTo>
                      <a:pt x="658" y="464"/>
                    </a:lnTo>
                    <a:lnTo>
                      <a:pt x="658" y="466"/>
                    </a:lnTo>
                    <a:lnTo>
                      <a:pt x="658" y="466"/>
                    </a:lnTo>
                    <a:lnTo>
                      <a:pt x="656" y="467"/>
                    </a:lnTo>
                    <a:lnTo>
                      <a:pt x="656" y="467"/>
                    </a:lnTo>
                    <a:lnTo>
                      <a:pt x="658" y="470"/>
                    </a:lnTo>
                    <a:lnTo>
                      <a:pt x="658" y="470"/>
                    </a:lnTo>
                    <a:lnTo>
                      <a:pt x="659" y="470"/>
                    </a:lnTo>
                    <a:lnTo>
                      <a:pt x="659" y="470"/>
                    </a:lnTo>
                    <a:lnTo>
                      <a:pt x="663" y="470"/>
                    </a:lnTo>
                    <a:lnTo>
                      <a:pt x="663" y="470"/>
                    </a:lnTo>
                    <a:lnTo>
                      <a:pt x="663" y="470"/>
                    </a:lnTo>
                    <a:lnTo>
                      <a:pt x="663" y="470"/>
                    </a:lnTo>
                    <a:lnTo>
                      <a:pt x="666" y="470"/>
                    </a:lnTo>
                    <a:lnTo>
                      <a:pt x="666" y="470"/>
                    </a:lnTo>
                    <a:lnTo>
                      <a:pt x="666" y="470"/>
                    </a:lnTo>
                    <a:lnTo>
                      <a:pt x="666" y="470"/>
                    </a:lnTo>
                    <a:lnTo>
                      <a:pt x="669" y="470"/>
                    </a:lnTo>
                    <a:lnTo>
                      <a:pt x="669" y="470"/>
                    </a:lnTo>
                    <a:lnTo>
                      <a:pt x="672" y="469"/>
                    </a:lnTo>
                    <a:lnTo>
                      <a:pt x="672" y="469"/>
                    </a:lnTo>
                    <a:lnTo>
                      <a:pt x="672" y="467"/>
                    </a:lnTo>
                    <a:lnTo>
                      <a:pt x="672" y="467"/>
                    </a:lnTo>
                    <a:lnTo>
                      <a:pt x="674" y="466"/>
                    </a:lnTo>
                    <a:lnTo>
                      <a:pt x="674" y="466"/>
                    </a:lnTo>
                    <a:lnTo>
                      <a:pt x="672" y="469"/>
                    </a:lnTo>
                    <a:lnTo>
                      <a:pt x="672" y="469"/>
                    </a:lnTo>
                    <a:lnTo>
                      <a:pt x="674" y="469"/>
                    </a:lnTo>
                    <a:lnTo>
                      <a:pt x="674" y="469"/>
                    </a:lnTo>
                    <a:lnTo>
                      <a:pt x="677" y="469"/>
                    </a:lnTo>
                    <a:lnTo>
                      <a:pt x="677" y="469"/>
                    </a:lnTo>
                    <a:lnTo>
                      <a:pt x="682" y="466"/>
                    </a:lnTo>
                    <a:lnTo>
                      <a:pt x="682" y="466"/>
                    </a:lnTo>
                    <a:lnTo>
                      <a:pt x="686" y="464"/>
                    </a:lnTo>
                    <a:lnTo>
                      <a:pt x="686" y="464"/>
                    </a:lnTo>
                    <a:lnTo>
                      <a:pt x="689" y="462"/>
                    </a:lnTo>
                    <a:lnTo>
                      <a:pt x="689" y="462"/>
                    </a:lnTo>
                    <a:lnTo>
                      <a:pt x="689" y="461"/>
                    </a:lnTo>
                    <a:lnTo>
                      <a:pt x="689" y="461"/>
                    </a:lnTo>
                    <a:lnTo>
                      <a:pt x="693" y="458"/>
                    </a:lnTo>
                    <a:lnTo>
                      <a:pt x="693" y="458"/>
                    </a:lnTo>
                    <a:lnTo>
                      <a:pt x="693" y="461"/>
                    </a:lnTo>
                    <a:lnTo>
                      <a:pt x="693" y="461"/>
                    </a:lnTo>
                    <a:lnTo>
                      <a:pt x="696" y="461"/>
                    </a:lnTo>
                    <a:lnTo>
                      <a:pt x="696" y="461"/>
                    </a:lnTo>
                    <a:lnTo>
                      <a:pt x="688" y="466"/>
                    </a:lnTo>
                    <a:lnTo>
                      <a:pt x="688" y="466"/>
                    </a:lnTo>
                    <a:lnTo>
                      <a:pt x="686" y="467"/>
                    </a:lnTo>
                    <a:lnTo>
                      <a:pt x="686" y="467"/>
                    </a:lnTo>
                    <a:lnTo>
                      <a:pt x="688" y="467"/>
                    </a:lnTo>
                    <a:lnTo>
                      <a:pt x="688" y="467"/>
                    </a:lnTo>
                    <a:lnTo>
                      <a:pt x="689" y="467"/>
                    </a:lnTo>
                    <a:lnTo>
                      <a:pt x="689" y="467"/>
                    </a:lnTo>
                    <a:lnTo>
                      <a:pt x="696" y="467"/>
                    </a:lnTo>
                    <a:lnTo>
                      <a:pt x="696" y="467"/>
                    </a:lnTo>
                    <a:lnTo>
                      <a:pt x="702" y="467"/>
                    </a:lnTo>
                    <a:lnTo>
                      <a:pt x="702" y="467"/>
                    </a:lnTo>
                    <a:lnTo>
                      <a:pt x="696" y="469"/>
                    </a:lnTo>
                    <a:lnTo>
                      <a:pt x="696" y="469"/>
                    </a:lnTo>
                    <a:lnTo>
                      <a:pt x="693" y="470"/>
                    </a:lnTo>
                    <a:lnTo>
                      <a:pt x="693" y="470"/>
                    </a:lnTo>
                    <a:lnTo>
                      <a:pt x="693" y="470"/>
                    </a:lnTo>
                    <a:lnTo>
                      <a:pt x="693" y="470"/>
                    </a:lnTo>
                    <a:lnTo>
                      <a:pt x="693" y="470"/>
                    </a:lnTo>
                    <a:lnTo>
                      <a:pt x="693" y="470"/>
                    </a:lnTo>
                    <a:lnTo>
                      <a:pt x="693" y="470"/>
                    </a:lnTo>
                    <a:lnTo>
                      <a:pt x="693" y="470"/>
                    </a:lnTo>
                    <a:lnTo>
                      <a:pt x="689" y="470"/>
                    </a:lnTo>
                    <a:lnTo>
                      <a:pt x="689" y="470"/>
                    </a:lnTo>
                    <a:lnTo>
                      <a:pt x="689" y="469"/>
                    </a:lnTo>
                    <a:lnTo>
                      <a:pt x="689" y="469"/>
                    </a:lnTo>
                    <a:lnTo>
                      <a:pt x="682" y="470"/>
                    </a:lnTo>
                    <a:lnTo>
                      <a:pt x="682" y="470"/>
                    </a:lnTo>
                    <a:lnTo>
                      <a:pt x="677" y="473"/>
                    </a:lnTo>
                    <a:lnTo>
                      <a:pt x="677" y="473"/>
                    </a:lnTo>
                    <a:lnTo>
                      <a:pt x="674" y="477"/>
                    </a:lnTo>
                    <a:lnTo>
                      <a:pt x="674" y="477"/>
                    </a:lnTo>
                    <a:lnTo>
                      <a:pt x="675" y="477"/>
                    </a:lnTo>
                    <a:lnTo>
                      <a:pt x="675" y="477"/>
                    </a:lnTo>
                    <a:lnTo>
                      <a:pt x="674" y="477"/>
                    </a:lnTo>
                    <a:lnTo>
                      <a:pt x="674" y="477"/>
                    </a:lnTo>
                    <a:lnTo>
                      <a:pt x="672" y="477"/>
                    </a:lnTo>
                    <a:lnTo>
                      <a:pt x="672" y="477"/>
                    </a:lnTo>
                    <a:lnTo>
                      <a:pt x="672" y="477"/>
                    </a:lnTo>
                    <a:lnTo>
                      <a:pt x="672" y="477"/>
                    </a:lnTo>
                    <a:lnTo>
                      <a:pt x="672" y="477"/>
                    </a:lnTo>
                    <a:lnTo>
                      <a:pt x="672" y="477"/>
                    </a:lnTo>
                    <a:lnTo>
                      <a:pt x="669" y="480"/>
                    </a:lnTo>
                    <a:lnTo>
                      <a:pt x="669" y="480"/>
                    </a:lnTo>
                    <a:lnTo>
                      <a:pt x="666" y="480"/>
                    </a:lnTo>
                    <a:lnTo>
                      <a:pt x="666" y="480"/>
                    </a:lnTo>
                    <a:lnTo>
                      <a:pt x="669" y="480"/>
                    </a:lnTo>
                    <a:lnTo>
                      <a:pt x="669" y="480"/>
                    </a:lnTo>
                    <a:lnTo>
                      <a:pt x="666" y="483"/>
                    </a:lnTo>
                    <a:lnTo>
                      <a:pt x="666" y="483"/>
                    </a:lnTo>
                    <a:lnTo>
                      <a:pt x="663" y="486"/>
                    </a:lnTo>
                    <a:lnTo>
                      <a:pt x="663" y="486"/>
                    </a:lnTo>
                    <a:lnTo>
                      <a:pt x="666" y="491"/>
                    </a:lnTo>
                    <a:lnTo>
                      <a:pt x="666" y="491"/>
                    </a:lnTo>
                    <a:lnTo>
                      <a:pt x="666" y="489"/>
                    </a:lnTo>
                    <a:lnTo>
                      <a:pt x="666" y="489"/>
                    </a:lnTo>
                    <a:lnTo>
                      <a:pt x="666" y="493"/>
                    </a:lnTo>
                    <a:lnTo>
                      <a:pt x="666" y="493"/>
                    </a:lnTo>
                    <a:lnTo>
                      <a:pt x="669" y="493"/>
                    </a:lnTo>
                    <a:lnTo>
                      <a:pt x="669" y="493"/>
                    </a:lnTo>
                    <a:lnTo>
                      <a:pt x="669" y="494"/>
                    </a:lnTo>
                    <a:lnTo>
                      <a:pt x="669" y="494"/>
                    </a:lnTo>
                    <a:lnTo>
                      <a:pt x="672" y="493"/>
                    </a:lnTo>
                    <a:lnTo>
                      <a:pt x="672" y="493"/>
                    </a:lnTo>
                    <a:lnTo>
                      <a:pt x="672" y="489"/>
                    </a:lnTo>
                    <a:lnTo>
                      <a:pt x="672" y="489"/>
                    </a:lnTo>
                    <a:lnTo>
                      <a:pt x="674" y="491"/>
                    </a:lnTo>
                    <a:lnTo>
                      <a:pt x="674" y="491"/>
                    </a:lnTo>
                    <a:lnTo>
                      <a:pt x="674" y="489"/>
                    </a:lnTo>
                    <a:lnTo>
                      <a:pt x="674" y="489"/>
                    </a:lnTo>
                    <a:lnTo>
                      <a:pt x="675" y="491"/>
                    </a:lnTo>
                    <a:lnTo>
                      <a:pt x="675" y="491"/>
                    </a:lnTo>
                    <a:lnTo>
                      <a:pt x="677" y="489"/>
                    </a:lnTo>
                    <a:lnTo>
                      <a:pt x="677" y="489"/>
                    </a:lnTo>
                    <a:lnTo>
                      <a:pt x="680" y="486"/>
                    </a:lnTo>
                    <a:lnTo>
                      <a:pt x="680" y="486"/>
                    </a:lnTo>
                    <a:lnTo>
                      <a:pt x="683" y="485"/>
                    </a:lnTo>
                    <a:lnTo>
                      <a:pt x="683" y="485"/>
                    </a:lnTo>
                    <a:lnTo>
                      <a:pt x="685" y="483"/>
                    </a:lnTo>
                    <a:lnTo>
                      <a:pt x="685" y="483"/>
                    </a:lnTo>
                    <a:lnTo>
                      <a:pt x="686" y="481"/>
                    </a:lnTo>
                    <a:lnTo>
                      <a:pt x="686" y="481"/>
                    </a:lnTo>
                    <a:lnTo>
                      <a:pt x="688" y="481"/>
                    </a:lnTo>
                    <a:lnTo>
                      <a:pt x="688" y="481"/>
                    </a:lnTo>
                    <a:lnTo>
                      <a:pt x="689" y="480"/>
                    </a:lnTo>
                    <a:lnTo>
                      <a:pt x="689" y="480"/>
                    </a:lnTo>
                    <a:lnTo>
                      <a:pt x="689" y="480"/>
                    </a:lnTo>
                    <a:lnTo>
                      <a:pt x="689" y="480"/>
                    </a:lnTo>
                    <a:lnTo>
                      <a:pt x="689" y="477"/>
                    </a:lnTo>
                    <a:lnTo>
                      <a:pt x="689" y="477"/>
                    </a:lnTo>
                    <a:lnTo>
                      <a:pt x="693" y="477"/>
                    </a:lnTo>
                    <a:lnTo>
                      <a:pt x="693" y="477"/>
                    </a:lnTo>
                    <a:lnTo>
                      <a:pt x="693" y="477"/>
                    </a:lnTo>
                    <a:lnTo>
                      <a:pt x="693" y="477"/>
                    </a:lnTo>
                    <a:lnTo>
                      <a:pt x="693" y="477"/>
                    </a:lnTo>
                    <a:lnTo>
                      <a:pt x="693" y="477"/>
                    </a:lnTo>
                    <a:lnTo>
                      <a:pt x="696" y="480"/>
                    </a:lnTo>
                    <a:lnTo>
                      <a:pt x="696" y="480"/>
                    </a:lnTo>
                    <a:lnTo>
                      <a:pt x="696" y="480"/>
                    </a:lnTo>
                    <a:lnTo>
                      <a:pt x="696" y="480"/>
                    </a:lnTo>
                    <a:lnTo>
                      <a:pt x="696" y="477"/>
                    </a:lnTo>
                    <a:lnTo>
                      <a:pt x="696" y="477"/>
                    </a:lnTo>
                    <a:lnTo>
                      <a:pt x="697" y="477"/>
                    </a:lnTo>
                    <a:lnTo>
                      <a:pt x="697" y="477"/>
                    </a:lnTo>
                    <a:lnTo>
                      <a:pt x="699" y="477"/>
                    </a:lnTo>
                    <a:lnTo>
                      <a:pt x="699" y="477"/>
                    </a:lnTo>
                    <a:lnTo>
                      <a:pt x="704" y="477"/>
                    </a:lnTo>
                    <a:lnTo>
                      <a:pt x="704" y="477"/>
                    </a:lnTo>
                    <a:lnTo>
                      <a:pt x="709" y="473"/>
                    </a:lnTo>
                    <a:lnTo>
                      <a:pt x="709" y="473"/>
                    </a:lnTo>
                    <a:lnTo>
                      <a:pt x="713" y="473"/>
                    </a:lnTo>
                    <a:lnTo>
                      <a:pt x="713" y="473"/>
                    </a:lnTo>
                    <a:lnTo>
                      <a:pt x="718" y="470"/>
                    </a:lnTo>
                    <a:lnTo>
                      <a:pt x="718" y="470"/>
                    </a:lnTo>
                    <a:lnTo>
                      <a:pt x="724" y="470"/>
                    </a:lnTo>
                    <a:lnTo>
                      <a:pt x="724" y="470"/>
                    </a:lnTo>
                    <a:lnTo>
                      <a:pt x="728" y="470"/>
                    </a:lnTo>
                    <a:lnTo>
                      <a:pt x="728" y="470"/>
                    </a:lnTo>
                    <a:lnTo>
                      <a:pt x="728" y="469"/>
                    </a:lnTo>
                    <a:lnTo>
                      <a:pt x="728" y="469"/>
                    </a:lnTo>
                    <a:lnTo>
                      <a:pt x="729" y="467"/>
                    </a:lnTo>
                    <a:lnTo>
                      <a:pt x="729" y="467"/>
                    </a:lnTo>
                    <a:lnTo>
                      <a:pt x="728" y="467"/>
                    </a:lnTo>
                    <a:lnTo>
                      <a:pt x="728" y="467"/>
                    </a:lnTo>
                    <a:lnTo>
                      <a:pt x="724" y="467"/>
                    </a:lnTo>
                    <a:lnTo>
                      <a:pt x="724" y="467"/>
                    </a:lnTo>
                    <a:lnTo>
                      <a:pt x="728" y="466"/>
                    </a:lnTo>
                    <a:lnTo>
                      <a:pt x="728" y="466"/>
                    </a:lnTo>
                    <a:lnTo>
                      <a:pt x="728" y="464"/>
                    </a:lnTo>
                    <a:lnTo>
                      <a:pt x="728" y="464"/>
                    </a:lnTo>
                    <a:lnTo>
                      <a:pt x="734" y="464"/>
                    </a:lnTo>
                    <a:lnTo>
                      <a:pt x="734" y="464"/>
                    </a:lnTo>
                    <a:lnTo>
                      <a:pt x="739" y="462"/>
                    </a:lnTo>
                    <a:lnTo>
                      <a:pt x="739" y="462"/>
                    </a:lnTo>
                    <a:lnTo>
                      <a:pt x="742" y="461"/>
                    </a:lnTo>
                    <a:lnTo>
                      <a:pt x="742" y="461"/>
                    </a:lnTo>
                    <a:lnTo>
                      <a:pt x="745" y="459"/>
                    </a:lnTo>
                    <a:lnTo>
                      <a:pt x="745" y="459"/>
                    </a:lnTo>
                    <a:lnTo>
                      <a:pt x="747" y="459"/>
                    </a:lnTo>
                    <a:lnTo>
                      <a:pt x="747" y="459"/>
                    </a:lnTo>
                    <a:lnTo>
                      <a:pt x="745" y="458"/>
                    </a:lnTo>
                    <a:lnTo>
                      <a:pt x="745" y="458"/>
                    </a:lnTo>
                    <a:lnTo>
                      <a:pt x="747" y="456"/>
                    </a:lnTo>
                    <a:lnTo>
                      <a:pt x="747" y="456"/>
                    </a:lnTo>
                    <a:lnTo>
                      <a:pt x="745" y="454"/>
                    </a:lnTo>
                    <a:lnTo>
                      <a:pt x="745" y="454"/>
                    </a:lnTo>
                    <a:lnTo>
                      <a:pt x="743" y="454"/>
                    </a:lnTo>
                    <a:lnTo>
                      <a:pt x="743" y="454"/>
                    </a:lnTo>
                    <a:lnTo>
                      <a:pt x="743" y="453"/>
                    </a:lnTo>
                    <a:lnTo>
                      <a:pt x="743" y="453"/>
                    </a:lnTo>
                    <a:lnTo>
                      <a:pt x="742" y="454"/>
                    </a:lnTo>
                    <a:lnTo>
                      <a:pt x="742" y="454"/>
                    </a:lnTo>
                    <a:lnTo>
                      <a:pt x="736" y="459"/>
                    </a:lnTo>
                    <a:lnTo>
                      <a:pt x="736" y="459"/>
                    </a:lnTo>
                    <a:lnTo>
                      <a:pt x="737" y="459"/>
                    </a:lnTo>
                    <a:lnTo>
                      <a:pt x="737" y="459"/>
                    </a:lnTo>
                    <a:lnTo>
                      <a:pt x="732" y="462"/>
                    </a:lnTo>
                    <a:lnTo>
                      <a:pt x="732" y="462"/>
                    </a:lnTo>
                    <a:lnTo>
                      <a:pt x="732" y="461"/>
                    </a:lnTo>
                    <a:lnTo>
                      <a:pt x="732" y="461"/>
                    </a:lnTo>
                    <a:lnTo>
                      <a:pt x="731" y="462"/>
                    </a:lnTo>
                    <a:lnTo>
                      <a:pt x="731" y="462"/>
                    </a:lnTo>
                    <a:lnTo>
                      <a:pt x="731" y="461"/>
                    </a:lnTo>
                    <a:lnTo>
                      <a:pt x="731" y="461"/>
                    </a:lnTo>
                    <a:lnTo>
                      <a:pt x="732" y="459"/>
                    </a:lnTo>
                    <a:lnTo>
                      <a:pt x="732" y="459"/>
                    </a:lnTo>
                    <a:lnTo>
                      <a:pt x="736" y="458"/>
                    </a:lnTo>
                    <a:lnTo>
                      <a:pt x="736" y="458"/>
                    </a:lnTo>
                    <a:lnTo>
                      <a:pt x="737" y="456"/>
                    </a:lnTo>
                    <a:lnTo>
                      <a:pt x="737" y="456"/>
                    </a:lnTo>
                    <a:lnTo>
                      <a:pt x="739" y="454"/>
                    </a:lnTo>
                    <a:lnTo>
                      <a:pt x="739" y="454"/>
                    </a:lnTo>
                    <a:lnTo>
                      <a:pt x="742" y="450"/>
                    </a:lnTo>
                    <a:lnTo>
                      <a:pt x="742" y="450"/>
                    </a:lnTo>
                    <a:lnTo>
                      <a:pt x="745" y="445"/>
                    </a:lnTo>
                    <a:lnTo>
                      <a:pt x="745" y="445"/>
                    </a:lnTo>
                    <a:lnTo>
                      <a:pt x="743" y="445"/>
                    </a:lnTo>
                    <a:lnTo>
                      <a:pt x="743" y="445"/>
                    </a:lnTo>
                    <a:lnTo>
                      <a:pt x="743" y="445"/>
                    </a:lnTo>
                    <a:lnTo>
                      <a:pt x="743" y="445"/>
                    </a:lnTo>
                    <a:lnTo>
                      <a:pt x="742" y="445"/>
                    </a:lnTo>
                    <a:lnTo>
                      <a:pt x="742" y="445"/>
                    </a:lnTo>
                    <a:lnTo>
                      <a:pt x="740" y="445"/>
                    </a:lnTo>
                    <a:lnTo>
                      <a:pt x="740" y="445"/>
                    </a:lnTo>
                    <a:lnTo>
                      <a:pt x="734" y="451"/>
                    </a:lnTo>
                    <a:lnTo>
                      <a:pt x="734" y="451"/>
                    </a:lnTo>
                    <a:lnTo>
                      <a:pt x="728" y="456"/>
                    </a:lnTo>
                    <a:lnTo>
                      <a:pt x="728" y="456"/>
                    </a:lnTo>
                    <a:lnTo>
                      <a:pt x="728" y="459"/>
                    </a:lnTo>
                    <a:lnTo>
                      <a:pt x="728" y="459"/>
                    </a:lnTo>
                    <a:lnTo>
                      <a:pt x="728" y="462"/>
                    </a:lnTo>
                    <a:lnTo>
                      <a:pt x="728" y="462"/>
                    </a:lnTo>
                    <a:lnTo>
                      <a:pt x="724" y="462"/>
                    </a:lnTo>
                    <a:lnTo>
                      <a:pt x="724" y="462"/>
                    </a:lnTo>
                    <a:lnTo>
                      <a:pt x="724" y="462"/>
                    </a:lnTo>
                    <a:lnTo>
                      <a:pt x="724" y="462"/>
                    </a:lnTo>
                    <a:lnTo>
                      <a:pt x="721" y="462"/>
                    </a:lnTo>
                    <a:lnTo>
                      <a:pt x="721" y="462"/>
                    </a:lnTo>
                    <a:lnTo>
                      <a:pt x="721" y="459"/>
                    </a:lnTo>
                    <a:lnTo>
                      <a:pt x="721" y="459"/>
                    </a:lnTo>
                    <a:lnTo>
                      <a:pt x="716" y="462"/>
                    </a:lnTo>
                    <a:lnTo>
                      <a:pt x="716" y="462"/>
                    </a:lnTo>
                    <a:lnTo>
                      <a:pt x="712" y="464"/>
                    </a:lnTo>
                    <a:lnTo>
                      <a:pt x="712" y="464"/>
                    </a:lnTo>
                    <a:lnTo>
                      <a:pt x="713" y="462"/>
                    </a:lnTo>
                    <a:lnTo>
                      <a:pt x="713" y="462"/>
                    </a:lnTo>
                    <a:lnTo>
                      <a:pt x="710" y="461"/>
                    </a:lnTo>
                    <a:lnTo>
                      <a:pt x="710" y="461"/>
                    </a:lnTo>
                    <a:lnTo>
                      <a:pt x="707" y="461"/>
                    </a:lnTo>
                    <a:lnTo>
                      <a:pt x="707" y="461"/>
                    </a:lnTo>
                    <a:lnTo>
                      <a:pt x="704" y="459"/>
                    </a:lnTo>
                    <a:lnTo>
                      <a:pt x="704" y="459"/>
                    </a:lnTo>
                    <a:lnTo>
                      <a:pt x="701" y="459"/>
                    </a:lnTo>
                    <a:lnTo>
                      <a:pt x="701" y="459"/>
                    </a:lnTo>
                    <a:lnTo>
                      <a:pt x="697" y="458"/>
                    </a:lnTo>
                    <a:lnTo>
                      <a:pt x="697" y="458"/>
                    </a:lnTo>
                    <a:lnTo>
                      <a:pt x="701" y="456"/>
                    </a:lnTo>
                    <a:lnTo>
                      <a:pt x="701" y="456"/>
                    </a:lnTo>
                    <a:lnTo>
                      <a:pt x="702" y="456"/>
                    </a:lnTo>
                    <a:lnTo>
                      <a:pt x="702" y="456"/>
                    </a:lnTo>
                    <a:lnTo>
                      <a:pt x="696" y="454"/>
                    </a:lnTo>
                    <a:lnTo>
                      <a:pt x="696" y="454"/>
                    </a:lnTo>
                    <a:lnTo>
                      <a:pt x="693" y="453"/>
                    </a:lnTo>
                    <a:lnTo>
                      <a:pt x="693" y="453"/>
                    </a:lnTo>
                    <a:lnTo>
                      <a:pt x="693" y="451"/>
                    </a:lnTo>
                    <a:lnTo>
                      <a:pt x="693" y="451"/>
                    </a:lnTo>
                    <a:lnTo>
                      <a:pt x="693" y="448"/>
                    </a:lnTo>
                    <a:lnTo>
                      <a:pt x="693" y="448"/>
                    </a:lnTo>
                    <a:lnTo>
                      <a:pt x="693" y="445"/>
                    </a:lnTo>
                    <a:lnTo>
                      <a:pt x="693" y="445"/>
                    </a:lnTo>
                    <a:lnTo>
                      <a:pt x="696" y="442"/>
                    </a:lnTo>
                    <a:lnTo>
                      <a:pt x="696" y="442"/>
                    </a:lnTo>
                    <a:lnTo>
                      <a:pt x="693" y="442"/>
                    </a:lnTo>
                    <a:lnTo>
                      <a:pt x="693" y="442"/>
                    </a:lnTo>
                    <a:lnTo>
                      <a:pt x="689" y="442"/>
                    </a:lnTo>
                    <a:lnTo>
                      <a:pt x="689" y="442"/>
                    </a:lnTo>
                    <a:lnTo>
                      <a:pt x="693" y="442"/>
                    </a:lnTo>
                    <a:lnTo>
                      <a:pt x="693" y="442"/>
                    </a:lnTo>
                    <a:lnTo>
                      <a:pt x="696" y="439"/>
                    </a:lnTo>
                    <a:lnTo>
                      <a:pt x="696" y="439"/>
                    </a:lnTo>
                    <a:lnTo>
                      <a:pt x="701" y="434"/>
                    </a:lnTo>
                    <a:lnTo>
                      <a:pt x="701" y="434"/>
                    </a:lnTo>
                    <a:lnTo>
                      <a:pt x="699" y="434"/>
                    </a:lnTo>
                    <a:lnTo>
                      <a:pt x="699" y="434"/>
                    </a:lnTo>
                    <a:lnTo>
                      <a:pt x="697" y="432"/>
                    </a:lnTo>
                    <a:lnTo>
                      <a:pt x="697" y="432"/>
                    </a:lnTo>
                    <a:lnTo>
                      <a:pt x="696" y="432"/>
                    </a:lnTo>
                    <a:lnTo>
                      <a:pt x="696" y="432"/>
                    </a:lnTo>
                    <a:lnTo>
                      <a:pt x="689" y="435"/>
                    </a:lnTo>
                    <a:lnTo>
                      <a:pt x="689" y="435"/>
                    </a:lnTo>
                    <a:lnTo>
                      <a:pt x="689" y="432"/>
                    </a:lnTo>
                    <a:lnTo>
                      <a:pt x="689" y="432"/>
                    </a:lnTo>
                    <a:lnTo>
                      <a:pt x="685" y="431"/>
                    </a:lnTo>
                    <a:lnTo>
                      <a:pt x="685" y="431"/>
                    </a:lnTo>
                    <a:lnTo>
                      <a:pt x="682" y="429"/>
                    </a:lnTo>
                    <a:lnTo>
                      <a:pt x="682" y="429"/>
                    </a:lnTo>
                    <a:lnTo>
                      <a:pt x="685" y="427"/>
                    </a:lnTo>
                    <a:lnTo>
                      <a:pt x="685" y="427"/>
                    </a:lnTo>
                    <a:lnTo>
                      <a:pt x="689" y="427"/>
                    </a:lnTo>
                    <a:lnTo>
                      <a:pt x="689" y="427"/>
                    </a:lnTo>
                    <a:lnTo>
                      <a:pt x="693" y="429"/>
                    </a:lnTo>
                    <a:lnTo>
                      <a:pt x="693" y="429"/>
                    </a:lnTo>
                    <a:lnTo>
                      <a:pt x="696" y="429"/>
                    </a:lnTo>
                    <a:lnTo>
                      <a:pt x="696" y="429"/>
                    </a:lnTo>
                    <a:lnTo>
                      <a:pt x="696" y="429"/>
                    </a:lnTo>
                    <a:lnTo>
                      <a:pt x="696" y="429"/>
                    </a:lnTo>
                    <a:lnTo>
                      <a:pt x="709" y="423"/>
                    </a:lnTo>
                    <a:lnTo>
                      <a:pt x="709" y="423"/>
                    </a:lnTo>
                    <a:lnTo>
                      <a:pt x="710" y="421"/>
                    </a:lnTo>
                    <a:lnTo>
                      <a:pt x="710" y="421"/>
                    </a:lnTo>
                    <a:lnTo>
                      <a:pt x="710" y="419"/>
                    </a:lnTo>
                    <a:lnTo>
                      <a:pt x="710" y="419"/>
                    </a:lnTo>
                    <a:lnTo>
                      <a:pt x="709" y="418"/>
                    </a:lnTo>
                    <a:lnTo>
                      <a:pt x="709" y="418"/>
                    </a:lnTo>
                    <a:lnTo>
                      <a:pt x="710" y="418"/>
                    </a:lnTo>
                    <a:lnTo>
                      <a:pt x="710" y="418"/>
                    </a:lnTo>
                    <a:lnTo>
                      <a:pt x="712" y="418"/>
                    </a:lnTo>
                    <a:lnTo>
                      <a:pt x="712" y="418"/>
                    </a:lnTo>
                    <a:lnTo>
                      <a:pt x="712" y="415"/>
                    </a:lnTo>
                    <a:lnTo>
                      <a:pt x="712" y="415"/>
                    </a:lnTo>
                    <a:lnTo>
                      <a:pt x="709" y="415"/>
                    </a:lnTo>
                    <a:lnTo>
                      <a:pt x="709" y="415"/>
                    </a:lnTo>
                    <a:lnTo>
                      <a:pt x="702" y="413"/>
                    </a:lnTo>
                    <a:lnTo>
                      <a:pt x="702" y="413"/>
                    </a:lnTo>
                    <a:lnTo>
                      <a:pt x="697" y="413"/>
                    </a:lnTo>
                    <a:lnTo>
                      <a:pt x="697" y="413"/>
                    </a:lnTo>
                    <a:lnTo>
                      <a:pt x="693" y="413"/>
                    </a:lnTo>
                    <a:lnTo>
                      <a:pt x="693" y="413"/>
                    </a:lnTo>
                    <a:lnTo>
                      <a:pt x="680" y="418"/>
                    </a:lnTo>
                    <a:lnTo>
                      <a:pt x="680" y="418"/>
                    </a:lnTo>
                    <a:lnTo>
                      <a:pt x="669" y="419"/>
                    </a:lnTo>
                    <a:lnTo>
                      <a:pt x="669" y="419"/>
                    </a:lnTo>
                    <a:lnTo>
                      <a:pt x="656" y="426"/>
                    </a:lnTo>
                    <a:lnTo>
                      <a:pt x="656" y="426"/>
                    </a:lnTo>
                    <a:lnTo>
                      <a:pt x="650" y="429"/>
                    </a:lnTo>
                    <a:lnTo>
                      <a:pt x="650" y="429"/>
                    </a:lnTo>
                    <a:lnTo>
                      <a:pt x="645" y="434"/>
                    </a:lnTo>
                    <a:lnTo>
                      <a:pt x="645" y="434"/>
                    </a:lnTo>
                    <a:lnTo>
                      <a:pt x="634" y="442"/>
                    </a:lnTo>
                    <a:lnTo>
                      <a:pt x="634" y="442"/>
                    </a:lnTo>
                    <a:lnTo>
                      <a:pt x="628" y="445"/>
                    </a:lnTo>
                    <a:lnTo>
                      <a:pt x="628" y="445"/>
                    </a:lnTo>
                    <a:lnTo>
                      <a:pt x="621" y="446"/>
                    </a:lnTo>
                    <a:lnTo>
                      <a:pt x="621" y="446"/>
                    </a:lnTo>
                    <a:lnTo>
                      <a:pt x="628" y="442"/>
                    </a:lnTo>
                    <a:lnTo>
                      <a:pt x="628" y="442"/>
                    </a:lnTo>
                    <a:lnTo>
                      <a:pt x="631" y="439"/>
                    </a:lnTo>
                    <a:lnTo>
                      <a:pt x="631" y="439"/>
                    </a:lnTo>
                    <a:lnTo>
                      <a:pt x="634" y="439"/>
                    </a:lnTo>
                    <a:lnTo>
                      <a:pt x="634" y="439"/>
                    </a:lnTo>
                    <a:lnTo>
                      <a:pt x="640" y="434"/>
                    </a:lnTo>
                    <a:lnTo>
                      <a:pt x="640" y="434"/>
                    </a:lnTo>
                    <a:lnTo>
                      <a:pt x="647" y="427"/>
                    </a:lnTo>
                    <a:lnTo>
                      <a:pt x="647" y="427"/>
                    </a:lnTo>
                    <a:lnTo>
                      <a:pt x="648" y="427"/>
                    </a:lnTo>
                    <a:lnTo>
                      <a:pt x="648" y="427"/>
                    </a:lnTo>
                    <a:lnTo>
                      <a:pt x="651" y="426"/>
                    </a:lnTo>
                    <a:lnTo>
                      <a:pt x="651" y="426"/>
                    </a:lnTo>
                    <a:lnTo>
                      <a:pt x="656" y="421"/>
                    </a:lnTo>
                    <a:lnTo>
                      <a:pt x="656" y="421"/>
                    </a:lnTo>
                    <a:lnTo>
                      <a:pt x="661" y="418"/>
                    </a:lnTo>
                    <a:lnTo>
                      <a:pt x="661" y="418"/>
                    </a:lnTo>
                    <a:lnTo>
                      <a:pt x="663" y="415"/>
                    </a:lnTo>
                    <a:lnTo>
                      <a:pt x="663" y="415"/>
                    </a:lnTo>
                    <a:lnTo>
                      <a:pt x="666" y="415"/>
                    </a:lnTo>
                    <a:lnTo>
                      <a:pt x="666" y="415"/>
                    </a:lnTo>
                    <a:lnTo>
                      <a:pt x="666" y="415"/>
                    </a:lnTo>
                    <a:lnTo>
                      <a:pt x="666" y="415"/>
                    </a:lnTo>
                    <a:lnTo>
                      <a:pt x="669" y="415"/>
                    </a:lnTo>
                    <a:lnTo>
                      <a:pt x="669" y="415"/>
                    </a:lnTo>
                    <a:lnTo>
                      <a:pt x="669" y="413"/>
                    </a:lnTo>
                    <a:lnTo>
                      <a:pt x="669" y="413"/>
                    </a:lnTo>
                    <a:lnTo>
                      <a:pt x="672" y="413"/>
                    </a:lnTo>
                    <a:lnTo>
                      <a:pt x="672" y="413"/>
                    </a:lnTo>
                    <a:lnTo>
                      <a:pt x="675" y="412"/>
                    </a:lnTo>
                    <a:lnTo>
                      <a:pt x="675" y="412"/>
                    </a:lnTo>
                    <a:lnTo>
                      <a:pt x="680" y="412"/>
                    </a:lnTo>
                    <a:lnTo>
                      <a:pt x="680" y="412"/>
                    </a:lnTo>
                    <a:lnTo>
                      <a:pt x="682" y="408"/>
                    </a:lnTo>
                    <a:lnTo>
                      <a:pt x="682" y="408"/>
                    </a:lnTo>
                    <a:lnTo>
                      <a:pt x="688" y="402"/>
                    </a:lnTo>
                    <a:lnTo>
                      <a:pt x="688" y="402"/>
                    </a:lnTo>
                    <a:lnTo>
                      <a:pt x="689" y="400"/>
                    </a:lnTo>
                    <a:lnTo>
                      <a:pt x="689" y="400"/>
                    </a:lnTo>
                    <a:lnTo>
                      <a:pt x="696" y="400"/>
                    </a:lnTo>
                    <a:lnTo>
                      <a:pt x="696" y="400"/>
                    </a:lnTo>
                    <a:lnTo>
                      <a:pt x="693" y="399"/>
                    </a:lnTo>
                    <a:lnTo>
                      <a:pt x="693" y="399"/>
                    </a:lnTo>
                    <a:lnTo>
                      <a:pt x="696" y="399"/>
                    </a:lnTo>
                    <a:lnTo>
                      <a:pt x="696" y="399"/>
                    </a:lnTo>
                    <a:lnTo>
                      <a:pt x="697" y="399"/>
                    </a:lnTo>
                    <a:lnTo>
                      <a:pt x="697" y="399"/>
                    </a:lnTo>
                    <a:lnTo>
                      <a:pt x="702" y="397"/>
                    </a:lnTo>
                    <a:lnTo>
                      <a:pt x="702" y="397"/>
                    </a:lnTo>
                    <a:lnTo>
                      <a:pt x="707" y="397"/>
                    </a:lnTo>
                    <a:lnTo>
                      <a:pt x="707" y="397"/>
                    </a:lnTo>
                    <a:lnTo>
                      <a:pt x="715" y="397"/>
                    </a:lnTo>
                    <a:lnTo>
                      <a:pt x="715" y="397"/>
                    </a:lnTo>
                    <a:lnTo>
                      <a:pt x="721" y="397"/>
                    </a:lnTo>
                    <a:lnTo>
                      <a:pt x="721" y="397"/>
                    </a:lnTo>
                    <a:lnTo>
                      <a:pt x="724" y="399"/>
                    </a:lnTo>
                    <a:lnTo>
                      <a:pt x="724" y="399"/>
                    </a:lnTo>
                    <a:lnTo>
                      <a:pt x="729" y="399"/>
                    </a:lnTo>
                    <a:lnTo>
                      <a:pt x="729" y="399"/>
                    </a:lnTo>
                    <a:lnTo>
                      <a:pt x="737" y="397"/>
                    </a:lnTo>
                    <a:lnTo>
                      <a:pt x="737" y="397"/>
                    </a:lnTo>
                    <a:lnTo>
                      <a:pt x="745" y="399"/>
                    </a:lnTo>
                    <a:lnTo>
                      <a:pt x="745" y="399"/>
                    </a:lnTo>
                    <a:lnTo>
                      <a:pt x="747" y="400"/>
                    </a:lnTo>
                    <a:lnTo>
                      <a:pt x="747" y="400"/>
                    </a:lnTo>
                    <a:lnTo>
                      <a:pt x="753" y="399"/>
                    </a:lnTo>
                    <a:lnTo>
                      <a:pt x="753" y="399"/>
                    </a:lnTo>
                    <a:lnTo>
                      <a:pt x="759" y="399"/>
                    </a:lnTo>
                    <a:lnTo>
                      <a:pt x="759" y="399"/>
                    </a:lnTo>
                    <a:lnTo>
                      <a:pt x="763" y="399"/>
                    </a:lnTo>
                    <a:lnTo>
                      <a:pt x="766" y="399"/>
                    </a:lnTo>
                    <a:lnTo>
                      <a:pt x="766" y="399"/>
                    </a:lnTo>
                    <a:lnTo>
                      <a:pt x="766" y="399"/>
                    </a:lnTo>
                    <a:close/>
                    <a:moveTo>
                      <a:pt x="232" y="205"/>
                    </a:moveTo>
                    <a:lnTo>
                      <a:pt x="232" y="205"/>
                    </a:lnTo>
                    <a:lnTo>
                      <a:pt x="231" y="205"/>
                    </a:lnTo>
                    <a:lnTo>
                      <a:pt x="231" y="205"/>
                    </a:lnTo>
                    <a:lnTo>
                      <a:pt x="231" y="207"/>
                    </a:lnTo>
                    <a:lnTo>
                      <a:pt x="231" y="207"/>
                    </a:lnTo>
                    <a:lnTo>
                      <a:pt x="231" y="207"/>
                    </a:lnTo>
                    <a:lnTo>
                      <a:pt x="231" y="207"/>
                    </a:lnTo>
                    <a:lnTo>
                      <a:pt x="229" y="208"/>
                    </a:lnTo>
                    <a:lnTo>
                      <a:pt x="229" y="208"/>
                    </a:lnTo>
                    <a:lnTo>
                      <a:pt x="229" y="210"/>
                    </a:lnTo>
                    <a:lnTo>
                      <a:pt x="229" y="210"/>
                    </a:lnTo>
                    <a:lnTo>
                      <a:pt x="232" y="212"/>
                    </a:lnTo>
                    <a:lnTo>
                      <a:pt x="232" y="212"/>
                    </a:lnTo>
                    <a:lnTo>
                      <a:pt x="232" y="213"/>
                    </a:lnTo>
                    <a:lnTo>
                      <a:pt x="232" y="213"/>
                    </a:lnTo>
                    <a:lnTo>
                      <a:pt x="229" y="213"/>
                    </a:lnTo>
                    <a:lnTo>
                      <a:pt x="229" y="213"/>
                    </a:lnTo>
                    <a:lnTo>
                      <a:pt x="229" y="215"/>
                    </a:lnTo>
                    <a:lnTo>
                      <a:pt x="229" y="215"/>
                    </a:lnTo>
                    <a:lnTo>
                      <a:pt x="226" y="216"/>
                    </a:lnTo>
                    <a:lnTo>
                      <a:pt x="226" y="216"/>
                    </a:lnTo>
                    <a:lnTo>
                      <a:pt x="226" y="216"/>
                    </a:lnTo>
                    <a:lnTo>
                      <a:pt x="226" y="216"/>
                    </a:lnTo>
                    <a:lnTo>
                      <a:pt x="223" y="218"/>
                    </a:lnTo>
                    <a:lnTo>
                      <a:pt x="223" y="218"/>
                    </a:lnTo>
                    <a:lnTo>
                      <a:pt x="221" y="219"/>
                    </a:lnTo>
                    <a:lnTo>
                      <a:pt x="221" y="219"/>
                    </a:lnTo>
                    <a:lnTo>
                      <a:pt x="220" y="219"/>
                    </a:lnTo>
                    <a:lnTo>
                      <a:pt x="220" y="219"/>
                    </a:lnTo>
                    <a:lnTo>
                      <a:pt x="220" y="219"/>
                    </a:lnTo>
                    <a:lnTo>
                      <a:pt x="220" y="219"/>
                    </a:lnTo>
                    <a:lnTo>
                      <a:pt x="220" y="216"/>
                    </a:lnTo>
                    <a:lnTo>
                      <a:pt x="220" y="216"/>
                    </a:lnTo>
                    <a:lnTo>
                      <a:pt x="221" y="216"/>
                    </a:lnTo>
                    <a:lnTo>
                      <a:pt x="221" y="216"/>
                    </a:lnTo>
                    <a:lnTo>
                      <a:pt x="223" y="216"/>
                    </a:lnTo>
                    <a:lnTo>
                      <a:pt x="223" y="216"/>
                    </a:lnTo>
                    <a:lnTo>
                      <a:pt x="223" y="216"/>
                    </a:lnTo>
                    <a:lnTo>
                      <a:pt x="223" y="216"/>
                    </a:lnTo>
                    <a:lnTo>
                      <a:pt x="223" y="215"/>
                    </a:lnTo>
                    <a:lnTo>
                      <a:pt x="223" y="215"/>
                    </a:lnTo>
                    <a:lnTo>
                      <a:pt x="226" y="213"/>
                    </a:lnTo>
                    <a:lnTo>
                      <a:pt x="226" y="213"/>
                    </a:lnTo>
                    <a:lnTo>
                      <a:pt x="226" y="212"/>
                    </a:lnTo>
                    <a:lnTo>
                      <a:pt x="226" y="212"/>
                    </a:lnTo>
                    <a:lnTo>
                      <a:pt x="226" y="210"/>
                    </a:lnTo>
                    <a:lnTo>
                      <a:pt x="226" y="210"/>
                    </a:lnTo>
                    <a:lnTo>
                      <a:pt x="226" y="208"/>
                    </a:lnTo>
                    <a:lnTo>
                      <a:pt x="226" y="208"/>
                    </a:lnTo>
                    <a:lnTo>
                      <a:pt x="223" y="208"/>
                    </a:lnTo>
                    <a:lnTo>
                      <a:pt x="223" y="208"/>
                    </a:lnTo>
                    <a:lnTo>
                      <a:pt x="223" y="208"/>
                    </a:lnTo>
                    <a:lnTo>
                      <a:pt x="223" y="208"/>
                    </a:lnTo>
                    <a:lnTo>
                      <a:pt x="220" y="212"/>
                    </a:lnTo>
                    <a:lnTo>
                      <a:pt x="220" y="212"/>
                    </a:lnTo>
                    <a:lnTo>
                      <a:pt x="220" y="213"/>
                    </a:lnTo>
                    <a:lnTo>
                      <a:pt x="220" y="213"/>
                    </a:lnTo>
                    <a:lnTo>
                      <a:pt x="220" y="213"/>
                    </a:lnTo>
                    <a:lnTo>
                      <a:pt x="220" y="213"/>
                    </a:lnTo>
                    <a:lnTo>
                      <a:pt x="220" y="216"/>
                    </a:lnTo>
                    <a:lnTo>
                      <a:pt x="220" y="216"/>
                    </a:lnTo>
                    <a:lnTo>
                      <a:pt x="216" y="218"/>
                    </a:lnTo>
                    <a:lnTo>
                      <a:pt x="216" y="218"/>
                    </a:lnTo>
                    <a:lnTo>
                      <a:pt x="215" y="218"/>
                    </a:lnTo>
                    <a:lnTo>
                      <a:pt x="215" y="218"/>
                    </a:lnTo>
                    <a:lnTo>
                      <a:pt x="215" y="216"/>
                    </a:lnTo>
                    <a:lnTo>
                      <a:pt x="215" y="216"/>
                    </a:lnTo>
                    <a:lnTo>
                      <a:pt x="210" y="216"/>
                    </a:lnTo>
                    <a:lnTo>
                      <a:pt x="210" y="216"/>
                    </a:lnTo>
                    <a:lnTo>
                      <a:pt x="210" y="216"/>
                    </a:lnTo>
                    <a:lnTo>
                      <a:pt x="210" y="216"/>
                    </a:lnTo>
                    <a:lnTo>
                      <a:pt x="208" y="216"/>
                    </a:lnTo>
                    <a:lnTo>
                      <a:pt x="208" y="216"/>
                    </a:lnTo>
                    <a:lnTo>
                      <a:pt x="208" y="215"/>
                    </a:lnTo>
                    <a:lnTo>
                      <a:pt x="208" y="215"/>
                    </a:lnTo>
                    <a:lnTo>
                      <a:pt x="210" y="215"/>
                    </a:lnTo>
                    <a:lnTo>
                      <a:pt x="210" y="215"/>
                    </a:lnTo>
                    <a:lnTo>
                      <a:pt x="212" y="213"/>
                    </a:lnTo>
                    <a:lnTo>
                      <a:pt x="212" y="213"/>
                    </a:lnTo>
                    <a:lnTo>
                      <a:pt x="212" y="213"/>
                    </a:lnTo>
                    <a:lnTo>
                      <a:pt x="212" y="213"/>
                    </a:lnTo>
                    <a:lnTo>
                      <a:pt x="212" y="210"/>
                    </a:lnTo>
                    <a:lnTo>
                      <a:pt x="212" y="210"/>
                    </a:lnTo>
                    <a:lnTo>
                      <a:pt x="212" y="210"/>
                    </a:lnTo>
                    <a:lnTo>
                      <a:pt x="212" y="210"/>
                    </a:lnTo>
                    <a:lnTo>
                      <a:pt x="213" y="208"/>
                    </a:lnTo>
                    <a:lnTo>
                      <a:pt x="213" y="208"/>
                    </a:lnTo>
                    <a:lnTo>
                      <a:pt x="213" y="208"/>
                    </a:lnTo>
                    <a:lnTo>
                      <a:pt x="213" y="208"/>
                    </a:lnTo>
                    <a:lnTo>
                      <a:pt x="215" y="207"/>
                    </a:lnTo>
                    <a:lnTo>
                      <a:pt x="215" y="207"/>
                    </a:lnTo>
                    <a:lnTo>
                      <a:pt x="215" y="205"/>
                    </a:lnTo>
                    <a:lnTo>
                      <a:pt x="215" y="205"/>
                    </a:lnTo>
                    <a:lnTo>
                      <a:pt x="215" y="204"/>
                    </a:lnTo>
                    <a:lnTo>
                      <a:pt x="215" y="204"/>
                    </a:lnTo>
                    <a:lnTo>
                      <a:pt x="213" y="204"/>
                    </a:lnTo>
                    <a:lnTo>
                      <a:pt x="213" y="204"/>
                    </a:lnTo>
                    <a:lnTo>
                      <a:pt x="213" y="202"/>
                    </a:lnTo>
                    <a:lnTo>
                      <a:pt x="213" y="202"/>
                    </a:lnTo>
                    <a:lnTo>
                      <a:pt x="213" y="202"/>
                    </a:lnTo>
                    <a:lnTo>
                      <a:pt x="213" y="202"/>
                    </a:lnTo>
                    <a:lnTo>
                      <a:pt x="215" y="202"/>
                    </a:lnTo>
                    <a:lnTo>
                      <a:pt x="215" y="202"/>
                    </a:lnTo>
                    <a:lnTo>
                      <a:pt x="216" y="204"/>
                    </a:lnTo>
                    <a:lnTo>
                      <a:pt x="216" y="204"/>
                    </a:lnTo>
                    <a:lnTo>
                      <a:pt x="218" y="204"/>
                    </a:lnTo>
                    <a:lnTo>
                      <a:pt x="218" y="204"/>
                    </a:lnTo>
                    <a:lnTo>
                      <a:pt x="220" y="204"/>
                    </a:lnTo>
                    <a:lnTo>
                      <a:pt x="220" y="204"/>
                    </a:lnTo>
                    <a:lnTo>
                      <a:pt x="221" y="204"/>
                    </a:lnTo>
                    <a:lnTo>
                      <a:pt x="221" y="204"/>
                    </a:lnTo>
                    <a:lnTo>
                      <a:pt x="221" y="202"/>
                    </a:lnTo>
                    <a:lnTo>
                      <a:pt x="221" y="202"/>
                    </a:lnTo>
                    <a:lnTo>
                      <a:pt x="221" y="200"/>
                    </a:lnTo>
                    <a:lnTo>
                      <a:pt x="221" y="200"/>
                    </a:lnTo>
                    <a:lnTo>
                      <a:pt x="220" y="200"/>
                    </a:lnTo>
                    <a:lnTo>
                      <a:pt x="220" y="200"/>
                    </a:lnTo>
                    <a:lnTo>
                      <a:pt x="218" y="200"/>
                    </a:lnTo>
                    <a:lnTo>
                      <a:pt x="218" y="200"/>
                    </a:lnTo>
                    <a:lnTo>
                      <a:pt x="218" y="200"/>
                    </a:lnTo>
                    <a:lnTo>
                      <a:pt x="218" y="200"/>
                    </a:lnTo>
                    <a:lnTo>
                      <a:pt x="216" y="199"/>
                    </a:lnTo>
                    <a:lnTo>
                      <a:pt x="216" y="199"/>
                    </a:lnTo>
                    <a:lnTo>
                      <a:pt x="215" y="199"/>
                    </a:lnTo>
                    <a:lnTo>
                      <a:pt x="215" y="199"/>
                    </a:lnTo>
                    <a:lnTo>
                      <a:pt x="213" y="199"/>
                    </a:lnTo>
                    <a:lnTo>
                      <a:pt x="213" y="199"/>
                    </a:lnTo>
                    <a:lnTo>
                      <a:pt x="210" y="197"/>
                    </a:lnTo>
                    <a:lnTo>
                      <a:pt x="210" y="197"/>
                    </a:lnTo>
                    <a:lnTo>
                      <a:pt x="210" y="199"/>
                    </a:lnTo>
                    <a:lnTo>
                      <a:pt x="210" y="199"/>
                    </a:lnTo>
                    <a:lnTo>
                      <a:pt x="210" y="200"/>
                    </a:lnTo>
                    <a:lnTo>
                      <a:pt x="210" y="200"/>
                    </a:lnTo>
                    <a:lnTo>
                      <a:pt x="210" y="200"/>
                    </a:lnTo>
                    <a:lnTo>
                      <a:pt x="210" y="200"/>
                    </a:lnTo>
                    <a:lnTo>
                      <a:pt x="210" y="200"/>
                    </a:lnTo>
                    <a:lnTo>
                      <a:pt x="210" y="200"/>
                    </a:lnTo>
                    <a:lnTo>
                      <a:pt x="208" y="199"/>
                    </a:lnTo>
                    <a:lnTo>
                      <a:pt x="208" y="199"/>
                    </a:lnTo>
                    <a:lnTo>
                      <a:pt x="205" y="200"/>
                    </a:lnTo>
                    <a:lnTo>
                      <a:pt x="205" y="200"/>
                    </a:lnTo>
                    <a:lnTo>
                      <a:pt x="204" y="200"/>
                    </a:lnTo>
                    <a:lnTo>
                      <a:pt x="204" y="200"/>
                    </a:lnTo>
                    <a:lnTo>
                      <a:pt x="204" y="200"/>
                    </a:lnTo>
                    <a:lnTo>
                      <a:pt x="204" y="200"/>
                    </a:lnTo>
                    <a:lnTo>
                      <a:pt x="204" y="199"/>
                    </a:lnTo>
                    <a:lnTo>
                      <a:pt x="204" y="199"/>
                    </a:lnTo>
                    <a:lnTo>
                      <a:pt x="200" y="199"/>
                    </a:lnTo>
                    <a:lnTo>
                      <a:pt x="200" y="199"/>
                    </a:lnTo>
                    <a:lnTo>
                      <a:pt x="200" y="200"/>
                    </a:lnTo>
                    <a:lnTo>
                      <a:pt x="200" y="200"/>
                    </a:lnTo>
                    <a:lnTo>
                      <a:pt x="200" y="200"/>
                    </a:lnTo>
                    <a:lnTo>
                      <a:pt x="200" y="200"/>
                    </a:lnTo>
                    <a:lnTo>
                      <a:pt x="200" y="202"/>
                    </a:lnTo>
                    <a:lnTo>
                      <a:pt x="200" y="202"/>
                    </a:lnTo>
                    <a:lnTo>
                      <a:pt x="199" y="204"/>
                    </a:lnTo>
                    <a:lnTo>
                      <a:pt x="199" y="204"/>
                    </a:lnTo>
                    <a:lnTo>
                      <a:pt x="197" y="200"/>
                    </a:lnTo>
                    <a:lnTo>
                      <a:pt x="197" y="200"/>
                    </a:lnTo>
                    <a:lnTo>
                      <a:pt x="197" y="200"/>
                    </a:lnTo>
                    <a:lnTo>
                      <a:pt x="197" y="200"/>
                    </a:lnTo>
                    <a:lnTo>
                      <a:pt x="197" y="197"/>
                    </a:lnTo>
                    <a:lnTo>
                      <a:pt x="197" y="197"/>
                    </a:lnTo>
                    <a:lnTo>
                      <a:pt x="199" y="197"/>
                    </a:lnTo>
                    <a:lnTo>
                      <a:pt x="199" y="197"/>
                    </a:lnTo>
                    <a:lnTo>
                      <a:pt x="200" y="197"/>
                    </a:lnTo>
                    <a:lnTo>
                      <a:pt x="200" y="197"/>
                    </a:lnTo>
                    <a:lnTo>
                      <a:pt x="202" y="197"/>
                    </a:lnTo>
                    <a:lnTo>
                      <a:pt x="202" y="197"/>
                    </a:lnTo>
                    <a:lnTo>
                      <a:pt x="204" y="196"/>
                    </a:lnTo>
                    <a:lnTo>
                      <a:pt x="204" y="196"/>
                    </a:lnTo>
                    <a:lnTo>
                      <a:pt x="204" y="197"/>
                    </a:lnTo>
                    <a:lnTo>
                      <a:pt x="204" y="197"/>
                    </a:lnTo>
                    <a:lnTo>
                      <a:pt x="207" y="196"/>
                    </a:lnTo>
                    <a:lnTo>
                      <a:pt x="207" y="196"/>
                    </a:lnTo>
                    <a:lnTo>
                      <a:pt x="208" y="194"/>
                    </a:lnTo>
                    <a:lnTo>
                      <a:pt x="208" y="194"/>
                    </a:lnTo>
                    <a:lnTo>
                      <a:pt x="210" y="194"/>
                    </a:lnTo>
                    <a:lnTo>
                      <a:pt x="210" y="194"/>
                    </a:lnTo>
                    <a:lnTo>
                      <a:pt x="210" y="194"/>
                    </a:lnTo>
                    <a:lnTo>
                      <a:pt x="210" y="194"/>
                    </a:lnTo>
                    <a:lnTo>
                      <a:pt x="210" y="194"/>
                    </a:lnTo>
                    <a:lnTo>
                      <a:pt x="210" y="194"/>
                    </a:lnTo>
                    <a:lnTo>
                      <a:pt x="212" y="194"/>
                    </a:lnTo>
                    <a:lnTo>
                      <a:pt x="212" y="194"/>
                    </a:lnTo>
                    <a:lnTo>
                      <a:pt x="212" y="194"/>
                    </a:lnTo>
                    <a:lnTo>
                      <a:pt x="212" y="194"/>
                    </a:lnTo>
                    <a:lnTo>
                      <a:pt x="213" y="194"/>
                    </a:lnTo>
                    <a:lnTo>
                      <a:pt x="213" y="194"/>
                    </a:lnTo>
                    <a:lnTo>
                      <a:pt x="215" y="194"/>
                    </a:lnTo>
                    <a:lnTo>
                      <a:pt x="215" y="194"/>
                    </a:lnTo>
                    <a:lnTo>
                      <a:pt x="216" y="194"/>
                    </a:lnTo>
                    <a:lnTo>
                      <a:pt x="216" y="194"/>
                    </a:lnTo>
                    <a:lnTo>
                      <a:pt x="218" y="192"/>
                    </a:lnTo>
                    <a:lnTo>
                      <a:pt x="218" y="192"/>
                    </a:lnTo>
                    <a:lnTo>
                      <a:pt x="220" y="192"/>
                    </a:lnTo>
                    <a:lnTo>
                      <a:pt x="220" y="192"/>
                    </a:lnTo>
                    <a:lnTo>
                      <a:pt x="221" y="192"/>
                    </a:lnTo>
                    <a:lnTo>
                      <a:pt x="221" y="192"/>
                    </a:lnTo>
                    <a:lnTo>
                      <a:pt x="221" y="191"/>
                    </a:lnTo>
                    <a:lnTo>
                      <a:pt x="221" y="191"/>
                    </a:lnTo>
                    <a:lnTo>
                      <a:pt x="223" y="191"/>
                    </a:lnTo>
                    <a:lnTo>
                      <a:pt x="223" y="191"/>
                    </a:lnTo>
                    <a:lnTo>
                      <a:pt x="223" y="189"/>
                    </a:lnTo>
                    <a:lnTo>
                      <a:pt x="223" y="189"/>
                    </a:lnTo>
                    <a:lnTo>
                      <a:pt x="226" y="189"/>
                    </a:lnTo>
                    <a:lnTo>
                      <a:pt x="226" y="189"/>
                    </a:lnTo>
                    <a:lnTo>
                      <a:pt x="226" y="188"/>
                    </a:lnTo>
                    <a:lnTo>
                      <a:pt x="226" y="188"/>
                    </a:lnTo>
                    <a:lnTo>
                      <a:pt x="227" y="186"/>
                    </a:lnTo>
                    <a:lnTo>
                      <a:pt x="227" y="186"/>
                    </a:lnTo>
                    <a:lnTo>
                      <a:pt x="229" y="186"/>
                    </a:lnTo>
                    <a:lnTo>
                      <a:pt x="229" y="186"/>
                    </a:lnTo>
                    <a:lnTo>
                      <a:pt x="229" y="186"/>
                    </a:lnTo>
                    <a:lnTo>
                      <a:pt x="229" y="186"/>
                    </a:lnTo>
                    <a:lnTo>
                      <a:pt x="229" y="188"/>
                    </a:lnTo>
                    <a:lnTo>
                      <a:pt x="229" y="188"/>
                    </a:lnTo>
                    <a:lnTo>
                      <a:pt x="231" y="188"/>
                    </a:lnTo>
                    <a:lnTo>
                      <a:pt x="231" y="188"/>
                    </a:lnTo>
                    <a:lnTo>
                      <a:pt x="231" y="186"/>
                    </a:lnTo>
                    <a:lnTo>
                      <a:pt x="231" y="186"/>
                    </a:lnTo>
                    <a:lnTo>
                      <a:pt x="232" y="186"/>
                    </a:lnTo>
                    <a:lnTo>
                      <a:pt x="232" y="186"/>
                    </a:lnTo>
                    <a:lnTo>
                      <a:pt x="232" y="188"/>
                    </a:lnTo>
                    <a:lnTo>
                      <a:pt x="232" y="188"/>
                    </a:lnTo>
                    <a:lnTo>
                      <a:pt x="232" y="188"/>
                    </a:lnTo>
                    <a:lnTo>
                      <a:pt x="232" y="188"/>
                    </a:lnTo>
                    <a:lnTo>
                      <a:pt x="234" y="188"/>
                    </a:lnTo>
                    <a:lnTo>
                      <a:pt x="234" y="188"/>
                    </a:lnTo>
                    <a:lnTo>
                      <a:pt x="234" y="189"/>
                    </a:lnTo>
                    <a:lnTo>
                      <a:pt x="234" y="189"/>
                    </a:lnTo>
                    <a:lnTo>
                      <a:pt x="232" y="189"/>
                    </a:lnTo>
                    <a:lnTo>
                      <a:pt x="232" y="189"/>
                    </a:lnTo>
                    <a:lnTo>
                      <a:pt x="232" y="189"/>
                    </a:lnTo>
                    <a:lnTo>
                      <a:pt x="232" y="189"/>
                    </a:lnTo>
                    <a:lnTo>
                      <a:pt x="231" y="192"/>
                    </a:lnTo>
                    <a:lnTo>
                      <a:pt x="231" y="192"/>
                    </a:lnTo>
                    <a:lnTo>
                      <a:pt x="227" y="192"/>
                    </a:lnTo>
                    <a:lnTo>
                      <a:pt x="227" y="192"/>
                    </a:lnTo>
                    <a:lnTo>
                      <a:pt x="227" y="192"/>
                    </a:lnTo>
                    <a:lnTo>
                      <a:pt x="227" y="192"/>
                    </a:lnTo>
                    <a:lnTo>
                      <a:pt x="226" y="194"/>
                    </a:lnTo>
                    <a:lnTo>
                      <a:pt x="226" y="194"/>
                    </a:lnTo>
                    <a:lnTo>
                      <a:pt x="226" y="194"/>
                    </a:lnTo>
                    <a:lnTo>
                      <a:pt x="226" y="194"/>
                    </a:lnTo>
                    <a:lnTo>
                      <a:pt x="226" y="196"/>
                    </a:lnTo>
                    <a:lnTo>
                      <a:pt x="226" y="196"/>
                    </a:lnTo>
                    <a:lnTo>
                      <a:pt x="229" y="196"/>
                    </a:lnTo>
                    <a:lnTo>
                      <a:pt x="229" y="196"/>
                    </a:lnTo>
                    <a:lnTo>
                      <a:pt x="229" y="196"/>
                    </a:lnTo>
                    <a:lnTo>
                      <a:pt x="229" y="196"/>
                    </a:lnTo>
                    <a:lnTo>
                      <a:pt x="231" y="196"/>
                    </a:lnTo>
                    <a:lnTo>
                      <a:pt x="231" y="196"/>
                    </a:lnTo>
                    <a:lnTo>
                      <a:pt x="231" y="197"/>
                    </a:lnTo>
                    <a:lnTo>
                      <a:pt x="231" y="197"/>
                    </a:lnTo>
                    <a:lnTo>
                      <a:pt x="232" y="197"/>
                    </a:lnTo>
                    <a:lnTo>
                      <a:pt x="232" y="197"/>
                    </a:lnTo>
                    <a:lnTo>
                      <a:pt x="234" y="197"/>
                    </a:lnTo>
                    <a:lnTo>
                      <a:pt x="234" y="197"/>
                    </a:lnTo>
                    <a:lnTo>
                      <a:pt x="237" y="197"/>
                    </a:lnTo>
                    <a:lnTo>
                      <a:pt x="237" y="197"/>
                    </a:lnTo>
                    <a:lnTo>
                      <a:pt x="239" y="196"/>
                    </a:lnTo>
                    <a:lnTo>
                      <a:pt x="239" y="196"/>
                    </a:lnTo>
                    <a:lnTo>
                      <a:pt x="239" y="194"/>
                    </a:lnTo>
                    <a:lnTo>
                      <a:pt x="239" y="194"/>
                    </a:lnTo>
                    <a:lnTo>
                      <a:pt x="239" y="194"/>
                    </a:lnTo>
                    <a:lnTo>
                      <a:pt x="239" y="194"/>
                    </a:lnTo>
                    <a:lnTo>
                      <a:pt x="242" y="192"/>
                    </a:lnTo>
                    <a:lnTo>
                      <a:pt x="242" y="192"/>
                    </a:lnTo>
                    <a:lnTo>
                      <a:pt x="242" y="192"/>
                    </a:lnTo>
                    <a:lnTo>
                      <a:pt x="242" y="192"/>
                    </a:lnTo>
                    <a:lnTo>
                      <a:pt x="242" y="192"/>
                    </a:lnTo>
                    <a:lnTo>
                      <a:pt x="242" y="192"/>
                    </a:lnTo>
                    <a:lnTo>
                      <a:pt x="242" y="194"/>
                    </a:lnTo>
                    <a:lnTo>
                      <a:pt x="242" y="194"/>
                    </a:lnTo>
                    <a:lnTo>
                      <a:pt x="242" y="194"/>
                    </a:lnTo>
                    <a:lnTo>
                      <a:pt x="242" y="194"/>
                    </a:lnTo>
                    <a:lnTo>
                      <a:pt x="243" y="194"/>
                    </a:lnTo>
                    <a:lnTo>
                      <a:pt x="243" y="194"/>
                    </a:lnTo>
                    <a:lnTo>
                      <a:pt x="243" y="196"/>
                    </a:lnTo>
                    <a:lnTo>
                      <a:pt x="243" y="196"/>
                    </a:lnTo>
                    <a:lnTo>
                      <a:pt x="242" y="196"/>
                    </a:lnTo>
                    <a:lnTo>
                      <a:pt x="242" y="196"/>
                    </a:lnTo>
                    <a:lnTo>
                      <a:pt x="242" y="197"/>
                    </a:lnTo>
                    <a:lnTo>
                      <a:pt x="242" y="197"/>
                    </a:lnTo>
                    <a:lnTo>
                      <a:pt x="242" y="197"/>
                    </a:lnTo>
                    <a:lnTo>
                      <a:pt x="242" y="197"/>
                    </a:lnTo>
                    <a:lnTo>
                      <a:pt x="242" y="197"/>
                    </a:lnTo>
                    <a:lnTo>
                      <a:pt x="242" y="197"/>
                    </a:lnTo>
                    <a:lnTo>
                      <a:pt x="242" y="199"/>
                    </a:lnTo>
                    <a:lnTo>
                      <a:pt x="242" y="199"/>
                    </a:lnTo>
                    <a:lnTo>
                      <a:pt x="242" y="200"/>
                    </a:lnTo>
                    <a:lnTo>
                      <a:pt x="242" y="200"/>
                    </a:lnTo>
                    <a:lnTo>
                      <a:pt x="242" y="202"/>
                    </a:lnTo>
                    <a:lnTo>
                      <a:pt x="242" y="202"/>
                    </a:lnTo>
                    <a:lnTo>
                      <a:pt x="240" y="202"/>
                    </a:lnTo>
                    <a:lnTo>
                      <a:pt x="240" y="202"/>
                    </a:lnTo>
                    <a:lnTo>
                      <a:pt x="239" y="204"/>
                    </a:lnTo>
                    <a:lnTo>
                      <a:pt x="239" y="204"/>
                    </a:lnTo>
                    <a:lnTo>
                      <a:pt x="240" y="204"/>
                    </a:lnTo>
                    <a:lnTo>
                      <a:pt x="240" y="204"/>
                    </a:lnTo>
                    <a:lnTo>
                      <a:pt x="237" y="207"/>
                    </a:lnTo>
                    <a:lnTo>
                      <a:pt x="237" y="207"/>
                    </a:lnTo>
                    <a:lnTo>
                      <a:pt x="239" y="207"/>
                    </a:lnTo>
                    <a:lnTo>
                      <a:pt x="239" y="207"/>
                    </a:lnTo>
                    <a:lnTo>
                      <a:pt x="240" y="205"/>
                    </a:lnTo>
                    <a:lnTo>
                      <a:pt x="240" y="205"/>
                    </a:lnTo>
                    <a:lnTo>
                      <a:pt x="242" y="207"/>
                    </a:lnTo>
                    <a:lnTo>
                      <a:pt x="242" y="207"/>
                    </a:lnTo>
                    <a:lnTo>
                      <a:pt x="237" y="208"/>
                    </a:lnTo>
                    <a:lnTo>
                      <a:pt x="237" y="208"/>
                    </a:lnTo>
                    <a:lnTo>
                      <a:pt x="235" y="207"/>
                    </a:lnTo>
                    <a:lnTo>
                      <a:pt x="235" y="207"/>
                    </a:lnTo>
                    <a:lnTo>
                      <a:pt x="235" y="207"/>
                    </a:lnTo>
                    <a:lnTo>
                      <a:pt x="235" y="207"/>
                    </a:lnTo>
                    <a:lnTo>
                      <a:pt x="234" y="205"/>
                    </a:lnTo>
                    <a:lnTo>
                      <a:pt x="234" y="205"/>
                    </a:lnTo>
                    <a:lnTo>
                      <a:pt x="232" y="205"/>
                    </a:lnTo>
                    <a:lnTo>
                      <a:pt x="232" y="205"/>
                    </a:lnTo>
                    <a:close/>
                    <a:moveTo>
                      <a:pt x="277" y="256"/>
                    </a:moveTo>
                    <a:lnTo>
                      <a:pt x="277" y="256"/>
                    </a:lnTo>
                    <a:lnTo>
                      <a:pt x="277" y="259"/>
                    </a:lnTo>
                    <a:lnTo>
                      <a:pt x="277" y="259"/>
                    </a:lnTo>
                    <a:lnTo>
                      <a:pt x="274" y="264"/>
                    </a:lnTo>
                    <a:lnTo>
                      <a:pt x="274" y="264"/>
                    </a:lnTo>
                    <a:lnTo>
                      <a:pt x="272" y="264"/>
                    </a:lnTo>
                    <a:lnTo>
                      <a:pt x="272" y="264"/>
                    </a:lnTo>
                    <a:lnTo>
                      <a:pt x="270" y="264"/>
                    </a:lnTo>
                    <a:lnTo>
                      <a:pt x="270" y="264"/>
                    </a:lnTo>
                    <a:lnTo>
                      <a:pt x="270" y="264"/>
                    </a:lnTo>
                    <a:lnTo>
                      <a:pt x="270" y="264"/>
                    </a:lnTo>
                    <a:lnTo>
                      <a:pt x="269" y="264"/>
                    </a:lnTo>
                    <a:lnTo>
                      <a:pt x="269" y="264"/>
                    </a:lnTo>
                    <a:lnTo>
                      <a:pt x="267" y="264"/>
                    </a:lnTo>
                    <a:lnTo>
                      <a:pt x="267" y="264"/>
                    </a:lnTo>
                    <a:lnTo>
                      <a:pt x="267" y="265"/>
                    </a:lnTo>
                    <a:lnTo>
                      <a:pt x="267" y="265"/>
                    </a:lnTo>
                    <a:lnTo>
                      <a:pt x="267" y="267"/>
                    </a:lnTo>
                    <a:lnTo>
                      <a:pt x="267" y="267"/>
                    </a:lnTo>
                    <a:lnTo>
                      <a:pt x="266" y="267"/>
                    </a:lnTo>
                    <a:lnTo>
                      <a:pt x="266" y="267"/>
                    </a:lnTo>
                    <a:lnTo>
                      <a:pt x="264" y="270"/>
                    </a:lnTo>
                    <a:lnTo>
                      <a:pt x="264" y="270"/>
                    </a:lnTo>
                    <a:lnTo>
                      <a:pt x="264" y="270"/>
                    </a:lnTo>
                    <a:lnTo>
                      <a:pt x="264" y="270"/>
                    </a:lnTo>
                    <a:lnTo>
                      <a:pt x="262" y="270"/>
                    </a:lnTo>
                    <a:lnTo>
                      <a:pt x="262" y="270"/>
                    </a:lnTo>
                    <a:lnTo>
                      <a:pt x="261" y="270"/>
                    </a:lnTo>
                    <a:lnTo>
                      <a:pt x="261" y="270"/>
                    </a:lnTo>
                    <a:lnTo>
                      <a:pt x="254" y="273"/>
                    </a:lnTo>
                    <a:lnTo>
                      <a:pt x="254" y="273"/>
                    </a:lnTo>
                    <a:lnTo>
                      <a:pt x="254" y="273"/>
                    </a:lnTo>
                    <a:lnTo>
                      <a:pt x="254" y="273"/>
                    </a:lnTo>
                    <a:lnTo>
                      <a:pt x="253" y="273"/>
                    </a:lnTo>
                    <a:lnTo>
                      <a:pt x="253" y="273"/>
                    </a:lnTo>
                    <a:lnTo>
                      <a:pt x="251" y="273"/>
                    </a:lnTo>
                    <a:lnTo>
                      <a:pt x="251" y="273"/>
                    </a:lnTo>
                    <a:lnTo>
                      <a:pt x="250" y="273"/>
                    </a:lnTo>
                    <a:lnTo>
                      <a:pt x="250" y="273"/>
                    </a:lnTo>
                    <a:lnTo>
                      <a:pt x="250" y="272"/>
                    </a:lnTo>
                    <a:lnTo>
                      <a:pt x="250" y="272"/>
                    </a:lnTo>
                    <a:lnTo>
                      <a:pt x="245" y="270"/>
                    </a:lnTo>
                    <a:lnTo>
                      <a:pt x="245" y="270"/>
                    </a:lnTo>
                    <a:lnTo>
                      <a:pt x="245" y="269"/>
                    </a:lnTo>
                    <a:lnTo>
                      <a:pt x="245" y="269"/>
                    </a:lnTo>
                    <a:lnTo>
                      <a:pt x="245" y="269"/>
                    </a:lnTo>
                    <a:lnTo>
                      <a:pt x="245" y="269"/>
                    </a:lnTo>
                    <a:lnTo>
                      <a:pt x="242" y="267"/>
                    </a:lnTo>
                    <a:lnTo>
                      <a:pt x="242" y="267"/>
                    </a:lnTo>
                    <a:lnTo>
                      <a:pt x="242" y="265"/>
                    </a:lnTo>
                    <a:lnTo>
                      <a:pt x="242" y="265"/>
                    </a:lnTo>
                    <a:lnTo>
                      <a:pt x="240" y="265"/>
                    </a:lnTo>
                    <a:lnTo>
                      <a:pt x="240" y="265"/>
                    </a:lnTo>
                    <a:lnTo>
                      <a:pt x="239" y="265"/>
                    </a:lnTo>
                    <a:lnTo>
                      <a:pt x="239" y="265"/>
                    </a:lnTo>
                    <a:lnTo>
                      <a:pt x="239" y="265"/>
                    </a:lnTo>
                    <a:lnTo>
                      <a:pt x="239" y="265"/>
                    </a:lnTo>
                    <a:lnTo>
                      <a:pt x="239" y="267"/>
                    </a:lnTo>
                    <a:lnTo>
                      <a:pt x="239" y="267"/>
                    </a:lnTo>
                    <a:lnTo>
                      <a:pt x="235" y="267"/>
                    </a:lnTo>
                    <a:lnTo>
                      <a:pt x="235" y="267"/>
                    </a:lnTo>
                    <a:lnTo>
                      <a:pt x="235" y="265"/>
                    </a:lnTo>
                    <a:lnTo>
                      <a:pt x="235" y="265"/>
                    </a:lnTo>
                    <a:lnTo>
                      <a:pt x="239" y="264"/>
                    </a:lnTo>
                    <a:lnTo>
                      <a:pt x="239" y="264"/>
                    </a:lnTo>
                    <a:lnTo>
                      <a:pt x="239" y="264"/>
                    </a:lnTo>
                    <a:lnTo>
                      <a:pt x="239" y="264"/>
                    </a:lnTo>
                    <a:lnTo>
                      <a:pt x="245" y="267"/>
                    </a:lnTo>
                    <a:lnTo>
                      <a:pt x="245" y="267"/>
                    </a:lnTo>
                    <a:lnTo>
                      <a:pt x="248" y="267"/>
                    </a:lnTo>
                    <a:lnTo>
                      <a:pt x="248" y="267"/>
                    </a:lnTo>
                    <a:lnTo>
                      <a:pt x="248" y="267"/>
                    </a:lnTo>
                    <a:lnTo>
                      <a:pt x="248" y="267"/>
                    </a:lnTo>
                    <a:lnTo>
                      <a:pt x="248" y="265"/>
                    </a:lnTo>
                    <a:lnTo>
                      <a:pt x="248" y="265"/>
                    </a:lnTo>
                    <a:lnTo>
                      <a:pt x="251" y="267"/>
                    </a:lnTo>
                    <a:lnTo>
                      <a:pt x="251" y="267"/>
                    </a:lnTo>
                    <a:lnTo>
                      <a:pt x="251" y="267"/>
                    </a:lnTo>
                    <a:lnTo>
                      <a:pt x="251" y="267"/>
                    </a:lnTo>
                    <a:lnTo>
                      <a:pt x="253" y="267"/>
                    </a:lnTo>
                    <a:lnTo>
                      <a:pt x="253" y="267"/>
                    </a:lnTo>
                    <a:lnTo>
                      <a:pt x="253" y="267"/>
                    </a:lnTo>
                    <a:lnTo>
                      <a:pt x="253" y="267"/>
                    </a:lnTo>
                    <a:lnTo>
                      <a:pt x="254" y="267"/>
                    </a:lnTo>
                    <a:lnTo>
                      <a:pt x="254" y="267"/>
                    </a:lnTo>
                    <a:lnTo>
                      <a:pt x="254" y="265"/>
                    </a:lnTo>
                    <a:lnTo>
                      <a:pt x="254" y="265"/>
                    </a:lnTo>
                    <a:lnTo>
                      <a:pt x="253" y="265"/>
                    </a:lnTo>
                    <a:lnTo>
                      <a:pt x="253" y="265"/>
                    </a:lnTo>
                    <a:lnTo>
                      <a:pt x="253" y="264"/>
                    </a:lnTo>
                    <a:lnTo>
                      <a:pt x="253" y="264"/>
                    </a:lnTo>
                    <a:lnTo>
                      <a:pt x="254" y="265"/>
                    </a:lnTo>
                    <a:lnTo>
                      <a:pt x="254" y="265"/>
                    </a:lnTo>
                    <a:lnTo>
                      <a:pt x="254" y="264"/>
                    </a:lnTo>
                    <a:lnTo>
                      <a:pt x="254" y="264"/>
                    </a:lnTo>
                    <a:lnTo>
                      <a:pt x="254" y="265"/>
                    </a:lnTo>
                    <a:lnTo>
                      <a:pt x="254" y="265"/>
                    </a:lnTo>
                    <a:lnTo>
                      <a:pt x="256" y="264"/>
                    </a:lnTo>
                    <a:lnTo>
                      <a:pt x="256" y="264"/>
                    </a:lnTo>
                    <a:lnTo>
                      <a:pt x="254" y="264"/>
                    </a:lnTo>
                    <a:lnTo>
                      <a:pt x="254" y="264"/>
                    </a:lnTo>
                    <a:lnTo>
                      <a:pt x="256" y="262"/>
                    </a:lnTo>
                    <a:lnTo>
                      <a:pt x="256" y="262"/>
                    </a:lnTo>
                    <a:lnTo>
                      <a:pt x="256" y="261"/>
                    </a:lnTo>
                    <a:lnTo>
                      <a:pt x="256" y="261"/>
                    </a:lnTo>
                    <a:lnTo>
                      <a:pt x="256" y="261"/>
                    </a:lnTo>
                    <a:lnTo>
                      <a:pt x="256" y="261"/>
                    </a:lnTo>
                    <a:lnTo>
                      <a:pt x="256" y="259"/>
                    </a:lnTo>
                    <a:lnTo>
                      <a:pt x="256" y="259"/>
                    </a:lnTo>
                    <a:lnTo>
                      <a:pt x="259" y="261"/>
                    </a:lnTo>
                    <a:lnTo>
                      <a:pt x="259" y="261"/>
                    </a:lnTo>
                    <a:lnTo>
                      <a:pt x="261" y="261"/>
                    </a:lnTo>
                    <a:lnTo>
                      <a:pt x="261" y="261"/>
                    </a:lnTo>
                    <a:lnTo>
                      <a:pt x="261" y="259"/>
                    </a:lnTo>
                    <a:lnTo>
                      <a:pt x="261" y="259"/>
                    </a:lnTo>
                    <a:lnTo>
                      <a:pt x="261" y="258"/>
                    </a:lnTo>
                    <a:lnTo>
                      <a:pt x="261" y="258"/>
                    </a:lnTo>
                    <a:lnTo>
                      <a:pt x="261" y="258"/>
                    </a:lnTo>
                    <a:lnTo>
                      <a:pt x="261" y="258"/>
                    </a:lnTo>
                    <a:lnTo>
                      <a:pt x="258" y="256"/>
                    </a:lnTo>
                    <a:lnTo>
                      <a:pt x="258" y="256"/>
                    </a:lnTo>
                    <a:lnTo>
                      <a:pt x="258" y="256"/>
                    </a:lnTo>
                    <a:lnTo>
                      <a:pt x="258" y="256"/>
                    </a:lnTo>
                    <a:lnTo>
                      <a:pt x="258" y="254"/>
                    </a:lnTo>
                    <a:lnTo>
                      <a:pt x="258" y="254"/>
                    </a:lnTo>
                    <a:lnTo>
                      <a:pt x="258" y="254"/>
                    </a:lnTo>
                    <a:lnTo>
                      <a:pt x="258" y="254"/>
                    </a:lnTo>
                    <a:lnTo>
                      <a:pt x="256" y="254"/>
                    </a:lnTo>
                    <a:lnTo>
                      <a:pt x="256" y="254"/>
                    </a:lnTo>
                    <a:lnTo>
                      <a:pt x="256" y="253"/>
                    </a:lnTo>
                    <a:lnTo>
                      <a:pt x="256" y="253"/>
                    </a:lnTo>
                    <a:lnTo>
                      <a:pt x="254" y="251"/>
                    </a:lnTo>
                    <a:lnTo>
                      <a:pt x="254" y="251"/>
                    </a:lnTo>
                    <a:lnTo>
                      <a:pt x="254" y="251"/>
                    </a:lnTo>
                    <a:lnTo>
                      <a:pt x="254" y="251"/>
                    </a:lnTo>
                    <a:lnTo>
                      <a:pt x="253" y="248"/>
                    </a:lnTo>
                    <a:lnTo>
                      <a:pt x="253" y="248"/>
                    </a:lnTo>
                    <a:lnTo>
                      <a:pt x="251" y="248"/>
                    </a:lnTo>
                    <a:lnTo>
                      <a:pt x="251" y="248"/>
                    </a:lnTo>
                    <a:lnTo>
                      <a:pt x="251" y="246"/>
                    </a:lnTo>
                    <a:lnTo>
                      <a:pt x="251" y="246"/>
                    </a:lnTo>
                    <a:lnTo>
                      <a:pt x="251" y="245"/>
                    </a:lnTo>
                    <a:lnTo>
                      <a:pt x="251" y="245"/>
                    </a:lnTo>
                    <a:lnTo>
                      <a:pt x="250" y="245"/>
                    </a:lnTo>
                    <a:lnTo>
                      <a:pt x="250" y="245"/>
                    </a:lnTo>
                    <a:lnTo>
                      <a:pt x="251" y="245"/>
                    </a:lnTo>
                    <a:lnTo>
                      <a:pt x="251" y="245"/>
                    </a:lnTo>
                    <a:lnTo>
                      <a:pt x="251" y="245"/>
                    </a:lnTo>
                    <a:lnTo>
                      <a:pt x="251" y="245"/>
                    </a:lnTo>
                    <a:lnTo>
                      <a:pt x="253" y="245"/>
                    </a:lnTo>
                    <a:lnTo>
                      <a:pt x="253" y="245"/>
                    </a:lnTo>
                    <a:lnTo>
                      <a:pt x="254" y="243"/>
                    </a:lnTo>
                    <a:lnTo>
                      <a:pt x="254" y="243"/>
                    </a:lnTo>
                    <a:lnTo>
                      <a:pt x="253" y="246"/>
                    </a:lnTo>
                    <a:lnTo>
                      <a:pt x="253" y="246"/>
                    </a:lnTo>
                    <a:lnTo>
                      <a:pt x="254" y="248"/>
                    </a:lnTo>
                    <a:lnTo>
                      <a:pt x="254" y="248"/>
                    </a:lnTo>
                    <a:lnTo>
                      <a:pt x="256" y="250"/>
                    </a:lnTo>
                    <a:lnTo>
                      <a:pt x="256" y="250"/>
                    </a:lnTo>
                    <a:lnTo>
                      <a:pt x="258" y="251"/>
                    </a:lnTo>
                    <a:lnTo>
                      <a:pt x="258" y="251"/>
                    </a:lnTo>
                    <a:lnTo>
                      <a:pt x="258" y="251"/>
                    </a:lnTo>
                    <a:lnTo>
                      <a:pt x="258" y="251"/>
                    </a:lnTo>
                    <a:lnTo>
                      <a:pt x="261" y="251"/>
                    </a:lnTo>
                    <a:lnTo>
                      <a:pt x="261" y="251"/>
                    </a:lnTo>
                    <a:lnTo>
                      <a:pt x="261" y="251"/>
                    </a:lnTo>
                    <a:lnTo>
                      <a:pt x="261" y="251"/>
                    </a:lnTo>
                    <a:lnTo>
                      <a:pt x="261" y="248"/>
                    </a:lnTo>
                    <a:lnTo>
                      <a:pt x="261" y="248"/>
                    </a:lnTo>
                    <a:lnTo>
                      <a:pt x="261" y="248"/>
                    </a:lnTo>
                    <a:lnTo>
                      <a:pt x="261" y="248"/>
                    </a:lnTo>
                    <a:lnTo>
                      <a:pt x="262" y="248"/>
                    </a:lnTo>
                    <a:lnTo>
                      <a:pt x="262" y="248"/>
                    </a:lnTo>
                    <a:lnTo>
                      <a:pt x="262" y="251"/>
                    </a:lnTo>
                    <a:lnTo>
                      <a:pt x="262" y="251"/>
                    </a:lnTo>
                    <a:lnTo>
                      <a:pt x="264" y="254"/>
                    </a:lnTo>
                    <a:lnTo>
                      <a:pt x="264" y="254"/>
                    </a:lnTo>
                    <a:lnTo>
                      <a:pt x="264" y="256"/>
                    </a:lnTo>
                    <a:lnTo>
                      <a:pt x="264" y="256"/>
                    </a:lnTo>
                    <a:lnTo>
                      <a:pt x="266" y="256"/>
                    </a:lnTo>
                    <a:lnTo>
                      <a:pt x="266" y="256"/>
                    </a:lnTo>
                    <a:lnTo>
                      <a:pt x="266" y="254"/>
                    </a:lnTo>
                    <a:lnTo>
                      <a:pt x="266" y="254"/>
                    </a:lnTo>
                    <a:lnTo>
                      <a:pt x="267" y="253"/>
                    </a:lnTo>
                    <a:lnTo>
                      <a:pt x="267" y="253"/>
                    </a:lnTo>
                    <a:lnTo>
                      <a:pt x="267" y="254"/>
                    </a:lnTo>
                    <a:lnTo>
                      <a:pt x="267" y="254"/>
                    </a:lnTo>
                    <a:lnTo>
                      <a:pt x="267" y="254"/>
                    </a:lnTo>
                    <a:lnTo>
                      <a:pt x="267" y="254"/>
                    </a:lnTo>
                    <a:lnTo>
                      <a:pt x="267" y="256"/>
                    </a:lnTo>
                    <a:lnTo>
                      <a:pt x="267" y="256"/>
                    </a:lnTo>
                    <a:lnTo>
                      <a:pt x="267" y="256"/>
                    </a:lnTo>
                    <a:lnTo>
                      <a:pt x="267" y="256"/>
                    </a:lnTo>
                    <a:lnTo>
                      <a:pt x="267" y="258"/>
                    </a:lnTo>
                    <a:lnTo>
                      <a:pt x="267" y="258"/>
                    </a:lnTo>
                    <a:lnTo>
                      <a:pt x="269" y="258"/>
                    </a:lnTo>
                    <a:lnTo>
                      <a:pt x="269" y="258"/>
                    </a:lnTo>
                    <a:lnTo>
                      <a:pt x="274" y="256"/>
                    </a:lnTo>
                    <a:lnTo>
                      <a:pt x="274" y="256"/>
                    </a:lnTo>
                    <a:lnTo>
                      <a:pt x="277" y="253"/>
                    </a:lnTo>
                    <a:lnTo>
                      <a:pt x="277" y="253"/>
                    </a:lnTo>
                    <a:lnTo>
                      <a:pt x="277" y="250"/>
                    </a:lnTo>
                    <a:lnTo>
                      <a:pt x="277" y="250"/>
                    </a:lnTo>
                    <a:lnTo>
                      <a:pt x="278" y="248"/>
                    </a:lnTo>
                    <a:lnTo>
                      <a:pt x="278" y="248"/>
                    </a:lnTo>
                    <a:lnTo>
                      <a:pt x="285" y="245"/>
                    </a:lnTo>
                    <a:lnTo>
                      <a:pt x="285" y="245"/>
                    </a:lnTo>
                    <a:lnTo>
                      <a:pt x="293" y="246"/>
                    </a:lnTo>
                    <a:lnTo>
                      <a:pt x="293" y="246"/>
                    </a:lnTo>
                    <a:lnTo>
                      <a:pt x="293" y="248"/>
                    </a:lnTo>
                    <a:lnTo>
                      <a:pt x="293" y="248"/>
                    </a:lnTo>
                    <a:lnTo>
                      <a:pt x="293" y="248"/>
                    </a:lnTo>
                    <a:lnTo>
                      <a:pt x="293" y="248"/>
                    </a:lnTo>
                    <a:lnTo>
                      <a:pt x="293" y="248"/>
                    </a:lnTo>
                    <a:lnTo>
                      <a:pt x="293" y="248"/>
                    </a:lnTo>
                    <a:lnTo>
                      <a:pt x="291" y="251"/>
                    </a:lnTo>
                    <a:lnTo>
                      <a:pt x="291" y="251"/>
                    </a:lnTo>
                    <a:lnTo>
                      <a:pt x="291" y="250"/>
                    </a:lnTo>
                    <a:lnTo>
                      <a:pt x="291" y="250"/>
                    </a:lnTo>
                    <a:lnTo>
                      <a:pt x="291" y="248"/>
                    </a:lnTo>
                    <a:lnTo>
                      <a:pt x="291" y="248"/>
                    </a:lnTo>
                    <a:lnTo>
                      <a:pt x="288" y="248"/>
                    </a:lnTo>
                    <a:lnTo>
                      <a:pt x="288" y="248"/>
                    </a:lnTo>
                    <a:lnTo>
                      <a:pt x="285" y="248"/>
                    </a:lnTo>
                    <a:lnTo>
                      <a:pt x="285" y="248"/>
                    </a:lnTo>
                    <a:lnTo>
                      <a:pt x="283" y="248"/>
                    </a:lnTo>
                    <a:lnTo>
                      <a:pt x="283" y="248"/>
                    </a:lnTo>
                    <a:lnTo>
                      <a:pt x="286" y="248"/>
                    </a:lnTo>
                    <a:lnTo>
                      <a:pt x="286" y="248"/>
                    </a:lnTo>
                    <a:lnTo>
                      <a:pt x="285" y="248"/>
                    </a:lnTo>
                    <a:lnTo>
                      <a:pt x="285" y="248"/>
                    </a:lnTo>
                    <a:lnTo>
                      <a:pt x="285" y="250"/>
                    </a:lnTo>
                    <a:lnTo>
                      <a:pt x="285" y="250"/>
                    </a:lnTo>
                    <a:lnTo>
                      <a:pt x="286" y="250"/>
                    </a:lnTo>
                    <a:lnTo>
                      <a:pt x="286" y="250"/>
                    </a:lnTo>
                    <a:lnTo>
                      <a:pt x="286" y="251"/>
                    </a:lnTo>
                    <a:lnTo>
                      <a:pt x="286" y="251"/>
                    </a:lnTo>
                    <a:lnTo>
                      <a:pt x="288" y="251"/>
                    </a:lnTo>
                    <a:lnTo>
                      <a:pt x="288" y="251"/>
                    </a:lnTo>
                    <a:lnTo>
                      <a:pt x="288" y="251"/>
                    </a:lnTo>
                    <a:lnTo>
                      <a:pt x="288" y="251"/>
                    </a:lnTo>
                    <a:lnTo>
                      <a:pt x="286" y="251"/>
                    </a:lnTo>
                    <a:lnTo>
                      <a:pt x="286" y="251"/>
                    </a:lnTo>
                    <a:lnTo>
                      <a:pt x="286" y="251"/>
                    </a:lnTo>
                    <a:lnTo>
                      <a:pt x="286" y="251"/>
                    </a:lnTo>
                    <a:lnTo>
                      <a:pt x="285" y="251"/>
                    </a:lnTo>
                    <a:lnTo>
                      <a:pt x="285" y="251"/>
                    </a:lnTo>
                    <a:lnTo>
                      <a:pt x="283" y="251"/>
                    </a:lnTo>
                    <a:lnTo>
                      <a:pt x="283" y="251"/>
                    </a:lnTo>
                    <a:lnTo>
                      <a:pt x="283" y="251"/>
                    </a:lnTo>
                    <a:lnTo>
                      <a:pt x="283" y="251"/>
                    </a:lnTo>
                    <a:lnTo>
                      <a:pt x="281" y="251"/>
                    </a:lnTo>
                    <a:lnTo>
                      <a:pt x="281" y="251"/>
                    </a:lnTo>
                    <a:lnTo>
                      <a:pt x="281" y="254"/>
                    </a:lnTo>
                    <a:lnTo>
                      <a:pt x="281" y="254"/>
                    </a:lnTo>
                    <a:lnTo>
                      <a:pt x="280" y="254"/>
                    </a:lnTo>
                    <a:lnTo>
                      <a:pt x="280" y="254"/>
                    </a:lnTo>
                    <a:lnTo>
                      <a:pt x="277" y="256"/>
                    </a:lnTo>
                    <a:lnTo>
                      <a:pt x="277" y="256"/>
                    </a:lnTo>
                    <a:close/>
                    <a:moveTo>
                      <a:pt x="308" y="292"/>
                    </a:moveTo>
                    <a:lnTo>
                      <a:pt x="308" y="292"/>
                    </a:lnTo>
                    <a:lnTo>
                      <a:pt x="302" y="292"/>
                    </a:lnTo>
                    <a:lnTo>
                      <a:pt x="302" y="292"/>
                    </a:lnTo>
                    <a:lnTo>
                      <a:pt x="302" y="291"/>
                    </a:lnTo>
                    <a:lnTo>
                      <a:pt x="302" y="291"/>
                    </a:lnTo>
                    <a:lnTo>
                      <a:pt x="301" y="292"/>
                    </a:lnTo>
                    <a:lnTo>
                      <a:pt x="301" y="292"/>
                    </a:lnTo>
                    <a:lnTo>
                      <a:pt x="299" y="294"/>
                    </a:lnTo>
                    <a:lnTo>
                      <a:pt x="299" y="294"/>
                    </a:lnTo>
                    <a:lnTo>
                      <a:pt x="293" y="294"/>
                    </a:lnTo>
                    <a:lnTo>
                      <a:pt x="293" y="294"/>
                    </a:lnTo>
                    <a:lnTo>
                      <a:pt x="293" y="292"/>
                    </a:lnTo>
                    <a:lnTo>
                      <a:pt x="293" y="292"/>
                    </a:lnTo>
                    <a:lnTo>
                      <a:pt x="288" y="296"/>
                    </a:lnTo>
                    <a:lnTo>
                      <a:pt x="288" y="296"/>
                    </a:lnTo>
                    <a:lnTo>
                      <a:pt x="286" y="296"/>
                    </a:lnTo>
                    <a:lnTo>
                      <a:pt x="286" y="296"/>
                    </a:lnTo>
                    <a:lnTo>
                      <a:pt x="286" y="297"/>
                    </a:lnTo>
                    <a:lnTo>
                      <a:pt x="286" y="297"/>
                    </a:lnTo>
                    <a:lnTo>
                      <a:pt x="286" y="299"/>
                    </a:lnTo>
                    <a:lnTo>
                      <a:pt x="286" y="299"/>
                    </a:lnTo>
                    <a:lnTo>
                      <a:pt x="285" y="299"/>
                    </a:lnTo>
                    <a:lnTo>
                      <a:pt x="285" y="299"/>
                    </a:lnTo>
                    <a:lnTo>
                      <a:pt x="285" y="299"/>
                    </a:lnTo>
                    <a:lnTo>
                      <a:pt x="285" y="299"/>
                    </a:lnTo>
                    <a:lnTo>
                      <a:pt x="283" y="299"/>
                    </a:lnTo>
                    <a:lnTo>
                      <a:pt x="283" y="299"/>
                    </a:lnTo>
                    <a:lnTo>
                      <a:pt x="281" y="299"/>
                    </a:lnTo>
                    <a:lnTo>
                      <a:pt x="281" y="299"/>
                    </a:lnTo>
                    <a:lnTo>
                      <a:pt x="281" y="297"/>
                    </a:lnTo>
                    <a:lnTo>
                      <a:pt x="281" y="297"/>
                    </a:lnTo>
                    <a:lnTo>
                      <a:pt x="283" y="297"/>
                    </a:lnTo>
                    <a:lnTo>
                      <a:pt x="283" y="297"/>
                    </a:lnTo>
                    <a:lnTo>
                      <a:pt x="283" y="296"/>
                    </a:lnTo>
                    <a:lnTo>
                      <a:pt x="283" y="296"/>
                    </a:lnTo>
                    <a:lnTo>
                      <a:pt x="283" y="294"/>
                    </a:lnTo>
                    <a:lnTo>
                      <a:pt x="283" y="294"/>
                    </a:lnTo>
                    <a:lnTo>
                      <a:pt x="285" y="292"/>
                    </a:lnTo>
                    <a:lnTo>
                      <a:pt x="285" y="292"/>
                    </a:lnTo>
                    <a:lnTo>
                      <a:pt x="286" y="292"/>
                    </a:lnTo>
                    <a:lnTo>
                      <a:pt x="286" y="292"/>
                    </a:lnTo>
                    <a:lnTo>
                      <a:pt x="289" y="289"/>
                    </a:lnTo>
                    <a:lnTo>
                      <a:pt x="289" y="289"/>
                    </a:lnTo>
                    <a:lnTo>
                      <a:pt x="289" y="286"/>
                    </a:lnTo>
                    <a:lnTo>
                      <a:pt x="289" y="286"/>
                    </a:lnTo>
                    <a:lnTo>
                      <a:pt x="291" y="286"/>
                    </a:lnTo>
                    <a:lnTo>
                      <a:pt x="291" y="286"/>
                    </a:lnTo>
                    <a:lnTo>
                      <a:pt x="293" y="286"/>
                    </a:lnTo>
                    <a:lnTo>
                      <a:pt x="293" y="286"/>
                    </a:lnTo>
                    <a:lnTo>
                      <a:pt x="293" y="286"/>
                    </a:lnTo>
                    <a:lnTo>
                      <a:pt x="293" y="286"/>
                    </a:lnTo>
                    <a:lnTo>
                      <a:pt x="291" y="285"/>
                    </a:lnTo>
                    <a:lnTo>
                      <a:pt x="291" y="285"/>
                    </a:lnTo>
                    <a:lnTo>
                      <a:pt x="293" y="285"/>
                    </a:lnTo>
                    <a:lnTo>
                      <a:pt x="293" y="285"/>
                    </a:lnTo>
                    <a:lnTo>
                      <a:pt x="293" y="283"/>
                    </a:lnTo>
                    <a:lnTo>
                      <a:pt x="293" y="283"/>
                    </a:lnTo>
                    <a:lnTo>
                      <a:pt x="294" y="283"/>
                    </a:lnTo>
                    <a:lnTo>
                      <a:pt x="294" y="283"/>
                    </a:lnTo>
                    <a:lnTo>
                      <a:pt x="294" y="285"/>
                    </a:lnTo>
                    <a:lnTo>
                      <a:pt x="294" y="285"/>
                    </a:lnTo>
                    <a:lnTo>
                      <a:pt x="296" y="283"/>
                    </a:lnTo>
                    <a:lnTo>
                      <a:pt x="296" y="283"/>
                    </a:lnTo>
                    <a:lnTo>
                      <a:pt x="296" y="285"/>
                    </a:lnTo>
                    <a:lnTo>
                      <a:pt x="296" y="285"/>
                    </a:lnTo>
                    <a:lnTo>
                      <a:pt x="296" y="286"/>
                    </a:lnTo>
                    <a:lnTo>
                      <a:pt x="296" y="286"/>
                    </a:lnTo>
                    <a:lnTo>
                      <a:pt x="296" y="286"/>
                    </a:lnTo>
                    <a:lnTo>
                      <a:pt x="296" y="286"/>
                    </a:lnTo>
                    <a:lnTo>
                      <a:pt x="293" y="286"/>
                    </a:lnTo>
                    <a:lnTo>
                      <a:pt x="293" y="286"/>
                    </a:lnTo>
                    <a:lnTo>
                      <a:pt x="293" y="288"/>
                    </a:lnTo>
                    <a:lnTo>
                      <a:pt x="293" y="288"/>
                    </a:lnTo>
                    <a:lnTo>
                      <a:pt x="293" y="289"/>
                    </a:lnTo>
                    <a:lnTo>
                      <a:pt x="293" y="289"/>
                    </a:lnTo>
                    <a:lnTo>
                      <a:pt x="294" y="288"/>
                    </a:lnTo>
                    <a:lnTo>
                      <a:pt x="294" y="288"/>
                    </a:lnTo>
                    <a:lnTo>
                      <a:pt x="296" y="288"/>
                    </a:lnTo>
                    <a:lnTo>
                      <a:pt x="296" y="288"/>
                    </a:lnTo>
                    <a:lnTo>
                      <a:pt x="296" y="289"/>
                    </a:lnTo>
                    <a:lnTo>
                      <a:pt x="296" y="289"/>
                    </a:lnTo>
                    <a:lnTo>
                      <a:pt x="296" y="289"/>
                    </a:lnTo>
                    <a:lnTo>
                      <a:pt x="296" y="289"/>
                    </a:lnTo>
                    <a:lnTo>
                      <a:pt x="296" y="289"/>
                    </a:lnTo>
                    <a:lnTo>
                      <a:pt x="296" y="289"/>
                    </a:lnTo>
                    <a:lnTo>
                      <a:pt x="296" y="291"/>
                    </a:lnTo>
                    <a:lnTo>
                      <a:pt x="296" y="291"/>
                    </a:lnTo>
                    <a:lnTo>
                      <a:pt x="296" y="291"/>
                    </a:lnTo>
                    <a:lnTo>
                      <a:pt x="296" y="291"/>
                    </a:lnTo>
                    <a:lnTo>
                      <a:pt x="297" y="289"/>
                    </a:lnTo>
                    <a:lnTo>
                      <a:pt x="297" y="289"/>
                    </a:lnTo>
                    <a:lnTo>
                      <a:pt x="301" y="289"/>
                    </a:lnTo>
                    <a:lnTo>
                      <a:pt x="301" y="289"/>
                    </a:lnTo>
                    <a:lnTo>
                      <a:pt x="302" y="289"/>
                    </a:lnTo>
                    <a:lnTo>
                      <a:pt x="302" y="289"/>
                    </a:lnTo>
                    <a:lnTo>
                      <a:pt x="302" y="289"/>
                    </a:lnTo>
                    <a:lnTo>
                      <a:pt x="302" y="289"/>
                    </a:lnTo>
                    <a:lnTo>
                      <a:pt x="302" y="291"/>
                    </a:lnTo>
                    <a:lnTo>
                      <a:pt x="302" y="291"/>
                    </a:lnTo>
                    <a:lnTo>
                      <a:pt x="308" y="291"/>
                    </a:lnTo>
                    <a:lnTo>
                      <a:pt x="308" y="292"/>
                    </a:lnTo>
                    <a:lnTo>
                      <a:pt x="308" y="292"/>
                    </a:lnTo>
                    <a:lnTo>
                      <a:pt x="308" y="292"/>
                    </a:lnTo>
                    <a:close/>
                    <a:moveTo>
                      <a:pt x="351" y="361"/>
                    </a:moveTo>
                    <a:lnTo>
                      <a:pt x="351" y="361"/>
                    </a:lnTo>
                    <a:lnTo>
                      <a:pt x="351" y="361"/>
                    </a:lnTo>
                    <a:lnTo>
                      <a:pt x="351" y="361"/>
                    </a:lnTo>
                    <a:lnTo>
                      <a:pt x="348" y="361"/>
                    </a:lnTo>
                    <a:lnTo>
                      <a:pt x="348" y="361"/>
                    </a:lnTo>
                    <a:lnTo>
                      <a:pt x="348" y="361"/>
                    </a:lnTo>
                    <a:lnTo>
                      <a:pt x="348" y="361"/>
                    </a:lnTo>
                    <a:lnTo>
                      <a:pt x="348" y="361"/>
                    </a:lnTo>
                    <a:lnTo>
                      <a:pt x="348" y="361"/>
                    </a:lnTo>
                    <a:lnTo>
                      <a:pt x="348" y="362"/>
                    </a:lnTo>
                    <a:lnTo>
                      <a:pt x="348" y="362"/>
                    </a:lnTo>
                    <a:lnTo>
                      <a:pt x="348" y="364"/>
                    </a:lnTo>
                    <a:lnTo>
                      <a:pt x="348" y="364"/>
                    </a:lnTo>
                    <a:lnTo>
                      <a:pt x="348" y="367"/>
                    </a:lnTo>
                    <a:lnTo>
                      <a:pt x="348" y="367"/>
                    </a:lnTo>
                    <a:lnTo>
                      <a:pt x="348" y="367"/>
                    </a:lnTo>
                    <a:lnTo>
                      <a:pt x="348" y="367"/>
                    </a:lnTo>
                    <a:lnTo>
                      <a:pt x="348" y="369"/>
                    </a:lnTo>
                    <a:lnTo>
                      <a:pt x="348" y="369"/>
                    </a:lnTo>
                    <a:lnTo>
                      <a:pt x="348" y="370"/>
                    </a:lnTo>
                    <a:lnTo>
                      <a:pt x="348" y="370"/>
                    </a:lnTo>
                    <a:lnTo>
                      <a:pt x="348" y="372"/>
                    </a:lnTo>
                    <a:lnTo>
                      <a:pt x="348" y="372"/>
                    </a:lnTo>
                    <a:lnTo>
                      <a:pt x="348" y="373"/>
                    </a:lnTo>
                    <a:lnTo>
                      <a:pt x="348" y="373"/>
                    </a:lnTo>
                    <a:lnTo>
                      <a:pt x="348" y="375"/>
                    </a:lnTo>
                    <a:lnTo>
                      <a:pt x="348" y="375"/>
                    </a:lnTo>
                    <a:lnTo>
                      <a:pt x="348" y="375"/>
                    </a:lnTo>
                    <a:lnTo>
                      <a:pt x="348" y="375"/>
                    </a:lnTo>
                    <a:lnTo>
                      <a:pt x="347" y="373"/>
                    </a:lnTo>
                    <a:lnTo>
                      <a:pt x="347" y="373"/>
                    </a:lnTo>
                    <a:lnTo>
                      <a:pt x="345" y="369"/>
                    </a:lnTo>
                    <a:lnTo>
                      <a:pt x="345" y="369"/>
                    </a:lnTo>
                    <a:lnTo>
                      <a:pt x="347" y="367"/>
                    </a:lnTo>
                    <a:lnTo>
                      <a:pt x="347" y="367"/>
                    </a:lnTo>
                    <a:lnTo>
                      <a:pt x="347" y="364"/>
                    </a:lnTo>
                    <a:lnTo>
                      <a:pt x="347" y="364"/>
                    </a:lnTo>
                    <a:lnTo>
                      <a:pt x="345" y="364"/>
                    </a:lnTo>
                    <a:lnTo>
                      <a:pt x="345" y="364"/>
                    </a:lnTo>
                    <a:lnTo>
                      <a:pt x="345" y="364"/>
                    </a:lnTo>
                    <a:lnTo>
                      <a:pt x="345" y="364"/>
                    </a:lnTo>
                    <a:lnTo>
                      <a:pt x="343" y="364"/>
                    </a:lnTo>
                    <a:lnTo>
                      <a:pt x="343" y="364"/>
                    </a:lnTo>
                    <a:lnTo>
                      <a:pt x="343" y="361"/>
                    </a:lnTo>
                    <a:lnTo>
                      <a:pt x="343" y="361"/>
                    </a:lnTo>
                    <a:lnTo>
                      <a:pt x="342" y="361"/>
                    </a:lnTo>
                    <a:lnTo>
                      <a:pt x="342" y="361"/>
                    </a:lnTo>
                    <a:lnTo>
                      <a:pt x="342" y="362"/>
                    </a:lnTo>
                    <a:lnTo>
                      <a:pt x="342" y="362"/>
                    </a:lnTo>
                    <a:lnTo>
                      <a:pt x="342" y="364"/>
                    </a:lnTo>
                    <a:lnTo>
                      <a:pt x="342" y="364"/>
                    </a:lnTo>
                    <a:lnTo>
                      <a:pt x="342" y="364"/>
                    </a:lnTo>
                    <a:lnTo>
                      <a:pt x="342" y="364"/>
                    </a:lnTo>
                    <a:lnTo>
                      <a:pt x="340" y="364"/>
                    </a:lnTo>
                    <a:lnTo>
                      <a:pt x="340" y="364"/>
                    </a:lnTo>
                    <a:lnTo>
                      <a:pt x="340" y="362"/>
                    </a:lnTo>
                    <a:lnTo>
                      <a:pt x="340" y="362"/>
                    </a:lnTo>
                    <a:lnTo>
                      <a:pt x="340" y="361"/>
                    </a:lnTo>
                    <a:lnTo>
                      <a:pt x="340" y="361"/>
                    </a:lnTo>
                    <a:lnTo>
                      <a:pt x="339" y="361"/>
                    </a:lnTo>
                    <a:lnTo>
                      <a:pt x="339" y="361"/>
                    </a:lnTo>
                    <a:lnTo>
                      <a:pt x="340" y="359"/>
                    </a:lnTo>
                    <a:lnTo>
                      <a:pt x="340" y="359"/>
                    </a:lnTo>
                    <a:lnTo>
                      <a:pt x="340" y="361"/>
                    </a:lnTo>
                    <a:lnTo>
                      <a:pt x="340" y="361"/>
                    </a:lnTo>
                    <a:lnTo>
                      <a:pt x="342" y="361"/>
                    </a:lnTo>
                    <a:lnTo>
                      <a:pt x="342" y="361"/>
                    </a:lnTo>
                    <a:lnTo>
                      <a:pt x="343" y="359"/>
                    </a:lnTo>
                    <a:lnTo>
                      <a:pt x="343" y="359"/>
                    </a:lnTo>
                    <a:lnTo>
                      <a:pt x="342" y="358"/>
                    </a:lnTo>
                    <a:lnTo>
                      <a:pt x="342" y="358"/>
                    </a:lnTo>
                    <a:lnTo>
                      <a:pt x="342" y="356"/>
                    </a:lnTo>
                    <a:lnTo>
                      <a:pt x="342" y="356"/>
                    </a:lnTo>
                    <a:lnTo>
                      <a:pt x="342" y="356"/>
                    </a:lnTo>
                    <a:lnTo>
                      <a:pt x="342" y="356"/>
                    </a:lnTo>
                    <a:lnTo>
                      <a:pt x="345" y="356"/>
                    </a:lnTo>
                    <a:lnTo>
                      <a:pt x="345" y="356"/>
                    </a:lnTo>
                    <a:lnTo>
                      <a:pt x="345" y="354"/>
                    </a:lnTo>
                    <a:lnTo>
                      <a:pt x="345" y="354"/>
                    </a:lnTo>
                    <a:lnTo>
                      <a:pt x="347" y="356"/>
                    </a:lnTo>
                    <a:lnTo>
                      <a:pt x="347" y="356"/>
                    </a:lnTo>
                    <a:lnTo>
                      <a:pt x="348" y="358"/>
                    </a:lnTo>
                    <a:lnTo>
                      <a:pt x="348" y="358"/>
                    </a:lnTo>
                    <a:lnTo>
                      <a:pt x="348" y="358"/>
                    </a:lnTo>
                    <a:lnTo>
                      <a:pt x="348" y="358"/>
                    </a:lnTo>
                    <a:lnTo>
                      <a:pt x="350" y="358"/>
                    </a:lnTo>
                    <a:lnTo>
                      <a:pt x="350" y="358"/>
                    </a:lnTo>
                    <a:lnTo>
                      <a:pt x="351" y="358"/>
                    </a:lnTo>
                    <a:lnTo>
                      <a:pt x="351" y="358"/>
                    </a:lnTo>
                    <a:lnTo>
                      <a:pt x="351" y="361"/>
                    </a:lnTo>
                    <a:lnTo>
                      <a:pt x="351" y="361"/>
                    </a:lnTo>
                    <a:close/>
                    <a:moveTo>
                      <a:pt x="369" y="383"/>
                    </a:moveTo>
                    <a:lnTo>
                      <a:pt x="369" y="383"/>
                    </a:lnTo>
                    <a:lnTo>
                      <a:pt x="367" y="386"/>
                    </a:lnTo>
                    <a:lnTo>
                      <a:pt x="367" y="386"/>
                    </a:lnTo>
                    <a:lnTo>
                      <a:pt x="367" y="385"/>
                    </a:lnTo>
                    <a:lnTo>
                      <a:pt x="367" y="385"/>
                    </a:lnTo>
                    <a:lnTo>
                      <a:pt x="367" y="388"/>
                    </a:lnTo>
                    <a:lnTo>
                      <a:pt x="367" y="388"/>
                    </a:lnTo>
                    <a:lnTo>
                      <a:pt x="366" y="388"/>
                    </a:lnTo>
                    <a:lnTo>
                      <a:pt x="366" y="388"/>
                    </a:lnTo>
                    <a:lnTo>
                      <a:pt x="364" y="385"/>
                    </a:lnTo>
                    <a:lnTo>
                      <a:pt x="364" y="385"/>
                    </a:lnTo>
                    <a:lnTo>
                      <a:pt x="366" y="381"/>
                    </a:lnTo>
                    <a:lnTo>
                      <a:pt x="366" y="381"/>
                    </a:lnTo>
                    <a:lnTo>
                      <a:pt x="367" y="378"/>
                    </a:lnTo>
                    <a:lnTo>
                      <a:pt x="367" y="378"/>
                    </a:lnTo>
                    <a:lnTo>
                      <a:pt x="366" y="380"/>
                    </a:lnTo>
                    <a:lnTo>
                      <a:pt x="366" y="380"/>
                    </a:lnTo>
                    <a:lnTo>
                      <a:pt x="366" y="378"/>
                    </a:lnTo>
                    <a:lnTo>
                      <a:pt x="366" y="378"/>
                    </a:lnTo>
                    <a:lnTo>
                      <a:pt x="366" y="377"/>
                    </a:lnTo>
                    <a:lnTo>
                      <a:pt x="366" y="377"/>
                    </a:lnTo>
                    <a:lnTo>
                      <a:pt x="366" y="375"/>
                    </a:lnTo>
                    <a:lnTo>
                      <a:pt x="366" y="375"/>
                    </a:lnTo>
                    <a:lnTo>
                      <a:pt x="364" y="373"/>
                    </a:lnTo>
                    <a:lnTo>
                      <a:pt x="364" y="373"/>
                    </a:lnTo>
                    <a:lnTo>
                      <a:pt x="364" y="373"/>
                    </a:lnTo>
                    <a:lnTo>
                      <a:pt x="364" y="373"/>
                    </a:lnTo>
                    <a:lnTo>
                      <a:pt x="364" y="375"/>
                    </a:lnTo>
                    <a:lnTo>
                      <a:pt x="364" y="375"/>
                    </a:lnTo>
                    <a:lnTo>
                      <a:pt x="364" y="377"/>
                    </a:lnTo>
                    <a:lnTo>
                      <a:pt x="364" y="377"/>
                    </a:lnTo>
                    <a:lnTo>
                      <a:pt x="362" y="377"/>
                    </a:lnTo>
                    <a:lnTo>
                      <a:pt x="362" y="377"/>
                    </a:lnTo>
                    <a:lnTo>
                      <a:pt x="362" y="375"/>
                    </a:lnTo>
                    <a:lnTo>
                      <a:pt x="362" y="375"/>
                    </a:lnTo>
                    <a:lnTo>
                      <a:pt x="362" y="373"/>
                    </a:lnTo>
                    <a:lnTo>
                      <a:pt x="362" y="373"/>
                    </a:lnTo>
                    <a:lnTo>
                      <a:pt x="362" y="373"/>
                    </a:lnTo>
                    <a:lnTo>
                      <a:pt x="362" y="373"/>
                    </a:lnTo>
                    <a:lnTo>
                      <a:pt x="361" y="370"/>
                    </a:lnTo>
                    <a:lnTo>
                      <a:pt x="361" y="370"/>
                    </a:lnTo>
                    <a:lnTo>
                      <a:pt x="361" y="372"/>
                    </a:lnTo>
                    <a:lnTo>
                      <a:pt x="361" y="372"/>
                    </a:lnTo>
                    <a:lnTo>
                      <a:pt x="359" y="373"/>
                    </a:lnTo>
                    <a:lnTo>
                      <a:pt x="359" y="373"/>
                    </a:lnTo>
                    <a:lnTo>
                      <a:pt x="358" y="372"/>
                    </a:lnTo>
                    <a:lnTo>
                      <a:pt x="358" y="372"/>
                    </a:lnTo>
                    <a:lnTo>
                      <a:pt x="358" y="369"/>
                    </a:lnTo>
                    <a:lnTo>
                      <a:pt x="358" y="369"/>
                    </a:lnTo>
                    <a:lnTo>
                      <a:pt x="358" y="367"/>
                    </a:lnTo>
                    <a:lnTo>
                      <a:pt x="358" y="367"/>
                    </a:lnTo>
                    <a:lnTo>
                      <a:pt x="356" y="367"/>
                    </a:lnTo>
                    <a:lnTo>
                      <a:pt x="356" y="367"/>
                    </a:lnTo>
                    <a:lnTo>
                      <a:pt x="356" y="367"/>
                    </a:lnTo>
                    <a:lnTo>
                      <a:pt x="356" y="367"/>
                    </a:lnTo>
                    <a:lnTo>
                      <a:pt x="354" y="364"/>
                    </a:lnTo>
                    <a:lnTo>
                      <a:pt x="354" y="364"/>
                    </a:lnTo>
                    <a:lnTo>
                      <a:pt x="354" y="362"/>
                    </a:lnTo>
                    <a:lnTo>
                      <a:pt x="354" y="362"/>
                    </a:lnTo>
                    <a:lnTo>
                      <a:pt x="354" y="361"/>
                    </a:lnTo>
                    <a:lnTo>
                      <a:pt x="354" y="361"/>
                    </a:lnTo>
                    <a:lnTo>
                      <a:pt x="354" y="361"/>
                    </a:lnTo>
                    <a:lnTo>
                      <a:pt x="354" y="361"/>
                    </a:lnTo>
                    <a:lnTo>
                      <a:pt x="356" y="361"/>
                    </a:lnTo>
                    <a:lnTo>
                      <a:pt x="356" y="361"/>
                    </a:lnTo>
                    <a:lnTo>
                      <a:pt x="353" y="361"/>
                    </a:lnTo>
                    <a:lnTo>
                      <a:pt x="353" y="361"/>
                    </a:lnTo>
                    <a:lnTo>
                      <a:pt x="351" y="361"/>
                    </a:lnTo>
                    <a:lnTo>
                      <a:pt x="351" y="361"/>
                    </a:lnTo>
                    <a:lnTo>
                      <a:pt x="351" y="358"/>
                    </a:lnTo>
                    <a:lnTo>
                      <a:pt x="351" y="358"/>
                    </a:lnTo>
                    <a:lnTo>
                      <a:pt x="351" y="356"/>
                    </a:lnTo>
                    <a:lnTo>
                      <a:pt x="351" y="356"/>
                    </a:lnTo>
                    <a:lnTo>
                      <a:pt x="353" y="354"/>
                    </a:lnTo>
                    <a:lnTo>
                      <a:pt x="353" y="354"/>
                    </a:lnTo>
                    <a:lnTo>
                      <a:pt x="353" y="353"/>
                    </a:lnTo>
                    <a:lnTo>
                      <a:pt x="353" y="353"/>
                    </a:lnTo>
                    <a:lnTo>
                      <a:pt x="354" y="353"/>
                    </a:lnTo>
                    <a:lnTo>
                      <a:pt x="354" y="353"/>
                    </a:lnTo>
                    <a:lnTo>
                      <a:pt x="358" y="354"/>
                    </a:lnTo>
                    <a:lnTo>
                      <a:pt x="358" y="354"/>
                    </a:lnTo>
                    <a:lnTo>
                      <a:pt x="358" y="354"/>
                    </a:lnTo>
                    <a:lnTo>
                      <a:pt x="358" y="354"/>
                    </a:lnTo>
                    <a:lnTo>
                      <a:pt x="358" y="353"/>
                    </a:lnTo>
                    <a:lnTo>
                      <a:pt x="358" y="353"/>
                    </a:lnTo>
                    <a:lnTo>
                      <a:pt x="358" y="351"/>
                    </a:lnTo>
                    <a:lnTo>
                      <a:pt x="358" y="351"/>
                    </a:lnTo>
                    <a:lnTo>
                      <a:pt x="358" y="351"/>
                    </a:lnTo>
                    <a:lnTo>
                      <a:pt x="358" y="351"/>
                    </a:lnTo>
                    <a:lnTo>
                      <a:pt x="358" y="348"/>
                    </a:lnTo>
                    <a:lnTo>
                      <a:pt x="358" y="348"/>
                    </a:lnTo>
                    <a:lnTo>
                      <a:pt x="358" y="350"/>
                    </a:lnTo>
                    <a:lnTo>
                      <a:pt x="358" y="350"/>
                    </a:lnTo>
                    <a:lnTo>
                      <a:pt x="358" y="348"/>
                    </a:lnTo>
                    <a:lnTo>
                      <a:pt x="358" y="348"/>
                    </a:lnTo>
                    <a:lnTo>
                      <a:pt x="358" y="348"/>
                    </a:lnTo>
                    <a:lnTo>
                      <a:pt x="358" y="348"/>
                    </a:lnTo>
                    <a:lnTo>
                      <a:pt x="356" y="348"/>
                    </a:lnTo>
                    <a:lnTo>
                      <a:pt x="356" y="348"/>
                    </a:lnTo>
                    <a:lnTo>
                      <a:pt x="354" y="348"/>
                    </a:lnTo>
                    <a:lnTo>
                      <a:pt x="354" y="348"/>
                    </a:lnTo>
                    <a:lnTo>
                      <a:pt x="356" y="346"/>
                    </a:lnTo>
                    <a:lnTo>
                      <a:pt x="356" y="346"/>
                    </a:lnTo>
                    <a:lnTo>
                      <a:pt x="358" y="346"/>
                    </a:lnTo>
                    <a:lnTo>
                      <a:pt x="358" y="346"/>
                    </a:lnTo>
                    <a:lnTo>
                      <a:pt x="358" y="346"/>
                    </a:lnTo>
                    <a:lnTo>
                      <a:pt x="358" y="346"/>
                    </a:lnTo>
                    <a:lnTo>
                      <a:pt x="358" y="348"/>
                    </a:lnTo>
                    <a:lnTo>
                      <a:pt x="358" y="348"/>
                    </a:lnTo>
                    <a:lnTo>
                      <a:pt x="359" y="348"/>
                    </a:lnTo>
                    <a:lnTo>
                      <a:pt x="359" y="348"/>
                    </a:lnTo>
                    <a:lnTo>
                      <a:pt x="359" y="348"/>
                    </a:lnTo>
                    <a:lnTo>
                      <a:pt x="359" y="348"/>
                    </a:lnTo>
                    <a:lnTo>
                      <a:pt x="358" y="350"/>
                    </a:lnTo>
                    <a:lnTo>
                      <a:pt x="358" y="350"/>
                    </a:lnTo>
                    <a:lnTo>
                      <a:pt x="358" y="351"/>
                    </a:lnTo>
                    <a:lnTo>
                      <a:pt x="358" y="351"/>
                    </a:lnTo>
                    <a:lnTo>
                      <a:pt x="359" y="350"/>
                    </a:lnTo>
                    <a:lnTo>
                      <a:pt x="359" y="350"/>
                    </a:lnTo>
                    <a:lnTo>
                      <a:pt x="361" y="350"/>
                    </a:lnTo>
                    <a:lnTo>
                      <a:pt x="361" y="350"/>
                    </a:lnTo>
                    <a:lnTo>
                      <a:pt x="361" y="351"/>
                    </a:lnTo>
                    <a:lnTo>
                      <a:pt x="361" y="351"/>
                    </a:lnTo>
                    <a:lnTo>
                      <a:pt x="361" y="351"/>
                    </a:lnTo>
                    <a:lnTo>
                      <a:pt x="361" y="351"/>
                    </a:lnTo>
                    <a:lnTo>
                      <a:pt x="359" y="351"/>
                    </a:lnTo>
                    <a:lnTo>
                      <a:pt x="359" y="351"/>
                    </a:lnTo>
                    <a:lnTo>
                      <a:pt x="361" y="354"/>
                    </a:lnTo>
                    <a:lnTo>
                      <a:pt x="361" y="354"/>
                    </a:lnTo>
                    <a:lnTo>
                      <a:pt x="361" y="356"/>
                    </a:lnTo>
                    <a:lnTo>
                      <a:pt x="361" y="356"/>
                    </a:lnTo>
                    <a:lnTo>
                      <a:pt x="361" y="359"/>
                    </a:lnTo>
                    <a:lnTo>
                      <a:pt x="361" y="359"/>
                    </a:lnTo>
                    <a:lnTo>
                      <a:pt x="362" y="361"/>
                    </a:lnTo>
                    <a:lnTo>
                      <a:pt x="362" y="361"/>
                    </a:lnTo>
                    <a:lnTo>
                      <a:pt x="362" y="362"/>
                    </a:lnTo>
                    <a:lnTo>
                      <a:pt x="362" y="362"/>
                    </a:lnTo>
                    <a:lnTo>
                      <a:pt x="362" y="364"/>
                    </a:lnTo>
                    <a:lnTo>
                      <a:pt x="362" y="364"/>
                    </a:lnTo>
                    <a:lnTo>
                      <a:pt x="364" y="367"/>
                    </a:lnTo>
                    <a:lnTo>
                      <a:pt x="364" y="367"/>
                    </a:lnTo>
                    <a:lnTo>
                      <a:pt x="364" y="370"/>
                    </a:lnTo>
                    <a:lnTo>
                      <a:pt x="364" y="370"/>
                    </a:lnTo>
                    <a:lnTo>
                      <a:pt x="366" y="372"/>
                    </a:lnTo>
                    <a:lnTo>
                      <a:pt x="366" y="372"/>
                    </a:lnTo>
                    <a:lnTo>
                      <a:pt x="366" y="373"/>
                    </a:lnTo>
                    <a:lnTo>
                      <a:pt x="366" y="373"/>
                    </a:lnTo>
                    <a:lnTo>
                      <a:pt x="369" y="380"/>
                    </a:lnTo>
                    <a:lnTo>
                      <a:pt x="369" y="380"/>
                    </a:lnTo>
                    <a:lnTo>
                      <a:pt x="367" y="380"/>
                    </a:lnTo>
                    <a:lnTo>
                      <a:pt x="367" y="380"/>
                    </a:lnTo>
                    <a:lnTo>
                      <a:pt x="367" y="381"/>
                    </a:lnTo>
                    <a:lnTo>
                      <a:pt x="367" y="381"/>
                    </a:lnTo>
                    <a:lnTo>
                      <a:pt x="369" y="383"/>
                    </a:lnTo>
                    <a:lnTo>
                      <a:pt x="369" y="383"/>
                    </a:lnTo>
                    <a:close/>
                    <a:moveTo>
                      <a:pt x="39" y="351"/>
                    </a:moveTo>
                    <a:lnTo>
                      <a:pt x="39" y="351"/>
                    </a:lnTo>
                    <a:lnTo>
                      <a:pt x="37" y="348"/>
                    </a:lnTo>
                    <a:lnTo>
                      <a:pt x="37" y="348"/>
                    </a:lnTo>
                    <a:lnTo>
                      <a:pt x="35" y="348"/>
                    </a:lnTo>
                    <a:lnTo>
                      <a:pt x="35" y="348"/>
                    </a:lnTo>
                    <a:lnTo>
                      <a:pt x="35" y="348"/>
                    </a:lnTo>
                    <a:lnTo>
                      <a:pt x="35" y="348"/>
                    </a:lnTo>
                    <a:lnTo>
                      <a:pt x="34" y="351"/>
                    </a:lnTo>
                    <a:lnTo>
                      <a:pt x="34" y="351"/>
                    </a:lnTo>
                    <a:lnTo>
                      <a:pt x="35" y="351"/>
                    </a:lnTo>
                    <a:lnTo>
                      <a:pt x="35" y="351"/>
                    </a:lnTo>
                    <a:lnTo>
                      <a:pt x="35" y="356"/>
                    </a:lnTo>
                    <a:lnTo>
                      <a:pt x="35" y="356"/>
                    </a:lnTo>
                    <a:lnTo>
                      <a:pt x="39" y="354"/>
                    </a:lnTo>
                    <a:lnTo>
                      <a:pt x="39" y="354"/>
                    </a:lnTo>
                    <a:lnTo>
                      <a:pt x="37" y="354"/>
                    </a:lnTo>
                    <a:lnTo>
                      <a:pt x="37" y="354"/>
                    </a:lnTo>
                    <a:lnTo>
                      <a:pt x="39" y="354"/>
                    </a:lnTo>
                    <a:lnTo>
                      <a:pt x="39" y="351"/>
                    </a:lnTo>
                    <a:lnTo>
                      <a:pt x="39" y="351"/>
                    </a:lnTo>
                    <a:lnTo>
                      <a:pt x="39" y="351"/>
                    </a:lnTo>
                    <a:close/>
                    <a:moveTo>
                      <a:pt x="669" y="219"/>
                    </a:moveTo>
                    <a:lnTo>
                      <a:pt x="669" y="219"/>
                    </a:lnTo>
                    <a:lnTo>
                      <a:pt x="669" y="223"/>
                    </a:lnTo>
                    <a:lnTo>
                      <a:pt x="669" y="223"/>
                    </a:lnTo>
                    <a:lnTo>
                      <a:pt x="672" y="226"/>
                    </a:lnTo>
                    <a:lnTo>
                      <a:pt x="672" y="226"/>
                    </a:lnTo>
                    <a:lnTo>
                      <a:pt x="672" y="226"/>
                    </a:lnTo>
                    <a:lnTo>
                      <a:pt x="672" y="226"/>
                    </a:lnTo>
                    <a:lnTo>
                      <a:pt x="675" y="226"/>
                    </a:lnTo>
                    <a:lnTo>
                      <a:pt x="675" y="226"/>
                    </a:lnTo>
                    <a:lnTo>
                      <a:pt x="677" y="223"/>
                    </a:lnTo>
                    <a:lnTo>
                      <a:pt x="677" y="223"/>
                    </a:lnTo>
                    <a:lnTo>
                      <a:pt x="675" y="223"/>
                    </a:lnTo>
                    <a:lnTo>
                      <a:pt x="675" y="223"/>
                    </a:lnTo>
                    <a:lnTo>
                      <a:pt x="672" y="219"/>
                    </a:lnTo>
                    <a:lnTo>
                      <a:pt x="669" y="219"/>
                    </a:lnTo>
                    <a:lnTo>
                      <a:pt x="669" y="219"/>
                    </a:lnTo>
                    <a:lnTo>
                      <a:pt x="669" y="219"/>
                    </a:lnTo>
                    <a:close/>
                    <a:moveTo>
                      <a:pt x="602" y="319"/>
                    </a:moveTo>
                    <a:lnTo>
                      <a:pt x="602" y="319"/>
                    </a:lnTo>
                    <a:lnTo>
                      <a:pt x="605" y="316"/>
                    </a:lnTo>
                    <a:lnTo>
                      <a:pt x="605" y="316"/>
                    </a:lnTo>
                    <a:lnTo>
                      <a:pt x="605" y="313"/>
                    </a:lnTo>
                    <a:lnTo>
                      <a:pt x="605" y="313"/>
                    </a:lnTo>
                    <a:lnTo>
                      <a:pt x="605" y="313"/>
                    </a:lnTo>
                    <a:lnTo>
                      <a:pt x="605" y="313"/>
                    </a:lnTo>
                    <a:lnTo>
                      <a:pt x="605" y="310"/>
                    </a:lnTo>
                    <a:lnTo>
                      <a:pt x="605" y="310"/>
                    </a:lnTo>
                    <a:lnTo>
                      <a:pt x="605" y="308"/>
                    </a:lnTo>
                    <a:lnTo>
                      <a:pt x="605" y="308"/>
                    </a:lnTo>
                    <a:lnTo>
                      <a:pt x="596" y="316"/>
                    </a:lnTo>
                    <a:lnTo>
                      <a:pt x="596" y="316"/>
                    </a:lnTo>
                    <a:lnTo>
                      <a:pt x="599" y="313"/>
                    </a:lnTo>
                    <a:lnTo>
                      <a:pt x="599" y="313"/>
                    </a:lnTo>
                    <a:lnTo>
                      <a:pt x="602" y="310"/>
                    </a:lnTo>
                    <a:lnTo>
                      <a:pt x="602" y="310"/>
                    </a:lnTo>
                    <a:lnTo>
                      <a:pt x="593" y="316"/>
                    </a:lnTo>
                    <a:lnTo>
                      <a:pt x="593" y="316"/>
                    </a:lnTo>
                    <a:lnTo>
                      <a:pt x="589" y="319"/>
                    </a:lnTo>
                    <a:lnTo>
                      <a:pt x="589" y="319"/>
                    </a:lnTo>
                    <a:lnTo>
                      <a:pt x="586" y="323"/>
                    </a:lnTo>
                    <a:lnTo>
                      <a:pt x="586" y="323"/>
                    </a:lnTo>
                    <a:lnTo>
                      <a:pt x="588" y="323"/>
                    </a:lnTo>
                    <a:lnTo>
                      <a:pt x="588" y="323"/>
                    </a:lnTo>
                    <a:lnTo>
                      <a:pt x="591" y="323"/>
                    </a:lnTo>
                    <a:lnTo>
                      <a:pt x="591" y="323"/>
                    </a:lnTo>
                    <a:lnTo>
                      <a:pt x="589" y="324"/>
                    </a:lnTo>
                    <a:lnTo>
                      <a:pt x="589" y="324"/>
                    </a:lnTo>
                    <a:lnTo>
                      <a:pt x="591" y="324"/>
                    </a:lnTo>
                    <a:lnTo>
                      <a:pt x="591" y="324"/>
                    </a:lnTo>
                    <a:lnTo>
                      <a:pt x="593" y="323"/>
                    </a:lnTo>
                    <a:lnTo>
                      <a:pt x="593" y="323"/>
                    </a:lnTo>
                    <a:lnTo>
                      <a:pt x="596" y="319"/>
                    </a:lnTo>
                    <a:lnTo>
                      <a:pt x="596" y="319"/>
                    </a:lnTo>
                    <a:lnTo>
                      <a:pt x="599" y="316"/>
                    </a:lnTo>
                    <a:lnTo>
                      <a:pt x="599" y="316"/>
                    </a:lnTo>
                    <a:lnTo>
                      <a:pt x="599" y="319"/>
                    </a:lnTo>
                    <a:lnTo>
                      <a:pt x="599" y="319"/>
                    </a:lnTo>
                    <a:lnTo>
                      <a:pt x="596" y="323"/>
                    </a:lnTo>
                    <a:lnTo>
                      <a:pt x="596" y="323"/>
                    </a:lnTo>
                    <a:lnTo>
                      <a:pt x="602" y="319"/>
                    </a:lnTo>
                    <a:lnTo>
                      <a:pt x="602" y="319"/>
                    </a:lnTo>
                    <a:lnTo>
                      <a:pt x="599" y="323"/>
                    </a:lnTo>
                    <a:lnTo>
                      <a:pt x="602" y="319"/>
                    </a:lnTo>
                    <a:lnTo>
                      <a:pt x="602" y="319"/>
                    </a:lnTo>
                    <a:lnTo>
                      <a:pt x="602" y="319"/>
                    </a:lnTo>
                    <a:close/>
                    <a:moveTo>
                      <a:pt x="631" y="192"/>
                    </a:moveTo>
                    <a:lnTo>
                      <a:pt x="631" y="192"/>
                    </a:lnTo>
                    <a:lnTo>
                      <a:pt x="631" y="189"/>
                    </a:lnTo>
                    <a:lnTo>
                      <a:pt x="631" y="189"/>
                    </a:lnTo>
                    <a:lnTo>
                      <a:pt x="628" y="189"/>
                    </a:lnTo>
                    <a:lnTo>
                      <a:pt x="628" y="189"/>
                    </a:lnTo>
                    <a:lnTo>
                      <a:pt x="628" y="191"/>
                    </a:lnTo>
                    <a:lnTo>
                      <a:pt x="628" y="191"/>
                    </a:lnTo>
                    <a:lnTo>
                      <a:pt x="628" y="192"/>
                    </a:lnTo>
                    <a:lnTo>
                      <a:pt x="628" y="192"/>
                    </a:lnTo>
                    <a:lnTo>
                      <a:pt x="628" y="194"/>
                    </a:lnTo>
                    <a:lnTo>
                      <a:pt x="628" y="194"/>
                    </a:lnTo>
                    <a:lnTo>
                      <a:pt x="628" y="194"/>
                    </a:lnTo>
                    <a:lnTo>
                      <a:pt x="631" y="192"/>
                    </a:lnTo>
                    <a:lnTo>
                      <a:pt x="631" y="192"/>
                    </a:lnTo>
                    <a:lnTo>
                      <a:pt x="631" y="192"/>
                    </a:lnTo>
                    <a:close/>
                    <a:moveTo>
                      <a:pt x="653" y="216"/>
                    </a:moveTo>
                    <a:lnTo>
                      <a:pt x="653" y="216"/>
                    </a:lnTo>
                    <a:lnTo>
                      <a:pt x="651" y="216"/>
                    </a:lnTo>
                    <a:lnTo>
                      <a:pt x="651" y="216"/>
                    </a:lnTo>
                    <a:lnTo>
                      <a:pt x="653" y="215"/>
                    </a:lnTo>
                    <a:lnTo>
                      <a:pt x="653" y="215"/>
                    </a:lnTo>
                    <a:lnTo>
                      <a:pt x="651" y="213"/>
                    </a:lnTo>
                    <a:lnTo>
                      <a:pt x="651" y="213"/>
                    </a:lnTo>
                    <a:lnTo>
                      <a:pt x="648" y="213"/>
                    </a:lnTo>
                    <a:lnTo>
                      <a:pt x="648" y="213"/>
                    </a:lnTo>
                    <a:lnTo>
                      <a:pt x="640" y="215"/>
                    </a:lnTo>
                    <a:lnTo>
                      <a:pt x="640" y="215"/>
                    </a:lnTo>
                    <a:lnTo>
                      <a:pt x="640" y="213"/>
                    </a:lnTo>
                    <a:lnTo>
                      <a:pt x="640" y="213"/>
                    </a:lnTo>
                    <a:lnTo>
                      <a:pt x="642" y="213"/>
                    </a:lnTo>
                    <a:lnTo>
                      <a:pt x="642" y="213"/>
                    </a:lnTo>
                    <a:lnTo>
                      <a:pt x="643" y="212"/>
                    </a:lnTo>
                    <a:lnTo>
                      <a:pt x="643" y="212"/>
                    </a:lnTo>
                    <a:lnTo>
                      <a:pt x="643" y="210"/>
                    </a:lnTo>
                    <a:lnTo>
                      <a:pt x="643" y="210"/>
                    </a:lnTo>
                    <a:lnTo>
                      <a:pt x="645" y="208"/>
                    </a:lnTo>
                    <a:lnTo>
                      <a:pt x="645" y="208"/>
                    </a:lnTo>
                    <a:lnTo>
                      <a:pt x="645" y="207"/>
                    </a:lnTo>
                    <a:lnTo>
                      <a:pt x="645" y="207"/>
                    </a:lnTo>
                    <a:lnTo>
                      <a:pt x="645" y="205"/>
                    </a:lnTo>
                    <a:lnTo>
                      <a:pt x="645" y="205"/>
                    </a:lnTo>
                    <a:lnTo>
                      <a:pt x="643" y="204"/>
                    </a:lnTo>
                    <a:lnTo>
                      <a:pt x="643" y="204"/>
                    </a:lnTo>
                    <a:lnTo>
                      <a:pt x="640" y="204"/>
                    </a:lnTo>
                    <a:lnTo>
                      <a:pt x="640" y="204"/>
                    </a:lnTo>
                    <a:lnTo>
                      <a:pt x="637" y="202"/>
                    </a:lnTo>
                    <a:lnTo>
                      <a:pt x="637" y="202"/>
                    </a:lnTo>
                    <a:lnTo>
                      <a:pt x="637" y="200"/>
                    </a:lnTo>
                    <a:lnTo>
                      <a:pt x="637" y="200"/>
                    </a:lnTo>
                    <a:lnTo>
                      <a:pt x="637" y="199"/>
                    </a:lnTo>
                    <a:lnTo>
                      <a:pt x="637" y="199"/>
                    </a:lnTo>
                    <a:lnTo>
                      <a:pt x="631" y="197"/>
                    </a:lnTo>
                    <a:lnTo>
                      <a:pt x="631" y="197"/>
                    </a:lnTo>
                    <a:lnTo>
                      <a:pt x="631" y="197"/>
                    </a:lnTo>
                    <a:lnTo>
                      <a:pt x="631" y="197"/>
                    </a:lnTo>
                    <a:lnTo>
                      <a:pt x="628" y="194"/>
                    </a:lnTo>
                    <a:lnTo>
                      <a:pt x="628" y="194"/>
                    </a:lnTo>
                    <a:lnTo>
                      <a:pt x="626" y="197"/>
                    </a:lnTo>
                    <a:lnTo>
                      <a:pt x="626" y="197"/>
                    </a:lnTo>
                    <a:lnTo>
                      <a:pt x="623" y="197"/>
                    </a:lnTo>
                    <a:lnTo>
                      <a:pt x="623" y="197"/>
                    </a:lnTo>
                    <a:lnTo>
                      <a:pt x="623" y="197"/>
                    </a:lnTo>
                    <a:lnTo>
                      <a:pt x="623" y="197"/>
                    </a:lnTo>
                    <a:lnTo>
                      <a:pt x="623" y="194"/>
                    </a:lnTo>
                    <a:lnTo>
                      <a:pt x="623" y="194"/>
                    </a:lnTo>
                    <a:lnTo>
                      <a:pt x="624" y="194"/>
                    </a:lnTo>
                    <a:lnTo>
                      <a:pt x="624" y="194"/>
                    </a:lnTo>
                    <a:lnTo>
                      <a:pt x="626" y="192"/>
                    </a:lnTo>
                    <a:lnTo>
                      <a:pt x="626" y="192"/>
                    </a:lnTo>
                    <a:lnTo>
                      <a:pt x="623" y="192"/>
                    </a:lnTo>
                    <a:lnTo>
                      <a:pt x="623" y="192"/>
                    </a:lnTo>
                    <a:lnTo>
                      <a:pt x="624" y="191"/>
                    </a:lnTo>
                    <a:lnTo>
                      <a:pt x="624" y="191"/>
                    </a:lnTo>
                    <a:lnTo>
                      <a:pt x="623" y="191"/>
                    </a:lnTo>
                    <a:lnTo>
                      <a:pt x="623" y="191"/>
                    </a:lnTo>
                    <a:lnTo>
                      <a:pt x="620" y="191"/>
                    </a:lnTo>
                    <a:lnTo>
                      <a:pt x="620" y="191"/>
                    </a:lnTo>
                    <a:lnTo>
                      <a:pt x="613" y="194"/>
                    </a:lnTo>
                    <a:lnTo>
                      <a:pt x="613" y="194"/>
                    </a:lnTo>
                    <a:lnTo>
                      <a:pt x="605" y="204"/>
                    </a:lnTo>
                    <a:lnTo>
                      <a:pt x="605" y="204"/>
                    </a:lnTo>
                    <a:lnTo>
                      <a:pt x="599" y="208"/>
                    </a:lnTo>
                    <a:lnTo>
                      <a:pt x="599" y="208"/>
                    </a:lnTo>
                    <a:lnTo>
                      <a:pt x="599" y="212"/>
                    </a:lnTo>
                    <a:lnTo>
                      <a:pt x="599" y="212"/>
                    </a:lnTo>
                    <a:lnTo>
                      <a:pt x="599" y="213"/>
                    </a:lnTo>
                    <a:lnTo>
                      <a:pt x="599" y="213"/>
                    </a:lnTo>
                    <a:lnTo>
                      <a:pt x="599" y="213"/>
                    </a:lnTo>
                    <a:lnTo>
                      <a:pt x="599" y="213"/>
                    </a:lnTo>
                    <a:lnTo>
                      <a:pt x="591" y="215"/>
                    </a:lnTo>
                    <a:lnTo>
                      <a:pt x="591" y="215"/>
                    </a:lnTo>
                    <a:lnTo>
                      <a:pt x="588" y="216"/>
                    </a:lnTo>
                    <a:lnTo>
                      <a:pt x="588" y="216"/>
                    </a:lnTo>
                    <a:lnTo>
                      <a:pt x="585" y="219"/>
                    </a:lnTo>
                    <a:lnTo>
                      <a:pt x="585" y="219"/>
                    </a:lnTo>
                    <a:lnTo>
                      <a:pt x="586" y="219"/>
                    </a:lnTo>
                    <a:lnTo>
                      <a:pt x="586" y="219"/>
                    </a:lnTo>
                    <a:lnTo>
                      <a:pt x="588" y="219"/>
                    </a:lnTo>
                    <a:lnTo>
                      <a:pt x="588" y="219"/>
                    </a:lnTo>
                    <a:lnTo>
                      <a:pt x="591" y="219"/>
                    </a:lnTo>
                    <a:lnTo>
                      <a:pt x="591" y="219"/>
                    </a:lnTo>
                    <a:lnTo>
                      <a:pt x="596" y="218"/>
                    </a:lnTo>
                    <a:lnTo>
                      <a:pt x="596" y="218"/>
                    </a:lnTo>
                    <a:lnTo>
                      <a:pt x="602" y="218"/>
                    </a:lnTo>
                    <a:lnTo>
                      <a:pt x="602" y="218"/>
                    </a:lnTo>
                    <a:lnTo>
                      <a:pt x="599" y="219"/>
                    </a:lnTo>
                    <a:lnTo>
                      <a:pt x="599" y="219"/>
                    </a:lnTo>
                    <a:lnTo>
                      <a:pt x="599" y="219"/>
                    </a:lnTo>
                    <a:lnTo>
                      <a:pt x="599" y="219"/>
                    </a:lnTo>
                    <a:lnTo>
                      <a:pt x="596" y="223"/>
                    </a:lnTo>
                    <a:lnTo>
                      <a:pt x="596" y="223"/>
                    </a:lnTo>
                    <a:lnTo>
                      <a:pt x="596" y="226"/>
                    </a:lnTo>
                    <a:lnTo>
                      <a:pt x="596" y="226"/>
                    </a:lnTo>
                    <a:lnTo>
                      <a:pt x="599" y="226"/>
                    </a:lnTo>
                    <a:lnTo>
                      <a:pt x="599" y="226"/>
                    </a:lnTo>
                    <a:lnTo>
                      <a:pt x="602" y="226"/>
                    </a:lnTo>
                    <a:lnTo>
                      <a:pt x="602" y="226"/>
                    </a:lnTo>
                    <a:lnTo>
                      <a:pt x="607" y="223"/>
                    </a:lnTo>
                    <a:lnTo>
                      <a:pt x="607" y="223"/>
                    </a:lnTo>
                    <a:lnTo>
                      <a:pt x="613" y="219"/>
                    </a:lnTo>
                    <a:lnTo>
                      <a:pt x="613" y="219"/>
                    </a:lnTo>
                    <a:lnTo>
                      <a:pt x="620" y="218"/>
                    </a:lnTo>
                    <a:lnTo>
                      <a:pt x="620" y="218"/>
                    </a:lnTo>
                    <a:lnTo>
                      <a:pt x="623" y="215"/>
                    </a:lnTo>
                    <a:lnTo>
                      <a:pt x="623" y="215"/>
                    </a:lnTo>
                    <a:lnTo>
                      <a:pt x="624" y="213"/>
                    </a:lnTo>
                    <a:lnTo>
                      <a:pt x="624" y="213"/>
                    </a:lnTo>
                    <a:lnTo>
                      <a:pt x="631" y="212"/>
                    </a:lnTo>
                    <a:lnTo>
                      <a:pt x="631" y="212"/>
                    </a:lnTo>
                    <a:lnTo>
                      <a:pt x="631" y="213"/>
                    </a:lnTo>
                    <a:lnTo>
                      <a:pt x="631" y="213"/>
                    </a:lnTo>
                    <a:lnTo>
                      <a:pt x="628" y="213"/>
                    </a:lnTo>
                    <a:lnTo>
                      <a:pt x="628" y="213"/>
                    </a:lnTo>
                    <a:lnTo>
                      <a:pt x="631" y="215"/>
                    </a:lnTo>
                    <a:lnTo>
                      <a:pt x="631" y="215"/>
                    </a:lnTo>
                    <a:lnTo>
                      <a:pt x="634" y="215"/>
                    </a:lnTo>
                    <a:lnTo>
                      <a:pt x="634" y="215"/>
                    </a:lnTo>
                    <a:lnTo>
                      <a:pt x="634" y="216"/>
                    </a:lnTo>
                    <a:lnTo>
                      <a:pt x="634" y="216"/>
                    </a:lnTo>
                    <a:lnTo>
                      <a:pt x="634" y="216"/>
                    </a:lnTo>
                    <a:lnTo>
                      <a:pt x="634" y="216"/>
                    </a:lnTo>
                    <a:lnTo>
                      <a:pt x="631" y="218"/>
                    </a:lnTo>
                    <a:lnTo>
                      <a:pt x="631" y="218"/>
                    </a:lnTo>
                    <a:lnTo>
                      <a:pt x="634" y="218"/>
                    </a:lnTo>
                    <a:lnTo>
                      <a:pt x="634" y="218"/>
                    </a:lnTo>
                    <a:lnTo>
                      <a:pt x="639" y="219"/>
                    </a:lnTo>
                    <a:lnTo>
                      <a:pt x="639" y="219"/>
                    </a:lnTo>
                    <a:lnTo>
                      <a:pt x="643" y="219"/>
                    </a:lnTo>
                    <a:lnTo>
                      <a:pt x="643" y="219"/>
                    </a:lnTo>
                    <a:lnTo>
                      <a:pt x="647" y="219"/>
                    </a:lnTo>
                    <a:lnTo>
                      <a:pt x="647" y="219"/>
                    </a:lnTo>
                    <a:lnTo>
                      <a:pt x="655" y="218"/>
                    </a:lnTo>
                    <a:lnTo>
                      <a:pt x="653" y="216"/>
                    </a:lnTo>
                    <a:lnTo>
                      <a:pt x="653" y="216"/>
                    </a:lnTo>
                    <a:lnTo>
                      <a:pt x="653" y="216"/>
                    </a:lnTo>
                    <a:close/>
                    <a:moveTo>
                      <a:pt x="739" y="232"/>
                    </a:moveTo>
                    <a:lnTo>
                      <a:pt x="739" y="232"/>
                    </a:lnTo>
                    <a:lnTo>
                      <a:pt x="740" y="232"/>
                    </a:lnTo>
                    <a:lnTo>
                      <a:pt x="740" y="232"/>
                    </a:lnTo>
                    <a:lnTo>
                      <a:pt x="742" y="231"/>
                    </a:lnTo>
                    <a:lnTo>
                      <a:pt x="742" y="231"/>
                    </a:lnTo>
                    <a:lnTo>
                      <a:pt x="742" y="229"/>
                    </a:lnTo>
                    <a:lnTo>
                      <a:pt x="742" y="229"/>
                    </a:lnTo>
                    <a:lnTo>
                      <a:pt x="740" y="229"/>
                    </a:lnTo>
                    <a:lnTo>
                      <a:pt x="740" y="229"/>
                    </a:lnTo>
                    <a:lnTo>
                      <a:pt x="739" y="229"/>
                    </a:lnTo>
                    <a:lnTo>
                      <a:pt x="739" y="229"/>
                    </a:lnTo>
                    <a:lnTo>
                      <a:pt x="736" y="229"/>
                    </a:lnTo>
                    <a:lnTo>
                      <a:pt x="736" y="229"/>
                    </a:lnTo>
                    <a:lnTo>
                      <a:pt x="737" y="229"/>
                    </a:lnTo>
                    <a:lnTo>
                      <a:pt x="737" y="229"/>
                    </a:lnTo>
                    <a:lnTo>
                      <a:pt x="737" y="231"/>
                    </a:lnTo>
                    <a:lnTo>
                      <a:pt x="739" y="232"/>
                    </a:lnTo>
                    <a:lnTo>
                      <a:pt x="739" y="232"/>
                    </a:lnTo>
                    <a:lnTo>
                      <a:pt x="739" y="232"/>
                    </a:lnTo>
                    <a:close/>
                    <a:moveTo>
                      <a:pt x="640" y="189"/>
                    </a:moveTo>
                    <a:lnTo>
                      <a:pt x="640" y="189"/>
                    </a:lnTo>
                    <a:lnTo>
                      <a:pt x="639" y="189"/>
                    </a:lnTo>
                    <a:lnTo>
                      <a:pt x="639" y="189"/>
                    </a:lnTo>
                    <a:lnTo>
                      <a:pt x="637" y="188"/>
                    </a:lnTo>
                    <a:lnTo>
                      <a:pt x="637" y="188"/>
                    </a:lnTo>
                    <a:lnTo>
                      <a:pt x="637" y="188"/>
                    </a:lnTo>
                    <a:lnTo>
                      <a:pt x="637" y="188"/>
                    </a:lnTo>
                    <a:lnTo>
                      <a:pt x="634" y="189"/>
                    </a:lnTo>
                    <a:lnTo>
                      <a:pt x="634" y="189"/>
                    </a:lnTo>
                    <a:lnTo>
                      <a:pt x="637" y="189"/>
                    </a:lnTo>
                    <a:lnTo>
                      <a:pt x="637" y="189"/>
                    </a:lnTo>
                    <a:lnTo>
                      <a:pt x="637" y="191"/>
                    </a:lnTo>
                    <a:lnTo>
                      <a:pt x="637" y="191"/>
                    </a:lnTo>
                    <a:lnTo>
                      <a:pt x="637" y="192"/>
                    </a:lnTo>
                    <a:lnTo>
                      <a:pt x="637" y="192"/>
                    </a:lnTo>
                    <a:lnTo>
                      <a:pt x="639" y="192"/>
                    </a:lnTo>
                    <a:lnTo>
                      <a:pt x="639" y="192"/>
                    </a:lnTo>
                    <a:lnTo>
                      <a:pt x="637" y="194"/>
                    </a:lnTo>
                    <a:lnTo>
                      <a:pt x="637" y="194"/>
                    </a:lnTo>
                    <a:lnTo>
                      <a:pt x="640" y="194"/>
                    </a:lnTo>
                    <a:lnTo>
                      <a:pt x="640" y="194"/>
                    </a:lnTo>
                    <a:lnTo>
                      <a:pt x="642" y="194"/>
                    </a:lnTo>
                    <a:lnTo>
                      <a:pt x="642" y="194"/>
                    </a:lnTo>
                    <a:lnTo>
                      <a:pt x="642" y="192"/>
                    </a:lnTo>
                    <a:lnTo>
                      <a:pt x="642" y="192"/>
                    </a:lnTo>
                    <a:lnTo>
                      <a:pt x="639" y="191"/>
                    </a:lnTo>
                    <a:lnTo>
                      <a:pt x="639" y="191"/>
                    </a:lnTo>
                    <a:lnTo>
                      <a:pt x="640" y="191"/>
                    </a:lnTo>
                    <a:lnTo>
                      <a:pt x="640" y="189"/>
                    </a:lnTo>
                    <a:lnTo>
                      <a:pt x="640" y="189"/>
                    </a:lnTo>
                    <a:lnTo>
                      <a:pt x="640" y="189"/>
                    </a:lnTo>
                    <a:close/>
                    <a:moveTo>
                      <a:pt x="640" y="237"/>
                    </a:moveTo>
                    <a:lnTo>
                      <a:pt x="640" y="237"/>
                    </a:lnTo>
                    <a:lnTo>
                      <a:pt x="637" y="242"/>
                    </a:lnTo>
                    <a:lnTo>
                      <a:pt x="637" y="242"/>
                    </a:lnTo>
                    <a:lnTo>
                      <a:pt x="637" y="243"/>
                    </a:lnTo>
                    <a:lnTo>
                      <a:pt x="637" y="243"/>
                    </a:lnTo>
                    <a:lnTo>
                      <a:pt x="639" y="245"/>
                    </a:lnTo>
                    <a:lnTo>
                      <a:pt x="639" y="245"/>
                    </a:lnTo>
                    <a:lnTo>
                      <a:pt x="642" y="243"/>
                    </a:lnTo>
                    <a:lnTo>
                      <a:pt x="642" y="243"/>
                    </a:lnTo>
                    <a:lnTo>
                      <a:pt x="647" y="240"/>
                    </a:lnTo>
                    <a:lnTo>
                      <a:pt x="647" y="240"/>
                    </a:lnTo>
                    <a:lnTo>
                      <a:pt x="650" y="237"/>
                    </a:lnTo>
                    <a:lnTo>
                      <a:pt x="650" y="237"/>
                    </a:lnTo>
                    <a:lnTo>
                      <a:pt x="650" y="235"/>
                    </a:lnTo>
                    <a:lnTo>
                      <a:pt x="650" y="235"/>
                    </a:lnTo>
                    <a:lnTo>
                      <a:pt x="648" y="234"/>
                    </a:lnTo>
                    <a:lnTo>
                      <a:pt x="648" y="234"/>
                    </a:lnTo>
                    <a:lnTo>
                      <a:pt x="645" y="235"/>
                    </a:lnTo>
                    <a:lnTo>
                      <a:pt x="640" y="237"/>
                    </a:lnTo>
                    <a:lnTo>
                      <a:pt x="640" y="237"/>
                    </a:lnTo>
                    <a:lnTo>
                      <a:pt x="640" y="237"/>
                    </a:lnTo>
                    <a:close/>
                    <a:moveTo>
                      <a:pt x="675" y="51"/>
                    </a:moveTo>
                    <a:lnTo>
                      <a:pt x="675" y="51"/>
                    </a:lnTo>
                    <a:lnTo>
                      <a:pt x="669" y="51"/>
                    </a:lnTo>
                    <a:lnTo>
                      <a:pt x="669" y="51"/>
                    </a:lnTo>
                    <a:lnTo>
                      <a:pt x="666" y="51"/>
                    </a:lnTo>
                    <a:lnTo>
                      <a:pt x="666" y="51"/>
                    </a:lnTo>
                    <a:lnTo>
                      <a:pt x="663" y="53"/>
                    </a:lnTo>
                    <a:lnTo>
                      <a:pt x="663" y="53"/>
                    </a:lnTo>
                    <a:lnTo>
                      <a:pt x="666" y="54"/>
                    </a:lnTo>
                    <a:lnTo>
                      <a:pt x="666" y="54"/>
                    </a:lnTo>
                    <a:lnTo>
                      <a:pt x="669" y="54"/>
                    </a:lnTo>
                    <a:lnTo>
                      <a:pt x="669" y="54"/>
                    </a:lnTo>
                    <a:lnTo>
                      <a:pt x="675" y="54"/>
                    </a:lnTo>
                    <a:lnTo>
                      <a:pt x="675" y="54"/>
                    </a:lnTo>
                    <a:lnTo>
                      <a:pt x="683" y="54"/>
                    </a:lnTo>
                    <a:lnTo>
                      <a:pt x="683" y="54"/>
                    </a:lnTo>
                    <a:lnTo>
                      <a:pt x="686" y="54"/>
                    </a:lnTo>
                    <a:lnTo>
                      <a:pt x="686" y="54"/>
                    </a:lnTo>
                    <a:lnTo>
                      <a:pt x="689" y="51"/>
                    </a:lnTo>
                    <a:lnTo>
                      <a:pt x="689" y="51"/>
                    </a:lnTo>
                    <a:lnTo>
                      <a:pt x="688" y="51"/>
                    </a:lnTo>
                    <a:lnTo>
                      <a:pt x="688" y="51"/>
                    </a:lnTo>
                    <a:lnTo>
                      <a:pt x="685" y="51"/>
                    </a:lnTo>
                    <a:lnTo>
                      <a:pt x="675" y="51"/>
                    </a:lnTo>
                    <a:lnTo>
                      <a:pt x="675" y="51"/>
                    </a:lnTo>
                    <a:lnTo>
                      <a:pt x="675" y="51"/>
                    </a:lnTo>
                    <a:close/>
                    <a:moveTo>
                      <a:pt x="751" y="261"/>
                    </a:moveTo>
                    <a:lnTo>
                      <a:pt x="751" y="261"/>
                    </a:lnTo>
                    <a:lnTo>
                      <a:pt x="750" y="258"/>
                    </a:lnTo>
                    <a:lnTo>
                      <a:pt x="750" y="258"/>
                    </a:lnTo>
                    <a:lnTo>
                      <a:pt x="748" y="258"/>
                    </a:lnTo>
                    <a:lnTo>
                      <a:pt x="748" y="258"/>
                    </a:lnTo>
                    <a:lnTo>
                      <a:pt x="747" y="261"/>
                    </a:lnTo>
                    <a:lnTo>
                      <a:pt x="747" y="261"/>
                    </a:lnTo>
                    <a:lnTo>
                      <a:pt x="743" y="264"/>
                    </a:lnTo>
                    <a:lnTo>
                      <a:pt x="743" y="264"/>
                    </a:lnTo>
                    <a:lnTo>
                      <a:pt x="748" y="261"/>
                    </a:lnTo>
                    <a:lnTo>
                      <a:pt x="751" y="261"/>
                    </a:lnTo>
                    <a:lnTo>
                      <a:pt x="751" y="261"/>
                    </a:lnTo>
                    <a:lnTo>
                      <a:pt x="751" y="261"/>
                    </a:lnTo>
                    <a:close/>
                    <a:moveTo>
                      <a:pt x="45" y="410"/>
                    </a:moveTo>
                    <a:lnTo>
                      <a:pt x="45" y="410"/>
                    </a:lnTo>
                    <a:lnTo>
                      <a:pt x="45" y="408"/>
                    </a:lnTo>
                    <a:lnTo>
                      <a:pt x="45" y="408"/>
                    </a:lnTo>
                    <a:lnTo>
                      <a:pt x="45" y="407"/>
                    </a:lnTo>
                    <a:lnTo>
                      <a:pt x="45" y="407"/>
                    </a:lnTo>
                    <a:lnTo>
                      <a:pt x="45" y="405"/>
                    </a:lnTo>
                    <a:lnTo>
                      <a:pt x="45" y="405"/>
                    </a:lnTo>
                    <a:lnTo>
                      <a:pt x="45" y="402"/>
                    </a:lnTo>
                    <a:lnTo>
                      <a:pt x="45" y="402"/>
                    </a:lnTo>
                    <a:lnTo>
                      <a:pt x="45" y="397"/>
                    </a:lnTo>
                    <a:lnTo>
                      <a:pt x="45" y="397"/>
                    </a:lnTo>
                    <a:lnTo>
                      <a:pt x="42" y="396"/>
                    </a:lnTo>
                    <a:lnTo>
                      <a:pt x="42" y="396"/>
                    </a:lnTo>
                    <a:lnTo>
                      <a:pt x="39" y="394"/>
                    </a:lnTo>
                    <a:lnTo>
                      <a:pt x="39" y="394"/>
                    </a:lnTo>
                    <a:lnTo>
                      <a:pt x="34" y="394"/>
                    </a:lnTo>
                    <a:lnTo>
                      <a:pt x="34" y="394"/>
                    </a:lnTo>
                    <a:lnTo>
                      <a:pt x="29" y="392"/>
                    </a:lnTo>
                    <a:lnTo>
                      <a:pt x="29" y="392"/>
                    </a:lnTo>
                    <a:lnTo>
                      <a:pt x="26" y="389"/>
                    </a:lnTo>
                    <a:lnTo>
                      <a:pt x="26" y="389"/>
                    </a:lnTo>
                    <a:lnTo>
                      <a:pt x="21" y="389"/>
                    </a:lnTo>
                    <a:lnTo>
                      <a:pt x="21" y="389"/>
                    </a:lnTo>
                    <a:lnTo>
                      <a:pt x="18" y="391"/>
                    </a:lnTo>
                    <a:lnTo>
                      <a:pt x="18" y="391"/>
                    </a:lnTo>
                    <a:lnTo>
                      <a:pt x="16" y="392"/>
                    </a:lnTo>
                    <a:lnTo>
                      <a:pt x="16" y="392"/>
                    </a:lnTo>
                    <a:lnTo>
                      <a:pt x="18" y="394"/>
                    </a:lnTo>
                    <a:lnTo>
                      <a:pt x="18" y="394"/>
                    </a:lnTo>
                    <a:lnTo>
                      <a:pt x="21" y="394"/>
                    </a:lnTo>
                    <a:lnTo>
                      <a:pt x="21" y="394"/>
                    </a:lnTo>
                    <a:lnTo>
                      <a:pt x="23" y="394"/>
                    </a:lnTo>
                    <a:lnTo>
                      <a:pt x="23" y="394"/>
                    </a:lnTo>
                    <a:lnTo>
                      <a:pt x="21" y="396"/>
                    </a:lnTo>
                    <a:lnTo>
                      <a:pt x="21" y="396"/>
                    </a:lnTo>
                    <a:lnTo>
                      <a:pt x="20" y="397"/>
                    </a:lnTo>
                    <a:lnTo>
                      <a:pt x="20" y="397"/>
                    </a:lnTo>
                    <a:lnTo>
                      <a:pt x="18" y="399"/>
                    </a:lnTo>
                    <a:lnTo>
                      <a:pt x="18" y="399"/>
                    </a:lnTo>
                    <a:lnTo>
                      <a:pt x="16" y="400"/>
                    </a:lnTo>
                    <a:lnTo>
                      <a:pt x="16" y="400"/>
                    </a:lnTo>
                    <a:lnTo>
                      <a:pt x="20" y="400"/>
                    </a:lnTo>
                    <a:lnTo>
                      <a:pt x="20" y="400"/>
                    </a:lnTo>
                    <a:lnTo>
                      <a:pt x="21" y="400"/>
                    </a:lnTo>
                    <a:lnTo>
                      <a:pt x="21" y="400"/>
                    </a:lnTo>
                    <a:lnTo>
                      <a:pt x="21" y="402"/>
                    </a:lnTo>
                    <a:lnTo>
                      <a:pt x="21" y="402"/>
                    </a:lnTo>
                    <a:lnTo>
                      <a:pt x="26" y="400"/>
                    </a:lnTo>
                    <a:lnTo>
                      <a:pt x="26" y="400"/>
                    </a:lnTo>
                    <a:lnTo>
                      <a:pt x="23" y="402"/>
                    </a:lnTo>
                    <a:lnTo>
                      <a:pt x="23" y="402"/>
                    </a:lnTo>
                    <a:lnTo>
                      <a:pt x="23" y="404"/>
                    </a:lnTo>
                    <a:lnTo>
                      <a:pt x="23" y="404"/>
                    </a:lnTo>
                    <a:lnTo>
                      <a:pt x="24" y="404"/>
                    </a:lnTo>
                    <a:lnTo>
                      <a:pt x="24" y="404"/>
                    </a:lnTo>
                    <a:lnTo>
                      <a:pt x="26" y="402"/>
                    </a:lnTo>
                    <a:lnTo>
                      <a:pt x="26" y="402"/>
                    </a:lnTo>
                    <a:lnTo>
                      <a:pt x="26" y="404"/>
                    </a:lnTo>
                    <a:lnTo>
                      <a:pt x="26" y="404"/>
                    </a:lnTo>
                    <a:lnTo>
                      <a:pt x="27" y="404"/>
                    </a:lnTo>
                    <a:lnTo>
                      <a:pt x="27" y="404"/>
                    </a:lnTo>
                    <a:lnTo>
                      <a:pt x="27" y="407"/>
                    </a:lnTo>
                    <a:lnTo>
                      <a:pt x="27" y="407"/>
                    </a:lnTo>
                    <a:lnTo>
                      <a:pt x="32" y="407"/>
                    </a:lnTo>
                    <a:lnTo>
                      <a:pt x="32" y="407"/>
                    </a:lnTo>
                    <a:lnTo>
                      <a:pt x="27" y="408"/>
                    </a:lnTo>
                    <a:lnTo>
                      <a:pt x="27" y="408"/>
                    </a:lnTo>
                    <a:lnTo>
                      <a:pt x="26" y="408"/>
                    </a:lnTo>
                    <a:lnTo>
                      <a:pt x="26" y="408"/>
                    </a:lnTo>
                    <a:lnTo>
                      <a:pt x="24" y="410"/>
                    </a:lnTo>
                    <a:lnTo>
                      <a:pt x="24" y="410"/>
                    </a:lnTo>
                    <a:lnTo>
                      <a:pt x="31" y="410"/>
                    </a:lnTo>
                    <a:lnTo>
                      <a:pt x="31" y="410"/>
                    </a:lnTo>
                    <a:lnTo>
                      <a:pt x="29" y="412"/>
                    </a:lnTo>
                    <a:lnTo>
                      <a:pt x="29" y="412"/>
                    </a:lnTo>
                    <a:lnTo>
                      <a:pt x="32" y="412"/>
                    </a:lnTo>
                    <a:lnTo>
                      <a:pt x="32" y="412"/>
                    </a:lnTo>
                    <a:lnTo>
                      <a:pt x="32" y="413"/>
                    </a:lnTo>
                    <a:lnTo>
                      <a:pt x="32" y="413"/>
                    </a:lnTo>
                    <a:lnTo>
                      <a:pt x="34" y="413"/>
                    </a:lnTo>
                    <a:lnTo>
                      <a:pt x="34" y="413"/>
                    </a:lnTo>
                    <a:lnTo>
                      <a:pt x="31" y="415"/>
                    </a:lnTo>
                    <a:lnTo>
                      <a:pt x="31" y="415"/>
                    </a:lnTo>
                    <a:lnTo>
                      <a:pt x="29" y="415"/>
                    </a:lnTo>
                    <a:lnTo>
                      <a:pt x="29" y="415"/>
                    </a:lnTo>
                    <a:lnTo>
                      <a:pt x="32" y="415"/>
                    </a:lnTo>
                    <a:lnTo>
                      <a:pt x="32" y="415"/>
                    </a:lnTo>
                    <a:lnTo>
                      <a:pt x="34" y="415"/>
                    </a:lnTo>
                    <a:lnTo>
                      <a:pt x="34" y="415"/>
                    </a:lnTo>
                    <a:lnTo>
                      <a:pt x="35" y="415"/>
                    </a:lnTo>
                    <a:lnTo>
                      <a:pt x="35" y="415"/>
                    </a:lnTo>
                    <a:lnTo>
                      <a:pt x="39" y="415"/>
                    </a:lnTo>
                    <a:lnTo>
                      <a:pt x="39" y="415"/>
                    </a:lnTo>
                    <a:lnTo>
                      <a:pt x="39" y="415"/>
                    </a:lnTo>
                    <a:lnTo>
                      <a:pt x="39" y="415"/>
                    </a:lnTo>
                    <a:lnTo>
                      <a:pt x="42" y="413"/>
                    </a:lnTo>
                    <a:lnTo>
                      <a:pt x="42" y="413"/>
                    </a:lnTo>
                    <a:lnTo>
                      <a:pt x="42" y="415"/>
                    </a:lnTo>
                    <a:lnTo>
                      <a:pt x="42" y="415"/>
                    </a:lnTo>
                    <a:lnTo>
                      <a:pt x="39" y="415"/>
                    </a:lnTo>
                    <a:lnTo>
                      <a:pt x="39" y="415"/>
                    </a:lnTo>
                    <a:lnTo>
                      <a:pt x="35" y="418"/>
                    </a:lnTo>
                    <a:lnTo>
                      <a:pt x="35" y="418"/>
                    </a:lnTo>
                    <a:lnTo>
                      <a:pt x="34" y="418"/>
                    </a:lnTo>
                    <a:lnTo>
                      <a:pt x="34" y="418"/>
                    </a:lnTo>
                    <a:lnTo>
                      <a:pt x="35" y="419"/>
                    </a:lnTo>
                    <a:lnTo>
                      <a:pt x="35" y="419"/>
                    </a:lnTo>
                    <a:lnTo>
                      <a:pt x="37" y="421"/>
                    </a:lnTo>
                    <a:lnTo>
                      <a:pt x="37" y="421"/>
                    </a:lnTo>
                    <a:lnTo>
                      <a:pt x="39" y="421"/>
                    </a:lnTo>
                    <a:lnTo>
                      <a:pt x="39" y="421"/>
                    </a:lnTo>
                    <a:lnTo>
                      <a:pt x="42" y="423"/>
                    </a:lnTo>
                    <a:lnTo>
                      <a:pt x="42" y="423"/>
                    </a:lnTo>
                    <a:lnTo>
                      <a:pt x="45" y="424"/>
                    </a:lnTo>
                    <a:lnTo>
                      <a:pt x="45" y="424"/>
                    </a:lnTo>
                    <a:lnTo>
                      <a:pt x="48" y="424"/>
                    </a:lnTo>
                    <a:lnTo>
                      <a:pt x="48" y="424"/>
                    </a:lnTo>
                    <a:lnTo>
                      <a:pt x="50" y="424"/>
                    </a:lnTo>
                    <a:lnTo>
                      <a:pt x="50" y="424"/>
                    </a:lnTo>
                    <a:lnTo>
                      <a:pt x="51" y="423"/>
                    </a:lnTo>
                    <a:lnTo>
                      <a:pt x="51" y="423"/>
                    </a:lnTo>
                    <a:lnTo>
                      <a:pt x="51" y="419"/>
                    </a:lnTo>
                    <a:lnTo>
                      <a:pt x="51" y="419"/>
                    </a:lnTo>
                    <a:lnTo>
                      <a:pt x="50" y="421"/>
                    </a:lnTo>
                    <a:lnTo>
                      <a:pt x="50" y="421"/>
                    </a:lnTo>
                    <a:lnTo>
                      <a:pt x="51" y="418"/>
                    </a:lnTo>
                    <a:lnTo>
                      <a:pt x="51" y="418"/>
                    </a:lnTo>
                    <a:lnTo>
                      <a:pt x="51" y="418"/>
                    </a:lnTo>
                    <a:lnTo>
                      <a:pt x="51" y="418"/>
                    </a:lnTo>
                    <a:lnTo>
                      <a:pt x="50" y="415"/>
                    </a:lnTo>
                    <a:lnTo>
                      <a:pt x="50" y="415"/>
                    </a:lnTo>
                    <a:lnTo>
                      <a:pt x="51" y="415"/>
                    </a:lnTo>
                    <a:lnTo>
                      <a:pt x="51" y="415"/>
                    </a:lnTo>
                    <a:lnTo>
                      <a:pt x="51" y="415"/>
                    </a:lnTo>
                    <a:lnTo>
                      <a:pt x="51" y="415"/>
                    </a:lnTo>
                    <a:lnTo>
                      <a:pt x="48" y="412"/>
                    </a:lnTo>
                    <a:lnTo>
                      <a:pt x="45" y="410"/>
                    </a:lnTo>
                    <a:lnTo>
                      <a:pt x="45" y="410"/>
                    </a:lnTo>
                    <a:lnTo>
                      <a:pt x="45" y="41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24" name="Freeform 373">
                <a:extLst>
                  <a:ext uri="{FF2B5EF4-FFF2-40B4-BE49-F238E27FC236}">
                    <a16:creationId xmlns:a16="http://schemas.microsoft.com/office/drawing/2014/main" id="{F830627F-E209-8856-375D-B6E1FC7D47A5}"/>
                  </a:ext>
                </a:extLst>
              </p:cNvPr>
              <p:cNvSpPr>
                <a:spLocks noEditPoints="1"/>
              </p:cNvSpPr>
              <p:nvPr/>
            </p:nvSpPr>
            <p:spPr bwMode="auto">
              <a:xfrm>
                <a:off x="2521205" y="2434772"/>
                <a:ext cx="1567907" cy="780589"/>
              </a:xfrm>
              <a:custGeom>
                <a:avLst/>
                <a:gdLst>
                  <a:gd name="T0" fmla="*/ 634 w 699"/>
                  <a:gd name="T1" fmla="*/ 116 h 348"/>
                  <a:gd name="T2" fmla="*/ 675 w 699"/>
                  <a:gd name="T3" fmla="*/ 73 h 348"/>
                  <a:gd name="T4" fmla="*/ 680 w 699"/>
                  <a:gd name="T5" fmla="*/ 73 h 348"/>
                  <a:gd name="T6" fmla="*/ 88 w 699"/>
                  <a:gd name="T7" fmla="*/ 31 h 348"/>
                  <a:gd name="T8" fmla="*/ 596 w 699"/>
                  <a:gd name="T9" fmla="*/ 127 h 348"/>
                  <a:gd name="T10" fmla="*/ 596 w 699"/>
                  <a:gd name="T11" fmla="*/ 127 h 348"/>
                  <a:gd name="T12" fmla="*/ 591 w 699"/>
                  <a:gd name="T13" fmla="*/ 135 h 348"/>
                  <a:gd name="T14" fmla="*/ 686 w 699"/>
                  <a:gd name="T15" fmla="*/ 29 h 348"/>
                  <a:gd name="T16" fmla="*/ 586 w 699"/>
                  <a:gd name="T17" fmla="*/ 77 h 348"/>
                  <a:gd name="T18" fmla="*/ 540 w 699"/>
                  <a:gd name="T19" fmla="*/ 100 h 348"/>
                  <a:gd name="T20" fmla="*/ 504 w 699"/>
                  <a:gd name="T21" fmla="*/ 97 h 348"/>
                  <a:gd name="T22" fmla="*/ 510 w 699"/>
                  <a:gd name="T23" fmla="*/ 69 h 348"/>
                  <a:gd name="T24" fmla="*/ 480 w 699"/>
                  <a:gd name="T25" fmla="*/ 65 h 348"/>
                  <a:gd name="T26" fmla="*/ 445 w 699"/>
                  <a:gd name="T27" fmla="*/ 97 h 348"/>
                  <a:gd name="T28" fmla="*/ 477 w 699"/>
                  <a:gd name="T29" fmla="*/ 53 h 348"/>
                  <a:gd name="T30" fmla="*/ 508 w 699"/>
                  <a:gd name="T31" fmla="*/ 42 h 348"/>
                  <a:gd name="T32" fmla="*/ 451 w 699"/>
                  <a:gd name="T33" fmla="*/ 37 h 348"/>
                  <a:gd name="T34" fmla="*/ 454 w 699"/>
                  <a:gd name="T35" fmla="*/ 19 h 348"/>
                  <a:gd name="T36" fmla="*/ 416 w 699"/>
                  <a:gd name="T37" fmla="*/ 13 h 348"/>
                  <a:gd name="T38" fmla="*/ 94 w 699"/>
                  <a:gd name="T39" fmla="*/ 24 h 348"/>
                  <a:gd name="T40" fmla="*/ 88 w 699"/>
                  <a:gd name="T41" fmla="*/ 24 h 348"/>
                  <a:gd name="T42" fmla="*/ 64 w 699"/>
                  <a:gd name="T43" fmla="*/ 42 h 348"/>
                  <a:gd name="T44" fmla="*/ 27 w 699"/>
                  <a:gd name="T45" fmla="*/ 91 h 348"/>
                  <a:gd name="T46" fmla="*/ 2 w 699"/>
                  <a:gd name="T47" fmla="*/ 153 h 348"/>
                  <a:gd name="T48" fmla="*/ 4 w 699"/>
                  <a:gd name="T49" fmla="*/ 177 h 348"/>
                  <a:gd name="T50" fmla="*/ 15 w 699"/>
                  <a:gd name="T51" fmla="*/ 215 h 348"/>
                  <a:gd name="T52" fmla="*/ 37 w 699"/>
                  <a:gd name="T53" fmla="*/ 243 h 348"/>
                  <a:gd name="T54" fmla="*/ 185 w 699"/>
                  <a:gd name="T55" fmla="*/ 291 h 348"/>
                  <a:gd name="T56" fmla="*/ 231 w 699"/>
                  <a:gd name="T57" fmla="*/ 329 h 348"/>
                  <a:gd name="T58" fmla="*/ 251 w 699"/>
                  <a:gd name="T59" fmla="*/ 316 h 348"/>
                  <a:gd name="T60" fmla="*/ 269 w 699"/>
                  <a:gd name="T61" fmla="*/ 302 h 348"/>
                  <a:gd name="T62" fmla="*/ 312 w 699"/>
                  <a:gd name="T63" fmla="*/ 281 h 348"/>
                  <a:gd name="T64" fmla="*/ 348 w 699"/>
                  <a:gd name="T65" fmla="*/ 289 h 348"/>
                  <a:gd name="T66" fmla="*/ 358 w 699"/>
                  <a:gd name="T67" fmla="*/ 285 h 348"/>
                  <a:gd name="T68" fmla="*/ 381 w 699"/>
                  <a:gd name="T69" fmla="*/ 269 h 348"/>
                  <a:gd name="T70" fmla="*/ 410 w 699"/>
                  <a:gd name="T71" fmla="*/ 275 h 348"/>
                  <a:gd name="T72" fmla="*/ 439 w 699"/>
                  <a:gd name="T73" fmla="*/ 292 h 348"/>
                  <a:gd name="T74" fmla="*/ 439 w 699"/>
                  <a:gd name="T75" fmla="*/ 324 h 348"/>
                  <a:gd name="T76" fmla="*/ 451 w 699"/>
                  <a:gd name="T77" fmla="*/ 348 h 348"/>
                  <a:gd name="T78" fmla="*/ 461 w 699"/>
                  <a:gd name="T79" fmla="*/ 288 h 348"/>
                  <a:gd name="T80" fmla="*/ 477 w 699"/>
                  <a:gd name="T81" fmla="*/ 246 h 348"/>
                  <a:gd name="T82" fmla="*/ 504 w 699"/>
                  <a:gd name="T83" fmla="*/ 226 h 348"/>
                  <a:gd name="T84" fmla="*/ 535 w 699"/>
                  <a:gd name="T85" fmla="*/ 205 h 348"/>
                  <a:gd name="T86" fmla="*/ 543 w 699"/>
                  <a:gd name="T87" fmla="*/ 194 h 348"/>
                  <a:gd name="T88" fmla="*/ 553 w 699"/>
                  <a:gd name="T89" fmla="*/ 180 h 348"/>
                  <a:gd name="T90" fmla="*/ 553 w 699"/>
                  <a:gd name="T91" fmla="*/ 167 h 348"/>
                  <a:gd name="T92" fmla="*/ 554 w 699"/>
                  <a:gd name="T93" fmla="*/ 153 h 348"/>
                  <a:gd name="T94" fmla="*/ 558 w 699"/>
                  <a:gd name="T95" fmla="*/ 151 h 348"/>
                  <a:gd name="T96" fmla="*/ 554 w 699"/>
                  <a:gd name="T97" fmla="*/ 172 h 348"/>
                  <a:gd name="T98" fmla="*/ 575 w 699"/>
                  <a:gd name="T99" fmla="*/ 146 h 348"/>
                  <a:gd name="T100" fmla="*/ 615 w 699"/>
                  <a:gd name="T101" fmla="*/ 116 h 348"/>
                  <a:gd name="T102" fmla="*/ 642 w 699"/>
                  <a:gd name="T103" fmla="*/ 110 h 348"/>
                  <a:gd name="T104" fmla="*/ 661 w 699"/>
                  <a:gd name="T105" fmla="*/ 78 h 348"/>
                  <a:gd name="T106" fmla="*/ 689 w 699"/>
                  <a:gd name="T107" fmla="*/ 69 h 348"/>
                  <a:gd name="T108" fmla="*/ 696 w 699"/>
                  <a:gd name="T109" fmla="*/ 46 h 348"/>
                  <a:gd name="T110" fmla="*/ 466 w 699"/>
                  <a:gd name="T111" fmla="*/ 65 h 348"/>
                  <a:gd name="T112" fmla="*/ 467 w 699"/>
                  <a:gd name="T113" fmla="*/ 34 h 348"/>
                  <a:gd name="T114" fmla="*/ 96 w 699"/>
                  <a:gd name="T115" fmla="*/ 13 h 348"/>
                  <a:gd name="T116" fmla="*/ 470 w 699"/>
                  <a:gd name="T117" fmla="*/ 21 h 348"/>
                  <a:gd name="T118" fmla="*/ 364 w 699"/>
                  <a:gd name="T119" fmla="*/ 278 h 348"/>
                  <a:gd name="T120" fmla="*/ 551 w 699"/>
                  <a:gd name="T121" fmla="*/ 20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9" h="348">
                    <a:moveTo>
                      <a:pt x="629" y="115"/>
                    </a:moveTo>
                    <a:lnTo>
                      <a:pt x="631" y="111"/>
                    </a:lnTo>
                    <a:lnTo>
                      <a:pt x="629" y="113"/>
                    </a:lnTo>
                    <a:lnTo>
                      <a:pt x="629" y="115"/>
                    </a:lnTo>
                    <a:lnTo>
                      <a:pt x="629" y="115"/>
                    </a:lnTo>
                    <a:lnTo>
                      <a:pt x="629" y="115"/>
                    </a:lnTo>
                    <a:lnTo>
                      <a:pt x="629" y="115"/>
                    </a:lnTo>
                    <a:lnTo>
                      <a:pt x="629" y="115"/>
                    </a:lnTo>
                    <a:lnTo>
                      <a:pt x="629" y="115"/>
                    </a:lnTo>
                    <a:lnTo>
                      <a:pt x="629" y="115"/>
                    </a:lnTo>
                    <a:lnTo>
                      <a:pt x="629" y="115"/>
                    </a:lnTo>
                    <a:lnTo>
                      <a:pt x="629" y="115"/>
                    </a:lnTo>
                    <a:close/>
                    <a:moveTo>
                      <a:pt x="634" y="116"/>
                    </a:moveTo>
                    <a:lnTo>
                      <a:pt x="637" y="116"/>
                    </a:lnTo>
                    <a:lnTo>
                      <a:pt x="637" y="115"/>
                    </a:lnTo>
                    <a:lnTo>
                      <a:pt x="635" y="115"/>
                    </a:lnTo>
                    <a:lnTo>
                      <a:pt x="634" y="116"/>
                    </a:lnTo>
                    <a:lnTo>
                      <a:pt x="634" y="116"/>
                    </a:lnTo>
                    <a:lnTo>
                      <a:pt x="634" y="116"/>
                    </a:lnTo>
                    <a:lnTo>
                      <a:pt x="634" y="116"/>
                    </a:lnTo>
                    <a:lnTo>
                      <a:pt x="634" y="116"/>
                    </a:lnTo>
                    <a:lnTo>
                      <a:pt x="634" y="116"/>
                    </a:lnTo>
                    <a:lnTo>
                      <a:pt x="634" y="116"/>
                    </a:lnTo>
                    <a:lnTo>
                      <a:pt x="634" y="116"/>
                    </a:lnTo>
                    <a:lnTo>
                      <a:pt x="634" y="116"/>
                    </a:lnTo>
                    <a:close/>
                    <a:moveTo>
                      <a:pt x="640" y="116"/>
                    </a:moveTo>
                    <a:lnTo>
                      <a:pt x="643" y="118"/>
                    </a:lnTo>
                    <a:lnTo>
                      <a:pt x="643" y="115"/>
                    </a:lnTo>
                    <a:lnTo>
                      <a:pt x="642" y="116"/>
                    </a:lnTo>
                    <a:lnTo>
                      <a:pt x="640" y="116"/>
                    </a:lnTo>
                    <a:lnTo>
                      <a:pt x="640" y="116"/>
                    </a:lnTo>
                    <a:lnTo>
                      <a:pt x="640" y="116"/>
                    </a:lnTo>
                    <a:lnTo>
                      <a:pt x="640" y="116"/>
                    </a:lnTo>
                    <a:lnTo>
                      <a:pt x="640" y="116"/>
                    </a:lnTo>
                    <a:lnTo>
                      <a:pt x="640" y="116"/>
                    </a:lnTo>
                    <a:lnTo>
                      <a:pt x="640" y="116"/>
                    </a:lnTo>
                    <a:lnTo>
                      <a:pt x="640" y="116"/>
                    </a:lnTo>
                    <a:lnTo>
                      <a:pt x="640" y="116"/>
                    </a:lnTo>
                    <a:close/>
                    <a:moveTo>
                      <a:pt x="675" y="75"/>
                    </a:moveTo>
                    <a:lnTo>
                      <a:pt x="675" y="73"/>
                    </a:lnTo>
                    <a:lnTo>
                      <a:pt x="674" y="75"/>
                    </a:lnTo>
                    <a:lnTo>
                      <a:pt x="675" y="75"/>
                    </a:lnTo>
                    <a:lnTo>
                      <a:pt x="675" y="75"/>
                    </a:lnTo>
                    <a:lnTo>
                      <a:pt x="675" y="75"/>
                    </a:lnTo>
                    <a:lnTo>
                      <a:pt x="675" y="75"/>
                    </a:lnTo>
                    <a:lnTo>
                      <a:pt x="675" y="75"/>
                    </a:lnTo>
                    <a:lnTo>
                      <a:pt x="675" y="75"/>
                    </a:lnTo>
                    <a:lnTo>
                      <a:pt x="675" y="75"/>
                    </a:lnTo>
                    <a:lnTo>
                      <a:pt x="675" y="75"/>
                    </a:lnTo>
                    <a:lnTo>
                      <a:pt x="675" y="75"/>
                    </a:lnTo>
                    <a:close/>
                    <a:moveTo>
                      <a:pt x="680" y="73"/>
                    </a:moveTo>
                    <a:lnTo>
                      <a:pt x="680" y="72"/>
                    </a:lnTo>
                    <a:lnTo>
                      <a:pt x="678" y="72"/>
                    </a:lnTo>
                    <a:lnTo>
                      <a:pt x="678" y="75"/>
                    </a:lnTo>
                    <a:lnTo>
                      <a:pt x="680" y="73"/>
                    </a:lnTo>
                    <a:lnTo>
                      <a:pt x="680" y="73"/>
                    </a:lnTo>
                    <a:lnTo>
                      <a:pt x="680" y="73"/>
                    </a:lnTo>
                    <a:lnTo>
                      <a:pt x="680" y="73"/>
                    </a:lnTo>
                    <a:lnTo>
                      <a:pt x="680" y="73"/>
                    </a:lnTo>
                    <a:lnTo>
                      <a:pt x="680" y="73"/>
                    </a:lnTo>
                    <a:lnTo>
                      <a:pt x="680" y="73"/>
                    </a:lnTo>
                    <a:lnTo>
                      <a:pt x="680" y="73"/>
                    </a:lnTo>
                    <a:lnTo>
                      <a:pt x="680" y="73"/>
                    </a:lnTo>
                    <a:close/>
                    <a:moveTo>
                      <a:pt x="647" y="107"/>
                    </a:moveTo>
                    <a:lnTo>
                      <a:pt x="647" y="107"/>
                    </a:lnTo>
                    <a:lnTo>
                      <a:pt x="645" y="107"/>
                    </a:lnTo>
                    <a:lnTo>
                      <a:pt x="647" y="107"/>
                    </a:lnTo>
                    <a:lnTo>
                      <a:pt x="647" y="107"/>
                    </a:lnTo>
                    <a:lnTo>
                      <a:pt x="647" y="107"/>
                    </a:lnTo>
                    <a:lnTo>
                      <a:pt x="647" y="107"/>
                    </a:lnTo>
                    <a:lnTo>
                      <a:pt x="647" y="107"/>
                    </a:lnTo>
                    <a:lnTo>
                      <a:pt x="647" y="107"/>
                    </a:lnTo>
                    <a:lnTo>
                      <a:pt x="647" y="107"/>
                    </a:lnTo>
                    <a:lnTo>
                      <a:pt x="647" y="107"/>
                    </a:lnTo>
                    <a:lnTo>
                      <a:pt x="647" y="107"/>
                    </a:lnTo>
                    <a:close/>
                    <a:moveTo>
                      <a:pt x="88" y="31"/>
                    </a:moveTo>
                    <a:lnTo>
                      <a:pt x="89" y="31"/>
                    </a:lnTo>
                    <a:lnTo>
                      <a:pt x="89" y="29"/>
                    </a:lnTo>
                    <a:lnTo>
                      <a:pt x="88" y="31"/>
                    </a:lnTo>
                    <a:lnTo>
                      <a:pt x="88" y="31"/>
                    </a:lnTo>
                    <a:lnTo>
                      <a:pt x="88" y="31"/>
                    </a:lnTo>
                    <a:lnTo>
                      <a:pt x="88" y="31"/>
                    </a:lnTo>
                    <a:lnTo>
                      <a:pt x="88" y="31"/>
                    </a:lnTo>
                    <a:lnTo>
                      <a:pt x="88" y="31"/>
                    </a:lnTo>
                    <a:lnTo>
                      <a:pt x="88" y="31"/>
                    </a:lnTo>
                    <a:lnTo>
                      <a:pt x="88" y="31"/>
                    </a:lnTo>
                    <a:lnTo>
                      <a:pt x="88" y="31"/>
                    </a:lnTo>
                    <a:close/>
                    <a:moveTo>
                      <a:pt x="96" y="19"/>
                    </a:moveTo>
                    <a:lnTo>
                      <a:pt x="97" y="18"/>
                    </a:lnTo>
                    <a:lnTo>
                      <a:pt x="96" y="18"/>
                    </a:lnTo>
                    <a:lnTo>
                      <a:pt x="96" y="19"/>
                    </a:lnTo>
                    <a:lnTo>
                      <a:pt x="96" y="19"/>
                    </a:lnTo>
                    <a:lnTo>
                      <a:pt x="96" y="19"/>
                    </a:lnTo>
                    <a:lnTo>
                      <a:pt x="96" y="19"/>
                    </a:lnTo>
                    <a:lnTo>
                      <a:pt x="96" y="19"/>
                    </a:lnTo>
                    <a:lnTo>
                      <a:pt x="96" y="19"/>
                    </a:lnTo>
                    <a:lnTo>
                      <a:pt x="96" y="19"/>
                    </a:lnTo>
                    <a:lnTo>
                      <a:pt x="96" y="19"/>
                    </a:lnTo>
                    <a:lnTo>
                      <a:pt x="96" y="19"/>
                    </a:lnTo>
                    <a:close/>
                    <a:moveTo>
                      <a:pt x="596" y="127"/>
                    </a:moveTo>
                    <a:lnTo>
                      <a:pt x="596" y="127"/>
                    </a:lnTo>
                    <a:lnTo>
                      <a:pt x="599" y="126"/>
                    </a:lnTo>
                    <a:lnTo>
                      <a:pt x="602" y="126"/>
                    </a:lnTo>
                    <a:lnTo>
                      <a:pt x="612" y="124"/>
                    </a:lnTo>
                    <a:lnTo>
                      <a:pt x="616" y="123"/>
                    </a:lnTo>
                    <a:lnTo>
                      <a:pt x="621" y="119"/>
                    </a:lnTo>
                    <a:lnTo>
                      <a:pt x="615" y="121"/>
                    </a:lnTo>
                    <a:lnTo>
                      <a:pt x="613" y="123"/>
                    </a:lnTo>
                    <a:lnTo>
                      <a:pt x="612" y="123"/>
                    </a:lnTo>
                    <a:lnTo>
                      <a:pt x="616" y="118"/>
                    </a:lnTo>
                    <a:lnTo>
                      <a:pt x="613" y="119"/>
                    </a:lnTo>
                    <a:lnTo>
                      <a:pt x="610" y="121"/>
                    </a:lnTo>
                    <a:lnTo>
                      <a:pt x="605" y="123"/>
                    </a:lnTo>
                    <a:lnTo>
                      <a:pt x="602" y="123"/>
                    </a:lnTo>
                    <a:lnTo>
                      <a:pt x="599" y="124"/>
                    </a:lnTo>
                    <a:lnTo>
                      <a:pt x="596" y="124"/>
                    </a:lnTo>
                    <a:lnTo>
                      <a:pt x="594" y="127"/>
                    </a:lnTo>
                    <a:lnTo>
                      <a:pt x="596" y="127"/>
                    </a:lnTo>
                    <a:lnTo>
                      <a:pt x="596" y="127"/>
                    </a:lnTo>
                    <a:lnTo>
                      <a:pt x="596" y="127"/>
                    </a:lnTo>
                    <a:lnTo>
                      <a:pt x="596" y="127"/>
                    </a:lnTo>
                    <a:lnTo>
                      <a:pt x="596" y="127"/>
                    </a:lnTo>
                    <a:lnTo>
                      <a:pt x="596" y="127"/>
                    </a:lnTo>
                    <a:lnTo>
                      <a:pt x="596" y="127"/>
                    </a:lnTo>
                    <a:lnTo>
                      <a:pt x="596" y="127"/>
                    </a:lnTo>
                    <a:lnTo>
                      <a:pt x="596" y="127"/>
                    </a:lnTo>
                    <a:close/>
                    <a:moveTo>
                      <a:pt x="331" y="285"/>
                    </a:moveTo>
                    <a:lnTo>
                      <a:pt x="329" y="285"/>
                    </a:lnTo>
                    <a:lnTo>
                      <a:pt x="327" y="285"/>
                    </a:lnTo>
                    <a:lnTo>
                      <a:pt x="329" y="285"/>
                    </a:lnTo>
                    <a:lnTo>
                      <a:pt x="331" y="285"/>
                    </a:lnTo>
                    <a:lnTo>
                      <a:pt x="331" y="285"/>
                    </a:lnTo>
                    <a:lnTo>
                      <a:pt x="331" y="285"/>
                    </a:lnTo>
                    <a:lnTo>
                      <a:pt x="331" y="285"/>
                    </a:lnTo>
                    <a:lnTo>
                      <a:pt x="331" y="285"/>
                    </a:lnTo>
                    <a:lnTo>
                      <a:pt x="331" y="285"/>
                    </a:lnTo>
                    <a:lnTo>
                      <a:pt x="331" y="285"/>
                    </a:lnTo>
                    <a:lnTo>
                      <a:pt x="331" y="285"/>
                    </a:lnTo>
                    <a:lnTo>
                      <a:pt x="331" y="285"/>
                    </a:lnTo>
                    <a:close/>
                    <a:moveTo>
                      <a:pt x="591" y="135"/>
                    </a:moveTo>
                    <a:lnTo>
                      <a:pt x="589" y="135"/>
                    </a:lnTo>
                    <a:lnTo>
                      <a:pt x="589" y="138"/>
                    </a:lnTo>
                    <a:lnTo>
                      <a:pt x="591" y="135"/>
                    </a:lnTo>
                    <a:lnTo>
                      <a:pt x="591" y="135"/>
                    </a:lnTo>
                    <a:lnTo>
                      <a:pt x="591" y="135"/>
                    </a:lnTo>
                    <a:lnTo>
                      <a:pt x="591" y="135"/>
                    </a:lnTo>
                    <a:lnTo>
                      <a:pt x="591" y="135"/>
                    </a:lnTo>
                    <a:lnTo>
                      <a:pt x="591" y="135"/>
                    </a:lnTo>
                    <a:lnTo>
                      <a:pt x="591" y="135"/>
                    </a:lnTo>
                    <a:lnTo>
                      <a:pt x="591" y="135"/>
                    </a:lnTo>
                    <a:lnTo>
                      <a:pt x="591" y="135"/>
                    </a:lnTo>
                    <a:close/>
                    <a:moveTo>
                      <a:pt x="696" y="46"/>
                    </a:moveTo>
                    <a:lnTo>
                      <a:pt x="699" y="38"/>
                    </a:lnTo>
                    <a:lnTo>
                      <a:pt x="699" y="34"/>
                    </a:lnTo>
                    <a:lnTo>
                      <a:pt x="699" y="32"/>
                    </a:lnTo>
                    <a:lnTo>
                      <a:pt x="696" y="32"/>
                    </a:lnTo>
                    <a:lnTo>
                      <a:pt x="689" y="32"/>
                    </a:lnTo>
                    <a:lnTo>
                      <a:pt x="688" y="34"/>
                    </a:lnTo>
                    <a:lnTo>
                      <a:pt x="688" y="32"/>
                    </a:lnTo>
                    <a:lnTo>
                      <a:pt x="686" y="29"/>
                    </a:lnTo>
                    <a:lnTo>
                      <a:pt x="685" y="31"/>
                    </a:lnTo>
                    <a:lnTo>
                      <a:pt x="680" y="34"/>
                    </a:lnTo>
                    <a:lnTo>
                      <a:pt x="672" y="38"/>
                    </a:lnTo>
                    <a:lnTo>
                      <a:pt x="670" y="42"/>
                    </a:lnTo>
                    <a:lnTo>
                      <a:pt x="669" y="45"/>
                    </a:lnTo>
                    <a:lnTo>
                      <a:pt x="666" y="48"/>
                    </a:lnTo>
                    <a:lnTo>
                      <a:pt x="664" y="51"/>
                    </a:lnTo>
                    <a:lnTo>
                      <a:pt x="661" y="53"/>
                    </a:lnTo>
                    <a:lnTo>
                      <a:pt x="658" y="56"/>
                    </a:lnTo>
                    <a:lnTo>
                      <a:pt x="658" y="59"/>
                    </a:lnTo>
                    <a:lnTo>
                      <a:pt x="654" y="59"/>
                    </a:lnTo>
                    <a:lnTo>
                      <a:pt x="654" y="61"/>
                    </a:lnTo>
                    <a:lnTo>
                      <a:pt x="654" y="59"/>
                    </a:lnTo>
                    <a:lnTo>
                      <a:pt x="650" y="61"/>
                    </a:lnTo>
                    <a:lnTo>
                      <a:pt x="647" y="62"/>
                    </a:lnTo>
                    <a:lnTo>
                      <a:pt x="608" y="62"/>
                    </a:lnTo>
                    <a:lnTo>
                      <a:pt x="599" y="69"/>
                    </a:lnTo>
                    <a:lnTo>
                      <a:pt x="593" y="72"/>
                    </a:lnTo>
                    <a:lnTo>
                      <a:pt x="589" y="73"/>
                    </a:lnTo>
                    <a:lnTo>
                      <a:pt x="586" y="77"/>
                    </a:lnTo>
                    <a:lnTo>
                      <a:pt x="588" y="77"/>
                    </a:lnTo>
                    <a:lnTo>
                      <a:pt x="586" y="78"/>
                    </a:lnTo>
                    <a:lnTo>
                      <a:pt x="588" y="78"/>
                    </a:lnTo>
                    <a:lnTo>
                      <a:pt x="586" y="80"/>
                    </a:lnTo>
                    <a:lnTo>
                      <a:pt x="585" y="83"/>
                    </a:lnTo>
                    <a:lnTo>
                      <a:pt x="583" y="85"/>
                    </a:lnTo>
                    <a:lnTo>
                      <a:pt x="580" y="86"/>
                    </a:lnTo>
                    <a:lnTo>
                      <a:pt x="577" y="88"/>
                    </a:lnTo>
                    <a:lnTo>
                      <a:pt x="573" y="88"/>
                    </a:lnTo>
                    <a:lnTo>
                      <a:pt x="567" y="89"/>
                    </a:lnTo>
                    <a:lnTo>
                      <a:pt x="564" y="88"/>
                    </a:lnTo>
                    <a:lnTo>
                      <a:pt x="564" y="88"/>
                    </a:lnTo>
                    <a:lnTo>
                      <a:pt x="556" y="88"/>
                    </a:lnTo>
                    <a:lnTo>
                      <a:pt x="553" y="88"/>
                    </a:lnTo>
                    <a:lnTo>
                      <a:pt x="550" y="89"/>
                    </a:lnTo>
                    <a:lnTo>
                      <a:pt x="548" y="91"/>
                    </a:lnTo>
                    <a:lnTo>
                      <a:pt x="548" y="92"/>
                    </a:lnTo>
                    <a:lnTo>
                      <a:pt x="550" y="94"/>
                    </a:lnTo>
                    <a:lnTo>
                      <a:pt x="548" y="96"/>
                    </a:lnTo>
                    <a:lnTo>
                      <a:pt x="540" y="100"/>
                    </a:lnTo>
                    <a:lnTo>
                      <a:pt x="532" y="104"/>
                    </a:lnTo>
                    <a:lnTo>
                      <a:pt x="524" y="107"/>
                    </a:lnTo>
                    <a:lnTo>
                      <a:pt x="515" y="110"/>
                    </a:lnTo>
                    <a:lnTo>
                      <a:pt x="512" y="111"/>
                    </a:lnTo>
                    <a:lnTo>
                      <a:pt x="507" y="113"/>
                    </a:lnTo>
                    <a:lnTo>
                      <a:pt x="500" y="115"/>
                    </a:lnTo>
                    <a:lnTo>
                      <a:pt x="497" y="115"/>
                    </a:lnTo>
                    <a:lnTo>
                      <a:pt x="494" y="115"/>
                    </a:lnTo>
                    <a:lnTo>
                      <a:pt x="493" y="115"/>
                    </a:lnTo>
                    <a:lnTo>
                      <a:pt x="497" y="113"/>
                    </a:lnTo>
                    <a:lnTo>
                      <a:pt x="494" y="113"/>
                    </a:lnTo>
                    <a:lnTo>
                      <a:pt x="494" y="111"/>
                    </a:lnTo>
                    <a:lnTo>
                      <a:pt x="491" y="111"/>
                    </a:lnTo>
                    <a:lnTo>
                      <a:pt x="489" y="110"/>
                    </a:lnTo>
                    <a:lnTo>
                      <a:pt x="491" y="108"/>
                    </a:lnTo>
                    <a:lnTo>
                      <a:pt x="494" y="107"/>
                    </a:lnTo>
                    <a:lnTo>
                      <a:pt x="494" y="107"/>
                    </a:lnTo>
                    <a:lnTo>
                      <a:pt x="497" y="104"/>
                    </a:lnTo>
                    <a:lnTo>
                      <a:pt x="500" y="100"/>
                    </a:lnTo>
                    <a:lnTo>
                      <a:pt x="504" y="97"/>
                    </a:lnTo>
                    <a:lnTo>
                      <a:pt x="504" y="97"/>
                    </a:lnTo>
                    <a:lnTo>
                      <a:pt x="504" y="97"/>
                    </a:lnTo>
                    <a:lnTo>
                      <a:pt x="505" y="97"/>
                    </a:lnTo>
                    <a:lnTo>
                      <a:pt x="508" y="94"/>
                    </a:lnTo>
                    <a:lnTo>
                      <a:pt x="510" y="88"/>
                    </a:lnTo>
                    <a:lnTo>
                      <a:pt x="512" y="83"/>
                    </a:lnTo>
                    <a:lnTo>
                      <a:pt x="512" y="80"/>
                    </a:lnTo>
                    <a:lnTo>
                      <a:pt x="510" y="77"/>
                    </a:lnTo>
                    <a:lnTo>
                      <a:pt x="508" y="77"/>
                    </a:lnTo>
                    <a:lnTo>
                      <a:pt x="505" y="78"/>
                    </a:lnTo>
                    <a:lnTo>
                      <a:pt x="500" y="81"/>
                    </a:lnTo>
                    <a:lnTo>
                      <a:pt x="497" y="83"/>
                    </a:lnTo>
                    <a:lnTo>
                      <a:pt x="497" y="83"/>
                    </a:lnTo>
                    <a:lnTo>
                      <a:pt x="497" y="81"/>
                    </a:lnTo>
                    <a:lnTo>
                      <a:pt x="497" y="78"/>
                    </a:lnTo>
                    <a:lnTo>
                      <a:pt x="500" y="77"/>
                    </a:lnTo>
                    <a:lnTo>
                      <a:pt x="504" y="75"/>
                    </a:lnTo>
                    <a:lnTo>
                      <a:pt x="505" y="73"/>
                    </a:lnTo>
                    <a:lnTo>
                      <a:pt x="508" y="72"/>
                    </a:lnTo>
                    <a:lnTo>
                      <a:pt x="510" y="69"/>
                    </a:lnTo>
                    <a:lnTo>
                      <a:pt x="510" y="65"/>
                    </a:lnTo>
                    <a:lnTo>
                      <a:pt x="510" y="62"/>
                    </a:lnTo>
                    <a:lnTo>
                      <a:pt x="512" y="62"/>
                    </a:lnTo>
                    <a:lnTo>
                      <a:pt x="512" y="61"/>
                    </a:lnTo>
                    <a:lnTo>
                      <a:pt x="510" y="59"/>
                    </a:lnTo>
                    <a:lnTo>
                      <a:pt x="504" y="54"/>
                    </a:lnTo>
                    <a:lnTo>
                      <a:pt x="500" y="53"/>
                    </a:lnTo>
                    <a:lnTo>
                      <a:pt x="494" y="56"/>
                    </a:lnTo>
                    <a:lnTo>
                      <a:pt x="494" y="58"/>
                    </a:lnTo>
                    <a:lnTo>
                      <a:pt x="494" y="59"/>
                    </a:lnTo>
                    <a:lnTo>
                      <a:pt x="493" y="59"/>
                    </a:lnTo>
                    <a:lnTo>
                      <a:pt x="491" y="61"/>
                    </a:lnTo>
                    <a:lnTo>
                      <a:pt x="489" y="62"/>
                    </a:lnTo>
                    <a:lnTo>
                      <a:pt x="488" y="65"/>
                    </a:lnTo>
                    <a:lnTo>
                      <a:pt x="485" y="65"/>
                    </a:lnTo>
                    <a:lnTo>
                      <a:pt x="486" y="65"/>
                    </a:lnTo>
                    <a:lnTo>
                      <a:pt x="483" y="65"/>
                    </a:lnTo>
                    <a:lnTo>
                      <a:pt x="485" y="62"/>
                    </a:lnTo>
                    <a:lnTo>
                      <a:pt x="483" y="65"/>
                    </a:lnTo>
                    <a:lnTo>
                      <a:pt x="480" y="65"/>
                    </a:lnTo>
                    <a:lnTo>
                      <a:pt x="480" y="65"/>
                    </a:lnTo>
                    <a:lnTo>
                      <a:pt x="477" y="69"/>
                    </a:lnTo>
                    <a:lnTo>
                      <a:pt x="477" y="69"/>
                    </a:lnTo>
                    <a:lnTo>
                      <a:pt x="473" y="73"/>
                    </a:lnTo>
                    <a:lnTo>
                      <a:pt x="469" y="77"/>
                    </a:lnTo>
                    <a:lnTo>
                      <a:pt x="469" y="81"/>
                    </a:lnTo>
                    <a:lnTo>
                      <a:pt x="466" y="85"/>
                    </a:lnTo>
                    <a:lnTo>
                      <a:pt x="466" y="88"/>
                    </a:lnTo>
                    <a:lnTo>
                      <a:pt x="467" y="89"/>
                    </a:lnTo>
                    <a:lnTo>
                      <a:pt x="466" y="91"/>
                    </a:lnTo>
                    <a:lnTo>
                      <a:pt x="466" y="92"/>
                    </a:lnTo>
                    <a:lnTo>
                      <a:pt x="464" y="97"/>
                    </a:lnTo>
                    <a:lnTo>
                      <a:pt x="459" y="104"/>
                    </a:lnTo>
                    <a:lnTo>
                      <a:pt x="454" y="107"/>
                    </a:lnTo>
                    <a:lnTo>
                      <a:pt x="450" y="110"/>
                    </a:lnTo>
                    <a:lnTo>
                      <a:pt x="445" y="111"/>
                    </a:lnTo>
                    <a:lnTo>
                      <a:pt x="445" y="111"/>
                    </a:lnTo>
                    <a:lnTo>
                      <a:pt x="442" y="110"/>
                    </a:lnTo>
                    <a:lnTo>
                      <a:pt x="442" y="104"/>
                    </a:lnTo>
                    <a:lnTo>
                      <a:pt x="445" y="97"/>
                    </a:lnTo>
                    <a:lnTo>
                      <a:pt x="445" y="96"/>
                    </a:lnTo>
                    <a:lnTo>
                      <a:pt x="448" y="92"/>
                    </a:lnTo>
                    <a:lnTo>
                      <a:pt x="450" y="86"/>
                    </a:lnTo>
                    <a:lnTo>
                      <a:pt x="453" y="81"/>
                    </a:lnTo>
                    <a:lnTo>
                      <a:pt x="458" y="75"/>
                    </a:lnTo>
                    <a:lnTo>
                      <a:pt x="461" y="72"/>
                    </a:lnTo>
                    <a:lnTo>
                      <a:pt x="464" y="69"/>
                    </a:lnTo>
                    <a:lnTo>
                      <a:pt x="464" y="65"/>
                    </a:lnTo>
                    <a:lnTo>
                      <a:pt x="462" y="65"/>
                    </a:lnTo>
                    <a:lnTo>
                      <a:pt x="459" y="69"/>
                    </a:lnTo>
                    <a:lnTo>
                      <a:pt x="454" y="72"/>
                    </a:lnTo>
                    <a:lnTo>
                      <a:pt x="456" y="69"/>
                    </a:lnTo>
                    <a:lnTo>
                      <a:pt x="459" y="65"/>
                    </a:lnTo>
                    <a:lnTo>
                      <a:pt x="462" y="62"/>
                    </a:lnTo>
                    <a:lnTo>
                      <a:pt x="466" y="62"/>
                    </a:lnTo>
                    <a:lnTo>
                      <a:pt x="470" y="56"/>
                    </a:lnTo>
                    <a:lnTo>
                      <a:pt x="473" y="53"/>
                    </a:lnTo>
                    <a:lnTo>
                      <a:pt x="477" y="51"/>
                    </a:lnTo>
                    <a:lnTo>
                      <a:pt x="473" y="54"/>
                    </a:lnTo>
                    <a:lnTo>
                      <a:pt x="477" y="53"/>
                    </a:lnTo>
                    <a:lnTo>
                      <a:pt x="480" y="51"/>
                    </a:lnTo>
                    <a:lnTo>
                      <a:pt x="477" y="54"/>
                    </a:lnTo>
                    <a:lnTo>
                      <a:pt x="483" y="53"/>
                    </a:lnTo>
                    <a:lnTo>
                      <a:pt x="485" y="51"/>
                    </a:lnTo>
                    <a:lnTo>
                      <a:pt x="488" y="50"/>
                    </a:lnTo>
                    <a:lnTo>
                      <a:pt x="493" y="50"/>
                    </a:lnTo>
                    <a:lnTo>
                      <a:pt x="494" y="48"/>
                    </a:lnTo>
                    <a:lnTo>
                      <a:pt x="497" y="50"/>
                    </a:lnTo>
                    <a:lnTo>
                      <a:pt x="500" y="51"/>
                    </a:lnTo>
                    <a:lnTo>
                      <a:pt x="500" y="51"/>
                    </a:lnTo>
                    <a:lnTo>
                      <a:pt x="504" y="50"/>
                    </a:lnTo>
                    <a:lnTo>
                      <a:pt x="504" y="50"/>
                    </a:lnTo>
                    <a:lnTo>
                      <a:pt x="507" y="50"/>
                    </a:lnTo>
                    <a:lnTo>
                      <a:pt x="508" y="50"/>
                    </a:lnTo>
                    <a:lnTo>
                      <a:pt x="510" y="50"/>
                    </a:lnTo>
                    <a:lnTo>
                      <a:pt x="510" y="48"/>
                    </a:lnTo>
                    <a:lnTo>
                      <a:pt x="508" y="46"/>
                    </a:lnTo>
                    <a:lnTo>
                      <a:pt x="510" y="45"/>
                    </a:lnTo>
                    <a:lnTo>
                      <a:pt x="510" y="43"/>
                    </a:lnTo>
                    <a:lnTo>
                      <a:pt x="508" y="42"/>
                    </a:lnTo>
                    <a:lnTo>
                      <a:pt x="507" y="42"/>
                    </a:lnTo>
                    <a:lnTo>
                      <a:pt x="500" y="42"/>
                    </a:lnTo>
                    <a:lnTo>
                      <a:pt x="504" y="38"/>
                    </a:lnTo>
                    <a:lnTo>
                      <a:pt x="497" y="40"/>
                    </a:lnTo>
                    <a:lnTo>
                      <a:pt x="491" y="40"/>
                    </a:lnTo>
                    <a:lnTo>
                      <a:pt x="486" y="42"/>
                    </a:lnTo>
                    <a:lnTo>
                      <a:pt x="483" y="43"/>
                    </a:lnTo>
                    <a:lnTo>
                      <a:pt x="480" y="42"/>
                    </a:lnTo>
                    <a:lnTo>
                      <a:pt x="477" y="42"/>
                    </a:lnTo>
                    <a:lnTo>
                      <a:pt x="473" y="40"/>
                    </a:lnTo>
                    <a:lnTo>
                      <a:pt x="472" y="37"/>
                    </a:lnTo>
                    <a:lnTo>
                      <a:pt x="470" y="37"/>
                    </a:lnTo>
                    <a:lnTo>
                      <a:pt x="469" y="37"/>
                    </a:lnTo>
                    <a:lnTo>
                      <a:pt x="466" y="38"/>
                    </a:lnTo>
                    <a:lnTo>
                      <a:pt x="467" y="37"/>
                    </a:lnTo>
                    <a:lnTo>
                      <a:pt x="467" y="37"/>
                    </a:lnTo>
                    <a:lnTo>
                      <a:pt x="466" y="34"/>
                    </a:lnTo>
                    <a:lnTo>
                      <a:pt x="466" y="34"/>
                    </a:lnTo>
                    <a:lnTo>
                      <a:pt x="456" y="37"/>
                    </a:lnTo>
                    <a:lnTo>
                      <a:pt x="451" y="37"/>
                    </a:lnTo>
                    <a:lnTo>
                      <a:pt x="448" y="38"/>
                    </a:lnTo>
                    <a:lnTo>
                      <a:pt x="445" y="40"/>
                    </a:lnTo>
                    <a:lnTo>
                      <a:pt x="442" y="40"/>
                    </a:lnTo>
                    <a:lnTo>
                      <a:pt x="439" y="40"/>
                    </a:lnTo>
                    <a:lnTo>
                      <a:pt x="437" y="40"/>
                    </a:lnTo>
                    <a:lnTo>
                      <a:pt x="439" y="38"/>
                    </a:lnTo>
                    <a:lnTo>
                      <a:pt x="439" y="37"/>
                    </a:lnTo>
                    <a:lnTo>
                      <a:pt x="432" y="38"/>
                    </a:lnTo>
                    <a:lnTo>
                      <a:pt x="427" y="40"/>
                    </a:lnTo>
                    <a:lnTo>
                      <a:pt x="424" y="38"/>
                    </a:lnTo>
                    <a:lnTo>
                      <a:pt x="426" y="37"/>
                    </a:lnTo>
                    <a:lnTo>
                      <a:pt x="427" y="37"/>
                    </a:lnTo>
                    <a:lnTo>
                      <a:pt x="429" y="35"/>
                    </a:lnTo>
                    <a:lnTo>
                      <a:pt x="434" y="34"/>
                    </a:lnTo>
                    <a:lnTo>
                      <a:pt x="442" y="29"/>
                    </a:lnTo>
                    <a:lnTo>
                      <a:pt x="450" y="26"/>
                    </a:lnTo>
                    <a:lnTo>
                      <a:pt x="461" y="21"/>
                    </a:lnTo>
                    <a:lnTo>
                      <a:pt x="459" y="21"/>
                    </a:lnTo>
                    <a:lnTo>
                      <a:pt x="456" y="21"/>
                    </a:lnTo>
                    <a:lnTo>
                      <a:pt x="454" y="19"/>
                    </a:lnTo>
                    <a:lnTo>
                      <a:pt x="453" y="19"/>
                    </a:lnTo>
                    <a:lnTo>
                      <a:pt x="450" y="19"/>
                    </a:lnTo>
                    <a:lnTo>
                      <a:pt x="448" y="19"/>
                    </a:lnTo>
                    <a:lnTo>
                      <a:pt x="448" y="18"/>
                    </a:lnTo>
                    <a:lnTo>
                      <a:pt x="445" y="19"/>
                    </a:lnTo>
                    <a:lnTo>
                      <a:pt x="439" y="21"/>
                    </a:lnTo>
                    <a:lnTo>
                      <a:pt x="439" y="19"/>
                    </a:lnTo>
                    <a:lnTo>
                      <a:pt x="437" y="18"/>
                    </a:lnTo>
                    <a:lnTo>
                      <a:pt x="435" y="18"/>
                    </a:lnTo>
                    <a:lnTo>
                      <a:pt x="434" y="16"/>
                    </a:lnTo>
                    <a:lnTo>
                      <a:pt x="432" y="18"/>
                    </a:lnTo>
                    <a:lnTo>
                      <a:pt x="432" y="16"/>
                    </a:lnTo>
                    <a:lnTo>
                      <a:pt x="431" y="16"/>
                    </a:lnTo>
                    <a:lnTo>
                      <a:pt x="431" y="13"/>
                    </a:lnTo>
                    <a:lnTo>
                      <a:pt x="427" y="13"/>
                    </a:lnTo>
                    <a:lnTo>
                      <a:pt x="424" y="13"/>
                    </a:lnTo>
                    <a:lnTo>
                      <a:pt x="421" y="13"/>
                    </a:lnTo>
                    <a:lnTo>
                      <a:pt x="418" y="16"/>
                    </a:lnTo>
                    <a:lnTo>
                      <a:pt x="418" y="13"/>
                    </a:lnTo>
                    <a:lnTo>
                      <a:pt x="416" y="13"/>
                    </a:lnTo>
                    <a:lnTo>
                      <a:pt x="415" y="13"/>
                    </a:lnTo>
                    <a:lnTo>
                      <a:pt x="413" y="13"/>
                    </a:lnTo>
                    <a:lnTo>
                      <a:pt x="410" y="10"/>
                    </a:lnTo>
                    <a:lnTo>
                      <a:pt x="410" y="10"/>
                    </a:lnTo>
                    <a:lnTo>
                      <a:pt x="413" y="5"/>
                    </a:lnTo>
                    <a:lnTo>
                      <a:pt x="410" y="0"/>
                    </a:lnTo>
                    <a:lnTo>
                      <a:pt x="410" y="2"/>
                    </a:lnTo>
                    <a:lnTo>
                      <a:pt x="407" y="7"/>
                    </a:lnTo>
                    <a:lnTo>
                      <a:pt x="100" y="7"/>
                    </a:lnTo>
                    <a:lnTo>
                      <a:pt x="100" y="10"/>
                    </a:lnTo>
                    <a:lnTo>
                      <a:pt x="100" y="10"/>
                    </a:lnTo>
                    <a:lnTo>
                      <a:pt x="99" y="13"/>
                    </a:lnTo>
                    <a:lnTo>
                      <a:pt x="97" y="16"/>
                    </a:lnTo>
                    <a:lnTo>
                      <a:pt x="96" y="16"/>
                    </a:lnTo>
                    <a:lnTo>
                      <a:pt x="96" y="16"/>
                    </a:lnTo>
                    <a:lnTo>
                      <a:pt x="97" y="16"/>
                    </a:lnTo>
                    <a:lnTo>
                      <a:pt x="97" y="18"/>
                    </a:lnTo>
                    <a:lnTo>
                      <a:pt x="97" y="21"/>
                    </a:lnTo>
                    <a:lnTo>
                      <a:pt x="96" y="23"/>
                    </a:lnTo>
                    <a:lnTo>
                      <a:pt x="94" y="24"/>
                    </a:lnTo>
                    <a:lnTo>
                      <a:pt x="92" y="26"/>
                    </a:lnTo>
                    <a:lnTo>
                      <a:pt x="91" y="27"/>
                    </a:lnTo>
                    <a:lnTo>
                      <a:pt x="91" y="29"/>
                    </a:lnTo>
                    <a:lnTo>
                      <a:pt x="89" y="31"/>
                    </a:lnTo>
                    <a:lnTo>
                      <a:pt x="86" y="32"/>
                    </a:lnTo>
                    <a:lnTo>
                      <a:pt x="86" y="34"/>
                    </a:lnTo>
                    <a:lnTo>
                      <a:pt x="83" y="34"/>
                    </a:lnTo>
                    <a:lnTo>
                      <a:pt x="86" y="32"/>
                    </a:lnTo>
                    <a:lnTo>
                      <a:pt x="86" y="31"/>
                    </a:lnTo>
                    <a:lnTo>
                      <a:pt x="88" y="29"/>
                    </a:lnTo>
                    <a:lnTo>
                      <a:pt x="86" y="29"/>
                    </a:lnTo>
                    <a:lnTo>
                      <a:pt x="89" y="26"/>
                    </a:lnTo>
                    <a:lnTo>
                      <a:pt x="91" y="24"/>
                    </a:lnTo>
                    <a:lnTo>
                      <a:pt x="92" y="23"/>
                    </a:lnTo>
                    <a:lnTo>
                      <a:pt x="86" y="27"/>
                    </a:lnTo>
                    <a:lnTo>
                      <a:pt x="83" y="29"/>
                    </a:lnTo>
                    <a:lnTo>
                      <a:pt x="83" y="31"/>
                    </a:lnTo>
                    <a:lnTo>
                      <a:pt x="80" y="31"/>
                    </a:lnTo>
                    <a:lnTo>
                      <a:pt x="86" y="26"/>
                    </a:lnTo>
                    <a:lnTo>
                      <a:pt x="88" y="24"/>
                    </a:lnTo>
                    <a:lnTo>
                      <a:pt x="86" y="26"/>
                    </a:lnTo>
                    <a:lnTo>
                      <a:pt x="89" y="24"/>
                    </a:lnTo>
                    <a:lnTo>
                      <a:pt x="91" y="23"/>
                    </a:lnTo>
                    <a:lnTo>
                      <a:pt x="91" y="19"/>
                    </a:lnTo>
                    <a:lnTo>
                      <a:pt x="89" y="21"/>
                    </a:lnTo>
                    <a:lnTo>
                      <a:pt x="89" y="19"/>
                    </a:lnTo>
                    <a:lnTo>
                      <a:pt x="86" y="19"/>
                    </a:lnTo>
                    <a:lnTo>
                      <a:pt x="83" y="19"/>
                    </a:lnTo>
                    <a:lnTo>
                      <a:pt x="77" y="18"/>
                    </a:lnTo>
                    <a:lnTo>
                      <a:pt x="73" y="16"/>
                    </a:lnTo>
                    <a:lnTo>
                      <a:pt x="72" y="16"/>
                    </a:lnTo>
                    <a:lnTo>
                      <a:pt x="72" y="19"/>
                    </a:lnTo>
                    <a:lnTo>
                      <a:pt x="70" y="24"/>
                    </a:lnTo>
                    <a:lnTo>
                      <a:pt x="69" y="31"/>
                    </a:lnTo>
                    <a:lnTo>
                      <a:pt x="65" y="37"/>
                    </a:lnTo>
                    <a:lnTo>
                      <a:pt x="65" y="37"/>
                    </a:lnTo>
                    <a:lnTo>
                      <a:pt x="64" y="38"/>
                    </a:lnTo>
                    <a:lnTo>
                      <a:pt x="67" y="40"/>
                    </a:lnTo>
                    <a:lnTo>
                      <a:pt x="65" y="40"/>
                    </a:lnTo>
                    <a:lnTo>
                      <a:pt x="64" y="42"/>
                    </a:lnTo>
                    <a:lnTo>
                      <a:pt x="61" y="43"/>
                    </a:lnTo>
                    <a:lnTo>
                      <a:pt x="61" y="45"/>
                    </a:lnTo>
                    <a:lnTo>
                      <a:pt x="62" y="46"/>
                    </a:lnTo>
                    <a:lnTo>
                      <a:pt x="59" y="48"/>
                    </a:lnTo>
                    <a:lnTo>
                      <a:pt x="58" y="51"/>
                    </a:lnTo>
                    <a:lnTo>
                      <a:pt x="54" y="54"/>
                    </a:lnTo>
                    <a:lnTo>
                      <a:pt x="54" y="58"/>
                    </a:lnTo>
                    <a:lnTo>
                      <a:pt x="51" y="59"/>
                    </a:lnTo>
                    <a:lnTo>
                      <a:pt x="51" y="61"/>
                    </a:lnTo>
                    <a:lnTo>
                      <a:pt x="48" y="65"/>
                    </a:lnTo>
                    <a:lnTo>
                      <a:pt x="45" y="69"/>
                    </a:lnTo>
                    <a:lnTo>
                      <a:pt x="40" y="75"/>
                    </a:lnTo>
                    <a:lnTo>
                      <a:pt x="37" y="80"/>
                    </a:lnTo>
                    <a:lnTo>
                      <a:pt x="35" y="81"/>
                    </a:lnTo>
                    <a:lnTo>
                      <a:pt x="32" y="83"/>
                    </a:lnTo>
                    <a:lnTo>
                      <a:pt x="31" y="86"/>
                    </a:lnTo>
                    <a:lnTo>
                      <a:pt x="32" y="86"/>
                    </a:lnTo>
                    <a:lnTo>
                      <a:pt x="31" y="88"/>
                    </a:lnTo>
                    <a:lnTo>
                      <a:pt x="29" y="88"/>
                    </a:lnTo>
                    <a:lnTo>
                      <a:pt x="27" y="91"/>
                    </a:lnTo>
                    <a:lnTo>
                      <a:pt x="24" y="96"/>
                    </a:lnTo>
                    <a:lnTo>
                      <a:pt x="21" y="100"/>
                    </a:lnTo>
                    <a:lnTo>
                      <a:pt x="18" y="104"/>
                    </a:lnTo>
                    <a:lnTo>
                      <a:pt x="18" y="107"/>
                    </a:lnTo>
                    <a:lnTo>
                      <a:pt x="18" y="108"/>
                    </a:lnTo>
                    <a:lnTo>
                      <a:pt x="18" y="111"/>
                    </a:lnTo>
                    <a:lnTo>
                      <a:pt x="18" y="113"/>
                    </a:lnTo>
                    <a:lnTo>
                      <a:pt x="15" y="116"/>
                    </a:lnTo>
                    <a:lnTo>
                      <a:pt x="13" y="119"/>
                    </a:lnTo>
                    <a:lnTo>
                      <a:pt x="10" y="123"/>
                    </a:lnTo>
                    <a:lnTo>
                      <a:pt x="10" y="124"/>
                    </a:lnTo>
                    <a:lnTo>
                      <a:pt x="11" y="124"/>
                    </a:lnTo>
                    <a:lnTo>
                      <a:pt x="7" y="127"/>
                    </a:lnTo>
                    <a:lnTo>
                      <a:pt x="4" y="132"/>
                    </a:lnTo>
                    <a:lnTo>
                      <a:pt x="5" y="135"/>
                    </a:lnTo>
                    <a:lnTo>
                      <a:pt x="5" y="138"/>
                    </a:lnTo>
                    <a:lnTo>
                      <a:pt x="4" y="143"/>
                    </a:lnTo>
                    <a:lnTo>
                      <a:pt x="0" y="150"/>
                    </a:lnTo>
                    <a:lnTo>
                      <a:pt x="2" y="153"/>
                    </a:lnTo>
                    <a:lnTo>
                      <a:pt x="2" y="153"/>
                    </a:lnTo>
                    <a:lnTo>
                      <a:pt x="4" y="156"/>
                    </a:lnTo>
                    <a:lnTo>
                      <a:pt x="4" y="159"/>
                    </a:lnTo>
                    <a:lnTo>
                      <a:pt x="5" y="162"/>
                    </a:lnTo>
                    <a:lnTo>
                      <a:pt x="4" y="162"/>
                    </a:lnTo>
                    <a:lnTo>
                      <a:pt x="2" y="162"/>
                    </a:lnTo>
                    <a:lnTo>
                      <a:pt x="4" y="162"/>
                    </a:lnTo>
                    <a:lnTo>
                      <a:pt x="7" y="165"/>
                    </a:lnTo>
                    <a:lnTo>
                      <a:pt x="8" y="164"/>
                    </a:lnTo>
                    <a:lnTo>
                      <a:pt x="8" y="162"/>
                    </a:lnTo>
                    <a:lnTo>
                      <a:pt x="10" y="162"/>
                    </a:lnTo>
                    <a:lnTo>
                      <a:pt x="13" y="162"/>
                    </a:lnTo>
                    <a:lnTo>
                      <a:pt x="10" y="164"/>
                    </a:lnTo>
                    <a:lnTo>
                      <a:pt x="10" y="165"/>
                    </a:lnTo>
                    <a:lnTo>
                      <a:pt x="10" y="172"/>
                    </a:lnTo>
                    <a:lnTo>
                      <a:pt x="7" y="169"/>
                    </a:lnTo>
                    <a:lnTo>
                      <a:pt x="8" y="165"/>
                    </a:lnTo>
                    <a:lnTo>
                      <a:pt x="5" y="169"/>
                    </a:lnTo>
                    <a:lnTo>
                      <a:pt x="5" y="172"/>
                    </a:lnTo>
                    <a:lnTo>
                      <a:pt x="4" y="175"/>
                    </a:lnTo>
                    <a:lnTo>
                      <a:pt x="4" y="177"/>
                    </a:lnTo>
                    <a:lnTo>
                      <a:pt x="5" y="178"/>
                    </a:lnTo>
                    <a:lnTo>
                      <a:pt x="8" y="180"/>
                    </a:lnTo>
                    <a:lnTo>
                      <a:pt x="8" y="181"/>
                    </a:lnTo>
                    <a:lnTo>
                      <a:pt x="7" y="183"/>
                    </a:lnTo>
                    <a:lnTo>
                      <a:pt x="5" y="185"/>
                    </a:lnTo>
                    <a:lnTo>
                      <a:pt x="4" y="188"/>
                    </a:lnTo>
                    <a:lnTo>
                      <a:pt x="5" y="191"/>
                    </a:lnTo>
                    <a:lnTo>
                      <a:pt x="7" y="194"/>
                    </a:lnTo>
                    <a:lnTo>
                      <a:pt x="7" y="197"/>
                    </a:lnTo>
                    <a:lnTo>
                      <a:pt x="7" y="197"/>
                    </a:lnTo>
                    <a:lnTo>
                      <a:pt x="8" y="199"/>
                    </a:lnTo>
                    <a:lnTo>
                      <a:pt x="10" y="202"/>
                    </a:lnTo>
                    <a:lnTo>
                      <a:pt x="8" y="204"/>
                    </a:lnTo>
                    <a:lnTo>
                      <a:pt x="10" y="204"/>
                    </a:lnTo>
                    <a:lnTo>
                      <a:pt x="10" y="205"/>
                    </a:lnTo>
                    <a:lnTo>
                      <a:pt x="10" y="208"/>
                    </a:lnTo>
                    <a:lnTo>
                      <a:pt x="8" y="212"/>
                    </a:lnTo>
                    <a:lnTo>
                      <a:pt x="8" y="215"/>
                    </a:lnTo>
                    <a:lnTo>
                      <a:pt x="10" y="215"/>
                    </a:lnTo>
                    <a:lnTo>
                      <a:pt x="15" y="215"/>
                    </a:lnTo>
                    <a:lnTo>
                      <a:pt x="18" y="216"/>
                    </a:lnTo>
                    <a:lnTo>
                      <a:pt x="21" y="216"/>
                    </a:lnTo>
                    <a:lnTo>
                      <a:pt x="21" y="218"/>
                    </a:lnTo>
                    <a:lnTo>
                      <a:pt x="24" y="221"/>
                    </a:lnTo>
                    <a:lnTo>
                      <a:pt x="27" y="221"/>
                    </a:lnTo>
                    <a:lnTo>
                      <a:pt x="29" y="221"/>
                    </a:lnTo>
                    <a:lnTo>
                      <a:pt x="29" y="223"/>
                    </a:lnTo>
                    <a:lnTo>
                      <a:pt x="29" y="223"/>
                    </a:lnTo>
                    <a:lnTo>
                      <a:pt x="29" y="226"/>
                    </a:lnTo>
                    <a:lnTo>
                      <a:pt x="32" y="226"/>
                    </a:lnTo>
                    <a:lnTo>
                      <a:pt x="34" y="226"/>
                    </a:lnTo>
                    <a:lnTo>
                      <a:pt x="37" y="229"/>
                    </a:lnTo>
                    <a:lnTo>
                      <a:pt x="38" y="234"/>
                    </a:lnTo>
                    <a:lnTo>
                      <a:pt x="37" y="242"/>
                    </a:lnTo>
                    <a:lnTo>
                      <a:pt x="37" y="242"/>
                    </a:lnTo>
                    <a:lnTo>
                      <a:pt x="37" y="242"/>
                    </a:lnTo>
                    <a:lnTo>
                      <a:pt x="37" y="242"/>
                    </a:lnTo>
                    <a:lnTo>
                      <a:pt x="37" y="242"/>
                    </a:lnTo>
                    <a:lnTo>
                      <a:pt x="37" y="242"/>
                    </a:lnTo>
                    <a:lnTo>
                      <a:pt x="37" y="243"/>
                    </a:lnTo>
                    <a:lnTo>
                      <a:pt x="37" y="243"/>
                    </a:lnTo>
                    <a:lnTo>
                      <a:pt x="67" y="240"/>
                    </a:lnTo>
                    <a:lnTo>
                      <a:pt x="65" y="243"/>
                    </a:lnTo>
                    <a:lnTo>
                      <a:pt x="105" y="261"/>
                    </a:lnTo>
                    <a:lnTo>
                      <a:pt x="138" y="261"/>
                    </a:lnTo>
                    <a:lnTo>
                      <a:pt x="138" y="254"/>
                    </a:lnTo>
                    <a:lnTo>
                      <a:pt x="161" y="254"/>
                    </a:lnTo>
                    <a:lnTo>
                      <a:pt x="162" y="254"/>
                    </a:lnTo>
                    <a:lnTo>
                      <a:pt x="162" y="254"/>
                    </a:lnTo>
                    <a:lnTo>
                      <a:pt x="164" y="258"/>
                    </a:lnTo>
                    <a:lnTo>
                      <a:pt x="167" y="261"/>
                    </a:lnTo>
                    <a:lnTo>
                      <a:pt x="170" y="264"/>
                    </a:lnTo>
                    <a:lnTo>
                      <a:pt x="170" y="267"/>
                    </a:lnTo>
                    <a:lnTo>
                      <a:pt x="173" y="269"/>
                    </a:lnTo>
                    <a:lnTo>
                      <a:pt x="177" y="272"/>
                    </a:lnTo>
                    <a:lnTo>
                      <a:pt x="177" y="277"/>
                    </a:lnTo>
                    <a:lnTo>
                      <a:pt x="177" y="278"/>
                    </a:lnTo>
                    <a:lnTo>
                      <a:pt x="177" y="285"/>
                    </a:lnTo>
                    <a:lnTo>
                      <a:pt x="180" y="288"/>
                    </a:lnTo>
                    <a:lnTo>
                      <a:pt x="185" y="291"/>
                    </a:lnTo>
                    <a:lnTo>
                      <a:pt x="188" y="292"/>
                    </a:lnTo>
                    <a:lnTo>
                      <a:pt x="191" y="292"/>
                    </a:lnTo>
                    <a:lnTo>
                      <a:pt x="192" y="291"/>
                    </a:lnTo>
                    <a:lnTo>
                      <a:pt x="196" y="288"/>
                    </a:lnTo>
                    <a:lnTo>
                      <a:pt x="197" y="285"/>
                    </a:lnTo>
                    <a:lnTo>
                      <a:pt x="199" y="281"/>
                    </a:lnTo>
                    <a:lnTo>
                      <a:pt x="205" y="281"/>
                    </a:lnTo>
                    <a:lnTo>
                      <a:pt x="212" y="281"/>
                    </a:lnTo>
                    <a:lnTo>
                      <a:pt x="213" y="281"/>
                    </a:lnTo>
                    <a:lnTo>
                      <a:pt x="218" y="288"/>
                    </a:lnTo>
                    <a:lnTo>
                      <a:pt x="219" y="289"/>
                    </a:lnTo>
                    <a:lnTo>
                      <a:pt x="221" y="292"/>
                    </a:lnTo>
                    <a:lnTo>
                      <a:pt x="221" y="299"/>
                    </a:lnTo>
                    <a:lnTo>
                      <a:pt x="224" y="305"/>
                    </a:lnTo>
                    <a:lnTo>
                      <a:pt x="227" y="312"/>
                    </a:lnTo>
                    <a:lnTo>
                      <a:pt x="229" y="313"/>
                    </a:lnTo>
                    <a:lnTo>
                      <a:pt x="229" y="316"/>
                    </a:lnTo>
                    <a:lnTo>
                      <a:pt x="229" y="323"/>
                    </a:lnTo>
                    <a:lnTo>
                      <a:pt x="229" y="324"/>
                    </a:lnTo>
                    <a:lnTo>
                      <a:pt x="231" y="329"/>
                    </a:lnTo>
                    <a:lnTo>
                      <a:pt x="232" y="331"/>
                    </a:lnTo>
                    <a:lnTo>
                      <a:pt x="234" y="331"/>
                    </a:lnTo>
                    <a:lnTo>
                      <a:pt x="237" y="332"/>
                    </a:lnTo>
                    <a:lnTo>
                      <a:pt x="240" y="335"/>
                    </a:lnTo>
                    <a:lnTo>
                      <a:pt x="243" y="335"/>
                    </a:lnTo>
                    <a:lnTo>
                      <a:pt x="245" y="335"/>
                    </a:lnTo>
                    <a:lnTo>
                      <a:pt x="246" y="337"/>
                    </a:lnTo>
                    <a:lnTo>
                      <a:pt x="250" y="339"/>
                    </a:lnTo>
                    <a:lnTo>
                      <a:pt x="250" y="339"/>
                    </a:lnTo>
                    <a:lnTo>
                      <a:pt x="251" y="337"/>
                    </a:lnTo>
                    <a:lnTo>
                      <a:pt x="251" y="335"/>
                    </a:lnTo>
                    <a:lnTo>
                      <a:pt x="251" y="332"/>
                    </a:lnTo>
                    <a:lnTo>
                      <a:pt x="251" y="326"/>
                    </a:lnTo>
                    <a:lnTo>
                      <a:pt x="251" y="324"/>
                    </a:lnTo>
                    <a:lnTo>
                      <a:pt x="251" y="323"/>
                    </a:lnTo>
                    <a:lnTo>
                      <a:pt x="253" y="319"/>
                    </a:lnTo>
                    <a:lnTo>
                      <a:pt x="254" y="319"/>
                    </a:lnTo>
                    <a:lnTo>
                      <a:pt x="251" y="319"/>
                    </a:lnTo>
                    <a:lnTo>
                      <a:pt x="250" y="319"/>
                    </a:lnTo>
                    <a:lnTo>
                      <a:pt x="251" y="316"/>
                    </a:lnTo>
                    <a:lnTo>
                      <a:pt x="250" y="316"/>
                    </a:lnTo>
                    <a:lnTo>
                      <a:pt x="253" y="316"/>
                    </a:lnTo>
                    <a:lnTo>
                      <a:pt x="254" y="316"/>
                    </a:lnTo>
                    <a:lnTo>
                      <a:pt x="256" y="313"/>
                    </a:lnTo>
                    <a:lnTo>
                      <a:pt x="256" y="316"/>
                    </a:lnTo>
                    <a:lnTo>
                      <a:pt x="258" y="313"/>
                    </a:lnTo>
                    <a:lnTo>
                      <a:pt x="259" y="312"/>
                    </a:lnTo>
                    <a:lnTo>
                      <a:pt x="258" y="313"/>
                    </a:lnTo>
                    <a:lnTo>
                      <a:pt x="256" y="310"/>
                    </a:lnTo>
                    <a:lnTo>
                      <a:pt x="259" y="310"/>
                    </a:lnTo>
                    <a:lnTo>
                      <a:pt x="261" y="308"/>
                    </a:lnTo>
                    <a:lnTo>
                      <a:pt x="262" y="307"/>
                    </a:lnTo>
                    <a:lnTo>
                      <a:pt x="259" y="307"/>
                    </a:lnTo>
                    <a:lnTo>
                      <a:pt x="261" y="305"/>
                    </a:lnTo>
                    <a:lnTo>
                      <a:pt x="262" y="305"/>
                    </a:lnTo>
                    <a:lnTo>
                      <a:pt x="264" y="305"/>
                    </a:lnTo>
                    <a:lnTo>
                      <a:pt x="265" y="305"/>
                    </a:lnTo>
                    <a:lnTo>
                      <a:pt x="267" y="300"/>
                    </a:lnTo>
                    <a:lnTo>
                      <a:pt x="267" y="302"/>
                    </a:lnTo>
                    <a:lnTo>
                      <a:pt x="269" y="302"/>
                    </a:lnTo>
                    <a:lnTo>
                      <a:pt x="272" y="300"/>
                    </a:lnTo>
                    <a:lnTo>
                      <a:pt x="269" y="300"/>
                    </a:lnTo>
                    <a:lnTo>
                      <a:pt x="269" y="299"/>
                    </a:lnTo>
                    <a:lnTo>
                      <a:pt x="269" y="297"/>
                    </a:lnTo>
                    <a:lnTo>
                      <a:pt x="272" y="299"/>
                    </a:lnTo>
                    <a:lnTo>
                      <a:pt x="272" y="297"/>
                    </a:lnTo>
                    <a:lnTo>
                      <a:pt x="275" y="297"/>
                    </a:lnTo>
                    <a:lnTo>
                      <a:pt x="275" y="299"/>
                    </a:lnTo>
                    <a:lnTo>
                      <a:pt x="278" y="297"/>
                    </a:lnTo>
                    <a:lnTo>
                      <a:pt x="272" y="300"/>
                    </a:lnTo>
                    <a:lnTo>
                      <a:pt x="278" y="297"/>
                    </a:lnTo>
                    <a:lnTo>
                      <a:pt x="281" y="296"/>
                    </a:lnTo>
                    <a:lnTo>
                      <a:pt x="285" y="294"/>
                    </a:lnTo>
                    <a:lnTo>
                      <a:pt x="288" y="292"/>
                    </a:lnTo>
                    <a:lnTo>
                      <a:pt x="294" y="288"/>
                    </a:lnTo>
                    <a:lnTo>
                      <a:pt x="299" y="285"/>
                    </a:lnTo>
                    <a:lnTo>
                      <a:pt x="307" y="285"/>
                    </a:lnTo>
                    <a:lnTo>
                      <a:pt x="305" y="281"/>
                    </a:lnTo>
                    <a:lnTo>
                      <a:pt x="308" y="281"/>
                    </a:lnTo>
                    <a:lnTo>
                      <a:pt x="312" y="281"/>
                    </a:lnTo>
                    <a:lnTo>
                      <a:pt x="313" y="281"/>
                    </a:lnTo>
                    <a:lnTo>
                      <a:pt x="319" y="285"/>
                    </a:lnTo>
                    <a:lnTo>
                      <a:pt x="324" y="285"/>
                    </a:lnTo>
                    <a:lnTo>
                      <a:pt x="327" y="285"/>
                    </a:lnTo>
                    <a:lnTo>
                      <a:pt x="327" y="285"/>
                    </a:lnTo>
                    <a:lnTo>
                      <a:pt x="327" y="281"/>
                    </a:lnTo>
                    <a:lnTo>
                      <a:pt x="331" y="281"/>
                    </a:lnTo>
                    <a:lnTo>
                      <a:pt x="331" y="281"/>
                    </a:lnTo>
                    <a:lnTo>
                      <a:pt x="332" y="281"/>
                    </a:lnTo>
                    <a:lnTo>
                      <a:pt x="334" y="285"/>
                    </a:lnTo>
                    <a:lnTo>
                      <a:pt x="335" y="285"/>
                    </a:lnTo>
                    <a:lnTo>
                      <a:pt x="337" y="285"/>
                    </a:lnTo>
                    <a:lnTo>
                      <a:pt x="337" y="288"/>
                    </a:lnTo>
                    <a:lnTo>
                      <a:pt x="339" y="289"/>
                    </a:lnTo>
                    <a:lnTo>
                      <a:pt x="340" y="291"/>
                    </a:lnTo>
                    <a:lnTo>
                      <a:pt x="343" y="291"/>
                    </a:lnTo>
                    <a:lnTo>
                      <a:pt x="345" y="289"/>
                    </a:lnTo>
                    <a:lnTo>
                      <a:pt x="345" y="288"/>
                    </a:lnTo>
                    <a:lnTo>
                      <a:pt x="346" y="288"/>
                    </a:lnTo>
                    <a:lnTo>
                      <a:pt x="348" y="289"/>
                    </a:lnTo>
                    <a:lnTo>
                      <a:pt x="348" y="291"/>
                    </a:lnTo>
                    <a:lnTo>
                      <a:pt x="351" y="289"/>
                    </a:lnTo>
                    <a:lnTo>
                      <a:pt x="351" y="288"/>
                    </a:lnTo>
                    <a:lnTo>
                      <a:pt x="351" y="285"/>
                    </a:lnTo>
                    <a:lnTo>
                      <a:pt x="354" y="285"/>
                    </a:lnTo>
                    <a:lnTo>
                      <a:pt x="354" y="288"/>
                    </a:lnTo>
                    <a:lnTo>
                      <a:pt x="354" y="288"/>
                    </a:lnTo>
                    <a:lnTo>
                      <a:pt x="358" y="289"/>
                    </a:lnTo>
                    <a:lnTo>
                      <a:pt x="358" y="291"/>
                    </a:lnTo>
                    <a:lnTo>
                      <a:pt x="359" y="291"/>
                    </a:lnTo>
                    <a:lnTo>
                      <a:pt x="358" y="294"/>
                    </a:lnTo>
                    <a:lnTo>
                      <a:pt x="359" y="292"/>
                    </a:lnTo>
                    <a:lnTo>
                      <a:pt x="361" y="292"/>
                    </a:lnTo>
                    <a:lnTo>
                      <a:pt x="362" y="291"/>
                    </a:lnTo>
                    <a:lnTo>
                      <a:pt x="362" y="289"/>
                    </a:lnTo>
                    <a:lnTo>
                      <a:pt x="361" y="288"/>
                    </a:lnTo>
                    <a:lnTo>
                      <a:pt x="358" y="288"/>
                    </a:lnTo>
                    <a:lnTo>
                      <a:pt x="358" y="285"/>
                    </a:lnTo>
                    <a:lnTo>
                      <a:pt x="358" y="285"/>
                    </a:lnTo>
                    <a:lnTo>
                      <a:pt x="358" y="285"/>
                    </a:lnTo>
                    <a:lnTo>
                      <a:pt x="358" y="281"/>
                    </a:lnTo>
                    <a:lnTo>
                      <a:pt x="359" y="281"/>
                    </a:lnTo>
                    <a:lnTo>
                      <a:pt x="361" y="281"/>
                    </a:lnTo>
                    <a:lnTo>
                      <a:pt x="361" y="278"/>
                    </a:lnTo>
                    <a:lnTo>
                      <a:pt x="359" y="278"/>
                    </a:lnTo>
                    <a:lnTo>
                      <a:pt x="359" y="278"/>
                    </a:lnTo>
                    <a:lnTo>
                      <a:pt x="358" y="281"/>
                    </a:lnTo>
                    <a:lnTo>
                      <a:pt x="358" y="278"/>
                    </a:lnTo>
                    <a:lnTo>
                      <a:pt x="358" y="278"/>
                    </a:lnTo>
                    <a:lnTo>
                      <a:pt x="359" y="277"/>
                    </a:lnTo>
                    <a:lnTo>
                      <a:pt x="361" y="277"/>
                    </a:lnTo>
                    <a:lnTo>
                      <a:pt x="362" y="275"/>
                    </a:lnTo>
                    <a:lnTo>
                      <a:pt x="366" y="273"/>
                    </a:lnTo>
                    <a:lnTo>
                      <a:pt x="369" y="273"/>
                    </a:lnTo>
                    <a:lnTo>
                      <a:pt x="372" y="273"/>
                    </a:lnTo>
                    <a:lnTo>
                      <a:pt x="372" y="273"/>
                    </a:lnTo>
                    <a:lnTo>
                      <a:pt x="375" y="273"/>
                    </a:lnTo>
                    <a:lnTo>
                      <a:pt x="378" y="273"/>
                    </a:lnTo>
                    <a:lnTo>
                      <a:pt x="378" y="272"/>
                    </a:lnTo>
                    <a:lnTo>
                      <a:pt x="381" y="269"/>
                    </a:lnTo>
                    <a:lnTo>
                      <a:pt x="381" y="272"/>
                    </a:lnTo>
                    <a:lnTo>
                      <a:pt x="381" y="275"/>
                    </a:lnTo>
                    <a:lnTo>
                      <a:pt x="385" y="275"/>
                    </a:lnTo>
                    <a:lnTo>
                      <a:pt x="388" y="273"/>
                    </a:lnTo>
                    <a:lnTo>
                      <a:pt x="389" y="273"/>
                    </a:lnTo>
                    <a:lnTo>
                      <a:pt x="391" y="272"/>
                    </a:lnTo>
                    <a:lnTo>
                      <a:pt x="392" y="270"/>
                    </a:lnTo>
                    <a:lnTo>
                      <a:pt x="392" y="272"/>
                    </a:lnTo>
                    <a:lnTo>
                      <a:pt x="394" y="272"/>
                    </a:lnTo>
                    <a:lnTo>
                      <a:pt x="391" y="273"/>
                    </a:lnTo>
                    <a:lnTo>
                      <a:pt x="397" y="272"/>
                    </a:lnTo>
                    <a:lnTo>
                      <a:pt x="399" y="272"/>
                    </a:lnTo>
                    <a:lnTo>
                      <a:pt x="400" y="272"/>
                    </a:lnTo>
                    <a:lnTo>
                      <a:pt x="404" y="273"/>
                    </a:lnTo>
                    <a:lnTo>
                      <a:pt x="400" y="273"/>
                    </a:lnTo>
                    <a:lnTo>
                      <a:pt x="399" y="273"/>
                    </a:lnTo>
                    <a:lnTo>
                      <a:pt x="404" y="275"/>
                    </a:lnTo>
                    <a:lnTo>
                      <a:pt x="407" y="277"/>
                    </a:lnTo>
                    <a:lnTo>
                      <a:pt x="407" y="275"/>
                    </a:lnTo>
                    <a:lnTo>
                      <a:pt x="410" y="275"/>
                    </a:lnTo>
                    <a:lnTo>
                      <a:pt x="407" y="277"/>
                    </a:lnTo>
                    <a:lnTo>
                      <a:pt x="410" y="277"/>
                    </a:lnTo>
                    <a:lnTo>
                      <a:pt x="410" y="278"/>
                    </a:lnTo>
                    <a:lnTo>
                      <a:pt x="410" y="278"/>
                    </a:lnTo>
                    <a:lnTo>
                      <a:pt x="410" y="281"/>
                    </a:lnTo>
                    <a:lnTo>
                      <a:pt x="410" y="285"/>
                    </a:lnTo>
                    <a:lnTo>
                      <a:pt x="413" y="281"/>
                    </a:lnTo>
                    <a:lnTo>
                      <a:pt x="415" y="281"/>
                    </a:lnTo>
                    <a:lnTo>
                      <a:pt x="416" y="281"/>
                    </a:lnTo>
                    <a:lnTo>
                      <a:pt x="418" y="281"/>
                    </a:lnTo>
                    <a:lnTo>
                      <a:pt x="421" y="281"/>
                    </a:lnTo>
                    <a:lnTo>
                      <a:pt x="421" y="278"/>
                    </a:lnTo>
                    <a:lnTo>
                      <a:pt x="424" y="278"/>
                    </a:lnTo>
                    <a:lnTo>
                      <a:pt x="427" y="278"/>
                    </a:lnTo>
                    <a:lnTo>
                      <a:pt x="431" y="278"/>
                    </a:lnTo>
                    <a:lnTo>
                      <a:pt x="432" y="281"/>
                    </a:lnTo>
                    <a:lnTo>
                      <a:pt x="434" y="285"/>
                    </a:lnTo>
                    <a:lnTo>
                      <a:pt x="437" y="289"/>
                    </a:lnTo>
                    <a:lnTo>
                      <a:pt x="439" y="291"/>
                    </a:lnTo>
                    <a:lnTo>
                      <a:pt x="439" y="292"/>
                    </a:lnTo>
                    <a:lnTo>
                      <a:pt x="439" y="297"/>
                    </a:lnTo>
                    <a:lnTo>
                      <a:pt x="437" y="305"/>
                    </a:lnTo>
                    <a:lnTo>
                      <a:pt x="435" y="308"/>
                    </a:lnTo>
                    <a:lnTo>
                      <a:pt x="435" y="312"/>
                    </a:lnTo>
                    <a:lnTo>
                      <a:pt x="437" y="313"/>
                    </a:lnTo>
                    <a:lnTo>
                      <a:pt x="437" y="312"/>
                    </a:lnTo>
                    <a:lnTo>
                      <a:pt x="437" y="310"/>
                    </a:lnTo>
                    <a:lnTo>
                      <a:pt x="437" y="308"/>
                    </a:lnTo>
                    <a:lnTo>
                      <a:pt x="437" y="307"/>
                    </a:lnTo>
                    <a:lnTo>
                      <a:pt x="439" y="308"/>
                    </a:lnTo>
                    <a:lnTo>
                      <a:pt x="439" y="310"/>
                    </a:lnTo>
                    <a:lnTo>
                      <a:pt x="439" y="308"/>
                    </a:lnTo>
                    <a:lnTo>
                      <a:pt x="439" y="310"/>
                    </a:lnTo>
                    <a:lnTo>
                      <a:pt x="439" y="313"/>
                    </a:lnTo>
                    <a:lnTo>
                      <a:pt x="435" y="316"/>
                    </a:lnTo>
                    <a:lnTo>
                      <a:pt x="437" y="316"/>
                    </a:lnTo>
                    <a:lnTo>
                      <a:pt x="437" y="319"/>
                    </a:lnTo>
                    <a:lnTo>
                      <a:pt x="437" y="323"/>
                    </a:lnTo>
                    <a:lnTo>
                      <a:pt x="439" y="323"/>
                    </a:lnTo>
                    <a:lnTo>
                      <a:pt x="439" y="324"/>
                    </a:lnTo>
                    <a:lnTo>
                      <a:pt x="439" y="323"/>
                    </a:lnTo>
                    <a:lnTo>
                      <a:pt x="439" y="323"/>
                    </a:lnTo>
                    <a:lnTo>
                      <a:pt x="442" y="323"/>
                    </a:lnTo>
                    <a:lnTo>
                      <a:pt x="442" y="326"/>
                    </a:lnTo>
                    <a:lnTo>
                      <a:pt x="442" y="327"/>
                    </a:lnTo>
                    <a:lnTo>
                      <a:pt x="445" y="326"/>
                    </a:lnTo>
                    <a:lnTo>
                      <a:pt x="442" y="329"/>
                    </a:lnTo>
                    <a:lnTo>
                      <a:pt x="442" y="331"/>
                    </a:lnTo>
                    <a:lnTo>
                      <a:pt x="442" y="332"/>
                    </a:lnTo>
                    <a:lnTo>
                      <a:pt x="442" y="335"/>
                    </a:lnTo>
                    <a:lnTo>
                      <a:pt x="442" y="337"/>
                    </a:lnTo>
                    <a:lnTo>
                      <a:pt x="445" y="339"/>
                    </a:lnTo>
                    <a:lnTo>
                      <a:pt x="448" y="342"/>
                    </a:lnTo>
                    <a:lnTo>
                      <a:pt x="448" y="345"/>
                    </a:lnTo>
                    <a:lnTo>
                      <a:pt x="450" y="345"/>
                    </a:lnTo>
                    <a:lnTo>
                      <a:pt x="450" y="348"/>
                    </a:lnTo>
                    <a:lnTo>
                      <a:pt x="448" y="345"/>
                    </a:lnTo>
                    <a:lnTo>
                      <a:pt x="448" y="348"/>
                    </a:lnTo>
                    <a:lnTo>
                      <a:pt x="448" y="348"/>
                    </a:lnTo>
                    <a:lnTo>
                      <a:pt x="451" y="348"/>
                    </a:lnTo>
                    <a:lnTo>
                      <a:pt x="453" y="348"/>
                    </a:lnTo>
                    <a:lnTo>
                      <a:pt x="454" y="348"/>
                    </a:lnTo>
                    <a:lnTo>
                      <a:pt x="456" y="348"/>
                    </a:lnTo>
                    <a:lnTo>
                      <a:pt x="458" y="345"/>
                    </a:lnTo>
                    <a:lnTo>
                      <a:pt x="459" y="343"/>
                    </a:lnTo>
                    <a:lnTo>
                      <a:pt x="462" y="337"/>
                    </a:lnTo>
                    <a:lnTo>
                      <a:pt x="466" y="327"/>
                    </a:lnTo>
                    <a:lnTo>
                      <a:pt x="466" y="323"/>
                    </a:lnTo>
                    <a:lnTo>
                      <a:pt x="466" y="319"/>
                    </a:lnTo>
                    <a:lnTo>
                      <a:pt x="464" y="319"/>
                    </a:lnTo>
                    <a:lnTo>
                      <a:pt x="466" y="316"/>
                    </a:lnTo>
                    <a:lnTo>
                      <a:pt x="466" y="313"/>
                    </a:lnTo>
                    <a:lnTo>
                      <a:pt x="464" y="310"/>
                    </a:lnTo>
                    <a:lnTo>
                      <a:pt x="464" y="307"/>
                    </a:lnTo>
                    <a:lnTo>
                      <a:pt x="464" y="305"/>
                    </a:lnTo>
                    <a:lnTo>
                      <a:pt x="464" y="302"/>
                    </a:lnTo>
                    <a:lnTo>
                      <a:pt x="464" y="300"/>
                    </a:lnTo>
                    <a:lnTo>
                      <a:pt x="464" y="299"/>
                    </a:lnTo>
                    <a:lnTo>
                      <a:pt x="464" y="297"/>
                    </a:lnTo>
                    <a:lnTo>
                      <a:pt x="461" y="288"/>
                    </a:lnTo>
                    <a:lnTo>
                      <a:pt x="461" y="281"/>
                    </a:lnTo>
                    <a:lnTo>
                      <a:pt x="461" y="272"/>
                    </a:lnTo>
                    <a:lnTo>
                      <a:pt x="461" y="270"/>
                    </a:lnTo>
                    <a:lnTo>
                      <a:pt x="461" y="269"/>
                    </a:lnTo>
                    <a:lnTo>
                      <a:pt x="461" y="265"/>
                    </a:lnTo>
                    <a:lnTo>
                      <a:pt x="462" y="264"/>
                    </a:lnTo>
                    <a:lnTo>
                      <a:pt x="464" y="261"/>
                    </a:lnTo>
                    <a:lnTo>
                      <a:pt x="466" y="261"/>
                    </a:lnTo>
                    <a:lnTo>
                      <a:pt x="464" y="261"/>
                    </a:lnTo>
                    <a:lnTo>
                      <a:pt x="466" y="261"/>
                    </a:lnTo>
                    <a:lnTo>
                      <a:pt x="466" y="258"/>
                    </a:lnTo>
                    <a:lnTo>
                      <a:pt x="467" y="258"/>
                    </a:lnTo>
                    <a:lnTo>
                      <a:pt x="466" y="258"/>
                    </a:lnTo>
                    <a:lnTo>
                      <a:pt x="469" y="258"/>
                    </a:lnTo>
                    <a:lnTo>
                      <a:pt x="469" y="254"/>
                    </a:lnTo>
                    <a:lnTo>
                      <a:pt x="470" y="254"/>
                    </a:lnTo>
                    <a:lnTo>
                      <a:pt x="470" y="253"/>
                    </a:lnTo>
                    <a:lnTo>
                      <a:pt x="473" y="251"/>
                    </a:lnTo>
                    <a:lnTo>
                      <a:pt x="473" y="248"/>
                    </a:lnTo>
                    <a:lnTo>
                      <a:pt x="477" y="246"/>
                    </a:lnTo>
                    <a:lnTo>
                      <a:pt x="477" y="245"/>
                    </a:lnTo>
                    <a:lnTo>
                      <a:pt x="477" y="246"/>
                    </a:lnTo>
                    <a:lnTo>
                      <a:pt x="480" y="246"/>
                    </a:lnTo>
                    <a:lnTo>
                      <a:pt x="480" y="245"/>
                    </a:lnTo>
                    <a:lnTo>
                      <a:pt x="480" y="245"/>
                    </a:lnTo>
                    <a:lnTo>
                      <a:pt x="480" y="243"/>
                    </a:lnTo>
                    <a:lnTo>
                      <a:pt x="480" y="243"/>
                    </a:lnTo>
                    <a:lnTo>
                      <a:pt x="483" y="243"/>
                    </a:lnTo>
                    <a:lnTo>
                      <a:pt x="485" y="242"/>
                    </a:lnTo>
                    <a:lnTo>
                      <a:pt x="486" y="240"/>
                    </a:lnTo>
                    <a:lnTo>
                      <a:pt x="488" y="240"/>
                    </a:lnTo>
                    <a:lnTo>
                      <a:pt x="488" y="237"/>
                    </a:lnTo>
                    <a:lnTo>
                      <a:pt x="489" y="239"/>
                    </a:lnTo>
                    <a:lnTo>
                      <a:pt x="491" y="239"/>
                    </a:lnTo>
                    <a:lnTo>
                      <a:pt x="494" y="235"/>
                    </a:lnTo>
                    <a:lnTo>
                      <a:pt x="494" y="234"/>
                    </a:lnTo>
                    <a:lnTo>
                      <a:pt x="497" y="234"/>
                    </a:lnTo>
                    <a:lnTo>
                      <a:pt x="497" y="232"/>
                    </a:lnTo>
                    <a:lnTo>
                      <a:pt x="497" y="232"/>
                    </a:lnTo>
                    <a:lnTo>
                      <a:pt x="504" y="226"/>
                    </a:lnTo>
                    <a:lnTo>
                      <a:pt x="504" y="226"/>
                    </a:lnTo>
                    <a:lnTo>
                      <a:pt x="507" y="223"/>
                    </a:lnTo>
                    <a:lnTo>
                      <a:pt x="513" y="223"/>
                    </a:lnTo>
                    <a:lnTo>
                      <a:pt x="515" y="223"/>
                    </a:lnTo>
                    <a:lnTo>
                      <a:pt x="516" y="219"/>
                    </a:lnTo>
                    <a:lnTo>
                      <a:pt x="516" y="223"/>
                    </a:lnTo>
                    <a:lnTo>
                      <a:pt x="520" y="218"/>
                    </a:lnTo>
                    <a:lnTo>
                      <a:pt x="523" y="215"/>
                    </a:lnTo>
                    <a:lnTo>
                      <a:pt x="526" y="213"/>
                    </a:lnTo>
                    <a:lnTo>
                      <a:pt x="527" y="213"/>
                    </a:lnTo>
                    <a:lnTo>
                      <a:pt x="529" y="212"/>
                    </a:lnTo>
                    <a:lnTo>
                      <a:pt x="532" y="210"/>
                    </a:lnTo>
                    <a:lnTo>
                      <a:pt x="535" y="212"/>
                    </a:lnTo>
                    <a:lnTo>
                      <a:pt x="535" y="210"/>
                    </a:lnTo>
                    <a:lnTo>
                      <a:pt x="539" y="210"/>
                    </a:lnTo>
                    <a:lnTo>
                      <a:pt x="540" y="207"/>
                    </a:lnTo>
                    <a:lnTo>
                      <a:pt x="539" y="207"/>
                    </a:lnTo>
                    <a:lnTo>
                      <a:pt x="539" y="207"/>
                    </a:lnTo>
                    <a:lnTo>
                      <a:pt x="535" y="207"/>
                    </a:lnTo>
                    <a:lnTo>
                      <a:pt x="535" y="205"/>
                    </a:lnTo>
                    <a:lnTo>
                      <a:pt x="539" y="205"/>
                    </a:lnTo>
                    <a:lnTo>
                      <a:pt x="539" y="204"/>
                    </a:lnTo>
                    <a:lnTo>
                      <a:pt x="539" y="202"/>
                    </a:lnTo>
                    <a:lnTo>
                      <a:pt x="539" y="200"/>
                    </a:lnTo>
                    <a:lnTo>
                      <a:pt x="532" y="199"/>
                    </a:lnTo>
                    <a:lnTo>
                      <a:pt x="539" y="200"/>
                    </a:lnTo>
                    <a:lnTo>
                      <a:pt x="542" y="202"/>
                    </a:lnTo>
                    <a:lnTo>
                      <a:pt x="543" y="200"/>
                    </a:lnTo>
                    <a:lnTo>
                      <a:pt x="545" y="200"/>
                    </a:lnTo>
                    <a:lnTo>
                      <a:pt x="546" y="199"/>
                    </a:lnTo>
                    <a:lnTo>
                      <a:pt x="548" y="197"/>
                    </a:lnTo>
                    <a:lnTo>
                      <a:pt x="550" y="197"/>
                    </a:lnTo>
                    <a:lnTo>
                      <a:pt x="550" y="197"/>
                    </a:lnTo>
                    <a:lnTo>
                      <a:pt x="550" y="194"/>
                    </a:lnTo>
                    <a:lnTo>
                      <a:pt x="548" y="194"/>
                    </a:lnTo>
                    <a:lnTo>
                      <a:pt x="546" y="197"/>
                    </a:lnTo>
                    <a:lnTo>
                      <a:pt x="545" y="197"/>
                    </a:lnTo>
                    <a:lnTo>
                      <a:pt x="546" y="194"/>
                    </a:lnTo>
                    <a:lnTo>
                      <a:pt x="545" y="194"/>
                    </a:lnTo>
                    <a:lnTo>
                      <a:pt x="543" y="194"/>
                    </a:lnTo>
                    <a:lnTo>
                      <a:pt x="542" y="194"/>
                    </a:lnTo>
                    <a:lnTo>
                      <a:pt x="539" y="194"/>
                    </a:lnTo>
                    <a:lnTo>
                      <a:pt x="539" y="191"/>
                    </a:lnTo>
                    <a:lnTo>
                      <a:pt x="540" y="188"/>
                    </a:lnTo>
                    <a:lnTo>
                      <a:pt x="540" y="191"/>
                    </a:lnTo>
                    <a:lnTo>
                      <a:pt x="540" y="191"/>
                    </a:lnTo>
                    <a:lnTo>
                      <a:pt x="542" y="191"/>
                    </a:lnTo>
                    <a:lnTo>
                      <a:pt x="545" y="191"/>
                    </a:lnTo>
                    <a:lnTo>
                      <a:pt x="543" y="191"/>
                    </a:lnTo>
                    <a:lnTo>
                      <a:pt x="545" y="191"/>
                    </a:lnTo>
                    <a:lnTo>
                      <a:pt x="546" y="191"/>
                    </a:lnTo>
                    <a:lnTo>
                      <a:pt x="548" y="191"/>
                    </a:lnTo>
                    <a:lnTo>
                      <a:pt x="550" y="188"/>
                    </a:lnTo>
                    <a:lnTo>
                      <a:pt x="551" y="191"/>
                    </a:lnTo>
                    <a:lnTo>
                      <a:pt x="551" y="188"/>
                    </a:lnTo>
                    <a:lnTo>
                      <a:pt x="553" y="194"/>
                    </a:lnTo>
                    <a:lnTo>
                      <a:pt x="553" y="191"/>
                    </a:lnTo>
                    <a:lnTo>
                      <a:pt x="553" y="188"/>
                    </a:lnTo>
                    <a:lnTo>
                      <a:pt x="553" y="183"/>
                    </a:lnTo>
                    <a:lnTo>
                      <a:pt x="553" y="180"/>
                    </a:lnTo>
                    <a:lnTo>
                      <a:pt x="551" y="180"/>
                    </a:lnTo>
                    <a:lnTo>
                      <a:pt x="550" y="180"/>
                    </a:lnTo>
                    <a:lnTo>
                      <a:pt x="548" y="180"/>
                    </a:lnTo>
                    <a:lnTo>
                      <a:pt x="546" y="180"/>
                    </a:lnTo>
                    <a:lnTo>
                      <a:pt x="546" y="178"/>
                    </a:lnTo>
                    <a:lnTo>
                      <a:pt x="545" y="177"/>
                    </a:lnTo>
                    <a:lnTo>
                      <a:pt x="543" y="175"/>
                    </a:lnTo>
                    <a:lnTo>
                      <a:pt x="546" y="177"/>
                    </a:lnTo>
                    <a:lnTo>
                      <a:pt x="548" y="178"/>
                    </a:lnTo>
                    <a:lnTo>
                      <a:pt x="550" y="177"/>
                    </a:lnTo>
                    <a:lnTo>
                      <a:pt x="548" y="175"/>
                    </a:lnTo>
                    <a:lnTo>
                      <a:pt x="546" y="173"/>
                    </a:lnTo>
                    <a:lnTo>
                      <a:pt x="548" y="173"/>
                    </a:lnTo>
                    <a:lnTo>
                      <a:pt x="550" y="173"/>
                    </a:lnTo>
                    <a:lnTo>
                      <a:pt x="550" y="172"/>
                    </a:lnTo>
                    <a:lnTo>
                      <a:pt x="551" y="172"/>
                    </a:lnTo>
                    <a:lnTo>
                      <a:pt x="550" y="169"/>
                    </a:lnTo>
                    <a:lnTo>
                      <a:pt x="548" y="167"/>
                    </a:lnTo>
                    <a:lnTo>
                      <a:pt x="551" y="167"/>
                    </a:lnTo>
                    <a:lnTo>
                      <a:pt x="553" y="167"/>
                    </a:lnTo>
                    <a:lnTo>
                      <a:pt x="554" y="165"/>
                    </a:lnTo>
                    <a:lnTo>
                      <a:pt x="553" y="164"/>
                    </a:lnTo>
                    <a:lnTo>
                      <a:pt x="551" y="162"/>
                    </a:lnTo>
                    <a:lnTo>
                      <a:pt x="548" y="162"/>
                    </a:lnTo>
                    <a:lnTo>
                      <a:pt x="546" y="159"/>
                    </a:lnTo>
                    <a:lnTo>
                      <a:pt x="545" y="159"/>
                    </a:lnTo>
                    <a:lnTo>
                      <a:pt x="546" y="156"/>
                    </a:lnTo>
                    <a:lnTo>
                      <a:pt x="548" y="159"/>
                    </a:lnTo>
                    <a:lnTo>
                      <a:pt x="548" y="159"/>
                    </a:lnTo>
                    <a:lnTo>
                      <a:pt x="550" y="159"/>
                    </a:lnTo>
                    <a:lnTo>
                      <a:pt x="550" y="159"/>
                    </a:lnTo>
                    <a:lnTo>
                      <a:pt x="551" y="159"/>
                    </a:lnTo>
                    <a:lnTo>
                      <a:pt x="553" y="162"/>
                    </a:lnTo>
                    <a:lnTo>
                      <a:pt x="554" y="159"/>
                    </a:lnTo>
                    <a:lnTo>
                      <a:pt x="553" y="159"/>
                    </a:lnTo>
                    <a:lnTo>
                      <a:pt x="551" y="156"/>
                    </a:lnTo>
                    <a:lnTo>
                      <a:pt x="553" y="153"/>
                    </a:lnTo>
                    <a:lnTo>
                      <a:pt x="553" y="156"/>
                    </a:lnTo>
                    <a:lnTo>
                      <a:pt x="554" y="159"/>
                    </a:lnTo>
                    <a:lnTo>
                      <a:pt x="554" y="153"/>
                    </a:lnTo>
                    <a:lnTo>
                      <a:pt x="556" y="150"/>
                    </a:lnTo>
                    <a:lnTo>
                      <a:pt x="558" y="150"/>
                    </a:lnTo>
                    <a:lnTo>
                      <a:pt x="558" y="148"/>
                    </a:lnTo>
                    <a:lnTo>
                      <a:pt x="556" y="145"/>
                    </a:lnTo>
                    <a:lnTo>
                      <a:pt x="558" y="146"/>
                    </a:lnTo>
                    <a:lnTo>
                      <a:pt x="559" y="145"/>
                    </a:lnTo>
                    <a:lnTo>
                      <a:pt x="561" y="143"/>
                    </a:lnTo>
                    <a:lnTo>
                      <a:pt x="561" y="145"/>
                    </a:lnTo>
                    <a:lnTo>
                      <a:pt x="562" y="143"/>
                    </a:lnTo>
                    <a:lnTo>
                      <a:pt x="564" y="143"/>
                    </a:lnTo>
                    <a:lnTo>
                      <a:pt x="564" y="142"/>
                    </a:lnTo>
                    <a:lnTo>
                      <a:pt x="564" y="142"/>
                    </a:lnTo>
                    <a:lnTo>
                      <a:pt x="567" y="142"/>
                    </a:lnTo>
                    <a:lnTo>
                      <a:pt x="564" y="143"/>
                    </a:lnTo>
                    <a:lnTo>
                      <a:pt x="567" y="143"/>
                    </a:lnTo>
                    <a:lnTo>
                      <a:pt x="562" y="145"/>
                    </a:lnTo>
                    <a:lnTo>
                      <a:pt x="561" y="146"/>
                    </a:lnTo>
                    <a:lnTo>
                      <a:pt x="561" y="148"/>
                    </a:lnTo>
                    <a:lnTo>
                      <a:pt x="559" y="150"/>
                    </a:lnTo>
                    <a:lnTo>
                      <a:pt x="558" y="151"/>
                    </a:lnTo>
                    <a:lnTo>
                      <a:pt x="559" y="151"/>
                    </a:lnTo>
                    <a:lnTo>
                      <a:pt x="561" y="151"/>
                    </a:lnTo>
                    <a:lnTo>
                      <a:pt x="559" y="153"/>
                    </a:lnTo>
                    <a:lnTo>
                      <a:pt x="558" y="153"/>
                    </a:lnTo>
                    <a:lnTo>
                      <a:pt x="559" y="153"/>
                    </a:lnTo>
                    <a:lnTo>
                      <a:pt x="561" y="156"/>
                    </a:lnTo>
                    <a:lnTo>
                      <a:pt x="558" y="156"/>
                    </a:lnTo>
                    <a:lnTo>
                      <a:pt x="558" y="156"/>
                    </a:lnTo>
                    <a:lnTo>
                      <a:pt x="556" y="159"/>
                    </a:lnTo>
                    <a:lnTo>
                      <a:pt x="558" y="159"/>
                    </a:lnTo>
                    <a:lnTo>
                      <a:pt x="559" y="159"/>
                    </a:lnTo>
                    <a:lnTo>
                      <a:pt x="561" y="159"/>
                    </a:lnTo>
                    <a:lnTo>
                      <a:pt x="559" y="162"/>
                    </a:lnTo>
                    <a:lnTo>
                      <a:pt x="561" y="162"/>
                    </a:lnTo>
                    <a:lnTo>
                      <a:pt x="561" y="162"/>
                    </a:lnTo>
                    <a:lnTo>
                      <a:pt x="559" y="164"/>
                    </a:lnTo>
                    <a:lnTo>
                      <a:pt x="562" y="164"/>
                    </a:lnTo>
                    <a:lnTo>
                      <a:pt x="559" y="165"/>
                    </a:lnTo>
                    <a:lnTo>
                      <a:pt x="558" y="169"/>
                    </a:lnTo>
                    <a:lnTo>
                      <a:pt x="554" y="172"/>
                    </a:lnTo>
                    <a:lnTo>
                      <a:pt x="554" y="175"/>
                    </a:lnTo>
                    <a:lnTo>
                      <a:pt x="556" y="173"/>
                    </a:lnTo>
                    <a:lnTo>
                      <a:pt x="558" y="172"/>
                    </a:lnTo>
                    <a:lnTo>
                      <a:pt x="562" y="165"/>
                    </a:lnTo>
                    <a:lnTo>
                      <a:pt x="567" y="162"/>
                    </a:lnTo>
                    <a:lnTo>
                      <a:pt x="570" y="159"/>
                    </a:lnTo>
                    <a:lnTo>
                      <a:pt x="570" y="156"/>
                    </a:lnTo>
                    <a:lnTo>
                      <a:pt x="570" y="156"/>
                    </a:lnTo>
                    <a:lnTo>
                      <a:pt x="570" y="153"/>
                    </a:lnTo>
                    <a:lnTo>
                      <a:pt x="570" y="151"/>
                    </a:lnTo>
                    <a:lnTo>
                      <a:pt x="570" y="148"/>
                    </a:lnTo>
                    <a:lnTo>
                      <a:pt x="570" y="143"/>
                    </a:lnTo>
                    <a:lnTo>
                      <a:pt x="570" y="142"/>
                    </a:lnTo>
                    <a:lnTo>
                      <a:pt x="570" y="138"/>
                    </a:lnTo>
                    <a:lnTo>
                      <a:pt x="577" y="135"/>
                    </a:lnTo>
                    <a:lnTo>
                      <a:pt x="573" y="138"/>
                    </a:lnTo>
                    <a:lnTo>
                      <a:pt x="570" y="142"/>
                    </a:lnTo>
                    <a:lnTo>
                      <a:pt x="570" y="143"/>
                    </a:lnTo>
                    <a:lnTo>
                      <a:pt x="573" y="145"/>
                    </a:lnTo>
                    <a:lnTo>
                      <a:pt x="575" y="146"/>
                    </a:lnTo>
                    <a:lnTo>
                      <a:pt x="575" y="148"/>
                    </a:lnTo>
                    <a:lnTo>
                      <a:pt x="573" y="151"/>
                    </a:lnTo>
                    <a:lnTo>
                      <a:pt x="577" y="150"/>
                    </a:lnTo>
                    <a:lnTo>
                      <a:pt x="580" y="146"/>
                    </a:lnTo>
                    <a:lnTo>
                      <a:pt x="581" y="143"/>
                    </a:lnTo>
                    <a:lnTo>
                      <a:pt x="583" y="142"/>
                    </a:lnTo>
                    <a:lnTo>
                      <a:pt x="586" y="142"/>
                    </a:lnTo>
                    <a:lnTo>
                      <a:pt x="588" y="138"/>
                    </a:lnTo>
                    <a:lnTo>
                      <a:pt x="588" y="135"/>
                    </a:lnTo>
                    <a:lnTo>
                      <a:pt x="589" y="135"/>
                    </a:lnTo>
                    <a:lnTo>
                      <a:pt x="591" y="132"/>
                    </a:lnTo>
                    <a:lnTo>
                      <a:pt x="594" y="129"/>
                    </a:lnTo>
                    <a:lnTo>
                      <a:pt x="591" y="129"/>
                    </a:lnTo>
                    <a:lnTo>
                      <a:pt x="591" y="127"/>
                    </a:lnTo>
                    <a:lnTo>
                      <a:pt x="594" y="126"/>
                    </a:lnTo>
                    <a:lnTo>
                      <a:pt x="596" y="124"/>
                    </a:lnTo>
                    <a:lnTo>
                      <a:pt x="602" y="121"/>
                    </a:lnTo>
                    <a:lnTo>
                      <a:pt x="608" y="118"/>
                    </a:lnTo>
                    <a:lnTo>
                      <a:pt x="613" y="118"/>
                    </a:lnTo>
                    <a:lnTo>
                      <a:pt x="615" y="116"/>
                    </a:lnTo>
                    <a:lnTo>
                      <a:pt x="616" y="116"/>
                    </a:lnTo>
                    <a:lnTo>
                      <a:pt x="618" y="116"/>
                    </a:lnTo>
                    <a:lnTo>
                      <a:pt x="620" y="116"/>
                    </a:lnTo>
                    <a:lnTo>
                      <a:pt x="624" y="116"/>
                    </a:lnTo>
                    <a:lnTo>
                      <a:pt x="626" y="115"/>
                    </a:lnTo>
                    <a:lnTo>
                      <a:pt x="627" y="113"/>
                    </a:lnTo>
                    <a:lnTo>
                      <a:pt x="629" y="110"/>
                    </a:lnTo>
                    <a:lnTo>
                      <a:pt x="629" y="111"/>
                    </a:lnTo>
                    <a:lnTo>
                      <a:pt x="631" y="111"/>
                    </a:lnTo>
                    <a:lnTo>
                      <a:pt x="632" y="110"/>
                    </a:lnTo>
                    <a:lnTo>
                      <a:pt x="631" y="113"/>
                    </a:lnTo>
                    <a:lnTo>
                      <a:pt x="634" y="111"/>
                    </a:lnTo>
                    <a:lnTo>
                      <a:pt x="639" y="110"/>
                    </a:lnTo>
                    <a:lnTo>
                      <a:pt x="637" y="113"/>
                    </a:lnTo>
                    <a:lnTo>
                      <a:pt x="642" y="111"/>
                    </a:lnTo>
                    <a:lnTo>
                      <a:pt x="647" y="110"/>
                    </a:lnTo>
                    <a:lnTo>
                      <a:pt x="647" y="108"/>
                    </a:lnTo>
                    <a:lnTo>
                      <a:pt x="645" y="110"/>
                    </a:lnTo>
                    <a:lnTo>
                      <a:pt x="643" y="110"/>
                    </a:lnTo>
                    <a:lnTo>
                      <a:pt x="642" y="110"/>
                    </a:lnTo>
                    <a:lnTo>
                      <a:pt x="640" y="108"/>
                    </a:lnTo>
                    <a:lnTo>
                      <a:pt x="640" y="107"/>
                    </a:lnTo>
                    <a:lnTo>
                      <a:pt x="640" y="104"/>
                    </a:lnTo>
                    <a:lnTo>
                      <a:pt x="639" y="104"/>
                    </a:lnTo>
                    <a:lnTo>
                      <a:pt x="637" y="104"/>
                    </a:lnTo>
                    <a:lnTo>
                      <a:pt x="637" y="100"/>
                    </a:lnTo>
                    <a:lnTo>
                      <a:pt x="639" y="100"/>
                    </a:lnTo>
                    <a:lnTo>
                      <a:pt x="643" y="97"/>
                    </a:lnTo>
                    <a:lnTo>
                      <a:pt x="642" y="97"/>
                    </a:lnTo>
                    <a:lnTo>
                      <a:pt x="642" y="96"/>
                    </a:lnTo>
                    <a:lnTo>
                      <a:pt x="643" y="92"/>
                    </a:lnTo>
                    <a:lnTo>
                      <a:pt x="650" y="86"/>
                    </a:lnTo>
                    <a:lnTo>
                      <a:pt x="653" y="83"/>
                    </a:lnTo>
                    <a:lnTo>
                      <a:pt x="654" y="81"/>
                    </a:lnTo>
                    <a:lnTo>
                      <a:pt x="658" y="80"/>
                    </a:lnTo>
                    <a:lnTo>
                      <a:pt x="658" y="81"/>
                    </a:lnTo>
                    <a:lnTo>
                      <a:pt x="658" y="80"/>
                    </a:lnTo>
                    <a:lnTo>
                      <a:pt x="658" y="81"/>
                    </a:lnTo>
                    <a:lnTo>
                      <a:pt x="661" y="80"/>
                    </a:lnTo>
                    <a:lnTo>
                      <a:pt x="661" y="78"/>
                    </a:lnTo>
                    <a:lnTo>
                      <a:pt x="661" y="78"/>
                    </a:lnTo>
                    <a:lnTo>
                      <a:pt x="661" y="80"/>
                    </a:lnTo>
                    <a:lnTo>
                      <a:pt x="664" y="78"/>
                    </a:lnTo>
                    <a:lnTo>
                      <a:pt x="664" y="80"/>
                    </a:lnTo>
                    <a:lnTo>
                      <a:pt x="666" y="78"/>
                    </a:lnTo>
                    <a:lnTo>
                      <a:pt x="669" y="75"/>
                    </a:lnTo>
                    <a:lnTo>
                      <a:pt x="672" y="72"/>
                    </a:lnTo>
                    <a:lnTo>
                      <a:pt x="674" y="72"/>
                    </a:lnTo>
                    <a:lnTo>
                      <a:pt x="675" y="69"/>
                    </a:lnTo>
                    <a:lnTo>
                      <a:pt x="675" y="72"/>
                    </a:lnTo>
                    <a:lnTo>
                      <a:pt x="677" y="73"/>
                    </a:lnTo>
                    <a:lnTo>
                      <a:pt x="677" y="72"/>
                    </a:lnTo>
                    <a:lnTo>
                      <a:pt x="678" y="72"/>
                    </a:lnTo>
                    <a:lnTo>
                      <a:pt x="681" y="72"/>
                    </a:lnTo>
                    <a:lnTo>
                      <a:pt x="681" y="72"/>
                    </a:lnTo>
                    <a:lnTo>
                      <a:pt x="683" y="72"/>
                    </a:lnTo>
                    <a:lnTo>
                      <a:pt x="685" y="72"/>
                    </a:lnTo>
                    <a:lnTo>
                      <a:pt x="688" y="69"/>
                    </a:lnTo>
                    <a:lnTo>
                      <a:pt x="688" y="72"/>
                    </a:lnTo>
                    <a:lnTo>
                      <a:pt x="689" y="69"/>
                    </a:lnTo>
                    <a:lnTo>
                      <a:pt x="693" y="69"/>
                    </a:lnTo>
                    <a:lnTo>
                      <a:pt x="696" y="65"/>
                    </a:lnTo>
                    <a:lnTo>
                      <a:pt x="696" y="65"/>
                    </a:lnTo>
                    <a:lnTo>
                      <a:pt x="696" y="62"/>
                    </a:lnTo>
                    <a:lnTo>
                      <a:pt x="696" y="62"/>
                    </a:lnTo>
                    <a:lnTo>
                      <a:pt x="696" y="62"/>
                    </a:lnTo>
                    <a:lnTo>
                      <a:pt x="693" y="59"/>
                    </a:lnTo>
                    <a:lnTo>
                      <a:pt x="696" y="58"/>
                    </a:lnTo>
                    <a:lnTo>
                      <a:pt x="696" y="56"/>
                    </a:lnTo>
                    <a:lnTo>
                      <a:pt x="693" y="54"/>
                    </a:lnTo>
                    <a:lnTo>
                      <a:pt x="693" y="51"/>
                    </a:lnTo>
                    <a:lnTo>
                      <a:pt x="696" y="46"/>
                    </a:lnTo>
                    <a:lnTo>
                      <a:pt x="696" y="46"/>
                    </a:lnTo>
                    <a:lnTo>
                      <a:pt x="696" y="46"/>
                    </a:lnTo>
                    <a:lnTo>
                      <a:pt x="696" y="46"/>
                    </a:lnTo>
                    <a:lnTo>
                      <a:pt x="696" y="46"/>
                    </a:lnTo>
                    <a:lnTo>
                      <a:pt x="696" y="46"/>
                    </a:lnTo>
                    <a:lnTo>
                      <a:pt x="696" y="46"/>
                    </a:lnTo>
                    <a:lnTo>
                      <a:pt x="696" y="46"/>
                    </a:lnTo>
                    <a:lnTo>
                      <a:pt x="696" y="46"/>
                    </a:lnTo>
                    <a:close/>
                    <a:moveTo>
                      <a:pt x="92" y="21"/>
                    </a:moveTo>
                    <a:lnTo>
                      <a:pt x="94" y="23"/>
                    </a:lnTo>
                    <a:lnTo>
                      <a:pt x="96" y="21"/>
                    </a:lnTo>
                    <a:lnTo>
                      <a:pt x="94" y="21"/>
                    </a:lnTo>
                    <a:lnTo>
                      <a:pt x="94" y="19"/>
                    </a:lnTo>
                    <a:lnTo>
                      <a:pt x="94" y="18"/>
                    </a:lnTo>
                    <a:lnTo>
                      <a:pt x="96" y="16"/>
                    </a:lnTo>
                    <a:lnTo>
                      <a:pt x="92" y="19"/>
                    </a:lnTo>
                    <a:lnTo>
                      <a:pt x="92" y="21"/>
                    </a:lnTo>
                    <a:lnTo>
                      <a:pt x="92" y="21"/>
                    </a:lnTo>
                    <a:lnTo>
                      <a:pt x="92" y="21"/>
                    </a:lnTo>
                    <a:lnTo>
                      <a:pt x="92" y="21"/>
                    </a:lnTo>
                    <a:lnTo>
                      <a:pt x="92" y="21"/>
                    </a:lnTo>
                    <a:lnTo>
                      <a:pt x="92" y="21"/>
                    </a:lnTo>
                    <a:lnTo>
                      <a:pt x="92" y="21"/>
                    </a:lnTo>
                    <a:lnTo>
                      <a:pt x="92" y="21"/>
                    </a:lnTo>
                    <a:lnTo>
                      <a:pt x="92" y="21"/>
                    </a:lnTo>
                    <a:close/>
                    <a:moveTo>
                      <a:pt x="466" y="62"/>
                    </a:moveTo>
                    <a:lnTo>
                      <a:pt x="466" y="65"/>
                    </a:lnTo>
                    <a:lnTo>
                      <a:pt x="466" y="65"/>
                    </a:lnTo>
                    <a:lnTo>
                      <a:pt x="467" y="65"/>
                    </a:lnTo>
                    <a:lnTo>
                      <a:pt x="472" y="61"/>
                    </a:lnTo>
                    <a:lnTo>
                      <a:pt x="469" y="62"/>
                    </a:lnTo>
                    <a:lnTo>
                      <a:pt x="466" y="62"/>
                    </a:lnTo>
                    <a:lnTo>
                      <a:pt x="466" y="62"/>
                    </a:lnTo>
                    <a:lnTo>
                      <a:pt x="466" y="62"/>
                    </a:lnTo>
                    <a:lnTo>
                      <a:pt x="466" y="62"/>
                    </a:lnTo>
                    <a:lnTo>
                      <a:pt x="466" y="62"/>
                    </a:lnTo>
                    <a:lnTo>
                      <a:pt x="466" y="62"/>
                    </a:lnTo>
                    <a:lnTo>
                      <a:pt x="466" y="62"/>
                    </a:lnTo>
                    <a:lnTo>
                      <a:pt x="466" y="62"/>
                    </a:lnTo>
                    <a:lnTo>
                      <a:pt x="466" y="62"/>
                    </a:lnTo>
                    <a:close/>
                    <a:moveTo>
                      <a:pt x="473" y="32"/>
                    </a:moveTo>
                    <a:lnTo>
                      <a:pt x="473" y="31"/>
                    </a:lnTo>
                    <a:lnTo>
                      <a:pt x="477" y="31"/>
                    </a:lnTo>
                    <a:lnTo>
                      <a:pt x="477" y="29"/>
                    </a:lnTo>
                    <a:lnTo>
                      <a:pt x="473" y="29"/>
                    </a:lnTo>
                    <a:lnTo>
                      <a:pt x="470" y="31"/>
                    </a:lnTo>
                    <a:lnTo>
                      <a:pt x="467" y="34"/>
                    </a:lnTo>
                    <a:lnTo>
                      <a:pt x="467" y="34"/>
                    </a:lnTo>
                    <a:lnTo>
                      <a:pt x="467" y="37"/>
                    </a:lnTo>
                    <a:lnTo>
                      <a:pt x="470" y="34"/>
                    </a:lnTo>
                    <a:lnTo>
                      <a:pt x="473" y="32"/>
                    </a:lnTo>
                    <a:lnTo>
                      <a:pt x="473" y="32"/>
                    </a:lnTo>
                    <a:lnTo>
                      <a:pt x="473" y="32"/>
                    </a:lnTo>
                    <a:lnTo>
                      <a:pt x="473" y="32"/>
                    </a:lnTo>
                    <a:lnTo>
                      <a:pt x="473" y="32"/>
                    </a:lnTo>
                    <a:lnTo>
                      <a:pt x="473" y="32"/>
                    </a:lnTo>
                    <a:lnTo>
                      <a:pt x="473" y="32"/>
                    </a:lnTo>
                    <a:lnTo>
                      <a:pt x="473" y="32"/>
                    </a:lnTo>
                    <a:lnTo>
                      <a:pt x="473" y="32"/>
                    </a:lnTo>
                    <a:close/>
                    <a:moveTo>
                      <a:pt x="96" y="13"/>
                    </a:moveTo>
                    <a:lnTo>
                      <a:pt x="94" y="13"/>
                    </a:lnTo>
                    <a:lnTo>
                      <a:pt x="96" y="13"/>
                    </a:lnTo>
                    <a:lnTo>
                      <a:pt x="96" y="13"/>
                    </a:lnTo>
                    <a:lnTo>
                      <a:pt x="96" y="13"/>
                    </a:lnTo>
                    <a:lnTo>
                      <a:pt x="96" y="13"/>
                    </a:lnTo>
                    <a:lnTo>
                      <a:pt x="96" y="13"/>
                    </a:lnTo>
                    <a:lnTo>
                      <a:pt x="96" y="13"/>
                    </a:lnTo>
                    <a:lnTo>
                      <a:pt x="96" y="13"/>
                    </a:lnTo>
                    <a:lnTo>
                      <a:pt x="96" y="13"/>
                    </a:lnTo>
                    <a:lnTo>
                      <a:pt x="96" y="13"/>
                    </a:lnTo>
                    <a:lnTo>
                      <a:pt x="96" y="13"/>
                    </a:lnTo>
                    <a:close/>
                    <a:moveTo>
                      <a:pt x="92" y="16"/>
                    </a:moveTo>
                    <a:lnTo>
                      <a:pt x="92" y="13"/>
                    </a:lnTo>
                    <a:lnTo>
                      <a:pt x="91" y="13"/>
                    </a:lnTo>
                    <a:lnTo>
                      <a:pt x="92" y="16"/>
                    </a:lnTo>
                    <a:lnTo>
                      <a:pt x="92" y="16"/>
                    </a:lnTo>
                    <a:lnTo>
                      <a:pt x="92" y="16"/>
                    </a:lnTo>
                    <a:lnTo>
                      <a:pt x="92" y="16"/>
                    </a:lnTo>
                    <a:lnTo>
                      <a:pt x="92" y="16"/>
                    </a:lnTo>
                    <a:lnTo>
                      <a:pt x="92" y="16"/>
                    </a:lnTo>
                    <a:lnTo>
                      <a:pt x="92" y="16"/>
                    </a:lnTo>
                    <a:lnTo>
                      <a:pt x="92" y="16"/>
                    </a:lnTo>
                    <a:lnTo>
                      <a:pt x="92" y="16"/>
                    </a:lnTo>
                    <a:close/>
                    <a:moveTo>
                      <a:pt x="470" y="21"/>
                    </a:moveTo>
                    <a:lnTo>
                      <a:pt x="467" y="23"/>
                    </a:lnTo>
                    <a:lnTo>
                      <a:pt x="466" y="24"/>
                    </a:lnTo>
                    <a:lnTo>
                      <a:pt x="473" y="19"/>
                    </a:lnTo>
                    <a:lnTo>
                      <a:pt x="470" y="21"/>
                    </a:lnTo>
                    <a:lnTo>
                      <a:pt x="470" y="21"/>
                    </a:lnTo>
                    <a:lnTo>
                      <a:pt x="470" y="21"/>
                    </a:lnTo>
                    <a:lnTo>
                      <a:pt x="470" y="21"/>
                    </a:lnTo>
                    <a:lnTo>
                      <a:pt x="470" y="21"/>
                    </a:lnTo>
                    <a:lnTo>
                      <a:pt x="470" y="21"/>
                    </a:lnTo>
                    <a:lnTo>
                      <a:pt x="470" y="21"/>
                    </a:lnTo>
                    <a:lnTo>
                      <a:pt x="470" y="21"/>
                    </a:lnTo>
                    <a:lnTo>
                      <a:pt x="470" y="21"/>
                    </a:lnTo>
                    <a:close/>
                    <a:moveTo>
                      <a:pt x="364" y="278"/>
                    </a:moveTo>
                    <a:lnTo>
                      <a:pt x="364" y="277"/>
                    </a:lnTo>
                    <a:lnTo>
                      <a:pt x="362" y="278"/>
                    </a:lnTo>
                    <a:lnTo>
                      <a:pt x="364" y="278"/>
                    </a:lnTo>
                    <a:lnTo>
                      <a:pt x="364" y="278"/>
                    </a:lnTo>
                    <a:lnTo>
                      <a:pt x="364" y="278"/>
                    </a:lnTo>
                    <a:lnTo>
                      <a:pt x="364" y="278"/>
                    </a:lnTo>
                    <a:lnTo>
                      <a:pt x="364" y="278"/>
                    </a:lnTo>
                    <a:lnTo>
                      <a:pt x="364" y="278"/>
                    </a:lnTo>
                    <a:lnTo>
                      <a:pt x="364" y="278"/>
                    </a:lnTo>
                    <a:lnTo>
                      <a:pt x="364" y="278"/>
                    </a:lnTo>
                    <a:lnTo>
                      <a:pt x="364" y="278"/>
                    </a:lnTo>
                    <a:close/>
                    <a:moveTo>
                      <a:pt x="337" y="289"/>
                    </a:moveTo>
                    <a:lnTo>
                      <a:pt x="337" y="288"/>
                    </a:lnTo>
                    <a:lnTo>
                      <a:pt x="335" y="289"/>
                    </a:lnTo>
                    <a:lnTo>
                      <a:pt x="337" y="289"/>
                    </a:lnTo>
                    <a:lnTo>
                      <a:pt x="337" y="289"/>
                    </a:lnTo>
                    <a:lnTo>
                      <a:pt x="337" y="289"/>
                    </a:lnTo>
                    <a:lnTo>
                      <a:pt x="337" y="289"/>
                    </a:lnTo>
                    <a:lnTo>
                      <a:pt x="337" y="289"/>
                    </a:lnTo>
                    <a:lnTo>
                      <a:pt x="337" y="289"/>
                    </a:lnTo>
                    <a:lnTo>
                      <a:pt x="337" y="289"/>
                    </a:lnTo>
                    <a:lnTo>
                      <a:pt x="337" y="289"/>
                    </a:lnTo>
                    <a:lnTo>
                      <a:pt x="337" y="289"/>
                    </a:lnTo>
                    <a:close/>
                    <a:moveTo>
                      <a:pt x="551" y="202"/>
                    </a:moveTo>
                    <a:lnTo>
                      <a:pt x="548" y="204"/>
                    </a:lnTo>
                    <a:lnTo>
                      <a:pt x="551" y="204"/>
                    </a:lnTo>
                    <a:lnTo>
                      <a:pt x="553" y="199"/>
                    </a:lnTo>
                    <a:lnTo>
                      <a:pt x="553" y="197"/>
                    </a:lnTo>
                    <a:lnTo>
                      <a:pt x="551" y="200"/>
                    </a:lnTo>
                    <a:lnTo>
                      <a:pt x="551" y="202"/>
                    </a:lnTo>
                    <a:lnTo>
                      <a:pt x="551" y="202"/>
                    </a:lnTo>
                    <a:lnTo>
                      <a:pt x="551" y="202"/>
                    </a:lnTo>
                    <a:lnTo>
                      <a:pt x="551" y="202"/>
                    </a:lnTo>
                    <a:lnTo>
                      <a:pt x="551" y="202"/>
                    </a:lnTo>
                    <a:lnTo>
                      <a:pt x="551" y="202"/>
                    </a:lnTo>
                    <a:lnTo>
                      <a:pt x="551" y="202"/>
                    </a:lnTo>
                    <a:lnTo>
                      <a:pt x="551" y="202"/>
                    </a:lnTo>
                    <a:lnTo>
                      <a:pt x="551" y="202"/>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25" name="Freeform 102">
                <a:extLst>
                  <a:ext uri="{FF2B5EF4-FFF2-40B4-BE49-F238E27FC236}">
                    <a16:creationId xmlns:a16="http://schemas.microsoft.com/office/drawing/2014/main" id="{FFF46936-F114-E96A-3C2B-F4C436309B28}"/>
                  </a:ext>
                </a:extLst>
              </p:cNvPr>
              <p:cNvSpPr>
                <a:spLocks/>
              </p:cNvSpPr>
              <p:nvPr/>
            </p:nvSpPr>
            <p:spPr bwMode="auto">
              <a:xfrm>
                <a:off x="6520601" y="4949253"/>
                <a:ext cx="67292" cy="71778"/>
              </a:xfrm>
              <a:custGeom>
                <a:avLst/>
                <a:gdLst>
                  <a:gd name="T0" fmla="*/ 26 w 30"/>
                  <a:gd name="T1" fmla="*/ 7 h 32"/>
                  <a:gd name="T2" fmla="*/ 23 w 30"/>
                  <a:gd name="T3" fmla="*/ 0 h 32"/>
                  <a:gd name="T4" fmla="*/ 19 w 30"/>
                  <a:gd name="T5" fmla="*/ 0 h 32"/>
                  <a:gd name="T6" fmla="*/ 18 w 30"/>
                  <a:gd name="T7" fmla="*/ 0 h 32"/>
                  <a:gd name="T8" fmla="*/ 18 w 30"/>
                  <a:gd name="T9" fmla="*/ 3 h 32"/>
                  <a:gd name="T10" fmla="*/ 15 w 30"/>
                  <a:gd name="T11" fmla="*/ 3 h 32"/>
                  <a:gd name="T12" fmla="*/ 11 w 30"/>
                  <a:gd name="T13" fmla="*/ 7 h 32"/>
                  <a:gd name="T14" fmla="*/ 8 w 30"/>
                  <a:gd name="T15" fmla="*/ 7 h 32"/>
                  <a:gd name="T16" fmla="*/ 7 w 30"/>
                  <a:gd name="T17" fmla="*/ 13 h 32"/>
                  <a:gd name="T18" fmla="*/ 3 w 30"/>
                  <a:gd name="T19" fmla="*/ 15 h 32"/>
                  <a:gd name="T20" fmla="*/ 0 w 30"/>
                  <a:gd name="T21" fmla="*/ 16 h 32"/>
                  <a:gd name="T22" fmla="*/ 2 w 30"/>
                  <a:gd name="T23" fmla="*/ 19 h 32"/>
                  <a:gd name="T24" fmla="*/ 3 w 30"/>
                  <a:gd name="T25" fmla="*/ 22 h 32"/>
                  <a:gd name="T26" fmla="*/ 5 w 30"/>
                  <a:gd name="T27" fmla="*/ 24 h 32"/>
                  <a:gd name="T28" fmla="*/ 5 w 30"/>
                  <a:gd name="T29" fmla="*/ 26 h 32"/>
                  <a:gd name="T30" fmla="*/ 8 w 30"/>
                  <a:gd name="T31" fmla="*/ 30 h 32"/>
                  <a:gd name="T32" fmla="*/ 11 w 30"/>
                  <a:gd name="T33" fmla="*/ 32 h 32"/>
                  <a:gd name="T34" fmla="*/ 11 w 30"/>
                  <a:gd name="T35" fmla="*/ 30 h 32"/>
                  <a:gd name="T36" fmla="*/ 15 w 30"/>
                  <a:gd name="T37" fmla="*/ 26 h 32"/>
                  <a:gd name="T38" fmla="*/ 18 w 30"/>
                  <a:gd name="T39" fmla="*/ 24 h 32"/>
                  <a:gd name="T40" fmla="*/ 23 w 30"/>
                  <a:gd name="T41" fmla="*/ 22 h 32"/>
                  <a:gd name="T42" fmla="*/ 26 w 30"/>
                  <a:gd name="T43" fmla="*/ 22 h 32"/>
                  <a:gd name="T44" fmla="*/ 26 w 30"/>
                  <a:gd name="T45" fmla="*/ 19 h 32"/>
                  <a:gd name="T46" fmla="*/ 29 w 30"/>
                  <a:gd name="T47" fmla="*/ 15 h 32"/>
                  <a:gd name="T48" fmla="*/ 30 w 30"/>
                  <a:gd name="T49" fmla="*/ 13 h 32"/>
                  <a:gd name="T50" fmla="*/ 30 w 30"/>
                  <a:gd name="T51" fmla="*/ 11 h 32"/>
                  <a:gd name="T52" fmla="*/ 29 w 30"/>
                  <a:gd name="T53" fmla="*/ 8 h 32"/>
                  <a:gd name="T54" fmla="*/ 26 w 30"/>
                  <a:gd name="T55" fmla="*/ 7 h 32"/>
                  <a:gd name="T56" fmla="*/ 26 w 30"/>
                  <a:gd name="T57" fmla="*/ 7 h 32"/>
                  <a:gd name="T58" fmla="*/ 26 w 30"/>
                  <a:gd name="T59" fmla="*/ 7 h 32"/>
                  <a:gd name="T60" fmla="*/ 26 w 30"/>
                  <a:gd name="T61" fmla="*/ 7 h 32"/>
                  <a:gd name="T62" fmla="*/ 26 w 30"/>
                  <a:gd name="T63" fmla="*/ 7 h 32"/>
                  <a:gd name="T64" fmla="*/ 26 w 30"/>
                  <a:gd name="T65" fmla="*/ 7 h 32"/>
                  <a:gd name="T66" fmla="*/ 26 w 30"/>
                  <a:gd name="T67" fmla="*/ 7 h 32"/>
                  <a:gd name="T68" fmla="*/ 26 w 30"/>
                  <a:gd name="T69" fmla="*/ 7 h 32"/>
                  <a:gd name="T70" fmla="*/ 26 w 30"/>
                  <a:gd name="T71"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32">
                    <a:moveTo>
                      <a:pt x="26" y="7"/>
                    </a:moveTo>
                    <a:lnTo>
                      <a:pt x="23" y="0"/>
                    </a:lnTo>
                    <a:lnTo>
                      <a:pt x="19" y="0"/>
                    </a:lnTo>
                    <a:lnTo>
                      <a:pt x="18" y="0"/>
                    </a:lnTo>
                    <a:lnTo>
                      <a:pt x="18" y="3"/>
                    </a:lnTo>
                    <a:lnTo>
                      <a:pt x="15" y="3"/>
                    </a:lnTo>
                    <a:lnTo>
                      <a:pt x="11" y="7"/>
                    </a:lnTo>
                    <a:lnTo>
                      <a:pt x="8" y="7"/>
                    </a:lnTo>
                    <a:lnTo>
                      <a:pt x="7" y="13"/>
                    </a:lnTo>
                    <a:lnTo>
                      <a:pt x="3" y="15"/>
                    </a:lnTo>
                    <a:lnTo>
                      <a:pt x="0" y="16"/>
                    </a:lnTo>
                    <a:lnTo>
                      <a:pt x="2" y="19"/>
                    </a:lnTo>
                    <a:lnTo>
                      <a:pt x="3" y="22"/>
                    </a:lnTo>
                    <a:lnTo>
                      <a:pt x="5" y="24"/>
                    </a:lnTo>
                    <a:lnTo>
                      <a:pt x="5" y="26"/>
                    </a:lnTo>
                    <a:lnTo>
                      <a:pt x="8" y="30"/>
                    </a:lnTo>
                    <a:lnTo>
                      <a:pt x="11" y="32"/>
                    </a:lnTo>
                    <a:lnTo>
                      <a:pt x="11" y="30"/>
                    </a:lnTo>
                    <a:lnTo>
                      <a:pt x="15" y="26"/>
                    </a:lnTo>
                    <a:lnTo>
                      <a:pt x="18" y="24"/>
                    </a:lnTo>
                    <a:lnTo>
                      <a:pt x="23" y="22"/>
                    </a:lnTo>
                    <a:lnTo>
                      <a:pt x="26" y="22"/>
                    </a:lnTo>
                    <a:lnTo>
                      <a:pt x="26" y="19"/>
                    </a:lnTo>
                    <a:lnTo>
                      <a:pt x="29" y="15"/>
                    </a:lnTo>
                    <a:lnTo>
                      <a:pt x="30" y="13"/>
                    </a:lnTo>
                    <a:lnTo>
                      <a:pt x="30" y="11"/>
                    </a:lnTo>
                    <a:lnTo>
                      <a:pt x="29" y="8"/>
                    </a:lnTo>
                    <a:lnTo>
                      <a:pt x="26" y="7"/>
                    </a:lnTo>
                    <a:lnTo>
                      <a:pt x="26" y="7"/>
                    </a:lnTo>
                    <a:lnTo>
                      <a:pt x="26" y="7"/>
                    </a:lnTo>
                    <a:lnTo>
                      <a:pt x="26" y="7"/>
                    </a:lnTo>
                    <a:lnTo>
                      <a:pt x="26" y="7"/>
                    </a:lnTo>
                    <a:lnTo>
                      <a:pt x="26" y="7"/>
                    </a:lnTo>
                    <a:lnTo>
                      <a:pt x="26" y="7"/>
                    </a:lnTo>
                    <a:lnTo>
                      <a:pt x="26" y="7"/>
                    </a:lnTo>
                    <a:lnTo>
                      <a:pt x="26" y="7"/>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26" name="Freeform 104">
                <a:extLst>
                  <a:ext uri="{FF2B5EF4-FFF2-40B4-BE49-F238E27FC236}">
                    <a16:creationId xmlns:a16="http://schemas.microsoft.com/office/drawing/2014/main" id="{45DBAA49-FC02-B483-2866-06B463F29208}"/>
                  </a:ext>
                </a:extLst>
              </p:cNvPr>
              <p:cNvSpPr>
                <a:spLocks/>
              </p:cNvSpPr>
              <p:nvPr/>
            </p:nvSpPr>
            <p:spPr bwMode="auto">
              <a:xfrm>
                <a:off x="6630512" y="4864017"/>
                <a:ext cx="40375" cy="42619"/>
              </a:xfrm>
              <a:custGeom>
                <a:avLst/>
                <a:gdLst>
                  <a:gd name="T0" fmla="*/ 8 w 18"/>
                  <a:gd name="T1" fmla="*/ 0 h 19"/>
                  <a:gd name="T2" fmla="*/ 5 w 18"/>
                  <a:gd name="T3" fmla="*/ 0 h 19"/>
                  <a:gd name="T4" fmla="*/ 5 w 18"/>
                  <a:gd name="T5" fmla="*/ 3 h 19"/>
                  <a:gd name="T6" fmla="*/ 0 w 18"/>
                  <a:gd name="T7" fmla="*/ 13 h 19"/>
                  <a:gd name="T8" fmla="*/ 5 w 18"/>
                  <a:gd name="T9" fmla="*/ 16 h 19"/>
                  <a:gd name="T10" fmla="*/ 8 w 18"/>
                  <a:gd name="T11" fmla="*/ 19 h 19"/>
                  <a:gd name="T12" fmla="*/ 12 w 18"/>
                  <a:gd name="T13" fmla="*/ 19 h 19"/>
                  <a:gd name="T14" fmla="*/ 15 w 18"/>
                  <a:gd name="T15" fmla="*/ 19 h 19"/>
                  <a:gd name="T16" fmla="*/ 15 w 18"/>
                  <a:gd name="T17" fmla="*/ 18 h 19"/>
                  <a:gd name="T18" fmla="*/ 15 w 18"/>
                  <a:gd name="T19" fmla="*/ 13 h 19"/>
                  <a:gd name="T20" fmla="*/ 18 w 18"/>
                  <a:gd name="T21" fmla="*/ 13 h 19"/>
                  <a:gd name="T22" fmla="*/ 16 w 18"/>
                  <a:gd name="T23" fmla="*/ 10 h 19"/>
                  <a:gd name="T24" fmla="*/ 16 w 18"/>
                  <a:gd name="T25" fmla="*/ 6 h 19"/>
                  <a:gd name="T26" fmla="*/ 16 w 18"/>
                  <a:gd name="T27" fmla="*/ 3 h 19"/>
                  <a:gd name="T28" fmla="*/ 15 w 18"/>
                  <a:gd name="T29" fmla="*/ 3 h 19"/>
                  <a:gd name="T30" fmla="*/ 12 w 18"/>
                  <a:gd name="T31" fmla="*/ 0 h 19"/>
                  <a:gd name="T32" fmla="*/ 8 w 18"/>
                  <a:gd name="T33" fmla="*/ 0 h 19"/>
                  <a:gd name="T34" fmla="*/ 8 w 18"/>
                  <a:gd name="T35" fmla="*/ 0 h 19"/>
                  <a:gd name="T36" fmla="*/ 8 w 18"/>
                  <a:gd name="T37" fmla="*/ 0 h 19"/>
                  <a:gd name="T38" fmla="*/ 8 w 18"/>
                  <a:gd name="T39" fmla="*/ 0 h 19"/>
                  <a:gd name="T40" fmla="*/ 8 w 18"/>
                  <a:gd name="T41" fmla="*/ 0 h 19"/>
                  <a:gd name="T42" fmla="*/ 8 w 18"/>
                  <a:gd name="T43" fmla="*/ 0 h 19"/>
                  <a:gd name="T44" fmla="*/ 8 w 18"/>
                  <a:gd name="T45" fmla="*/ 0 h 19"/>
                  <a:gd name="T46" fmla="*/ 8 w 18"/>
                  <a:gd name="T47" fmla="*/ 0 h 19"/>
                  <a:gd name="T48" fmla="*/ 8 w 18"/>
                  <a:gd name="T4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9">
                    <a:moveTo>
                      <a:pt x="8" y="0"/>
                    </a:moveTo>
                    <a:lnTo>
                      <a:pt x="5" y="0"/>
                    </a:lnTo>
                    <a:lnTo>
                      <a:pt x="5" y="3"/>
                    </a:lnTo>
                    <a:lnTo>
                      <a:pt x="0" y="13"/>
                    </a:lnTo>
                    <a:lnTo>
                      <a:pt x="5" y="16"/>
                    </a:lnTo>
                    <a:lnTo>
                      <a:pt x="8" y="19"/>
                    </a:lnTo>
                    <a:lnTo>
                      <a:pt x="12" y="19"/>
                    </a:lnTo>
                    <a:lnTo>
                      <a:pt x="15" y="19"/>
                    </a:lnTo>
                    <a:lnTo>
                      <a:pt x="15" y="18"/>
                    </a:lnTo>
                    <a:lnTo>
                      <a:pt x="15" y="13"/>
                    </a:lnTo>
                    <a:lnTo>
                      <a:pt x="18" y="13"/>
                    </a:lnTo>
                    <a:lnTo>
                      <a:pt x="16" y="10"/>
                    </a:lnTo>
                    <a:lnTo>
                      <a:pt x="16" y="6"/>
                    </a:lnTo>
                    <a:lnTo>
                      <a:pt x="16" y="3"/>
                    </a:lnTo>
                    <a:lnTo>
                      <a:pt x="15" y="3"/>
                    </a:lnTo>
                    <a:lnTo>
                      <a:pt x="12" y="0"/>
                    </a:lnTo>
                    <a:lnTo>
                      <a:pt x="8" y="0"/>
                    </a:lnTo>
                    <a:lnTo>
                      <a:pt x="8" y="0"/>
                    </a:lnTo>
                    <a:lnTo>
                      <a:pt x="8" y="0"/>
                    </a:lnTo>
                    <a:lnTo>
                      <a:pt x="8" y="0"/>
                    </a:lnTo>
                    <a:lnTo>
                      <a:pt x="8" y="0"/>
                    </a:lnTo>
                    <a:lnTo>
                      <a:pt x="8" y="0"/>
                    </a:lnTo>
                    <a:lnTo>
                      <a:pt x="8" y="0"/>
                    </a:lnTo>
                    <a:lnTo>
                      <a:pt x="8" y="0"/>
                    </a:lnTo>
                    <a:lnTo>
                      <a:pt x="8" y="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27" name="Freeform 108">
                <a:extLst>
                  <a:ext uri="{FF2B5EF4-FFF2-40B4-BE49-F238E27FC236}">
                    <a16:creationId xmlns:a16="http://schemas.microsoft.com/office/drawing/2014/main" id="{AF70D7BB-4070-6917-DFE5-FBF4BE0BAB19}"/>
                  </a:ext>
                </a:extLst>
              </p:cNvPr>
              <p:cNvSpPr>
                <a:spLocks/>
              </p:cNvSpPr>
              <p:nvPr/>
            </p:nvSpPr>
            <p:spPr bwMode="auto">
              <a:xfrm>
                <a:off x="6695561" y="4334652"/>
                <a:ext cx="89723" cy="248980"/>
              </a:xfrm>
              <a:custGeom>
                <a:avLst/>
                <a:gdLst>
                  <a:gd name="T0" fmla="*/ 10 w 40"/>
                  <a:gd name="T1" fmla="*/ 3 h 111"/>
                  <a:gd name="T2" fmla="*/ 10 w 40"/>
                  <a:gd name="T3" fmla="*/ 4 h 111"/>
                  <a:gd name="T4" fmla="*/ 10 w 40"/>
                  <a:gd name="T5" fmla="*/ 7 h 111"/>
                  <a:gd name="T6" fmla="*/ 13 w 40"/>
                  <a:gd name="T7" fmla="*/ 12 h 111"/>
                  <a:gd name="T8" fmla="*/ 13 w 40"/>
                  <a:gd name="T9" fmla="*/ 17 h 111"/>
                  <a:gd name="T10" fmla="*/ 10 w 40"/>
                  <a:gd name="T11" fmla="*/ 20 h 111"/>
                  <a:gd name="T12" fmla="*/ 8 w 40"/>
                  <a:gd name="T13" fmla="*/ 20 h 111"/>
                  <a:gd name="T14" fmla="*/ 10 w 40"/>
                  <a:gd name="T15" fmla="*/ 23 h 111"/>
                  <a:gd name="T16" fmla="*/ 8 w 40"/>
                  <a:gd name="T17" fmla="*/ 30 h 111"/>
                  <a:gd name="T18" fmla="*/ 10 w 40"/>
                  <a:gd name="T19" fmla="*/ 39 h 111"/>
                  <a:gd name="T20" fmla="*/ 6 w 40"/>
                  <a:gd name="T21" fmla="*/ 44 h 111"/>
                  <a:gd name="T22" fmla="*/ 3 w 40"/>
                  <a:gd name="T23" fmla="*/ 47 h 111"/>
                  <a:gd name="T24" fmla="*/ 3 w 40"/>
                  <a:gd name="T25" fmla="*/ 55 h 111"/>
                  <a:gd name="T26" fmla="*/ 2 w 40"/>
                  <a:gd name="T27" fmla="*/ 58 h 111"/>
                  <a:gd name="T28" fmla="*/ 0 w 40"/>
                  <a:gd name="T29" fmla="*/ 61 h 111"/>
                  <a:gd name="T30" fmla="*/ 2 w 40"/>
                  <a:gd name="T31" fmla="*/ 65 h 111"/>
                  <a:gd name="T32" fmla="*/ 5 w 40"/>
                  <a:gd name="T33" fmla="*/ 65 h 111"/>
                  <a:gd name="T34" fmla="*/ 5 w 40"/>
                  <a:gd name="T35" fmla="*/ 65 h 111"/>
                  <a:gd name="T36" fmla="*/ 5 w 40"/>
                  <a:gd name="T37" fmla="*/ 65 h 111"/>
                  <a:gd name="T38" fmla="*/ 14 w 40"/>
                  <a:gd name="T39" fmla="*/ 73 h 111"/>
                  <a:gd name="T40" fmla="*/ 21 w 40"/>
                  <a:gd name="T41" fmla="*/ 71 h 111"/>
                  <a:gd name="T42" fmla="*/ 24 w 40"/>
                  <a:gd name="T43" fmla="*/ 76 h 111"/>
                  <a:gd name="T44" fmla="*/ 24 w 40"/>
                  <a:gd name="T45" fmla="*/ 81 h 111"/>
                  <a:gd name="T46" fmla="*/ 21 w 40"/>
                  <a:gd name="T47" fmla="*/ 85 h 111"/>
                  <a:gd name="T48" fmla="*/ 21 w 40"/>
                  <a:gd name="T49" fmla="*/ 90 h 111"/>
                  <a:gd name="T50" fmla="*/ 21 w 40"/>
                  <a:gd name="T51" fmla="*/ 93 h 111"/>
                  <a:gd name="T52" fmla="*/ 21 w 40"/>
                  <a:gd name="T53" fmla="*/ 96 h 111"/>
                  <a:gd name="T54" fmla="*/ 27 w 40"/>
                  <a:gd name="T55" fmla="*/ 104 h 111"/>
                  <a:gd name="T56" fmla="*/ 30 w 40"/>
                  <a:gd name="T57" fmla="*/ 109 h 111"/>
                  <a:gd name="T58" fmla="*/ 32 w 40"/>
                  <a:gd name="T59" fmla="*/ 111 h 111"/>
                  <a:gd name="T60" fmla="*/ 32 w 40"/>
                  <a:gd name="T61" fmla="*/ 106 h 111"/>
                  <a:gd name="T62" fmla="*/ 30 w 40"/>
                  <a:gd name="T63" fmla="*/ 101 h 111"/>
                  <a:gd name="T64" fmla="*/ 33 w 40"/>
                  <a:gd name="T65" fmla="*/ 96 h 111"/>
                  <a:gd name="T66" fmla="*/ 37 w 40"/>
                  <a:gd name="T67" fmla="*/ 96 h 111"/>
                  <a:gd name="T68" fmla="*/ 40 w 40"/>
                  <a:gd name="T69" fmla="*/ 93 h 111"/>
                  <a:gd name="T70" fmla="*/ 40 w 40"/>
                  <a:gd name="T71" fmla="*/ 88 h 111"/>
                  <a:gd name="T72" fmla="*/ 40 w 40"/>
                  <a:gd name="T73" fmla="*/ 84 h 111"/>
                  <a:gd name="T74" fmla="*/ 40 w 40"/>
                  <a:gd name="T75" fmla="*/ 79 h 111"/>
                  <a:gd name="T76" fmla="*/ 40 w 40"/>
                  <a:gd name="T77" fmla="*/ 74 h 111"/>
                  <a:gd name="T78" fmla="*/ 38 w 40"/>
                  <a:gd name="T79" fmla="*/ 71 h 111"/>
                  <a:gd name="T80" fmla="*/ 35 w 40"/>
                  <a:gd name="T81" fmla="*/ 66 h 111"/>
                  <a:gd name="T82" fmla="*/ 30 w 40"/>
                  <a:gd name="T83" fmla="*/ 58 h 111"/>
                  <a:gd name="T84" fmla="*/ 27 w 40"/>
                  <a:gd name="T85" fmla="*/ 61 h 111"/>
                  <a:gd name="T86" fmla="*/ 30 w 40"/>
                  <a:gd name="T87" fmla="*/ 65 h 111"/>
                  <a:gd name="T88" fmla="*/ 32 w 40"/>
                  <a:gd name="T89" fmla="*/ 71 h 111"/>
                  <a:gd name="T90" fmla="*/ 27 w 40"/>
                  <a:gd name="T91" fmla="*/ 68 h 111"/>
                  <a:gd name="T92" fmla="*/ 24 w 40"/>
                  <a:gd name="T93" fmla="*/ 66 h 111"/>
                  <a:gd name="T94" fmla="*/ 24 w 40"/>
                  <a:gd name="T95" fmla="*/ 58 h 111"/>
                  <a:gd name="T96" fmla="*/ 21 w 40"/>
                  <a:gd name="T97" fmla="*/ 55 h 111"/>
                  <a:gd name="T98" fmla="*/ 21 w 40"/>
                  <a:gd name="T99" fmla="*/ 49 h 111"/>
                  <a:gd name="T100" fmla="*/ 18 w 40"/>
                  <a:gd name="T101" fmla="*/ 38 h 111"/>
                  <a:gd name="T102" fmla="*/ 21 w 40"/>
                  <a:gd name="T103" fmla="*/ 33 h 111"/>
                  <a:gd name="T104" fmla="*/ 21 w 40"/>
                  <a:gd name="T105" fmla="*/ 17 h 111"/>
                  <a:gd name="T106" fmla="*/ 21 w 40"/>
                  <a:gd name="T107" fmla="*/ 12 h 111"/>
                  <a:gd name="T108" fmla="*/ 18 w 40"/>
                  <a:gd name="T109" fmla="*/ 6 h 111"/>
                  <a:gd name="T110" fmla="*/ 18 w 40"/>
                  <a:gd name="T111" fmla="*/ 3 h 111"/>
                  <a:gd name="T112" fmla="*/ 13 w 40"/>
                  <a:gd name="T113" fmla="*/ 3 h 111"/>
                  <a:gd name="T114" fmla="*/ 10 w 40"/>
                  <a:gd name="T115" fmla="*/ 0 h 111"/>
                  <a:gd name="T116" fmla="*/ 5 w 40"/>
                  <a:gd name="T117" fmla="*/ 0 h 111"/>
                  <a:gd name="T118" fmla="*/ 5 w 40"/>
                  <a:gd name="T119" fmla="*/ 3 h 111"/>
                  <a:gd name="T120" fmla="*/ 5 w 40"/>
                  <a:gd name="T121" fmla="*/ 3 h 111"/>
                  <a:gd name="T122" fmla="*/ 5 w 40"/>
                  <a:gd name="T123" fmla="*/ 3 h 111"/>
                  <a:gd name="T124" fmla="*/ 5 w 40"/>
                  <a:gd name="T125" fmla="*/ 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 h="111">
                    <a:moveTo>
                      <a:pt x="5" y="3"/>
                    </a:moveTo>
                    <a:lnTo>
                      <a:pt x="10" y="3"/>
                    </a:lnTo>
                    <a:lnTo>
                      <a:pt x="10" y="4"/>
                    </a:lnTo>
                    <a:lnTo>
                      <a:pt x="10" y="4"/>
                    </a:lnTo>
                    <a:lnTo>
                      <a:pt x="10" y="6"/>
                    </a:lnTo>
                    <a:lnTo>
                      <a:pt x="10" y="7"/>
                    </a:lnTo>
                    <a:lnTo>
                      <a:pt x="11" y="9"/>
                    </a:lnTo>
                    <a:lnTo>
                      <a:pt x="13" y="12"/>
                    </a:lnTo>
                    <a:lnTo>
                      <a:pt x="13" y="15"/>
                    </a:lnTo>
                    <a:lnTo>
                      <a:pt x="13" y="17"/>
                    </a:lnTo>
                    <a:lnTo>
                      <a:pt x="11" y="19"/>
                    </a:lnTo>
                    <a:lnTo>
                      <a:pt x="10" y="20"/>
                    </a:lnTo>
                    <a:lnTo>
                      <a:pt x="8" y="20"/>
                    </a:lnTo>
                    <a:lnTo>
                      <a:pt x="8" y="20"/>
                    </a:lnTo>
                    <a:lnTo>
                      <a:pt x="8" y="20"/>
                    </a:lnTo>
                    <a:lnTo>
                      <a:pt x="10" y="23"/>
                    </a:lnTo>
                    <a:lnTo>
                      <a:pt x="10" y="27"/>
                    </a:lnTo>
                    <a:lnTo>
                      <a:pt x="8" y="30"/>
                    </a:lnTo>
                    <a:lnTo>
                      <a:pt x="8" y="36"/>
                    </a:lnTo>
                    <a:lnTo>
                      <a:pt x="10" y="39"/>
                    </a:lnTo>
                    <a:lnTo>
                      <a:pt x="11" y="41"/>
                    </a:lnTo>
                    <a:lnTo>
                      <a:pt x="6" y="44"/>
                    </a:lnTo>
                    <a:lnTo>
                      <a:pt x="5" y="46"/>
                    </a:lnTo>
                    <a:lnTo>
                      <a:pt x="3" y="47"/>
                    </a:lnTo>
                    <a:lnTo>
                      <a:pt x="5" y="52"/>
                    </a:lnTo>
                    <a:lnTo>
                      <a:pt x="3" y="55"/>
                    </a:lnTo>
                    <a:lnTo>
                      <a:pt x="2" y="58"/>
                    </a:lnTo>
                    <a:lnTo>
                      <a:pt x="2" y="58"/>
                    </a:lnTo>
                    <a:lnTo>
                      <a:pt x="0" y="61"/>
                    </a:lnTo>
                    <a:lnTo>
                      <a:pt x="0" y="61"/>
                    </a:lnTo>
                    <a:lnTo>
                      <a:pt x="2" y="63"/>
                    </a:lnTo>
                    <a:lnTo>
                      <a:pt x="2" y="65"/>
                    </a:lnTo>
                    <a:lnTo>
                      <a:pt x="3" y="65"/>
                    </a:lnTo>
                    <a:lnTo>
                      <a:pt x="5" y="65"/>
                    </a:lnTo>
                    <a:lnTo>
                      <a:pt x="5" y="65"/>
                    </a:lnTo>
                    <a:lnTo>
                      <a:pt x="5" y="65"/>
                    </a:lnTo>
                    <a:lnTo>
                      <a:pt x="5" y="66"/>
                    </a:lnTo>
                    <a:lnTo>
                      <a:pt x="5" y="65"/>
                    </a:lnTo>
                    <a:lnTo>
                      <a:pt x="13" y="73"/>
                    </a:lnTo>
                    <a:lnTo>
                      <a:pt x="14" y="73"/>
                    </a:lnTo>
                    <a:lnTo>
                      <a:pt x="18" y="73"/>
                    </a:lnTo>
                    <a:lnTo>
                      <a:pt x="21" y="71"/>
                    </a:lnTo>
                    <a:lnTo>
                      <a:pt x="21" y="71"/>
                    </a:lnTo>
                    <a:lnTo>
                      <a:pt x="24" y="76"/>
                    </a:lnTo>
                    <a:lnTo>
                      <a:pt x="24" y="77"/>
                    </a:lnTo>
                    <a:lnTo>
                      <a:pt x="24" y="81"/>
                    </a:lnTo>
                    <a:lnTo>
                      <a:pt x="24" y="84"/>
                    </a:lnTo>
                    <a:lnTo>
                      <a:pt x="21" y="85"/>
                    </a:lnTo>
                    <a:lnTo>
                      <a:pt x="21" y="88"/>
                    </a:lnTo>
                    <a:lnTo>
                      <a:pt x="21" y="90"/>
                    </a:lnTo>
                    <a:lnTo>
                      <a:pt x="21" y="90"/>
                    </a:lnTo>
                    <a:lnTo>
                      <a:pt x="21" y="93"/>
                    </a:lnTo>
                    <a:lnTo>
                      <a:pt x="21" y="93"/>
                    </a:lnTo>
                    <a:lnTo>
                      <a:pt x="21" y="96"/>
                    </a:lnTo>
                    <a:lnTo>
                      <a:pt x="24" y="100"/>
                    </a:lnTo>
                    <a:lnTo>
                      <a:pt x="27" y="104"/>
                    </a:lnTo>
                    <a:lnTo>
                      <a:pt x="30" y="108"/>
                    </a:lnTo>
                    <a:lnTo>
                      <a:pt x="30" y="109"/>
                    </a:lnTo>
                    <a:lnTo>
                      <a:pt x="30" y="111"/>
                    </a:lnTo>
                    <a:lnTo>
                      <a:pt x="32" y="111"/>
                    </a:lnTo>
                    <a:lnTo>
                      <a:pt x="32" y="109"/>
                    </a:lnTo>
                    <a:lnTo>
                      <a:pt x="32" y="106"/>
                    </a:lnTo>
                    <a:lnTo>
                      <a:pt x="32" y="104"/>
                    </a:lnTo>
                    <a:lnTo>
                      <a:pt x="30" y="101"/>
                    </a:lnTo>
                    <a:lnTo>
                      <a:pt x="32" y="100"/>
                    </a:lnTo>
                    <a:lnTo>
                      <a:pt x="33" y="96"/>
                    </a:lnTo>
                    <a:lnTo>
                      <a:pt x="37" y="96"/>
                    </a:lnTo>
                    <a:lnTo>
                      <a:pt x="37" y="96"/>
                    </a:lnTo>
                    <a:lnTo>
                      <a:pt x="38" y="93"/>
                    </a:lnTo>
                    <a:lnTo>
                      <a:pt x="40" y="93"/>
                    </a:lnTo>
                    <a:lnTo>
                      <a:pt x="40" y="90"/>
                    </a:lnTo>
                    <a:lnTo>
                      <a:pt x="40" y="88"/>
                    </a:lnTo>
                    <a:lnTo>
                      <a:pt x="40" y="85"/>
                    </a:lnTo>
                    <a:lnTo>
                      <a:pt x="40" y="84"/>
                    </a:lnTo>
                    <a:lnTo>
                      <a:pt x="40" y="81"/>
                    </a:lnTo>
                    <a:lnTo>
                      <a:pt x="40" y="79"/>
                    </a:lnTo>
                    <a:lnTo>
                      <a:pt x="40" y="76"/>
                    </a:lnTo>
                    <a:lnTo>
                      <a:pt x="40" y="74"/>
                    </a:lnTo>
                    <a:lnTo>
                      <a:pt x="40" y="73"/>
                    </a:lnTo>
                    <a:lnTo>
                      <a:pt x="38" y="71"/>
                    </a:lnTo>
                    <a:lnTo>
                      <a:pt x="37" y="69"/>
                    </a:lnTo>
                    <a:lnTo>
                      <a:pt x="35" y="66"/>
                    </a:lnTo>
                    <a:lnTo>
                      <a:pt x="32" y="61"/>
                    </a:lnTo>
                    <a:lnTo>
                      <a:pt x="30" y="58"/>
                    </a:lnTo>
                    <a:lnTo>
                      <a:pt x="27" y="58"/>
                    </a:lnTo>
                    <a:lnTo>
                      <a:pt x="27" y="61"/>
                    </a:lnTo>
                    <a:lnTo>
                      <a:pt x="30" y="61"/>
                    </a:lnTo>
                    <a:lnTo>
                      <a:pt x="30" y="65"/>
                    </a:lnTo>
                    <a:lnTo>
                      <a:pt x="32" y="66"/>
                    </a:lnTo>
                    <a:lnTo>
                      <a:pt x="32" y="71"/>
                    </a:lnTo>
                    <a:lnTo>
                      <a:pt x="27" y="65"/>
                    </a:lnTo>
                    <a:lnTo>
                      <a:pt x="27" y="68"/>
                    </a:lnTo>
                    <a:lnTo>
                      <a:pt x="27" y="68"/>
                    </a:lnTo>
                    <a:lnTo>
                      <a:pt x="24" y="66"/>
                    </a:lnTo>
                    <a:lnTo>
                      <a:pt x="24" y="61"/>
                    </a:lnTo>
                    <a:lnTo>
                      <a:pt x="24" y="58"/>
                    </a:lnTo>
                    <a:lnTo>
                      <a:pt x="24" y="58"/>
                    </a:lnTo>
                    <a:lnTo>
                      <a:pt x="21" y="55"/>
                    </a:lnTo>
                    <a:lnTo>
                      <a:pt x="21" y="52"/>
                    </a:lnTo>
                    <a:lnTo>
                      <a:pt x="21" y="49"/>
                    </a:lnTo>
                    <a:lnTo>
                      <a:pt x="18" y="39"/>
                    </a:lnTo>
                    <a:lnTo>
                      <a:pt x="18" y="38"/>
                    </a:lnTo>
                    <a:lnTo>
                      <a:pt x="19" y="34"/>
                    </a:lnTo>
                    <a:lnTo>
                      <a:pt x="21" y="33"/>
                    </a:lnTo>
                    <a:lnTo>
                      <a:pt x="21" y="30"/>
                    </a:lnTo>
                    <a:lnTo>
                      <a:pt x="21" y="17"/>
                    </a:lnTo>
                    <a:lnTo>
                      <a:pt x="21" y="14"/>
                    </a:lnTo>
                    <a:lnTo>
                      <a:pt x="21" y="12"/>
                    </a:lnTo>
                    <a:lnTo>
                      <a:pt x="21" y="11"/>
                    </a:lnTo>
                    <a:lnTo>
                      <a:pt x="18" y="6"/>
                    </a:lnTo>
                    <a:lnTo>
                      <a:pt x="18" y="3"/>
                    </a:lnTo>
                    <a:lnTo>
                      <a:pt x="18" y="3"/>
                    </a:lnTo>
                    <a:lnTo>
                      <a:pt x="14" y="3"/>
                    </a:lnTo>
                    <a:lnTo>
                      <a:pt x="13" y="3"/>
                    </a:lnTo>
                    <a:lnTo>
                      <a:pt x="11" y="0"/>
                    </a:lnTo>
                    <a:lnTo>
                      <a:pt x="10" y="0"/>
                    </a:lnTo>
                    <a:lnTo>
                      <a:pt x="5" y="0"/>
                    </a:lnTo>
                    <a:lnTo>
                      <a:pt x="5" y="0"/>
                    </a:lnTo>
                    <a:lnTo>
                      <a:pt x="5" y="3"/>
                    </a:lnTo>
                    <a:lnTo>
                      <a:pt x="5" y="3"/>
                    </a:lnTo>
                    <a:lnTo>
                      <a:pt x="5" y="3"/>
                    </a:lnTo>
                    <a:lnTo>
                      <a:pt x="5" y="3"/>
                    </a:lnTo>
                    <a:lnTo>
                      <a:pt x="5" y="3"/>
                    </a:lnTo>
                    <a:lnTo>
                      <a:pt x="5" y="3"/>
                    </a:lnTo>
                    <a:lnTo>
                      <a:pt x="5" y="3"/>
                    </a:lnTo>
                    <a:lnTo>
                      <a:pt x="5" y="3"/>
                    </a:lnTo>
                    <a:lnTo>
                      <a:pt x="5" y="3"/>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28" name="Freeform 110">
                <a:extLst>
                  <a:ext uri="{FF2B5EF4-FFF2-40B4-BE49-F238E27FC236}">
                    <a16:creationId xmlns:a16="http://schemas.microsoft.com/office/drawing/2014/main" id="{9F939C05-3FC7-82CB-12E7-7AD8BA57D5FD}"/>
                  </a:ext>
                </a:extLst>
              </p:cNvPr>
              <p:cNvSpPr>
                <a:spLocks/>
              </p:cNvSpPr>
              <p:nvPr/>
            </p:nvSpPr>
            <p:spPr bwMode="auto">
              <a:xfrm>
                <a:off x="6628269" y="4368299"/>
                <a:ext cx="302815" cy="527121"/>
              </a:xfrm>
              <a:custGeom>
                <a:avLst/>
                <a:gdLst>
                  <a:gd name="T0" fmla="*/ 132 w 135"/>
                  <a:gd name="T1" fmla="*/ 53 h 235"/>
                  <a:gd name="T2" fmla="*/ 132 w 135"/>
                  <a:gd name="T3" fmla="*/ 40 h 235"/>
                  <a:gd name="T4" fmla="*/ 132 w 135"/>
                  <a:gd name="T5" fmla="*/ 27 h 235"/>
                  <a:gd name="T6" fmla="*/ 132 w 135"/>
                  <a:gd name="T7" fmla="*/ 15 h 235"/>
                  <a:gd name="T8" fmla="*/ 132 w 135"/>
                  <a:gd name="T9" fmla="*/ 5 h 235"/>
                  <a:gd name="T10" fmla="*/ 129 w 135"/>
                  <a:gd name="T11" fmla="*/ 0 h 235"/>
                  <a:gd name="T12" fmla="*/ 108 w 135"/>
                  <a:gd name="T13" fmla="*/ 12 h 235"/>
                  <a:gd name="T14" fmla="*/ 94 w 135"/>
                  <a:gd name="T15" fmla="*/ 18 h 235"/>
                  <a:gd name="T16" fmla="*/ 82 w 135"/>
                  <a:gd name="T17" fmla="*/ 18 h 235"/>
                  <a:gd name="T18" fmla="*/ 65 w 135"/>
                  <a:gd name="T19" fmla="*/ 15 h 235"/>
                  <a:gd name="T20" fmla="*/ 57 w 135"/>
                  <a:gd name="T21" fmla="*/ 24 h 235"/>
                  <a:gd name="T22" fmla="*/ 62 w 135"/>
                  <a:gd name="T23" fmla="*/ 43 h 235"/>
                  <a:gd name="T24" fmla="*/ 70 w 135"/>
                  <a:gd name="T25" fmla="*/ 58 h 235"/>
                  <a:gd name="T26" fmla="*/ 71 w 135"/>
                  <a:gd name="T27" fmla="*/ 69 h 235"/>
                  <a:gd name="T28" fmla="*/ 68 w 135"/>
                  <a:gd name="T29" fmla="*/ 78 h 235"/>
                  <a:gd name="T30" fmla="*/ 62 w 135"/>
                  <a:gd name="T31" fmla="*/ 86 h 235"/>
                  <a:gd name="T32" fmla="*/ 60 w 135"/>
                  <a:gd name="T33" fmla="*/ 96 h 235"/>
                  <a:gd name="T34" fmla="*/ 51 w 135"/>
                  <a:gd name="T35" fmla="*/ 81 h 235"/>
                  <a:gd name="T36" fmla="*/ 52 w 135"/>
                  <a:gd name="T37" fmla="*/ 73 h 235"/>
                  <a:gd name="T38" fmla="*/ 54 w 135"/>
                  <a:gd name="T39" fmla="*/ 61 h 235"/>
                  <a:gd name="T40" fmla="*/ 44 w 135"/>
                  <a:gd name="T41" fmla="*/ 58 h 235"/>
                  <a:gd name="T42" fmla="*/ 35 w 135"/>
                  <a:gd name="T43" fmla="*/ 50 h 235"/>
                  <a:gd name="T44" fmla="*/ 1 w 135"/>
                  <a:gd name="T45" fmla="*/ 73 h 235"/>
                  <a:gd name="T46" fmla="*/ 6 w 135"/>
                  <a:gd name="T47" fmla="*/ 78 h 235"/>
                  <a:gd name="T48" fmla="*/ 27 w 135"/>
                  <a:gd name="T49" fmla="*/ 86 h 235"/>
                  <a:gd name="T50" fmla="*/ 33 w 135"/>
                  <a:gd name="T51" fmla="*/ 93 h 235"/>
                  <a:gd name="T52" fmla="*/ 33 w 135"/>
                  <a:gd name="T53" fmla="*/ 108 h 235"/>
                  <a:gd name="T54" fmla="*/ 33 w 135"/>
                  <a:gd name="T55" fmla="*/ 115 h 235"/>
                  <a:gd name="T56" fmla="*/ 30 w 135"/>
                  <a:gd name="T57" fmla="*/ 121 h 235"/>
                  <a:gd name="T58" fmla="*/ 32 w 135"/>
                  <a:gd name="T59" fmla="*/ 131 h 235"/>
                  <a:gd name="T60" fmla="*/ 30 w 135"/>
                  <a:gd name="T61" fmla="*/ 142 h 235"/>
                  <a:gd name="T62" fmla="*/ 25 w 135"/>
                  <a:gd name="T63" fmla="*/ 153 h 235"/>
                  <a:gd name="T64" fmla="*/ 19 w 135"/>
                  <a:gd name="T65" fmla="*/ 161 h 235"/>
                  <a:gd name="T66" fmla="*/ 9 w 135"/>
                  <a:gd name="T67" fmla="*/ 172 h 235"/>
                  <a:gd name="T68" fmla="*/ 16 w 135"/>
                  <a:gd name="T69" fmla="*/ 191 h 235"/>
                  <a:gd name="T70" fmla="*/ 17 w 135"/>
                  <a:gd name="T71" fmla="*/ 215 h 235"/>
                  <a:gd name="T72" fmla="*/ 17 w 135"/>
                  <a:gd name="T73" fmla="*/ 224 h 235"/>
                  <a:gd name="T74" fmla="*/ 27 w 135"/>
                  <a:gd name="T75" fmla="*/ 235 h 235"/>
                  <a:gd name="T76" fmla="*/ 25 w 135"/>
                  <a:gd name="T77" fmla="*/ 224 h 235"/>
                  <a:gd name="T78" fmla="*/ 32 w 135"/>
                  <a:gd name="T79" fmla="*/ 213 h 235"/>
                  <a:gd name="T80" fmla="*/ 62 w 135"/>
                  <a:gd name="T81" fmla="*/ 197 h 235"/>
                  <a:gd name="T82" fmla="*/ 60 w 135"/>
                  <a:gd name="T83" fmla="*/ 186 h 235"/>
                  <a:gd name="T84" fmla="*/ 62 w 135"/>
                  <a:gd name="T85" fmla="*/ 169 h 235"/>
                  <a:gd name="T86" fmla="*/ 59 w 135"/>
                  <a:gd name="T87" fmla="*/ 159 h 235"/>
                  <a:gd name="T88" fmla="*/ 54 w 135"/>
                  <a:gd name="T89" fmla="*/ 143 h 235"/>
                  <a:gd name="T90" fmla="*/ 54 w 135"/>
                  <a:gd name="T91" fmla="*/ 134 h 235"/>
                  <a:gd name="T92" fmla="*/ 60 w 135"/>
                  <a:gd name="T93" fmla="*/ 131 h 235"/>
                  <a:gd name="T94" fmla="*/ 73 w 135"/>
                  <a:gd name="T95" fmla="*/ 118 h 235"/>
                  <a:gd name="T96" fmla="*/ 82 w 135"/>
                  <a:gd name="T97" fmla="*/ 108 h 235"/>
                  <a:gd name="T98" fmla="*/ 90 w 135"/>
                  <a:gd name="T99" fmla="*/ 102 h 235"/>
                  <a:gd name="T100" fmla="*/ 106 w 135"/>
                  <a:gd name="T101" fmla="*/ 94 h 235"/>
                  <a:gd name="T102" fmla="*/ 124 w 135"/>
                  <a:gd name="T103" fmla="*/ 78 h 235"/>
                  <a:gd name="T104" fmla="*/ 130 w 135"/>
                  <a:gd name="T105" fmla="*/ 67 h 235"/>
                  <a:gd name="T106" fmla="*/ 132 w 135"/>
                  <a:gd name="T107" fmla="*/ 56 h 235"/>
                  <a:gd name="T108" fmla="*/ 132 w 135"/>
                  <a:gd name="T109" fmla="*/ 5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5" h="235">
                    <a:moveTo>
                      <a:pt x="132" y="56"/>
                    </a:moveTo>
                    <a:lnTo>
                      <a:pt x="132" y="58"/>
                    </a:lnTo>
                    <a:lnTo>
                      <a:pt x="132" y="54"/>
                    </a:lnTo>
                    <a:lnTo>
                      <a:pt x="132" y="53"/>
                    </a:lnTo>
                    <a:lnTo>
                      <a:pt x="132" y="53"/>
                    </a:lnTo>
                    <a:lnTo>
                      <a:pt x="132" y="46"/>
                    </a:lnTo>
                    <a:lnTo>
                      <a:pt x="132" y="43"/>
                    </a:lnTo>
                    <a:lnTo>
                      <a:pt x="132" y="43"/>
                    </a:lnTo>
                    <a:lnTo>
                      <a:pt x="130" y="40"/>
                    </a:lnTo>
                    <a:lnTo>
                      <a:pt x="132" y="40"/>
                    </a:lnTo>
                    <a:lnTo>
                      <a:pt x="132" y="37"/>
                    </a:lnTo>
                    <a:lnTo>
                      <a:pt x="130" y="35"/>
                    </a:lnTo>
                    <a:lnTo>
                      <a:pt x="132" y="32"/>
                    </a:lnTo>
                    <a:lnTo>
                      <a:pt x="132" y="31"/>
                    </a:lnTo>
                    <a:lnTo>
                      <a:pt x="132" y="27"/>
                    </a:lnTo>
                    <a:lnTo>
                      <a:pt x="132" y="26"/>
                    </a:lnTo>
                    <a:lnTo>
                      <a:pt x="132" y="24"/>
                    </a:lnTo>
                    <a:lnTo>
                      <a:pt x="132" y="23"/>
                    </a:lnTo>
                    <a:lnTo>
                      <a:pt x="132" y="18"/>
                    </a:lnTo>
                    <a:lnTo>
                      <a:pt x="132" y="15"/>
                    </a:lnTo>
                    <a:lnTo>
                      <a:pt x="130" y="12"/>
                    </a:lnTo>
                    <a:lnTo>
                      <a:pt x="130" y="12"/>
                    </a:lnTo>
                    <a:lnTo>
                      <a:pt x="132" y="8"/>
                    </a:lnTo>
                    <a:lnTo>
                      <a:pt x="132" y="5"/>
                    </a:lnTo>
                    <a:lnTo>
                      <a:pt x="132" y="5"/>
                    </a:lnTo>
                    <a:lnTo>
                      <a:pt x="132" y="4"/>
                    </a:lnTo>
                    <a:lnTo>
                      <a:pt x="132" y="2"/>
                    </a:lnTo>
                    <a:lnTo>
                      <a:pt x="132" y="0"/>
                    </a:lnTo>
                    <a:lnTo>
                      <a:pt x="130" y="0"/>
                    </a:lnTo>
                    <a:lnTo>
                      <a:pt x="129" y="0"/>
                    </a:lnTo>
                    <a:lnTo>
                      <a:pt x="121" y="5"/>
                    </a:lnTo>
                    <a:lnTo>
                      <a:pt x="117" y="8"/>
                    </a:lnTo>
                    <a:lnTo>
                      <a:pt x="114" y="8"/>
                    </a:lnTo>
                    <a:lnTo>
                      <a:pt x="111" y="8"/>
                    </a:lnTo>
                    <a:lnTo>
                      <a:pt x="108" y="12"/>
                    </a:lnTo>
                    <a:lnTo>
                      <a:pt x="106" y="12"/>
                    </a:lnTo>
                    <a:lnTo>
                      <a:pt x="103" y="12"/>
                    </a:lnTo>
                    <a:lnTo>
                      <a:pt x="100" y="12"/>
                    </a:lnTo>
                    <a:lnTo>
                      <a:pt x="97" y="12"/>
                    </a:lnTo>
                    <a:lnTo>
                      <a:pt x="94" y="18"/>
                    </a:lnTo>
                    <a:lnTo>
                      <a:pt x="90" y="18"/>
                    </a:lnTo>
                    <a:lnTo>
                      <a:pt x="87" y="15"/>
                    </a:lnTo>
                    <a:lnTo>
                      <a:pt x="86" y="15"/>
                    </a:lnTo>
                    <a:lnTo>
                      <a:pt x="84" y="15"/>
                    </a:lnTo>
                    <a:lnTo>
                      <a:pt x="82" y="18"/>
                    </a:lnTo>
                    <a:lnTo>
                      <a:pt x="76" y="18"/>
                    </a:lnTo>
                    <a:lnTo>
                      <a:pt x="73" y="15"/>
                    </a:lnTo>
                    <a:lnTo>
                      <a:pt x="71" y="15"/>
                    </a:lnTo>
                    <a:lnTo>
                      <a:pt x="68" y="15"/>
                    </a:lnTo>
                    <a:lnTo>
                      <a:pt x="65" y="15"/>
                    </a:lnTo>
                    <a:lnTo>
                      <a:pt x="62" y="15"/>
                    </a:lnTo>
                    <a:lnTo>
                      <a:pt x="60" y="15"/>
                    </a:lnTo>
                    <a:lnTo>
                      <a:pt x="60" y="19"/>
                    </a:lnTo>
                    <a:lnTo>
                      <a:pt x="60" y="21"/>
                    </a:lnTo>
                    <a:lnTo>
                      <a:pt x="57" y="24"/>
                    </a:lnTo>
                    <a:lnTo>
                      <a:pt x="59" y="31"/>
                    </a:lnTo>
                    <a:lnTo>
                      <a:pt x="59" y="34"/>
                    </a:lnTo>
                    <a:lnTo>
                      <a:pt x="59" y="37"/>
                    </a:lnTo>
                    <a:lnTo>
                      <a:pt x="59" y="43"/>
                    </a:lnTo>
                    <a:lnTo>
                      <a:pt x="62" y="43"/>
                    </a:lnTo>
                    <a:lnTo>
                      <a:pt x="63" y="46"/>
                    </a:lnTo>
                    <a:lnTo>
                      <a:pt x="65" y="51"/>
                    </a:lnTo>
                    <a:lnTo>
                      <a:pt x="68" y="54"/>
                    </a:lnTo>
                    <a:lnTo>
                      <a:pt x="68" y="56"/>
                    </a:lnTo>
                    <a:lnTo>
                      <a:pt x="70" y="58"/>
                    </a:lnTo>
                    <a:lnTo>
                      <a:pt x="71" y="59"/>
                    </a:lnTo>
                    <a:lnTo>
                      <a:pt x="71" y="61"/>
                    </a:lnTo>
                    <a:lnTo>
                      <a:pt x="71" y="64"/>
                    </a:lnTo>
                    <a:lnTo>
                      <a:pt x="71" y="66"/>
                    </a:lnTo>
                    <a:lnTo>
                      <a:pt x="71" y="69"/>
                    </a:lnTo>
                    <a:lnTo>
                      <a:pt x="71" y="70"/>
                    </a:lnTo>
                    <a:lnTo>
                      <a:pt x="71" y="73"/>
                    </a:lnTo>
                    <a:lnTo>
                      <a:pt x="71" y="75"/>
                    </a:lnTo>
                    <a:lnTo>
                      <a:pt x="71" y="78"/>
                    </a:lnTo>
                    <a:lnTo>
                      <a:pt x="68" y="78"/>
                    </a:lnTo>
                    <a:lnTo>
                      <a:pt x="68" y="81"/>
                    </a:lnTo>
                    <a:lnTo>
                      <a:pt x="67" y="81"/>
                    </a:lnTo>
                    <a:lnTo>
                      <a:pt x="65" y="81"/>
                    </a:lnTo>
                    <a:lnTo>
                      <a:pt x="63" y="85"/>
                    </a:lnTo>
                    <a:lnTo>
                      <a:pt x="62" y="86"/>
                    </a:lnTo>
                    <a:lnTo>
                      <a:pt x="63" y="89"/>
                    </a:lnTo>
                    <a:lnTo>
                      <a:pt x="63" y="91"/>
                    </a:lnTo>
                    <a:lnTo>
                      <a:pt x="63" y="94"/>
                    </a:lnTo>
                    <a:lnTo>
                      <a:pt x="63" y="96"/>
                    </a:lnTo>
                    <a:lnTo>
                      <a:pt x="60" y="96"/>
                    </a:lnTo>
                    <a:lnTo>
                      <a:pt x="60" y="94"/>
                    </a:lnTo>
                    <a:lnTo>
                      <a:pt x="60" y="93"/>
                    </a:lnTo>
                    <a:lnTo>
                      <a:pt x="59" y="89"/>
                    </a:lnTo>
                    <a:lnTo>
                      <a:pt x="54" y="85"/>
                    </a:lnTo>
                    <a:lnTo>
                      <a:pt x="51" y="81"/>
                    </a:lnTo>
                    <a:lnTo>
                      <a:pt x="51" y="78"/>
                    </a:lnTo>
                    <a:lnTo>
                      <a:pt x="51" y="78"/>
                    </a:lnTo>
                    <a:lnTo>
                      <a:pt x="51" y="75"/>
                    </a:lnTo>
                    <a:lnTo>
                      <a:pt x="51" y="75"/>
                    </a:lnTo>
                    <a:lnTo>
                      <a:pt x="52" y="73"/>
                    </a:lnTo>
                    <a:lnTo>
                      <a:pt x="52" y="70"/>
                    </a:lnTo>
                    <a:lnTo>
                      <a:pt x="54" y="69"/>
                    </a:lnTo>
                    <a:lnTo>
                      <a:pt x="54" y="66"/>
                    </a:lnTo>
                    <a:lnTo>
                      <a:pt x="54" y="62"/>
                    </a:lnTo>
                    <a:lnTo>
                      <a:pt x="54" y="61"/>
                    </a:lnTo>
                    <a:lnTo>
                      <a:pt x="52" y="56"/>
                    </a:lnTo>
                    <a:lnTo>
                      <a:pt x="51" y="56"/>
                    </a:lnTo>
                    <a:lnTo>
                      <a:pt x="48" y="58"/>
                    </a:lnTo>
                    <a:lnTo>
                      <a:pt x="44" y="58"/>
                    </a:lnTo>
                    <a:lnTo>
                      <a:pt x="44" y="58"/>
                    </a:lnTo>
                    <a:lnTo>
                      <a:pt x="36" y="50"/>
                    </a:lnTo>
                    <a:lnTo>
                      <a:pt x="36" y="51"/>
                    </a:lnTo>
                    <a:lnTo>
                      <a:pt x="36" y="51"/>
                    </a:lnTo>
                    <a:lnTo>
                      <a:pt x="35" y="50"/>
                    </a:lnTo>
                    <a:lnTo>
                      <a:pt x="35" y="50"/>
                    </a:lnTo>
                    <a:lnTo>
                      <a:pt x="17" y="58"/>
                    </a:lnTo>
                    <a:lnTo>
                      <a:pt x="0" y="64"/>
                    </a:lnTo>
                    <a:lnTo>
                      <a:pt x="1" y="69"/>
                    </a:lnTo>
                    <a:lnTo>
                      <a:pt x="1" y="72"/>
                    </a:lnTo>
                    <a:lnTo>
                      <a:pt x="1" y="73"/>
                    </a:lnTo>
                    <a:lnTo>
                      <a:pt x="1" y="73"/>
                    </a:lnTo>
                    <a:lnTo>
                      <a:pt x="1" y="75"/>
                    </a:lnTo>
                    <a:lnTo>
                      <a:pt x="3" y="78"/>
                    </a:lnTo>
                    <a:lnTo>
                      <a:pt x="5" y="78"/>
                    </a:lnTo>
                    <a:lnTo>
                      <a:pt x="6" y="78"/>
                    </a:lnTo>
                    <a:lnTo>
                      <a:pt x="9" y="78"/>
                    </a:lnTo>
                    <a:lnTo>
                      <a:pt x="16" y="81"/>
                    </a:lnTo>
                    <a:lnTo>
                      <a:pt x="17" y="81"/>
                    </a:lnTo>
                    <a:lnTo>
                      <a:pt x="22" y="85"/>
                    </a:lnTo>
                    <a:lnTo>
                      <a:pt x="27" y="86"/>
                    </a:lnTo>
                    <a:lnTo>
                      <a:pt x="30" y="88"/>
                    </a:lnTo>
                    <a:lnTo>
                      <a:pt x="32" y="89"/>
                    </a:lnTo>
                    <a:lnTo>
                      <a:pt x="35" y="89"/>
                    </a:lnTo>
                    <a:lnTo>
                      <a:pt x="33" y="91"/>
                    </a:lnTo>
                    <a:lnTo>
                      <a:pt x="33" y="93"/>
                    </a:lnTo>
                    <a:lnTo>
                      <a:pt x="33" y="94"/>
                    </a:lnTo>
                    <a:lnTo>
                      <a:pt x="33" y="96"/>
                    </a:lnTo>
                    <a:lnTo>
                      <a:pt x="35" y="102"/>
                    </a:lnTo>
                    <a:lnTo>
                      <a:pt x="35" y="104"/>
                    </a:lnTo>
                    <a:lnTo>
                      <a:pt x="33" y="108"/>
                    </a:lnTo>
                    <a:lnTo>
                      <a:pt x="33" y="108"/>
                    </a:lnTo>
                    <a:lnTo>
                      <a:pt x="33" y="110"/>
                    </a:lnTo>
                    <a:lnTo>
                      <a:pt x="35" y="112"/>
                    </a:lnTo>
                    <a:lnTo>
                      <a:pt x="33" y="113"/>
                    </a:lnTo>
                    <a:lnTo>
                      <a:pt x="33" y="115"/>
                    </a:lnTo>
                    <a:lnTo>
                      <a:pt x="33" y="116"/>
                    </a:lnTo>
                    <a:lnTo>
                      <a:pt x="32" y="118"/>
                    </a:lnTo>
                    <a:lnTo>
                      <a:pt x="32" y="118"/>
                    </a:lnTo>
                    <a:lnTo>
                      <a:pt x="32" y="120"/>
                    </a:lnTo>
                    <a:lnTo>
                      <a:pt x="30" y="121"/>
                    </a:lnTo>
                    <a:lnTo>
                      <a:pt x="30" y="123"/>
                    </a:lnTo>
                    <a:lnTo>
                      <a:pt x="32" y="124"/>
                    </a:lnTo>
                    <a:lnTo>
                      <a:pt x="32" y="126"/>
                    </a:lnTo>
                    <a:lnTo>
                      <a:pt x="30" y="127"/>
                    </a:lnTo>
                    <a:lnTo>
                      <a:pt x="32" y="131"/>
                    </a:lnTo>
                    <a:lnTo>
                      <a:pt x="33" y="131"/>
                    </a:lnTo>
                    <a:lnTo>
                      <a:pt x="32" y="137"/>
                    </a:lnTo>
                    <a:lnTo>
                      <a:pt x="32" y="137"/>
                    </a:lnTo>
                    <a:lnTo>
                      <a:pt x="32" y="140"/>
                    </a:lnTo>
                    <a:lnTo>
                      <a:pt x="30" y="142"/>
                    </a:lnTo>
                    <a:lnTo>
                      <a:pt x="27" y="145"/>
                    </a:lnTo>
                    <a:lnTo>
                      <a:pt x="25" y="145"/>
                    </a:lnTo>
                    <a:lnTo>
                      <a:pt x="25" y="146"/>
                    </a:lnTo>
                    <a:lnTo>
                      <a:pt x="25" y="150"/>
                    </a:lnTo>
                    <a:lnTo>
                      <a:pt x="25" y="153"/>
                    </a:lnTo>
                    <a:lnTo>
                      <a:pt x="25" y="154"/>
                    </a:lnTo>
                    <a:lnTo>
                      <a:pt x="25" y="156"/>
                    </a:lnTo>
                    <a:lnTo>
                      <a:pt x="24" y="156"/>
                    </a:lnTo>
                    <a:lnTo>
                      <a:pt x="22" y="158"/>
                    </a:lnTo>
                    <a:lnTo>
                      <a:pt x="19" y="161"/>
                    </a:lnTo>
                    <a:lnTo>
                      <a:pt x="16" y="164"/>
                    </a:lnTo>
                    <a:lnTo>
                      <a:pt x="16" y="166"/>
                    </a:lnTo>
                    <a:lnTo>
                      <a:pt x="13" y="169"/>
                    </a:lnTo>
                    <a:lnTo>
                      <a:pt x="9" y="172"/>
                    </a:lnTo>
                    <a:lnTo>
                      <a:pt x="9" y="172"/>
                    </a:lnTo>
                    <a:lnTo>
                      <a:pt x="11" y="178"/>
                    </a:lnTo>
                    <a:lnTo>
                      <a:pt x="13" y="180"/>
                    </a:lnTo>
                    <a:lnTo>
                      <a:pt x="13" y="186"/>
                    </a:lnTo>
                    <a:lnTo>
                      <a:pt x="16" y="191"/>
                    </a:lnTo>
                    <a:lnTo>
                      <a:pt x="16" y="191"/>
                    </a:lnTo>
                    <a:lnTo>
                      <a:pt x="16" y="197"/>
                    </a:lnTo>
                    <a:lnTo>
                      <a:pt x="17" y="204"/>
                    </a:lnTo>
                    <a:lnTo>
                      <a:pt x="17" y="210"/>
                    </a:lnTo>
                    <a:lnTo>
                      <a:pt x="17" y="212"/>
                    </a:lnTo>
                    <a:lnTo>
                      <a:pt x="17" y="215"/>
                    </a:lnTo>
                    <a:lnTo>
                      <a:pt x="16" y="218"/>
                    </a:lnTo>
                    <a:lnTo>
                      <a:pt x="16" y="220"/>
                    </a:lnTo>
                    <a:lnTo>
                      <a:pt x="16" y="221"/>
                    </a:lnTo>
                    <a:lnTo>
                      <a:pt x="16" y="224"/>
                    </a:lnTo>
                    <a:lnTo>
                      <a:pt x="17" y="224"/>
                    </a:lnTo>
                    <a:lnTo>
                      <a:pt x="17" y="227"/>
                    </a:lnTo>
                    <a:lnTo>
                      <a:pt x="17" y="231"/>
                    </a:lnTo>
                    <a:lnTo>
                      <a:pt x="19" y="234"/>
                    </a:lnTo>
                    <a:lnTo>
                      <a:pt x="19" y="234"/>
                    </a:lnTo>
                    <a:lnTo>
                      <a:pt x="27" y="235"/>
                    </a:lnTo>
                    <a:lnTo>
                      <a:pt x="28" y="234"/>
                    </a:lnTo>
                    <a:lnTo>
                      <a:pt x="28" y="231"/>
                    </a:lnTo>
                    <a:lnTo>
                      <a:pt x="28" y="224"/>
                    </a:lnTo>
                    <a:lnTo>
                      <a:pt x="27" y="224"/>
                    </a:lnTo>
                    <a:lnTo>
                      <a:pt x="25" y="224"/>
                    </a:lnTo>
                    <a:lnTo>
                      <a:pt x="22" y="221"/>
                    </a:lnTo>
                    <a:lnTo>
                      <a:pt x="25" y="221"/>
                    </a:lnTo>
                    <a:lnTo>
                      <a:pt x="27" y="218"/>
                    </a:lnTo>
                    <a:lnTo>
                      <a:pt x="28" y="216"/>
                    </a:lnTo>
                    <a:lnTo>
                      <a:pt x="32" y="213"/>
                    </a:lnTo>
                    <a:lnTo>
                      <a:pt x="40" y="210"/>
                    </a:lnTo>
                    <a:lnTo>
                      <a:pt x="48" y="207"/>
                    </a:lnTo>
                    <a:lnTo>
                      <a:pt x="52" y="204"/>
                    </a:lnTo>
                    <a:lnTo>
                      <a:pt x="59" y="200"/>
                    </a:lnTo>
                    <a:lnTo>
                      <a:pt x="62" y="197"/>
                    </a:lnTo>
                    <a:lnTo>
                      <a:pt x="62" y="194"/>
                    </a:lnTo>
                    <a:lnTo>
                      <a:pt x="62" y="193"/>
                    </a:lnTo>
                    <a:lnTo>
                      <a:pt x="60" y="193"/>
                    </a:lnTo>
                    <a:lnTo>
                      <a:pt x="60" y="189"/>
                    </a:lnTo>
                    <a:lnTo>
                      <a:pt x="60" y="186"/>
                    </a:lnTo>
                    <a:lnTo>
                      <a:pt x="63" y="178"/>
                    </a:lnTo>
                    <a:lnTo>
                      <a:pt x="62" y="175"/>
                    </a:lnTo>
                    <a:lnTo>
                      <a:pt x="63" y="169"/>
                    </a:lnTo>
                    <a:lnTo>
                      <a:pt x="63" y="166"/>
                    </a:lnTo>
                    <a:lnTo>
                      <a:pt x="62" y="169"/>
                    </a:lnTo>
                    <a:lnTo>
                      <a:pt x="62" y="172"/>
                    </a:lnTo>
                    <a:lnTo>
                      <a:pt x="60" y="169"/>
                    </a:lnTo>
                    <a:lnTo>
                      <a:pt x="60" y="169"/>
                    </a:lnTo>
                    <a:lnTo>
                      <a:pt x="60" y="162"/>
                    </a:lnTo>
                    <a:lnTo>
                      <a:pt x="59" y="159"/>
                    </a:lnTo>
                    <a:lnTo>
                      <a:pt x="59" y="154"/>
                    </a:lnTo>
                    <a:lnTo>
                      <a:pt x="59" y="151"/>
                    </a:lnTo>
                    <a:lnTo>
                      <a:pt x="57" y="148"/>
                    </a:lnTo>
                    <a:lnTo>
                      <a:pt x="57" y="146"/>
                    </a:lnTo>
                    <a:lnTo>
                      <a:pt x="54" y="143"/>
                    </a:lnTo>
                    <a:lnTo>
                      <a:pt x="54" y="140"/>
                    </a:lnTo>
                    <a:lnTo>
                      <a:pt x="54" y="140"/>
                    </a:lnTo>
                    <a:lnTo>
                      <a:pt x="54" y="137"/>
                    </a:lnTo>
                    <a:lnTo>
                      <a:pt x="54" y="134"/>
                    </a:lnTo>
                    <a:lnTo>
                      <a:pt x="54" y="134"/>
                    </a:lnTo>
                    <a:lnTo>
                      <a:pt x="54" y="131"/>
                    </a:lnTo>
                    <a:lnTo>
                      <a:pt x="55" y="134"/>
                    </a:lnTo>
                    <a:lnTo>
                      <a:pt x="57" y="134"/>
                    </a:lnTo>
                    <a:lnTo>
                      <a:pt x="59" y="134"/>
                    </a:lnTo>
                    <a:lnTo>
                      <a:pt x="60" y="131"/>
                    </a:lnTo>
                    <a:lnTo>
                      <a:pt x="65" y="126"/>
                    </a:lnTo>
                    <a:lnTo>
                      <a:pt x="68" y="123"/>
                    </a:lnTo>
                    <a:lnTo>
                      <a:pt x="71" y="120"/>
                    </a:lnTo>
                    <a:lnTo>
                      <a:pt x="73" y="120"/>
                    </a:lnTo>
                    <a:lnTo>
                      <a:pt x="73" y="118"/>
                    </a:lnTo>
                    <a:lnTo>
                      <a:pt x="75" y="120"/>
                    </a:lnTo>
                    <a:lnTo>
                      <a:pt x="75" y="116"/>
                    </a:lnTo>
                    <a:lnTo>
                      <a:pt x="76" y="115"/>
                    </a:lnTo>
                    <a:lnTo>
                      <a:pt x="79" y="112"/>
                    </a:lnTo>
                    <a:lnTo>
                      <a:pt x="82" y="108"/>
                    </a:lnTo>
                    <a:lnTo>
                      <a:pt x="82" y="108"/>
                    </a:lnTo>
                    <a:lnTo>
                      <a:pt x="81" y="105"/>
                    </a:lnTo>
                    <a:lnTo>
                      <a:pt x="84" y="105"/>
                    </a:lnTo>
                    <a:lnTo>
                      <a:pt x="86" y="105"/>
                    </a:lnTo>
                    <a:lnTo>
                      <a:pt x="90" y="102"/>
                    </a:lnTo>
                    <a:lnTo>
                      <a:pt x="94" y="100"/>
                    </a:lnTo>
                    <a:lnTo>
                      <a:pt x="97" y="97"/>
                    </a:lnTo>
                    <a:lnTo>
                      <a:pt x="100" y="97"/>
                    </a:lnTo>
                    <a:lnTo>
                      <a:pt x="103" y="96"/>
                    </a:lnTo>
                    <a:lnTo>
                      <a:pt x="106" y="94"/>
                    </a:lnTo>
                    <a:lnTo>
                      <a:pt x="109" y="93"/>
                    </a:lnTo>
                    <a:lnTo>
                      <a:pt x="111" y="91"/>
                    </a:lnTo>
                    <a:lnTo>
                      <a:pt x="114" y="89"/>
                    </a:lnTo>
                    <a:lnTo>
                      <a:pt x="119" y="85"/>
                    </a:lnTo>
                    <a:lnTo>
                      <a:pt x="124" y="78"/>
                    </a:lnTo>
                    <a:lnTo>
                      <a:pt x="127" y="75"/>
                    </a:lnTo>
                    <a:lnTo>
                      <a:pt x="130" y="72"/>
                    </a:lnTo>
                    <a:lnTo>
                      <a:pt x="132" y="69"/>
                    </a:lnTo>
                    <a:lnTo>
                      <a:pt x="132" y="67"/>
                    </a:lnTo>
                    <a:lnTo>
                      <a:pt x="130" y="67"/>
                    </a:lnTo>
                    <a:lnTo>
                      <a:pt x="132" y="66"/>
                    </a:lnTo>
                    <a:lnTo>
                      <a:pt x="132" y="64"/>
                    </a:lnTo>
                    <a:lnTo>
                      <a:pt x="132" y="61"/>
                    </a:lnTo>
                    <a:lnTo>
                      <a:pt x="135" y="58"/>
                    </a:lnTo>
                    <a:lnTo>
                      <a:pt x="132" y="56"/>
                    </a:lnTo>
                    <a:lnTo>
                      <a:pt x="132" y="56"/>
                    </a:lnTo>
                    <a:lnTo>
                      <a:pt x="132" y="56"/>
                    </a:lnTo>
                    <a:lnTo>
                      <a:pt x="132" y="56"/>
                    </a:lnTo>
                    <a:lnTo>
                      <a:pt x="132" y="56"/>
                    </a:lnTo>
                    <a:lnTo>
                      <a:pt x="132" y="56"/>
                    </a:lnTo>
                    <a:lnTo>
                      <a:pt x="132" y="56"/>
                    </a:lnTo>
                    <a:lnTo>
                      <a:pt x="132" y="56"/>
                    </a:lnTo>
                    <a:lnTo>
                      <a:pt x="132" y="56"/>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29" name="Freeform 112">
                <a:extLst>
                  <a:ext uri="{FF2B5EF4-FFF2-40B4-BE49-F238E27FC236}">
                    <a16:creationId xmlns:a16="http://schemas.microsoft.com/office/drawing/2014/main" id="{4EC8C688-379D-5D51-C6CF-251146E64549}"/>
                  </a:ext>
                </a:extLst>
              </p:cNvPr>
              <p:cNvSpPr>
                <a:spLocks/>
              </p:cNvSpPr>
              <p:nvPr/>
            </p:nvSpPr>
            <p:spPr bwMode="auto">
              <a:xfrm>
                <a:off x="6036097" y="3953331"/>
                <a:ext cx="58320" cy="42619"/>
              </a:xfrm>
              <a:custGeom>
                <a:avLst/>
                <a:gdLst>
                  <a:gd name="T0" fmla="*/ 8 w 26"/>
                  <a:gd name="T1" fmla="*/ 19 h 19"/>
                  <a:gd name="T2" fmla="*/ 8 w 26"/>
                  <a:gd name="T3" fmla="*/ 19 h 19"/>
                  <a:gd name="T4" fmla="*/ 11 w 26"/>
                  <a:gd name="T5" fmla="*/ 19 h 19"/>
                  <a:gd name="T6" fmla="*/ 11 w 26"/>
                  <a:gd name="T7" fmla="*/ 19 h 19"/>
                  <a:gd name="T8" fmla="*/ 26 w 26"/>
                  <a:gd name="T9" fmla="*/ 19 h 19"/>
                  <a:gd name="T10" fmla="*/ 26 w 26"/>
                  <a:gd name="T11" fmla="*/ 19 h 19"/>
                  <a:gd name="T12" fmla="*/ 26 w 26"/>
                  <a:gd name="T13" fmla="*/ 3 h 19"/>
                  <a:gd name="T14" fmla="*/ 26 w 26"/>
                  <a:gd name="T15" fmla="*/ 3 h 19"/>
                  <a:gd name="T16" fmla="*/ 19 w 26"/>
                  <a:gd name="T17" fmla="*/ 3 h 19"/>
                  <a:gd name="T18" fmla="*/ 19 w 26"/>
                  <a:gd name="T19" fmla="*/ 3 h 19"/>
                  <a:gd name="T20" fmla="*/ 11 w 26"/>
                  <a:gd name="T21" fmla="*/ 3 h 19"/>
                  <a:gd name="T22" fmla="*/ 11 w 26"/>
                  <a:gd name="T23" fmla="*/ 3 h 19"/>
                  <a:gd name="T24" fmla="*/ 8 w 26"/>
                  <a:gd name="T25" fmla="*/ 3 h 19"/>
                  <a:gd name="T26" fmla="*/ 8 w 26"/>
                  <a:gd name="T27" fmla="*/ 3 h 19"/>
                  <a:gd name="T28" fmla="*/ 8 w 26"/>
                  <a:gd name="T29" fmla="*/ 1 h 19"/>
                  <a:gd name="T30" fmla="*/ 8 w 26"/>
                  <a:gd name="T31" fmla="*/ 1 h 19"/>
                  <a:gd name="T32" fmla="*/ 7 w 26"/>
                  <a:gd name="T33" fmla="*/ 0 h 19"/>
                  <a:gd name="T34" fmla="*/ 7 w 26"/>
                  <a:gd name="T35" fmla="*/ 0 h 19"/>
                  <a:gd name="T36" fmla="*/ 7 w 26"/>
                  <a:gd name="T37" fmla="*/ 0 h 19"/>
                  <a:gd name="T38" fmla="*/ 7 w 26"/>
                  <a:gd name="T39" fmla="*/ 4 h 19"/>
                  <a:gd name="T40" fmla="*/ 7 w 26"/>
                  <a:gd name="T41" fmla="*/ 4 h 19"/>
                  <a:gd name="T42" fmla="*/ 5 w 26"/>
                  <a:gd name="T43" fmla="*/ 8 h 19"/>
                  <a:gd name="T44" fmla="*/ 5 w 26"/>
                  <a:gd name="T45" fmla="*/ 8 h 19"/>
                  <a:gd name="T46" fmla="*/ 5 w 26"/>
                  <a:gd name="T47" fmla="*/ 9 h 19"/>
                  <a:gd name="T48" fmla="*/ 5 w 26"/>
                  <a:gd name="T49" fmla="*/ 9 h 19"/>
                  <a:gd name="T50" fmla="*/ 4 w 26"/>
                  <a:gd name="T51" fmla="*/ 9 h 19"/>
                  <a:gd name="T52" fmla="*/ 4 w 26"/>
                  <a:gd name="T53" fmla="*/ 9 h 19"/>
                  <a:gd name="T54" fmla="*/ 2 w 26"/>
                  <a:gd name="T55" fmla="*/ 12 h 19"/>
                  <a:gd name="T56" fmla="*/ 2 w 26"/>
                  <a:gd name="T57" fmla="*/ 12 h 19"/>
                  <a:gd name="T58" fmla="*/ 0 w 26"/>
                  <a:gd name="T59" fmla="*/ 16 h 19"/>
                  <a:gd name="T60" fmla="*/ 0 w 26"/>
                  <a:gd name="T61" fmla="*/ 16 h 19"/>
                  <a:gd name="T62" fmla="*/ 0 w 26"/>
                  <a:gd name="T63" fmla="*/ 16 h 19"/>
                  <a:gd name="T64" fmla="*/ 0 w 26"/>
                  <a:gd name="T65" fmla="*/ 16 h 19"/>
                  <a:gd name="T66" fmla="*/ 2 w 26"/>
                  <a:gd name="T67" fmla="*/ 19 h 19"/>
                  <a:gd name="T68" fmla="*/ 2 w 26"/>
                  <a:gd name="T69" fmla="*/ 19 h 19"/>
                  <a:gd name="T70" fmla="*/ 4 w 26"/>
                  <a:gd name="T71" fmla="*/ 19 h 19"/>
                  <a:gd name="T72" fmla="*/ 4 w 26"/>
                  <a:gd name="T73" fmla="*/ 19 h 19"/>
                  <a:gd name="T74" fmla="*/ 7 w 26"/>
                  <a:gd name="T75" fmla="*/ 19 h 19"/>
                  <a:gd name="T76" fmla="*/ 7 w 26"/>
                  <a:gd name="T77" fmla="*/ 19 h 19"/>
                  <a:gd name="T78" fmla="*/ 7 w 26"/>
                  <a:gd name="T79" fmla="*/ 19 h 19"/>
                  <a:gd name="T80" fmla="*/ 7 w 26"/>
                  <a:gd name="T81" fmla="*/ 19 h 19"/>
                  <a:gd name="T82" fmla="*/ 8 w 26"/>
                  <a:gd name="T83" fmla="*/ 19 h 19"/>
                  <a:gd name="T84" fmla="*/ 8 w 26"/>
                  <a:gd name="T85" fmla="*/ 19 h 19"/>
                  <a:gd name="T86" fmla="*/ 8 w 26"/>
                  <a:gd name="T8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19">
                    <a:moveTo>
                      <a:pt x="8" y="19"/>
                    </a:moveTo>
                    <a:lnTo>
                      <a:pt x="8" y="19"/>
                    </a:lnTo>
                    <a:lnTo>
                      <a:pt x="11" y="19"/>
                    </a:lnTo>
                    <a:lnTo>
                      <a:pt x="11" y="19"/>
                    </a:lnTo>
                    <a:lnTo>
                      <a:pt x="26" y="19"/>
                    </a:lnTo>
                    <a:lnTo>
                      <a:pt x="26" y="19"/>
                    </a:lnTo>
                    <a:lnTo>
                      <a:pt x="26" y="3"/>
                    </a:lnTo>
                    <a:lnTo>
                      <a:pt x="26" y="3"/>
                    </a:lnTo>
                    <a:lnTo>
                      <a:pt x="19" y="3"/>
                    </a:lnTo>
                    <a:lnTo>
                      <a:pt x="19" y="3"/>
                    </a:lnTo>
                    <a:lnTo>
                      <a:pt x="11" y="3"/>
                    </a:lnTo>
                    <a:lnTo>
                      <a:pt x="11" y="3"/>
                    </a:lnTo>
                    <a:lnTo>
                      <a:pt x="8" y="3"/>
                    </a:lnTo>
                    <a:lnTo>
                      <a:pt x="8" y="3"/>
                    </a:lnTo>
                    <a:lnTo>
                      <a:pt x="8" y="1"/>
                    </a:lnTo>
                    <a:lnTo>
                      <a:pt x="8" y="1"/>
                    </a:lnTo>
                    <a:lnTo>
                      <a:pt x="7" y="0"/>
                    </a:lnTo>
                    <a:lnTo>
                      <a:pt x="7" y="0"/>
                    </a:lnTo>
                    <a:lnTo>
                      <a:pt x="7" y="0"/>
                    </a:lnTo>
                    <a:lnTo>
                      <a:pt x="7" y="4"/>
                    </a:lnTo>
                    <a:lnTo>
                      <a:pt x="7" y="4"/>
                    </a:lnTo>
                    <a:lnTo>
                      <a:pt x="5" y="8"/>
                    </a:lnTo>
                    <a:lnTo>
                      <a:pt x="5" y="8"/>
                    </a:lnTo>
                    <a:lnTo>
                      <a:pt x="5" y="9"/>
                    </a:lnTo>
                    <a:lnTo>
                      <a:pt x="5" y="9"/>
                    </a:lnTo>
                    <a:lnTo>
                      <a:pt x="4" y="9"/>
                    </a:lnTo>
                    <a:lnTo>
                      <a:pt x="4" y="9"/>
                    </a:lnTo>
                    <a:lnTo>
                      <a:pt x="2" y="12"/>
                    </a:lnTo>
                    <a:lnTo>
                      <a:pt x="2" y="12"/>
                    </a:lnTo>
                    <a:lnTo>
                      <a:pt x="0" y="16"/>
                    </a:lnTo>
                    <a:lnTo>
                      <a:pt x="0" y="16"/>
                    </a:lnTo>
                    <a:lnTo>
                      <a:pt x="0" y="16"/>
                    </a:lnTo>
                    <a:lnTo>
                      <a:pt x="0" y="16"/>
                    </a:lnTo>
                    <a:lnTo>
                      <a:pt x="2" y="19"/>
                    </a:lnTo>
                    <a:lnTo>
                      <a:pt x="2" y="19"/>
                    </a:lnTo>
                    <a:lnTo>
                      <a:pt x="4" y="19"/>
                    </a:lnTo>
                    <a:lnTo>
                      <a:pt x="4" y="19"/>
                    </a:lnTo>
                    <a:lnTo>
                      <a:pt x="7" y="19"/>
                    </a:lnTo>
                    <a:lnTo>
                      <a:pt x="7" y="19"/>
                    </a:lnTo>
                    <a:lnTo>
                      <a:pt x="7" y="19"/>
                    </a:lnTo>
                    <a:lnTo>
                      <a:pt x="7" y="19"/>
                    </a:lnTo>
                    <a:lnTo>
                      <a:pt x="8" y="19"/>
                    </a:lnTo>
                    <a:lnTo>
                      <a:pt x="8" y="19"/>
                    </a:lnTo>
                    <a:lnTo>
                      <a:pt x="8" y="19"/>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30" name="Freeform 114">
                <a:extLst>
                  <a:ext uri="{FF2B5EF4-FFF2-40B4-BE49-F238E27FC236}">
                    <a16:creationId xmlns:a16="http://schemas.microsoft.com/office/drawing/2014/main" id="{492FEA31-9AFA-D2AA-5E24-50FEB7B1977D}"/>
                  </a:ext>
                </a:extLst>
              </p:cNvPr>
              <p:cNvSpPr>
                <a:spLocks noEditPoints="1"/>
              </p:cNvSpPr>
              <p:nvPr/>
            </p:nvSpPr>
            <p:spPr bwMode="auto">
              <a:xfrm>
                <a:off x="6022639" y="3953331"/>
                <a:ext cx="163744" cy="201877"/>
              </a:xfrm>
              <a:custGeom>
                <a:avLst/>
                <a:gdLst>
                  <a:gd name="T0" fmla="*/ 35 w 73"/>
                  <a:gd name="T1" fmla="*/ 85 h 90"/>
                  <a:gd name="T2" fmla="*/ 38 w 73"/>
                  <a:gd name="T3" fmla="*/ 82 h 90"/>
                  <a:gd name="T4" fmla="*/ 35 w 73"/>
                  <a:gd name="T5" fmla="*/ 77 h 90"/>
                  <a:gd name="T6" fmla="*/ 35 w 73"/>
                  <a:gd name="T7" fmla="*/ 71 h 90"/>
                  <a:gd name="T8" fmla="*/ 41 w 73"/>
                  <a:gd name="T9" fmla="*/ 68 h 90"/>
                  <a:gd name="T10" fmla="*/ 48 w 73"/>
                  <a:gd name="T11" fmla="*/ 65 h 90"/>
                  <a:gd name="T12" fmla="*/ 49 w 73"/>
                  <a:gd name="T13" fmla="*/ 60 h 90"/>
                  <a:gd name="T14" fmla="*/ 52 w 73"/>
                  <a:gd name="T15" fmla="*/ 66 h 90"/>
                  <a:gd name="T16" fmla="*/ 56 w 73"/>
                  <a:gd name="T17" fmla="*/ 68 h 90"/>
                  <a:gd name="T18" fmla="*/ 62 w 73"/>
                  <a:gd name="T19" fmla="*/ 63 h 90"/>
                  <a:gd name="T20" fmla="*/ 67 w 73"/>
                  <a:gd name="T21" fmla="*/ 68 h 90"/>
                  <a:gd name="T22" fmla="*/ 70 w 73"/>
                  <a:gd name="T23" fmla="*/ 62 h 90"/>
                  <a:gd name="T24" fmla="*/ 70 w 73"/>
                  <a:gd name="T25" fmla="*/ 57 h 90"/>
                  <a:gd name="T26" fmla="*/ 70 w 73"/>
                  <a:gd name="T27" fmla="*/ 50 h 90"/>
                  <a:gd name="T28" fmla="*/ 70 w 73"/>
                  <a:gd name="T29" fmla="*/ 43 h 90"/>
                  <a:gd name="T30" fmla="*/ 67 w 73"/>
                  <a:gd name="T31" fmla="*/ 39 h 90"/>
                  <a:gd name="T32" fmla="*/ 64 w 73"/>
                  <a:gd name="T33" fmla="*/ 36 h 90"/>
                  <a:gd name="T34" fmla="*/ 67 w 73"/>
                  <a:gd name="T35" fmla="*/ 25 h 90"/>
                  <a:gd name="T36" fmla="*/ 70 w 73"/>
                  <a:gd name="T37" fmla="*/ 20 h 90"/>
                  <a:gd name="T38" fmla="*/ 67 w 73"/>
                  <a:gd name="T39" fmla="*/ 12 h 90"/>
                  <a:gd name="T40" fmla="*/ 54 w 73"/>
                  <a:gd name="T41" fmla="*/ 16 h 90"/>
                  <a:gd name="T42" fmla="*/ 56 w 73"/>
                  <a:gd name="T43" fmla="*/ 6 h 90"/>
                  <a:gd name="T44" fmla="*/ 54 w 73"/>
                  <a:gd name="T45" fmla="*/ 1 h 90"/>
                  <a:gd name="T46" fmla="*/ 44 w 73"/>
                  <a:gd name="T47" fmla="*/ 1 h 90"/>
                  <a:gd name="T48" fmla="*/ 32 w 73"/>
                  <a:gd name="T49" fmla="*/ 1 h 90"/>
                  <a:gd name="T50" fmla="*/ 17 w 73"/>
                  <a:gd name="T51" fmla="*/ 19 h 90"/>
                  <a:gd name="T52" fmla="*/ 13 w 73"/>
                  <a:gd name="T53" fmla="*/ 19 h 90"/>
                  <a:gd name="T54" fmla="*/ 10 w 73"/>
                  <a:gd name="T55" fmla="*/ 22 h 90"/>
                  <a:gd name="T56" fmla="*/ 6 w 73"/>
                  <a:gd name="T57" fmla="*/ 25 h 90"/>
                  <a:gd name="T58" fmla="*/ 16 w 73"/>
                  <a:gd name="T59" fmla="*/ 31 h 90"/>
                  <a:gd name="T60" fmla="*/ 10 w 73"/>
                  <a:gd name="T61" fmla="*/ 31 h 90"/>
                  <a:gd name="T62" fmla="*/ 6 w 73"/>
                  <a:gd name="T63" fmla="*/ 31 h 90"/>
                  <a:gd name="T64" fmla="*/ 5 w 73"/>
                  <a:gd name="T65" fmla="*/ 43 h 90"/>
                  <a:gd name="T66" fmla="*/ 0 w 73"/>
                  <a:gd name="T67" fmla="*/ 44 h 90"/>
                  <a:gd name="T68" fmla="*/ 0 w 73"/>
                  <a:gd name="T69" fmla="*/ 44 h 90"/>
                  <a:gd name="T70" fmla="*/ 5 w 73"/>
                  <a:gd name="T71" fmla="*/ 54 h 90"/>
                  <a:gd name="T72" fmla="*/ 6 w 73"/>
                  <a:gd name="T73" fmla="*/ 55 h 90"/>
                  <a:gd name="T74" fmla="*/ 5 w 73"/>
                  <a:gd name="T75" fmla="*/ 57 h 90"/>
                  <a:gd name="T76" fmla="*/ 8 w 73"/>
                  <a:gd name="T77" fmla="*/ 65 h 90"/>
                  <a:gd name="T78" fmla="*/ 17 w 73"/>
                  <a:gd name="T79" fmla="*/ 74 h 90"/>
                  <a:gd name="T80" fmla="*/ 29 w 73"/>
                  <a:gd name="T81" fmla="*/ 90 h 90"/>
                  <a:gd name="T82" fmla="*/ 33 w 73"/>
                  <a:gd name="T83" fmla="*/ 84 h 90"/>
                  <a:gd name="T84" fmla="*/ 33 w 73"/>
                  <a:gd name="T85" fmla="*/ 84 h 90"/>
                  <a:gd name="T86" fmla="*/ 33 w 73"/>
                  <a:gd name="T87" fmla="*/ 84 h 90"/>
                  <a:gd name="T88" fmla="*/ 13 w 73"/>
                  <a:gd name="T89" fmla="*/ 68 h 90"/>
                  <a:gd name="T90" fmla="*/ 14 w 73"/>
                  <a:gd name="T91" fmla="*/ 71 h 90"/>
                  <a:gd name="T92" fmla="*/ 14 w 73"/>
                  <a:gd name="T93" fmla="*/ 71 h 90"/>
                  <a:gd name="T94" fmla="*/ 14 w 73"/>
                  <a:gd name="T95" fmla="*/ 7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 h="90">
                    <a:moveTo>
                      <a:pt x="33" y="84"/>
                    </a:moveTo>
                    <a:lnTo>
                      <a:pt x="35" y="84"/>
                    </a:lnTo>
                    <a:lnTo>
                      <a:pt x="35" y="85"/>
                    </a:lnTo>
                    <a:lnTo>
                      <a:pt x="35" y="87"/>
                    </a:lnTo>
                    <a:lnTo>
                      <a:pt x="38" y="87"/>
                    </a:lnTo>
                    <a:lnTo>
                      <a:pt x="38" y="82"/>
                    </a:lnTo>
                    <a:lnTo>
                      <a:pt x="38" y="81"/>
                    </a:lnTo>
                    <a:lnTo>
                      <a:pt x="35" y="79"/>
                    </a:lnTo>
                    <a:lnTo>
                      <a:pt x="35" y="77"/>
                    </a:lnTo>
                    <a:lnTo>
                      <a:pt x="35" y="74"/>
                    </a:lnTo>
                    <a:lnTo>
                      <a:pt x="35" y="74"/>
                    </a:lnTo>
                    <a:lnTo>
                      <a:pt x="35" y="71"/>
                    </a:lnTo>
                    <a:lnTo>
                      <a:pt x="35" y="68"/>
                    </a:lnTo>
                    <a:lnTo>
                      <a:pt x="38" y="68"/>
                    </a:lnTo>
                    <a:lnTo>
                      <a:pt x="41" y="68"/>
                    </a:lnTo>
                    <a:lnTo>
                      <a:pt x="44" y="68"/>
                    </a:lnTo>
                    <a:lnTo>
                      <a:pt x="44" y="68"/>
                    </a:lnTo>
                    <a:lnTo>
                      <a:pt x="48" y="65"/>
                    </a:lnTo>
                    <a:lnTo>
                      <a:pt x="44" y="62"/>
                    </a:lnTo>
                    <a:lnTo>
                      <a:pt x="48" y="60"/>
                    </a:lnTo>
                    <a:lnTo>
                      <a:pt x="49" y="60"/>
                    </a:lnTo>
                    <a:lnTo>
                      <a:pt x="51" y="60"/>
                    </a:lnTo>
                    <a:lnTo>
                      <a:pt x="51" y="63"/>
                    </a:lnTo>
                    <a:lnTo>
                      <a:pt x="52" y="66"/>
                    </a:lnTo>
                    <a:lnTo>
                      <a:pt x="52" y="68"/>
                    </a:lnTo>
                    <a:lnTo>
                      <a:pt x="54" y="68"/>
                    </a:lnTo>
                    <a:lnTo>
                      <a:pt x="56" y="68"/>
                    </a:lnTo>
                    <a:lnTo>
                      <a:pt x="59" y="68"/>
                    </a:lnTo>
                    <a:lnTo>
                      <a:pt x="60" y="66"/>
                    </a:lnTo>
                    <a:lnTo>
                      <a:pt x="62" y="63"/>
                    </a:lnTo>
                    <a:lnTo>
                      <a:pt x="64" y="68"/>
                    </a:lnTo>
                    <a:lnTo>
                      <a:pt x="65" y="71"/>
                    </a:lnTo>
                    <a:lnTo>
                      <a:pt x="67" y="68"/>
                    </a:lnTo>
                    <a:lnTo>
                      <a:pt x="68" y="66"/>
                    </a:lnTo>
                    <a:lnTo>
                      <a:pt x="68" y="63"/>
                    </a:lnTo>
                    <a:lnTo>
                      <a:pt x="70" y="62"/>
                    </a:lnTo>
                    <a:lnTo>
                      <a:pt x="70" y="58"/>
                    </a:lnTo>
                    <a:lnTo>
                      <a:pt x="70" y="57"/>
                    </a:lnTo>
                    <a:lnTo>
                      <a:pt x="70" y="57"/>
                    </a:lnTo>
                    <a:lnTo>
                      <a:pt x="70" y="55"/>
                    </a:lnTo>
                    <a:lnTo>
                      <a:pt x="70" y="54"/>
                    </a:lnTo>
                    <a:lnTo>
                      <a:pt x="70" y="50"/>
                    </a:lnTo>
                    <a:lnTo>
                      <a:pt x="70" y="44"/>
                    </a:lnTo>
                    <a:lnTo>
                      <a:pt x="73" y="44"/>
                    </a:lnTo>
                    <a:lnTo>
                      <a:pt x="70" y="43"/>
                    </a:lnTo>
                    <a:lnTo>
                      <a:pt x="70" y="41"/>
                    </a:lnTo>
                    <a:lnTo>
                      <a:pt x="68" y="41"/>
                    </a:lnTo>
                    <a:lnTo>
                      <a:pt x="67" y="39"/>
                    </a:lnTo>
                    <a:lnTo>
                      <a:pt x="67" y="38"/>
                    </a:lnTo>
                    <a:lnTo>
                      <a:pt x="64" y="38"/>
                    </a:lnTo>
                    <a:lnTo>
                      <a:pt x="64" y="36"/>
                    </a:lnTo>
                    <a:lnTo>
                      <a:pt x="65" y="33"/>
                    </a:lnTo>
                    <a:lnTo>
                      <a:pt x="65" y="28"/>
                    </a:lnTo>
                    <a:lnTo>
                      <a:pt x="67" y="25"/>
                    </a:lnTo>
                    <a:lnTo>
                      <a:pt x="70" y="25"/>
                    </a:lnTo>
                    <a:lnTo>
                      <a:pt x="70" y="22"/>
                    </a:lnTo>
                    <a:lnTo>
                      <a:pt x="70" y="20"/>
                    </a:lnTo>
                    <a:lnTo>
                      <a:pt x="70" y="19"/>
                    </a:lnTo>
                    <a:lnTo>
                      <a:pt x="68" y="16"/>
                    </a:lnTo>
                    <a:lnTo>
                      <a:pt x="67" y="12"/>
                    </a:lnTo>
                    <a:lnTo>
                      <a:pt x="65" y="12"/>
                    </a:lnTo>
                    <a:lnTo>
                      <a:pt x="64" y="14"/>
                    </a:lnTo>
                    <a:lnTo>
                      <a:pt x="54" y="16"/>
                    </a:lnTo>
                    <a:lnTo>
                      <a:pt x="56" y="12"/>
                    </a:lnTo>
                    <a:lnTo>
                      <a:pt x="54" y="9"/>
                    </a:lnTo>
                    <a:lnTo>
                      <a:pt x="56" y="6"/>
                    </a:lnTo>
                    <a:lnTo>
                      <a:pt x="56" y="3"/>
                    </a:lnTo>
                    <a:lnTo>
                      <a:pt x="56" y="1"/>
                    </a:lnTo>
                    <a:lnTo>
                      <a:pt x="54" y="1"/>
                    </a:lnTo>
                    <a:lnTo>
                      <a:pt x="51" y="1"/>
                    </a:lnTo>
                    <a:lnTo>
                      <a:pt x="48" y="1"/>
                    </a:lnTo>
                    <a:lnTo>
                      <a:pt x="44" y="1"/>
                    </a:lnTo>
                    <a:lnTo>
                      <a:pt x="35" y="0"/>
                    </a:lnTo>
                    <a:lnTo>
                      <a:pt x="33" y="0"/>
                    </a:lnTo>
                    <a:lnTo>
                      <a:pt x="32" y="1"/>
                    </a:lnTo>
                    <a:lnTo>
                      <a:pt x="32" y="3"/>
                    </a:lnTo>
                    <a:lnTo>
                      <a:pt x="32" y="19"/>
                    </a:lnTo>
                    <a:lnTo>
                      <a:pt x="17" y="19"/>
                    </a:lnTo>
                    <a:lnTo>
                      <a:pt x="14" y="19"/>
                    </a:lnTo>
                    <a:lnTo>
                      <a:pt x="13" y="19"/>
                    </a:lnTo>
                    <a:lnTo>
                      <a:pt x="13" y="19"/>
                    </a:lnTo>
                    <a:lnTo>
                      <a:pt x="11" y="19"/>
                    </a:lnTo>
                    <a:lnTo>
                      <a:pt x="10" y="19"/>
                    </a:lnTo>
                    <a:lnTo>
                      <a:pt x="10" y="22"/>
                    </a:lnTo>
                    <a:lnTo>
                      <a:pt x="10" y="25"/>
                    </a:lnTo>
                    <a:lnTo>
                      <a:pt x="8" y="25"/>
                    </a:lnTo>
                    <a:lnTo>
                      <a:pt x="6" y="25"/>
                    </a:lnTo>
                    <a:lnTo>
                      <a:pt x="8" y="27"/>
                    </a:lnTo>
                    <a:lnTo>
                      <a:pt x="11" y="30"/>
                    </a:lnTo>
                    <a:lnTo>
                      <a:pt x="16" y="31"/>
                    </a:lnTo>
                    <a:lnTo>
                      <a:pt x="13" y="31"/>
                    </a:lnTo>
                    <a:lnTo>
                      <a:pt x="13" y="33"/>
                    </a:lnTo>
                    <a:lnTo>
                      <a:pt x="10" y="31"/>
                    </a:lnTo>
                    <a:lnTo>
                      <a:pt x="8" y="33"/>
                    </a:lnTo>
                    <a:lnTo>
                      <a:pt x="6" y="30"/>
                    </a:lnTo>
                    <a:lnTo>
                      <a:pt x="6" y="31"/>
                    </a:lnTo>
                    <a:lnTo>
                      <a:pt x="6" y="33"/>
                    </a:lnTo>
                    <a:lnTo>
                      <a:pt x="6" y="38"/>
                    </a:lnTo>
                    <a:lnTo>
                      <a:pt x="5" y="43"/>
                    </a:lnTo>
                    <a:lnTo>
                      <a:pt x="3" y="47"/>
                    </a:lnTo>
                    <a:lnTo>
                      <a:pt x="3" y="44"/>
                    </a:lnTo>
                    <a:lnTo>
                      <a:pt x="0" y="44"/>
                    </a:lnTo>
                    <a:lnTo>
                      <a:pt x="0" y="44"/>
                    </a:lnTo>
                    <a:lnTo>
                      <a:pt x="0" y="43"/>
                    </a:lnTo>
                    <a:lnTo>
                      <a:pt x="0" y="44"/>
                    </a:lnTo>
                    <a:lnTo>
                      <a:pt x="0" y="47"/>
                    </a:lnTo>
                    <a:lnTo>
                      <a:pt x="3" y="50"/>
                    </a:lnTo>
                    <a:lnTo>
                      <a:pt x="5" y="54"/>
                    </a:lnTo>
                    <a:lnTo>
                      <a:pt x="6" y="54"/>
                    </a:lnTo>
                    <a:lnTo>
                      <a:pt x="6" y="54"/>
                    </a:lnTo>
                    <a:lnTo>
                      <a:pt x="6" y="55"/>
                    </a:lnTo>
                    <a:lnTo>
                      <a:pt x="8" y="55"/>
                    </a:lnTo>
                    <a:lnTo>
                      <a:pt x="10" y="57"/>
                    </a:lnTo>
                    <a:lnTo>
                      <a:pt x="5" y="57"/>
                    </a:lnTo>
                    <a:lnTo>
                      <a:pt x="5" y="58"/>
                    </a:lnTo>
                    <a:lnTo>
                      <a:pt x="6" y="60"/>
                    </a:lnTo>
                    <a:lnTo>
                      <a:pt x="8" y="65"/>
                    </a:lnTo>
                    <a:lnTo>
                      <a:pt x="10" y="68"/>
                    </a:lnTo>
                    <a:lnTo>
                      <a:pt x="11" y="68"/>
                    </a:lnTo>
                    <a:lnTo>
                      <a:pt x="17" y="74"/>
                    </a:lnTo>
                    <a:lnTo>
                      <a:pt x="22" y="81"/>
                    </a:lnTo>
                    <a:lnTo>
                      <a:pt x="25" y="85"/>
                    </a:lnTo>
                    <a:lnTo>
                      <a:pt x="29" y="90"/>
                    </a:lnTo>
                    <a:lnTo>
                      <a:pt x="32" y="87"/>
                    </a:lnTo>
                    <a:lnTo>
                      <a:pt x="33" y="84"/>
                    </a:lnTo>
                    <a:lnTo>
                      <a:pt x="33" y="84"/>
                    </a:lnTo>
                    <a:lnTo>
                      <a:pt x="33" y="84"/>
                    </a:lnTo>
                    <a:lnTo>
                      <a:pt x="33" y="84"/>
                    </a:lnTo>
                    <a:lnTo>
                      <a:pt x="33" y="84"/>
                    </a:lnTo>
                    <a:lnTo>
                      <a:pt x="33" y="84"/>
                    </a:lnTo>
                    <a:lnTo>
                      <a:pt x="33" y="84"/>
                    </a:lnTo>
                    <a:lnTo>
                      <a:pt x="33" y="84"/>
                    </a:lnTo>
                    <a:lnTo>
                      <a:pt x="33" y="84"/>
                    </a:lnTo>
                    <a:close/>
                    <a:moveTo>
                      <a:pt x="14" y="71"/>
                    </a:moveTo>
                    <a:lnTo>
                      <a:pt x="13" y="68"/>
                    </a:lnTo>
                    <a:lnTo>
                      <a:pt x="14" y="68"/>
                    </a:lnTo>
                    <a:lnTo>
                      <a:pt x="16" y="71"/>
                    </a:lnTo>
                    <a:lnTo>
                      <a:pt x="14" y="71"/>
                    </a:lnTo>
                    <a:lnTo>
                      <a:pt x="14" y="71"/>
                    </a:lnTo>
                    <a:lnTo>
                      <a:pt x="14" y="71"/>
                    </a:lnTo>
                    <a:lnTo>
                      <a:pt x="14" y="71"/>
                    </a:lnTo>
                    <a:lnTo>
                      <a:pt x="14" y="71"/>
                    </a:lnTo>
                    <a:lnTo>
                      <a:pt x="14" y="71"/>
                    </a:lnTo>
                    <a:lnTo>
                      <a:pt x="14" y="71"/>
                    </a:lnTo>
                    <a:lnTo>
                      <a:pt x="14" y="71"/>
                    </a:lnTo>
                    <a:lnTo>
                      <a:pt x="14" y="7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31" name="Freeform 116">
                <a:extLst>
                  <a:ext uri="{FF2B5EF4-FFF2-40B4-BE49-F238E27FC236}">
                    <a16:creationId xmlns:a16="http://schemas.microsoft.com/office/drawing/2014/main" id="{82C41239-2173-D3F0-090D-E531A3F3B462}"/>
                  </a:ext>
                </a:extLst>
              </p:cNvPr>
              <p:cNvSpPr>
                <a:spLocks noEditPoints="1"/>
              </p:cNvSpPr>
              <p:nvPr/>
            </p:nvSpPr>
            <p:spPr bwMode="auto">
              <a:xfrm>
                <a:off x="6222273" y="4742892"/>
                <a:ext cx="462073" cy="410482"/>
              </a:xfrm>
              <a:custGeom>
                <a:avLst/>
                <a:gdLst>
                  <a:gd name="T0" fmla="*/ 168 w 206"/>
                  <a:gd name="T1" fmla="*/ 0 h 183"/>
                  <a:gd name="T2" fmla="*/ 160 w 206"/>
                  <a:gd name="T3" fmla="*/ 3 h 183"/>
                  <a:gd name="T4" fmla="*/ 151 w 206"/>
                  <a:gd name="T5" fmla="*/ 8 h 183"/>
                  <a:gd name="T6" fmla="*/ 144 w 206"/>
                  <a:gd name="T7" fmla="*/ 18 h 183"/>
                  <a:gd name="T8" fmla="*/ 133 w 206"/>
                  <a:gd name="T9" fmla="*/ 32 h 183"/>
                  <a:gd name="T10" fmla="*/ 122 w 206"/>
                  <a:gd name="T11" fmla="*/ 37 h 183"/>
                  <a:gd name="T12" fmla="*/ 116 w 206"/>
                  <a:gd name="T13" fmla="*/ 51 h 183"/>
                  <a:gd name="T14" fmla="*/ 109 w 206"/>
                  <a:gd name="T15" fmla="*/ 54 h 183"/>
                  <a:gd name="T16" fmla="*/ 95 w 206"/>
                  <a:gd name="T17" fmla="*/ 48 h 183"/>
                  <a:gd name="T18" fmla="*/ 86 w 206"/>
                  <a:gd name="T19" fmla="*/ 48 h 183"/>
                  <a:gd name="T20" fmla="*/ 75 w 206"/>
                  <a:gd name="T21" fmla="*/ 64 h 183"/>
                  <a:gd name="T22" fmla="*/ 71 w 206"/>
                  <a:gd name="T23" fmla="*/ 67 h 183"/>
                  <a:gd name="T24" fmla="*/ 60 w 206"/>
                  <a:gd name="T25" fmla="*/ 67 h 183"/>
                  <a:gd name="T26" fmla="*/ 57 w 206"/>
                  <a:gd name="T27" fmla="*/ 60 h 183"/>
                  <a:gd name="T28" fmla="*/ 51 w 206"/>
                  <a:gd name="T29" fmla="*/ 40 h 183"/>
                  <a:gd name="T30" fmla="*/ 51 w 206"/>
                  <a:gd name="T31" fmla="*/ 27 h 183"/>
                  <a:gd name="T32" fmla="*/ 48 w 206"/>
                  <a:gd name="T33" fmla="*/ 92 h 183"/>
                  <a:gd name="T34" fmla="*/ 41 w 206"/>
                  <a:gd name="T35" fmla="*/ 95 h 183"/>
                  <a:gd name="T36" fmla="*/ 33 w 206"/>
                  <a:gd name="T37" fmla="*/ 95 h 183"/>
                  <a:gd name="T38" fmla="*/ 19 w 206"/>
                  <a:gd name="T39" fmla="*/ 95 h 183"/>
                  <a:gd name="T40" fmla="*/ 14 w 206"/>
                  <a:gd name="T41" fmla="*/ 87 h 183"/>
                  <a:gd name="T42" fmla="*/ 9 w 206"/>
                  <a:gd name="T43" fmla="*/ 87 h 183"/>
                  <a:gd name="T44" fmla="*/ 5 w 206"/>
                  <a:gd name="T45" fmla="*/ 92 h 183"/>
                  <a:gd name="T46" fmla="*/ 8 w 206"/>
                  <a:gd name="T47" fmla="*/ 121 h 183"/>
                  <a:gd name="T48" fmla="*/ 25 w 206"/>
                  <a:gd name="T49" fmla="*/ 140 h 183"/>
                  <a:gd name="T50" fmla="*/ 25 w 206"/>
                  <a:gd name="T51" fmla="*/ 154 h 183"/>
                  <a:gd name="T52" fmla="*/ 22 w 206"/>
                  <a:gd name="T53" fmla="*/ 157 h 183"/>
                  <a:gd name="T54" fmla="*/ 25 w 206"/>
                  <a:gd name="T55" fmla="*/ 162 h 183"/>
                  <a:gd name="T56" fmla="*/ 25 w 206"/>
                  <a:gd name="T57" fmla="*/ 175 h 183"/>
                  <a:gd name="T58" fmla="*/ 28 w 206"/>
                  <a:gd name="T59" fmla="*/ 172 h 183"/>
                  <a:gd name="T60" fmla="*/ 36 w 206"/>
                  <a:gd name="T61" fmla="*/ 176 h 183"/>
                  <a:gd name="T62" fmla="*/ 41 w 206"/>
                  <a:gd name="T63" fmla="*/ 180 h 183"/>
                  <a:gd name="T64" fmla="*/ 51 w 206"/>
                  <a:gd name="T65" fmla="*/ 178 h 183"/>
                  <a:gd name="T66" fmla="*/ 67 w 206"/>
                  <a:gd name="T67" fmla="*/ 176 h 183"/>
                  <a:gd name="T68" fmla="*/ 79 w 206"/>
                  <a:gd name="T69" fmla="*/ 172 h 183"/>
                  <a:gd name="T70" fmla="*/ 82 w 206"/>
                  <a:gd name="T71" fmla="*/ 172 h 183"/>
                  <a:gd name="T72" fmla="*/ 103 w 206"/>
                  <a:gd name="T73" fmla="*/ 173 h 183"/>
                  <a:gd name="T74" fmla="*/ 109 w 206"/>
                  <a:gd name="T75" fmla="*/ 170 h 183"/>
                  <a:gd name="T76" fmla="*/ 113 w 206"/>
                  <a:gd name="T77" fmla="*/ 168 h 183"/>
                  <a:gd name="T78" fmla="*/ 124 w 206"/>
                  <a:gd name="T79" fmla="*/ 167 h 183"/>
                  <a:gd name="T80" fmla="*/ 157 w 206"/>
                  <a:gd name="T81" fmla="*/ 143 h 183"/>
                  <a:gd name="T82" fmla="*/ 175 w 206"/>
                  <a:gd name="T83" fmla="*/ 124 h 183"/>
                  <a:gd name="T84" fmla="*/ 186 w 206"/>
                  <a:gd name="T85" fmla="*/ 105 h 183"/>
                  <a:gd name="T86" fmla="*/ 195 w 206"/>
                  <a:gd name="T87" fmla="*/ 99 h 183"/>
                  <a:gd name="T88" fmla="*/ 203 w 206"/>
                  <a:gd name="T89" fmla="*/ 87 h 183"/>
                  <a:gd name="T90" fmla="*/ 197 w 206"/>
                  <a:gd name="T91" fmla="*/ 67 h 183"/>
                  <a:gd name="T92" fmla="*/ 194 w 206"/>
                  <a:gd name="T93" fmla="*/ 73 h 183"/>
                  <a:gd name="T94" fmla="*/ 186 w 206"/>
                  <a:gd name="T95" fmla="*/ 57 h 183"/>
                  <a:gd name="T96" fmla="*/ 194 w 206"/>
                  <a:gd name="T97" fmla="*/ 54 h 183"/>
                  <a:gd name="T98" fmla="*/ 197 w 206"/>
                  <a:gd name="T99" fmla="*/ 51 h 183"/>
                  <a:gd name="T100" fmla="*/ 197 w 206"/>
                  <a:gd name="T101" fmla="*/ 43 h 183"/>
                  <a:gd name="T102" fmla="*/ 195 w 206"/>
                  <a:gd name="T103" fmla="*/ 22 h 183"/>
                  <a:gd name="T104" fmla="*/ 190 w 206"/>
                  <a:gd name="T105" fmla="*/ 5 h 183"/>
                  <a:gd name="T106" fmla="*/ 186 w 206"/>
                  <a:gd name="T107" fmla="*/ 2 h 183"/>
                  <a:gd name="T108" fmla="*/ 157 w 206"/>
                  <a:gd name="T109" fmla="*/ 114 h 183"/>
                  <a:gd name="T110" fmla="*/ 148 w 206"/>
                  <a:gd name="T111" fmla="*/ 118 h 183"/>
                  <a:gd name="T112" fmla="*/ 138 w 206"/>
                  <a:gd name="T113" fmla="*/ 118 h 183"/>
                  <a:gd name="T114" fmla="*/ 135 w 206"/>
                  <a:gd name="T115" fmla="*/ 111 h 183"/>
                  <a:gd name="T116" fmla="*/ 141 w 206"/>
                  <a:gd name="T117" fmla="*/ 99 h 183"/>
                  <a:gd name="T118" fmla="*/ 151 w 206"/>
                  <a:gd name="T119" fmla="*/ 95 h 183"/>
                  <a:gd name="T120" fmla="*/ 159 w 206"/>
                  <a:gd name="T121" fmla="*/ 99 h 183"/>
                  <a:gd name="T122" fmla="*/ 163 w 206"/>
                  <a:gd name="T123" fmla="*/ 10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6" h="183">
                    <a:moveTo>
                      <a:pt x="186" y="2"/>
                    </a:moveTo>
                    <a:lnTo>
                      <a:pt x="186" y="2"/>
                    </a:lnTo>
                    <a:lnTo>
                      <a:pt x="179" y="2"/>
                    </a:lnTo>
                    <a:lnTo>
                      <a:pt x="179" y="2"/>
                    </a:lnTo>
                    <a:lnTo>
                      <a:pt x="175" y="0"/>
                    </a:lnTo>
                    <a:lnTo>
                      <a:pt x="175" y="0"/>
                    </a:lnTo>
                    <a:lnTo>
                      <a:pt x="168" y="0"/>
                    </a:lnTo>
                    <a:lnTo>
                      <a:pt x="168" y="0"/>
                    </a:lnTo>
                    <a:lnTo>
                      <a:pt x="167" y="0"/>
                    </a:lnTo>
                    <a:lnTo>
                      <a:pt x="167" y="0"/>
                    </a:lnTo>
                    <a:lnTo>
                      <a:pt x="162" y="2"/>
                    </a:lnTo>
                    <a:lnTo>
                      <a:pt x="162" y="2"/>
                    </a:lnTo>
                    <a:lnTo>
                      <a:pt x="160" y="3"/>
                    </a:lnTo>
                    <a:lnTo>
                      <a:pt x="160" y="3"/>
                    </a:lnTo>
                    <a:lnTo>
                      <a:pt x="159" y="5"/>
                    </a:lnTo>
                    <a:lnTo>
                      <a:pt x="159" y="5"/>
                    </a:lnTo>
                    <a:lnTo>
                      <a:pt x="156" y="5"/>
                    </a:lnTo>
                    <a:lnTo>
                      <a:pt x="156" y="5"/>
                    </a:lnTo>
                    <a:lnTo>
                      <a:pt x="154" y="6"/>
                    </a:lnTo>
                    <a:lnTo>
                      <a:pt x="154" y="6"/>
                    </a:lnTo>
                    <a:lnTo>
                      <a:pt x="151" y="8"/>
                    </a:lnTo>
                    <a:lnTo>
                      <a:pt x="151" y="8"/>
                    </a:lnTo>
                    <a:lnTo>
                      <a:pt x="148" y="11"/>
                    </a:lnTo>
                    <a:lnTo>
                      <a:pt x="148" y="11"/>
                    </a:lnTo>
                    <a:lnTo>
                      <a:pt x="144" y="16"/>
                    </a:lnTo>
                    <a:lnTo>
                      <a:pt x="144" y="16"/>
                    </a:lnTo>
                    <a:lnTo>
                      <a:pt x="144" y="18"/>
                    </a:lnTo>
                    <a:lnTo>
                      <a:pt x="144" y="18"/>
                    </a:lnTo>
                    <a:lnTo>
                      <a:pt x="138" y="21"/>
                    </a:lnTo>
                    <a:lnTo>
                      <a:pt x="138" y="21"/>
                    </a:lnTo>
                    <a:lnTo>
                      <a:pt x="136" y="22"/>
                    </a:lnTo>
                    <a:lnTo>
                      <a:pt x="136" y="22"/>
                    </a:lnTo>
                    <a:lnTo>
                      <a:pt x="136" y="26"/>
                    </a:lnTo>
                    <a:lnTo>
                      <a:pt x="136" y="26"/>
                    </a:lnTo>
                    <a:lnTo>
                      <a:pt x="133" y="32"/>
                    </a:lnTo>
                    <a:lnTo>
                      <a:pt x="133" y="32"/>
                    </a:lnTo>
                    <a:lnTo>
                      <a:pt x="130" y="33"/>
                    </a:lnTo>
                    <a:lnTo>
                      <a:pt x="130" y="33"/>
                    </a:lnTo>
                    <a:lnTo>
                      <a:pt x="127" y="37"/>
                    </a:lnTo>
                    <a:lnTo>
                      <a:pt x="127" y="37"/>
                    </a:lnTo>
                    <a:lnTo>
                      <a:pt x="122" y="37"/>
                    </a:lnTo>
                    <a:lnTo>
                      <a:pt x="122" y="37"/>
                    </a:lnTo>
                    <a:lnTo>
                      <a:pt x="122" y="38"/>
                    </a:lnTo>
                    <a:lnTo>
                      <a:pt x="122" y="38"/>
                    </a:lnTo>
                    <a:lnTo>
                      <a:pt x="122" y="40"/>
                    </a:lnTo>
                    <a:lnTo>
                      <a:pt x="122" y="40"/>
                    </a:lnTo>
                    <a:lnTo>
                      <a:pt x="119" y="48"/>
                    </a:lnTo>
                    <a:lnTo>
                      <a:pt x="119" y="48"/>
                    </a:lnTo>
                    <a:lnTo>
                      <a:pt x="116" y="51"/>
                    </a:lnTo>
                    <a:lnTo>
                      <a:pt x="116" y="51"/>
                    </a:lnTo>
                    <a:lnTo>
                      <a:pt x="113" y="53"/>
                    </a:lnTo>
                    <a:lnTo>
                      <a:pt x="113" y="53"/>
                    </a:lnTo>
                    <a:lnTo>
                      <a:pt x="109" y="53"/>
                    </a:lnTo>
                    <a:lnTo>
                      <a:pt x="109" y="53"/>
                    </a:lnTo>
                    <a:lnTo>
                      <a:pt x="109" y="54"/>
                    </a:lnTo>
                    <a:lnTo>
                      <a:pt x="109" y="54"/>
                    </a:lnTo>
                    <a:lnTo>
                      <a:pt x="106" y="53"/>
                    </a:lnTo>
                    <a:lnTo>
                      <a:pt x="106" y="53"/>
                    </a:lnTo>
                    <a:lnTo>
                      <a:pt x="98" y="51"/>
                    </a:lnTo>
                    <a:lnTo>
                      <a:pt x="98" y="51"/>
                    </a:lnTo>
                    <a:lnTo>
                      <a:pt x="97" y="49"/>
                    </a:lnTo>
                    <a:lnTo>
                      <a:pt x="97" y="49"/>
                    </a:lnTo>
                    <a:lnTo>
                      <a:pt x="95" y="48"/>
                    </a:lnTo>
                    <a:lnTo>
                      <a:pt x="95" y="48"/>
                    </a:lnTo>
                    <a:lnTo>
                      <a:pt x="92" y="45"/>
                    </a:lnTo>
                    <a:lnTo>
                      <a:pt x="92" y="45"/>
                    </a:lnTo>
                    <a:lnTo>
                      <a:pt x="89" y="46"/>
                    </a:lnTo>
                    <a:lnTo>
                      <a:pt x="89" y="46"/>
                    </a:lnTo>
                    <a:lnTo>
                      <a:pt x="86" y="48"/>
                    </a:lnTo>
                    <a:lnTo>
                      <a:pt x="86" y="48"/>
                    </a:lnTo>
                    <a:lnTo>
                      <a:pt x="82" y="53"/>
                    </a:lnTo>
                    <a:lnTo>
                      <a:pt x="82" y="53"/>
                    </a:lnTo>
                    <a:lnTo>
                      <a:pt x="82" y="57"/>
                    </a:lnTo>
                    <a:lnTo>
                      <a:pt x="82" y="57"/>
                    </a:lnTo>
                    <a:lnTo>
                      <a:pt x="79" y="60"/>
                    </a:lnTo>
                    <a:lnTo>
                      <a:pt x="79" y="60"/>
                    </a:lnTo>
                    <a:lnTo>
                      <a:pt x="75" y="64"/>
                    </a:lnTo>
                    <a:lnTo>
                      <a:pt x="75" y="64"/>
                    </a:lnTo>
                    <a:lnTo>
                      <a:pt x="73" y="64"/>
                    </a:lnTo>
                    <a:lnTo>
                      <a:pt x="73" y="64"/>
                    </a:lnTo>
                    <a:lnTo>
                      <a:pt x="71" y="67"/>
                    </a:lnTo>
                    <a:lnTo>
                      <a:pt x="71" y="67"/>
                    </a:lnTo>
                    <a:lnTo>
                      <a:pt x="71" y="67"/>
                    </a:lnTo>
                    <a:lnTo>
                      <a:pt x="71" y="67"/>
                    </a:lnTo>
                    <a:lnTo>
                      <a:pt x="70" y="67"/>
                    </a:lnTo>
                    <a:lnTo>
                      <a:pt x="70" y="67"/>
                    </a:lnTo>
                    <a:lnTo>
                      <a:pt x="67" y="68"/>
                    </a:lnTo>
                    <a:lnTo>
                      <a:pt x="67" y="68"/>
                    </a:lnTo>
                    <a:lnTo>
                      <a:pt x="62" y="67"/>
                    </a:lnTo>
                    <a:lnTo>
                      <a:pt x="62" y="67"/>
                    </a:lnTo>
                    <a:lnTo>
                      <a:pt x="60" y="67"/>
                    </a:lnTo>
                    <a:lnTo>
                      <a:pt x="60" y="67"/>
                    </a:lnTo>
                    <a:lnTo>
                      <a:pt x="57" y="68"/>
                    </a:lnTo>
                    <a:lnTo>
                      <a:pt x="57" y="68"/>
                    </a:lnTo>
                    <a:lnTo>
                      <a:pt x="57" y="64"/>
                    </a:lnTo>
                    <a:lnTo>
                      <a:pt x="57" y="64"/>
                    </a:lnTo>
                    <a:lnTo>
                      <a:pt x="57" y="60"/>
                    </a:lnTo>
                    <a:lnTo>
                      <a:pt x="57" y="60"/>
                    </a:lnTo>
                    <a:lnTo>
                      <a:pt x="60" y="57"/>
                    </a:lnTo>
                    <a:lnTo>
                      <a:pt x="60" y="57"/>
                    </a:lnTo>
                    <a:lnTo>
                      <a:pt x="57" y="53"/>
                    </a:lnTo>
                    <a:lnTo>
                      <a:pt x="57" y="53"/>
                    </a:lnTo>
                    <a:lnTo>
                      <a:pt x="54" y="43"/>
                    </a:lnTo>
                    <a:lnTo>
                      <a:pt x="54" y="43"/>
                    </a:lnTo>
                    <a:lnTo>
                      <a:pt x="51" y="40"/>
                    </a:lnTo>
                    <a:lnTo>
                      <a:pt x="51" y="40"/>
                    </a:lnTo>
                    <a:lnTo>
                      <a:pt x="51" y="37"/>
                    </a:lnTo>
                    <a:lnTo>
                      <a:pt x="51" y="37"/>
                    </a:lnTo>
                    <a:lnTo>
                      <a:pt x="51" y="35"/>
                    </a:lnTo>
                    <a:lnTo>
                      <a:pt x="51" y="35"/>
                    </a:lnTo>
                    <a:lnTo>
                      <a:pt x="51" y="27"/>
                    </a:lnTo>
                    <a:lnTo>
                      <a:pt x="51" y="27"/>
                    </a:lnTo>
                    <a:lnTo>
                      <a:pt x="49" y="27"/>
                    </a:lnTo>
                    <a:lnTo>
                      <a:pt x="49" y="27"/>
                    </a:lnTo>
                    <a:lnTo>
                      <a:pt x="49" y="89"/>
                    </a:lnTo>
                    <a:lnTo>
                      <a:pt x="49" y="89"/>
                    </a:lnTo>
                    <a:lnTo>
                      <a:pt x="49" y="89"/>
                    </a:lnTo>
                    <a:lnTo>
                      <a:pt x="49" y="89"/>
                    </a:lnTo>
                    <a:lnTo>
                      <a:pt x="48" y="92"/>
                    </a:lnTo>
                    <a:lnTo>
                      <a:pt x="48" y="92"/>
                    </a:lnTo>
                    <a:lnTo>
                      <a:pt x="43" y="92"/>
                    </a:lnTo>
                    <a:lnTo>
                      <a:pt x="43" y="92"/>
                    </a:lnTo>
                    <a:lnTo>
                      <a:pt x="43" y="95"/>
                    </a:lnTo>
                    <a:lnTo>
                      <a:pt x="43" y="95"/>
                    </a:lnTo>
                    <a:lnTo>
                      <a:pt x="41" y="95"/>
                    </a:lnTo>
                    <a:lnTo>
                      <a:pt x="41" y="95"/>
                    </a:lnTo>
                    <a:lnTo>
                      <a:pt x="40" y="95"/>
                    </a:lnTo>
                    <a:lnTo>
                      <a:pt x="40" y="95"/>
                    </a:lnTo>
                    <a:lnTo>
                      <a:pt x="40" y="99"/>
                    </a:lnTo>
                    <a:lnTo>
                      <a:pt x="40" y="99"/>
                    </a:lnTo>
                    <a:lnTo>
                      <a:pt x="36" y="99"/>
                    </a:lnTo>
                    <a:lnTo>
                      <a:pt x="36" y="99"/>
                    </a:lnTo>
                    <a:lnTo>
                      <a:pt x="33" y="95"/>
                    </a:lnTo>
                    <a:lnTo>
                      <a:pt x="33" y="95"/>
                    </a:lnTo>
                    <a:lnTo>
                      <a:pt x="28" y="99"/>
                    </a:lnTo>
                    <a:lnTo>
                      <a:pt x="28" y="99"/>
                    </a:lnTo>
                    <a:lnTo>
                      <a:pt x="25" y="99"/>
                    </a:lnTo>
                    <a:lnTo>
                      <a:pt x="25" y="99"/>
                    </a:lnTo>
                    <a:lnTo>
                      <a:pt x="19" y="95"/>
                    </a:lnTo>
                    <a:lnTo>
                      <a:pt x="19" y="95"/>
                    </a:lnTo>
                    <a:lnTo>
                      <a:pt x="16" y="92"/>
                    </a:lnTo>
                    <a:lnTo>
                      <a:pt x="16" y="92"/>
                    </a:lnTo>
                    <a:lnTo>
                      <a:pt x="16" y="89"/>
                    </a:lnTo>
                    <a:lnTo>
                      <a:pt x="16" y="89"/>
                    </a:lnTo>
                    <a:lnTo>
                      <a:pt x="16" y="89"/>
                    </a:lnTo>
                    <a:lnTo>
                      <a:pt x="16" y="89"/>
                    </a:lnTo>
                    <a:lnTo>
                      <a:pt x="14" y="87"/>
                    </a:lnTo>
                    <a:lnTo>
                      <a:pt x="14" y="87"/>
                    </a:lnTo>
                    <a:lnTo>
                      <a:pt x="13" y="86"/>
                    </a:lnTo>
                    <a:lnTo>
                      <a:pt x="13" y="86"/>
                    </a:lnTo>
                    <a:lnTo>
                      <a:pt x="11" y="86"/>
                    </a:lnTo>
                    <a:lnTo>
                      <a:pt x="11" y="86"/>
                    </a:lnTo>
                    <a:lnTo>
                      <a:pt x="9" y="87"/>
                    </a:lnTo>
                    <a:lnTo>
                      <a:pt x="9" y="87"/>
                    </a:lnTo>
                    <a:lnTo>
                      <a:pt x="9" y="89"/>
                    </a:lnTo>
                    <a:lnTo>
                      <a:pt x="9" y="89"/>
                    </a:lnTo>
                    <a:lnTo>
                      <a:pt x="8" y="92"/>
                    </a:lnTo>
                    <a:lnTo>
                      <a:pt x="8" y="92"/>
                    </a:lnTo>
                    <a:lnTo>
                      <a:pt x="6" y="92"/>
                    </a:lnTo>
                    <a:lnTo>
                      <a:pt x="6" y="92"/>
                    </a:lnTo>
                    <a:lnTo>
                      <a:pt x="5" y="92"/>
                    </a:lnTo>
                    <a:lnTo>
                      <a:pt x="5" y="92"/>
                    </a:lnTo>
                    <a:lnTo>
                      <a:pt x="5" y="92"/>
                    </a:lnTo>
                    <a:lnTo>
                      <a:pt x="5" y="92"/>
                    </a:lnTo>
                    <a:lnTo>
                      <a:pt x="0" y="87"/>
                    </a:lnTo>
                    <a:lnTo>
                      <a:pt x="0" y="87"/>
                    </a:lnTo>
                    <a:lnTo>
                      <a:pt x="5" y="108"/>
                    </a:lnTo>
                    <a:lnTo>
                      <a:pt x="8" y="121"/>
                    </a:lnTo>
                    <a:lnTo>
                      <a:pt x="8" y="121"/>
                    </a:lnTo>
                    <a:lnTo>
                      <a:pt x="11" y="124"/>
                    </a:lnTo>
                    <a:lnTo>
                      <a:pt x="19" y="127"/>
                    </a:lnTo>
                    <a:lnTo>
                      <a:pt x="19" y="127"/>
                    </a:lnTo>
                    <a:lnTo>
                      <a:pt x="22" y="133"/>
                    </a:lnTo>
                    <a:lnTo>
                      <a:pt x="22" y="133"/>
                    </a:lnTo>
                    <a:lnTo>
                      <a:pt x="25" y="140"/>
                    </a:lnTo>
                    <a:lnTo>
                      <a:pt x="25" y="140"/>
                    </a:lnTo>
                    <a:lnTo>
                      <a:pt x="25" y="148"/>
                    </a:lnTo>
                    <a:lnTo>
                      <a:pt x="25" y="148"/>
                    </a:lnTo>
                    <a:lnTo>
                      <a:pt x="25" y="151"/>
                    </a:lnTo>
                    <a:lnTo>
                      <a:pt x="25" y="151"/>
                    </a:lnTo>
                    <a:lnTo>
                      <a:pt x="25" y="154"/>
                    </a:lnTo>
                    <a:lnTo>
                      <a:pt x="25" y="154"/>
                    </a:lnTo>
                    <a:lnTo>
                      <a:pt x="22" y="151"/>
                    </a:lnTo>
                    <a:lnTo>
                      <a:pt x="22" y="151"/>
                    </a:lnTo>
                    <a:lnTo>
                      <a:pt x="22" y="154"/>
                    </a:lnTo>
                    <a:lnTo>
                      <a:pt x="22" y="154"/>
                    </a:lnTo>
                    <a:lnTo>
                      <a:pt x="19" y="157"/>
                    </a:lnTo>
                    <a:lnTo>
                      <a:pt x="19" y="157"/>
                    </a:lnTo>
                    <a:lnTo>
                      <a:pt x="22" y="157"/>
                    </a:lnTo>
                    <a:lnTo>
                      <a:pt x="22" y="157"/>
                    </a:lnTo>
                    <a:lnTo>
                      <a:pt x="22" y="157"/>
                    </a:lnTo>
                    <a:lnTo>
                      <a:pt x="22" y="157"/>
                    </a:lnTo>
                    <a:lnTo>
                      <a:pt x="22" y="159"/>
                    </a:lnTo>
                    <a:lnTo>
                      <a:pt x="22" y="159"/>
                    </a:lnTo>
                    <a:lnTo>
                      <a:pt x="25" y="162"/>
                    </a:lnTo>
                    <a:lnTo>
                      <a:pt x="25" y="162"/>
                    </a:lnTo>
                    <a:lnTo>
                      <a:pt x="27" y="165"/>
                    </a:lnTo>
                    <a:lnTo>
                      <a:pt x="27" y="165"/>
                    </a:lnTo>
                    <a:lnTo>
                      <a:pt x="27" y="168"/>
                    </a:lnTo>
                    <a:lnTo>
                      <a:pt x="27" y="168"/>
                    </a:lnTo>
                    <a:lnTo>
                      <a:pt x="25" y="172"/>
                    </a:lnTo>
                    <a:lnTo>
                      <a:pt x="25" y="172"/>
                    </a:lnTo>
                    <a:lnTo>
                      <a:pt x="25" y="175"/>
                    </a:lnTo>
                    <a:lnTo>
                      <a:pt x="25" y="175"/>
                    </a:lnTo>
                    <a:lnTo>
                      <a:pt x="27" y="176"/>
                    </a:lnTo>
                    <a:lnTo>
                      <a:pt x="27" y="176"/>
                    </a:lnTo>
                    <a:lnTo>
                      <a:pt x="27" y="173"/>
                    </a:lnTo>
                    <a:lnTo>
                      <a:pt x="27" y="173"/>
                    </a:lnTo>
                    <a:lnTo>
                      <a:pt x="28" y="172"/>
                    </a:lnTo>
                    <a:lnTo>
                      <a:pt x="28" y="172"/>
                    </a:lnTo>
                    <a:lnTo>
                      <a:pt x="30" y="172"/>
                    </a:lnTo>
                    <a:lnTo>
                      <a:pt x="30" y="172"/>
                    </a:lnTo>
                    <a:lnTo>
                      <a:pt x="32" y="173"/>
                    </a:lnTo>
                    <a:lnTo>
                      <a:pt x="32" y="173"/>
                    </a:lnTo>
                    <a:lnTo>
                      <a:pt x="32" y="176"/>
                    </a:lnTo>
                    <a:lnTo>
                      <a:pt x="32" y="176"/>
                    </a:lnTo>
                    <a:lnTo>
                      <a:pt x="36" y="176"/>
                    </a:lnTo>
                    <a:lnTo>
                      <a:pt x="36" y="176"/>
                    </a:lnTo>
                    <a:lnTo>
                      <a:pt x="38" y="178"/>
                    </a:lnTo>
                    <a:lnTo>
                      <a:pt x="38" y="178"/>
                    </a:lnTo>
                    <a:lnTo>
                      <a:pt x="38" y="180"/>
                    </a:lnTo>
                    <a:lnTo>
                      <a:pt x="38" y="180"/>
                    </a:lnTo>
                    <a:lnTo>
                      <a:pt x="41" y="180"/>
                    </a:lnTo>
                    <a:lnTo>
                      <a:pt x="41" y="180"/>
                    </a:lnTo>
                    <a:lnTo>
                      <a:pt x="44" y="183"/>
                    </a:lnTo>
                    <a:lnTo>
                      <a:pt x="44" y="183"/>
                    </a:lnTo>
                    <a:lnTo>
                      <a:pt x="46" y="183"/>
                    </a:lnTo>
                    <a:lnTo>
                      <a:pt x="46" y="183"/>
                    </a:lnTo>
                    <a:lnTo>
                      <a:pt x="48" y="180"/>
                    </a:lnTo>
                    <a:lnTo>
                      <a:pt x="48" y="180"/>
                    </a:lnTo>
                    <a:lnTo>
                      <a:pt x="51" y="178"/>
                    </a:lnTo>
                    <a:lnTo>
                      <a:pt x="51" y="178"/>
                    </a:lnTo>
                    <a:lnTo>
                      <a:pt x="57" y="176"/>
                    </a:lnTo>
                    <a:lnTo>
                      <a:pt x="57" y="176"/>
                    </a:lnTo>
                    <a:lnTo>
                      <a:pt x="62" y="176"/>
                    </a:lnTo>
                    <a:lnTo>
                      <a:pt x="62" y="176"/>
                    </a:lnTo>
                    <a:lnTo>
                      <a:pt x="67" y="176"/>
                    </a:lnTo>
                    <a:lnTo>
                      <a:pt x="67" y="176"/>
                    </a:lnTo>
                    <a:lnTo>
                      <a:pt x="68" y="176"/>
                    </a:lnTo>
                    <a:lnTo>
                      <a:pt x="68" y="176"/>
                    </a:lnTo>
                    <a:lnTo>
                      <a:pt x="70" y="173"/>
                    </a:lnTo>
                    <a:lnTo>
                      <a:pt x="70" y="173"/>
                    </a:lnTo>
                    <a:lnTo>
                      <a:pt x="73" y="172"/>
                    </a:lnTo>
                    <a:lnTo>
                      <a:pt x="73" y="172"/>
                    </a:lnTo>
                    <a:lnTo>
                      <a:pt x="79" y="172"/>
                    </a:lnTo>
                    <a:lnTo>
                      <a:pt x="79" y="172"/>
                    </a:lnTo>
                    <a:lnTo>
                      <a:pt x="79" y="170"/>
                    </a:lnTo>
                    <a:lnTo>
                      <a:pt x="79" y="170"/>
                    </a:lnTo>
                    <a:lnTo>
                      <a:pt x="82" y="172"/>
                    </a:lnTo>
                    <a:lnTo>
                      <a:pt x="82" y="172"/>
                    </a:lnTo>
                    <a:lnTo>
                      <a:pt x="82" y="172"/>
                    </a:lnTo>
                    <a:lnTo>
                      <a:pt x="82" y="172"/>
                    </a:lnTo>
                    <a:lnTo>
                      <a:pt x="86" y="172"/>
                    </a:lnTo>
                    <a:lnTo>
                      <a:pt x="86" y="172"/>
                    </a:lnTo>
                    <a:lnTo>
                      <a:pt x="92" y="170"/>
                    </a:lnTo>
                    <a:lnTo>
                      <a:pt x="92" y="170"/>
                    </a:lnTo>
                    <a:lnTo>
                      <a:pt x="98" y="172"/>
                    </a:lnTo>
                    <a:lnTo>
                      <a:pt x="98" y="172"/>
                    </a:lnTo>
                    <a:lnTo>
                      <a:pt x="103" y="173"/>
                    </a:lnTo>
                    <a:lnTo>
                      <a:pt x="103" y="173"/>
                    </a:lnTo>
                    <a:lnTo>
                      <a:pt x="106" y="170"/>
                    </a:lnTo>
                    <a:lnTo>
                      <a:pt x="106" y="170"/>
                    </a:lnTo>
                    <a:lnTo>
                      <a:pt x="106" y="170"/>
                    </a:lnTo>
                    <a:lnTo>
                      <a:pt x="106" y="170"/>
                    </a:lnTo>
                    <a:lnTo>
                      <a:pt x="109" y="170"/>
                    </a:lnTo>
                    <a:lnTo>
                      <a:pt x="109" y="170"/>
                    </a:lnTo>
                    <a:lnTo>
                      <a:pt x="113" y="172"/>
                    </a:lnTo>
                    <a:lnTo>
                      <a:pt x="113" y="172"/>
                    </a:lnTo>
                    <a:lnTo>
                      <a:pt x="116" y="172"/>
                    </a:lnTo>
                    <a:lnTo>
                      <a:pt x="116" y="172"/>
                    </a:lnTo>
                    <a:lnTo>
                      <a:pt x="113" y="170"/>
                    </a:lnTo>
                    <a:lnTo>
                      <a:pt x="113" y="170"/>
                    </a:lnTo>
                    <a:lnTo>
                      <a:pt x="113" y="168"/>
                    </a:lnTo>
                    <a:lnTo>
                      <a:pt x="113" y="168"/>
                    </a:lnTo>
                    <a:lnTo>
                      <a:pt x="116" y="167"/>
                    </a:lnTo>
                    <a:lnTo>
                      <a:pt x="116" y="167"/>
                    </a:lnTo>
                    <a:lnTo>
                      <a:pt x="119" y="167"/>
                    </a:lnTo>
                    <a:lnTo>
                      <a:pt x="119" y="167"/>
                    </a:lnTo>
                    <a:lnTo>
                      <a:pt x="124" y="167"/>
                    </a:lnTo>
                    <a:lnTo>
                      <a:pt x="124" y="167"/>
                    </a:lnTo>
                    <a:lnTo>
                      <a:pt x="132" y="164"/>
                    </a:lnTo>
                    <a:lnTo>
                      <a:pt x="132" y="164"/>
                    </a:lnTo>
                    <a:lnTo>
                      <a:pt x="138" y="159"/>
                    </a:lnTo>
                    <a:lnTo>
                      <a:pt x="138" y="159"/>
                    </a:lnTo>
                    <a:lnTo>
                      <a:pt x="152" y="148"/>
                    </a:lnTo>
                    <a:lnTo>
                      <a:pt x="152" y="148"/>
                    </a:lnTo>
                    <a:lnTo>
                      <a:pt x="157" y="143"/>
                    </a:lnTo>
                    <a:lnTo>
                      <a:pt x="157" y="143"/>
                    </a:lnTo>
                    <a:lnTo>
                      <a:pt x="162" y="137"/>
                    </a:lnTo>
                    <a:lnTo>
                      <a:pt x="162" y="137"/>
                    </a:lnTo>
                    <a:lnTo>
                      <a:pt x="168" y="130"/>
                    </a:lnTo>
                    <a:lnTo>
                      <a:pt x="168" y="130"/>
                    </a:lnTo>
                    <a:lnTo>
                      <a:pt x="175" y="124"/>
                    </a:lnTo>
                    <a:lnTo>
                      <a:pt x="175" y="124"/>
                    </a:lnTo>
                    <a:lnTo>
                      <a:pt x="179" y="116"/>
                    </a:lnTo>
                    <a:lnTo>
                      <a:pt x="179" y="116"/>
                    </a:lnTo>
                    <a:lnTo>
                      <a:pt x="182" y="113"/>
                    </a:lnTo>
                    <a:lnTo>
                      <a:pt x="182" y="113"/>
                    </a:lnTo>
                    <a:lnTo>
                      <a:pt x="182" y="111"/>
                    </a:lnTo>
                    <a:lnTo>
                      <a:pt x="182" y="111"/>
                    </a:lnTo>
                    <a:lnTo>
                      <a:pt x="186" y="105"/>
                    </a:lnTo>
                    <a:lnTo>
                      <a:pt x="186" y="105"/>
                    </a:lnTo>
                    <a:lnTo>
                      <a:pt x="189" y="100"/>
                    </a:lnTo>
                    <a:lnTo>
                      <a:pt x="189" y="100"/>
                    </a:lnTo>
                    <a:lnTo>
                      <a:pt x="192" y="99"/>
                    </a:lnTo>
                    <a:lnTo>
                      <a:pt x="192" y="99"/>
                    </a:lnTo>
                    <a:lnTo>
                      <a:pt x="195" y="99"/>
                    </a:lnTo>
                    <a:lnTo>
                      <a:pt x="195" y="99"/>
                    </a:lnTo>
                    <a:lnTo>
                      <a:pt x="195" y="95"/>
                    </a:lnTo>
                    <a:lnTo>
                      <a:pt x="195" y="95"/>
                    </a:lnTo>
                    <a:lnTo>
                      <a:pt x="197" y="95"/>
                    </a:lnTo>
                    <a:lnTo>
                      <a:pt x="197" y="95"/>
                    </a:lnTo>
                    <a:lnTo>
                      <a:pt x="200" y="92"/>
                    </a:lnTo>
                    <a:lnTo>
                      <a:pt x="200" y="92"/>
                    </a:lnTo>
                    <a:lnTo>
                      <a:pt x="203" y="87"/>
                    </a:lnTo>
                    <a:lnTo>
                      <a:pt x="203" y="87"/>
                    </a:lnTo>
                    <a:lnTo>
                      <a:pt x="206" y="68"/>
                    </a:lnTo>
                    <a:lnTo>
                      <a:pt x="206" y="68"/>
                    </a:lnTo>
                    <a:lnTo>
                      <a:pt x="200" y="67"/>
                    </a:lnTo>
                    <a:lnTo>
                      <a:pt x="200" y="67"/>
                    </a:lnTo>
                    <a:lnTo>
                      <a:pt x="200" y="67"/>
                    </a:lnTo>
                    <a:lnTo>
                      <a:pt x="197" y="67"/>
                    </a:lnTo>
                    <a:lnTo>
                      <a:pt x="197" y="67"/>
                    </a:lnTo>
                    <a:lnTo>
                      <a:pt x="195" y="72"/>
                    </a:lnTo>
                    <a:lnTo>
                      <a:pt x="195" y="72"/>
                    </a:lnTo>
                    <a:lnTo>
                      <a:pt x="195" y="73"/>
                    </a:lnTo>
                    <a:lnTo>
                      <a:pt x="195" y="73"/>
                    </a:lnTo>
                    <a:lnTo>
                      <a:pt x="194" y="73"/>
                    </a:lnTo>
                    <a:lnTo>
                      <a:pt x="194" y="73"/>
                    </a:lnTo>
                    <a:lnTo>
                      <a:pt x="190" y="73"/>
                    </a:lnTo>
                    <a:lnTo>
                      <a:pt x="190" y="73"/>
                    </a:lnTo>
                    <a:lnTo>
                      <a:pt x="186" y="70"/>
                    </a:lnTo>
                    <a:lnTo>
                      <a:pt x="186" y="70"/>
                    </a:lnTo>
                    <a:lnTo>
                      <a:pt x="182" y="67"/>
                    </a:lnTo>
                    <a:lnTo>
                      <a:pt x="182" y="67"/>
                    </a:lnTo>
                    <a:lnTo>
                      <a:pt x="186" y="57"/>
                    </a:lnTo>
                    <a:lnTo>
                      <a:pt x="186" y="57"/>
                    </a:lnTo>
                    <a:lnTo>
                      <a:pt x="187" y="54"/>
                    </a:lnTo>
                    <a:lnTo>
                      <a:pt x="187" y="54"/>
                    </a:lnTo>
                    <a:lnTo>
                      <a:pt x="189" y="54"/>
                    </a:lnTo>
                    <a:lnTo>
                      <a:pt x="189" y="54"/>
                    </a:lnTo>
                    <a:lnTo>
                      <a:pt x="194" y="54"/>
                    </a:lnTo>
                    <a:lnTo>
                      <a:pt x="194" y="54"/>
                    </a:lnTo>
                    <a:lnTo>
                      <a:pt x="197" y="57"/>
                    </a:lnTo>
                    <a:lnTo>
                      <a:pt x="197" y="57"/>
                    </a:lnTo>
                    <a:lnTo>
                      <a:pt x="197" y="54"/>
                    </a:lnTo>
                    <a:lnTo>
                      <a:pt x="197" y="54"/>
                    </a:lnTo>
                    <a:lnTo>
                      <a:pt x="197" y="53"/>
                    </a:lnTo>
                    <a:lnTo>
                      <a:pt x="197" y="53"/>
                    </a:lnTo>
                    <a:lnTo>
                      <a:pt x="197" y="51"/>
                    </a:lnTo>
                    <a:lnTo>
                      <a:pt x="197" y="51"/>
                    </a:lnTo>
                    <a:lnTo>
                      <a:pt x="197" y="48"/>
                    </a:lnTo>
                    <a:lnTo>
                      <a:pt x="197" y="48"/>
                    </a:lnTo>
                    <a:lnTo>
                      <a:pt x="197" y="45"/>
                    </a:lnTo>
                    <a:lnTo>
                      <a:pt x="197" y="45"/>
                    </a:lnTo>
                    <a:lnTo>
                      <a:pt x="197" y="43"/>
                    </a:lnTo>
                    <a:lnTo>
                      <a:pt x="197" y="43"/>
                    </a:lnTo>
                    <a:lnTo>
                      <a:pt x="197" y="35"/>
                    </a:lnTo>
                    <a:lnTo>
                      <a:pt x="197" y="35"/>
                    </a:lnTo>
                    <a:lnTo>
                      <a:pt x="197" y="29"/>
                    </a:lnTo>
                    <a:lnTo>
                      <a:pt x="197" y="29"/>
                    </a:lnTo>
                    <a:lnTo>
                      <a:pt x="195" y="22"/>
                    </a:lnTo>
                    <a:lnTo>
                      <a:pt x="195" y="22"/>
                    </a:lnTo>
                    <a:lnTo>
                      <a:pt x="195" y="22"/>
                    </a:lnTo>
                    <a:lnTo>
                      <a:pt x="194" y="19"/>
                    </a:lnTo>
                    <a:lnTo>
                      <a:pt x="194" y="19"/>
                    </a:lnTo>
                    <a:lnTo>
                      <a:pt x="192" y="13"/>
                    </a:lnTo>
                    <a:lnTo>
                      <a:pt x="192" y="13"/>
                    </a:lnTo>
                    <a:lnTo>
                      <a:pt x="190" y="10"/>
                    </a:lnTo>
                    <a:lnTo>
                      <a:pt x="190" y="10"/>
                    </a:lnTo>
                    <a:lnTo>
                      <a:pt x="190" y="5"/>
                    </a:lnTo>
                    <a:lnTo>
                      <a:pt x="190" y="5"/>
                    </a:lnTo>
                    <a:lnTo>
                      <a:pt x="190" y="3"/>
                    </a:lnTo>
                    <a:lnTo>
                      <a:pt x="190" y="3"/>
                    </a:lnTo>
                    <a:lnTo>
                      <a:pt x="189" y="2"/>
                    </a:lnTo>
                    <a:lnTo>
                      <a:pt x="186" y="2"/>
                    </a:lnTo>
                    <a:lnTo>
                      <a:pt x="186" y="2"/>
                    </a:lnTo>
                    <a:lnTo>
                      <a:pt x="186" y="2"/>
                    </a:lnTo>
                    <a:close/>
                    <a:moveTo>
                      <a:pt x="163" y="105"/>
                    </a:moveTo>
                    <a:lnTo>
                      <a:pt x="163" y="105"/>
                    </a:lnTo>
                    <a:lnTo>
                      <a:pt x="162" y="107"/>
                    </a:lnTo>
                    <a:lnTo>
                      <a:pt x="162" y="107"/>
                    </a:lnTo>
                    <a:lnTo>
                      <a:pt x="159" y="111"/>
                    </a:lnTo>
                    <a:lnTo>
                      <a:pt x="159" y="111"/>
                    </a:lnTo>
                    <a:lnTo>
                      <a:pt x="157" y="114"/>
                    </a:lnTo>
                    <a:lnTo>
                      <a:pt x="157" y="114"/>
                    </a:lnTo>
                    <a:lnTo>
                      <a:pt x="154" y="114"/>
                    </a:lnTo>
                    <a:lnTo>
                      <a:pt x="154" y="114"/>
                    </a:lnTo>
                    <a:lnTo>
                      <a:pt x="151" y="116"/>
                    </a:lnTo>
                    <a:lnTo>
                      <a:pt x="151" y="116"/>
                    </a:lnTo>
                    <a:lnTo>
                      <a:pt x="148" y="118"/>
                    </a:lnTo>
                    <a:lnTo>
                      <a:pt x="148" y="118"/>
                    </a:lnTo>
                    <a:lnTo>
                      <a:pt x="144" y="122"/>
                    </a:lnTo>
                    <a:lnTo>
                      <a:pt x="144" y="122"/>
                    </a:lnTo>
                    <a:lnTo>
                      <a:pt x="144" y="124"/>
                    </a:lnTo>
                    <a:lnTo>
                      <a:pt x="144" y="124"/>
                    </a:lnTo>
                    <a:lnTo>
                      <a:pt x="141" y="122"/>
                    </a:lnTo>
                    <a:lnTo>
                      <a:pt x="141" y="122"/>
                    </a:lnTo>
                    <a:lnTo>
                      <a:pt x="138" y="118"/>
                    </a:lnTo>
                    <a:lnTo>
                      <a:pt x="138" y="118"/>
                    </a:lnTo>
                    <a:lnTo>
                      <a:pt x="138" y="116"/>
                    </a:lnTo>
                    <a:lnTo>
                      <a:pt x="138" y="116"/>
                    </a:lnTo>
                    <a:lnTo>
                      <a:pt x="136" y="114"/>
                    </a:lnTo>
                    <a:lnTo>
                      <a:pt x="136" y="114"/>
                    </a:lnTo>
                    <a:lnTo>
                      <a:pt x="135" y="111"/>
                    </a:lnTo>
                    <a:lnTo>
                      <a:pt x="135" y="111"/>
                    </a:lnTo>
                    <a:lnTo>
                      <a:pt x="133" y="108"/>
                    </a:lnTo>
                    <a:lnTo>
                      <a:pt x="133" y="108"/>
                    </a:lnTo>
                    <a:lnTo>
                      <a:pt x="136" y="107"/>
                    </a:lnTo>
                    <a:lnTo>
                      <a:pt x="136" y="107"/>
                    </a:lnTo>
                    <a:lnTo>
                      <a:pt x="140" y="105"/>
                    </a:lnTo>
                    <a:lnTo>
                      <a:pt x="140" y="105"/>
                    </a:lnTo>
                    <a:lnTo>
                      <a:pt x="141" y="99"/>
                    </a:lnTo>
                    <a:lnTo>
                      <a:pt x="141" y="99"/>
                    </a:lnTo>
                    <a:lnTo>
                      <a:pt x="144" y="99"/>
                    </a:lnTo>
                    <a:lnTo>
                      <a:pt x="144" y="99"/>
                    </a:lnTo>
                    <a:lnTo>
                      <a:pt x="148" y="95"/>
                    </a:lnTo>
                    <a:lnTo>
                      <a:pt x="148" y="95"/>
                    </a:lnTo>
                    <a:lnTo>
                      <a:pt x="151" y="95"/>
                    </a:lnTo>
                    <a:lnTo>
                      <a:pt x="151" y="95"/>
                    </a:lnTo>
                    <a:lnTo>
                      <a:pt x="151" y="92"/>
                    </a:lnTo>
                    <a:lnTo>
                      <a:pt x="151" y="92"/>
                    </a:lnTo>
                    <a:lnTo>
                      <a:pt x="152" y="92"/>
                    </a:lnTo>
                    <a:lnTo>
                      <a:pt x="152" y="92"/>
                    </a:lnTo>
                    <a:lnTo>
                      <a:pt x="154" y="92"/>
                    </a:lnTo>
                    <a:lnTo>
                      <a:pt x="154" y="92"/>
                    </a:lnTo>
                    <a:lnTo>
                      <a:pt x="159" y="99"/>
                    </a:lnTo>
                    <a:lnTo>
                      <a:pt x="159" y="99"/>
                    </a:lnTo>
                    <a:lnTo>
                      <a:pt x="162" y="100"/>
                    </a:lnTo>
                    <a:lnTo>
                      <a:pt x="162" y="100"/>
                    </a:lnTo>
                    <a:lnTo>
                      <a:pt x="163" y="103"/>
                    </a:lnTo>
                    <a:lnTo>
                      <a:pt x="163" y="105"/>
                    </a:lnTo>
                    <a:lnTo>
                      <a:pt x="163" y="105"/>
                    </a:lnTo>
                    <a:lnTo>
                      <a:pt x="163" y="105"/>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33" name="Freeform 118">
                <a:extLst>
                  <a:ext uri="{FF2B5EF4-FFF2-40B4-BE49-F238E27FC236}">
                    <a16:creationId xmlns:a16="http://schemas.microsoft.com/office/drawing/2014/main" id="{6B1181AB-C69D-3F30-FC23-8F60885D8EDF}"/>
                  </a:ext>
                </a:extLst>
              </p:cNvPr>
              <p:cNvSpPr>
                <a:spLocks/>
              </p:cNvSpPr>
              <p:nvPr/>
            </p:nvSpPr>
            <p:spPr bwMode="auto">
              <a:xfrm>
                <a:off x="6482469" y="4529799"/>
                <a:ext cx="224307" cy="224307"/>
              </a:xfrm>
              <a:custGeom>
                <a:avLst/>
                <a:gdLst>
                  <a:gd name="T0" fmla="*/ 57 w 100"/>
                  <a:gd name="T1" fmla="*/ 3 h 100"/>
                  <a:gd name="T2" fmla="*/ 54 w 100"/>
                  <a:gd name="T3" fmla="*/ 3 h 100"/>
                  <a:gd name="T4" fmla="*/ 47 w 100"/>
                  <a:gd name="T5" fmla="*/ 6 h 100"/>
                  <a:gd name="T6" fmla="*/ 46 w 100"/>
                  <a:gd name="T7" fmla="*/ 13 h 100"/>
                  <a:gd name="T8" fmla="*/ 41 w 100"/>
                  <a:gd name="T9" fmla="*/ 16 h 100"/>
                  <a:gd name="T10" fmla="*/ 32 w 100"/>
                  <a:gd name="T11" fmla="*/ 24 h 100"/>
                  <a:gd name="T12" fmla="*/ 22 w 100"/>
                  <a:gd name="T13" fmla="*/ 36 h 100"/>
                  <a:gd name="T14" fmla="*/ 17 w 100"/>
                  <a:gd name="T15" fmla="*/ 36 h 100"/>
                  <a:gd name="T16" fmla="*/ 11 w 100"/>
                  <a:gd name="T17" fmla="*/ 36 h 100"/>
                  <a:gd name="T18" fmla="*/ 8 w 100"/>
                  <a:gd name="T19" fmla="*/ 33 h 100"/>
                  <a:gd name="T20" fmla="*/ 3 w 100"/>
                  <a:gd name="T21" fmla="*/ 33 h 100"/>
                  <a:gd name="T22" fmla="*/ 0 w 100"/>
                  <a:gd name="T23" fmla="*/ 36 h 100"/>
                  <a:gd name="T24" fmla="*/ 5 w 100"/>
                  <a:gd name="T25" fmla="*/ 43 h 100"/>
                  <a:gd name="T26" fmla="*/ 9 w 100"/>
                  <a:gd name="T27" fmla="*/ 52 h 100"/>
                  <a:gd name="T28" fmla="*/ 11 w 100"/>
                  <a:gd name="T29" fmla="*/ 57 h 100"/>
                  <a:gd name="T30" fmla="*/ 16 w 100"/>
                  <a:gd name="T31" fmla="*/ 62 h 100"/>
                  <a:gd name="T32" fmla="*/ 25 w 100"/>
                  <a:gd name="T33" fmla="*/ 68 h 100"/>
                  <a:gd name="T34" fmla="*/ 28 w 100"/>
                  <a:gd name="T35" fmla="*/ 71 h 100"/>
                  <a:gd name="T36" fmla="*/ 32 w 100"/>
                  <a:gd name="T37" fmla="*/ 73 h 100"/>
                  <a:gd name="T38" fmla="*/ 32 w 100"/>
                  <a:gd name="T39" fmla="*/ 78 h 100"/>
                  <a:gd name="T40" fmla="*/ 32 w 100"/>
                  <a:gd name="T41" fmla="*/ 84 h 100"/>
                  <a:gd name="T42" fmla="*/ 40 w 100"/>
                  <a:gd name="T43" fmla="*/ 89 h 100"/>
                  <a:gd name="T44" fmla="*/ 46 w 100"/>
                  <a:gd name="T45" fmla="*/ 90 h 100"/>
                  <a:gd name="T46" fmla="*/ 46 w 100"/>
                  <a:gd name="T47" fmla="*/ 94 h 100"/>
                  <a:gd name="T48" fmla="*/ 49 w 100"/>
                  <a:gd name="T49" fmla="*/ 94 h 100"/>
                  <a:gd name="T50" fmla="*/ 52 w 100"/>
                  <a:gd name="T51" fmla="*/ 97 h 100"/>
                  <a:gd name="T52" fmla="*/ 65 w 100"/>
                  <a:gd name="T53" fmla="*/ 97 h 100"/>
                  <a:gd name="T54" fmla="*/ 74 w 100"/>
                  <a:gd name="T55" fmla="*/ 97 h 100"/>
                  <a:gd name="T56" fmla="*/ 78 w 100"/>
                  <a:gd name="T57" fmla="*/ 97 h 100"/>
                  <a:gd name="T58" fmla="*/ 81 w 100"/>
                  <a:gd name="T59" fmla="*/ 92 h 100"/>
                  <a:gd name="T60" fmla="*/ 87 w 100"/>
                  <a:gd name="T61" fmla="*/ 86 h 100"/>
                  <a:gd name="T62" fmla="*/ 90 w 100"/>
                  <a:gd name="T63" fmla="*/ 84 h 100"/>
                  <a:gd name="T64" fmla="*/ 90 w 100"/>
                  <a:gd name="T65" fmla="*/ 81 h 100"/>
                  <a:gd name="T66" fmla="*/ 90 w 100"/>
                  <a:gd name="T67" fmla="*/ 74 h 100"/>
                  <a:gd name="T68" fmla="*/ 92 w 100"/>
                  <a:gd name="T69" fmla="*/ 73 h 100"/>
                  <a:gd name="T70" fmla="*/ 97 w 100"/>
                  <a:gd name="T71" fmla="*/ 68 h 100"/>
                  <a:gd name="T72" fmla="*/ 97 w 100"/>
                  <a:gd name="T73" fmla="*/ 65 h 100"/>
                  <a:gd name="T74" fmla="*/ 97 w 100"/>
                  <a:gd name="T75" fmla="*/ 59 h 100"/>
                  <a:gd name="T76" fmla="*/ 97 w 100"/>
                  <a:gd name="T77" fmla="*/ 54 h 100"/>
                  <a:gd name="T78" fmla="*/ 95 w 100"/>
                  <a:gd name="T79" fmla="*/ 51 h 100"/>
                  <a:gd name="T80" fmla="*/ 97 w 100"/>
                  <a:gd name="T81" fmla="*/ 48 h 100"/>
                  <a:gd name="T82" fmla="*/ 97 w 100"/>
                  <a:gd name="T83" fmla="*/ 46 h 100"/>
                  <a:gd name="T84" fmla="*/ 98 w 100"/>
                  <a:gd name="T85" fmla="*/ 43 h 100"/>
                  <a:gd name="T86" fmla="*/ 100 w 100"/>
                  <a:gd name="T87" fmla="*/ 40 h 100"/>
                  <a:gd name="T88" fmla="*/ 98 w 100"/>
                  <a:gd name="T89" fmla="*/ 36 h 100"/>
                  <a:gd name="T90" fmla="*/ 100 w 100"/>
                  <a:gd name="T91" fmla="*/ 32 h 100"/>
                  <a:gd name="T92" fmla="*/ 98 w 100"/>
                  <a:gd name="T93" fmla="*/ 24 h 100"/>
                  <a:gd name="T94" fmla="*/ 98 w 100"/>
                  <a:gd name="T95" fmla="*/ 21 h 100"/>
                  <a:gd name="T96" fmla="*/ 100 w 100"/>
                  <a:gd name="T97" fmla="*/ 17 h 100"/>
                  <a:gd name="T98" fmla="*/ 95 w 100"/>
                  <a:gd name="T99" fmla="*/ 16 h 100"/>
                  <a:gd name="T100" fmla="*/ 87 w 100"/>
                  <a:gd name="T101" fmla="*/ 13 h 100"/>
                  <a:gd name="T102" fmla="*/ 81 w 100"/>
                  <a:gd name="T103" fmla="*/ 9 h 100"/>
                  <a:gd name="T104" fmla="*/ 71 w 100"/>
                  <a:gd name="T105" fmla="*/ 6 h 100"/>
                  <a:gd name="T106" fmla="*/ 68 w 100"/>
                  <a:gd name="T107" fmla="*/ 6 h 100"/>
                  <a:gd name="T108" fmla="*/ 66 w 100"/>
                  <a:gd name="T109" fmla="*/ 0 h 100"/>
                  <a:gd name="T110" fmla="*/ 62 w 100"/>
                  <a:gd name="T111" fmla="*/ 3 h 100"/>
                  <a:gd name="T112" fmla="*/ 59 w 100"/>
                  <a:gd name="T113" fmla="*/ 3 h 100"/>
                  <a:gd name="T114" fmla="*/ 59 w 100"/>
                  <a:gd name="T115" fmla="*/ 3 h 100"/>
                  <a:gd name="T116" fmla="*/ 59 w 100"/>
                  <a:gd name="T117" fmla="*/ 3 h 100"/>
                  <a:gd name="T118" fmla="*/ 59 w 100"/>
                  <a:gd name="T119" fmla="*/ 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0" h="100">
                    <a:moveTo>
                      <a:pt x="59" y="3"/>
                    </a:moveTo>
                    <a:lnTo>
                      <a:pt x="57" y="3"/>
                    </a:lnTo>
                    <a:lnTo>
                      <a:pt x="57" y="3"/>
                    </a:lnTo>
                    <a:lnTo>
                      <a:pt x="54" y="3"/>
                    </a:lnTo>
                    <a:lnTo>
                      <a:pt x="49" y="6"/>
                    </a:lnTo>
                    <a:lnTo>
                      <a:pt x="47" y="6"/>
                    </a:lnTo>
                    <a:lnTo>
                      <a:pt x="46" y="9"/>
                    </a:lnTo>
                    <a:lnTo>
                      <a:pt x="46" y="13"/>
                    </a:lnTo>
                    <a:lnTo>
                      <a:pt x="43" y="16"/>
                    </a:lnTo>
                    <a:lnTo>
                      <a:pt x="41" y="16"/>
                    </a:lnTo>
                    <a:lnTo>
                      <a:pt x="35" y="19"/>
                    </a:lnTo>
                    <a:lnTo>
                      <a:pt x="32" y="24"/>
                    </a:lnTo>
                    <a:lnTo>
                      <a:pt x="25" y="33"/>
                    </a:lnTo>
                    <a:lnTo>
                      <a:pt x="22" y="36"/>
                    </a:lnTo>
                    <a:lnTo>
                      <a:pt x="20" y="36"/>
                    </a:lnTo>
                    <a:lnTo>
                      <a:pt x="17" y="36"/>
                    </a:lnTo>
                    <a:lnTo>
                      <a:pt x="14" y="33"/>
                    </a:lnTo>
                    <a:lnTo>
                      <a:pt x="11" y="36"/>
                    </a:lnTo>
                    <a:lnTo>
                      <a:pt x="9" y="36"/>
                    </a:lnTo>
                    <a:lnTo>
                      <a:pt x="8" y="33"/>
                    </a:lnTo>
                    <a:lnTo>
                      <a:pt x="6" y="33"/>
                    </a:lnTo>
                    <a:lnTo>
                      <a:pt x="3" y="33"/>
                    </a:lnTo>
                    <a:lnTo>
                      <a:pt x="0" y="33"/>
                    </a:lnTo>
                    <a:lnTo>
                      <a:pt x="0" y="36"/>
                    </a:lnTo>
                    <a:lnTo>
                      <a:pt x="1" y="38"/>
                    </a:lnTo>
                    <a:lnTo>
                      <a:pt x="5" y="43"/>
                    </a:lnTo>
                    <a:lnTo>
                      <a:pt x="9" y="49"/>
                    </a:lnTo>
                    <a:lnTo>
                      <a:pt x="9" y="52"/>
                    </a:lnTo>
                    <a:lnTo>
                      <a:pt x="9" y="54"/>
                    </a:lnTo>
                    <a:lnTo>
                      <a:pt x="11" y="57"/>
                    </a:lnTo>
                    <a:lnTo>
                      <a:pt x="13" y="59"/>
                    </a:lnTo>
                    <a:lnTo>
                      <a:pt x="16" y="62"/>
                    </a:lnTo>
                    <a:lnTo>
                      <a:pt x="20" y="65"/>
                    </a:lnTo>
                    <a:lnTo>
                      <a:pt x="25" y="68"/>
                    </a:lnTo>
                    <a:lnTo>
                      <a:pt x="25" y="71"/>
                    </a:lnTo>
                    <a:lnTo>
                      <a:pt x="28" y="71"/>
                    </a:lnTo>
                    <a:lnTo>
                      <a:pt x="28" y="71"/>
                    </a:lnTo>
                    <a:lnTo>
                      <a:pt x="32" y="73"/>
                    </a:lnTo>
                    <a:lnTo>
                      <a:pt x="32" y="76"/>
                    </a:lnTo>
                    <a:lnTo>
                      <a:pt x="32" y="78"/>
                    </a:lnTo>
                    <a:lnTo>
                      <a:pt x="32" y="81"/>
                    </a:lnTo>
                    <a:lnTo>
                      <a:pt x="32" y="84"/>
                    </a:lnTo>
                    <a:lnTo>
                      <a:pt x="35" y="87"/>
                    </a:lnTo>
                    <a:lnTo>
                      <a:pt x="40" y="89"/>
                    </a:lnTo>
                    <a:lnTo>
                      <a:pt x="41" y="89"/>
                    </a:lnTo>
                    <a:lnTo>
                      <a:pt x="46" y="90"/>
                    </a:lnTo>
                    <a:lnTo>
                      <a:pt x="46" y="92"/>
                    </a:lnTo>
                    <a:lnTo>
                      <a:pt x="46" y="94"/>
                    </a:lnTo>
                    <a:lnTo>
                      <a:pt x="47" y="94"/>
                    </a:lnTo>
                    <a:lnTo>
                      <a:pt x="49" y="94"/>
                    </a:lnTo>
                    <a:lnTo>
                      <a:pt x="51" y="97"/>
                    </a:lnTo>
                    <a:lnTo>
                      <a:pt x="52" y="97"/>
                    </a:lnTo>
                    <a:lnTo>
                      <a:pt x="59" y="97"/>
                    </a:lnTo>
                    <a:lnTo>
                      <a:pt x="65" y="97"/>
                    </a:lnTo>
                    <a:lnTo>
                      <a:pt x="71" y="97"/>
                    </a:lnTo>
                    <a:lnTo>
                      <a:pt x="74" y="97"/>
                    </a:lnTo>
                    <a:lnTo>
                      <a:pt x="74" y="100"/>
                    </a:lnTo>
                    <a:lnTo>
                      <a:pt x="78" y="97"/>
                    </a:lnTo>
                    <a:lnTo>
                      <a:pt x="81" y="94"/>
                    </a:lnTo>
                    <a:lnTo>
                      <a:pt x="81" y="92"/>
                    </a:lnTo>
                    <a:lnTo>
                      <a:pt x="84" y="89"/>
                    </a:lnTo>
                    <a:lnTo>
                      <a:pt x="87" y="86"/>
                    </a:lnTo>
                    <a:lnTo>
                      <a:pt x="89" y="84"/>
                    </a:lnTo>
                    <a:lnTo>
                      <a:pt x="90" y="84"/>
                    </a:lnTo>
                    <a:lnTo>
                      <a:pt x="90" y="82"/>
                    </a:lnTo>
                    <a:lnTo>
                      <a:pt x="90" y="81"/>
                    </a:lnTo>
                    <a:lnTo>
                      <a:pt x="90" y="78"/>
                    </a:lnTo>
                    <a:lnTo>
                      <a:pt x="90" y="74"/>
                    </a:lnTo>
                    <a:lnTo>
                      <a:pt x="90" y="73"/>
                    </a:lnTo>
                    <a:lnTo>
                      <a:pt x="92" y="73"/>
                    </a:lnTo>
                    <a:lnTo>
                      <a:pt x="95" y="70"/>
                    </a:lnTo>
                    <a:lnTo>
                      <a:pt x="97" y="68"/>
                    </a:lnTo>
                    <a:lnTo>
                      <a:pt x="97" y="65"/>
                    </a:lnTo>
                    <a:lnTo>
                      <a:pt x="97" y="65"/>
                    </a:lnTo>
                    <a:lnTo>
                      <a:pt x="98" y="59"/>
                    </a:lnTo>
                    <a:lnTo>
                      <a:pt x="97" y="59"/>
                    </a:lnTo>
                    <a:lnTo>
                      <a:pt x="95" y="55"/>
                    </a:lnTo>
                    <a:lnTo>
                      <a:pt x="97" y="54"/>
                    </a:lnTo>
                    <a:lnTo>
                      <a:pt x="97" y="52"/>
                    </a:lnTo>
                    <a:lnTo>
                      <a:pt x="95" y="51"/>
                    </a:lnTo>
                    <a:lnTo>
                      <a:pt x="95" y="49"/>
                    </a:lnTo>
                    <a:lnTo>
                      <a:pt x="97" y="48"/>
                    </a:lnTo>
                    <a:lnTo>
                      <a:pt x="97" y="46"/>
                    </a:lnTo>
                    <a:lnTo>
                      <a:pt x="97" y="46"/>
                    </a:lnTo>
                    <a:lnTo>
                      <a:pt x="98" y="44"/>
                    </a:lnTo>
                    <a:lnTo>
                      <a:pt x="98" y="43"/>
                    </a:lnTo>
                    <a:lnTo>
                      <a:pt x="98" y="41"/>
                    </a:lnTo>
                    <a:lnTo>
                      <a:pt x="100" y="40"/>
                    </a:lnTo>
                    <a:lnTo>
                      <a:pt x="98" y="38"/>
                    </a:lnTo>
                    <a:lnTo>
                      <a:pt x="98" y="36"/>
                    </a:lnTo>
                    <a:lnTo>
                      <a:pt x="98" y="36"/>
                    </a:lnTo>
                    <a:lnTo>
                      <a:pt x="100" y="32"/>
                    </a:lnTo>
                    <a:lnTo>
                      <a:pt x="100" y="30"/>
                    </a:lnTo>
                    <a:lnTo>
                      <a:pt x="98" y="24"/>
                    </a:lnTo>
                    <a:lnTo>
                      <a:pt x="98" y="22"/>
                    </a:lnTo>
                    <a:lnTo>
                      <a:pt x="98" y="21"/>
                    </a:lnTo>
                    <a:lnTo>
                      <a:pt x="98" y="19"/>
                    </a:lnTo>
                    <a:lnTo>
                      <a:pt x="100" y="17"/>
                    </a:lnTo>
                    <a:lnTo>
                      <a:pt x="97" y="17"/>
                    </a:lnTo>
                    <a:lnTo>
                      <a:pt x="95" y="16"/>
                    </a:lnTo>
                    <a:lnTo>
                      <a:pt x="92" y="14"/>
                    </a:lnTo>
                    <a:lnTo>
                      <a:pt x="87" y="13"/>
                    </a:lnTo>
                    <a:lnTo>
                      <a:pt x="82" y="9"/>
                    </a:lnTo>
                    <a:lnTo>
                      <a:pt x="81" y="9"/>
                    </a:lnTo>
                    <a:lnTo>
                      <a:pt x="74" y="6"/>
                    </a:lnTo>
                    <a:lnTo>
                      <a:pt x="71" y="6"/>
                    </a:lnTo>
                    <a:lnTo>
                      <a:pt x="70" y="6"/>
                    </a:lnTo>
                    <a:lnTo>
                      <a:pt x="68" y="6"/>
                    </a:lnTo>
                    <a:lnTo>
                      <a:pt x="66" y="3"/>
                    </a:lnTo>
                    <a:lnTo>
                      <a:pt x="66" y="0"/>
                    </a:lnTo>
                    <a:lnTo>
                      <a:pt x="66" y="0"/>
                    </a:lnTo>
                    <a:lnTo>
                      <a:pt x="62" y="3"/>
                    </a:lnTo>
                    <a:lnTo>
                      <a:pt x="59" y="3"/>
                    </a:lnTo>
                    <a:lnTo>
                      <a:pt x="59" y="3"/>
                    </a:lnTo>
                    <a:lnTo>
                      <a:pt x="59" y="3"/>
                    </a:lnTo>
                    <a:lnTo>
                      <a:pt x="59" y="3"/>
                    </a:lnTo>
                    <a:lnTo>
                      <a:pt x="59" y="3"/>
                    </a:lnTo>
                    <a:lnTo>
                      <a:pt x="59" y="3"/>
                    </a:lnTo>
                    <a:lnTo>
                      <a:pt x="59" y="3"/>
                    </a:lnTo>
                    <a:lnTo>
                      <a:pt x="59" y="3"/>
                    </a:lnTo>
                    <a:lnTo>
                      <a:pt x="59" y="3"/>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34" name="Freeform 120">
                <a:extLst>
                  <a:ext uri="{FF2B5EF4-FFF2-40B4-BE49-F238E27FC236}">
                    <a16:creationId xmlns:a16="http://schemas.microsoft.com/office/drawing/2014/main" id="{2A984695-A8F8-37CD-333F-735110B40BB4}"/>
                  </a:ext>
                </a:extLst>
              </p:cNvPr>
              <p:cNvSpPr>
                <a:spLocks/>
              </p:cNvSpPr>
              <p:nvPr/>
            </p:nvSpPr>
            <p:spPr bwMode="auto">
              <a:xfrm>
                <a:off x="6332184" y="4603821"/>
                <a:ext cx="264682" cy="291599"/>
              </a:xfrm>
              <a:custGeom>
                <a:avLst/>
                <a:gdLst>
                  <a:gd name="T0" fmla="*/ 114 w 118"/>
                  <a:gd name="T1" fmla="*/ 61 h 130"/>
                  <a:gd name="T2" fmla="*/ 113 w 118"/>
                  <a:gd name="T3" fmla="*/ 59 h 130"/>
                  <a:gd name="T4" fmla="*/ 108 w 118"/>
                  <a:gd name="T5" fmla="*/ 56 h 130"/>
                  <a:gd name="T6" fmla="*/ 102 w 118"/>
                  <a:gd name="T7" fmla="*/ 54 h 130"/>
                  <a:gd name="T8" fmla="*/ 99 w 118"/>
                  <a:gd name="T9" fmla="*/ 48 h 130"/>
                  <a:gd name="T10" fmla="*/ 99 w 118"/>
                  <a:gd name="T11" fmla="*/ 43 h 130"/>
                  <a:gd name="T12" fmla="*/ 95 w 118"/>
                  <a:gd name="T13" fmla="*/ 38 h 130"/>
                  <a:gd name="T14" fmla="*/ 92 w 118"/>
                  <a:gd name="T15" fmla="*/ 38 h 130"/>
                  <a:gd name="T16" fmla="*/ 87 w 118"/>
                  <a:gd name="T17" fmla="*/ 32 h 130"/>
                  <a:gd name="T18" fmla="*/ 78 w 118"/>
                  <a:gd name="T19" fmla="*/ 24 h 130"/>
                  <a:gd name="T20" fmla="*/ 78 w 118"/>
                  <a:gd name="T21" fmla="*/ 19 h 130"/>
                  <a:gd name="T22" fmla="*/ 72 w 118"/>
                  <a:gd name="T23" fmla="*/ 10 h 130"/>
                  <a:gd name="T24" fmla="*/ 68 w 118"/>
                  <a:gd name="T25" fmla="*/ 3 h 130"/>
                  <a:gd name="T26" fmla="*/ 67 w 118"/>
                  <a:gd name="T27" fmla="*/ 0 h 130"/>
                  <a:gd name="T28" fmla="*/ 65 w 118"/>
                  <a:gd name="T29" fmla="*/ 0 h 130"/>
                  <a:gd name="T30" fmla="*/ 64 w 118"/>
                  <a:gd name="T31" fmla="*/ 0 h 130"/>
                  <a:gd name="T32" fmla="*/ 60 w 118"/>
                  <a:gd name="T33" fmla="*/ 3 h 130"/>
                  <a:gd name="T34" fmla="*/ 57 w 118"/>
                  <a:gd name="T35" fmla="*/ 0 h 130"/>
                  <a:gd name="T36" fmla="*/ 54 w 118"/>
                  <a:gd name="T37" fmla="*/ 3 h 130"/>
                  <a:gd name="T38" fmla="*/ 48 w 118"/>
                  <a:gd name="T39" fmla="*/ 10 h 130"/>
                  <a:gd name="T40" fmla="*/ 46 w 118"/>
                  <a:gd name="T41" fmla="*/ 5 h 130"/>
                  <a:gd name="T42" fmla="*/ 43 w 118"/>
                  <a:gd name="T43" fmla="*/ 3 h 130"/>
                  <a:gd name="T44" fmla="*/ 37 w 118"/>
                  <a:gd name="T45" fmla="*/ 3 h 130"/>
                  <a:gd name="T46" fmla="*/ 16 w 118"/>
                  <a:gd name="T47" fmla="*/ 7 h 130"/>
                  <a:gd name="T48" fmla="*/ 2 w 118"/>
                  <a:gd name="T49" fmla="*/ 61 h 130"/>
                  <a:gd name="T50" fmla="*/ 2 w 118"/>
                  <a:gd name="T51" fmla="*/ 70 h 130"/>
                  <a:gd name="T52" fmla="*/ 0 w 118"/>
                  <a:gd name="T53" fmla="*/ 99 h 130"/>
                  <a:gd name="T54" fmla="*/ 3 w 118"/>
                  <a:gd name="T55" fmla="*/ 102 h 130"/>
                  <a:gd name="T56" fmla="*/ 6 w 118"/>
                  <a:gd name="T57" fmla="*/ 105 h 130"/>
                  <a:gd name="T58" fmla="*/ 11 w 118"/>
                  <a:gd name="T59" fmla="*/ 119 h 130"/>
                  <a:gd name="T60" fmla="*/ 8 w 118"/>
                  <a:gd name="T61" fmla="*/ 126 h 130"/>
                  <a:gd name="T62" fmla="*/ 13 w 118"/>
                  <a:gd name="T63" fmla="*/ 129 h 130"/>
                  <a:gd name="T64" fmla="*/ 19 w 118"/>
                  <a:gd name="T65" fmla="*/ 130 h 130"/>
                  <a:gd name="T66" fmla="*/ 22 w 118"/>
                  <a:gd name="T67" fmla="*/ 129 h 130"/>
                  <a:gd name="T68" fmla="*/ 24 w 118"/>
                  <a:gd name="T69" fmla="*/ 126 h 130"/>
                  <a:gd name="T70" fmla="*/ 30 w 118"/>
                  <a:gd name="T71" fmla="*/ 122 h 130"/>
                  <a:gd name="T72" fmla="*/ 35 w 118"/>
                  <a:gd name="T73" fmla="*/ 115 h 130"/>
                  <a:gd name="T74" fmla="*/ 40 w 118"/>
                  <a:gd name="T75" fmla="*/ 108 h 130"/>
                  <a:gd name="T76" fmla="*/ 46 w 118"/>
                  <a:gd name="T77" fmla="*/ 110 h 130"/>
                  <a:gd name="T78" fmla="*/ 51 w 118"/>
                  <a:gd name="T79" fmla="*/ 113 h 130"/>
                  <a:gd name="T80" fmla="*/ 60 w 118"/>
                  <a:gd name="T81" fmla="*/ 116 h 130"/>
                  <a:gd name="T82" fmla="*/ 65 w 118"/>
                  <a:gd name="T83" fmla="*/ 115 h 130"/>
                  <a:gd name="T84" fmla="*/ 72 w 118"/>
                  <a:gd name="T85" fmla="*/ 110 h 130"/>
                  <a:gd name="T86" fmla="*/ 75 w 118"/>
                  <a:gd name="T87" fmla="*/ 102 h 130"/>
                  <a:gd name="T88" fmla="*/ 78 w 118"/>
                  <a:gd name="T89" fmla="*/ 99 h 130"/>
                  <a:gd name="T90" fmla="*/ 84 w 118"/>
                  <a:gd name="T91" fmla="*/ 94 h 130"/>
                  <a:gd name="T92" fmla="*/ 87 w 118"/>
                  <a:gd name="T93" fmla="*/ 86 h 130"/>
                  <a:gd name="T94" fmla="*/ 95 w 118"/>
                  <a:gd name="T95" fmla="*/ 80 h 130"/>
                  <a:gd name="T96" fmla="*/ 99 w 118"/>
                  <a:gd name="T97" fmla="*/ 73 h 130"/>
                  <a:gd name="T98" fmla="*/ 105 w 118"/>
                  <a:gd name="T99" fmla="*/ 70 h 130"/>
                  <a:gd name="T100" fmla="*/ 110 w 118"/>
                  <a:gd name="T101" fmla="*/ 67 h 130"/>
                  <a:gd name="T102" fmla="*/ 113 w 118"/>
                  <a:gd name="T103" fmla="*/ 64 h 130"/>
                  <a:gd name="T104" fmla="*/ 116 w 118"/>
                  <a:gd name="T105" fmla="*/ 61 h 130"/>
                  <a:gd name="T106" fmla="*/ 116 w 118"/>
                  <a:gd name="T107" fmla="*/ 61 h 130"/>
                  <a:gd name="T108" fmla="*/ 116 w 118"/>
                  <a:gd name="T109" fmla="*/ 61 h 130"/>
                  <a:gd name="T110" fmla="*/ 116 w 118"/>
                  <a:gd name="T111" fmla="*/ 61 h 130"/>
                  <a:gd name="T112" fmla="*/ 116 w 118"/>
                  <a:gd name="T113" fmla="*/ 6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30">
                    <a:moveTo>
                      <a:pt x="116" y="61"/>
                    </a:moveTo>
                    <a:lnTo>
                      <a:pt x="114" y="61"/>
                    </a:lnTo>
                    <a:lnTo>
                      <a:pt x="113" y="61"/>
                    </a:lnTo>
                    <a:lnTo>
                      <a:pt x="113" y="59"/>
                    </a:lnTo>
                    <a:lnTo>
                      <a:pt x="113" y="57"/>
                    </a:lnTo>
                    <a:lnTo>
                      <a:pt x="108" y="56"/>
                    </a:lnTo>
                    <a:lnTo>
                      <a:pt x="107" y="56"/>
                    </a:lnTo>
                    <a:lnTo>
                      <a:pt x="102" y="54"/>
                    </a:lnTo>
                    <a:lnTo>
                      <a:pt x="99" y="51"/>
                    </a:lnTo>
                    <a:lnTo>
                      <a:pt x="99" y="48"/>
                    </a:lnTo>
                    <a:lnTo>
                      <a:pt x="99" y="45"/>
                    </a:lnTo>
                    <a:lnTo>
                      <a:pt x="99" y="43"/>
                    </a:lnTo>
                    <a:lnTo>
                      <a:pt x="99" y="40"/>
                    </a:lnTo>
                    <a:lnTo>
                      <a:pt x="95" y="38"/>
                    </a:lnTo>
                    <a:lnTo>
                      <a:pt x="95" y="38"/>
                    </a:lnTo>
                    <a:lnTo>
                      <a:pt x="92" y="38"/>
                    </a:lnTo>
                    <a:lnTo>
                      <a:pt x="92" y="35"/>
                    </a:lnTo>
                    <a:lnTo>
                      <a:pt x="87" y="32"/>
                    </a:lnTo>
                    <a:lnTo>
                      <a:pt x="83" y="29"/>
                    </a:lnTo>
                    <a:lnTo>
                      <a:pt x="78" y="24"/>
                    </a:lnTo>
                    <a:lnTo>
                      <a:pt x="78" y="21"/>
                    </a:lnTo>
                    <a:lnTo>
                      <a:pt x="78" y="19"/>
                    </a:lnTo>
                    <a:lnTo>
                      <a:pt x="76" y="16"/>
                    </a:lnTo>
                    <a:lnTo>
                      <a:pt x="72" y="10"/>
                    </a:lnTo>
                    <a:lnTo>
                      <a:pt x="68" y="5"/>
                    </a:lnTo>
                    <a:lnTo>
                      <a:pt x="68" y="3"/>
                    </a:lnTo>
                    <a:lnTo>
                      <a:pt x="68" y="0"/>
                    </a:lnTo>
                    <a:lnTo>
                      <a:pt x="67" y="0"/>
                    </a:lnTo>
                    <a:lnTo>
                      <a:pt x="65" y="0"/>
                    </a:lnTo>
                    <a:lnTo>
                      <a:pt x="65" y="0"/>
                    </a:lnTo>
                    <a:lnTo>
                      <a:pt x="65" y="0"/>
                    </a:lnTo>
                    <a:lnTo>
                      <a:pt x="64" y="0"/>
                    </a:lnTo>
                    <a:lnTo>
                      <a:pt x="64" y="0"/>
                    </a:lnTo>
                    <a:lnTo>
                      <a:pt x="60" y="3"/>
                    </a:lnTo>
                    <a:lnTo>
                      <a:pt x="59" y="3"/>
                    </a:lnTo>
                    <a:lnTo>
                      <a:pt x="57" y="0"/>
                    </a:lnTo>
                    <a:lnTo>
                      <a:pt x="57" y="3"/>
                    </a:lnTo>
                    <a:lnTo>
                      <a:pt x="54" y="3"/>
                    </a:lnTo>
                    <a:lnTo>
                      <a:pt x="48" y="10"/>
                    </a:lnTo>
                    <a:lnTo>
                      <a:pt x="48" y="10"/>
                    </a:lnTo>
                    <a:lnTo>
                      <a:pt x="46" y="7"/>
                    </a:lnTo>
                    <a:lnTo>
                      <a:pt x="46" y="5"/>
                    </a:lnTo>
                    <a:lnTo>
                      <a:pt x="45" y="3"/>
                    </a:lnTo>
                    <a:lnTo>
                      <a:pt x="43" y="3"/>
                    </a:lnTo>
                    <a:lnTo>
                      <a:pt x="38" y="3"/>
                    </a:lnTo>
                    <a:lnTo>
                      <a:pt x="37" y="3"/>
                    </a:lnTo>
                    <a:lnTo>
                      <a:pt x="30" y="5"/>
                    </a:lnTo>
                    <a:lnTo>
                      <a:pt x="16" y="7"/>
                    </a:lnTo>
                    <a:lnTo>
                      <a:pt x="13" y="61"/>
                    </a:lnTo>
                    <a:lnTo>
                      <a:pt x="2" y="61"/>
                    </a:lnTo>
                    <a:lnTo>
                      <a:pt x="2" y="70"/>
                    </a:lnTo>
                    <a:lnTo>
                      <a:pt x="2" y="70"/>
                    </a:lnTo>
                    <a:lnTo>
                      <a:pt x="0" y="89"/>
                    </a:lnTo>
                    <a:lnTo>
                      <a:pt x="0" y="99"/>
                    </a:lnTo>
                    <a:lnTo>
                      <a:pt x="3" y="102"/>
                    </a:lnTo>
                    <a:lnTo>
                      <a:pt x="3" y="102"/>
                    </a:lnTo>
                    <a:lnTo>
                      <a:pt x="3" y="102"/>
                    </a:lnTo>
                    <a:lnTo>
                      <a:pt x="6" y="105"/>
                    </a:lnTo>
                    <a:lnTo>
                      <a:pt x="10" y="115"/>
                    </a:lnTo>
                    <a:lnTo>
                      <a:pt x="11" y="119"/>
                    </a:lnTo>
                    <a:lnTo>
                      <a:pt x="10" y="122"/>
                    </a:lnTo>
                    <a:lnTo>
                      <a:pt x="8" y="126"/>
                    </a:lnTo>
                    <a:lnTo>
                      <a:pt x="10" y="130"/>
                    </a:lnTo>
                    <a:lnTo>
                      <a:pt x="13" y="129"/>
                    </a:lnTo>
                    <a:lnTo>
                      <a:pt x="13" y="129"/>
                    </a:lnTo>
                    <a:lnTo>
                      <a:pt x="19" y="130"/>
                    </a:lnTo>
                    <a:lnTo>
                      <a:pt x="22" y="129"/>
                    </a:lnTo>
                    <a:lnTo>
                      <a:pt x="22" y="129"/>
                    </a:lnTo>
                    <a:lnTo>
                      <a:pt x="22" y="129"/>
                    </a:lnTo>
                    <a:lnTo>
                      <a:pt x="24" y="126"/>
                    </a:lnTo>
                    <a:lnTo>
                      <a:pt x="26" y="126"/>
                    </a:lnTo>
                    <a:lnTo>
                      <a:pt x="30" y="122"/>
                    </a:lnTo>
                    <a:lnTo>
                      <a:pt x="33" y="119"/>
                    </a:lnTo>
                    <a:lnTo>
                      <a:pt x="35" y="115"/>
                    </a:lnTo>
                    <a:lnTo>
                      <a:pt x="37" y="110"/>
                    </a:lnTo>
                    <a:lnTo>
                      <a:pt x="40" y="108"/>
                    </a:lnTo>
                    <a:lnTo>
                      <a:pt x="43" y="107"/>
                    </a:lnTo>
                    <a:lnTo>
                      <a:pt x="46" y="110"/>
                    </a:lnTo>
                    <a:lnTo>
                      <a:pt x="48" y="111"/>
                    </a:lnTo>
                    <a:lnTo>
                      <a:pt x="51" y="113"/>
                    </a:lnTo>
                    <a:lnTo>
                      <a:pt x="57" y="115"/>
                    </a:lnTo>
                    <a:lnTo>
                      <a:pt x="60" y="116"/>
                    </a:lnTo>
                    <a:lnTo>
                      <a:pt x="62" y="115"/>
                    </a:lnTo>
                    <a:lnTo>
                      <a:pt x="65" y="115"/>
                    </a:lnTo>
                    <a:lnTo>
                      <a:pt x="68" y="113"/>
                    </a:lnTo>
                    <a:lnTo>
                      <a:pt x="72" y="110"/>
                    </a:lnTo>
                    <a:lnTo>
                      <a:pt x="75" y="102"/>
                    </a:lnTo>
                    <a:lnTo>
                      <a:pt x="75" y="102"/>
                    </a:lnTo>
                    <a:lnTo>
                      <a:pt x="75" y="99"/>
                    </a:lnTo>
                    <a:lnTo>
                      <a:pt x="78" y="99"/>
                    </a:lnTo>
                    <a:lnTo>
                      <a:pt x="81" y="95"/>
                    </a:lnTo>
                    <a:lnTo>
                      <a:pt x="84" y="94"/>
                    </a:lnTo>
                    <a:lnTo>
                      <a:pt x="87" y="89"/>
                    </a:lnTo>
                    <a:lnTo>
                      <a:pt x="87" y="86"/>
                    </a:lnTo>
                    <a:lnTo>
                      <a:pt x="89" y="83"/>
                    </a:lnTo>
                    <a:lnTo>
                      <a:pt x="95" y="80"/>
                    </a:lnTo>
                    <a:lnTo>
                      <a:pt x="95" y="78"/>
                    </a:lnTo>
                    <a:lnTo>
                      <a:pt x="99" y="73"/>
                    </a:lnTo>
                    <a:lnTo>
                      <a:pt x="102" y="70"/>
                    </a:lnTo>
                    <a:lnTo>
                      <a:pt x="105" y="70"/>
                    </a:lnTo>
                    <a:lnTo>
                      <a:pt x="107" y="67"/>
                    </a:lnTo>
                    <a:lnTo>
                      <a:pt x="110" y="67"/>
                    </a:lnTo>
                    <a:lnTo>
                      <a:pt x="111" y="67"/>
                    </a:lnTo>
                    <a:lnTo>
                      <a:pt x="113" y="64"/>
                    </a:lnTo>
                    <a:lnTo>
                      <a:pt x="118" y="64"/>
                    </a:lnTo>
                    <a:lnTo>
                      <a:pt x="116" y="61"/>
                    </a:lnTo>
                    <a:lnTo>
                      <a:pt x="116" y="61"/>
                    </a:lnTo>
                    <a:lnTo>
                      <a:pt x="116" y="61"/>
                    </a:lnTo>
                    <a:lnTo>
                      <a:pt x="116" y="61"/>
                    </a:lnTo>
                    <a:lnTo>
                      <a:pt x="116" y="61"/>
                    </a:lnTo>
                    <a:lnTo>
                      <a:pt x="116" y="61"/>
                    </a:lnTo>
                    <a:lnTo>
                      <a:pt x="116" y="61"/>
                    </a:lnTo>
                    <a:lnTo>
                      <a:pt x="116" y="61"/>
                    </a:lnTo>
                    <a:lnTo>
                      <a:pt x="116" y="6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35" name="Freeform 122">
                <a:extLst>
                  <a:ext uri="{FF2B5EF4-FFF2-40B4-BE49-F238E27FC236}">
                    <a16:creationId xmlns:a16="http://schemas.microsoft.com/office/drawing/2014/main" id="{84B9B33C-EFD0-32D9-B236-A2A6E5002821}"/>
                  </a:ext>
                </a:extLst>
              </p:cNvPr>
              <p:cNvSpPr>
                <a:spLocks/>
              </p:cNvSpPr>
              <p:nvPr/>
            </p:nvSpPr>
            <p:spPr bwMode="auto">
              <a:xfrm>
                <a:off x="6614811" y="4058755"/>
                <a:ext cx="305058" cy="349919"/>
              </a:xfrm>
              <a:custGeom>
                <a:avLst/>
                <a:gdLst>
                  <a:gd name="T0" fmla="*/ 130 w 136"/>
                  <a:gd name="T1" fmla="*/ 130 h 156"/>
                  <a:gd name="T2" fmla="*/ 128 w 136"/>
                  <a:gd name="T3" fmla="*/ 126 h 156"/>
                  <a:gd name="T4" fmla="*/ 125 w 136"/>
                  <a:gd name="T5" fmla="*/ 118 h 156"/>
                  <a:gd name="T6" fmla="*/ 123 w 136"/>
                  <a:gd name="T7" fmla="*/ 113 h 156"/>
                  <a:gd name="T8" fmla="*/ 125 w 136"/>
                  <a:gd name="T9" fmla="*/ 99 h 156"/>
                  <a:gd name="T10" fmla="*/ 123 w 136"/>
                  <a:gd name="T11" fmla="*/ 94 h 156"/>
                  <a:gd name="T12" fmla="*/ 123 w 136"/>
                  <a:gd name="T13" fmla="*/ 86 h 156"/>
                  <a:gd name="T14" fmla="*/ 117 w 136"/>
                  <a:gd name="T15" fmla="*/ 77 h 156"/>
                  <a:gd name="T16" fmla="*/ 119 w 136"/>
                  <a:gd name="T17" fmla="*/ 64 h 156"/>
                  <a:gd name="T18" fmla="*/ 120 w 136"/>
                  <a:gd name="T19" fmla="*/ 53 h 156"/>
                  <a:gd name="T20" fmla="*/ 103 w 136"/>
                  <a:gd name="T21" fmla="*/ 37 h 156"/>
                  <a:gd name="T22" fmla="*/ 100 w 136"/>
                  <a:gd name="T23" fmla="*/ 27 h 156"/>
                  <a:gd name="T24" fmla="*/ 54 w 136"/>
                  <a:gd name="T25" fmla="*/ 7 h 156"/>
                  <a:gd name="T26" fmla="*/ 52 w 136"/>
                  <a:gd name="T27" fmla="*/ 10 h 156"/>
                  <a:gd name="T28" fmla="*/ 47 w 136"/>
                  <a:gd name="T29" fmla="*/ 15 h 156"/>
                  <a:gd name="T30" fmla="*/ 46 w 136"/>
                  <a:gd name="T31" fmla="*/ 16 h 156"/>
                  <a:gd name="T32" fmla="*/ 52 w 136"/>
                  <a:gd name="T33" fmla="*/ 19 h 156"/>
                  <a:gd name="T34" fmla="*/ 42 w 136"/>
                  <a:gd name="T35" fmla="*/ 21 h 156"/>
                  <a:gd name="T36" fmla="*/ 38 w 136"/>
                  <a:gd name="T37" fmla="*/ 21 h 156"/>
                  <a:gd name="T38" fmla="*/ 31 w 136"/>
                  <a:gd name="T39" fmla="*/ 21 h 156"/>
                  <a:gd name="T40" fmla="*/ 28 w 136"/>
                  <a:gd name="T41" fmla="*/ 24 h 156"/>
                  <a:gd name="T42" fmla="*/ 25 w 136"/>
                  <a:gd name="T43" fmla="*/ 18 h 156"/>
                  <a:gd name="T44" fmla="*/ 28 w 136"/>
                  <a:gd name="T45" fmla="*/ 7 h 156"/>
                  <a:gd name="T46" fmla="*/ 20 w 136"/>
                  <a:gd name="T47" fmla="*/ 0 h 156"/>
                  <a:gd name="T48" fmla="*/ 11 w 136"/>
                  <a:gd name="T49" fmla="*/ 3 h 156"/>
                  <a:gd name="T50" fmla="*/ 15 w 136"/>
                  <a:gd name="T51" fmla="*/ 13 h 156"/>
                  <a:gd name="T52" fmla="*/ 14 w 136"/>
                  <a:gd name="T53" fmla="*/ 21 h 156"/>
                  <a:gd name="T54" fmla="*/ 11 w 136"/>
                  <a:gd name="T55" fmla="*/ 27 h 156"/>
                  <a:gd name="T56" fmla="*/ 15 w 136"/>
                  <a:gd name="T57" fmla="*/ 30 h 156"/>
                  <a:gd name="T58" fmla="*/ 12 w 136"/>
                  <a:gd name="T59" fmla="*/ 35 h 156"/>
                  <a:gd name="T60" fmla="*/ 11 w 136"/>
                  <a:gd name="T61" fmla="*/ 42 h 156"/>
                  <a:gd name="T62" fmla="*/ 3 w 136"/>
                  <a:gd name="T63" fmla="*/ 50 h 156"/>
                  <a:gd name="T64" fmla="*/ 1 w 136"/>
                  <a:gd name="T65" fmla="*/ 59 h 156"/>
                  <a:gd name="T66" fmla="*/ 3 w 136"/>
                  <a:gd name="T67" fmla="*/ 72 h 156"/>
                  <a:gd name="T68" fmla="*/ 3 w 136"/>
                  <a:gd name="T69" fmla="*/ 80 h 156"/>
                  <a:gd name="T70" fmla="*/ 12 w 136"/>
                  <a:gd name="T71" fmla="*/ 94 h 156"/>
                  <a:gd name="T72" fmla="*/ 25 w 136"/>
                  <a:gd name="T73" fmla="*/ 115 h 156"/>
                  <a:gd name="T74" fmla="*/ 33 w 136"/>
                  <a:gd name="T75" fmla="*/ 118 h 156"/>
                  <a:gd name="T76" fmla="*/ 39 w 136"/>
                  <a:gd name="T77" fmla="*/ 121 h 156"/>
                  <a:gd name="T78" fmla="*/ 49 w 136"/>
                  <a:gd name="T79" fmla="*/ 126 h 156"/>
                  <a:gd name="T80" fmla="*/ 54 w 136"/>
                  <a:gd name="T81" fmla="*/ 126 h 156"/>
                  <a:gd name="T82" fmla="*/ 57 w 136"/>
                  <a:gd name="T83" fmla="*/ 123 h 156"/>
                  <a:gd name="T84" fmla="*/ 63 w 136"/>
                  <a:gd name="T85" fmla="*/ 143 h 156"/>
                  <a:gd name="T86" fmla="*/ 66 w 136"/>
                  <a:gd name="T87" fmla="*/ 153 h 156"/>
                  <a:gd name="T88" fmla="*/ 79 w 136"/>
                  <a:gd name="T89" fmla="*/ 153 h 156"/>
                  <a:gd name="T90" fmla="*/ 92 w 136"/>
                  <a:gd name="T91" fmla="*/ 153 h 156"/>
                  <a:gd name="T92" fmla="*/ 103 w 136"/>
                  <a:gd name="T93" fmla="*/ 150 h 156"/>
                  <a:gd name="T94" fmla="*/ 114 w 136"/>
                  <a:gd name="T95" fmla="*/ 150 h 156"/>
                  <a:gd name="T96" fmla="*/ 127 w 136"/>
                  <a:gd name="T97" fmla="*/ 143 h 156"/>
                  <a:gd name="T98" fmla="*/ 135 w 136"/>
                  <a:gd name="T99" fmla="*/ 134 h 156"/>
                  <a:gd name="T100" fmla="*/ 135 w 136"/>
                  <a:gd name="T101" fmla="*/ 134 h 156"/>
                  <a:gd name="T102" fmla="*/ 135 w 136"/>
                  <a:gd name="T103" fmla="*/ 13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6" h="156">
                    <a:moveTo>
                      <a:pt x="135" y="134"/>
                    </a:moveTo>
                    <a:lnTo>
                      <a:pt x="131" y="132"/>
                    </a:lnTo>
                    <a:lnTo>
                      <a:pt x="131" y="134"/>
                    </a:lnTo>
                    <a:lnTo>
                      <a:pt x="130" y="130"/>
                    </a:lnTo>
                    <a:lnTo>
                      <a:pt x="128" y="130"/>
                    </a:lnTo>
                    <a:lnTo>
                      <a:pt x="128" y="129"/>
                    </a:lnTo>
                    <a:lnTo>
                      <a:pt x="128" y="127"/>
                    </a:lnTo>
                    <a:lnTo>
                      <a:pt x="128" y="126"/>
                    </a:lnTo>
                    <a:lnTo>
                      <a:pt x="127" y="123"/>
                    </a:lnTo>
                    <a:lnTo>
                      <a:pt x="127" y="121"/>
                    </a:lnTo>
                    <a:lnTo>
                      <a:pt x="127" y="119"/>
                    </a:lnTo>
                    <a:lnTo>
                      <a:pt x="125" y="118"/>
                    </a:lnTo>
                    <a:lnTo>
                      <a:pt x="125" y="116"/>
                    </a:lnTo>
                    <a:lnTo>
                      <a:pt x="123" y="115"/>
                    </a:lnTo>
                    <a:lnTo>
                      <a:pt x="125" y="115"/>
                    </a:lnTo>
                    <a:lnTo>
                      <a:pt x="123" y="113"/>
                    </a:lnTo>
                    <a:lnTo>
                      <a:pt x="122" y="110"/>
                    </a:lnTo>
                    <a:lnTo>
                      <a:pt x="123" y="107"/>
                    </a:lnTo>
                    <a:lnTo>
                      <a:pt x="123" y="104"/>
                    </a:lnTo>
                    <a:lnTo>
                      <a:pt x="125" y="99"/>
                    </a:lnTo>
                    <a:lnTo>
                      <a:pt x="123" y="99"/>
                    </a:lnTo>
                    <a:lnTo>
                      <a:pt x="122" y="99"/>
                    </a:lnTo>
                    <a:lnTo>
                      <a:pt x="123" y="94"/>
                    </a:lnTo>
                    <a:lnTo>
                      <a:pt x="123" y="94"/>
                    </a:lnTo>
                    <a:lnTo>
                      <a:pt x="125" y="91"/>
                    </a:lnTo>
                    <a:lnTo>
                      <a:pt x="125" y="88"/>
                    </a:lnTo>
                    <a:lnTo>
                      <a:pt x="125" y="86"/>
                    </a:lnTo>
                    <a:lnTo>
                      <a:pt x="123" y="86"/>
                    </a:lnTo>
                    <a:lnTo>
                      <a:pt x="122" y="83"/>
                    </a:lnTo>
                    <a:lnTo>
                      <a:pt x="120" y="81"/>
                    </a:lnTo>
                    <a:lnTo>
                      <a:pt x="117" y="78"/>
                    </a:lnTo>
                    <a:lnTo>
                      <a:pt x="117" y="77"/>
                    </a:lnTo>
                    <a:lnTo>
                      <a:pt x="115" y="73"/>
                    </a:lnTo>
                    <a:lnTo>
                      <a:pt x="117" y="70"/>
                    </a:lnTo>
                    <a:lnTo>
                      <a:pt x="119" y="65"/>
                    </a:lnTo>
                    <a:lnTo>
                      <a:pt x="119" y="64"/>
                    </a:lnTo>
                    <a:lnTo>
                      <a:pt x="125" y="53"/>
                    </a:lnTo>
                    <a:lnTo>
                      <a:pt x="123" y="53"/>
                    </a:lnTo>
                    <a:lnTo>
                      <a:pt x="122" y="53"/>
                    </a:lnTo>
                    <a:lnTo>
                      <a:pt x="120" y="53"/>
                    </a:lnTo>
                    <a:lnTo>
                      <a:pt x="117" y="50"/>
                    </a:lnTo>
                    <a:lnTo>
                      <a:pt x="109" y="45"/>
                    </a:lnTo>
                    <a:lnTo>
                      <a:pt x="103" y="37"/>
                    </a:lnTo>
                    <a:lnTo>
                      <a:pt x="103" y="37"/>
                    </a:lnTo>
                    <a:lnTo>
                      <a:pt x="103" y="34"/>
                    </a:lnTo>
                    <a:lnTo>
                      <a:pt x="103" y="32"/>
                    </a:lnTo>
                    <a:lnTo>
                      <a:pt x="103" y="30"/>
                    </a:lnTo>
                    <a:lnTo>
                      <a:pt x="100" y="27"/>
                    </a:lnTo>
                    <a:lnTo>
                      <a:pt x="57" y="0"/>
                    </a:lnTo>
                    <a:lnTo>
                      <a:pt x="55" y="3"/>
                    </a:lnTo>
                    <a:lnTo>
                      <a:pt x="55" y="7"/>
                    </a:lnTo>
                    <a:lnTo>
                      <a:pt x="54" y="7"/>
                    </a:lnTo>
                    <a:lnTo>
                      <a:pt x="55" y="8"/>
                    </a:lnTo>
                    <a:lnTo>
                      <a:pt x="52" y="7"/>
                    </a:lnTo>
                    <a:lnTo>
                      <a:pt x="50" y="8"/>
                    </a:lnTo>
                    <a:lnTo>
                      <a:pt x="52" y="10"/>
                    </a:lnTo>
                    <a:lnTo>
                      <a:pt x="50" y="11"/>
                    </a:lnTo>
                    <a:lnTo>
                      <a:pt x="50" y="13"/>
                    </a:lnTo>
                    <a:lnTo>
                      <a:pt x="47" y="13"/>
                    </a:lnTo>
                    <a:lnTo>
                      <a:pt x="47" y="15"/>
                    </a:lnTo>
                    <a:lnTo>
                      <a:pt x="49" y="15"/>
                    </a:lnTo>
                    <a:lnTo>
                      <a:pt x="50" y="15"/>
                    </a:lnTo>
                    <a:lnTo>
                      <a:pt x="47" y="16"/>
                    </a:lnTo>
                    <a:lnTo>
                      <a:pt x="46" y="16"/>
                    </a:lnTo>
                    <a:lnTo>
                      <a:pt x="50" y="18"/>
                    </a:lnTo>
                    <a:lnTo>
                      <a:pt x="52" y="18"/>
                    </a:lnTo>
                    <a:lnTo>
                      <a:pt x="54" y="18"/>
                    </a:lnTo>
                    <a:lnTo>
                      <a:pt x="52" y="19"/>
                    </a:lnTo>
                    <a:lnTo>
                      <a:pt x="49" y="21"/>
                    </a:lnTo>
                    <a:lnTo>
                      <a:pt x="49" y="24"/>
                    </a:lnTo>
                    <a:lnTo>
                      <a:pt x="44" y="21"/>
                    </a:lnTo>
                    <a:lnTo>
                      <a:pt x="42" y="21"/>
                    </a:lnTo>
                    <a:lnTo>
                      <a:pt x="41" y="21"/>
                    </a:lnTo>
                    <a:lnTo>
                      <a:pt x="41" y="24"/>
                    </a:lnTo>
                    <a:lnTo>
                      <a:pt x="39" y="21"/>
                    </a:lnTo>
                    <a:lnTo>
                      <a:pt x="38" y="21"/>
                    </a:lnTo>
                    <a:lnTo>
                      <a:pt x="36" y="21"/>
                    </a:lnTo>
                    <a:lnTo>
                      <a:pt x="34" y="21"/>
                    </a:lnTo>
                    <a:lnTo>
                      <a:pt x="33" y="19"/>
                    </a:lnTo>
                    <a:lnTo>
                      <a:pt x="31" y="21"/>
                    </a:lnTo>
                    <a:lnTo>
                      <a:pt x="31" y="24"/>
                    </a:lnTo>
                    <a:lnTo>
                      <a:pt x="31" y="24"/>
                    </a:lnTo>
                    <a:lnTo>
                      <a:pt x="31" y="27"/>
                    </a:lnTo>
                    <a:lnTo>
                      <a:pt x="28" y="24"/>
                    </a:lnTo>
                    <a:lnTo>
                      <a:pt x="28" y="27"/>
                    </a:lnTo>
                    <a:lnTo>
                      <a:pt x="28" y="21"/>
                    </a:lnTo>
                    <a:lnTo>
                      <a:pt x="25" y="19"/>
                    </a:lnTo>
                    <a:lnTo>
                      <a:pt x="25" y="18"/>
                    </a:lnTo>
                    <a:lnTo>
                      <a:pt x="25" y="15"/>
                    </a:lnTo>
                    <a:lnTo>
                      <a:pt x="25" y="11"/>
                    </a:lnTo>
                    <a:lnTo>
                      <a:pt x="28" y="8"/>
                    </a:lnTo>
                    <a:lnTo>
                      <a:pt x="28" y="7"/>
                    </a:lnTo>
                    <a:lnTo>
                      <a:pt x="28" y="7"/>
                    </a:lnTo>
                    <a:lnTo>
                      <a:pt x="28" y="0"/>
                    </a:lnTo>
                    <a:lnTo>
                      <a:pt x="27" y="0"/>
                    </a:lnTo>
                    <a:lnTo>
                      <a:pt x="20" y="0"/>
                    </a:lnTo>
                    <a:lnTo>
                      <a:pt x="12" y="0"/>
                    </a:lnTo>
                    <a:lnTo>
                      <a:pt x="12" y="2"/>
                    </a:lnTo>
                    <a:lnTo>
                      <a:pt x="11" y="3"/>
                    </a:lnTo>
                    <a:lnTo>
                      <a:pt x="11" y="3"/>
                    </a:lnTo>
                    <a:lnTo>
                      <a:pt x="11" y="3"/>
                    </a:lnTo>
                    <a:lnTo>
                      <a:pt x="12" y="7"/>
                    </a:lnTo>
                    <a:lnTo>
                      <a:pt x="14" y="8"/>
                    </a:lnTo>
                    <a:lnTo>
                      <a:pt x="15" y="13"/>
                    </a:lnTo>
                    <a:lnTo>
                      <a:pt x="15" y="15"/>
                    </a:lnTo>
                    <a:lnTo>
                      <a:pt x="15" y="18"/>
                    </a:lnTo>
                    <a:lnTo>
                      <a:pt x="15" y="19"/>
                    </a:lnTo>
                    <a:lnTo>
                      <a:pt x="14" y="21"/>
                    </a:lnTo>
                    <a:lnTo>
                      <a:pt x="12" y="21"/>
                    </a:lnTo>
                    <a:lnTo>
                      <a:pt x="11" y="24"/>
                    </a:lnTo>
                    <a:lnTo>
                      <a:pt x="11" y="24"/>
                    </a:lnTo>
                    <a:lnTo>
                      <a:pt x="11" y="27"/>
                    </a:lnTo>
                    <a:lnTo>
                      <a:pt x="11" y="27"/>
                    </a:lnTo>
                    <a:lnTo>
                      <a:pt x="12" y="30"/>
                    </a:lnTo>
                    <a:lnTo>
                      <a:pt x="15" y="30"/>
                    </a:lnTo>
                    <a:lnTo>
                      <a:pt x="15" y="30"/>
                    </a:lnTo>
                    <a:lnTo>
                      <a:pt x="15" y="30"/>
                    </a:lnTo>
                    <a:lnTo>
                      <a:pt x="15" y="32"/>
                    </a:lnTo>
                    <a:lnTo>
                      <a:pt x="14" y="34"/>
                    </a:lnTo>
                    <a:lnTo>
                      <a:pt x="12" y="35"/>
                    </a:lnTo>
                    <a:lnTo>
                      <a:pt x="12" y="37"/>
                    </a:lnTo>
                    <a:lnTo>
                      <a:pt x="9" y="38"/>
                    </a:lnTo>
                    <a:lnTo>
                      <a:pt x="9" y="40"/>
                    </a:lnTo>
                    <a:lnTo>
                      <a:pt x="11" y="42"/>
                    </a:lnTo>
                    <a:lnTo>
                      <a:pt x="7" y="45"/>
                    </a:lnTo>
                    <a:lnTo>
                      <a:pt x="6" y="46"/>
                    </a:lnTo>
                    <a:lnTo>
                      <a:pt x="3" y="50"/>
                    </a:lnTo>
                    <a:lnTo>
                      <a:pt x="3" y="50"/>
                    </a:lnTo>
                    <a:lnTo>
                      <a:pt x="1" y="51"/>
                    </a:lnTo>
                    <a:lnTo>
                      <a:pt x="0" y="53"/>
                    </a:lnTo>
                    <a:lnTo>
                      <a:pt x="0" y="56"/>
                    </a:lnTo>
                    <a:lnTo>
                      <a:pt x="1" y="59"/>
                    </a:lnTo>
                    <a:lnTo>
                      <a:pt x="1" y="65"/>
                    </a:lnTo>
                    <a:lnTo>
                      <a:pt x="3" y="69"/>
                    </a:lnTo>
                    <a:lnTo>
                      <a:pt x="3" y="70"/>
                    </a:lnTo>
                    <a:lnTo>
                      <a:pt x="3" y="72"/>
                    </a:lnTo>
                    <a:lnTo>
                      <a:pt x="1" y="75"/>
                    </a:lnTo>
                    <a:lnTo>
                      <a:pt x="1" y="77"/>
                    </a:lnTo>
                    <a:lnTo>
                      <a:pt x="1" y="78"/>
                    </a:lnTo>
                    <a:lnTo>
                      <a:pt x="3" y="80"/>
                    </a:lnTo>
                    <a:lnTo>
                      <a:pt x="4" y="80"/>
                    </a:lnTo>
                    <a:lnTo>
                      <a:pt x="7" y="83"/>
                    </a:lnTo>
                    <a:lnTo>
                      <a:pt x="11" y="88"/>
                    </a:lnTo>
                    <a:lnTo>
                      <a:pt x="12" y="94"/>
                    </a:lnTo>
                    <a:lnTo>
                      <a:pt x="19" y="111"/>
                    </a:lnTo>
                    <a:lnTo>
                      <a:pt x="19" y="110"/>
                    </a:lnTo>
                    <a:lnTo>
                      <a:pt x="22" y="111"/>
                    </a:lnTo>
                    <a:lnTo>
                      <a:pt x="25" y="115"/>
                    </a:lnTo>
                    <a:lnTo>
                      <a:pt x="25" y="115"/>
                    </a:lnTo>
                    <a:lnTo>
                      <a:pt x="28" y="116"/>
                    </a:lnTo>
                    <a:lnTo>
                      <a:pt x="28" y="116"/>
                    </a:lnTo>
                    <a:lnTo>
                      <a:pt x="33" y="118"/>
                    </a:lnTo>
                    <a:lnTo>
                      <a:pt x="34" y="119"/>
                    </a:lnTo>
                    <a:lnTo>
                      <a:pt x="36" y="121"/>
                    </a:lnTo>
                    <a:lnTo>
                      <a:pt x="38" y="121"/>
                    </a:lnTo>
                    <a:lnTo>
                      <a:pt x="39" y="121"/>
                    </a:lnTo>
                    <a:lnTo>
                      <a:pt x="41" y="123"/>
                    </a:lnTo>
                    <a:lnTo>
                      <a:pt x="46" y="123"/>
                    </a:lnTo>
                    <a:lnTo>
                      <a:pt x="47" y="123"/>
                    </a:lnTo>
                    <a:lnTo>
                      <a:pt x="49" y="126"/>
                    </a:lnTo>
                    <a:lnTo>
                      <a:pt x="50" y="126"/>
                    </a:lnTo>
                    <a:lnTo>
                      <a:pt x="54" y="126"/>
                    </a:lnTo>
                    <a:lnTo>
                      <a:pt x="54" y="126"/>
                    </a:lnTo>
                    <a:lnTo>
                      <a:pt x="54" y="126"/>
                    </a:lnTo>
                    <a:lnTo>
                      <a:pt x="54" y="126"/>
                    </a:lnTo>
                    <a:lnTo>
                      <a:pt x="54" y="126"/>
                    </a:lnTo>
                    <a:lnTo>
                      <a:pt x="55" y="123"/>
                    </a:lnTo>
                    <a:lnTo>
                      <a:pt x="57" y="123"/>
                    </a:lnTo>
                    <a:lnTo>
                      <a:pt x="60" y="127"/>
                    </a:lnTo>
                    <a:lnTo>
                      <a:pt x="60" y="132"/>
                    </a:lnTo>
                    <a:lnTo>
                      <a:pt x="63" y="140"/>
                    </a:lnTo>
                    <a:lnTo>
                      <a:pt x="63" y="143"/>
                    </a:lnTo>
                    <a:lnTo>
                      <a:pt x="63" y="146"/>
                    </a:lnTo>
                    <a:lnTo>
                      <a:pt x="66" y="150"/>
                    </a:lnTo>
                    <a:lnTo>
                      <a:pt x="66" y="153"/>
                    </a:lnTo>
                    <a:lnTo>
                      <a:pt x="66" y="153"/>
                    </a:lnTo>
                    <a:lnTo>
                      <a:pt x="69" y="153"/>
                    </a:lnTo>
                    <a:lnTo>
                      <a:pt x="73" y="153"/>
                    </a:lnTo>
                    <a:lnTo>
                      <a:pt x="77" y="153"/>
                    </a:lnTo>
                    <a:lnTo>
                      <a:pt x="79" y="153"/>
                    </a:lnTo>
                    <a:lnTo>
                      <a:pt x="82" y="156"/>
                    </a:lnTo>
                    <a:lnTo>
                      <a:pt x="88" y="156"/>
                    </a:lnTo>
                    <a:lnTo>
                      <a:pt x="90" y="153"/>
                    </a:lnTo>
                    <a:lnTo>
                      <a:pt x="92" y="153"/>
                    </a:lnTo>
                    <a:lnTo>
                      <a:pt x="93" y="153"/>
                    </a:lnTo>
                    <a:lnTo>
                      <a:pt x="96" y="156"/>
                    </a:lnTo>
                    <a:lnTo>
                      <a:pt x="100" y="156"/>
                    </a:lnTo>
                    <a:lnTo>
                      <a:pt x="103" y="150"/>
                    </a:lnTo>
                    <a:lnTo>
                      <a:pt x="106" y="150"/>
                    </a:lnTo>
                    <a:lnTo>
                      <a:pt x="109" y="150"/>
                    </a:lnTo>
                    <a:lnTo>
                      <a:pt x="112" y="150"/>
                    </a:lnTo>
                    <a:lnTo>
                      <a:pt x="114" y="150"/>
                    </a:lnTo>
                    <a:lnTo>
                      <a:pt x="117" y="146"/>
                    </a:lnTo>
                    <a:lnTo>
                      <a:pt x="120" y="146"/>
                    </a:lnTo>
                    <a:lnTo>
                      <a:pt x="123" y="146"/>
                    </a:lnTo>
                    <a:lnTo>
                      <a:pt x="127" y="143"/>
                    </a:lnTo>
                    <a:lnTo>
                      <a:pt x="135" y="138"/>
                    </a:lnTo>
                    <a:lnTo>
                      <a:pt x="136" y="138"/>
                    </a:lnTo>
                    <a:lnTo>
                      <a:pt x="136" y="135"/>
                    </a:lnTo>
                    <a:lnTo>
                      <a:pt x="135" y="134"/>
                    </a:lnTo>
                    <a:lnTo>
                      <a:pt x="135" y="134"/>
                    </a:lnTo>
                    <a:lnTo>
                      <a:pt x="135" y="134"/>
                    </a:lnTo>
                    <a:lnTo>
                      <a:pt x="135" y="134"/>
                    </a:lnTo>
                    <a:lnTo>
                      <a:pt x="135" y="134"/>
                    </a:lnTo>
                    <a:lnTo>
                      <a:pt x="135" y="134"/>
                    </a:lnTo>
                    <a:lnTo>
                      <a:pt x="135" y="134"/>
                    </a:lnTo>
                    <a:lnTo>
                      <a:pt x="135" y="134"/>
                    </a:lnTo>
                    <a:lnTo>
                      <a:pt x="135" y="13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36" name="Freeform 124">
                <a:extLst>
                  <a:ext uri="{FF2B5EF4-FFF2-40B4-BE49-F238E27FC236}">
                    <a16:creationId xmlns:a16="http://schemas.microsoft.com/office/drawing/2014/main" id="{CBA12A9E-95BF-D8C3-F6AF-76FC3CA8CF91}"/>
                  </a:ext>
                </a:extLst>
              </p:cNvPr>
              <p:cNvSpPr>
                <a:spLocks/>
              </p:cNvSpPr>
              <p:nvPr/>
            </p:nvSpPr>
            <p:spPr bwMode="auto">
              <a:xfrm>
                <a:off x="6179654" y="3675190"/>
                <a:ext cx="374593" cy="280384"/>
              </a:xfrm>
              <a:custGeom>
                <a:avLst/>
                <a:gdLst>
                  <a:gd name="T0" fmla="*/ 160 w 167"/>
                  <a:gd name="T1" fmla="*/ 73 h 125"/>
                  <a:gd name="T2" fmla="*/ 154 w 167"/>
                  <a:gd name="T3" fmla="*/ 67 h 125"/>
                  <a:gd name="T4" fmla="*/ 152 w 167"/>
                  <a:gd name="T5" fmla="*/ 65 h 125"/>
                  <a:gd name="T6" fmla="*/ 149 w 167"/>
                  <a:gd name="T7" fmla="*/ 59 h 125"/>
                  <a:gd name="T8" fmla="*/ 138 w 167"/>
                  <a:gd name="T9" fmla="*/ 51 h 125"/>
                  <a:gd name="T10" fmla="*/ 136 w 167"/>
                  <a:gd name="T11" fmla="*/ 46 h 125"/>
                  <a:gd name="T12" fmla="*/ 128 w 167"/>
                  <a:gd name="T13" fmla="*/ 40 h 125"/>
                  <a:gd name="T14" fmla="*/ 125 w 167"/>
                  <a:gd name="T15" fmla="*/ 36 h 125"/>
                  <a:gd name="T16" fmla="*/ 116 w 167"/>
                  <a:gd name="T17" fmla="*/ 32 h 125"/>
                  <a:gd name="T18" fmla="*/ 117 w 167"/>
                  <a:gd name="T19" fmla="*/ 24 h 125"/>
                  <a:gd name="T20" fmla="*/ 113 w 167"/>
                  <a:gd name="T21" fmla="*/ 6 h 125"/>
                  <a:gd name="T22" fmla="*/ 106 w 167"/>
                  <a:gd name="T23" fmla="*/ 1 h 125"/>
                  <a:gd name="T24" fmla="*/ 100 w 167"/>
                  <a:gd name="T25" fmla="*/ 1 h 125"/>
                  <a:gd name="T26" fmla="*/ 94 w 167"/>
                  <a:gd name="T27" fmla="*/ 8 h 125"/>
                  <a:gd name="T28" fmla="*/ 89 w 167"/>
                  <a:gd name="T29" fmla="*/ 14 h 125"/>
                  <a:gd name="T30" fmla="*/ 79 w 167"/>
                  <a:gd name="T31" fmla="*/ 24 h 125"/>
                  <a:gd name="T32" fmla="*/ 62 w 167"/>
                  <a:gd name="T33" fmla="*/ 28 h 125"/>
                  <a:gd name="T34" fmla="*/ 60 w 167"/>
                  <a:gd name="T35" fmla="*/ 33 h 125"/>
                  <a:gd name="T36" fmla="*/ 51 w 167"/>
                  <a:gd name="T37" fmla="*/ 43 h 125"/>
                  <a:gd name="T38" fmla="*/ 35 w 167"/>
                  <a:gd name="T39" fmla="*/ 46 h 125"/>
                  <a:gd name="T40" fmla="*/ 28 w 167"/>
                  <a:gd name="T41" fmla="*/ 43 h 125"/>
                  <a:gd name="T42" fmla="*/ 24 w 167"/>
                  <a:gd name="T43" fmla="*/ 47 h 125"/>
                  <a:gd name="T44" fmla="*/ 14 w 167"/>
                  <a:gd name="T45" fmla="*/ 49 h 125"/>
                  <a:gd name="T46" fmla="*/ 6 w 167"/>
                  <a:gd name="T47" fmla="*/ 62 h 125"/>
                  <a:gd name="T48" fmla="*/ 0 w 167"/>
                  <a:gd name="T49" fmla="*/ 73 h 125"/>
                  <a:gd name="T50" fmla="*/ 3 w 167"/>
                  <a:gd name="T51" fmla="*/ 84 h 125"/>
                  <a:gd name="T52" fmla="*/ 9 w 167"/>
                  <a:gd name="T53" fmla="*/ 97 h 125"/>
                  <a:gd name="T54" fmla="*/ 13 w 167"/>
                  <a:gd name="T55" fmla="*/ 105 h 125"/>
                  <a:gd name="T56" fmla="*/ 22 w 167"/>
                  <a:gd name="T57" fmla="*/ 116 h 125"/>
                  <a:gd name="T58" fmla="*/ 27 w 167"/>
                  <a:gd name="T59" fmla="*/ 117 h 125"/>
                  <a:gd name="T60" fmla="*/ 33 w 167"/>
                  <a:gd name="T61" fmla="*/ 108 h 125"/>
                  <a:gd name="T62" fmla="*/ 44 w 167"/>
                  <a:gd name="T63" fmla="*/ 108 h 125"/>
                  <a:gd name="T64" fmla="*/ 54 w 167"/>
                  <a:gd name="T65" fmla="*/ 98 h 125"/>
                  <a:gd name="T66" fmla="*/ 55 w 167"/>
                  <a:gd name="T67" fmla="*/ 94 h 125"/>
                  <a:gd name="T68" fmla="*/ 68 w 167"/>
                  <a:gd name="T69" fmla="*/ 84 h 125"/>
                  <a:gd name="T70" fmla="*/ 78 w 167"/>
                  <a:gd name="T71" fmla="*/ 94 h 125"/>
                  <a:gd name="T72" fmla="*/ 86 w 167"/>
                  <a:gd name="T73" fmla="*/ 95 h 125"/>
                  <a:gd name="T74" fmla="*/ 97 w 167"/>
                  <a:gd name="T75" fmla="*/ 98 h 125"/>
                  <a:gd name="T76" fmla="*/ 105 w 167"/>
                  <a:gd name="T77" fmla="*/ 94 h 125"/>
                  <a:gd name="T78" fmla="*/ 113 w 167"/>
                  <a:gd name="T79" fmla="*/ 90 h 125"/>
                  <a:gd name="T80" fmla="*/ 124 w 167"/>
                  <a:gd name="T81" fmla="*/ 87 h 125"/>
                  <a:gd name="T82" fmla="*/ 135 w 167"/>
                  <a:gd name="T83" fmla="*/ 86 h 125"/>
                  <a:gd name="T84" fmla="*/ 140 w 167"/>
                  <a:gd name="T85" fmla="*/ 81 h 125"/>
                  <a:gd name="T86" fmla="*/ 148 w 167"/>
                  <a:gd name="T87" fmla="*/ 82 h 125"/>
                  <a:gd name="T88" fmla="*/ 155 w 167"/>
                  <a:gd name="T89" fmla="*/ 84 h 125"/>
                  <a:gd name="T90" fmla="*/ 160 w 167"/>
                  <a:gd name="T91" fmla="*/ 82 h 125"/>
                  <a:gd name="T92" fmla="*/ 165 w 167"/>
                  <a:gd name="T93" fmla="*/ 86 h 125"/>
                  <a:gd name="T94" fmla="*/ 163 w 167"/>
                  <a:gd name="T95" fmla="*/ 78 h 125"/>
                  <a:gd name="T96" fmla="*/ 163 w 167"/>
                  <a:gd name="T97" fmla="*/ 7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7" h="125">
                    <a:moveTo>
                      <a:pt x="163" y="78"/>
                    </a:moveTo>
                    <a:lnTo>
                      <a:pt x="163" y="76"/>
                    </a:lnTo>
                    <a:lnTo>
                      <a:pt x="163" y="76"/>
                    </a:lnTo>
                    <a:lnTo>
                      <a:pt x="160" y="73"/>
                    </a:lnTo>
                    <a:lnTo>
                      <a:pt x="159" y="73"/>
                    </a:lnTo>
                    <a:lnTo>
                      <a:pt x="155" y="70"/>
                    </a:lnTo>
                    <a:lnTo>
                      <a:pt x="154" y="70"/>
                    </a:lnTo>
                    <a:lnTo>
                      <a:pt x="154" y="67"/>
                    </a:lnTo>
                    <a:lnTo>
                      <a:pt x="154" y="67"/>
                    </a:lnTo>
                    <a:lnTo>
                      <a:pt x="154" y="67"/>
                    </a:lnTo>
                    <a:lnTo>
                      <a:pt x="152" y="67"/>
                    </a:lnTo>
                    <a:lnTo>
                      <a:pt x="152" y="65"/>
                    </a:lnTo>
                    <a:lnTo>
                      <a:pt x="152" y="63"/>
                    </a:lnTo>
                    <a:lnTo>
                      <a:pt x="152" y="62"/>
                    </a:lnTo>
                    <a:lnTo>
                      <a:pt x="151" y="60"/>
                    </a:lnTo>
                    <a:lnTo>
                      <a:pt x="149" y="59"/>
                    </a:lnTo>
                    <a:lnTo>
                      <a:pt x="148" y="57"/>
                    </a:lnTo>
                    <a:lnTo>
                      <a:pt x="146" y="55"/>
                    </a:lnTo>
                    <a:lnTo>
                      <a:pt x="141" y="52"/>
                    </a:lnTo>
                    <a:lnTo>
                      <a:pt x="138" y="51"/>
                    </a:lnTo>
                    <a:lnTo>
                      <a:pt x="136" y="49"/>
                    </a:lnTo>
                    <a:lnTo>
                      <a:pt x="136" y="49"/>
                    </a:lnTo>
                    <a:lnTo>
                      <a:pt x="138" y="46"/>
                    </a:lnTo>
                    <a:lnTo>
                      <a:pt x="136" y="46"/>
                    </a:lnTo>
                    <a:lnTo>
                      <a:pt x="135" y="43"/>
                    </a:lnTo>
                    <a:lnTo>
                      <a:pt x="135" y="43"/>
                    </a:lnTo>
                    <a:lnTo>
                      <a:pt x="135" y="41"/>
                    </a:lnTo>
                    <a:lnTo>
                      <a:pt x="128" y="40"/>
                    </a:lnTo>
                    <a:lnTo>
                      <a:pt x="128" y="40"/>
                    </a:lnTo>
                    <a:lnTo>
                      <a:pt x="125" y="40"/>
                    </a:lnTo>
                    <a:lnTo>
                      <a:pt x="125" y="38"/>
                    </a:lnTo>
                    <a:lnTo>
                      <a:pt x="125" y="36"/>
                    </a:lnTo>
                    <a:lnTo>
                      <a:pt x="125" y="35"/>
                    </a:lnTo>
                    <a:lnTo>
                      <a:pt x="125" y="33"/>
                    </a:lnTo>
                    <a:lnTo>
                      <a:pt x="121" y="32"/>
                    </a:lnTo>
                    <a:lnTo>
                      <a:pt x="116" y="32"/>
                    </a:lnTo>
                    <a:lnTo>
                      <a:pt x="116" y="30"/>
                    </a:lnTo>
                    <a:lnTo>
                      <a:pt x="116" y="28"/>
                    </a:lnTo>
                    <a:lnTo>
                      <a:pt x="116" y="27"/>
                    </a:lnTo>
                    <a:lnTo>
                      <a:pt x="117" y="24"/>
                    </a:lnTo>
                    <a:lnTo>
                      <a:pt x="117" y="22"/>
                    </a:lnTo>
                    <a:lnTo>
                      <a:pt x="117" y="17"/>
                    </a:lnTo>
                    <a:lnTo>
                      <a:pt x="116" y="11"/>
                    </a:lnTo>
                    <a:lnTo>
                      <a:pt x="113" y="6"/>
                    </a:lnTo>
                    <a:lnTo>
                      <a:pt x="111" y="5"/>
                    </a:lnTo>
                    <a:lnTo>
                      <a:pt x="109" y="5"/>
                    </a:lnTo>
                    <a:lnTo>
                      <a:pt x="106" y="1"/>
                    </a:lnTo>
                    <a:lnTo>
                      <a:pt x="106" y="1"/>
                    </a:lnTo>
                    <a:lnTo>
                      <a:pt x="105" y="0"/>
                    </a:lnTo>
                    <a:lnTo>
                      <a:pt x="103" y="0"/>
                    </a:lnTo>
                    <a:lnTo>
                      <a:pt x="101" y="0"/>
                    </a:lnTo>
                    <a:lnTo>
                      <a:pt x="100" y="1"/>
                    </a:lnTo>
                    <a:lnTo>
                      <a:pt x="97" y="3"/>
                    </a:lnTo>
                    <a:lnTo>
                      <a:pt x="94" y="5"/>
                    </a:lnTo>
                    <a:lnTo>
                      <a:pt x="94" y="6"/>
                    </a:lnTo>
                    <a:lnTo>
                      <a:pt x="94" y="8"/>
                    </a:lnTo>
                    <a:lnTo>
                      <a:pt x="90" y="8"/>
                    </a:lnTo>
                    <a:lnTo>
                      <a:pt x="90" y="11"/>
                    </a:lnTo>
                    <a:lnTo>
                      <a:pt x="90" y="11"/>
                    </a:lnTo>
                    <a:lnTo>
                      <a:pt x="89" y="14"/>
                    </a:lnTo>
                    <a:lnTo>
                      <a:pt x="87" y="14"/>
                    </a:lnTo>
                    <a:lnTo>
                      <a:pt x="86" y="17"/>
                    </a:lnTo>
                    <a:lnTo>
                      <a:pt x="82" y="20"/>
                    </a:lnTo>
                    <a:lnTo>
                      <a:pt x="79" y="24"/>
                    </a:lnTo>
                    <a:lnTo>
                      <a:pt x="74" y="25"/>
                    </a:lnTo>
                    <a:lnTo>
                      <a:pt x="70" y="27"/>
                    </a:lnTo>
                    <a:lnTo>
                      <a:pt x="65" y="28"/>
                    </a:lnTo>
                    <a:lnTo>
                      <a:pt x="62" y="28"/>
                    </a:lnTo>
                    <a:lnTo>
                      <a:pt x="59" y="28"/>
                    </a:lnTo>
                    <a:lnTo>
                      <a:pt x="57" y="30"/>
                    </a:lnTo>
                    <a:lnTo>
                      <a:pt x="59" y="32"/>
                    </a:lnTo>
                    <a:lnTo>
                      <a:pt x="60" y="33"/>
                    </a:lnTo>
                    <a:lnTo>
                      <a:pt x="55" y="40"/>
                    </a:lnTo>
                    <a:lnTo>
                      <a:pt x="54" y="41"/>
                    </a:lnTo>
                    <a:lnTo>
                      <a:pt x="52" y="43"/>
                    </a:lnTo>
                    <a:lnTo>
                      <a:pt x="51" y="43"/>
                    </a:lnTo>
                    <a:lnTo>
                      <a:pt x="47" y="43"/>
                    </a:lnTo>
                    <a:lnTo>
                      <a:pt x="44" y="43"/>
                    </a:lnTo>
                    <a:lnTo>
                      <a:pt x="41" y="43"/>
                    </a:lnTo>
                    <a:lnTo>
                      <a:pt x="35" y="46"/>
                    </a:lnTo>
                    <a:lnTo>
                      <a:pt x="33" y="46"/>
                    </a:lnTo>
                    <a:lnTo>
                      <a:pt x="32" y="49"/>
                    </a:lnTo>
                    <a:lnTo>
                      <a:pt x="30" y="46"/>
                    </a:lnTo>
                    <a:lnTo>
                      <a:pt x="28" y="43"/>
                    </a:lnTo>
                    <a:lnTo>
                      <a:pt x="27" y="46"/>
                    </a:lnTo>
                    <a:lnTo>
                      <a:pt x="27" y="46"/>
                    </a:lnTo>
                    <a:lnTo>
                      <a:pt x="25" y="46"/>
                    </a:lnTo>
                    <a:lnTo>
                      <a:pt x="24" y="47"/>
                    </a:lnTo>
                    <a:lnTo>
                      <a:pt x="22" y="49"/>
                    </a:lnTo>
                    <a:lnTo>
                      <a:pt x="19" y="49"/>
                    </a:lnTo>
                    <a:lnTo>
                      <a:pt x="16" y="49"/>
                    </a:lnTo>
                    <a:lnTo>
                      <a:pt x="14" y="49"/>
                    </a:lnTo>
                    <a:lnTo>
                      <a:pt x="14" y="51"/>
                    </a:lnTo>
                    <a:lnTo>
                      <a:pt x="13" y="52"/>
                    </a:lnTo>
                    <a:lnTo>
                      <a:pt x="9" y="57"/>
                    </a:lnTo>
                    <a:lnTo>
                      <a:pt x="6" y="62"/>
                    </a:lnTo>
                    <a:lnTo>
                      <a:pt x="6" y="65"/>
                    </a:lnTo>
                    <a:lnTo>
                      <a:pt x="3" y="67"/>
                    </a:lnTo>
                    <a:lnTo>
                      <a:pt x="0" y="70"/>
                    </a:lnTo>
                    <a:lnTo>
                      <a:pt x="0" y="73"/>
                    </a:lnTo>
                    <a:lnTo>
                      <a:pt x="3" y="73"/>
                    </a:lnTo>
                    <a:lnTo>
                      <a:pt x="3" y="76"/>
                    </a:lnTo>
                    <a:lnTo>
                      <a:pt x="3" y="81"/>
                    </a:lnTo>
                    <a:lnTo>
                      <a:pt x="3" y="84"/>
                    </a:lnTo>
                    <a:lnTo>
                      <a:pt x="3" y="89"/>
                    </a:lnTo>
                    <a:lnTo>
                      <a:pt x="6" y="90"/>
                    </a:lnTo>
                    <a:lnTo>
                      <a:pt x="6" y="94"/>
                    </a:lnTo>
                    <a:lnTo>
                      <a:pt x="9" y="97"/>
                    </a:lnTo>
                    <a:lnTo>
                      <a:pt x="9" y="98"/>
                    </a:lnTo>
                    <a:lnTo>
                      <a:pt x="9" y="101"/>
                    </a:lnTo>
                    <a:lnTo>
                      <a:pt x="11" y="105"/>
                    </a:lnTo>
                    <a:lnTo>
                      <a:pt x="13" y="105"/>
                    </a:lnTo>
                    <a:lnTo>
                      <a:pt x="16" y="111"/>
                    </a:lnTo>
                    <a:lnTo>
                      <a:pt x="19" y="113"/>
                    </a:lnTo>
                    <a:lnTo>
                      <a:pt x="21" y="114"/>
                    </a:lnTo>
                    <a:lnTo>
                      <a:pt x="22" y="116"/>
                    </a:lnTo>
                    <a:lnTo>
                      <a:pt x="24" y="124"/>
                    </a:lnTo>
                    <a:lnTo>
                      <a:pt x="24" y="125"/>
                    </a:lnTo>
                    <a:lnTo>
                      <a:pt x="25" y="122"/>
                    </a:lnTo>
                    <a:lnTo>
                      <a:pt x="27" y="117"/>
                    </a:lnTo>
                    <a:lnTo>
                      <a:pt x="28" y="111"/>
                    </a:lnTo>
                    <a:lnTo>
                      <a:pt x="28" y="108"/>
                    </a:lnTo>
                    <a:lnTo>
                      <a:pt x="30" y="108"/>
                    </a:lnTo>
                    <a:lnTo>
                      <a:pt x="33" y="108"/>
                    </a:lnTo>
                    <a:lnTo>
                      <a:pt x="35" y="108"/>
                    </a:lnTo>
                    <a:lnTo>
                      <a:pt x="38" y="105"/>
                    </a:lnTo>
                    <a:lnTo>
                      <a:pt x="41" y="105"/>
                    </a:lnTo>
                    <a:lnTo>
                      <a:pt x="44" y="108"/>
                    </a:lnTo>
                    <a:lnTo>
                      <a:pt x="47" y="108"/>
                    </a:lnTo>
                    <a:lnTo>
                      <a:pt x="52" y="105"/>
                    </a:lnTo>
                    <a:lnTo>
                      <a:pt x="54" y="108"/>
                    </a:lnTo>
                    <a:lnTo>
                      <a:pt x="54" y="98"/>
                    </a:lnTo>
                    <a:lnTo>
                      <a:pt x="54" y="98"/>
                    </a:lnTo>
                    <a:lnTo>
                      <a:pt x="54" y="95"/>
                    </a:lnTo>
                    <a:lnTo>
                      <a:pt x="55" y="95"/>
                    </a:lnTo>
                    <a:lnTo>
                      <a:pt x="55" y="94"/>
                    </a:lnTo>
                    <a:lnTo>
                      <a:pt x="59" y="89"/>
                    </a:lnTo>
                    <a:lnTo>
                      <a:pt x="63" y="84"/>
                    </a:lnTo>
                    <a:lnTo>
                      <a:pt x="65" y="84"/>
                    </a:lnTo>
                    <a:lnTo>
                      <a:pt x="68" y="84"/>
                    </a:lnTo>
                    <a:lnTo>
                      <a:pt x="71" y="86"/>
                    </a:lnTo>
                    <a:lnTo>
                      <a:pt x="74" y="89"/>
                    </a:lnTo>
                    <a:lnTo>
                      <a:pt x="76" y="92"/>
                    </a:lnTo>
                    <a:lnTo>
                      <a:pt x="78" y="94"/>
                    </a:lnTo>
                    <a:lnTo>
                      <a:pt x="79" y="94"/>
                    </a:lnTo>
                    <a:lnTo>
                      <a:pt x="82" y="94"/>
                    </a:lnTo>
                    <a:lnTo>
                      <a:pt x="84" y="94"/>
                    </a:lnTo>
                    <a:lnTo>
                      <a:pt x="86" y="95"/>
                    </a:lnTo>
                    <a:lnTo>
                      <a:pt x="87" y="95"/>
                    </a:lnTo>
                    <a:lnTo>
                      <a:pt x="89" y="97"/>
                    </a:lnTo>
                    <a:lnTo>
                      <a:pt x="94" y="97"/>
                    </a:lnTo>
                    <a:lnTo>
                      <a:pt x="97" y="98"/>
                    </a:lnTo>
                    <a:lnTo>
                      <a:pt x="100" y="98"/>
                    </a:lnTo>
                    <a:lnTo>
                      <a:pt x="101" y="98"/>
                    </a:lnTo>
                    <a:lnTo>
                      <a:pt x="103" y="95"/>
                    </a:lnTo>
                    <a:lnTo>
                      <a:pt x="105" y="94"/>
                    </a:lnTo>
                    <a:lnTo>
                      <a:pt x="106" y="90"/>
                    </a:lnTo>
                    <a:lnTo>
                      <a:pt x="108" y="89"/>
                    </a:lnTo>
                    <a:lnTo>
                      <a:pt x="109" y="89"/>
                    </a:lnTo>
                    <a:lnTo>
                      <a:pt x="113" y="90"/>
                    </a:lnTo>
                    <a:lnTo>
                      <a:pt x="114" y="92"/>
                    </a:lnTo>
                    <a:lnTo>
                      <a:pt x="116" y="90"/>
                    </a:lnTo>
                    <a:lnTo>
                      <a:pt x="121" y="89"/>
                    </a:lnTo>
                    <a:lnTo>
                      <a:pt x="124" y="87"/>
                    </a:lnTo>
                    <a:lnTo>
                      <a:pt x="128" y="84"/>
                    </a:lnTo>
                    <a:lnTo>
                      <a:pt x="132" y="86"/>
                    </a:lnTo>
                    <a:lnTo>
                      <a:pt x="132" y="87"/>
                    </a:lnTo>
                    <a:lnTo>
                      <a:pt x="135" y="86"/>
                    </a:lnTo>
                    <a:lnTo>
                      <a:pt x="138" y="86"/>
                    </a:lnTo>
                    <a:lnTo>
                      <a:pt x="140" y="84"/>
                    </a:lnTo>
                    <a:lnTo>
                      <a:pt x="140" y="82"/>
                    </a:lnTo>
                    <a:lnTo>
                      <a:pt x="140" y="81"/>
                    </a:lnTo>
                    <a:lnTo>
                      <a:pt x="141" y="81"/>
                    </a:lnTo>
                    <a:lnTo>
                      <a:pt x="144" y="82"/>
                    </a:lnTo>
                    <a:lnTo>
                      <a:pt x="146" y="82"/>
                    </a:lnTo>
                    <a:lnTo>
                      <a:pt x="148" y="82"/>
                    </a:lnTo>
                    <a:lnTo>
                      <a:pt x="151" y="82"/>
                    </a:lnTo>
                    <a:lnTo>
                      <a:pt x="152" y="84"/>
                    </a:lnTo>
                    <a:lnTo>
                      <a:pt x="154" y="84"/>
                    </a:lnTo>
                    <a:lnTo>
                      <a:pt x="155" y="84"/>
                    </a:lnTo>
                    <a:lnTo>
                      <a:pt x="157" y="84"/>
                    </a:lnTo>
                    <a:lnTo>
                      <a:pt x="159" y="84"/>
                    </a:lnTo>
                    <a:lnTo>
                      <a:pt x="160" y="84"/>
                    </a:lnTo>
                    <a:lnTo>
                      <a:pt x="160" y="82"/>
                    </a:lnTo>
                    <a:lnTo>
                      <a:pt x="163" y="82"/>
                    </a:lnTo>
                    <a:lnTo>
                      <a:pt x="165" y="86"/>
                    </a:lnTo>
                    <a:lnTo>
                      <a:pt x="167" y="86"/>
                    </a:lnTo>
                    <a:lnTo>
                      <a:pt x="165" y="86"/>
                    </a:lnTo>
                    <a:lnTo>
                      <a:pt x="163" y="82"/>
                    </a:lnTo>
                    <a:lnTo>
                      <a:pt x="163" y="79"/>
                    </a:lnTo>
                    <a:lnTo>
                      <a:pt x="163" y="78"/>
                    </a:lnTo>
                    <a:lnTo>
                      <a:pt x="163" y="78"/>
                    </a:lnTo>
                    <a:lnTo>
                      <a:pt x="163" y="78"/>
                    </a:lnTo>
                    <a:lnTo>
                      <a:pt x="163" y="78"/>
                    </a:lnTo>
                    <a:lnTo>
                      <a:pt x="163" y="78"/>
                    </a:lnTo>
                    <a:lnTo>
                      <a:pt x="163" y="78"/>
                    </a:lnTo>
                    <a:lnTo>
                      <a:pt x="163" y="78"/>
                    </a:lnTo>
                    <a:lnTo>
                      <a:pt x="163" y="78"/>
                    </a:lnTo>
                    <a:lnTo>
                      <a:pt x="163" y="7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37" name="Freeform 128">
                <a:extLst>
                  <a:ext uri="{FF2B5EF4-FFF2-40B4-BE49-F238E27FC236}">
                    <a16:creationId xmlns:a16="http://schemas.microsoft.com/office/drawing/2014/main" id="{3DAABBC1-0D05-1995-8DB6-C2713F614021}"/>
                  </a:ext>
                </a:extLst>
              </p:cNvPr>
              <p:cNvSpPr>
                <a:spLocks/>
              </p:cNvSpPr>
              <p:nvPr/>
            </p:nvSpPr>
            <p:spPr bwMode="auto">
              <a:xfrm>
                <a:off x="6119091" y="3856878"/>
                <a:ext cx="545066" cy="607872"/>
              </a:xfrm>
              <a:custGeom>
                <a:avLst/>
                <a:gdLst>
                  <a:gd name="T0" fmla="*/ 225 w 243"/>
                  <a:gd name="T1" fmla="*/ 14 h 271"/>
                  <a:gd name="T2" fmla="*/ 217 w 243"/>
                  <a:gd name="T3" fmla="*/ 13 h 271"/>
                  <a:gd name="T4" fmla="*/ 208 w 243"/>
                  <a:gd name="T5" fmla="*/ 14 h 271"/>
                  <a:gd name="T6" fmla="*/ 197 w 243"/>
                  <a:gd name="T7" fmla="*/ 8 h 271"/>
                  <a:gd name="T8" fmla="*/ 192 w 243"/>
                  <a:gd name="T9" fmla="*/ 5 h 271"/>
                  <a:gd name="T10" fmla="*/ 184 w 243"/>
                  <a:gd name="T11" fmla="*/ 3 h 271"/>
                  <a:gd name="T12" fmla="*/ 173 w 243"/>
                  <a:gd name="T13" fmla="*/ 3 h 271"/>
                  <a:gd name="T14" fmla="*/ 167 w 243"/>
                  <a:gd name="T15" fmla="*/ 3 h 271"/>
                  <a:gd name="T16" fmla="*/ 151 w 243"/>
                  <a:gd name="T17" fmla="*/ 6 h 271"/>
                  <a:gd name="T18" fmla="*/ 138 w 243"/>
                  <a:gd name="T19" fmla="*/ 8 h 271"/>
                  <a:gd name="T20" fmla="*/ 128 w 243"/>
                  <a:gd name="T21" fmla="*/ 17 h 271"/>
                  <a:gd name="T22" fmla="*/ 113 w 243"/>
                  <a:gd name="T23" fmla="*/ 14 h 271"/>
                  <a:gd name="T24" fmla="*/ 103 w 243"/>
                  <a:gd name="T25" fmla="*/ 8 h 271"/>
                  <a:gd name="T26" fmla="*/ 86 w 243"/>
                  <a:gd name="T27" fmla="*/ 8 h 271"/>
                  <a:gd name="T28" fmla="*/ 81 w 243"/>
                  <a:gd name="T29" fmla="*/ 27 h 271"/>
                  <a:gd name="T30" fmla="*/ 74 w 243"/>
                  <a:gd name="T31" fmla="*/ 52 h 271"/>
                  <a:gd name="T32" fmla="*/ 68 w 243"/>
                  <a:gd name="T33" fmla="*/ 86 h 271"/>
                  <a:gd name="T34" fmla="*/ 54 w 243"/>
                  <a:gd name="T35" fmla="*/ 106 h 271"/>
                  <a:gd name="T36" fmla="*/ 48 w 243"/>
                  <a:gd name="T37" fmla="*/ 132 h 271"/>
                  <a:gd name="T38" fmla="*/ 33 w 243"/>
                  <a:gd name="T39" fmla="*/ 146 h 271"/>
                  <a:gd name="T40" fmla="*/ 28 w 243"/>
                  <a:gd name="T41" fmla="*/ 140 h 271"/>
                  <a:gd name="T42" fmla="*/ 21 w 243"/>
                  <a:gd name="T43" fmla="*/ 141 h 271"/>
                  <a:gd name="T44" fmla="*/ 9 w 243"/>
                  <a:gd name="T45" fmla="*/ 143 h 271"/>
                  <a:gd name="T46" fmla="*/ 3 w 243"/>
                  <a:gd name="T47" fmla="*/ 144 h 271"/>
                  <a:gd name="T48" fmla="*/ 3 w 243"/>
                  <a:gd name="T49" fmla="*/ 162 h 271"/>
                  <a:gd name="T50" fmla="*/ 27 w 243"/>
                  <a:gd name="T51" fmla="*/ 160 h 271"/>
                  <a:gd name="T52" fmla="*/ 55 w 243"/>
                  <a:gd name="T53" fmla="*/ 163 h 271"/>
                  <a:gd name="T54" fmla="*/ 59 w 243"/>
                  <a:gd name="T55" fmla="*/ 174 h 271"/>
                  <a:gd name="T56" fmla="*/ 65 w 243"/>
                  <a:gd name="T57" fmla="*/ 190 h 271"/>
                  <a:gd name="T58" fmla="*/ 81 w 243"/>
                  <a:gd name="T59" fmla="*/ 190 h 271"/>
                  <a:gd name="T60" fmla="*/ 94 w 243"/>
                  <a:gd name="T61" fmla="*/ 184 h 271"/>
                  <a:gd name="T62" fmla="*/ 103 w 243"/>
                  <a:gd name="T63" fmla="*/ 176 h 271"/>
                  <a:gd name="T64" fmla="*/ 117 w 243"/>
                  <a:gd name="T65" fmla="*/ 181 h 271"/>
                  <a:gd name="T66" fmla="*/ 122 w 243"/>
                  <a:gd name="T67" fmla="*/ 195 h 271"/>
                  <a:gd name="T68" fmla="*/ 125 w 243"/>
                  <a:gd name="T69" fmla="*/ 219 h 271"/>
                  <a:gd name="T70" fmla="*/ 127 w 243"/>
                  <a:gd name="T71" fmla="*/ 236 h 271"/>
                  <a:gd name="T72" fmla="*/ 138 w 243"/>
                  <a:gd name="T73" fmla="*/ 236 h 271"/>
                  <a:gd name="T74" fmla="*/ 149 w 243"/>
                  <a:gd name="T75" fmla="*/ 233 h 271"/>
                  <a:gd name="T76" fmla="*/ 157 w 243"/>
                  <a:gd name="T77" fmla="*/ 241 h 271"/>
                  <a:gd name="T78" fmla="*/ 167 w 243"/>
                  <a:gd name="T79" fmla="*/ 246 h 271"/>
                  <a:gd name="T80" fmla="*/ 186 w 243"/>
                  <a:gd name="T81" fmla="*/ 247 h 271"/>
                  <a:gd name="T82" fmla="*/ 195 w 243"/>
                  <a:gd name="T83" fmla="*/ 254 h 271"/>
                  <a:gd name="T84" fmla="*/ 205 w 243"/>
                  <a:gd name="T85" fmla="*/ 257 h 271"/>
                  <a:gd name="T86" fmla="*/ 213 w 243"/>
                  <a:gd name="T87" fmla="*/ 268 h 271"/>
                  <a:gd name="T88" fmla="*/ 222 w 243"/>
                  <a:gd name="T89" fmla="*/ 268 h 271"/>
                  <a:gd name="T90" fmla="*/ 217 w 243"/>
                  <a:gd name="T91" fmla="*/ 255 h 271"/>
                  <a:gd name="T92" fmla="*/ 208 w 243"/>
                  <a:gd name="T93" fmla="*/ 233 h 271"/>
                  <a:gd name="T94" fmla="*/ 205 w 243"/>
                  <a:gd name="T95" fmla="*/ 211 h 271"/>
                  <a:gd name="T96" fmla="*/ 233 w 243"/>
                  <a:gd name="T97" fmla="*/ 192 h 271"/>
                  <a:gd name="T98" fmla="*/ 225 w 243"/>
                  <a:gd name="T99" fmla="*/ 181 h 271"/>
                  <a:gd name="T100" fmla="*/ 217 w 243"/>
                  <a:gd name="T101" fmla="*/ 157 h 271"/>
                  <a:gd name="T102" fmla="*/ 216 w 243"/>
                  <a:gd name="T103" fmla="*/ 138 h 271"/>
                  <a:gd name="T104" fmla="*/ 216 w 243"/>
                  <a:gd name="T105" fmla="*/ 122 h 271"/>
                  <a:gd name="T106" fmla="*/ 213 w 243"/>
                  <a:gd name="T107" fmla="*/ 113 h 271"/>
                  <a:gd name="T108" fmla="*/ 217 w 243"/>
                  <a:gd name="T109" fmla="*/ 97 h 271"/>
                  <a:gd name="T110" fmla="*/ 225 w 243"/>
                  <a:gd name="T111" fmla="*/ 70 h 271"/>
                  <a:gd name="T112" fmla="*/ 233 w 243"/>
                  <a:gd name="T113" fmla="*/ 59 h 271"/>
                  <a:gd name="T114" fmla="*/ 236 w 243"/>
                  <a:gd name="T115" fmla="*/ 43 h 271"/>
                  <a:gd name="T116" fmla="*/ 236 w 243"/>
                  <a:gd name="T117" fmla="*/ 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3" h="271">
                    <a:moveTo>
                      <a:pt x="235" y="25"/>
                    </a:moveTo>
                    <a:lnTo>
                      <a:pt x="235" y="25"/>
                    </a:lnTo>
                    <a:lnTo>
                      <a:pt x="233" y="25"/>
                    </a:lnTo>
                    <a:lnTo>
                      <a:pt x="233" y="25"/>
                    </a:lnTo>
                    <a:lnTo>
                      <a:pt x="233" y="22"/>
                    </a:lnTo>
                    <a:lnTo>
                      <a:pt x="233" y="22"/>
                    </a:lnTo>
                    <a:lnTo>
                      <a:pt x="232" y="20"/>
                    </a:lnTo>
                    <a:lnTo>
                      <a:pt x="232" y="20"/>
                    </a:lnTo>
                    <a:lnTo>
                      <a:pt x="227" y="17"/>
                    </a:lnTo>
                    <a:lnTo>
                      <a:pt x="227" y="17"/>
                    </a:lnTo>
                    <a:lnTo>
                      <a:pt x="225" y="14"/>
                    </a:lnTo>
                    <a:lnTo>
                      <a:pt x="225" y="14"/>
                    </a:lnTo>
                    <a:lnTo>
                      <a:pt x="224" y="11"/>
                    </a:lnTo>
                    <a:lnTo>
                      <a:pt x="224" y="11"/>
                    </a:lnTo>
                    <a:lnTo>
                      <a:pt x="222" y="9"/>
                    </a:lnTo>
                    <a:lnTo>
                      <a:pt x="222" y="9"/>
                    </a:lnTo>
                    <a:lnTo>
                      <a:pt x="221" y="9"/>
                    </a:lnTo>
                    <a:lnTo>
                      <a:pt x="221" y="9"/>
                    </a:lnTo>
                    <a:lnTo>
                      <a:pt x="219" y="11"/>
                    </a:lnTo>
                    <a:lnTo>
                      <a:pt x="219" y="11"/>
                    </a:lnTo>
                    <a:lnTo>
                      <a:pt x="217" y="13"/>
                    </a:lnTo>
                    <a:lnTo>
                      <a:pt x="217" y="13"/>
                    </a:lnTo>
                    <a:lnTo>
                      <a:pt x="216" y="13"/>
                    </a:lnTo>
                    <a:lnTo>
                      <a:pt x="216" y="13"/>
                    </a:lnTo>
                    <a:lnTo>
                      <a:pt x="214" y="13"/>
                    </a:lnTo>
                    <a:lnTo>
                      <a:pt x="214" y="13"/>
                    </a:lnTo>
                    <a:lnTo>
                      <a:pt x="213" y="13"/>
                    </a:lnTo>
                    <a:lnTo>
                      <a:pt x="213" y="13"/>
                    </a:lnTo>
                    <a:lnTo>
                      <a:pt x="211" y="11"/>
                    </a:lnTo>
                    <a:lnTo>
                      <a:pt x="211" y="11"/>
                    </a:lnTo>
                    <a:lnTo>
                      <a:pt x="208" y="13"/>
                    </a:lnTo>
                    <a:lnTo>
                      <a:pt x="208" y="13"/>
                    </a:lnTo>
                    <a:lnTo>
                      <a:pt x="208" y="14"/>
                    </a:lnTo>
                    <a:lnTo>
                      <a:pt x="208" y="14"/>
                    </a:lnTo>
                    <a:lnTo>
                      <a:pt x="205" y="14"/>
                    </a:lnTo>
                    <a:lnTo>
                      <a:pt x="205" y="14"/>
                    </a:lnTo>
                    <a:lnTo>
                      <a:pt x="205" y="14"/>
                    </a:lnTo>
                    <a:lnTo>
                      <a:pt x="205" y="14"/>
                    </a:lnTo>
                    <a:lnTo>
                      <a:pt x="202" y="13"/>
                    </a:lnTo>
                    <a:lnTo>
                      <a:pt x="202" y="13"/>
                    </a:lnTo>
                    <a:lnTo>
                      <a:pt x="198" y="11"/>
                    </a:lnTo>
                    <a:lnTo>
                      <a:pt x="198" y="11"/>
                    </a:lnTo>
                    <a:lnTo>
                      <a:pt x="197" y="8"/>
                    </a:lnTo>
                    <a:lnTo>
                      <a:pt x="197" y="8"/>
                    </a:lnTo>
                    <a:lnTo>
                      <a:pt x="197" y="6"/>
                    </a:lnTo>
                    <a:lnTo>
                      <a:pt x="197" y="6"/>
                    </a:lnTo>
                    <a:lnTo>
                      <a:pt x="195" y="6"/>
                    </a:lnTo>
                    <a:lnTo>
                      <a:pt x="195" y="6"/>
                    </a:lnTo>
                    <a:lnTo>
                      <a:pt x="192" y="3"/>
                    </a:lnTo>
                    <a:lnTo>
                      <a:pt x="192" y="3"/>
                    </a:lnTo>
                    <a:lnTo>
                      <a:pt x="192" y="5"/>
                    </a:lnTo>
                    <a:lnTo>
                      <a:pt x="192" y="5"/>
                    </a:lnTo>
                    <a:lnTo>
                      <a:pt x="194" y="6"/>
                    </a:lnTo>
                    <a:lnTo>
                      <a:pt x="194" y="6"/>
                    </a:lnTo>
                    <a:lnTo>
                      <a:pt x="192" y="5"/>
                    </a:lnTo>
                    <a:lnTo>
                      <a:pt x="192" y="5"/>
                    </a:lnTo>
                    <a:lnTo>
                      <a:pt x="190" y="3"/>
                    </a:lnTo>
                    <a:lnTo>
                      <a:pt x="190" y="3"/>
                    </a:lnTo>
                    <a:lnTo>
                      <a:pt x="189" y="3"/>
                    </a:lnTo>
                    <a:lnTo>
                      <a:pt x="189" y="3"/>
                    </a:lnTo>
                    <a:lnTo>
                      <a:pt x="187" y="3"/>
                    </a:lnTo>
                    <a:lnTo>
                      <a:pt x="187" y="3"/>
                    </a:lnTo>
                    <a:lnTo>
                      <a:pt x="186" y="3"/>
                    </a:lnTo>
                    <a:lnTo>
                      <a:pt x="186" y="3"/>
                    </a:lnTo>
                    <a:lnTo>
                      <a:pt x="184" y="3"/>
                    </a:lnTo>
                    <a:lnTo>
                      <a:pt x="184" y="3"/>
                    </a:lnTo>
                    <a:lnTo>
                      <a:pt x="182" y="3"/>
                    </a:lnTo>
                    <a:lnTo>
                      <a:pt x="182" y="3"/>
                    </a:lnTo>
                    <a:lnTo>
                      <a:pt x="181" y="3"/>
                    </a:lnTo>
                    <a:lnTo>
                      <a:pt x="181" y="3"/>
                    </a:lnTo>
                    <a:lnTo>
                      <a:pt x="179" y="3"/>
                    </a:lnTo>
                    <a:lnTo>
                      <a:pt x="179" y="3"/>
                    </a:lnTo>
                    <a:lnTo>
                      <a:pt x="178" y="3"/>
                    </a:lnTo>
                    <a:lnTo>
                      <a:pt x="178" y="3"/>
                    </a:lnTo>
                    <a:lnTo>
                      <a:pt x="176" y="3"/>
                    </a:lnTo>
                    <a:lnTo>
                      <a:pt x="176" y="3"/>
                    </a:lnTo>
                    <a:lnTo>
                      <a:pt x="173" y="3"/>
                    </a:lnTo>
                    <a:lnTo>
                      <a:pt x="173" y="3"/>
                    </a:lnTo>
                    <a:lnTo>
                      <a:pt x="173" y="3"/>
                    </a:lnTo>
                    <a:lnTo>
                      <a:pt x="173" y="3"/>
                    </a:lnTo>
                    <a:lnTo>
                      <a:pt x="170" y="0"/>
                    </a:lnTo>
                    <a:lnTo>
                      <a:pt x="170" y="0"/>
                    </a:lnTo>
                    <a:lnTo>
                      <a:pt x="167" y="0"/>
                    </a:lnTo>
                    <a:lnTo>
                      <a:pt x="167" y="0"/>
                    </a:lnTo>
                    <a:lnTo>
                      <a:pt x="167" y="3"/>
                    </a:lnTo>
                    <a:lnTo>
                      <a:pt x="167" y="3"/>
                    </a:lnTo>
                    <a:lnTo>
                      <a:pt x="167" y="3"/>
                    </a:lnTo>
                    <a:lnTo>
                      <a:pt x="167" y="3"/>
                    </a:lnTo>
                    <a:lnTo>
                      <a:pt x="167" y="6"/>
                    </a:lnTo>
                    <a:lnTo>
                      <a:pt x="167" y="6"/>
                    </a:lnTo>
                    <a:lnTo>
                      <a:pt x="163" y="6"/>
                    </a:lnTo>
                    <a:lnTo>
                      <a:pt x="163" y="6"/>
                    </a:lnTo>
                    <a:lnTo>
                      <a:pt x="160" y="6"/>
                    </a:lnTo>
                    <a:lnTo>
                      <a:pt x="160" y="6"/>
                    </a:lnTo>
                    <a:lnTo>
                      <a:pt x="159" y="6"/>
                    </a:lnTo>
                    <a:lnTo>
                      <a:pt x="159" y="6"/>
                    </a:lnTo>
                    <a:lnTo>
                      <a:pt x="155" y="3"/>
                    </a:lnTo>
                    <a:lnTo>
                      <a:pt x="155" y="3"/>
                    </a:lnTo>
                    <a:lnTo>
                      <a:pt x="151" y="6"/>
                    </a:lnTo>
                    <a:lnTo>
                      <a:pt x="151" y="6"/>
                    </a:lnTo>
                    <a:lnTo>
                      <a:pt x="148" y="8"/>
                    </a:lnTo>
                    <a:lnTo>
                      <a:pt x="148" y="8"/>
                    </a:lnTo>
                    <a:lnTo>
                      <a:pt x="143" y="9"/>
                    </a:lnTo>
                    <a:lnTo>
                      <a:pt x="143" y="9"/>
                    </a:lnTo>
                    <a:lnTo>
                      <a:pt x="141" y="11"/>
                    </a:lnTo>
                    <a:lnTo>
                      <a:pt x="141" y="11"/>
                    </a:lnTo>
                    <a:lnTo>
                      <a:pt x="141" y="9"/>
                    </a:lnTo>
                    <a:lnTo>
                      <a:pt x="141" y="9"/>
                    </a:lnTo>
                    <a:lnTo>
                      <a:pt x="138" y="8"/>
                    </a:lnTo>
                    <a:lnTo>
                      <a:pt x="138" y="8"/>
                    </a:lnTo>
                    <a:lnTo>
                      <a:pt x="135" y="8"/>
                    </a:lnTo>
                    <a:lnTo>
                      <a:pt x="135" y="8"/>
                    </a:lnTo>
                    <a:lnTo>
                      <a:pt x="135" y="9"/>
                    </a:lnTo>
                    <a:lnTo>
                      <a:pt x="135" y="9"/>
                    </a:lnTo>
                    <a:lnTo>
                      <a:pt x="132" y="13"/>
                    </a:lnTo>
                    <a:lnTo>
                      <a:pt x="132" y="13"/>
                    </a:lnTo>
                    <a:lnTo>
                      <a:pt x="132" y="14"/>
                    </a:lnTo>
                    <a:lnTo>
                      <a:pt x="132" y="14"/>
                    </a:lnTo>
                    <a:lnTo>
                      <a:pt x="128" y="17"/>
                    </a:lnTo>
                    <a:lnTo>
                      <a:pt x="128" y="17"/>
                    </a:lnTo>
                    <a:lnTo>
                      <a:pt x="128" y="17"/>
                    </a:lnTo>
                    <a:lnTo>
                      <a:pt x="128" y="17"/>
                    </a:lnTo>
                    <a:lnTo>
                      <a:pt x="125" y="17"/>
                    </a:lnTo>
                    <a:lnTo>
                      <a:pt x="125" y="17"/>
                    </a:lnTo>
                    <a:lnTo>
                      <a:pt x="121" y="16"/>
                    </a:lnTo>
                    <a:lnTo>
                      <a:pt x="121" y="16"/>
                    </a:lnTo>
                    <a:lnTo>
                      <a:pt x="116" y="16"/>
                    </a:lnTo>
                    <a:lnTo>
                      <a:pt x="116" y="16"/>
                    </a:lnTo>
                    <a:lnTo>
                      <a:pt x="114" y="14"/>
                    </a:lnTo>
                    <a:lnTo>
                      <a:pt x="114" y="14"/>
                    </a:lnTo>
                    <a:lnTo>
                      <a:pt x="113" y="14"/>
                    </a:lnTo>
                    <a:lnTo>
                      <a:pt x="113" y="14"/>
                    </a:lnTo>
                    <a:lnTo>
                      <a:pt x="111" y="13"/>
                    </a:lnTo>
                    <a:lnTo>
                      <a:pt x="111" y="13"/>
                    </a:lnTo>
                    <a:lnTo>
                      <a:pt x="109" y="13"/>
                    </a:lnTo>
                    <a:lnTo>
                      <a:pt x="109" y="13"/>
                    </a:lnTo>
                    <a:lnTo>
                      <a:pt x="106" y="13"/>
                    </a:lnTo>
                    <a:lnTo>
                      <a:pt x="106" y="13"/>
                    </a:lnTo>
                    <a:lnTo>
                      <a:pt x="106" y="13"/>
                    </a:lnTo>
                    <a:lnTo>
                      <a:pt x="106" y="13"/>
                    </a:lnTo>
                    <a:lnTo>
                      <a:pt x="103" y="11"/>
                    </a:lnTo>
                    <a:lnTo>
                      <a:pt x="103" y="11"/>
                    </a:lnTo>
                    <a:lnTo>
                      <a:pt x="103" y="8"/>
                    </a:lnTo>
                    <a:lnTo>
                      <a:pt x="103" y="8"/>
                    </a:lnTo>
                    <a:lnTo>
                      <a:pt x="100" y="6"/>
                    </a:lnTo>
                    <a:lnTo>
                      <a:pt x="100" y="6"/>
                    </a:lnTo>
                    <a:lnTo>
                      <a:pt x="95" y="3"/>
                    </a:lnTo>
                    <a:lnTo>
                      <a:pt x="95" y="3"/>
                    </a:lnTo>
                    <a:lnTo>
                      <a:pt x="94" y="3"/>
                    </a:lnTo>
                    <a:lnTo>
                      <a:pt x="94" y="3"/>
                    </a:lnTo>
                    <a:lnTo>
                      <a:pt x="90" y="3"/>
                    </a:lnTo>
                    <a:lnTo>
                      <a:pt x="90" y="3"/>
                    </a:lnTo>
                    <a:lnTo>
                      <a:pt x="86" y="8"/>
                    </a:lnTo>
                    <a:lnTo>
                      <a:pt x="86" y="8"/>
                    </a:lnTo>
                    <a:lnTo>
                      <a:pt x="82" y="13"/>
                    </a:lnTo>
                    <a:lnTo>
                      <a:pt x="82" y="13"/>
                    </a:lnTo>
                    <a:lnTo>
                      <a:pt x="82" y="14"/>
                    </a:lnTo>
                    <a:lnTo>
                      <a:pt x="82" y="14"/>
                    </a:lnTo>
                    <a:lnTo>
                      <a:pt x="81" y="14"/>
                    </a:lnTo>
                    <a:lnTo>
                      <a:pt x="81" y="14"/>
                    </a:lnTo>
                    <a:lnTo>
                      <a:pt x="81" y="17"/>
                    </a:lnTo>
                    <a:lnTo>
                      <a:pt x="81" y="17"/>
                    </a:lnTo>
                    <a:lnTo>
                      <a:pt x="81" y="19"/>
                    </a:lnTo>
                    <a:lnTo>
                      <a:pt x="81" y="19"/>
                    </a:lnTo>
                    <a:lnTo>
                      <a:pt x="81" y="27"/>
                    </a:lnTo>
                    <a:lnTo>
                      <a:pt x="81" y="27"/>
                    </a:lnTo>
                    <a:lnTo>
                      <a:pt x="81" y="28"/>
                    </a:lnTo>
                    <a:lnTo>
                      <a:pt x="81" y="28"/>
                    </a:lnTo>
                    <a:lnTo>
                      <a:pt x="79" y="35"/>
                    </a:lnTo>
                    <a:lnTo>
                      <a:pt x="79" y="35"/>
                    </a:lnTo>
                    <a:lnTo>
                      <a:pt x="76" y="41"/>
                    </a:lnTo>
                    <a:lnTo>
                      <a:pt x="76" y="41"/>
                    </a:lnTo>
                    <a:lnTo>
                      <a:pt x="74" y="46"/>
                    </a:lnTo>
                    <a:lnTo>
                      <a:pt x="74" y="46"/>
                    </a:lnTo>
                    <a:lnTo>
                      <a:pt x="74" y="52"/>
                    </a:lnTo>
                    <a:lnTo>
                      <a:pt x="74" y="52"/>
                    </a:lnTo>
                    <a:lnTo>
                      <a:pt x="73" y="59"/>
                    </a:lnTo>
                    <a:lnTo>
                      <a:pt x="73" y="59"/>
                    </a:lnTo>
                    <a:lnTo>
                      <a:pt x="71" y="65"/>
                    </a:lnTo>
                    <a:lnTo>
                      <a:pt x="71" y="65"/>
                    </a:lnTo>
                    <a:lnTo>
                      <a:pt x="71" y="70"/>
                    </a:lnTo>
                    <a:lnTo>
                      <a:pt x="71" y="70"/>
                    </a:lnTo>
                    <a:lnTo>
                      <a:pt x="71" y="76"/>
                    </a:lnTo>
                    <a:lnTo>
                      <a:pt x="71" y="76"/>
                    </a:lnTo>
                    <a:lnTo>
                      <a:pt x="71" y="82"/>
                    </a:lnTo>
                    <a:lnTo>
                      <a:pt x="71" y="82"/>
                    </a:lnTo>
                    <a:lnTo>
                      <a:pt x="68" y="86"/>
                    </a:lnTo>
                    <a:lnTo>
                      <a:pt x="68" y="86"/>
                    </a:lnTo>
                    <a:lnTo>
                      <a:pt x="68" y="87"/>
                    </a:lnTo>
                    <a:lnTo>
                      <a:pt x="68" y="87"/>
                    </a:lnTo>
                    <a:lnTo>
                      <a:pt x="62" y="93"/>
                    </a:lnTo>
                    <a:lnTo>
                      <a:pt x="62" y="93"/>
                    </a:lnTo>
                    <a:lnTo>
                      <a:pt x="59" y="97"/>
                    </a:lnTo>
                    <a:lnTo>
                      <a:pt x="59" y="97"/>
                    </a:lnTo>
                    <a:lnTo>
                      <a:pt x="55" y="103"/>
                    </a:lnTo>
                    <a:lnTo>
                      <a:pt x="55" y="103"/>
                    </a:lnTo>
                    <a:lnTo>
                      <a:pt x="54" y="106"/>
                    </a:lnTo>
                    <a:lnTo>
                      <a:pt x="54" y="106"/>
                    </a:lnTo>
                    <a:lnTo>
                      <a:pt x="52" y="108"/>
                    </a:lnTo>
                    <a:lnTo>
                      <a:pt x="52" y="108"/>
                    </a:lnTo>
                    <a:lnTo>
                      <a:pt x="51" y="109"/>
                    </a:lnTo>
                    <a:lnTo>
                      <a:pt x="51" y="109"/>
                    </a:lnTo>
                    <a:lnTo>
                      <a:pt x="51" y="111"/>
                    </a:lnTo>
                    <a:lnTo>
                      <a:pt x="51" y="111"/>
                    </a:lnTo>
                    <a:lnTo>
                      <a:pt x="51" y="122"/>
                    </a:lnTo>
                    <a:lnTo>
                      <a:pt x="51" y="122"/>
                    </a:lnTo>
                    <a:lnTo>
                      <a:pt x="49" y="128"/>
                    </a:lnTo>
                    <a:lnTo>
                      <a:pt x="49" y="128"/>
                    </a:lnTo>
                    <a:lnTo>
                      <a:pt x="48" y="132"/>
                    </a:lnTo>
                    <a:lnTo>
                      <a:pt x="48" y="132"/>
                    </a:lnTo>
                    <a:lnTo>
                      <a:pt x="44" y="133"/>
                    </a:lnTo>
                    <a:lnTo>
                      <a:pt x="44" y="133"/>
                    </a:lnTo>
                    <a:lnTo>
                      <a:pt x="41" y="135"/>
                    </a:lnTo>
                    <a:lnTo>
                      <a:pt x="41" y="135"/>
                    </a:lnTo>
                    <a:lnTo>
                      <a:pt x="41" y="138"/>
                    </a:lnTo>
                    <a:lnTo>
                      <a:pt x="41" y="138"/>
                    </a:lnTo>
                    <a:lnTo>
                      <a:pt x="38" y="141"/>
                    </a:lnTo>
                    <a:lnTo>
                      <a:pt x="38" y="141"/>
                    </a:lnTo>
                    <a:lnTo>
                      <a:pt x="33" y="146"/>
                    </a:lnTo>
                    <a:lnTo>
                      <a:pt x="33" y="146"/>
                    </a:lnTo>
                    <a:lnTo>
                      <a:pt x="32" y="147"/>
                    </a:lnTo>
                    <a:lnTo>
                      <a:pt x="32" y="147"/>
                    </a:lnTo>
                    <a:lnTo>
                      <a:pt x="30" y="147"/>
                    </a:lnTo>
                    <a:lnTo>
                      <a:pt x="30" y="147"/>
                    </a:lnTo>
                    <a:lnTo>
                      <a:pt x="28" y="147"/>
                    </a:lnTo>
                    <a:lnTo>
                      <a:pt x="28" y="147"/>
                    </a:lnTo>
                    <a:lnTo>
                      <a:pt x="27" y="144"/>
                    </a:lnTo>
                    <a:lnTo>
                      <a:pt x="27" y="144"/>
                    </a:lnTo>
                    <a:lnTo>
                      <a:pt x="28" y="141"/>
                    </a:lnTo>
                    <a:lnTo>
                      <a:pt x="28" y="141"/>
                    </a:lnTo>
                    <a:lnTo>
                      <a:pt x="28" y="140"/>
                    </a:lnTo>
                    <a:lnTo>
                      <a:pt x="28" y="140"/>
                    </a:lnTo>
                    <a:lnTo>
                      <a:pt x="27" y="140"/>
                    </a:lnTo>
                    <a:lnTo>
                      <a:pt x="27" y="140"/>
                    </a:lnTo>
                    <a:lnTo>
                      <a:pt x="25" y="140"/>
                    </a:lnTo>
                    <a:lnTo>
                      <a:pt x="25" y="140"/>
                    </a:lnTo>
                    <a:lnTo>
                      <a:pt x="24" y="141"/>
                    </a:lnTo>
                    <a:lnTo>
                      <a:pt x="24" y="141"/>
                    </a:lnTo>
                    <a:lnTo>
                      <a:pt x="22" y="141"/>
                    </a:lnTo>
                    <a:lnTo>
                      <a:pt x="22" y="141"/>
                    </a:lnTo>
                    <a:lnTo>
                      <a:pt x="21" y="141"/>
                    </a:lnTo>
                    <a:lnTo>
                      <a:pt x="21" y="141"/>
                    </a:lnTo>
                    <a:lnTo>
                      <a:pt x="19" y="144"/>
                    </a:lnTo>
                    <a:lnTo>
                      <a:pt x="19" y="144"/>
                    </a:lnTo>
                    <a:lnTo>
                      <a:pt x="17" y="146"/>
                    </a:lnTo>
                    <a:lnTo>
                      <a:pt x="17" y="146"/>
                    </a:lnTo>
                    <a:lnTo>
                      <a:pt x="16" y="147"/>
                    </a:lnTo>
                    <a:lnTo>
                      <a:pt x="16" y="147"/>
                    </a:lnTo>
                    <a:lnTo>
                      <a:pt x="13" y="146"/>
                    </a:lnTo>
                    <a:lnTo>
                      <a:pt x="13" y="146"/>
                    </a:lnTo>
                    <a:lnTo>
                      <a:pt x="13" y="143"/>
                    </a:lnTo>
                    <a:lnTo>
                      <a:pt x="13" y="143"/>
                    </a:lnTo>
                    <a:lnTo>
                      <a:pt x="9" y="143"/>
                    </a:lnTo>
                    <a:lnTo>
                      <a:pt x="9" y="143"/>
                    </a:lnTo>
                    <a:lnTo>
                      <a:pt x="9" y="141"/>
                    </a:lnTo>
                    <a:lnTo>
                      <a:pt x="9" y="141"/>
                    </a:lnTo>
                    <a:lnTo>
                      <a:pt x="6" y="141"/>
                    </a:lnTo>
                    <a:lnTo>
                      <a:pt x="6" y="141"/>
                    </a:lnTo>
                    <a:lnTo>
                      <a:pt x="6" y="141"/>
                    </a:lnTo>
                    <a:lnTo>
                      <a:pt x="6" y="141"/>
                    </a:lnTo>
                    <a:lnTo>
                      <a:pt x="5" y="143"/>
                    </a:lnTo>
                    <a:lnTo>
                      <a:pt x="5" y="143"/>
                    </a:lnTo>
                    <a:lnTo>
                      <a:pt x="3" y="144"/>
                    </a:lnTo>
                    <a:lnTo>
                      <a:pt x="3" y="144"/>
                    </a:lnTo>
                    <a:lnTo>
                      <a:pt x="1" y="144"/>
                    </a:lnTo>
                    <a:lnTo>
                      <a:pt x="1" y="144"/>
                    </a:lnTo>
                    <a:lnTo>
                      <a:pt x="1" y="154"/>
                    </a:lnTo>
                    <a:lnTo>
                      <a:pt x="1" y="154"/>
                    </a:lnTo>
                    <a:lnTo>
                      <a:pt x="3" y="157"/>
                    </a:lnTo>
                    <a:lnTo>
                      <a:pt x="3" y="157"/>
                    </a:lnTo>
                    <a:lnTo>
                      <a:pt x="1" y="159"/>
                    </a:lnTo>
                    <a:lnTo>
                      <a:pt x="1" y="159"/>
                    </a:lnTo>
                    <a:lnTo>
                      <a:pt x="0" y="159"/>
                    </a:lnTo>
                    <a:lnTo>
                      <a:pt x="0" y="159"/>
                    </a:lnTo>
                    <a:lnTo>
                      <a:pt x="3" y="162"/>
                    </a:lnTo>
                    <a:lnTo>
                      <a:pt x="3" y="162"/>
                    </a:lnTo>
                    <a:lnTo>
                      <a:pt x="5" y="162"/>
                    </a:lnTo>
                    <a:lnTo>
                      <a:pt x="5" y="162"/>
                    </a:lnTo>
                    <a:lnTo>
                      <a:pt x="6" y="160"/>
                    </a:lnTo>
                    <a:lnTo>
                      <a:pt x="6" y="160"/>
                    </a:lnTo>
                    <a:lnTo>
                      <a:pt x="13" y="160"/>
                    </a:lnTo>
                    <a:lnTo>
                      <a:pt x="13" y="160"/>
                    </a:lnTo>
                    <a:lnTo>
                      <a:pt x="21" y="160"/>
                    </a:lnTo>
                    <a:lnTo>
                      <a:pt x="21" y="160"/>
                    </a:lnTo>
                    <a:lnTo>
                      <a:pt x="27" y="160"/>
                    </a:lnTo>
                    <a:lnTo>
                      <a:pt x="27" y="160"/>
                    </a:lnTo>
                    <a:lnTo>
                      <a:pt x="30" y="160"/>
                    </a:lnTo>
                    <a:lnTo>
                      <a:pt x="30" y="160"/>
                    </a:lnTo>
                    <a:lnTo>
                      <a:pt x="41" y="160"/>
                    </a:lnTo>
                    <a:lnTo>
                      <a:pt x="41" y="160"/>
                    </a:lnTo>
                    <a:lnTo>
                      <a:pt x="49" y="160"/>
                    </a:lnTo>
                    <a:lnTo>
                      <a:pt x="49" y="160"/>
                    </a:lnTo>
                    <a:lnTo>
                      <a:pt x="51" y="160"/>
                    </a:lnTo>
                    <a:lnTo>
                      <a:pt x="51" y="160"/>
                    </a:lnTo>
                    <a:lnTo>
                      <a:pt x="54" y="162"/>
                    </a:lnTo>
                    <a:lnTo>
                      <a:pt x="54" y="162"/>
                    </a:lnTo>
                    <a:lnTo>
                      <a:pt x="55" y="163"/>
                    </a:lnTo>
                    <a:lnTo>
                      <a:pt x="55" y="163"/>
                    </a:lnTo>
                    <a:lnTo>
                      <a:pt x="57" y="167"/>
                    </a:lnTo>
                    <a:lnTo>
                      <a:pt x="57" y="167"/>
                    </a:lnTo>
                    <a:lnTo>
                      <a:pt x="57" y="170"/>
                    </a:lnTo>
                    <a:lnTo>
                      <a:pt x="57" y="170"/>
                    </a:lnTo>
                    <a:lnTo>
                      <a:pt x="57" y="171"/>
                    </a:lnTo>
                    <a:lnTo>
                      <a:pt x="57" y="171"/>
                    </a:lnTo>
                    <a:lnTo>
                      <a:pt x="57" y="173"/>
                    </a:lnTo>
                    <a:lnTo>
                      <a:pt x="57" y="173"/>
                    </a:lnTo>
                    <a:lnTo>
                      <a:pt x="59" y="174"/>
                    </a:lnTo>
                    <a:lnTo>
                      <a:pt x="59" y="174"/>
                    </a:lnTo>
                    <a:lnTo>
                      <a:pt x="60" y="178"/>
                    </a:lnTo>
                    <a:lnTo>
                      <a:pt x="60" y="178"/>
                    </a:lnTo>
                    <a:lnTo>
                      <a:pt x="60" y="181"/>
                    </a:lnTo>
                    <a:lnTo>
                      <a:pt x="60" y="181"/>
                    </a:lnTo>
                    <a:lnTo>
                      <a:pt x="60" y="181"/>
                    </a:lnTo>
                    <a:lnTo>
                      <a:pt x="60" y="181"/>
                    </a:lnTo>
                    <a:lnTo>
                      <a:pt x="62" y="184"/>
                    </a:lnTo>
                    <a:lnTo>
                      <a:pt x="62" y="184"/>
                    </a:lnTo>
                    <a:lnTo>
                      <a:pt x="65" y="189"/>
                    </a:lnTo>
                    <a:lnTo>
                      <a:pt x="65" y="189"/>
                    </a:lnTo>
                    <a:lnTo>
                      <a:pt x="65" y="190"/>
                    </a:lnTo>
                    <a:lnTo>
                      <a:pt x="65" y="190"/>
                    </a:lnTo>
                    <a:lnTo>
                      <a:pt x="68" y="192"/>
                    </a:lnTo>
                    <a:lnTo>
                      <a:pt x="68" y="192"/>
                    </a:lnTo>
                    <a:lnTo>
                      <a:pt x="68" y="192"/>
                    </a:lnTo>
                    <a:lnTo>
                      <a:pt x="68" y="192"/>
                    </a:lnTo>
                    <a:lnTo>
                      <a:pt x="74" y="192"/>
                    </a:lnTo>
                    <a:lnTo>
                      <a:pt x="74" y="192"/>
                    </a:lnTo>
                    <a:lnTo>
                      <a:pt x="78" y="192"/>
                    </a:lnTo>
                    <a:lnTo>
                      <a:pt x="78" y="192"/>
                    </a:lnTo>
                    <a:lnTo>
                      <a:pt x="81" y="190"/>
                    </a:lnTo>
                    <a:lnTo>
                      <a:pt x="81" y="190"/>
                    </a:lnTo>
                    <a:lnTo>
                      <a:pt x="90" y="192"/>
                    </a:lnTo>
                    <a:lnTo>
                      <a:pt x="90" y="192"/>
                    </a:lnTo>
                    <a:lnTo>
                      <a:pt x="90" y="189"/>
                    </a:lnTo>
                    <a:lnTo>
                      <a:pt x="90" y="189"/>
                    </a:lnTo>
                    <a:lnTo>
                      <a:pt x="90" y="187"/>
                    </a:lnTo>
                    <a:lnTo>
                      <a:pt x="90" y="187"/>
                    </a:lnTo>
                    <a:lnTo>
                      <a:pt x="92" y="187"/>
                    </a:lnTo>
                    <a:lnTo>
                      <a:pt x="92" y="187"/>
                    </a:lnTo>
                    <a:lnTo>
                      <a:pt x="94" y="184"/>
                    </a:lnTo>
                    <a:lnTo>
                      <a:pt x="94" y="184"/>
                    </a:lnTo>
                    <a:lnTo>
                      <a:pt x="94" y="184"/>
                    </a:lnTo>
                    <a:lnTo>
                      <a:pt x="94" y="184"/>
                    </a:lnTo>
                    <a:lnTo>
                      <a:pt x="94" y="181"/>
                    </a:lnTo>
                    <a:lnTo>
                      <a:pt x="94" y="181"/>
                    </a:lnTo>
                    <a:lnTo>
                      <a:pt x="94" y="178"/>
                    </a:lnTo>
                    <a:lnTo>
                      <a:pt x="94" y="178"/>
                    </a:lnTo>
                    <a:lnTo>
                      <a:pt x="97" y="178"/>
                    </a:lnTo>
                    <a:lnTo>
                      <a:pt x="97" y="178"/>
                    </a:lnTo>
                    <a:lnTo>
                      <a:pt x="103" y="178"/>
                    </a:lnTo>
                    <a:lnTo>
                      <a:pt x="103" y="178"/>
                    </a:lnTo>
                    <a:lnTo>
                      <a:pt x="103" y="176"/>
                    </a:lnTo>
                    <a:lnTo>
                      <a:pt x="103" y="176"/>
                    </a:lnTo>
                    <a:lnTo>
                      <a:pt x="106" y="176"/>
                    </a:lnTo>
                    <a:lnTo>
                      <a:pt x="106" y="176"/>
                    </a:lnTo>
                    <a:lnTo>
                      <a:pt x="106" y="181"/>
                    </a:lnTo>
                    <a:lnTo>
                      <a:pt x="106" y="181"/>
                    </a:lnTo>
                    <a:lnTo>
                      <a:pt x="106" y="181"/>
                    </a:lnTo>
                    <a:lnTo>
                      <a:pt x="106" y="181"/>
                    </a:lnTo>
                    <a:lnTo>
                      <a:pt x="108" y="181"/>
                    </a:lnTo>
                    <a:lnTo>
                      <a:pt x="108" y="181"/>
                    </a:lnTo>
                    <a:lnTo>
                      <a:pt x="109" y="181"/>
                    </a:lnTo>
                    <a:lnTo>
                      <a:pt x="109" y="181"/>
                    </a:lnTo>
                    <a:lnTo>
                      <a:pt x="117" y="181"/>
                    </a:lnTo>
                    <a:lnTo>
                      <a:pt x="117" y="181"/>
                    </a:lnTo>
                    <a:lnTo>
                      <a:pt x="121" y="181"/>
                    </a:lnTo>
                    <a:lnTo>
                      <a:pt x="121" y="181"/>
                    </a:lnTo>
                    <a:lnTo>
                      <a:pt x="122" y="184"/>
                    </a:lnTo>
                    <a:lnTo>
                      <a:pt x="122" y="184"/>
                    </a:lnTo>
                    <a:lnTo>
                      <a:pt x="122" y="184"/>
                    </a:lnTo>
                    <a:lnTo>
                      <a:pt x="122" y="184"/>
                    </a:lnTo>
                    <a:lnTo>
                      <a:pt x="121" y="190"/>
                    </a:lnTo>
                    <a:lnTo>
                      <a:pt x="121" y="190"/>
                    </a:lnTo>
                    <a:lnTo>
                      <a:pt x="122" y="195"/>
                    </a:lnTo>
                    <a:lnTo>
                      <a:pt x="122" y="195"/>
                    </a:lnTo>
                    <a:lnTo>
                      <a:pt x="122" y="197"/>
                    </a:lnTo>
                    <a:lnTo>
                      <a:pt x="122" y="197"/>
                    </a:lnTo>
                    <a:lnTo>
                      <a:pt x="122" y="203"/>
                    </a:lnTo>
                    <a:lnTo>
                      <a:pt x="122" y="203"/>
                    </a:lnTo>
                    <a:lnTo>
                      <a:pt x="122" y="209"/>
                    </a:lnTo>
                    <a:lnTo>
                      <a:pt x="122" y="209"/>
                    </a:lnTo>
                    <a:lnTo>
                      <a:pt x="122" y="211"/>
                    </a:lnTo>
                    <a:lnTo>
                      <a:pt x="122" y="211"/>
                    </a:lnTo>
                    <a:lnTo>
                      <a:pt x="122" y="216"/>
                    </a:lnTo>
                    <a:lnTo>
                      <a:pt x="122" y="216"/>
                    </a:lnTo>
                    <a:lnTo>
                      <a:pt x="125" y="219"/>
                    </a:lnTo>
                    <a:lnTo>
                      <a:pt x="125" y="219"/>
                    </a:lnTo>
                    <a:lnTo>
                      <a:pt x="127" y="224"/>
                    </a:lnTo>
                    <a:lnTo>
                      <a:pt x="127" y="224"/>
                    </a:lnTo>
                    <a:lnTo>
                      <a:pt x="127" y="230"/>
                    </a:lnTo>
                    <a:lnTo>
                      <a:pt x="127" y="230"/>
                    </a:lnTo>
                    <a:lnTo>
                      <a:pt x="127" y="233"/>
                    </a:lnTo>
                    <a:lnTo>
                      <a:pt x="127" y="233"/>
                    </a:lnTo>
                    <a:lnTo>
                      <a:pt x="127" y="235"/>
                    </a:lnTo>
                    <a:lnTo>
                      <a:pt x="127" y="235"/>
                    </a:lnTo>
                    <a:lnTo>
                      <a:pt x="127" y="236"/>
                    </a:lnTo>
                    <a:lnTo>
                      <a:pt x="127" y="236"/>
                    </a:lnTo>
                    <a:lnTo>
                      <a:pt x="127" y="240"/>
                    </a:lnTo>
                    <a:lnTo>
                      <a:pt x="127" y="240"/>
                    </a:lnTo>
                    <a:lnTo>
                      <a:pt x="128" y="238"/>
                    </a:lnTo>
                    <a:lnTo>
                      <a:pt x="128" y="238"/>
                    </a:lnTo>
                    <a:lnTo>
                      <a:pt x="132" y="236"/>
                    </a:lnTo>
                    <a:lnTo>
                      <a:pt x="132" y="236"/>
                    </a:lnTo>
                    <a:lnTo>
                      <a:pt x="135" y="236"/>
                    </a:lnTo>
                    <a:lnTo>
                      <a:pt x="135" y="236"/>
                    </a:lnTo>
                    <a:lnTo>
                      <a:pt x="135" y="236"/>
                    </a:lnTo>
                    <a:lnTo>
                      <a:pt x="135" y="236"/>
                    </a:lnTo>
                    <a:lnTo>
                      <a:pt x="138" y="236"/>
                    </a:lnTo>
                    <a:lnTo>
                      <a:pt x="138" y="236"/>
                    </a:lnTo>
                    <a:lnTo>
                      <a:pt x="141" y="236"/>
                    </a:lnTo>
                    <a:lnTo>
                      <a:pt x="141" y="236"/>
                    </a:lnTo>
                    <a:lnTo>
                      <a:pt x="143" y="235"/>
                    </a:lnTo>
                    <a:lnTo>
                      <a:pt x="143" y="235"/>
                    </a:lnTo>
                    <a:lnTo>
                      <a:pt x="146" y="235"/>
                    </a:lnTo>
                    <a:lnTo>
                      <a:pt x="146" y="235"/>
                    </a:lnTo>
                    <a:lnTo>
                      <a:pt x="148" y="235"/>
                    </a:lnTo>
                    <a:lnTo>
                      <a:pt x="148" y="235"/>
                    </a:lnTo>
                    <a:lnTo>
                      <a:pt x="149" y="233"/>
                    </a:lnTo>
                    <a:lnTo>
                      <a:pt x="149" y="233"/>
                    </a:lnTo>
                    <a:lnTo>
                      <a:pt x="151" y="235"/>
                    </a:lnTo>
                    <a:lnTo>
                      <a:pt x="151" y="235"/>
                    </a:lnTo>
                    <a:lnTo>
                      <a:pt x="152" y="236"/>
                    </a:lnTo>
                    <a:lnTo>
                      <a:pt x="152" y="236"/>
                    </a:lnTo>
                    <a:lnTo>
                      <a:pt x="154" y="236"/>
                    </a:lnTo>
                    <a:lnTo>
                      <a:pt x="154" y="236"/>
                    </a:lnTo>
                    <a:lnTo>
                      <a:pt x="154" y="238"/>
                    </a:lnTo>
                    <a:lnTo>
                      <a:pt x="154" y="238"/>
                    </a:lnTo>
                    <a:lnTo>
                      <a:pt x="152" y="241"/>
                    </a:lnTo>
                    <a:lnTo>
                      <a:pt x="152" y="241"/>
                    </a:lnTo>
                    <a:lnTo>
                      <a:pt x="157" y="241"/>
                    </a:lnTo>
                    <a:lnTo>
                      <a:pt x="157" y="241"/>
                    </a:lnTo>
                    <a:lnTo>
                      <a:pt x="159" y="240"/>
                    </a:lnTo>
                    <a:lnTo>
                      <a:pt x="159" y="240"/>
                    </a:lnTo>
                    <a:lnTo>
                      <a:pt x="167" y="238"/>
                    </a:lnTo>
                    <a:lnTo>
                      <a:pt x="167" y="238"/>
                    </a:lnTo>
                    <a:lnTo>
                      <a:pt x="167" y="241"/>
                    </a:lnTo>
                    <a:lnTo>
                      <a:pt x="167" y="241"/>
                    </a:lnTo>
                    <a:lnTo>
                      <a:pt x="167" y="244"/>
                    </a:lnTo>
                    <a:lnTo>
                      <a:pt x="167" y="244"/>
                    </a:lnTo>
                    <a:lnTo>
                      <a:pt x="167" y="246"/>
                    </a:lnTo>
                    <a:lnTo>
                      <a:pt x="167" y="246"/>
                    </a:lnTo>
                    <a:lnTo>
                      <a:pt x="170" y="246"/>
                    </a:lnTo>
                    <a:lnTo>
                      <a:pt x="170" y="246"/>
                    </a:lnTo>
                    <a:lnTo>
                      <a:pt x="173" y="247"/>
                    </a:lnTo>
                    <a:lnTo>
                      <a:pt x="173" y="247"/>
                    </a:lnTo>
                    <a:lnTo>
                      <a:pt x="176" y="247"/>
                    </a:lnTo>
                    <a:lnTo>
                      <a:pt x="176" y="247"/>
                    </a:lnTo>
                    <a:lnTo>
                      <a:pt x="178" y="247"/>
                    </a:lnTo>
                    <a:lnTo>
                      <a:pt x="178" y="247"/>
                    </a:lnTo>
                    <a:lnTo>
                      <a:pt x="184" y="251"/>
                    </a:lnTo>
                    <a:lnTo>
                      <a:pt x="184" y="251"/>
                    </a:lnTo>
                    <a:lnTo>
                      <a:pt x="186" y="247"/>
                    </a:lnTo>
                    <a:lnTo>
                      <a:pt x="186" y="247"/>
                    </a:lnTo>
                    <a:lnTo>
                      <a:pt x="187" y="246"/>
                    </a:lnTo>
                    <a:lnTo>
                      <a:pt x="187" y="246"/>
                    </a:lnTo>
                    <a:lnTo>
                      <a:pt x="189" y="244"/>
                    </a:lnTo>
                    <a:lnTo>
                      <a:pt x="189" y="244"/>
                    </a:lnTo>
                    <a:lnTo>
                      <a:pt x="192" y="247"/>
                    </a:lnTo>
                    <a:lnTo>
                      <a:pt x="192" y="247"/>
                    </a:lnTo>
                    <a:lnTo>
                      <a:pt x="194" y="251"/>
                    </a:lnTo>
                    <a:lnTo>
                      <a:pt x="194" y="251"/>
                    </a:lnTo>
                    <a:lnTo>
                      <a:pt x="195" y="254"/>
                    </a:lnTo>
                    <a:lnTo>
                      <a:pt x="195" y="254"/>
                    </a:lnTo>
                    <a:lnTo>
                      <a:pt x="197" y="254"/>
                    </a:lnTo>
                    <a:lnTo>
                      <a:pt x="197" y="254"/>
                    </a:lnTo>
                    <a:lnTo>
                      <a:pt x="198" y="254"/>
                    </a:lnTo>
                    <a:lnTo>
                      <a:pt x="198" y="254"/>
                    </a:lnTo>
                    <a:lnTo>
                      <a:pt x="202" y="254"/>
                    </a:lnTo>
                    <a:lnTo>
                      <a:pt x="202" y="254"/>
                    </a:lnTo>
                    <a:lnTo>
                      <a:pt x="202" y="255"/>
                    </a:lnTo>
                    <a:lnTo>
                      <a:pt x="202" y="255"/>
                    </a:lnTo>
                    <a:lnTo>
                      <a:pt x="205" y="255"/>
                    </a:lnTo>
                    <a:lnTo>
                      <a:pt x="205" y="255"/>
                    </a:lnTo>
                    <a:lnTo>
                      <a:pt x="205" y="257"/>
                    </a:lnTo>
                    <a:lnTo>
                      <a:pt x="205" y="257"/>
                    </a:lnTo>
                    <a:lnTo>
                      <a:pt x="205" y="259"/>
                    </a:lnTo>
                    <a:lnTo>
                      <a:pt x="205" y="259"/>
                    </a:lnTo>
                    <a:lnTo>
                      <a:pt x="205" y="260"/>
                    </a:lnTo>
                    <a:lnTo>
                      <a:pt x="205" y="260"/>
                    </a:lnTo>
                    <a:lnTo>
                      <a:pt x="208" y="263"/>
                    </a:lnTo>
                    <a:lnTo>
                      <a:pt x="208" y="263"/>
                    </a:lnTo>
                    <a:lnTo>
                      <a:pt x="211" y="268"/>
                    </a:lnTo>
                    <a:lnTo>
                      <a:pt x="211" y="268"/>
                    </a:lnTo>
                    <a:lnTo>
                      <a:pt x="213" y="268"/>
                    </a:lnTo>
                    <a:lnTo>
                      <a:pt x="213" y="268"/>
                    </a:lnTo>
                    <a:lnTo>
                      <a:pt x="216" y="268"/>
                    </a:lnTo>
                    <a:lnTo>
                      <a:pt x="216" y="268"/>
                    </a:lnTo>
                    <a:lnTo>
                      <a:pt x="219" y="268"/>
                    </a:lnTo>
                    <a:lnTo>
                      <a:pt x="219" y="268"/>
                    </a:lnTo>
                    <a:lnTo>
                      <a:pt x="221" y="268"/>
                    </a:lnTo>
                    <a:lnTo>
                      <a:pt x="221" y="268"/>
                    </a:lnTo>
                    <a:lnTo>
                      <a:pt x="221" y="268"/>
                    </a:lnTo>
                    <a:lnTo>
                      <a:pt x="221" y="268"/>
                    </a:lnTo>
                    <a:lnTo>
                      <a:pt x="222" y="271"/>
                    </a:lnTo>
                    <a:lnTo>
                      <a:pt x="222" y="271"/>
                    </a:lnTo>
                    <a:lnTo>
                      <a:pt x="222" y="268"/>
                    </a:lnTo>
                    <a:lnTo>
                      <a:pt x="222" y="268"/>
                    </a:lnTo>
                    <a:lnTo>
                      <a:pt x="222" y="267"/>
                    </a:lnTo>
                    <a:lnTo>
                      <a:pt x="222" y="267"/>
                    </a:lnTo>
                    <a:lnTo>
                      <a:pt x="222" y="251"/>
                    </a:lnTo>
                    <a:lnTo>
                      <a:pt x="222" y="251"/>
                    </a:lnTo>
                    <a:lnTo>
                      <a:pt x="219" y="254"/>
                    </a:lnTo>
                    <a:lnTo>
                      <a:pt x="219" y="254"/>
                    </a:lnTo>
                    <a:lnTo>
                      <a:pt x="217" y="254"/>
                    </a:lnTo>
                    <a:lnTo>
                      <a:pt x="217" y="254"/>
                    </a:lnTo>
                    <a:lnTo>
                      <a:pt x="217" y="255"/>
                    </a:lnTo>
                    <a:lnTo>
                      <a:pt x="217" y="255"/>
                    </a:lnTo>
                    <a:lnTo>
                      <a:pt x="214" y="254"/>
                    </a:lnTo>
                    <a:lnTo>
                      <a:pt x="214" y="254"/>
                    </a:lnTo>
                    <a:lnTo>
                      <a:pt x="211" y="254"/>
                    </a:lnTo>
                    <a:lnTo>
                      <a:pt x="211" y="254"/>
                    </a:lnTo>
                    <a:lnTo>
                      <a:pt x="205" y="247"/>
                    </a:lnTo>
                    <a:lnTo>
                      <a:pt x="205" y="247"/>
                    </a:lnTo>
                    <a:lnTo>
                      <a:pt x="205" y="243"/>
                    </a:lnTo>
                    <a:lnTo>
                      <a:pt x="205" y="243"/>
                    </a:lnTo>
                    <a:lnTo>
                      <a:pt x="205" y="238"/>
                    </a:lnTo>
                    <a:lnTo>
                      <a:pt x="205" y="238"/>
                    </a:lnTo>
                    <a:lnTo>
                      <a:pt x="208" y="233"/>
                    </a:lnTo>
                    <a:lnTo>
                      <a:pt x="208" y="233"/>
                    </a:lnTo>
                    <a:lnTo>
                      <a:pt x="208" y="230"/>
                    </a:lnTo>
                    <a:lnTo>
                      <a:pt x="208" y="230"/>
                    </a:lnTo>
                    <a:lnTo>
                      <a:pt x="208" y="222"/>
                    </a:lnTo>
                    <a:lnTo>
                      <a:pt x="208" y="222"/>
                    </a:lnTo>
                    <a:lnTo>
                      <a:pt x="208" y="216"/>
                    </a:lnTo>
                    <a:lnTo>
                      <a:pt x="208" y="216"/>
                    </a:lnTo>
                    <a:lnTo>
                      <a:pt x="208" y="213"/>
                    </a:lnTo>
                    <a:lnTo>
                      <a:pt x="208" y="213"/>
                    </a:lnTo>
                    <a:lnTo>
                      <a:pt x="205" y="211"/>
                    </a:lnTo>
                    <a:lnTo>
                      <a:pt x="205" y="211"/>
                    </a:lnTo>
                    <a:lnTo>
                      <a:pt x="208" y="208"/>
                    </a:lnTo>
                    <a:lnTo>
                      <a:pt x="208" y="208"/>
                    </a:lnTo>
                    <a:lnTo>
                      <a:pt x="209" y="205"/>
                    </a:lnTo>
                    <a:lnTo>
                      <a:pt x="209" y="205"/>
                    </a:lnTo>
                    <a:lnTo>
                      <a:pt x="211" y="203"/>
                    </a:lnTo>
                    <a:lnTo>
                      <a:pt x="211" y="203"/>
                    </a:lnTo>
                    <a:lnTo>
                      <a:pt x="211" y="198"/>
                    </a:lnTo>
                    <a:lnTo>
                      <a:pt x="211" y="198"/>
                    </a:lnTo>
                    <a:lnTo>
                      <a:pt x="233" y="195"/>
                    </a:lnTo>
                    <a:lnTo>
                      <a:pt x="233" y="195"/>
                    </a:lnTo>
                    <a:lnTo>
                      <a:pt x="233" y="192"/>
                    </a:lnTo>
                    <a:lnTo>
                      <a:pt x="233" y="192"/>
                    </a:lnTo>
                    <a:lnTo>
                      <a:pt x="232" y="190"/>
                    </a:lnTo>
                    <a:lnTo>
                      <a:pt x="232" y="190"/>
                    </a:lnTo>
                    <a:lnTo>
                      <a:pt x="230" y="189"/>
                    </a:lnTo>
                    <a:lnTo>
                      <a:pt x="230" y="189"/>
                    </a:lnTo>
                    <a:lnTo>
                      <a:pt x="230" y="187"/>
                    </a:lnTo>
                    <a:lnTo>
                      <a:pt x="230" y="187"/>
                    </a:lnTo>
                    <a:lnTo>
                      <a:pt x="228" y="184"/>
                    </a:lnTo>
                    <a:lnTo>
                      <a:pt x="228" y="184"/>
                    </a:lnTo>
                    <a:lnTo>
                      <a:pt x="225" y="181"/>
                    </a:lnTo>
                    <a:lnTo>
                      <a:pt x="225" y="181"/>
                    </a:lnTo>
                    <a:lnTo>
                      <a:pt x="224" y="178"/>
                    </a:lnTo>
                    <a:lnTo>
                      <a:pt x="224" y="178"/>
                    </a:lnTo>
                    <a:lnTo>
                      <a:pt x="221" y="176"/>
                    </a:lnTo>
                    <a:lnTo>
                      <a:pt x="221" y="176"/>
                    </a:lnTo>
                    <a:lnTo>
                      <a:pt x="216" y="163"/>
                    </a:lnTo>
                    <a:lnTo>
                      <a:pt x="216" y="163"/>
                    </a:lnTo>
                    <a:lnTo>
                      <a:pt x="216" y="162"/>
                    </a:lnTo>
                    <a:lnTo>
                      <a:pt x="216" y="162"/>
                    </a:lnTo>
                    <a:lnTo>
                      <a:pt x="217" y="159"/>
                    </a:lnTo>
                    <a:lnTo>
                      <a:pt x="217" y="159"/>
                    </a:lnTo>
                    <a:lnTo>
                      <a:pt x="217" y="157"/>
                    </a:lnTo>
                    <a:lnTo>
                      <a:pt x="217" y="157"/>
                    </a:lnTo>
                    <a:lnTo>
                      <a:pt x="216" y="155"/>
                    </a:lnTo>
                    <a:lnTo>
                      <a:pt x="216" y="155"/>
                    </a:lnTo>
                    <a:lnTo>
                      <a:pt x="216" y="152"/>
                    </a:lnTo>
                    <a:lnTo>
                      <a:pt x="216" y="152"/>
                    </a:lnTo>
                    <a:lnTo>
                      <a:pt x="214" y="147"/>
                    </a:lnTo>
                    <a:lnTo>
                      <a:pt x="214" y="147"/>
                    </a:lnTo>
                    <a:lnTo>
                      <a:pt x="216" y="141"/>
                    </a:lnTo>
                    <a:lnTo>
                      <a:pt x="216" y="141"/>
                    </a:lnTo>
                    <a:lnTo>
                      <a:pt x="216" y="138"/>
                    </a:lnTo>
                    <a:lnTo>
                      <a:pt x="216" y="138"/>
                    </a:lnTo>
                    <a:lnTo>
                      <a:pt x="214" y="140"/>
                    </a:lnTo>
                    <a:lnTo>
                      <a:pt x="214" y="140"/>
                    </a:lnTo>
                    <a:lnTo>
                      <a:pt x="216" y="135"/>
                    </a:lnTo>
                    <a:lnTo>
                      <a:pt x="216" y="135"/>
                    </a:lnTo>
                    <a:lnTo>
                      <a:pt x="216" y="132"/>
                    </a:lnTo>
                    <a:lnTo>
                      <a:pt x="216" y="132"/>
                    </a:lnTo>
                    <a:lnTo>
                      <a:pt x="214" y="128"/>
                    </a:lnTo>
                    <a:lnTo>
                      <a:pt x="214" y="128"/>
                    </a:lnTo>
                    <a:lnTo>
                      <a:pt x="216" y="125"/>
                    </a:lnTo>
                    <a:lnTo>
                      <a:pt x="216" y="125"/>
                    </a:lnTo>
                    <a:lnTo>
                      <a:pt x="216" y="122"/>
                    </a:lnTo>
                    <a:lnTo>
                      <a:pt x="216" y="122"/>
                    </a:lnTo>
                    <a:lnTo>
                      <a:pt x="216" y="120"/>
                    </a:lnTo>
                    <a:lnTo>
                      <a:pt x="216" y="120"/>
                    </a:lnTo>
                    <a:lnTo>
                      <a:pt x="214" y="117"/>
                    </a:lnTo>
                    <a:lnTo>
                      <a:pt x="214" y="117"/>
                    </a:lnTo>
                    <a:lnTo>
                      <a:pt x="214" y="116"/>
                    </a:lnTo>
                    <a:lnTo>
                      <a:pt x="214" y="116"/>
                    </a:lnTo>
                    <a:lnTo>
                      <a:pt x="213" y="114"/>
                    </a:lnTo>
                    <a:lnTo>
                      <a:pt x="213" y="114"/>
                    </a:lnTo>
                    <a:lnTo>
                      <a:pt x="213" y="113"/>
                    </a:lnTo>
                    <a:lnTo>
                      <a:pt x="213" y="113"/>
                    </a:lnTo>
                    <a:lnTo>
                      <a:pt x="213" y="111"/>
                    </a:lnTo>
                    <a:lnTo>
                      <a:pt x="213" y="111"/>
                    </a:lnTo>
                    <a:lnTo>
                      <a:pt x="214" y="108"/>
                    </a:lnTo>
                    <a:lnTo>
                      <a:pt x="214" y="108"/>
                    </a:lnTo>
                    <a:lnTo>
                      <a:pt x="216" y="106"/>
                    </a:lnTo>
                    <a:lnTo>
                      <a:pt x="216" y="106"/>
                    </a:lnTo>
                    <a:lnTo>
                      <a:pt x="216" y="103"/>
                    </a:lnTo>
                    <a:lnTo>
                      <a:pt x="217" y="100"/>
                    </a:lnTo>
                    <a:lnTo>
                      <a:pt x="217" y="100"/>
                    </a:lnTo>
                    <a:lnTo>
                      <a:pt x="217" y="97"/>
                    </a:lnTo>
                    <a:lnTo>
                      <a:pt x="217" y="97"/>
                    </a:lnTo>
                    <a:lnTo>
                      <a:pt x="221" y="97"/>
                    </a:lnTo>
                    <a:lnTo>
                      <a:pt x="221" y="97"/>
                    </a:lnTo>
                    <a:lnTo>
                      <a:pt x="222" y="93"/>
                    </a:lnTo>
                    <a:lnTo>
                      <a:pt x="222" y="93"/>
                    </a:lnTo>
                    <a:lnTo>
                      <a:pt x="222" y="90"/>
                    </a:lnTo>
                    <a:lnTo>
                      <a:pt x="222" y="90"/>
                    </a:lnTo>
                    <a:lnTo>
                      <a:pt x="222" y="84"/>
                    </a:lnTo>
                    <a:lnTo>
                      <a:pt x="222" y="84"/>
                    </a:lnTo>
                    <a:lnTo>
                      <a:pt x="224" y="78"/>
                    </a:lnTo>
                    <a:lnTo>
                      <a:pt x="224" y="78"/>
                    </a:lnTo>
                    <a:lnTo>
                      <a:pt x="225" y="70"/>
                    </a:lnTo>
                    <a:lnTo>
                      <a:pt x="225" y="70"/>
                    </a:lnTo>
                    <a:lnTo>
                      <a:pt x="227" y="68"/>
                    </a:lnTo>
                    <a:lnTo>
                      <a:pt x="227" y="68"/>
                    </a:lnTo>
                    <a:lnTo>
                      <a:pt x="227" y="65"/>
                    </a:lnTo>
                    <a:lnTo>
                      <a:pt x="227" y="65"/>
                    </a:lnTo>
                    <a:lnTo>
                      <a:pt x="227" y="63"/>
                    </a:lnTo>
                    <a:lnTo>
                      <a:pt x="227" y="63"/>
                    </a:lnTo>
                    <a:lnTo>
                      <a:pt x="228" y="63"/>
                    </a:lnTo>
                    <a:lnTo>
                      <a:pt x="228" y="63"/>
                    </a:lnTo>
                    <a:lnTo>
                      <a:pt x="233" y="59"/>
                    </a:lnTo>
                    <a:lnTo>
                      <a:pt x="233" y="59"/>
                    </a:lnTo>
                    <a:lnTo>
                      <a:pt x="240" y="54"/>
                    </a:lnTo>
                    <a:lnTo>
                      <a:pt x="240" y="54"/>
                    </a:lnTo>
                    <a:lnTo>
                      <a:pt x="243" y="51"/>
                    </a:lnTo>
                    <a:lnTo>
                      <a:pt x="243" y="51"/>
                    </a:lnTo>
                    <a:lnTo>
                      <a:pt x="243" y="46"/>
                    </a:lnTo>
                    <a:lnTo>
                      <a:pt x="243" y="46"/>
                    </a:lnTo>
                    <a:lnTo>
                      <a:pt x="243" y="44"/>
                    </a:lnTo>
                    <a:lnTo>
                      <a:pt x="243" y="44"/>
                    </a:lnTo>
                    <a:lnTo>
                      <a:pt x="240" y="43"/>
                    </a:lnTo>
                    <a:lnTo>
                      <a:pt x="240" y="43"/>
                    </a:lnTo>
                    <a:lnTo>
                      <a:pt x="236" y="43"/>
                    </a:lnTo>
                    <a:lnTo>
                      <a:pt x="236" y="43"/>
                    </a:lnTo>
                    <a:lnTo>
                      <a:pt x="236" y="41"/>
                    </a:lnTo>
                    <a:lnTo>
                      <a:pt x="236" y="41"/>
                    </a:lnTo>
                    <a:lnTo>
                      <a:pt x="236" y="38"/>
                    </a:lnTo>
                    <a:lnTo>
                      <a:pt x="236" y="38"/>
                    </a:lnTo>
                    <a:lnTo>
                      <a:pt x="236" y="32"/>
                    </a:lnTo>
                    <a:lnTo>
                      <a:pt x="236" y="32"/>
                    </a:lnTo>
                    <a:lnTo>
                      <a:pt x="240" y="28"/>
                    </a:lnTo>
                    <a:lnTo>
                      <a:pt x="240" y="28"/>
                    </a:lnTo>
                    <a:lnTo>
                      <a:pt x="236" y="27"/>
                    </a:lnTo>
                    <a:lnTo>
                      <a:pt x="236" y="27"/>
                    </a:lnTo>
                    <a:lnTo>
                      <a:pt x="236" y="25"/>
                    </a:lnTo>
                    <a:lnTo>
                      <a:pt x="235" y="25"/>
                    </a:lnTo>
                    <a:lnTo>
                      <a:pt x="235" y="25"/>
                    </a:lnTo>
                    <a:lnTo>
                      <a:pt x="235" y="25"/>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38" name="Freeform 130">
                <a:extLst>
                  <a:ext uri="{FF2B5EF4-FFF2-40B4-BE49-F238E27FC236}">
                    <a16:creationId xmlns:a16="http://schemas.microsoft.com/office/drawing/2014/main" id="{6F6EB76F-7660-E7AF-4DB4-4ACB7B860BB6}"/>
                  </a:ext>
                </a:extLst>
              </p:cNvPr>
              <p:cNvSpPr>
                <a:spLocks/>
              </p:cNvSpPr>
              <p:nvPr/>
            </p:nvSpPr>
            <p:spPr bwMode="auto">
              <a:xfrm>
                <a:off x="6614811" y="3892767"/>
                <a:ext cx="154772" cy="181689"/>
              </a:xfrm>
              <a:custGeom>
                <a:avLst/>
                <a:gdLst>
                  <a:gd name="T0" fmla="*/ 15 w 69"/>
                  <a:gd name="T1" fmla="*/ 20 h 81"/>
                  <a:gd name="T2" fmla="*/ 15 w 69"/>
                  <a:gd name="T3" fmla="*/ 27 h 81"/>
                  <a:gd name="T4" fmla="*/ 20 w 69"/>
                  <a:gd name="T5" fmla="*/ 28 h 81"/>
                  <a:gd name="T6" fmla="*/ 20 w 69"/>
                  <a:gd name="T7" fmla="*/ 35 h 81"/>
                  <a:gd name="T8" fmla="*/ 11 w 69"/>
                  <a:gd name="T9" fmla="*/ 43 h 81"/>
                  <a:gd name="T10" fmla="*/ 4 w 69"/>
                  <a:gd name="T11" fmla="*/ 47 h 81"/>
                  <a:gd name="T12" fmla="*/ 4 w 69"/>
                  <a:gd name="T13" fmla="*/ 52 h 81"/>
                  <a:gd name="T14" fmla="*/ 1 w 69"/>
                  <a:gd name="T15" fmla="*/ 62 h 81"/>
                  <a:gd name="T16" fmla="*/ 1 w 69"/>
                  <a:gd name="T17" fmla="*/ 74 h 81"/>
                  <a:gd name="T18" fmla="*/ 0 w 69"/>
                  <a:gd name="T19" fmla="*/ 81 h 81"/>
                  <a:gd name="T20" fmla="*/ 1 w 69"/>
                  <a:gd name="T21" fmla="*/ 81 h 81"/>
                  <a:gd name="T22" fmla="*/ 3 w 69"/>
                  <a:gd name="T23" fmla="*/ 81 h 81"/>
                  <a:gd name="T24" fmla="*/ 7 w 69"/>
                  <a:gd name="T25" fmla="*/ 77 h 81"/>
                  <a:gd name="T26" fmla="*/ 11 w 69"/>
                  <a:gd name="T27" fmla="*/ 77 h 81"/>
                  <a:gd name="T28" fmla="*/ 12 w 69"/>
                  <a:gd name="T29" fmla="*/ 74 h 81"/>
                  <a:gd name="T30" fmla="*/ 27 w 69"/>
                  <a:gd name="T31" fmla="*/ 74 h 81"/>
                  <a:gd name="T32" fmla="*/ 28 w 69"/>
                  <a:gd name="T33" fmla="*/ 74 h 81"/>
                  <a:gd name="T34" fmla="*/ 28 w 69"/>
                  <a:gd name="T35" fmla="*/ 68 h 81"/>
                  <a:gd name="T36" fmla="*/ 28 w 69"/>
                  <a:gd name="T37" fmla="*/ 63 h 81"/>
                  <a:gd name="T38" fmla="*/ 31 w 69"/>
                  <a:gd name="T39" fmla="*/ 62 h 81"/>
                  <a:gd name="T40" fmla="*/ 36 w 69"/>
                  <a:gd name="T41" fmla="*/ 60 h 81"/>
                  <a:gd name="T42" fmla="*/ 38 w 69"/>
                  <a:gd name="T43" fmla="*/ 58 h 81"/>
                  <a:gd name="T44" fmla="*/ 42 w 69"/>
                  <a:gd name="T45" fmla="*/ 58 h 81"/>
                  <a:gd name="T46" fmla="*/ 46 w 69"/>
                  <a:gd name="T47" fmla="*/ 57 h 81"/>
                  <a:gd name="T48" fmla="*/ 46 w 69"/>
                  <a:gd name="T49" fmla="*/ 54 h 81"/>
                  <a:gd name="T50" fmla="*/ 49 w 69"/>
                  <a:gd name="T51" fmla="*/ 55 h 81"/>
                  <a:gd name="T52" fmla="*/ 50 w 69"/>
                  <a:gd name="T53" fmla="*/ 57 h 81"/>
                  <a:gd name="T54" fmla="*/ 52 w 69"/>
                  <a:gd name="T55" fmla="*/ 57 h 81"/>
                  <a:gd name="T56" fmla="*/ 55 w 69"/>
                  <a:gd name="T57" fmla="*/ 58 h 81"/>
                  <a:gd name="T58" fmla="*/ 60 w 69"/>
                  <a:gd name="T59" fmla="*/ 49 h 81"/>
                  <a:gd name="T60" fmla="*/ 63 w 69"/>
                  <a:gd name="T61" fmla="*/ 46 h 81"/>
                  <a:gd name="T62" fmla="*/ 66 w 69"/>
                  <a:gd name="T63" fmla="*/ 43 h 81"/>
                  <a:gd name="T64" fmla="*/ 68 w 69"/>
                  <a:gd name="T65" fmla="*/ 36 h 81"/>
                  <a:gd name="T66" fmla="*/ 68 w 69"/>
                  <a:gd name="T67" fmla="*/ 30 h 81"/>
                  <a:gd name="T68" fmla="*/ 66 w 69"/>
                  <a:gd name="T69" fmla="*/ 20 h 81"/>
                  <a:gd name="T70" fmla="*/ 60 w 69"/>
                  <a:gd name="T71" fmla="*/ 14 h 81"/>
                  <a:gd name="T72" fmla="*/ 60 w 69"/>
                  <a:gd name="T73" fmla="*/ 8 h 81"/>
                  <a:gd name="T74" fmla="*/ 57 w 69"/>
                  <a:gd name="T75" fmla="*/ 4 h 81"/>
                  <a:gd name="T76" fmla="*/ 57 w 69"/>
                  <a:gd name="T77" fmla="*/ 1 h 81"/>
                  <a:gd name="T78" fmla="*/ 54 w 69"/>
                  <a:gd name="T79" fmla="*/ 3 h 81"/>
                  <a:gd name="T80" fmla="*/ 49 w 69"/>
                  <a:gd name="T81" fmla="*/ 8 h 81"/>
                  <a:gd name="T82" fmla="*/ 47 w 69"/>
                  <a:gd name="T83" fmla="*/ 6 h 81"/>
                  <a:gd name="T84" fmla="*/ 44 w 69"/>
                  <a:gd name="T85" fmla="*/ 4 h 81"/>
                  <a:gd name="T86" fmla="*/ 41 w 69"/>
                  <a:gd name="T87" fmla="*/ 4 h 81"/>
                  <a:gd name="T88" fmla="*/ 34 w 69"/>
                  <a:gd name="T89" fmla="*/ 8 h 81"/>
                  <a:gd name="T90" fmla="*/ 31 w 69"/>
                  <a:gd name="T91" fmla="*/ 11 h 81"/>
                  <a:gd name="T92" fmla="*/ 28 w 69"/>
                  <a:gd name="T93" fmla="*/ 8 h 81"/>
                  <a:gd name="T94" fmla="*/ 25 w 69"/>
                  <a:gd name="T95" fmla="*/ 8 h 81"/>
                  <a:gd name="T96" fmla="*/ 22 w 69"/>
                  <a:gd name="T97" fmla="*/ 8 h 81"/>
                  <a:gd name="T98" fmla="*/ 20 w 69"/>
                  <a:gd name="T99" fmla="*/ 6 h 81"/>
                  <a:gd name="T100" fmla="*/ 17 w 69"/>
                  <a:gd name="T101" fmla="*/ 8 h 81"/>
                  <a:gd name="T102" fmla="*/ 17 w 69"/>
                  <a:gd name="T103" fmla="*/ 11 h 81"/>
                  <a:gd name="T104" fmla="*/ 15 w 69"/>
                  <a:gd name="T105" fmla="*/ 16 h 81"/>
                  <a:gd name="T106" fmla="*/ 15 w 69"/>
                  <a:gd name="T107" fmla="*/ 16 h 81"/>
                  <a:gd name="T108" fmla="*/ 15 w 69"/>
                  <a:gd name="T109" fmla="*/ 16 h 81"/>
                  <a:gd name="T110" fmla="*/ 15 w 69"/>
                  <a:gd name="T111" fmla="*/ 1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81">
                    <a:moveTo>
                      <a:pt x="15" y="16"/>
                    </a:moveTo>
                    <a:lnTo>
                      <a:pt x="15" y="20"/>
                    </a:lnTo>
                    <a:lnTo>
                      <a:pt x="14" y="25"/>
                    </a:lnTo>
                    <a:lnTo>
                      <a:pt x="15" y="27"/>
                    </a:lnTo>
                    <a:lnTo>
                      <a:pt x="17" y="27"/>
                    </a:lnTo>
                    <a:lnTo>
                      <a:pt x="20" y="28"/>
                    </a:lnTo>
                    <a:lnTo>
                      <a:pt x="22" y="30"/>
                    </a:lnTo>
                    <a:lnTo>
                      <a:pt x="20" y="35"/>
                    </a:lnTo>
                    <a:lnTo>
                      <a:pt x="17" y="36"/>
                    </a:lnTo>
                    <a:lnTo>
                      <a:pt x="11" y="43"/>
                    </a:lnTo>
                    <a:lnTo>
                      <a:pt x="6" y="47"/>
                    </a:lnTo>
                    <a:lnTo>
                      <a:pt x="4" y="47"/>
                    </a:lnTo>
                    <a:lnTo>
                      <a:pt x="4" y="49"/>
                    </a:lnTo>
                    <a:lnTo>
                      <a:pt x="4" y="52"/>
                    </a:lnTo>
                    <a:lnTo>
                      <a:pt x="3" y="54"/>
                    </a:lnTo>
                    <a:lnTo>
                      <a:pt x="1" y="62"/>
                    </a:lnTo>
                    <a:lnTo>
                      <a:pt x="1" y="68"/>
                    </a:lnTo>
                    <a:lnTo>
                      <a:pt x="1" y="74"/>
                    </a:lnTo>
                    <a:lnTo>
                      <a:pt x="1" y="77"/>
                    </a:lnTo>
                    <a:lnTo>
                      <a:pt x="0" y="81"/>
                    </a:lnTo>
                    <a:lnTo>
                      <a:pt x="1" y="81"/>
                    </a:lnTo>
                    <a:lnTo>
                      <a:pt x="1" y="81"/>
                    </a:lnTo>
                    <a:lnTo>
                      <a:pt x="3" y="81"/>
                    </a:lnTo>
                    <a:lnTo>
                      <a:pt x="3" y="81"/>
                    </a:lnTo>
                    <a:lnTo>
                      <a:pt x="4" y="81"/>
                    </a:lnTo>
                    <a:lnTo>
                      <a:pt x="7" y="77"/>
                    </a:lnTo>
                    <a:lnTo>
                      <a:pt x="9" y="77"/>
                    </a:lnTo>
                    <a:lnTo>
                      <a:pt x="11" y="77"/>
                    </a:lnTo>
                    <a:lnTo>
                      <a:pt x="12" y="76"/>
                    </a:lnTo>
                    <a:lnTo>
                      <a:pt x="12" y="74"/>
                    </a:lnTo>
                    <a:lnTo>
                      <a:pt x="20" y="74"/>
                    </a:lnTo>
                    <a:lnTo>
                      <a:pt x="27" y="74"/>
                    </a:lnTo>
                    <a:lnTo>
                      <a:pt x="28" y="74"/>
                    </a:lnTo>
                    <a:lnTo>
                      <a:pt x="28" y="74"/>
                    </a:lnTo>
                    <a:lnTo>
                      <a:pt x="28" y="71"/>
                    </a:lnTo>
                    <a:lnTo>
                      <a:pt x="28" y="68"/>
                    </a:lnTo>
                    <a:lnTo>
                      <a:pt x="31" y="65"/>
                    </a:lnTo>
                    <a:lnTo>
                      <a:pt x="28" y="63"/>
                    </a:lnTo>
                    <a:lnTo>
                      <a:pt x="31" y="62"/>
                    </a:lnTo>
                    <a:lnTo>
                      <a:pt x="31" y="62"/>
                    </a:lnTo>
                    <a:lnTo>
                      <a:pt x="34" y="60"/>
                    </a:lnTo>
                    <a:lnTo>
                      <a:pt x="36" y="60"/>
                    </a:lnTo>
                    <a:lnTo>
                      <a:pt x="38" y="57"/>
                    </a:lnTo>
                    <a:lnTo>
                      <a:pt x="38" y="58"/>
                    </a:lnTo>
                    <a:lnTo>
                      <a:pt x="41" y="60"/>
                    </a:lnTo>
                    <a:lnTo>
                      <a:pt x="42" y="58"/>
                    </a:lnTo>
                    <a:lnTo>
                      <a:pt x="44" y="57"/>
                    </a:lnTo>
                    <a:lnTo>
                      <a:pt x="46" y="57"/>
                    </a:lnTo>
                    <a:lnTo>
                      <a:pt x="46" y="55"/>
                    </a:lnTo>
                    <a:lnTo>
                      <a:pt x="46" y="54"/>
                    </a:lnTo>
                    <a:lnTo>
                      <a:pt x="47" y="54"/>
                    </a:lnTo>
                    <a:lnTo>
                      <a:pt x="49" y="55"/>
                    </a:lnTo>
                    <a:lnTo>
                      <a:pt x="49" y="57"/>
                    </a:lnTo>
                    <a:lnTo>
                      <a:pt x="50" y="57"/>
                    </a:lnTo>
                    <a:lnTo>
                      <a:pt x="52" y="55"/>
                    </a:lnTo>
                    <a:lnTo>
                      <a:pt x="52" y="57"/>
                    </a:lnTo>
                    <a:lnTo>
                      <a:pt x="54" y="58"/>
                    </a:lnTo>
                    <a:lnTo>
                      <a:pt x="55" y="58"/>
                    </a:lnTo>
                    <a:lnTo>
                      <a:pt x="57" y="52"/>
                    </a:lnTo>
                    <a:lnTo>
                      <a:pt x="60" y="49"/>
                    </a:lnTo>
                    <a:lnTo>
                      <a:pt x="60" y="46"/>
                    </a:lnTo>
                    <a:lnTo>
                      <a:pt x="63" y="46"/>
                    </a:lnTo>
                    <a:lnTo>
                      <a:pt x="66" y="43"/>
                    </a:lnTo>
                    <a:lnTo>
                      <a:pt x="66" y="43"/>
                    </a:lnTo>
                    <a:lnTo>
                      <a:pt x="66" y="39"/>
                    </a:lnTo>
                    <a:lnTo>
                      <a:pt x="68" y="36"/>
                    </a:lnTo>
                    <a:lnTo>
                      <a:pt x="69" y="33"/>
                    </a:lnTo>
                    <a:lnTo>
                      <a:pt x="68" y="30"/>
                    </a:lnTo>
                    <a:lnTo>
                      <a:pt x="66" y="24"/>
                    </a:lnTo>
                    <a:lnTo>
                      <a:pt x="66" y="20"/>
                    </a:lnTo>
                    <a:lnTo>
                      <a:pt x="63" y="14"/>
                    </a:lnTo>
                    <a:lnTo>
                      <a:pt x="60" y="14"/>
                    </a:lnTo>
                    <a:lnTo>
                      <a:pt x="60" y="11"/>
                    </a:lnTo>
                    <a:lnTo>
                      <a:pt x="60" y="8"/>
                    </a:lnTo>
                    <a:lnTo>
                      <a:pt x="60" y="8"/>
                    </a:lnTo>
                    <a:lnTo>
                      <a:pt x="57" y="4"/>
                    </a:lnTo>
                    <a:lnTo>
                      <a:pt x="57" y="3"/>
                    </a:lnTo>
                    <a:lnTo>
                      <a:pt x="57" y="1"/>
                    </a:lnTo>
                    <a:lnTo>
                      <a:pt x="55" y="0"/>
                    </a:lnTo>
                    <a:lnTo>
                      <a:pt x="54" y="3"/>
                    </a:lnTo>
                    <a:lnTo>
                      <a:pt x="52" y="3"/>
                    </a:lnTo>
                    <a:lnTo>
                      <a:pt x="49" y="8"/>
                    </a:lnTo>
                    <a:lnTo>
                      <a:pt x="47" y="8"/>
                    </a:lnTo>
                    <a:lnTo>
                      <a:pt x="47" y="6"/>
                    </a:lnTo>
                    <a:lnTo>
                      <a:pt x="47" y="6"/>
                    </a:lnTo>
                    <a:lnTo>
                      <a:pt x="44" y="4"/>
                    </a:lnTo>
                    <a:lnTo>
                      <a:pt x="42" y="4"/>
                    </a:lnTo>
                    <a:lnTo>
                      <a:pt x="41" y="4"/>
                    </a:lnTo>
                    <a:lnTo>
                      <a:pt x="38" y="6"/>
                    </a:lnTo>
                    <a:lnTo>
                      <a:pt x="34" y="8"/>
                    </a:lnTo>
                    <a:lnTo>
                      <a:pt x="33" y="8"/>
                    </a:lnTo>
                    <a:lnTo>
                      <a:pt x="31" y="11"/>
                    </a:lnTo>
                    <a:lnTo>
                      <a:pt x="31" y="8"/>
                    </a:lnTo>
                    <a:lnTo>
                      <a:pt x="28" y="8"/>
                    </a:lnTo>
                    <a:lnTo>
                      <a:pt x="28" y="4"/>
                    </a:lnTo>
                    <a:lnTo>
                      <a:pt x="25" y="8"/>
                    </a:lnTo>
                    <a:lnTo>
                      <a:pt x="25" y="8"/>
                    </a:lnTo>
                    <a:lnTo>
                      <a:pt x="22" y="8"/>
                    </a:lnTo>
                    <a:lnTo>
                      <a:pt x="22" y="4"/>
                    </a:lnTo>
                    <a:lnTo>
                      <a:pt x="20" y="6"/>
                    </a:lnTo>
                    <a:lnTo>
                      <a:pt x="19" y="8"/>
                    </a:lnTo>
                    <a:lnTo>
                      <a:pt x="17" y="8"/>
                    </a:lnTo>
                    <a:lnTo>
                      <a:pt x="15" y="11"/>
                    </a:lnTo>
                    <a:lnTo>
                      <a:pt x="17" y="11"/>
                    </a:lnTo>
                    <a:lnTo>
                      <a:pt x="15" y="16"/>
                    </a:lnTo>
                    <a:lnTo>
                      <a:pt x="15" y="16"/>
                    </a:lnTo>
                    <a:lnTo>
                      <a:pt x="15" y="16"/>
                    </a:lnTo>
                    <a:lnTo>
                      <a:pt x="15" y="16"/>
                    </a:lnTo>
                    <a:lnTo>
                      <a:pt x="15" y="16"/>
                    </a:lnTo>
                    <a:lnTo>
                      <a:pt x="15" y="16"/>
                    </a:lnTo>
                    <a:lnTo>
                      <a:pt x="15" y="16"/>
                    </a:lnTo>
                    <a:lnTo>
                      <a:pt x="15" y="16"/>
                    </a:lnTo>
                    <a:lnTo>
                      <a:pt x="15" y="16"/>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39" name="Freeform 132">
                <a:extLst>
                  <a:ext uri="{FF2B5EF4-FFF2-40B4-BE49-F238E27FC236}">
                    <a16:creationId xmlns:a16="http://schemas.microsoft.com/office/drawing/2014/main" id="{79FD271B-B8C0-F62F-85B9-48893C0114CC}"/>
                  </a:ext>
                </a:extLst>
              </p:cNvPr>
              <p:cNvSpPr>
                <a:spLocks/>
              </p:cNvSpPr>
              <p:nvPr/>
            </p:nvSpPr>
            <p:spPr bwMode="auto">
              <a:xfrm>
                <a:off x="6599109" y="4101373"/>
                <a:ext cx="49347" cy="71778"/>
              </a:xfrm>
              <a:custGeom>
                <a:avLst/>
                <a:gdLst>
                  <a:gd name="T0" fmla="*/ 10 w 22"/>
                  <a:gd name="T1" fmla="*/ 31 h 32"/>
                  <a:gd name="T2" fmla="*/ 13 w 22"/>
                  <a:gd name="T3" fmla="*/ 27 h 32"/>
                  <a:gd name="T4" fmla="*/ 14 w 22"/>
                  <a:gd name="T5" fmla="*/ 26 h 32"/>
                  <a:gd name="T6" fmla="*/ 18 w 22"/>
                  <a:gd name="T7" fmla="*/ 23 h 32"/>
                  <a:gd name="T8" fmla="*/ 16 w 22"/>
                  <a:gd name="T9" fmla="*/ 21 h 32"/>
                  <a:gd name="T10" fmla="*/ 16 w 22"/>
                  <a:gd name="T11" fmla="*/ 19 h 32"/>
                  <a:gd name="T12" fmla="*/ 19 w 22"/>
                  <a:gd name="T13" fmla="*/ 18 h 32"/>
                  <a:gd name="T14" fmla="*/ 19 w 22"/>
                  <a:gd name="T15" fmla="*/ 16 h 32"/>
                  <a:gd name="T16" fmla="*/ 21 w 22"/>
                  <a:gd name="T17" fmla="*/ 15 h 32"/>
                  <a:gd name="T18" fmla="*/ 22 w 22"/>
                  <a:gd name="T19" fmla="*/ 13 h 32"/>
                  <a:gd name="T20" fmla="*/ 22 w 22"/>
                  <a:gd name="T21" fmla="*/ 11 h 32"/>
                  <a:gd name="T22" fmla="*/ 22 w 22"/>
                  <a:gd name="T23" fmla="*/ 11 h 32"/>
                  <a:gd name="T24" fmla="*/ 22 w 22"/>
                  <a:gd name="T25" fmla="*/ 11 h 32"/>
                  <a:gd name="T26" fmla="*/ 19 w 22"/>
                  <a:gd name="T27" fmla="*/ 11 h 32"/>
                  <a:gd name="T28" fmla="*/ 18 w 22"/>
                  <a:gd name="T29" fmla="*/ 8 h 32"/>
                  <a:gd name="T30" fmla="*/ 18 w 22"/>
                  <a:gd name="T31" fmla="*/ 8 h 32"/>
                  <a:gd name="T32" fmla="*/ 18 w 22"/>
                  <a:gd name="T33" fmla="*/ 5 h 32"/>
                  <a:gd name="T34" fmla="*/ 18 w 22"/>
                  <a:gd name="T35" fmla="*/ 5 h 32"/>
                  <a:gd name="T36" fmla="*/ 19 w 22"/>
                  <a:gd name="T37" fmla="*/ 2 h 32"/>
                  <a:gd name="T38" fmla="*/ 19 w 22"/>
                  <a:gd name="T39" fmla="*/ 2 h 32"/>
                  <a:gd name="T40" fmla="*/ 18 w 22"/>
                  <a:gd name="T41" fmla="*/ 2 h 32"/>
                  <a:gd name="T42" fmla="*/ 16 w 22"/>
                  <a:gd name="T43" fmla="*/ 2 h 32"/>
                  <a:gd name="T44" fmla="*/ 14 w 22"/>
                  <a:gd name="T45" fmla="*/ 2 h 32"/>
                  <a:gd name="T46" fmla="*/ 13 w 22"/>
                  <a:gd name="T47" fmla="*/ 2 h 32"/>
                  <a:gd name="T48" fmla="*/ 10 w 22"/>
                  <a:gd name="T49" fmla="*/ 0 h 32"/>
                  <a:gd name="T50" fmla="*/ 10 w 22"/>
                  <a:gd name="T51" fmla="*/ 5 h 32"/>
                  <a:gd name="T52" fmla="*/ 8 w 22"/>
                  <a:gd name="T53" fmla="*/ 5 h 32"/>
                  <a:gd name="T54" fmla="*/ 8 w 22"/>
                  <a:gd name="T55" fmla="*/ 8 h 32"/>
                  <a:gd name="T56" fmla="*/ 5 w 22"/>
                  <a:gd name="T57" fmla="*/ 8 h 32"/>
                  <a:gd name="T58" fmla="*/ 3 w 22"/>
                  <a:gd name="T59" fmla="*/ 5 h 32"/>
                  <a:gd name="T60" fmla="*/ 2 w 22"/>
                  <a:gd name="T61" fmla="*/ 5 h 32"/>
                  <a:gd name="T62" fmla="*/ 0 w 22"/>
                  <a:gd name="T63" fmla="*/ 7 h 32"/>
                  <a:gd name="T64" fmla="*/ 0 w 22"/>
                  <a:gd name="T65" fmla="*/ 8 h 32"/>
                  <a:gd name="T66" fmla="*/ 2 w 22"/>
                  <a:gd name="T67" fmla="*/ 11 h 32"/>
                  <a:gd name="T68" fmla="*/ 3 w 22"/>
                  <a:gd name="T69" fmla="*/ 13 h 32"/>
                  <a:gd name="T70" fmla="*/ 2 w 22"/>
                  <a:gd name="T71" fmla="*/ 15 h 32"/>
                  <a:gd name="T72" fmla="*/ 3 w 22"/>
                  <a:gd name="T73" fmla="*/ 18 h 32"/>
                  <a:gd name="T74" fmla="*/ 3 w 22"/>
                  <a:gd name="T75" fmla="*/ 23 h 32"/>
                  <a:gd name="T76" fmla="*/ 8 w 22"/>
                  <a:gd name="T77" fmla="*/ 32 h 32"/>
                  <a:gd name="T78" fmla="*/ 10 w 22"/>
                  <a:gd name="T79" fmla="*/ 31 h 32"/>
                  <a:gd name="T80" fmla="*/ 10 w 22"/>
                  <a:gd name="T81" fmla="*/ 31 h 32"/>
                  <a:gd name="T82" fmla="*/ 10 w 22"/>
                  <a:gd name="T83" fmla="*/ 31 h 32"/>
                  <a:gd name="T84" fmla="*/ 10 w 22"/>
                  <a:gd name="T85" fmla="*/ 31 h 32"/>
                  <a:gd name="T86" fmla="*/ 10 w 22"/>
                  <a:gd name="T87" fmla="*/ 31 h 32"/>
                  <a:gd name="T88" fmla="*/ 10 w 22"/>
                  <a:gd name="T89" fmla="*/ 31 h 32"/>
                  <a:gd name="T90" fmla="*/ 10 w 22"/>
                  <a:gd name="T91" fmla="*/ 31 h 32"/>
                  <a:gd name="T92" fmla="*/ 10 w 22"/>
                  <a:gd name="T93" fmla="*/ 31 h 32"/>
                  <a:gd name="T94" fmla="*/ 10 w 22"/>
                  <a:gd name="T95" fmla="*/ 31 h 32"/>
                  <a:gd name="T96" fmla="*/ 10 w 22"/>
                  <a:gd name="T97"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2">
                    <a:moveTo>
                      <a:pt x="10" y="31"/>
                    </a:moveTo>
                    <a:lnTo>
                      <a:pt x="13" y="27"/>
                    </a:lnTo>
                    <a:lnTo>
                      <a:pt x="14" y="26"/>
                    </a:lnTo>
                    <a:lnTo>
                      <a:pt x="18" y="23"/>
                    </a:lnTo>
                    <a:lnTo>
                      <a:pt x="16" y="21"/>
                    </a:lnTo>
                    <a:lnTo>
                      <a:pt x="16" y="19"/>
                    </a:lnTo>
                    <a:lnTo>
                      <a:pt x="19" y="18"/>
                    </a:lnTo>
                    <a:lnTo>
                      <a:pt x="19" y="16"/>
                    </a:lnTo>
                    <a:lnTo>
                      <a:pt x="21" y="15"/>
                    </a:lnTo>
                    <a:lnTo>
                      <a:pt x="22" y="13"/>
                    </a:lnTo>
                    <a:lnTo>
                      <a:pt x="22" y="11"/>
                    </a:lnTo>
                    <a:lnTo>
                      <a:pt x="22" y="11"/>
                    </a:lnTo>
                    <a:lnTo>
                      <a:pt x="22" y="11"/>
                    </a:lnTo>
                    <a:lnTo>
                      <a:pt x="19" y="11"/>
                    </a:lnTo>
                    <a:lnTo>
                      <a:pt x="18" y="8"/>
                    </a:lnTo>
                    <a:lnTo>
                      <a:pt x="18" y="8"/>
                    </a:lnTo>
                    <a:lnTo>
                      <a:pt x="18" y="5"/>
                    </a:lnTo>
                    <a:lnTo>
                      <a:pt x="18" y="5"/>
                    </a:lnTo>
                    <a:lnTo>
                      <a:pt x="19" y="2"/>
                    </a:lnTo>
                    <a:lnTo>
                      <a:pt x="19" y="2"/>
                    </a:lnTo>
                    <a:lnTo>
                      <a:pt x="18" y="2"/>
                    </a:lnTo>
                    <a:lnTo>
                      <a:pt x="16" y="2"/>
                    </a:lnTo>
                    <a:lnTo>
                      <a:pt x="14" y="2"/>
                    </a:lnTo>
                    <a:lnTo>
                      <a:pt x="13" y="2"/>
                    </a:lnTo>
                    <a:lnTo>
                      <a:pt x="10" y="0"/>
                    </a:lnTo>
                    <a:lnTo>
                      <a:pt x="10" y="5"/>
                    </a:lnTo>
                    <a:lnTo>
                      <a:pt x="8" y="5"/>
                    </a:lnTo>
                    <a:lnTo>
                      <a:pt x="8" y="8"/>
                    </a:lnTo>
                    <a:lnTo>
                      <a:pt x="5" y="8"/>
                    </a:lnTo>
                    <a:lnTo>
                      <a:pt x="3" y="5"/>
                    </a:lnTo>
                    <a:lnTo>
                      <a:pt x="2" y="5"/>
                    </a:lnTo>
                    <a:lnTo>
                      <a:pt x="0" y="7"/>
                    </a:lnTo>
                    <a:lnTo>
                      <a:pt x="0" y="8"/>
                    </a:lnTo>
                    <a:lnTo>
                      <a:pt x="2" y="11"/>
                    </a:lnTo>
                    <a:lnTo>
                      <a:pt x="3" y="13"/>
                    </a:lnTo>
                    <a:lnTo>
                      <a:pt x="2" y="15"/>
                    </a:lnTo>
                    <a:lnTo>
                      <a:pt x="3" y="18"/>
                    </a:lnTo>
                    <a:lnTo>
                      <a:pt x="3" y="23"/>
                    </a:lnTo>
                    <a:lnTo>
                      <a:pt x="8" y="32"/>
                    </a:lnTo>
                    <a:lnTo>
                      <a:pt x="10" y="31"/>
                    </a:lnTo>
                    <a:lnTo>
                      <a:pt x="10" y="31"/>
                    </a:lnTo>
                    <a:lnTo>
                      <a:pt x="10" y="31"/>
                    </a:lnTo>
                    <a:lnTo>
                      <a:pt x="10" y="31"/>
                    </a:lnTo>
                    <a:lnTo>
                      <a:pt x="10" y="31"/>
                    </a:lnTo>
                    <a:lnTo>
                      <a:pt x="10" y="31"/>
                    </a:lnTo>
                    <a:lnTo>
                      <a:pt x="10" y="31"/>
                    </a:lnTo>
                    <a:lnTo>
                      <a:pt x="10" y="31"/>
                    </a:lnTo>
                    <a:lnTo>
                      <a:pt x="10" y="31"/>
                    </a:lnTo>
                    <a:lnTo>
                      <a:pt x="10" y="3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40" name="Freeform 134">
                <a:extLst>
                  <a:ext uri="{FF2B5EF4-FFF2-40B4-BE49-F238E27FC236}">
                    <a16:creationId xmlns:a16="http://schemas.microsoft.com/office/drawing/2014/main" id="{8FA410E5-7909-C235-EB29-3E6D43635444}"/>
                  </a:ext>
                </a:extLst>
              </p:cNvPr>
              <p:cNvSpPr>
                <a:spLocks/>
              </p:cNvSpPr>
              <p:nvPr/>
            </p:nvSpPr>
            <p:spPr bwMode="auto">
              <a:xfrm>
                <a:off x="6596866" y="4065484"/>
                <a:ext cx="51591" cy="53834"/>
              </a:xfrm>
              <a:custGeom>
                <a:avLst/>
                <a:gdLst>
                  <a:gd name="T0" fmla="*/ 15 w 23"/>
                  <a:gd name="T1" fmla="*/ 2 h 24"/>
                  <a:gd name="T2" fmla="*/ 12 w 23"/>
                  <a:gd name="T3" fmla="*/ 5 h 24"/>
                  <a:gd name="T4" fmla="*/ 12 w 23"/>
                  <a:gd name="T5" fmla="*/ 5 h 24"/>
                  <a:gd name="T6" fmla="*/ 12 w 23"/>
                  <a:gd name="T7" fmla="*/ 4 h 24"/>
                  <a:gd name="T8" fmla="*/ 9 w 23"/>
                  <a:gd name="T9" fmla="*/ 4 h 24"/>
                  <a:gd name="T10" fmla="*/ 9 w 23"/>
                  <a:gd name="T11" fmla="*/ 4 h 24"/>
                  <a:gd name="T12" fmla="*/ 8 w 23"/>
                  <a:gd name="T13" fmla="*/ 4 h 24"/>
                  <a:gd name="T14" fmla="*/ 4 w 23"/>
                  <a:gd name="T15" fmla="*/ 5 h 24"/>
                  <a:gd name="T16" fmla="*/ 4 w 23"/>
                  <a:gd name="T17" fmla="*/ 7 h 24"/>
                  <a:gd name="T18" fmla="*/ 3 w 23"/>
                  <a:gd name="T19" fmla="*/ 10 h 24"/>
                  <a:gd name="T20" fmla="*/ 3 w 23"/>
                  <a:gd name="T21" fmla="*/ 13 h 24"/>
                  <a:gd name="T22" fmla="*/ 1 w 23"/>
                  <a:gd name="T23" fmla="*/ 15 h 24"/>
                  <a:gd name="T24" fmla="*/ 0 w 23"/>
                  <a:gd name="T25" fmla="*/ 18 h 24"/>
                  <a:gd name="T26" fmla="*/ 0 w 23"/>
                  <a:gd name="T27" fmla="*/ 20 h 24"/>
                  <a:gd name="T28" fmla="*/ 0 w 23"/>
                  <a:gd name="T29" fmla="*/ 21 h 24"/>
                  <a:gd name="T30" fmla="*/ 1 w 23"/>
                  <a:gd name="T31" fmla="*/ 23 h 24"/>
                  <a:gd name="T32" fmla="*/ 3 w 23"/>
                  <a:gd name="T33" fmla="*/ 21 h 24"/>
                  <a:gd name="T34" fmla="*/ 4 w 23"/>
                  <a:gd name="T35" fmla="*/ 23 h 24"/>
                  <a:gd name="T36" fmla="*/ 6 w 23"/>
                  <a:gd name="T37" fmla="*/ 24 h 24"/>
                  <a:gd name="T38" fmla="*/ 9 w 23"/>
                  <a:gd name="T39" fmla="*/ 24 h 24"/>
                  <a:gd name="T40" fmla="*/ 9 w 23"/>
                  <a:gd name="T41" fmla="*/ 23 h 24"/>
                  <a:gd name="T42" fmla="*/ 12 w 23"/>
                  <a:gd name="T43" fmla="*/ 21 h 24"/>
                  <a:gd name="T44" fmla="*/ 12 w 23"/>
                  <a:gd name="T45" fmla="*/ 16 h 24"/>
                  <a:gd name="T46" fmla="*/ 15 w 23"/>
                  <a:gd name="T47" fmla="*/ 18 h 24"/>
                  <a:gd name="T48" fmla="*/ 15 w 23"/>
                  <a:gd name="T49" fmla="*/ 18 h 24"/>
                  <a:gd name="T50" fmla="*/ 19 w 23"/>
                  <a:gd name="T51" fmla="*/ 18 h 24"/>
                  <a:gd name="T52" fmla="*/ 19 w 23"/>
                  <a:gd name="T53" fmla="*/ 18 h 24"/>
                  <a:gd name="T54" fmla="*/ 20 w 23"/>
                  <a:gd name="T55" fmla="*/ 18 h 24"/>
                  <a:gd name="T56" fmla="*/ 20 w 23"/>
                  <a:gd name="T57" fmla="*/ 20 h 24"/>
                  <a:gd name="T58" fmla="*/ 22 w 23"/>
                  <a:gd name="T59" fmla="*/ 18 h 24"/>
                  <a:gd name="T60" fmla="*/ 23 w 23"/>
                  <a:gd name="T61" fmla="*/ 16 h 24"/>
                  <a:gd name="T62" fmla="*/ 23 w 23"/>
                  <a:gd name="T63" fmla="*/ 15 h 24"/>
                  <a:gd name="T64" fmla="*/ 23 w 23"/>
                  <a:gd name="T65" fmla="*/ 12 h 24"/>
                  <a:gd name="T66" fmla="*/ 23 w 23"/>
                  <a:gd name="T67" fmla="*/ 10 h 24"/>
                  <a:gd name="T68" fmla="*/ 22 w 23"/>
                  <a:gd name="T69" fmla="*/ 5 h 24"/>
                  <a:gd name="T70" fmla="*/ 20 w 23"/>
                  <a:gd name="T71" fmla="*/ 4 h 24"/>
                  <a:gd name="T72" fmla="*/ 19 w 23"/>
                  <a:gd name="T73" fmla="*/ 2 h 24"/>
                  <a:gd name="T74" fmla="*/ 19 w 23"/>
                  <a:gd name="T75" fmla="*/ 0 h 24"/>
                  <a:gd name="T76" fmla="*/ 19 w 23"/>
                  <a:gd name="T77" fmla="*/ 0 h 24"/>
                  <a:gd name="T78" fmla="*/ 15 w 23"/>
                  <a:gd name="T79" fmla="*/ 2 h 24"/>
                  <a:gd name="T80" fmla="*/ 15 w 23"/>
                  <a:gd name="T81"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 h="24">
                    <a:moveTo>
                      <a:pt x="15" y="2"/>
                    </a:moveTo>
                    <a:lnTo>
                      <a:pt x="15" y="2"/>
                    </a:lnTo>
                    <a:lnTo>
                      <a:pt x="12" y="5"/>
                    </a:lnTo>
                    <a:lnTo>
                      <a:pt x="12" y="5"/>
                    </a:lnTo>
                    <a:lnTo>
                      <a:pt x="12" y="5"/>
                    </a:lnTo>
                    <a:lnTo>
                      <a:pt x="12" y="5"/>
                    </a:lnTo>
                    <a:lnTo>
                      <a:pt x="12" y="4"/>
                    </a:lnTo>
                    <a:lnTo>
                      <a:pt x="12" y="4"/>
                    </a:lnTo>
                    <a:lnTo>
                      <a:pt x="9" y="4"/>
                    </a:lnTo>
                    <a:lnTo>
                      <a:pt x="9" y="4"/>
                    </a:lnTo>
                    <a:lnTo>
                      <a:pt x="9" y="4"/>
                    </a:lnTo>
                    <a:lnTo>
                      <a:pt x="9" y="4"/>
                    </a:lnTo>
                    <a:lnTo>
                      <a:pt x="9" y="4"/>
                    </a:lnTo>
                    <a:lnTo>
                      <a:pt x="8" y="4"/>
                    </a:lnTo>
                    <a:lnTo>
                      <a:pt x="8" y="4"/>
                    </a:lnTo>
                    <a:lnTo>
                      <a:pt x="4" y="5"/>
                    </a:lnTo>
                    <a:lnTo>
                      <a:pt x="4" y="5"/>
                    </a:lnTo>
                    <a:lnTo>
                      <a:pt x="4" y="7"/>
                    </a:lnTo>
                    <a:lnTo>
                      <a:pt x="4" y="7"/>
                    </a:lnTo>
                    <a:lnTo>
                      <a:pt x="3" y="10"/>
                    </a:lnTo>
                    <a:lnTo>
                      <a:pt x="3" y="13"/>
                    </a:lnTo>
                    <a:lnTo>
                      <a:pt x="3" y="13"/>
                    </a:lnTo>
                    <a:lnTo>
                      <a:pt x="3" y="13"/>
                    </a:lnTo>
                    <a:lnTo>
                      <a:pt x="1" y="15"/>
                    </a:lnTo>
                    <a:lnTo>
                      <a:pt x="1" y="15"/>
                    </a:lnTo>
                    <a:lnTo>
                      <a:pt x="0" y="18"/>
                    </a:lnTo>
                    <a:lnTo>
                      <a:pt x="0" y="18"/>
                    </a:lnTo>
                    <a:lnTo>
                      <a:pt x="0" y="20"/>
                    </a:lnTo>
                    <a:lnTo>
                      <a:pt x="0" y="20"/>
                    </a:lnTo>
                    <a:lnTo>
                      <a:pt x="0" y="21"/>
                    </a:lnTo>
                    <a:lnTo>
                      <a:pt x="0" y="21"/>
                    </a:lnTo>
                    <a:lnTo>
                      <a:pt x="1" y="23"/>
                    </a:lnTo>
                    <a:lnTo>
                      <a:pt x="1" y="23"/>
                    </a:lnTo>
                    <a:lnTo>
                      <a:pt x="3" y="21"/>
                    </a:lnTo>
                    <a:lnTo>
                      <a:pt x="3" y="21"/>
                    </a:lnTo>
                    <a:lnTo>
                      <a:pt x="4" y="23"/>
                    </a:lnTo>
                    <a:lnTo>
                      <a:pt x="4" y="23"/>
                    </a:lnTo>
                    <a:lnTo>
                      <a:pt x="6" y="24"/>
                    </a:lnTo>
                    <a:lnTo>
                      <a:pt x="6" y="24"/>
                    </a:lnTo>
                    <a:lnTo>
                      <a:pt x="9" y="24"/>
                    </a:lnTo>
                    <a:lnTo>
                      <a:pt x="9" y="24"/>
                    </a:lnTo>
                    <a:lnTo>
                      <a:pt x="9" y="23"/>
                    </a:lnTo>
                    <a:lnTo>
                      <a:pt x="9" y="23"/>
                    </a:lnTo>
                    <a:lnTo>
                      <a:pt x="12" y="21"/>
                    </a:lnTo>
                    <a:lnTo>
                      <a:pt x="12" y="21"/>
                    </a:lnTo>
                    <a:lnTo>
                      <a:pt x="12" y="16"/>
                    </a:lnTo>
                    <a:lnTo>
                      <a:pt x="12" y="16"/>
                    </a:lnTo>
                    <a:lnTo>
                      <a:pt x="15" y="18"/>
                    </a:lnTo>
                    <a:lnTo>
                      <a:pt x="15" y="18"/>
                    </a:lnTo>
                    <a:lnTo>
                      <a:pt x="15" y="18"/>
                    </a:lnTo>
                    <a:lnTo>
                      <a:pt x="15" y="18"/>
                    </a:lnTo>
                    <a:lnTo>
                      <a:pt x="19" y="18"/>
                    </a:lnTo>
                    <a:lnTo>
                      <a:pt x="19" y="18"/>
                    </a:lnTo>
                    <a:lnTo>
                      <a:pt x="19" y="18"/>
                    </a:lnTo>
                    <a:lnTo>
                      <a:pt x="19" y="18"/>
                    </a:lnTo>
                    <a:lnTo>
                      <a:pt x="20" y="18"/>
                    </a:lnTo>
                    <a:lnTo>
                      <a:pt x="20" y="18"/>
                    </a:lnTo>
                    <a:lnTo>
                      <a:pt x="20" y="20"/>
                    </a:lnTo>
                    <a:lnTo>
                      <a:pt x="20" y="20"/>
                    </a:lnTo>
                    <a:lnTo>
                      <a:pt x="22" y="18"/>
                    </a:lnTo>
                    <a:lnTo>
                      <a:pt x="22" y="18"/>
                    </a:lnTo>
                    <a:lnTo>
                      <a:pt x="23" y="16"/>
                    </a:lnTo>
                    <a:lnTo>
                      <a:pt x="23" y="16"/>
                    </a:lnTo>
                    <a:lnTo>
                      <a:pt x="23" y="15"/>
                    </a:lnTo>
                    <a:lnTo>
                      <a:pt x="23" y="15"/>
                    </a:lnTo>
                    <a:lnTo>
                      <a:pt x="23" y="12"/>
                    </a:lnTo>
                    <a:lnTo>
                      <a:pt x="23" y="12"/>
                    </a:lnTo>
                    <a:lnTo>
                      <a:pt x="23" y="10"/>
                    </a:lnTo>
                    <a:lnTo>
                      <a:pt x="23" y="10"/>
                    </a:lnTo>
                    <a:lnTo>
                      <a:pt x="22" y="5"/>
                    </a:lnTo>
                    <a:lnTo>
                      <a:pt x="22" y="5"/>
                    </a:lnTo>
                    <a:lnTo>
                      <a:pt x="20" y="4"/>
                    </a:lnTo>
                    <a:lnTo>
                      <a:pt x="20" y="4"/>
                    </a:lnTo>
                    <a:lnTo>
                      <a:pt x="19" y="2"/>
                    </a:lnTo>
                    <a:lnTo>
                      <a:pt x="19" y="2"/>
                    </a:lnTo>
                    <a:lnTo>
                      <a:pt x="19" y="0"/>
                    </a:lnTo>
                    <a:lnTo>
                      <a:pt x="19" y="0"/>
                    </a:lnTo>
                    <a:lnTo>
                      <a:pt x="19" y="0"/>
                    </a:lnTo>
                    <a:lnTo>
                      <a:pt x="19" y="0"/>
                    </a:lnTo>
                    <a:lnTo>
                      <a:pt x="15" y="2"/>
                    </a:lnTo>
                    <a:lnTo>
                      <a:pt x="15" y="2"/>
                    </a:lnTo>
                    <a:lnTo>
                      <a:pt x="15" y="2"/>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41" name="Freeform 136">
                <a:extLst>
                  <a:ext uri="{FF2B5EF4-FFF2-40B4-BE49-F238E27FC236}">
                    <a16:creationId xmlns:a16="http://schemas.microsoft.com/office/drawing/2014/main" id="{E880AB27-11CE-D00C-DB52-FF0F22903501}"/>
                  </a:ext>
                </a:extLst>
              </p:cNvPr>
              <p:cNvSpPr>
                <a:spLocks/>
              </p:cNvSpPr>
              <p:nvPr/>
            </p:nvSpPr>
            <p:spPr bwMode="auto">
              <a:xfrm>
                <a:off x="6101147" y="4572418"/>
                <a:ext cx="381322" cy="392537"/>
              </a:xfrm>
              <a:custGeom>
                <a:avLst/>
                <a:gdLst>
                  <a:gd name="T0" fmla="*/ 163 w 170"/>
                  <a:gd name="T1" fmla="*/ 11 h 175"/>
                  <a:gd name="T2" fmla="*/ 154 w 170"/>
                  <a:gd name="T3" fmla="*/ 11 h 175"/>
                  <a:gd name="T4" fmla="*/ 148 w 170"/>
                  <a:gd name="T5" fmla="*/ 11 h 175"/>
                  <a:gd name="T6" fmla="*/ 125 w 170"/>
                  <a:gd name="T7" fmla="*/ 14 h 175"/>
                  <a:gd name="T8" fmla="*/ 119 w 170"/>
                  <a:gd name="T9" fmla="*/ 14 h 175"/>
                  <a:gd name="T10" fmla="*/ 114 w 170"/>
                  <a:gd name="T11" fmla="*/ 17 h 175"/>
                  <a:gd name="T12" fmla="*/ 109 w 170"/>
                  <a:gd name="T13" fmla="*/ 14 h 175"/>
                  <a:gd name="T14" fmla="*/ 97 w 170"/>
                  <a:gd name="T15" fmla="*/ 14 h 175"/>
                  <a:gd name="T16" fmla="*/ 89 w 170"/>
                  <a:gd name="T17" fmla="*/ 11 h 175"/>
                  <a:gd name="T18" fmla="*/ 84 w 170"/>
                  <a:gd name="T19" fmla="*/ 8 h 175"/>
                  <a:gd name="T20" fmla="*/ 81 w 170"/>
                  <a:gd name="T21" fmla="*/ 8 h 175"/>
                  <a:gd name="T22" fmla="*/ 56 w 170"/>
                  <a:gd name="T23" fmla="*/ 8 h 175"/>
                  <a:gd name="T24" fmla="*/ 33 w 170"/>
                  <a:gd name="T25" fmla="*/ 8 h 175"/>
                  <a:gd name="T26" fmla="*/ 25 w 170"/>
                  <a:gd name="T27" fmla="*/ 5 h 175"/>
                  <a:gd name="T28" fmla="*/ 19 w 170"/>
                  <a:gd name="T29" fmla="*/ 0 h 175"/>
                  <a:gd name="T30" fmla="*/ 13 w 170"/>
                  <a:gd name="T31" fmla="*/ 5 h 175"/>
                  <a:gd name="T32" fmla="*/ 9 w 170"/>
                  <a:gd name="T33" fmla="*/ 5 h 175"/>
                  <a:gd name="T34" fmla="*/ 3 w 170"/>
                  <a:gd name="T35" fmla="*/ 5 h 175"/>
                  <a:gd name="T36" fmla="*/ 0 w 170"/>
                  <a:gd name="T37" fmla="*/ 5 h 175"/>
                  <a:gd name="T38" fmla="*/ 3 w 170"/>
                  <a:gd name="T39" fmla="*/ 17 h 175"/>
                  <a:gd name="T40" fmla="*/ 6 w 170"/>
                  <a:gd name="T41" fmla="*/ 25 h 175"/>
                  <a:gd name="T42" fmla="*/ 13 w 170"/>
                  <a:gd name="T43" fmla="*/ 35 h 175"/>
                  <a:gd name="T44" fmla="*/ 21 w 170"/>
                  <a:gd name="T45" fmla="*/ 55 h 175"/>
                  <a:gd name="T46" fmla="*/ 27 w 170"/>
                  <a:gd name="T47" fmla="*/ 67 h 175"/>
                  <a:gd name="T48" fmla="*/ 32 w 170"/>
                  <a:gd name="T49" fmla="*/ 75 h 175"/>
                  <a:gd name="T50" fmla="*/ 35 w 170"/>
                  <a:gd name="T51" fmla="*/ 84 h 175"/>
                  <a:gd name="T52" fmla="*/ 35 w 170"/>
                  <a:gd name="T53" fmla="*/ 90 h 175"/>
                  <a:gd name="T54" fmla="*/ 35 w 170"/>
                  <a:gd name="T55" fmla="*/ 103 h 175"/>
                  <a:gd name="T56" fmla="*/ 38 w 170"/>
                  <a:gd name="T57" fmla="*/ 119 h 175"/>
                  <a:gd name="T58" fmla="*/ 41 w 170"/>
                  <a:gd name="T59" fmla="*/ 129 h 175"/>
                  <a:gd name="T60" fmla="*/ 41 w 170"/>
                  <a:gd name="T61" fmla="*/ 136 h 175"/>
                  <a:gd name="T62" fmla="*/ 41 w 170"/>
                  <a:gd name="T63" fmla="*/ 141 h 175"/>
                  <a:gd name="T64" fmla="*/ 44 w 170"/>
                  <a:gd name="T65" fmla="*/ 148 h 175"/>
                  <a:gd name="T66" fmla="*/ 49 w 170"/>
                  <a:gd name="T67" fmla="*/ 160 h 175"/>
                  <a:gd name="T68" fmla="*/ 57 w 170"/>
                  <a:gd name="T69" fmla="*/ 168 h 175"/>
                  <a:gd name="T70" fmla="*/ 59 w 170"/>
                  <a:gd name="T71" fmla="*/ 170 h 175"/>
                  <a:gd name="T72" fmla="*/ 62 w 170"/>
                  <a:gd name="T73" fmla="*/ 165 h 175"/>
                  <a:gd name="T74" fmla="*/ 65 w 170"/>
                  <a:gd name="T75" fmla="*/ 162 h 175"/>
                  <a:gd name="T76" fmla="*/ 68 w 170"/>
                  <a:gd name="T77" fmla="*/ 163 h 175"/>
                  <a:gd name="T78" fmla="*/ 68 w 170"/>
                  <a:gd name="T79" fmla="*/ 167 h 175"/>
                  <a:gd name="T80" fmla="*/ 71 w 170"/>
                  <a:gd name="T81" fmla="*/ 171 h 175"/>
                  <a:gd name="T82" fmla="*/ 82 w 170"/>
                  <a:gd name="T83" fmla="*/ 175 h 175"/>
                  <a:gd name="T84" fmla="*/ 90 w 170"/>
                  <a:gd name="T85" fmla="*/ 175 h 175"/>
                  <a:gd name="T86" fmla="*/ 94 w 170"/>
                  <a:gd name="T87" fmla="*/ 173 h 175"/>
                  <a:gd name="T88" fmla="*/ 97 w 170"/>
                  <a:gd name="T89" fmla="*/ 171 h 175"/>
                  <a:gd name="T90" fmla="*/ 100 w 170"/>
                  <a:gd name="T91" fmla="*/ 168 h 175"/>
                  <a:gd name="T92" fmla="*/ 103 w 170"/>
                  <a:gd name="T93" fmla="*/ 165 h 175"/>
                  <a:gd name="T94" fmla="*/ 103 w 170"/>
                  <a:gd name="T95" fmla="*/ 103 h 175"/>
                  <a:gd name="T96" fmla="*/ 103 w 170"/>
                  <a:gd name="T97" fmla="*/ 75 h 175"/>
                  <a:gd name="T98" fmla="*/ 117 w 170"/>
                  <a:gd name="T99" fmla="*/ 21 h 175"/>
                  <a:gd name="T100" fmla="*/ 138 w 170"/>
                  <a:gd name="T101" fmla="*/ 17 h 175"/>
                  <a:gd name="T102" fmla="*/ 144 w 170"/>
                  <a:gd name="T103" fmla="*/ 17 h 175"/>
                  <a:gd name="T104" fmla="*/ 148 w 170"/>
                  <a:gd name="T105" fmla="*/ 19 h 175"/>
                  <a:gd name="T106" fmla="*/ 149 w 170"/>
                  <a:gd name="T107" fmla="*/ 24 h 175"/>
                  <a:gd name="T108" fmla="*/ 156 w 170"/>
                  <a:gd name="T109" fmla="*/ 17 h 175"/>
                  <a:gd name="T110" fmla="*/ 160 w 170"/>
                  <a:gd name="T111" fmla="*/ 14 h 175"/>
                  <a:gd name="T112" fmla="*/ 163 w 170"/>
                  <a:gd name="T113" fmla="*/ 17 h 175"/>
                  <a:gd name="T114" fmla="*/ 167 w 170"/>
                  <a:gd name="T115" fmla="*/ 14 h 175"/>
                  <a:gd name="T116" fmla="*/ 168 w 170"/>
                  <a:gd name="T117" fmla="*/ 14 h 175"/>
                  <a:gd name="T118" fmla="*/ 170 w 170"/>
                  <a:gd name="T119" fmla="*/ 14 h 175"/>
                  <a:gd name="T120" fmla="*/ 167 w 170"/>
                  <a:gd name="T121" fmla="*/ 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75">
                    <a:moveTo>
                      <a:pt x="167" y="8"/>
                    </a:moveTo>
                    <a:lnTo>
                      <a:pt x="167" y="8"/>
                    </a:lnTo>
                    <a:lnTo>
                      <a:pt x="163" y="11"/>
                    </a:lnTo>
                    <a:lnTo>
                      <a:pt x="163" y="11"/>
                    </a:lnTo>
                    <a:lnTo>
                      <a:pt x="160" y="8"/>
                    </a:lnTo>
                    <a:lnTo>
                      <a:pt x="160" y="8"/>
                    </a:lnTo>
                    <a:lnTo>
                      <a:pt x="154" y="11"/>
                    </a:lnTo>
                    <a:lnTo>
                      <a:pt x="154" y="11"/>
                    </a:lnTo>
                    <a:lnTo>
                      <a:pt x="151" y="11"/>
                    </a:lnTo>
                    <a:lnTo>
                      <a:pt x="151" y="11"/>
                    </a:lnTo>
                    <a:lnTo>
                      <a:pt x="149" y="11"/>
                    </a:lnTo>
                    <a:lnTo>
                      <a:pt x="148" y="11"/>
                    </a:lnTo>
                    <a:lnTo>
                      <a:pt x="148" y="11"/>
                    </a:lnTo>
                    <a:lnTo>
                      <a:pt x="140" y="13"/>
                    </a:lnTo>
                    <a:lnTo>
                      <a:pt x="140" y="13"/>
                    </a:lnTo>
                    <a:lnTo>
                      <a:pt x="125" y="14"/>
                    </a:lnTo>
                    <a:lnTo>
                      <a:pt x="125" y="14"/>
                    </a:lnTo>
                    <a:lnTo>
                      <a:pt x="122" y="14"/>
                    </a:lnTo>
                    <a:lnTo>
                      <a:pt x="122" y="14"/>
                    </a:lnTo>
                    <a:lnTo>
                      <a:pt x="119" y="14"/>
                    </a:lnTo>
                    <a:lnTo>
                      <a:pt x="119" y="14"/>
                    </a:lnTo>
                    <a:lnTo>
                      <a:pt x="116" y="17"/>
                    </a:lnTo>
                    <a:lnTo>
                      <a:pt x="116" y="17"/>
                    </a:lnTo>
                    <a:lnTo>
                      <a:pt x="114" y="17"/>
                    </a:lnTo>
                    <a:lnTo>
                      <a:pt x="114" y="17"/>
                    </a:lnTo>
                    <a:lnTo>
                      <a:pt x="113" y="17"/>
                    </a:lnTo>
                    <a:lnTo>
                      <a:pt x="113" y="17"/>
                    </a:lnTo>
                    <a:lnTo>
                      <a:pt x="109" y="14"/>
                    </a:lnTo>
                    <a:lnTo>
                      <a:pt x="109" y="14"/>
                    </a:lnTo>
                    <a:lnTo>
                      <a:pt x="103" y="14"/>
                    </a:lnTo>
                    <a:lnTo>
                      <a:pt x="103" y="14"/>
                    </a:lnTo>
                    <a:lnTo>
                      <a:pt x="97" y="14"/>
                    </a:lnTo>
                    <a:lnTo>
                      <a:pt x="97" y="14"/>
                    </a:lnTo>
                    <a:lnTo>
                      <a:pt x="90" y="14"/>
                    </a:lnTo>
                    <a:lnTo>
                      <a:pt x="90" y="14"/>
                    </a:lnTo>
                    <a:lnTo>
                      <a:pt x="89" y="11"/>
                    </a:lnTo>
                    <a:lnTo>
                      <a:pt x="89" y="11"/>
                    </a:lnTo>
                    <a:lnTo>
                      <a:pt x="86" y="8"/>
                    </a:lnTo>
                    <a:lnTo>
                      <a:pt x="86" y="8"/>
                    </a:lnTo>
                    <a:lnTo>
                      <a:pt x="84" y="8"/>
                    </a:lnTo>
                    <a:lnTo>
                      <a:pt x="84" y="8"/>
                    </a:lnTo>
                    <a:lnTo>
                      <a:pt x="82" y="8"/>
                    </a:lnTo>
                    <a:lnTo>
                      <a:pt x="82" y="8"/>
                    </a:lnTo>
                    <a:lnTo>
                      <a:pt x="81" y="8"/>
                    </a:lnTo>
                    <a:lnTo>
                      <a:pt x="81" y="8"/>
                    </a:lnTo>
                    <a:lnTo>
                      <a:pt x="79" y="8"/>
                    </a:lnTo>
                    <a:lnTo>
                      <a:pt x="79" y="8"/>
                    </a:lnTo>
                    <a:lnTo>
                      <a:pt x="56" y="8"/>
                    </a:lnTo>
                    <a:lnTo>
                      <a:pt x="56" y="8"/>
                    </a:lnTo>
                    <a:lnTo>
                      <a:pt x="41" y="8"/>
                    </a:lnTo>
                    <a:lnTo>
                      <a:pt x="41" y="8"/>
                    </a:lnTo>
                    <a:lnTo>
                      <a:pt x="33" y="8"/>
                    </a:lnTo>
                    <a:lnTo>
                      <a:pt x="33" y="8"/>
                    </a:lnTo>
                    <a:lnTo>
                      <a:pt x="30" y="8"/>
                    </a:lnTo>
                    <a:lnTo>
                      <a:pt x="30" y="8"/>
                    </a:lnTo>
                    <a:lnTo>
                      <a:pt x="25" y="5"/>
                    </a:lnTo>
                    <a:lnTo>
                      <a:pt x="25" y="5"/>
                    </a:lnTo>
                    <a:lnTo>
                      <a:pt x="21" y="0"/>
                    </a:lnTo>
                    <a:lnTo>
                      <a:pt x="21" y="0"/>
                    </a:lnTo>
                    <a:lnTo>
                      <a:pt x="19" y="0"/>
                    </a:lnTo>
                    <a:lnTo>
                      <a:pt x="19" y="0"/>
                    </a:lnTo>
                    <a:lnTo>
                      <a:pt x="17" y="0"/>
                    </a:lnTo>
                    <a:lnTo>
                      <a:pt x="17" y="0"/>
                    </a:lnTo>
                    <a:lnTo>
                      <a:pt x="13" y="5"/>
                    </a:lnTo>
                    <a:lnTo>
                      <a:pt x="13" y="5"/>
                    </a:lnTo>
                    <a:lnTo>
                      <a:pt x="13" y="5"/>
                    </a:lnTo>
                    <a:lnTo>
                      <a:pt x="13" y="5"/>
                    </a:lnTo>
                    <a:lnTo>
                      <a:pt x="9" y="5"/>
                    </a:lnTo>
                    <a:lnTo>
                      <a:pt x="9" y="5"/>
                    </a:lnTo>
                    <a:lnTo>
                      <a:pt x="6" y="5"/>
                    </a:lnTo>
                    <a:lnTo>
                      <a:pt x="6" y="5"/>
                    </a:lnTo>
                    <a:lnTo>
                      <a:pt x="3" y="5"/>
                    </a:lnTo>
                    <a:lnTo>
                      <a:pt x="3" y="5"/>
                    </a:lnTo>
                    <a:lnTo>
                      <a:pt x="2" y="5"/>
                    </a:lnTo>
                    <a:lnTo>
                      <a:pt x="2" y="5"/>
                    </a:lnTo>
                    <a:lnTo>
                      <a:pt x="0" y="5"/>
                    </a:lnTo>
                    <a:lnTo>
                      <a:pt x="0" y="5"/>
                    </a:lnTo>
                    <a:lnTo>
                      <a:pt x="0" y="11"/>
                    </a:lnTo>
                    <a:lnTo>
                      <a:pt x="0" y="11"/>
                    </a:lnTo>
                    <a:lnTo>
                      <a:pt x="3" y="17"/>
                    </a:lnTo>
                    <a:lnTo>
                      <a:pt x="3" y="17"/>
                    </a:lnTo>
                    <a:lnTo>
                      <a:pt x="3" y="21"/>
                    </a:lnTo>
                    <a:lnTo>
                      <a:pt x="3" y="21"/>
                    </a:lnTo>
                    <a:lnTo>
                      <a:pt x="6" y="25"/>
                    </a:lnTo>
                    <a:lnTo>
                      <a:pt x="6" y="25"/>
                    </a:lnTo>
                    <a:lnTo>
                      <a:pt x="9" y="30"/>
                    </a:lnTo>
                    <a:lnTo>
                      <a:pt x="9" y="30"/>
                    </a:lnTo>
                    <a:lnTo>
                      <a:pt x="13" y="35"/>
                    </a:lnTo>
                    <a:lnTo>
                      <a:pt x="13" y="35"/>
                    </a:lnTo>
                    <a:lnTo>
                      <a:pt x="17" y="46"/>
                    </a:lnTo>
                    <a:lnTo>
                      <a:pt x="17" y="46"/>
                    </a:lnTo>
                    <a:lnTo>
                      <a:pt x="21" y="55"/>
                    </a:lnTo>
                    <a:lnTo>
                      <a:pt x="21" y="55"/>
                    </a:lnTo>
                    <a:lnTo>
                      <a:pt x="24" y="60"/>
                    </a:lnTo>
                    <a:lnTo>
                      <a:pt x="24" y="60"/>
                    </a:lnTo>
                    <a:lnTo>
                      <a:pt x="27" y="67"/>
                    </a:lnTo>
                    <a:lnTo>
                      <a:pt x="27" y="67"/>
                    </a:lnTo>
                    <a:lnTo>
                      <a:pt x="29" y="71"/>
                    </a:lnTo>
                    <a:lnTo>
                      <a:pt x="29" y="71"/>
                    </a:lnTo>
                    <a:lnTo>
                      <a:pt x="32" y="75"/>
                    </a:lnTo>
                    <a:lnTo>
                      <a:pt x="32" y="75"/>
                    </a:lnTo>
                    <a:lnTo>
                      <a:pt x="35" y="78"/>
                    </a:lnTo>
                    <a:lnTo>
                      <a:pt x="35" y="78"/>
                    </a:lnTo>
                    <a:lnTo>
                      <a:pt x="35" y="84"/>
                    </a:lnTo>
                    <a:lnTo>
                      <a:pt x="35" y="84"/>
                    </a:lnTo>
                    <a:lnTo>
                      <a:pt x="35" y="87"/>
                    </a:lnTo>
                    <a:lnTo>
                      <a:pt x="35" y="87"/>
                    </a:lnTo>
                    <a:lnTo>
                      <a:pt x="35" y="90"/>
                    </a:lnTo>
                    <a:lnTo>
                      <a:pt x="35" y="90"/>
                    </a:lnTo>
                    <a:lnTo>
                      <a:pt x="35" y="98"/>
                    </a:lnTo>
                    <a:lnTo>
                      <a:pt x="35" y="98"/>
                    </a:lnTo>
                    <a:lnTo>
                      <a:pt x="35" y="103"/>
                    </a:lnTo>
                    <a:lnTo>
                      <a:pt x="35" y="103"/>
                    </a:lnTo>
                    <a:lnTo>
                      <a:pt x="35" y="109"/>
                    </a:lnTo>
                    <a:lnTo>
                      <a:pt x="35" y="109"/>
                    </a:lnTo>
                    <a:lnTo>
                      <a:pt x="38" y="119"/>
                    </a:lnTo>
                    <a:lnTo>
                      <a:pt x="38" y="119"/>
                    </a:lnTo>
                    <a:lnTo>
                      <a:pt x="38" y="124"/>
                    </a:lnTo>
                    <a:lnTo>
                      <a:pt x="38" y="124"/>
                    </a:lnTo>
                    <a:lnTo>
                      <a:pt x="41" y="129"/>
                    </a:lnTo>
                    <a:lnTo>
                      <a:pt x="41" y="129"/>
                    </a:lnTo>
                    <a:lnTo>
                      <a:pt x="41" y="135"/>
                    </a:lnTo>
                    <a:lnTo>
                      <a:pt x="41" y="135"/>
                    </a:lnTo>
                    <a:lnTo>
                      <a:pt x="41" y="136"/>
                    </a:lnTo>
                    <a:lnTo>
                      <a:pt x="41" y="136"/>
                    </a:lnTo>
                    <a:lnTo>
                      <a:pt x="41" y="138"/>
                    </a:lnTo>
                    <a:lnTo>
                      <a:pt x="41" y="138"/>
                    </a:lnTo>
                    <a:lnTo>
                      <a:pt x="41" y="141"/>
                    </a:lnTo>
                    <a:lnTo>
                      <a:pt x="41" y="141"/>
                    </a:lnTo>
                    <a:lnTo>
                      <a:pt x="41" y="144"/>
                    </a:lnTo>
                    <a:lnTo>
                      <a:pt x="41" y="144"/>
                    </a:lnTo>
                    <a:lnTo>
                      <a:pt x="44" y="148"/>
                    </a:lnTo>
                    <a:lnTo>
                      <a:pt x="44" y="148"/>
                    </a:lnTo>
                    <a:lnTo>
                      <a:pt x="44" y="154"/>
                    </a:lnTo>
                    <a:lnTo>
                      <a:pt x="44" y="154"/>
                    </a:lnTo>
                    <a:lnTo>
                      <a:pt x="49" y="160"/>
                    </a:lnTo>
                    <a:lnTo>
                      <a:pt x="49" y="160"/>
                    </a:lnTo>
                    <a:lnTo>
                      <a:pt x="52" y="163"/>
                    </a:lnTo>
                    <a:lnTo>
                      <a:pt x="52" y="163"/>
                    </a:lnTo>
                    <a:lnTo>
                      <a:pt x="57" y="168"/>
                    </a:lnTo>
                    <a:lnTo>
                      <a:pt x="57" y="168"/>
                    </a:lnTo>
                    <a:lnTo>
                      <a:pt x="59" y="170"/>
                    </a:lnTo>
                    <a:lnTo>
                      <a:pt x="59" y="170"/>
                    </a:lnTo>
                    <a:lnTo>
                      <a:pt x="59" y="170"/>
                    </a:lnTo>
                    <a:lnTo>
                      <a:pt x="59" y="170"/>
                    </a:lnTo>
                    <a:lnTo>
                      <a:pt x="62" y="168"/>
                    </a:lnTo>
                    <a:lnTo>
                      <a:pt x="62" y="168"/>
                    </a:lnTo>
                    <a:lnTo>
                      <a:pt x="62" y="165"/>
                    </a:lnTo>
                    <a:lnTo>
                      <a:pt x="62" y="165"/>
                    </a:lnTo>
                    <a:lnTo>
                      <a:pt x="62" y="163"/>
                    </a:lnTo>
                    <a:lnTo>
                      <a:pt x="62" y="163"/>
                    </a:lnTo>
                    <a:lnTo>
                      <a:pt x="65" y="162"/>
                    </a:lnTo>
                    <a:lnTo>
                      <a:pt x="65" y="162"/>
                    </a:lnTo>
                    <a:lnTo>
                      <a:pt x="65" y="162"/>
                    </a:lnTo>
                    <a:lnTo>
                      <a:pt x="65" y="162"/>
                    </a:lnTo>
                    <a:lnTo>
                      <a:pt x="68" y="163"/>
                    </a:lnTo>
                    <a:lnTo>
                      <a:pt x="68" y="163"/>
                    </a:lnTo>
                    <a:lnTo>
                      <a:pt x="68" y="165"/>
                    </a:lnTo>
                    <a:lnTo>
                      <a:pt x="68" y="165"/>
                    </a:lnTo>
                    <a:lnTo>
                      <a:pt x="68" y="167"/>
                    </a:lnTo>
                    <a:lnTo>
                      <a:pt x="68" y="167"/>
                    </a:lnTo>
                    <a:lnTo>
                      <a:pt x="68" y="170"/>
                    </a:lnTo>
                    <a:lnTo>
                      <a:pt x="68" y="170"/>
                    </a:lnTo>
                    <a:lnTo>
                      <a:pt x="71" y="171"/>
                    </a:lnTo>
                    <a:lnTo>
                      <a:pt x="71" y="171"/>
                    </a:lnTo>
                    <a:lnTo>
                      <a:pt x="78" y="175"/>
                    </a:lnTo>
                    <a:lnTo>
                      <a:pt x="78" y="175"/>
                    </a:lnTo>
                    <a:lnTo>
                      <a:pt x="82" y="175"/>
                    </a:lnTo>
                    <a:lnTo>
                      <a:pt x="82" y="175"/>
                    </a:lnTo>
                    <a:lnTo>
                      <a:pt x="87" y="173"/>
                    </a:lnTo>
                    <a:lnTo>
                      <a:pt x="87" y="173"/>
                    </a:lnTo>
                    <a:lnTo>
                      <a:pt x="90" y="175"/>
                    </a:lnTo>
                    <a:lnTo>
                      <a:pt x="90" y="175"/>
                    </a:lnTo>
                    <a:lnTo>
                      <a:pt x="94" y="175"/>
                    </a:lnTo>
                    <a:lnTo>
                      <a:pt x="94" y="175"/>
                    </a:lnTo>
                    <a:lnTo>
                      <a:pt x="94" y="173"/>
                    </a:lnTo>
                    <a:lnTo>
                      <a:pt x="94" y="173"/>
                    </a:lnTo>
                    <a:lnTo>
                      <a:pt x="94" y="171"/>
                    </a:lnTo>
                    <a:lnTo>
                      <a:pt x="94" y="171"/>
                    </a:lnTo>
                    <a:lnTo>
                      <a:pt x="97" y="171"/>
                    </a:lnTo>
                    <a:lnTo>
                      <a:pt x="97" y="171"/>
                    </a:lnTo>
                    <a:lnTo>
                      <a:pt x="97" y="170"/>
                    </a:lnTo>
                    <a:lnTo>
                      <a:pt x="97" y="170"/>
                    </a:lnTo>
                    <a:lnTo>
                      <a:pt x="100" y="168"/>
                    </a:lnTo>
                    <a:lnTo>
                      <a:pt x="100" y="168"/>
                    </a:lnTo>
                    <a:lnTo>
                      <a:pt x="103" y="167"/>
                    </a:lnTo>
                    <a:lnTo>
                      <a:pt x="103" y="167"/>
                    </a:lnTo>
                    <a:lnTo>
                      <a:pt x="103" y="165"/>
                    </a:lnTo>
                    <a:lnTo>
                      <a:pt x="103" y="165"/>
                    </a:lnTo>
                    <a:lnTo>
                      <a:pt x="103" y="113"/>
                    </a:lnTo>
                    <a:lnTo>
                      <a:pt x="103" y="113"/>
                    </a:lnTo>
                    <a:lnTo>
                      <a:pt x="103" y="103"/>
                    </a:lnTo>
                    <a:lnTo>
                      <a:pt x="103" y="103"/>
                    </a:lnTo>
                    <a:lnTo>
                      <a:pt x="103" y="84"/>
                    </a:lnTo>
                    <a:lnTo>
                      <a:pt x="103" y="84"/>
                    </a:lnTo>
                    <a:lnTo>
                      <a:pt x="103" y="75"/>
                    </a:lnTo>
                    <a:lnTo>
                      <a:pt x="103" y="75"/>
                    </a:lnTo>
                    <a:lnTo>
                      <a:pt x="116" y="75"/>
                    </a:lnTo>
                    <a:lnTo>
                      <a:pt x="116" y="75"/>
                    </a:lnTo>
                    <a:lnTo>
                      <a:pt x="117" y="21"/>
                    </a:lnTo>
                    <a:lnTo>
                      <a:pt x="117" y="21"/>
                    </a:lnTo>
                    <a:lnTo>
                      <a:pt x="132" y="19"/>
                    </a:lnTo>
                    <a:lnTo>
                      <a:pt x="132" y="19"/>
                    </a:lnTo>
                    <a:lnTo>
                      <a:pt x="138" y="17"/>
                    </a:lnTo>
                    <a:lnTo>
                      <a:pt x="138" y="17"/>
                    </a:lnTo>
                    <a:lnTo>
                      <a:pt x="141" y="17"/>
                    </a:lnTo>
                    <a:lnTo>
                      <a:pt x="141" y="17"/>
                    </a:lnTo>
                    <a:lnTo>
                      <a:pt x="144" y="17"/>
                    </a:lnTo>
                    <a:lnTo>
                      <a:pt x="144" y="17"/>
                    </a:lnTo>
                    <a:lnTo>
                      <a:pt x="146" y="17"/>
                    </a:lnTo>
                    <a:lnTo>
                      <a:pt x="146" y="17"/>
                    </a:lnTo>
                    <a:lnTo>
                      <a:pt x="148" y="19"/>
                    </a:lnTo>
                    <a:lnTo>
                      <a:pt x="148" y="19"/>
                    </a:lnTo>
                    <a:lnTo>
                      <a:pt x="148" y="21"/>
                    </a:lnTo>
                    <a:lnTo>
                      <a:pt x="148" y="21"/>
                    </a:lnTo>
                    <a:lnTo>
                      <a:pt x="149" y="24"/>
                    </a:lnTo>
                    <a:lnTo>
                      <a:pt x="149" y="24"/>
                    </a:lnTo>
                    <a:lnTo>
                      <a:pt x="151" y="24"/>
                    </a:lnTo>
                    <a:lnTo>
                      <a:pt x="151" y="24"/>
                    </a:lnTo>
                    <a:lnTo>
                      <a:pt x="156" y="17"/>
                    </a:lnTo>
                    <a:lnTo>
                      <a:pt x="156" y="17"/>
                    </a:lnTo>
                    <a:lnTo>
                      <a:pt x="159" y="17"/>
                    </a:lnTo>
                    <a:lnTo>
                      <a:pt x="159" y="17"/>
                    </a:lnTo>
                    <a:lnTo>
                      <a:pt x="160" y="14"/>
                    </a:lnTo>
                    <a:lnTo>
                      <a:pt x="160" y="14"/>
                    </a:lnTo>
                    <a:lnTo>
                      <a:pt x="160" y="17"/>
                    </a:lnTo>
                    <a:lnTo>
                      <a:pt x="160" y="17"/>
                    </a:lnTo>
                    <a:lnTo>
                      <a:pt x="163" y="17"/>
                    </a:lnTo>
                    <a:lnTo>
                      <a:pt x="163" y="17"/>
                    </a:lnTo>
                    <a:lnTo>
                      <a:pt x="167" y="14"/>
                    </a:lnTo>
                    <a:lnTo>
                      <a:pt x="167" y="14"/>
                    </a:lnTo>
                    <a:lnTo>
                      <a:pt x="167" y="14"/>
                    </a:lnTo>
                    <a:lnTo>
                      <a:pt x="167" y="14"/>
                    </a:lnTo>
                    <a:lnTo>
                      <a:pt x="167" y="14"/>
                    </a:lnTo>
                    <a:lnTo>
                      <a:pt x="167" y="14"/>
                    </a:lnTo>
                    <a:lnTo>
                      <a:pt x="168" y="14"/>
                    </a:lnTo>
                    <a:lnTo>
                      <a:pt x="168" y="14"/>
                    </a:lnTo>
                    <a:lnTo>
                      <a:pt x="170" y="14"/>
                    </a:lnTo>
                    <a:lnTo>
                      <a:pt x="170" y="14"/>
                    </a:lnTo>
                    <a:lnTo>
                      <a:pt x="170" y="14"/>
                    </a:lnTo>
                    <a:lnTo>
                      <a:pt x="170" y="14"/>
                    </a:lnTo>
                    <a:lnTo>
                      <a:pt x="167" y="11"/>
                    </a:lnTo>
                    <a:lnTo>
                      <a:pt x="167" y="8"/>
                    </a:lnTo>
                    <a:lnTo>
                      <a:pt x="167" y="8"/>
                    </a:lnTo>
                    <a:lnTo>
                      <a:pt x="167" y="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42" name="Freeform 138">
                <a:extLst>
                  <a:ext uri="{FF2B5EF4-FFF2-40B4-BE49-F238E27FC236}">
                    <a16:creationId xmlns:a16="http://schemas.microsoft.com/office/drawing/2014/main" id="{CD2A33FB-6743-982D-6FB3-ED0E3EF3D282}"/>
                  </a:ext>
                </a:extLst>
              </p:cNvPr>
              <p:cNvSpPr>
                <a:spLocks/>
              </p:cNvSpPr>
              <p:nvPr/>
            </p:nvSpPr>
            <p:spPr bwMode="auto">
              <a:xfrm>
                <a:off x="6101147" y="4215769"/>
                <a:ext cx="352162" cy="394780"/>
              </a:xfrm>
              <a:custGeom>
                <a:avLst/>
                <a:gdLst>
                  <a:gd name="T0" fmla="*/ 9 w 157"/>
                  <a:gd name="T1" fmla="*/ 164 h 176"/>
                  <a:gd name="T2" fmla="*/ 17 w 157"/>
                  <a:gd name="T3" fmla="*/ 161 h 176"/>
                  <a:gd name="T4" fmla="*/ 25 w 157"/>
                  <a:gd name="T5" fmla="*/ 164 h 176"/>
                  <a:gd name="T6" fmla="*/ 41 w 157"/>
                  <a:gd name="T7" fmla="*/ 167 h 176"/>
                  <a:gd name="T8" fmla="*/ 81 w 157"/>
                  <a:gd name="T9" fmla="*/ 167 h 176"/>
                  <a:gd name="T10" fmla="*/ 86 w 157"/>
                  <a:gd name="T11" fmla="*/ 167 h 176"/>
                  <a:gd name="T12" fmla="*/ 97 w 157"/>
                  <a:gd name="T13" fmla="*/ 173 h 176"/>
                  <a:gd name="T14" fmla="*/ 114 w 157"/>
                  <a:gd name="T15" fmla="*/ 176 h 176"/>
                  <a:gd name="T16" fmla="*/ 119 w 157"/>
                  <a:gd name="T17" fmla="*/ 173 h 176"/>
                  <a:gd name="T18" fmla="*/ 140 w 157"/>
                  <a:gd name="T19" fmla="*/ 172 h 176"/>
                  <a:gd name="T20" fmla="*/ 143 w 157"/>
                  <a:gd name="T21" fmla="*/ 164 h 176"/>
                  <a:gd name="T22" fmla="*/ 136 w 157"/>
                  <a:gd name="T23" fmla="*/ 159 h 176"/>
                  <a:gd name="T24" fmla="*/ 130 w 157"/>
                  <a:gd name="T25" fmla="*/ 148 h 176"/>
                  <a:gd name="T26" fmla="*/ 132 w 157"/>
                  <a:gd name="T27" fmla="*/ 107 h 176"/>
                  <a:gd name="T28" fmla="*/ 140 w 157"/>
                  <a:gd name="T29" fmla="*/ 103 h 176"/>
                  <a:gd name="T30" fmla="*/ 157 w 157"/>
                  <a:gd name="T31" fmla="*/ 103 h 176"/>
                  <a:gd name="T32" fmla="*/ 157 w 157"/>
                  <a:gd name="T33" fmla="*/ 95 h 176"/>
                  <a:gd name="T34" fmla="*/ 157 w 157"/>
                  <a:gd name="T35" fmla="*/ 80 h 176"/>
                  <a:gd name="T36" fmla="*/ 156 w 157"/>
                  <a:gd name="T37" fmla="*/ 73 h 176"/>
                  <a:gd name="T38" fmla="*/ 149 w 157"/>
                  <a:gd name="T39" fmla="*/ 76 h 176"/>
                  <a:gd name="T40" fmla="*/ 143 w 157"/>
                  <a:gd name="T41" fmla="*/ 76 h 176"/>
                  <a:gd name="T42" fmla="*/ 135 w 157"/>
                  <a:gd name="T43" fmla="*/ 78 h 176"/>
                  <a:gd name="T44" fmla="*/ 135 w 157"/>
                  <a:gd name="T45" fmla="*/ 73 h 176"/>
                  <a:gd name="T46" fmla="*/ 133 w 157"/>
                  <a:gd name="T47" fmla="*/ 59 h 176"/>
                  <a:gd name="T48" fmla="*/ 130 w 157"/>
                  <a:gd name="T49" fmla="*/ 48 h 176"/>
                  <a:gd name="T50" fmla="*/ 130 w 157"/>
                  <a:gd name="T51" fmla="*/ 35 h 176"/>
                  <a:gd name="T52" fmla="*/ 130 w 157"/>
                  <a:gd name="T53" fmla="*/ 22 h 176"/>
                  <a:gd name="T54" fmla="*/ 117 w 157"/>
                  <a:gd name="T55" fmla="*/ 21 h 176"/>
                  <a:gd name="T56" fmla="*/ 114 w 157"/>
                  <a:gd name="T57" fmla="*/ 19 h 176"/>
                  <a:gd name="T58" fmla="*/ 111 w 157"/>
                  <a:gd name="T59" fmla="*/ 16 h 176"/>
                  <a:gd name="T60" fmla="*/ 102 w 157"/>
                  <a:gd name="T61" fmla="*/ 19 h 176"/>
                  <a:gd name="T62" fmla="*/ 100 w 157"/>
                  <a:gd name="T63" fmla="*/ 26 h 176"/>
                  <a:gd name="T64" fmla="*/ 98 w 157"/>
                  <a:gd name="T65" fmla="*/ 32 h 176"/>
                  <a:gd name="T66" fmla="*/ 82 w 157"/>
                  <a:gd name="T67" fmla="*/ 32 h 176"/>
                  <a:gd name="T68" fmla="*/ 73 w 157"/>
                  <a:gd name="T69" fmla="*/ 30 h 176"/>
                  <a:gd name="T70" fmla="*/ 68 w 157"/>
                  <a:gd name="T71" fmla="*/ 21 h 176"/>
                  <a:gd name="T72" fmla="*/ 67 w 157"/>
                  <a:gd name="T73" fmla="*/ 13 h 176"/>
                  <a:gd name="T74" fmla="*/ 65 w 157"/>
                  <a:gd name="T75" fmla="*/ 10 h 176"/>
                  <a:gd name="T76" fmla="*/ 62 w 157"/>
                  <a:gd name="T77" fmla="*/ 2 h 176"/>
                  <a:gd name="T78" fmla="*/ 49 w 157"/>
                  <a:gd name="T79" fmla="*/ 0 h 176"/>
                  <a:gd name="T80" fmla="*/ 29 w 157"/>
                  <a:gd name="T81" fmla="*/ 0 h 176"/>
                  <a:gd name="T82" fmla="*/ 14 w 157"/>
                  <a:gd name="T83" fmla="*/ 3 h 176"/>
                  <a:gd name="T84" fmla="*/ 9 w 157"/>
                  <a:gd name="T85" fmla="*/ 7 h 176"/>
                  <a:gd name="T86" fmla="*/ 14 w 157"/>
                  <a:gd name="T87" fmla="*/ 18 h 176"/>
                  <a:gd name="T88" fmla="*/ 22 w 157"/>
                  <a:gd name="T89" fmla="*/ 37 h 176"/>
                  <a:gd name="T90" fmla="*/ 21 w 157"/>
                  <a:gd name="T91" fmla="*/ 45 h 176"/>
                  <a:gd name="T92" fmla="*/ 19 w 157"/>
                  <a:gd name="T93" fmla="*/ 54 h 176"/>
                  <a:gd name="T94" fmla="*/ 24 w 157"/>
                  <a:gd name="T95" fmla="*/ 65 h 176"/>
                  <a:gd name="T96" fmla="*/ 27 w 157"/>
                  <a:gd name="T97" fmla="*/ 87 h 176"/>
                  <a:gd name="T98" fmla="*/ 21 w 157"/>
                  <a:gd name="T99" fmla="*/ 97 h 176"/>
                  <a:gd name="T100" fmla="*/ 16 w 157"/>
                  <a:gd name="T101" fmla="*/ 103 h 176"/>
                  <a:gd name="T102" fmla="*/ 9 w 157"/>
                  <a:gd name="T103" fmla="*/ 116 h 176"/>
                  <a:gd name="T104" fmla="*/ 6 w 157"/>
                  <a:gd name="T105" fmla="*/ 130 h 176"/>
                  <a:gd name="T106" fmla="*/ 6 w 157"/>
                  <a:gd name="T107" fmla="*/ 138 h 176"/>
                  <a:gd name="T108" fmla="*/ 3 w 157"/>
                  <a:gd name="T109" fmla="*/ 146 h 176"/>
                  <a:gd name="T110" fmla="*/ 2 w 157"/>
                  <a:gd name="T111" fmla="*/ 1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76">
                    <a:moveTo>
                      <a:pt x="3" y="164"/>
                    </a:moveTo>
                    <a:lnTo>
                      <a:pt x="3" y="164"/>
                    </a:lnTo>
                    <a:lnTo>
                      <a:pt x="6" y="164"/>
                    </a:lnTo>
                    <a:lnTo>
                      <a:pt x="6" y="164"/>
                    </a:lnTo>
                    <a:lnTo>
                      <a:pt x="9" y="164"/>
                    </a:lnTo>
                    <a:lnTo>
                      <a:pt x="9" y="164"/>
                    </a:lnTo>
                    <a:lnTo>
                      <a:pt x="13" y="164"/>
                    </a:lnTo>
                    <a:lnTo>
                      <a:pt x="13" y="164"/>
                    </a:lnTo>
                    <a:lnTo>
                      <a:pt x="13" y="164"/>
                    </a:lnTo>
                    <a:lnTo>
                      <a:pt x="13" y="164"/>
                    </a:lnTo>
                    <a:lnTo>
                      <a:pt x="17" y="161"/>
                    </a:lnTo>
                    <a:lnTo>
                      <a:pt x="17" y="161"/>
                    </a:lnTo>
                    <a:lnTo>
                      <a:pt x="19" y="161"/>
                    </a:lnTo>
                    <a:lnTo>
                      <a:pt x="19" y="161"/>
                    </a:lnTo>
                    <a:lnTo>
                      <a:pt x="21" y="161"/>
                    </a:lnTo>
                    <a:lnTo>
                      <a:pt x="21" y="161"/>
                    </a:lnTo>
                    <a:lnTo>
                      <a:pt x="25" y="164"/>
                    </a:lnTo>
                    <a:lnTo>
                      <a:pt x="25" y="164"/>
                    </a:lnTo>
                    <a:lnTo>
                      <a:pt x="30" y="167"/>
                    </a:lnTo>
                    <a:lnTo>
                      <a:pt x="30" y="167"/>
                    </a:lnTo>
                    <a:lnTo>
                      <a:pt x="33" y="167"/>
                    </a:lnTo>
                    <a:lnTo>
                      <a:pt x="33" y="167"/>
                    </a:lnTo>
                    <a:lnTo>
                      <a:pt x="41" y="167"/>
                    </a:lnTo>
                    <a:lnTo>
                      <a:pt x="41" y="167"/>
                    </a:lnTo>
                    <a:lnTo>
                      <a:pt x="56" y="167"/>
                    </a:lnTo>
                    <a:lnTo>
                      <a:pt x="56" y="167"/>
                    </a:lnTo>
                    <a:lnTo>
                      <a:pt x="79" y="167"/>
                    </a:lnTo>
                    <a:lnTo>
                      <a:pt x="79" y="167"/>
                    </a:lnTo>
                    <a:lnTo>
                      <a:pt x="81" y="167"/>
                    </a:lnTo>
                    <a:lnTo>
                      <a:pt x="81" y="167"/>
                    </a:lnTo>
                    <a:lnTo>
                      <a:pt x="82" y="167"/>
                    </a:lnTo>
                    <a:lnTo>
                      <a:pt x="82" y="167"/>
                    </a:lnTo>
                    <a:lnTo>
                      <a:pt x="84" y="167"/>
                    </a:lnTo>
                    <a:lnTo>
                      <a:pt x="84" y="167"/>
                    </a:lnTo>
                    <a:lnTo>
                      <a:pt x="86" y="167"/>
                    </a:lnTo>
                    <a:lnTo>
                      <a:pt x="86" y="167"/>
                    </a:lnTo>
                    <a:lnTo>
                      <a:pt x="89" y="170"/>
                    </a:lnTo>
                    <a:lnTo>
                      <a:pt x="89" y="170"/>
                    </a:lnTo>
                    <a:lnTo>
                      <a:pt x="92" y="173"/>
                    </a:lnTo>
                    <a:lnTo>
                      <a:pt x="92" y="173"/>
                    </a:lnTo>
                    <a:lnTo>
                      <a:pt x="97" y="173"/>
                    </a:lnTo>
                    <a:lnTo>
                      <a:pt x="97" y="173"/>
                    </a:lnTo>
                    <a:lnTo>
                      <a:pt x="105" y="173"/>
                    </a:lnTo>
                    <a:lnTo>
                      <a:pt x="105" y="173"/>
                    </a:lnTo>
                    <a:lnTo>
                      <a:pt x="111" y="173"/>
                    </a:lnTo>
                    <a:lnTo>
                      <a:pt x="111" y="173"/>
                    </a:lnTo>
                    <a:lnTo>
                      <a:pt x="114" y="176"/>
                    </a:lnTo>
                    <a:lnTo>
                      <a:pt x="114" y="176"/>
                    </a:lnTo>
                    <a:lnTo>
                      <a:pt x="114" y="176"/>
                    </a:lnTo>
                    <a:lnTo>
                      <a:pt x="114" y="176"/>
                    </a:lnTo>
                    <a:lnTo>
                      <a:pt x="116" y="176"/>
                    </a:lnTo>
                    <a:lnTo>
                      <a:pt x="116" y="176"/>
                    </a:lnTo>
                    <a:lnTo>
                      <a:pt x="119" y="173"/>
                    </a:lnTo>
                    <a:lnTo>
                      <a:pt x="119" y="173"/>
                    </a:lnTo>
                    <a:lnTo>
                      <a:pt x="122" y="173"/>
                    </a:lnTo>
                    <a:lnTo>
                      <a:pt x="122" y="173"/>
                    </a:lnTo>
                    <a:lnTo>
                      <a:pt x="127" y="173"/>
                    </a:lnTo>
                    <a:lnTo>
                      <a:pt x="127" y="173"/>
                    </a:lnTo>
                    <a:lnTo>
                      <a:pt x="140" y="172"/>
                    </a:lnTo>
                    <a:lnTo>
                      <a:pt x="140" y="172"/>
                    </a:lnTo>
                    <a:lnTo>
                      <a:pt x="148" y="170"/>
                    </a:lnTo>
                    <a:lnTo>
                      <a:pt x="148" y="170"/>
                    </a:lnTo>
                    <a:lnTo>
                      <a:pt x="148" y="170"/>
                    </a:lnTo>
                    <a:lnTo>
                      <a:pt x="149" y="170"/>
                    </a:lnTo>
                    <a:lnTo>
                      <a:pt x="149" y="170"/>
                    </a:lnTo>
                    <a:lnTo>
                      <a:pt x="143" y="164"/>
                    </a:lnTo>
                    <a:lnTo>
                      <a:pt x="143" y="164"/>
                    </a:lnTo>
                    <a:lnTo>
                      <a:pt x="140" y="161"/>
                    </a:lnTo>
                    <a:lnTo>
                      <a:pt x="140" y="161"/>
                    </a:lnTo>
                    <a:lnTo>
                      <a:pt x="140" y="161"/>
                    </a:lnTo>
                    <a:lnTo>
                      <a:pt x="140" y="161"/>
                    </a:lnTo>
                    <a:lnTo>
                      <a:pt x="136" y="159"/>
                    </a:lnTo>
                    <a:lnTo>
                      <a:pt x="136" y="159"/>
                    </a:lnTo>
                    <a:lnTo>
                      <a:pt x="133" y="154"/>
                    </a:lnTo>
                    <a:lnTo>
                      <a:pt x="133" y="154"/>
                    </a:lnTo>
                    <a:lnTo>
                      <a:pt x="132" y="151"/>
                    </a:lnTo>
                    <a:lnTo>
                      <a:pt x="132" y="151"/>
                    </a:lnTo>
                    <a:lnTo>
                      <a:pt x="130" y="148"/>
                    </a:lnTo>
                    <a:lnTo>
                      <a:pt x="130" y="148"/>
                    </a:lnTo>
                    <a:lnTo>
                      <a:pt x="132" y="132"/>
                    </a:lnTo>
                    <a:lnTo>
                      <a:pt x="132" y="132"/>
                    </a:lnTo>
                    <a:lnTo>
                      <a:pt x="132" y="114"/>
                    </a:lnTo>
                    <a:lnTo>
                      <a:pt x="132" y="114"/>
                    </a:lnTo>
                    <a:lnTo>
                      <a:pt x="132" y="107"/>
                    </a:lnTo>
                    <a:lnTo>
                      <a:pt x="132" y="107"/>
                    </a:lnTo>
                    <a:lnTo>
                      <a:pt x="132" y="103"/>
                    </a:lnTo>
                    <a:lnTo>
                      <a:pt x="132" y="103"/>
                    </a:lnTo>
                    <a:lnTo>
                      <a:pt x="132" y="103"/>
                    </a:lnTo>
                    <a:lnTo>
                      <a:pt x="132" y="103"/>
                    </a:lnTo>
                    <a:lnTo>
                      <a:pt x="140" y="103"/>
                    </a:lnTo>
                    <a:lnTo>
                      <a:pt x="140" y="103"/>
                    </a:lnTo>
                    <a:lnTo>
                      <a:pt x="149" y="103"/>
                    </a:lnTo>
                    <a:lnTo>
                      <a:pt x="149" y="103"/>
                    </a:lnTo>
                    <a:lnTo>
                      <a:pt x="152" y="103"/>
                    </a:lnTo>
                    <a:lnTo>
                      <a:pt x="152" y="103"/>
                    </a:lnTo>
                    <a:lnTo>
                      <a:pt x="157" y="103"/>
                    </a:lnTo>
                    <a:lnTo>
                      <a:pt x="157" y="103"/>
                    </a:lnTo>
                    <a:lnTo>
                      <a:pt x="156" y="100"/>
                    </a:lnTo>
                    <a:lnTo>
                      <a:pt x="156" y="100"/>
                    </a:lnTo>
                    <a:lnTo>
                      <a:pt x="156" y="97"/>
                    </a:lnTo>
                    <a:lnTo>
                      <a:pt x="156" y="97"/>
                    </a:lnTo>
                    <a:lnTo>
                      <a:pt x="157" y="95"/>
                    </a:lnTo>
                    <a:lnTo>
                      <a:pt x="157" y="95"/>
                    </a:lnTo>
                    <a:lnTo>
                      <a:pt x="157" y="91"/>
                    </a:lnTo>
                    <a:lnTo>
                      <a:pt x="157" y="91"/>
                    </a:lnTo>
                    <a:lnTo>
                      <a:pt x="157" y="87"/>
                    </a:lnTo>
                    <a:lnTo>
                      <a:pt x="157" y="87"/>
                    </a:lnTo>
                    <a:lnTo>
                      <a:pt x="157" y="80"/>
                    </a:lnTo>
                    <a:lnTo>
                      <a:pt x="157" y="80"/>
                    </a:lnTo>
                    <a:lnTo>
                      <a:pt x="157" y="76"/>
                    </a:lnTo>
                    <a:lnTo>
                      <a:pt x="157" y="76"/>
                    </a:lnTo>
                    <a:lnTo>
                      <a:pt x="157" y="73"/>
                    </a:lnTo>
                    <a:lnTo>
                      <a:pt x="157" y="73"/>
                    </a:lnTo>
                    <a:lnTo>
                      <a:pt x="156" y="73"/>
                    </a:lnTo>
                    <a:lnTo>
                      <a:pt x="156" y="73"/>
                    </a:lnTo>
                    <a:lnTo>
                      <a:pt x="154" y="73"/>
                    </a:lnTo>
                    <a:lnTo>
                      <a:pt x="154" y="73"/>
                    </a:lnTo>
                    <a:lnTo>
                      <a:pt x="151" y="73"/>
                    </a:lnTo>
                    <a:lnTo>
                      <a:pt x="151" y="73"/>
                    </a:lnTo>
                    <a:lnTo>
                      <a:pt x="149" y="76"/>
                    </a:lnTo>
                    <a:lnTo>
                      <a:pt x="149" y="76"/>
                    </a:lnTo>
                    <a:lnTo>
                      <a:pt x="146" y="76"/>
                    </a:lnTo>
                    <a:lnTo>
                      <a:pt x="146" y="76"/>
                    </a:lnTo>
                    <a:lnTo>
                      <a:pt x="143" y="76"/>
                    </a:lnTo>
                    <a:lnTo>
                      <a:pt x="143" y="76"/>
                    </a:lnTo>
                    <a:lnTo>
                      <a:pt x="143" y="76"/>
                    </a:lnTo>
                    <a:lnTo>
                      <a:pt x="143" y="76"/>
                    </a:lnTo>
                    <a:lnTo>
                      <a:pt x="140" y="76"/>
                    </a:lnTo>
                    <a:lnTo>
                      <a:pt x="140" y="76"/>
                    </a:lnTo>
                    <a:lnTo>
                      <a:pt x="136" y="76"/>
                    </a:lnTo>
                    <a:lnTo>
                      <a:pt x="136" y="76"/>
                    </a:lnTo>
                    <a:lnTo>
                      <a:pt x="135" y="78"/>
                    </a:lnTo>
                    <a:lnTo>
                      <a:pt x="135" y="78"/>
                    </a:lnTo>
                    <a:lnTo>
                      <a:pt x="135" y="76"/>
                    </a:lnTo>
                    <a:lnTo>
                      <a:pt x="135" y="76"/>
                    </a:lnTo>
                    <a:lnTo>
                      <a:pt x="135" y="73"/>
                    </a:lnTo>
                    <a:lnTo>
                      <a:pt x="135" y="73"/>
                    </a:lnTo>
                    <a:lnTo>
                      <a:pt x="135" y="73"/>
                    </a:lnTo>
                    <a:lnTo>
                      <a:pt x="135" y="73"/>
                    </a:lnTo>
                    <a:lnTo>
                      <a:pt x="135" y="70"/>
                    </a:lnTo>
                    <a:lnTo>
                      <a:pt x="135" y="70"/>
                    </a:lnTo>
                    <a:lnTo>
                      <a:pt x="135" y="64"/>
                    </a:lnTo>
                    <a:lnTo>
                      <a:pt x="135" y="64"/>
                    </a:lnTo>
                    <a:lnTo>
                      <a:pt x="133" y="59"/>
                    </a:lnTo>
                    <a:lnTo>
                      <a:pt x="133" y="59"/>
                    </a:lnTo>
                    <a:lnTo>
                      <a:pt x="130" y="54"/>
                    </a:lnTo>
                    <a:lnTo>
                      <a:pt x="130" y="54"/>
                    </a:lnTo>
                    <a:lnTo>
                      <a:pt x="130" y="51"/>
                    </a:lnTo>
                    <a:lnTo>
                      <a:pt x="130" y="51"/>
                    </a:lnTo>
                    <a:lnTo>
                      <a:pt x="130" y="48"/>
                    </a:lnTo>
                    <a:lnTo>
                      <a:pt x="130" y="48"/>
                    </a:lnTo>
                    <a:lnTo>
                      <a:pt x="130" y="41"/>
                    </a:lnTo>
                    <a:lnTo>
                      <a:pt x="130" y="41"/>
                    </a:lnTo>
                    <a:lnTo>
                      <a:pt x="130" y="37"/>
                    </a:lnTo>
                    <a:lnTo>
                      <a:pt x="130" y="37"/>
                    </a:lnTo>
                    <a:lnTo>
                      <a:pt x="130" y="35"/>
                    </a:lnTo>
                    <a:lnTo>
                      <a:pt x="130" y="35"/>
                    </a:lnTo>
                    <a:lnTo>
                      <a:pt x="129" y="30"/>
                    </a:lnTo>
                    <a:lnTo>
                      <a:pt x="129" y="30"/>
                    </a:lnTo>
                    <a:lnTo>
                      <a:pt x="130" y="24"/>
                    </a:lnTo>
                    <a:lnTo>
                      <a:pt x="130" y="24"/>
                    </a:lnTo>
                    <a:lnTo>
                      <a:pt x="130" y="22"/>
                    </a:lnTo>
                    <a:lnTo>
                      <a:pt x="130" y="22"/>
                    </a:lnTo>
                    <a:lnTo>
                      <a:pt x="129" y="21"/>
                    </a:lnTo>
                    <a:lnTo>
                      <a:pt x="129" y="21"/>
                    </a:lnTo>
                    <a:lnTo>
                      <a:pt x="125" y="21"/>
                    </a:lnTo>
                    <a:lnTo>
                      <a:pt x="125" y="21"/>
                    </a:lnTo>
                    <a:lnTo>
                      <a:pt x="117" y="21"/>
                    </a:lnTo>
                    <a:lnTo>
                      <a:pt x="117" y="21"/>
                    </a:lnTo>
                    <a:lnTo>
                      <a:pt x="116" y="21"/>
                    </a:lnTo>
                    <a:lnTo>
                      <a:pt x="116" y="21"/>
                    </a:lnTo>
                    <a:lnTo>
                      <a:pt x="114" y="21"/>
                    </a:lnTo>
                    <a:lnTo>
                      <a:pt x="114" y="21"/>
                    </a:lnTo>
                    <a:lnTo>
                      <a:pt x="114" y="19"/>
                    </a:lnTo>
                    <a:lnTo>
                      <a:pt x="114" y="19"/>
                    </a:lnTo>
                    <a:lnTo>
                      <a:pt x="114" y="16"/>
                    </a:lnTo>
                    <a:lnTo>
                      <a:pt x="114" y="16"/>
                    </a:lnTo>
                    <a:lnTo>
                      <a:pt x="111" y="16"/>
                    </a:lnTo>
                    <a:lnTo>
                      <a:pt x="111" y="16"/>
                    </a:lnTo>
                    <a:lnTo>
                      <a:pt x="111" y="16"/>
                    </a:lnTo>
                    <a:lnTo>
                      <a:pt x="111" y="16"/>
                    </a:lnTo>
                    <a:lnTo>
                      <a:pt x="105" y="16"/>
                    </a:lnTo>
                    <a:lnTo>
                      <a:pt x="105" y="16"/>
                    </a:lnTo>
                    <a:lnTo>
                      <a:pt x="102" y="16"/>
                    </a:lnTo>
                    <a:lnTo>
                      <a:pt x="102" y="16"/>
                    </a:lnTo>
                    <a:lnTo>
                      <a:pt x="102" y="19"/>
                    </a:lnTo>
                    <a:lnTo>
                      <a:pt x="102" y="19"/>
                    </a:lnTo>
                    <a:lnTo>
                      <a:pt x="102" y="22"/>
                    </a:lnTo>
                    <a:lnTo>
                      <a:pt x="102" y="22"/>
                    </a:lnTo>
                    <a:lnTo>
                      <a:pt x="102" y="24"/>
                    </a:lnTo>
                    <a:lnTo>
                      <a:pt x="102" y="24"/>
                    </a:lnTo>
                    <a:lnTo>
                      <a:pt x="100" y="26"/>
                    </a:lnTo>
                    <a:lnTo>
                      <a:pt x="100" y="26"/>
                    </a:lnTo>
                    <a:lnTo>
                      <a:pt x="98" y="26"/>
                    </a:lnTo>
                    <a:lnTo>
                      <a:pt x="98" y="26"/>
                    </a:lnTo>
                    <a:lnTo>
                      <a:pt x="98" y="29"/>
                    </a:lnTo>
                    <a:lnTo>
                      <a:pt x="98" y="29"/>
                    </a:lnTo>
                    <a:lnTo>
                      <a:pt x="98" y="32"/>
                    </a:lnTo>
                    <a:lnTo>
                      <a:pt x="98" y="32"/>
                    </a:lnTo>
                    <a:lnTo>
                      <a:pt x="89" y="30"/>
                    </a:lnTo>
                    <a:lnTo>
                      <a:pt x="89" y="30"/>
                    </a:lnTo>
                    <a:lnTo>
                      <a:pt x="86" y="32"/>
                    </a:lnTo>
                    <a:lnTo>
                      <a:pt x="86" y="32"/>
                    </a:lnTo>
                    <a:lnTo>
                      <a:pt x="82" y="32"/>
                    </a:lnTo>
                    <a:lnTo>
                      <a:pt x="82" y="32"/>
                    </a:lnTo>
                    <a:lnTo>
                      <a:pt x="76" y="32"/>
                    </a:lnTo>
                    <a:lnTo>
                      <a:pt x="76" y="32"/>
                    </a:lnTo>
                    <a:lnTo>
                      <a:pt x="76" y="32"/>
                    </a:lnTo>
                    <a:lnTo>
                      <a:pt x="76" y="32"/>
                    </a:lnTo>
                    <a:lnTo>
                      <a:pt x="73" y="30"/>
                    </a:lnTo>
                    <a:lnTo>
                      <a:pt x="73" y="30"/>
                    </a:lnTo>
                    <a:lnTo>
                      <a:pt x="73" y="29"/>
                    </a:lnTo>
                    <a:lnTo>
                      <a:pt x="73" y="29"/>
                    </a:lnTo>
                    <a:lnTo>
                      <a:pt x="70" y="22"/>
                    </a:lnTo>
                    <a:lnTo>
                      <a:pt x="70" y="22"/>
                    </a:lnTo>
                    <a:lnTo>
                      <a:pt x="68" y="21"/>
                    </a:lnTo>
                    <a:lnTo>
                      <a:pt x="68" y="21"/>
                    </a:lnTo>
                    <a:lnTo>
                      <a:pt x="68" y="19"/>
                    </a:lnTo>
                    <a:lnTo>
                      <a:pt x="68" y="19"/>
                    </a:lnTo>
                    <a:lnTo>
                      <a:pt x="68" y="16"/>
                    </a:lnTo>
                    <a:lnTo>
                      <a:pt x="68" y="16"/>
                    </a:lnTo>
                    <a:lnTo>
                      <a:pt x="67" y="13"/>
                    </a:lnTo>
                    <a:lnTo>
                      <a:pt x="67" y="13"/>
                    </a:lnTo>
                    <a:lnTo>
                      <a:pt x="65" y="13"/>
                    </a:lnTo>
                    <a:lnTo>
                      <a:pt x="65" y="13"/>
                    </a:lnTo>
                    <a:lnTo>
                      <a:pt x="65" y="10"/>
                    </a:lnTo>
                    <a:lnTo>
                      <a:pt x="65" y="10"/>
                    </a:lnTo>
                    <a:lnTo>
                      <a:pt x="65" y="10"/>
                    </a:lnTo>
                    <a:lnTo>
                      <a:pt x="65" y="10"/>
                    </a:lnTo>
                    <a:lnTo>
                      <a:pt x="65" y="7"/>
                    </a:lnTo>
                    <a:lnTo>
                      <a:pt x="65" y="7"/>
                    </a:lnTo>
                    <a:lnTo>
                      <a:pt x="63" y="3"/>
                    </a:lnTo>
                    <a:lnTo>
                      <a:pt x="63" y="3"/>
                    </a:lnTo>
                    <a:lnTo>
                      <a:pt x="62" y="2"/>
                    </a:lnTo>
                    <a:lnTo>
                      <a:pt x="62" y="2"/>
                    </a:lnTo>
                    <a:lnTo>
                      <a:pt x="59" y="0"/>
                    </a:lnTo>
                    <a:lnTo>
                      <a:pt x="59" y="0"/>
                    </a:lnTo>
                    <a:lnTo>
                      <a:pt x="57" y="0"/>
                    </a:lnTo>
                    <a:lnTo>
                      <a:pt x="57" y="0"/>
                    </a:lnTo>
                    <a:lnTo>
                      <a:pt x="49" y="0"/>
                    </a:lnTo>
                    <a:lnTo>
                      <a:pt x="49" y="0"/>
                    </a:lnTo>
                    <a:lnTo>
                      <a:pt x="38" y="0"/>
                    </a:lnTo>
                    <a:lnTo>
                      <a:pt x="38" y="0"/>
                    </a:lnTo>
                    <a:lnTo>
                      <a:pt x="35" y="0"/>
                    </a:lnTo>
                    <a:lnTo>
                      <a:pt x="35" y="0"/>
                    </a:lnTo>
                    <a:lnTo>
                      <a:pt x="29" y="0"/>
                    </a:lnTo>
                    <a:lnTo>
                      <a:pt x="29" y="0"/>
                    </a:lnTo>
                    <a:lnTo>
                      <a:pt x="19" y="0"/>
                    </a:lnTo>
                    <a:lnTo>
                      <a:pt x="19" y="0"/>
                    </a:lnTo>
                    <a:lnTo>
                      <a:pt x="16" y="2"/>
                    </a:lnTo>
                    <a:lnTo>
                      <a:pt x="16" y="2"/>
                    </a:lnTo>
                    <a:lnTo>
                      <a:pt x="14" y="3"/>
                    </a:lnTo>
                    <a:lnTo>
                      <a:pt x="14" y="3"/>
                    </a:lnTo>
                    <a:lnTo>
                      <a:pt x="9" y="3"/>
                    </a:lnTo>
                    <a:lnTo>
                      <a:pt x="9" y="3"/>
                    </a:lnTo>
                    <a:lnTo>
                      <a:pt x="9" y="5"/>
                    </a:lnTo>
                    <a:lnTo>
                      <a:pt x="9" y="5"/>
                    </a:lnTo>
                    <a:lnTo>
                      <a:pt x="9" y="7"/>
                    </a:lnTo>
                    <a:lnTo>
                      <a:pt x="9" y="7"/>
                    </a:lnTo>
                    <a:lnTo>
                      <a:pt x="13" y="13"/>
                    </a:lnTo>
                    <a:lnTo>
                      <a:pt x="13" y="13"/>
                    </a:lnTo>
                    <a:lnTo>
                      <a:pt x="13" y="16"/>
                    </a:lnTo>
                    <a:lnTo>
                      <a:pt x="13" y="16"/>
                    </a:lnTo>
                    <a:lnTo>
                      <a:pt x="14" y="18"/>
                    </a:lnTo>
                    <a:lnTo>
                      <a:pt x="14" y="18"/>
                    </a:lnTo>
                    <a:lnTo>
                      <a:pt x="16" y="22"/>
                    </a:lnTo>
                    <a:lnTo>
                      <a:pt x="16" y="22"/>
                    </a:lnTo>
                    <a:lnTo>
                      <a:pt x="21" y="32"/>
                    </a:lnTo>
                    <a:lnTo>
                      <a:pt x="21" y="32"/>
                    </a:lnTo>
                    <a:lnTo>
                      <a:pt x="22" y="37"/>
                    </a:lnTo>
                    <a:lnTo>
                      <a:pt x="22" y="37"/>
                    </a:lnTo>
                    <a:lnTo>
                      <a:pt x="22" y="41"/>
                    </a:lnTo>
                    <a:lnTo>
                      <a:pt x="22" y="41"/>
                    </a:lnTo>
                    <a:lnTo>
                      <a:pt x="21" y="41"/>
                    </a:lnTo>
                    <a:lnTo>
                      <a:pt x="21" y="41"/>
                    </a:lnTo>
                    <a:lnTo>
                      <a:pt x="21" y="45"/>
                    </a:lnTo>
                    <a:lnTo>
                      <a:pt x="21" y="45"/>
                    </a:lnTo>
                    <a:lnTo>
                      <a:pt x="17" y="48"/>
                    </a:lnTo>
                    <a:lnTo>
                      <a:pt x="17" y="48"/>
                    </a:lnTo>
                    <a:lnTo>
                      <a:pt x="19" y="51"/>
                    </a:lnTo>
                    <a:lnTo>
                      <a:pt x="19" y="51"/>
                    </a:lnTo>
                    <a:lnTo>
                      <a:pt x="19" y="54"/>
                    </a:lnTo>
                    <a:lnTo>
                      <a:pt x="19" y="54"/>
                    </a:lnTo>
                    <a:lnTo>
                      <a:pt x="21" y="59"/>
                    </a:lnTo>
                    <a:lnTo>
                      <a:pt x="21" y="59"/>
                    </a:lnTo>
                    <a:lnTo>
                      <a:pt x="22" y="62"/>
                    </a:lnTo>
                    <a:lnTo>
                      <a:pt x="22" y="62"/>
                    </a:lnTo>
                    <a:lnTo>
                      <a:pt x="24" y="65"/>
                    </a:lnTo>
                    <a:lnTo>
                      <a:pt x="24" y="65"/>
                    </a:lnTo>
                    <a:lnTo>
                      <a:pt x="27" y="73"/>
                    </a:lnTo>
                    <a:lnTo>
                      <a:pt x="27" y="73"/>
                    </a:lnTo>
                    <a:lnTo>
                      <a:pt x="29" y="83"/>
                    </a:lnTo>
                    <a:lnTo>
                      <a:pt x="29" y="83"/>
                    </a:lnTo>
                    <a:lnTo>
                      <a:pt x="27" y="87"/>
                    </a:lnTo>
                    <a:lnTo>
                      <a:pt x="27" y="87"/>
                    </a:lnTo>
                    <a:lnTo>
                      <a:pt x="25" y="92"/>
                    </a:lnTo>
                    <a:lnTo>
                      <a:pt x="25" y="92"/>
                    </a:lnTo>
                    <a:lnTo>
                      <a:pt x="24" y="95"/>
                    </a:lnTo>
                    <a:lnTo>
                      <a:pt x="24" y="95"/>
                    </a:lnTo>
                    <a:lnTo>
                      <a:pt x="21" y="97"/>
                    </a:lnTo>
                    <a:lnTo>
                      <a:pt x="21" y="97"/>
                    </a:lnTo>
                    <a:lnTo>
                      <a:pt x="17" y="97"/>
                    </a:lnTo>
                    <a:lnTo>
                      <a:pt x="17" y="97"/>
                    </a:lnTo>
                    <a:lnTo>
                      <a:pt x="17" y="100"/>
                    </a:lnTo>
                    <a:lnTo>
                      <a:pt x="17" y="100"/>
                    </a:lnTo>
                    <a:lnTo>
                      <a:pt x="16" y="103"/>
                    </a:lnTo>
                    <a:lnTo>
                      <a:pt x="16" y="103"/>
                    </a:lnTo>
                    <a:lnTo>
                      <a:pt x="13" y="108"/>
                    </a:lnTo>
                    <a:lnTo>
                      <a:pt x="13" y="108"/>
                    </a:lnTo>
                    <a:lnTo>
                      <a:pt x="9" y="111"/>
                    </a:lnTo>
                    <a:lnTo>
                      <a:pt x="9" y="111"/>
                    </a:lnTo>
                    <a:lnTo>
                      <a:pt x="9" y="116"/>
                    </a:lnTo>
                    <a:lnTo>
                      <a:pt x="9" y="116"/>
                    </a:lnTo>
                    <a:lnTo>
                      <a:pt x="9" y="121"/>
                    </a:lnTo>
                    <a:lnTo>
                      <a:pt x="9" y="121"/>
                    </a:lnTo>
                    <a:lnTo>
                      <a:pt x="9" y="126"/>
                    </a:lnTo>
                    <a:lnTo>
                      <a:pt x="9" y="126"/>
                    </a:lnTo>
                    <a:lnTo>
                      <a:pt x="6" y="130"/>
                    </a:lnTo>
                    <a:lnTo>
                      <a:pt x="6" y="130"/>
                    </a:lnTo>
                    <a:lnTo>
                      <a:pt x="6" y="135"/>
                    </a:lnTo>
                    <a:lnTo>
                      <a:pt x="6" y="135"/>
                    </a:lnTo>
                    <a:lnTo>
                      <a:pt x="6" y="135"/>
                    </a:lnTo>
                    <a:lnTo>
                      <a:pt x="6" y="135"/>
                    </a:lnTo>
                    <a:lnTo>
                      <a:pt x="6" y="138"/>
                    </a:lnTo>
                    <a:lnTo>
                      <a:pt x="6" y="138"/>
                    </a:lnTo>
                    <a:lnTo>
                      <a:pt x="3" y="141"/>
                    </a:lnTo>
                    <a:lnTo>
                      <a:pt x="3" y="141"/>
                    </a:lnTo>
                    <a:lnTo>
                      <a:pt x="0" y="143"/>
                    </a:lnTo>
                    <a:lnTo>
                      <a:pt x="0" y="143"/>
                    </a:lnTo>
                    <a:lnTo>
                      <a:pt x="3" y="146"/>
                    </a:lnTo>
                    <a:lnTo>
                      <a:pt x="3" y="146"/>
                    </a:lnTo>
                    <a:lnTo>
                      <a:pt x="0" y="156"/>
                    </a:lnTo>
                    <a:lnTo>
                      <a:pt x="0" y="156"/>
                    </a:lnTo>
                    <a:lnTo>
                      <a:pt x="0" y="164"/>
                    </a:lnTo>
                    <a:lnTo>
                      <a:pt x="0" y="164"/>
                    </a:lnTo>
                    <a:lnTo>
                      <a:pt x="2" y="164"/>
                    </a:lnTo>
                    <a:lnTo>
                      <a:pt x="3" y="164"/>
                    </a:lnTo>
                    <a:lnTo>
                      <a:pt x="3" y="164"/>
                    </a:lnTo>
                    <a:lnTo>
                      <a:pt x="3" y="16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43" name="Freeform 140">
                <a:extLst>
                  <a:ext uri="{FF2B5EF4-FFF2-40B4-BE49-F238E27FC236}">
                    <a16:creationId xmlns:a16="http://schemas.microsoft.com/office/drawing/2014/main" id="{D262631C-CD54-8E5B-3D8C-200FE20EABC5}"/>
                  </a:ext>
                </a:extLst>
              </p:cNvPr>
              <p:cNvSpPr>
                <a:spLocks/>
              </p:cNvSpPr>
              <p:nvPr/>
            </p:nvSpPr>
            <p:spPr bwMode="auto">
              <a:xfrm>
                <a:off x="6390503" y="4294277"/>
                <a:ext cx="334218" cy="316273"/>
              </a:xfrm>
              <a:custGeom>
                <a:avLst/>
                <a:gdLst>
                  <a:gd name="T0" fmla="*/ 146 w 149"/>
                  <a:gd name="T1" fmla="*/ 24 h 141"/>
                  <a:gd name="T2" fmla="*/ 146 w 149"/>
                  <a:gd name="T3" fmla="*/ 21 h 141"/>
                  <a:gd name="T4" fmla="*/ 142 w 149"/>
                  <a:gd name="T5" fmla="*/ 16 h 141"/>
                  <a:gd name="T6" fmla="*/ 136 w 149"/>
                  <a:gd name="T7" fmla="*/ 16 h 141"/>
                  <a:gd name="T8" fmla="*/ 130 w 149"/>
                  <a:gd name="T9" fmla="*/ 10 h 141"/>
                  <a:gd name="T10" fmla="*/ 125 w 149"/>
                  <a:gd name="T11" fmla="*/ 10 h 141"/>
                  <a:gd name="T12" fmla="*/ 119 w 149"/>
                  <a:gd name="T13" fmla="*/ 6 h 141"/>
                  <a:gd name="T14" fmla="*/ 115 w 149"/>
                  <a:gd name="T15" fmla="*/ 6 h 141"/>
                  <a:gd name="T16" fmla="*/ 111 w 149"/>
                  <a:gd name="T17" fmla="*/ 3 h 141"/>
                  <a:gd name="T18" fmla="*/ 90 w 149"/>
                  <a:gd name="T19" fmla="*/ 3 h 141"/>
                  <a:gd name="T20" fmla="*/ 85 w 149"/>
                  <a:gd name="T21" fmla="*/ 13 h 141"/>
                  <a:gd name="T22" fmla="*/ 87 w 149"/>
                  <a:gd name="T23" fmla="*/ 19 h 141"/>
                  <a:gd name="T24" fmla="*/ 85 w 149"/>
                  <a:gd name="T25" fmla="*/ 38 h 141"/>
                  <a:gd name="T26" fmla="*/ 84 w 149"/>
                  <a:gd name="T27" fmla="*/ 51 h 141"/>
                  <a:gd name="T28" fmla="*/ 96 w 149"/>
                  <a:gd name="T29" fmla="*/ 60 h 141"/>
                  <a:gd name="T30" fmla="*/ 101 w 149"/>
                  <a:gd name="T31" fmla="*/ 56 h 141"/>
                  <a:gd name="T32" fmla="*/ 101 w 149"/>
                  <a:gd name="T33" fmla="*/ 75 h 141"/>
                  <a:gd name="T34" fmla="*/ 98 w 149"/>
                  <a:gd name="T35" fmla="*/ 72 h 141"/>
                  <a:gd name="T36" fmla="*/ 90 w 149"/>
                  <a:gd name="T37" fmla="*/ 72 h 141"/>
                  <a:gd name="T38" fmla="*/ 84 w 149"/>
                  <a:gd name="T39" fmla="*/ 64 h 141"/>
                  <a:gd name="T40" fmla="*/ 81 w 149"/>
                  <a:gd name="T41" fmla="*/ 60 h 141"/>
                  <a:gd name="T42" fmla="*/ 76 w 149"/>
                  <a:gd name="T43" fmla="*/ 59 h 141"/>
                  <a:gd name="T44" fmla="*/ 69 w 149"/>
                  <a:gd name="T45" fmla="*/ 52 h 141"/>
                  <a:gd name="T46" fmla="*/ 65 w 149"/>
                  <a:gd name="T47" fmla="*/ 52 h 141"/>
                  <a:gd name="T48" fmla="*/ 54 w 149"/>
                  <a:gd name="T49" fmla="*/ 52 h 141"/>
                  <a:gd name="T50" fmla="*/ 46 w 149"/>
                  <a:gd name="T51" fmla="*/ 51 h 141"/>
                  <a:gd name="T52" fmla="*/ 44 w 149"/>
                  <a:gd name="T53" fmla="*/ 41 h 141"/>
                  <a:gd name="T54" fmla="*/ 31 w 149"/>
                  <a:gd name="T55" fmla="*/ 45 h 141"/>
                  <a:gd name="T56" fmla="*/ 31 w 149"/>
                  <a:gd name="T57" fmla="*/ 41 h 141"/>
                  <a:gd name="T58" fmla="*/ 28 w 149"/>
                  <a:gd name="T59" fmla="*/ 41 h 141"/>
                  <a:gd name="T60" fmla="*/ 28 w 149"/>
                  <a:gd name="T61" fmla="*/ 56 h 141"/>
                  <a:gd name="T62" fmla="*/ 27 w 149"/>
                  <a:gd name="T63" fmla="*/ 65 h 141"/>
                  <a:gd name="T64" fmla="*/ 19 w 149"/>
                  <a:gd name="T65" fmla="*/ 68 h 141"/>
                  <a:gd name="T66" fmla="*/ 3 w 149"/>
                  <a:gd name="T67" fmla="*/ 68 h 141"/>
                  <a:gd name="T68" fmla="*/ 3 w 149"/>
                  <a:gd name="T69" fmla="*/ 97 h 141"/>
                  <a:gd name="T70" fmla="*/ 3 w 149"/>
                  <a:gd name="T71" fmla="*/ 119 h 141"/>
                  <a:gd name="T72" fmla="*/ 9 w 149"/>
                  <a:gd name="T73" fmla="*/ 124 h 141"/>
                  <a:gd name="T74" fmla="*/ 19 w 149"/>
                  <a:gd name="T75" fmla="*/ 133 h 141"/>
                  <a:gd name="T76" fmla="*/ 25 w 149"/>
                  <a:gd name="T77" fmla="*/ 133 h 141"/>
                  <a:gd name="T78" fmla="*/ 38 w 149"/>
                  <a:gd name="T79" fmla="*/ 132 h 141"/>
                  <a:gd name="T80" fmla="*/ 44 w 149"/>
                  <a:gd name="T81" fmla="*/ 137 h 141"/>
                  <a:gd name="T82" fmla="*/ 50 w 149"/>
                  <a:gd name="T83" fmla="*/ 140 h 141"/>
                  <a:gd name="T84" fmla="*/ 58 w 149"/>
                  <a:gd name="T85" fmla="*/ 140 h 141"/>
                  <a:gd name="T86" fmla="*/ 66 w 149"/>
                  <a:gd name="T87" fmla="*/ 137 h 141"/>
                  <a:gd name="T88" fmla="*/ 82 w 149"/>
                  <a:gd name="T89" fmla="*/ 121 h 141"/>
                  <a:gd name="T90" fmla="*/ 87 w 149"/>
                  <a:gd name="T91" fmla="*/ 113 h 141"/>
                  <a:gd name="T92" fmla="*/ 95 w 149"/>
                  <a:gd name="T93" fmla="*/ 106 h 141"/>
                  <a:gd name="T94" fmla="*/ 101 w 149"/>
                  <a:gd name="T95" fmla="*/ 106 h 141"/>
                  <a:gd name="T96" fmla="*/ 107 w 149"/>
                  <a:gd name="T97" fmla="*/ 100 h 141"/>
                  <a:gd name="T98" fmla="*/ 141 w 149"/>
                  <a:gd name="T99" fmla="*/ 83 h 141"/>
                  <a:gd name="T100" fmla="*/ 139 w 149"/>
                  <a:gd name="T101" fmla="*/ 83 h 141"/>
                  <a:gd name="T102" fmla="*/ 136 w 149"/>
                  <a:gd name="T103" fmla="*/ 79 h 141"/>
                  <a:gd name="T104" fmla="*/ 139 w 149"/>
                  <a:gd name="T105" fmla="*/ 75 h 141"/>
                  <a:gd name="T106" fmla="*/ 139 w 149"/>
                  <a:gd name="T107" fmla="*/ 65 h 141"/>
                  <a:gd name="T108" fmla="*/ 147 w 149"/>
                  <a:gd name="T109" fmla="*/ 59 h 141"/>
                  <a:gd name="T110" fmla="*/ 146 w 149"/>
                  <a:gd name="T111" fmla="*/ 48 h 141"/>
                  <a:gd name="T112" fmla="*/ 146 w 149"/>
                  <a:gd name="T113" fmla="*/ 38 h 141"/>
                  <a:gd name="T114" fmla="*/ 147 w 149"/>
                  <a:gd name="T115" fmla="*/ 37 h 141"/>
                  <a:gd name="T116" fmla="*/ 149 w 149"/>
                  <a:gd name="T117" fmla="*/ 3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 h="141">
                    <a:moveTo>
                      <a:pt x="147" y="27"/>
                    </a:moveTo>
                    <a:lnTo>
                      <a:pt x="147" y="27"/>
                    </a:lnTo>
                    <a:lnTo>
                      <a:pt x="146" y="25"/>
                    </a:lnTo>
                    <a:lnTo>
                      <a:pt x="146" y="25"/>
                    </a:lnTo>
                    <a:lnTo>
                      <a:pt x="146" y="24"/>
                    </a:lnTo>
                    <a:lnTo>
                      <a:pt x="146" y="24"/>
                    </a:lnTo>
                    <a:lnTo>
                      <a:pt x="146" y="22"/>
                    </a:lnTo>
                    <a:lnTo>
                      <a:pt x="146" y="22"/>
                    </a:lnTo>
                    <a:lnTo>
                      <a:pt x="146" y="22"/>
                    </a:lnTo>
                    <a:lnTo>
                      <a:pt x="146" y="22"/>
                    </a:lnTo>
                    <a:lnTo>
                      <a:pt x="146" y="21"/>
                    </a:lnTo>
                    <a:lnTo>
                      <a:pt x="146" y="21"/>
                    </a:lnTo>
                    <a:lnTo>
                      <a:pt x="142" y="19"/>
                    </a:lnTo>
                    <a:lnTo>
                      <a:pt x="142" y="19"/>
                    </a:lnTo>
                    <a:lnTo>
                      <a:pt x="142" y="18"/>
                    </a:lnTo>
                    <a:lnTo>
                      <a:pt x="142" y="18"/>
                    </a:lnTo>
                    <a:lnTo>
                      <a:pt x="142" y="16"/>
                    </a:lnTo>
                    <a:lnTo>
                      <a:pt x="142" y="16"/>
                    </a:lnTo>
                    <a:lnTo>
                      <a:pt x="139" y="16"/>
                    </a:lnTo>
                    <a:lnTo>
                      <a:pt x="139" y="16"/>
                    </a:lnTo>
                    <a:lnTo>
                      <a:pt x="139" y="16"/>
                    </a:lnTo>
                    <a:lnTo>
                      <a:pt x="139" y="16"/>
                    </a:lnTo>
                    <a:lnTo>
                      <a:pt x="136" y="16"/>
                    </a:lnTo>
                    <a:lnTo>
                      <a:pt x="136" y="16"/>
                    </a:lnTo>
                    <a:lnTo>
                      <a:pt x="136" y="13"/>
                    </a:lnTo>
                    <a:lnTo>
                      <a:pt x="136" y="13"/>
                    </a:lnTo>
                    <a:lnTo>
                      <a:pt x="133" y="13"/>
                    </a:lnTo>
                    <a:lnTo>
                      <a:pt x="133" y="13"/>
                    </a:lnTo>
                    <a:lnTo>
                      <a:pt x="130" y="10"/>
                    </a:lnTo>
                    <a:lnTo>
                      <a:pt x="130" y="10"/>
                    </a:lnTo>
                    <a:lnTo>
                      <a:pt x="128" y="10"/>
                    </a:lnTo>
                    <a:lnTo>
                      <a:pt x="128" y="10"/>
                    </a:lnTo>
                    <a:lnTo>
                      <a:pt x="127" y="10"/>
                    </a:lnTo>
                    <a:lnTo>
                      <a:pt x="127" y="10"/>
                    </a:lnTo>
                    <a:lnTo>
                      <a:pt x="125" y="10"/>
                    </a:lnTo>
                    <a:lnTo>
                      <a:pt x="125" y="10"/>
                    </a:lnTo>
                    <a:lnTo>
                      <a:pt x="123" y="6"/>
                    </a:lnTo>
                    <a:lnTo>
                      <a:pt x="123" y="6"/>
                    </a:lnTo>
                    <a:lnTo>
                      <a:pt x="119" y="5"/>
                    </a:lnTo>
                    <a:lnTo>
                      <a:pt x="119" y="5"/>
                    </a:lnTo>
                    <a:lnTo>
                      <a:pt x="119" y="6"/>
                    </a:lnTo>
                    <a:lnTo>
                      <a:pt x="119" y="6"/>
                    </a:lnTo>
                    <a:lnTo>
                      <a:pt x="119" y="6"/>
                    </a:lnTo>
                    <a:lnTo>
                      <a:pt x="119" y="6"/>
                    </a:lnTo>
                    <a:lnTo>
                      <a:pt x="117" y="6"/>
                    </a:lnTo>
                    <a:lnTo>
                      <a:pt x="117" y="6"/>
                    </a:lnTo>
                    <a:lnTo>
                      <a:pt x="115" y="6"/>
                    </a:lnTo>
                    <a:lnTo>
                      <a:pt x="115" y="6"/>
                    </a:lnTo>
                    <a:lnTo>
                      <a:pt x="112" y="5"/>
                    </a:lnTo>
                    <a:lnTo>
                      <a:pt x="112" y="5"/>
                    </a:lnTo>
                    <a:lnTo>
                      <a:pt x="111" y="5"/>
                    </a:lnTo>
                    <a:lnTo>
                      <a:pt x="111" y="5"/>
                    </a:lnTo>
                    <a:lnTo>
                      <a:pt x="111" y="3"/>
                    </a:lnTo>
                    <a:lnTo>
                      <a:pt x="111" y="3"/>
                    </a:lnTo>
                    <a:lnTo>
                      <a:pt x="111" y="3"/>
                    </a:lnTo>
                    <a:lnTo>
                      <a:pt x="111" y="3"/>
                    </a:lnTo>
                    <a:lnTo>
                      <a:pt x="111" y="0"/>
                    </a:lnTo>
                    <a:lnTo>
                      <a:pt x="111" y="0"/>
                    </a:lnTo>
                    <a:lnTo>
                      <a:pt x="90" y="3"/>
                    </a:lnTo>
                    <a:lnTo>
                      <a:pt x="90" y="3"/>
                    </a:lnTo>
                    <a:lnTo>
                      <a:pt x="90" y="6"/>
                    </a:lnTo>
                    <a:lnTo>
                      <a:pt x="90" y="6"/>
                    </a:lnTo>
                    <a:lnTo>
                      <a:pt x="88" y="10"/>
                    </a:lnTo>
                    <a:lnTo>
                      <a:pt x="88" y="10"/>
                    </a:lnTo>
                    <a:lnTo>
                      <a:pt x="85" y="13"/>
                    </a:lnTo>
                    <a:lnTo>
                      <a:pt x="85" y="13"/>
                    </a:lnTo>
                    <a:lnTo>
                      <a:pt x="84" y="16"/>
                    </a:lnTo>
                    <a:lnTo>
                      <a:pt x="84" y="16"/>
                    </a:lnTo>
                    <a:lnTo>
                      <a:pt x="85" y="16"/>
                    </a:lnTo>
                    <a:lnTo>
                      <a:pt x="85" y="16"/>
                    </a:lnTo>
                    <a:lnTo>
                      <a:pt x="87" y="19"/>
                    </a:lnTo>
                    <a:lnTo>
                      <a:pt x="87" y="19"/>
                    </a:lnTo>
                    <a:lnTo>
                      <a:pt x="87" y="27"/>
                    </a:lnTo>
                    <a:lnTo>
                      <a:pt x="87" y="27"/>
                    </a:lnTo>
                    <a:lnTo>
                      <a:pt x="87" y="35"/>
                    </a:lnTo>
                    <a:lnTo>
                      <a:pt x="87" y="35"/>
                    </a:lnTo>
                    <a:lnTo>
                      <a:pt x="85" y="38"/>
                    </a:lnTo>
                    <a:lnTo>
                      <a:pt x="85" y="38"/>
                    </a:lnTo>
                    <a:lnTo>
                      <a:pt x="84" y="41"/>
                    </a:lnTo>
                    <a:lnTo>
                      <a:pt x="84" y="41"/>
                    </a:lnTo>
                    <a:lnTo>
                      <a:pt x="84" y="48"/>
                    </a:lnTo>
                    <a:lnTo>
                      <a:pt x="84" y="48"/>
                    </a:lnTo>
                    <a:lnTo>
                      <a:pt x="84" y="51"/>
                    </a:lnTo>
                    <a:lnTo>
                      <a:pt x="84" y="51"/>
                    </a:lnTo>
                    <a:lnTo>
                      <a:pt x="90" y="57"/>
                    </a:lnTo>
                    <a:lnTo>
                      <a:pt x="90" y="57"/>
                    </a:lnTo>
                    <a:lnTo>
                      <a:pt x="93" y="59"/>
                    </a:lnTo>
                    <a:lnTo>
                      <a:pt x="93" y="59"/>
                    </a:lnTo>
                    <a:lnTo>
                      <a:pt x="96" y="60"/>
                    </a:lnTo>
                    <a:lnTo>
                      <a:pt x="96" y="60"/>
                    </a:lnTo>
                    <a:lnTo>
                      <a:pt x="96" y="59"/>
                    </a:lnTo>
                    <a:lnTo>
                      <a:pt x="96" y="59"/>
                    </a:lnTo>
                    <a:lnTo>
                      <a:pt x="98" y="57"/>
                    </a:lnTo>
                    <a:lnTo>
                      <a:pt x="98" y="57"/>
                    </a:lnTo>
                    <a:lnTo>
                      <a:pt x="101" y="56"/>
                    </a:lnTo>
                    <a:lnTo>
                      <a:pt x="101" y="56"/>
                    </a:lnTo>
                    <a:lnTo>
                      <a:pt x="101" y="72"/>
                    </a:lnTo>
                    <a:lnTo>
                      <a:pt x="101" y="72"/>
                    </a:lnTo>
                    <a:lnTo>
                      <a:pt x="101" y="72"/>
                    </a:lnTo>
                    <a:lnTo>
                      <a:pt x="101" y="72"/>
                    </a:lnTo>
                    <a:lnTo>
                      <a:pt x="101" y="75"/>
                    </a:lnTo>
                    <a:lnTo>
                      <a:pt x="101" y="75"/>
                    </a:lnTo>
                    <a:lnTo>
                      <a:pt x="100" y="73"/>
                    </a:lnTo>
                    <a:lnTo>
                      <a:pt x="100" y="73"/>
                    </a:lnTo>
                    <a:lnTo>
                      <a:pt x="100" y="72"/>
                    </a:lnTo>
                    <a:lnTo>
                      <a:pt x="100" y="72"/>
                    </a:lnTo>
                    <a:lnTo>
                      <a:pt x="98" y="72"/>
                    </a:lnTo>
                    <a:lnTo>
                      <a:pt x="98" y="72"/>
                    </a:lnTo>
                    <a:lnTo>
                      <a:pt x="95" y="73"/>
                    </a:lnTo>
                    <a:lnTo>
                      <a:pt x="95" y="73"/>
                    </a:lnTo>
                    <a:lnTo>
                      <a:pt x="92" y="73"/>
                    </a:lnTo>
                    <a:lnTo>
                      <a:pt x="92" y="73"/>
                    </a:lnTo>
                    <a:lnTo>
                      <a:pt x="90" y="72"/>
                    </a:lnTo>
                    <a:lnTo>
                      <a:pt x="90" y="72"/>
                    </a:lnTo>
                    <a:lnTo>
                      <a:pt x="87" y="68"/>
                    </a:lnTo>
                    <a:lnTo>
                      <a:pt x="87" y="68"/>
                    </a:lnTo>
                    <a:lnTo>
                      <a:pt x="84" y="65"/>
                    </a:lnTo>
                    <a:lnTo>
                      <a:pt x="84" y="65"/>
                    </a:lnTo>
                    <a:lnTo>
                      <a:pt x="84" y="64"/>
                    </a:lnTo>
                    <a:lnTo>
                      <a:pt x="84" y="64"/>
                    </a:lnTo>
                    <a:lnTo>
                      <a:pt x="84" y="62"/>
                    </a:lnTo>
                    <a:lnTo>
                      <a:pt x="84" y="62"/>
                    </a:lnTo>
                    <a:lnTo>
                      <a:pt x="82" y="60"/>
                    </a:lnTo>
                    <a:lnTo>
                      <a:pt x="82" y="60"/>
                    </a:lnTo>
                    <a:lnTo>
                      <a:pt x="81" y="60"/>
                    </a:lnTo>
                    <a:lnTo>
                      <a:pt x="81" y="60"/>
                    </a:lnTo>
                    <a:lnTo>
                      <a:pt x="79" y="59"/>
                    </a:lnTo>
                    <a:lnTo>
                      <a:pt x="79" y="59"/>
                    </a:lnTo>
                    <a:lnTo>
                      <a:pt x="76" y="57"/>
                    </a:lnTo>
                    <a:lnTo>
                      <a:pt x="76" y="57"/>
                    </a:lnTo>
                    <a:lnTo>
                      <a:pt x="76" y="59"/>
                    </a:lnTo>
                    <a:lnTo>
                      <a:pt x="76" y="59"/>
                    </a:lnTo>
                    <a:lnTo>
                      <a:pt x="73" y="57"/>
                    </a:lnTo>
                    <a:lnTo>
                      <a:pt x="73" y="57"/>
                    </a:lnTo>
                    <a:lnTo>
                      <a:pt x="73" y="54"/>
                    </a:lnTo>
                    <a:lnTo>
                      <a:pt x="73" y="54"/>
                    </a:lnTo>
                    <a:lnTo>
                      <a:pt x="69" y="52"/>
                    </a:lnTo>
                    <a:lnTo>
                      <a:pt x="69" y="52"/>
                    </a:lnTo>
                    <a:lnTo>
                      <a:pt x="66" y="48"/>
                    </a:lnTo>
                    <a:lnTo>
                      <a:pt x="66" y="48"/>
                    </a:lnTo>
                    <a:lnTo>
                      <a:pt x="66" y="51"/>
                    </a:lnTo>
                    <a:lnTo>
                      <a:pt x="66" y="51"/>
                    </a:lnTo>
                    <a:lnTo>
                      <a:pt x="65" y="52"/>
                    </a:lnTo>
                    <a:lnTo>
                      <a:pt x="65" y="52"/>
                    </a:lnTo>
                    <a:lnTo>
                      <a:pt x="63" y="54"/>
                    </a:lnTo>
                    <a:lnTo>
                      <a:pt x="63" y="54"/>
                    </a:lnTo>
                    <a:lnTo>
                      <a:pt x="57" y="52"/>
                    </a:lnTo>
                    <a:lnTo>
                      <a:pt x="57" y="52"/>
                    </a:lnTo>
                    <a:lnTo>
                      <a:pt x="54" y="52"/>
                    </a:lnTo>
                    <a:lnTo>
                      <a:pt x="54" y="52"/>
                    </a:lnTo>
                    <a:lnTo>
                      <a:pt x="50" y="51"/>
                    </a:lnTo>
                    <a:lnTo>
                      <a:pt x="50" y="51"/>
                    </a:lnTo>
                    <a:lnTo>
                      <a:pt x="47" y="51"/>
                    </a:lnTo>
                    <a:lnTo>
                      <a:pt x="47" y="51"/>
                    </a:lnTo>
                    <a:lnTo>
                      <a:pt x="46" y="51"/>
                    </a:lnTo>
                    <a:lnTo>
                      <a:pt x="46" y="51"/>
                    </a:lnTo>
                    <a:lnTo>
                      <a:pt x="44" y="48"/>
                    </a:lnTo>
                    <a:lnTo>
                      <a:pt x="44" y="48"/>
                    </a:lnTo>
                    <a:lnTo>
                      <a:pt x="44" y="45"/>
                    </a:lnTo>
                    <a:lnTo>
                      <a:pt x="44" y="45"/>
                    </a:lnTo>
                    <a:lnTo>
                      <a:pt x="44" y="41"/>
                    </a:lnTo>
                    <a:lnTo>
                      <a:pt x="44" y="41"/>
                    </a:lnTo>
                    <a:lnTo>
                      <a:pt x="38" y="45"/>
                    </a:lnTo>
                    <a:lnTo>
                      <a:pt x="38" y="45"/>
                    </a:lnTo>
                    <a:lnTo>
                      <a:pt x="34" y="45"/>
                    </a:lnTo>
                    <a:lnTo>
                      <a:pt x="34" y="45"/>
                    </a:lnTo>
                    <a:lnTo>
                      <a:pt x="31" y="45"/>
                    </a:lnTo>
                    <a:lnTo>
                      <a:pt x="31" y="45"/>
                    </a:lnTo>
                    <a:lnTo>
                      <a:pt x="31" y="41"/>
                    </a:lnTo>
                    <a:lnTo>
                      <a:pt x="31" y="41"/>
                    </a:lnTo>
                    <a:lnTo>
                      <a:pt x="31" y="41"/>
                    </a:lnTo>
                    <a:lnTo>
                      <a:pt x="31" y="41"/>
                    </a:lnTo>
                    <a:lnTo>
                      <a:pt x="31" y="41"/>
                    </a:lnTo>
                    <a:lnTo>
                      <a:pt x="31" y="41"/>
                    </a:lnTo>
                    <a:lnTo>
                      <a:pt x="30" y="38"/>
                    </a:lnTo>
                    <a:lnTo>
                      <a:pt x="30" y="38"/>
                    </a:lnTo>
                    <a:lnTo>
                      <a:pt x="28" y="38"/>
                    </a:lnTo>
                    <a:lnTo>
                      <a:pt x="28" y="38"/>
                    </a:lnTo>
                    <a:lnTo>
                      <a:pt x="28" y="41"/>
                    </a:lnTo>
                    <a:lnTo>
                      <a:pt x="28" y="41"/>
                    </a:lnTo>
                    <a:lnTo>
                      <a:pt x="28" y="45"/>
                    </a:lnTo>
                    <a:lnTo>
                      <a:pt x="28" y="45"/>
                    </a:lnTo>
                    <a:lnTo>
                      <a:pt x="28" y="52"/>
                    </a:lnTo>
                    <a:lnTo>
                      <a:pt x="28" y="52"/>
                    </a:lnTo>
                    <a:lnTo>
                      <a:pt x="28" y="56"/>
                    </a:lnTo>
                    <a:lnTo>
                      <a:pt x="28" y="56"/>
                    </a:lnTo>
                    <a:lnTo>
                      <a:pt x="28" y="60"/>
                    </a:lnTo>
                    <a:lnTo>
                      <a:pt x="28" y="60"/>
                    </a:lnTo>
                    <a:lnTo>
                      <a:pt x="27" y="62"/>
                    </a:lnTo>
                    <a:lnTo>
                      <a:pt x="27" y="62"/>
                    </a:lnTo>
                    <a:lnTo>
                      <a:pt x="27" y="65"/>
                    </a:lnTo>
                    <a:lnTo>
                      <a:pt x="27" y="65"/>
                    </a:lnTo>
                    <a:lnTo>
                      <a:pt x="28" y="68"/>
                    </a:lnTo>
                    <a:lnTo>
                      <a:pt x="28" y="68"/>
                    </a:lnTo>
                    <a:lnTo>
                      <a:pt x="23" y="68"/>
                    </a:lnTo>
                    <a:lnTo>
                      <a:pt x="23" y="68"/>
                    </a:lnTo>
                    <a:lnTo>
                      <a:pt x="19" y="68"/>
                    </a:lnTo>
                    <a:lnTo>
                      <a:pt x="19" y="68"/>
                    </a:lnTo>
                    <a:lnTo>
                      <a:pt x="11" y="68"/>
                    </a:lnTo>
                    <a:lnTo>
                      <a:pt x="11" y="68"/>
                    </a:lnTo>
                    <a:lnTo>
                      <a:pt x="3" y="68"/>
                    </a:lnTo>
                    <a:lnTo>
                      <a:pt x="3" y="68"/>
                    </a:lnTo>
                    <a:lnTo>
                      <a:pt x="3" y="68"/>
                    </a:lnTo>
                    <a:lnTo>
                      <a:pt x="3" y="68"/>
                    </a:lnTo>
                    <a:lnTo>
                      <a:pt x="3" y="72"/>
                    </a:lnTo>
                    <a:lnTo>
                      <a:pt x="3" y="72"/>
                    </a:lnTo>
                    <a:lnTo>
                      <a:pt x="3" y="79"/>
                    </a:lnTo>
                    <a:lnTo>
                      <a:pt x="3" y="79"/>
                    </a:lnTo>
                    <a:lnTo>
                      <a:pt x="3" y="97"/>
                    </a:lnTo>
                    <a:lnTo>
                      <a:pt x="3" y="97"/>
                    </a:lnTo>
                    <a:lnTo>
                      <a:pt x="0" y="113"/>
                    </a:lnTo>
                    <a:lnTo>
                      <a:pt x="0" y="113"/>
                    </a:lnTo>
                    <a:lnTo>
                      <a:pt x="3" y="116"/>
                    </a:lnTo>
                    <a:lnTo>
                      <a:pt x="3" y="116"/>
                    </a:lnTo>
                    <a:lnTo>
                      <a:pt x="3" y="119"/>
                    </a:lnTo>
                    <a:lnTo>
                      <a:pt x="3" y="119"/>
                    </a:lnTo>
                    <a:lnTo>
                      <a:pt x="7" y="124"/>
                    </a:lnTo>
                    <a:lnTo>
                      <a:pt x="7" y="124"/>
                    </a:lnTo>
                    <a:lnTo>
                      <a:pt x="9" y="124"/>
                    </a:lnTo>
                    <a:lnTo>
                      <a:pt x="9" y="124"/>
                    </a:lnTo>
                    <a:lnTo>
                      <a:pt x="9" y="124"/>
                    </a:lnTo>
                    <a:lnTo>
                      <a:pt x="9" y="124"/>
                    </a:lnTo>
                    <a:lnTo>
                      <a:pt x="14" y="130"/>
                    </a:lnTo>
                    <a:lnTo>
                      <a:pt x="14" y="130"/>
                    </a:lnTo>
                    <a:lnTo>
                      <a:pt x="19" y="133"/>
                    </a:lnTo>
                    <a:lnTo>
                      <a:pt x="19" y="133"/>
                    </a:lnTo>
                    <a:lnTo>
                      <a:pt x="19" y="133"/>
                    </a:lnTo>
                    <a:lnTo>
                      <a:pt x="19" y="133"/>
                    </a:lnTo>
                    <a:lnTo>
                      <a:pt x="19" y="133"/>
                    </a:lnTo>
                    <a:lnTo>
                      <a:pt x="20" y="135"/>
                    </a:lnTo>
                    <a:lnTo>
                      <a:pt x="22" y="133"/>
                    </a:lnTo>
                    <a:lnTo>
                      <a:pt x="22" y="133"/>
                    </a:lnTo>
                    <a:lnTo>
                      <a:pt x="25" y="133"/>
                    </a:lnTo>
                    <a:lnTo>
                      <a:pt x="25" y="133"/>
                    </a:lnTo>
                    <a:lnTo>
                      <a:pt x="31" y="132"/>
                    </a:lnTo>
                    <a:lnTo>
                      <a:pt x="31" y="132"/>
                    </a:lnTo>
                    <a:lnTo>
                      <a:pt x="34" y="133"/>
                    </a:lnTo>
                    <a:lnTo>
                      <a:pt x="34" y="133"/>
                    </a:lnTo>
                    <a:lnTo>
                      <a:pt x="38" y="132"/>
                    </a:lnTo>
                    <a:lnTo>
                      <a:pt x="38" y="132"/>
                    </a:lnTo>
                    <a:lnTo>
                      <a:pt x="38" y="133"/>
                    </a:lnTo>
                    <a:lnTo>
                      <a:pt x="38" y="133"/>
                    </a:lnTo>
                    <a:lnTo>
                      <a:pt x="41" y="137"/>
                    </a:lnTo>
                    <a:lnTo>
                      <a:pt x="41" y="137"/>
                    </a:lnTo>
                    <a:lnTo>
                      <a:pt x="44" y="137"/>
                    </a:lnTo>
                    <a:lnTo>
                      <a:pt x="44" y="137"/>
                    </a:lnTo>
                    <a:lnTo>
                      <a:pt x="47" y="137"/>
                    </a:lnTo>
                    <a:lnTo>
                      <a:pt x="47" y="137"/>
                    </a:lnTo>
                    <a:lnTo>
                      <a:pt x="49" y="138"/>
                    </a:lnTo>
                    <a:lnTo>
                      <a:pt x="49" y="138"/>
                    </a:lnTo>
                    <a:lnTo>
                      <a:pt x="50" y="140"/>
                    </a:lnTo>
                    <a:lnTo>
                      <a:pt x="50" y="140"/>
                    </a:lnTo>
                    <a:lnTo>
                      <a:pt x="52" y="140"/>
                    </a:lnTo>
                    <a:lnTo>
                      <a:pt x="52" y="140"/>
                    </a:lnTo>
                    <a:lnTo>
                      <a:pt x="55" y="138"/>
                    </a:lnTo>
                    <a:lnTo>
                      <a:pt x="55" y="138"/>
                    </a:lnTo>
                    <a:lnTo>
                      <a:pt x="58" y="140"/>
                    </a:lnTo>
                    <a:lnTo>
                      <a:pt x="58" y="140"/>
                    </a:lnTo>
                    <a:lnTo>
                      <a:pt x="61" y="141"/>
                    </a:lnTo>
                    <a:lnTo>
                      <a:pt x="61" y="141"/>
                    </a:lnTo>
                    <a:lnTo>
                      <a:pt x="63" y="140"/>
                    </a:lnTo>
                    <a:lnTo>
                      <a:pt x="63" y="140"/>
                    </a:lnTo>
                    <a:lnTo>
                      <a:pt x="66" y="137"/>
                    </a:lnTo>
                    <a:lnTo>
                      <a:pt x="66" y="137"/>
                    </a:lnTo>
                    <a:lnTo>
                      <a:pt x="73" y="127"/>
                    </a:lnTo>
                    <a:lnTo>
                      <a:pt x="73" y="127"/>
                    </a:lnTo>
                    <a:lnTo>
                      <a:pt x="76" y="124"/>
                    </a:lnTo>
                    <a:lnTo>
                      <a:pt x="76" y="124"/>
                    </a:lnTo>
                    <a:lnTo>
                      <a:pt x="82" y="121"/>
                    </a:lnTo>
                    <a:lnTo>
                      <a:pt x="82" y="121"/>
                    </a:lnTo>
                    <a:lnTo>
                      <a:pt x="84" y="121"/>
                    </a:lnTo>
                    <a:lnTo>
                      <a:pt x="84" y="121"/>
                    </a:lnTo>
                    <a:lnTo>
                      <a:pt x="87" y="118"/>
                    </a:lnTo>
                    <a:lnTo>
                      <a:pt x="87" y="118"/>
                    </a:lnTo>
                    <a:lnTo>
                      <a:pt x="87" y="113"/>
                    </a:lnTo>
                    <a:lnTo>
                      <a:pt x="87" y="113"/>
                    </a:lnTo>
                    <a:lnTo>
                      <a:pt x="88" y="111"/>
                    </a:lnTo>
                    <a:lnTo>
                      <a:pt x="88" y="111"/>
                    </a:lnTo>
                    <a:lnTo>
                      <a:pt x="90" y="110"/>
                    </a:lnTo>
                    <a:lnTo>
                      <a:pt x="90" y="110"/>
                    </a:lnTo>
                    <a:lnTo>
                      <a:pt x="95" y="106"/>
                    </a:lnTo>
                    <a:lnTo>
                      <a:pt x="95" y="106"/>
                    </a:lnTo>
                    <a:lnTo>
                      <a:pt x="98" y="106"/>
                    </a:lnTo>
                    <a:lnTo>
                      <a:pt x="98" y="106"/>
                    </a:lnTo>
                    <a:lnTo>
                      <a:pt x="98" y="106"/>
                    </a:lnTo>
                    <a:lnTo>
                      <a:pt x="100" y="106"/>
                    </a:lnTo>
                    <a:lnTo>
                      <a:pt x="100" y="106"/>
                    </a:lnTo>
                    <a:lnTo>
                      <a:pt x="101" y="106"/>
                    </a:lnTo>
                    <a:lnTo>
                      <a:pt x="101" y="106"/>
                    </a:lnTo>
                    <a:lnTo>
                      <a:pt x="107" y="106"/>
                    </a:lnTo>
                    <a:lnTo>
                      <a:pt x="107" y="106"/>
                    </a:lnTo>
                    <a:lnTo>
                      <a:pt x="107" y="103"/>
                    </a:lnTo>
                    <a:lnTo>
                      <a:pt x="107" y="103"/>
                    </a:lnTo>
                    <a:lnTo>
                      <a:pt x="107" y="100"/>
                    </a:lnTo>
                    <a:lnTo>
                      <a:pt x="107" y="100"/>
                    </a:lnTo>
                    <a:lnTo>
                      <a:pt x="104" y="97"/>
                    </a:lnTo>
                    <a:lnTo>
                      <a:pt x="104" y="97"/>
                    </a:lnTo>
                    <a:lnTo>
                      <a:pt x="123" y="91"/>
                    </a:lnTo>
                    <a:lnTo>
                      <a:pt x="123" y="91"/>
                    </a:lnTo>
                    <a:lnTo>
                      <a:pt x="141" y="83"/>
                    </a:lnTo>
                    <a:lnTo>
                      <a:pt x="141" y="83"/>
                    </a:lnTo>
                    <a:lnTo>
                      <a:pt x="142" y="83"/>
                    </a:lnTo>
                    <a:lnTo>
                      <a:pt x="142" y="83"/>
                    </a:lnTo>
                    <a:lnTo>
                      <a:pt x="141" y="83"/>
                    </a:lnTo>
                    <a:lnTo>
                      <a:pt x="141" y="83"/>
                    </a:lnTo>
                    <a:lnTo>
                      <a:pt x="139" y="83"/>
                    </a:lnTo>
                    <a:lnTo>
                      <a:pt x="139" y="83"/>
                    </a:lnTo>
                    <a:lnTo>
                      <a:pt x="139" y="81"/>
                    </a:lnTo>
                    <a:lnTo>
                      <a:pt x="139" y="81"/>
                    </a:lnTo>
                    <a:lnTo>
                      <a:pt x="138" y="81"/>
                    </a:lnTo>
                    <a:lnTo>
                      <a:pt x="138" y="81"/>
                    </a:lnTo>
                    <a:lnTo>
                      <a:pt x="136" y="79"/>
                    </a:lnTo>
                    <a:lnTo>
                      <a:pt x="136" y="79"/>
                    </a:lnTo>
                    <a:lnTo>
                      <a:pt x="136" y="78"/>
                    </a:lnTo>
                    <a:lnTo>
                      <a:pt x="136" y="78"/>
                    </a:lnTo>
                    <a:lnTo>
                      <a:pt x="139" y="75"/>
                    </a:lnTo>
                    <a:lnTo>
                      <a:pt x="139" y="75"/>
                    </a:lnTo>
                    <a:lnTo>
                      <a:pt x="139" y="75"/>
                    </a:lnTo>
                    <a:lnTo>
                      <a:pt x="139" y="72"/>
                    </a:lnTo>
                    <a:lnTo>
                      <a:pt x="139" y="72"/>
                    </a:lnTo>
                    <a:lnTo>
                      <a:pt x="142" y="68"/>
                    </a:lnTo>
                    <a:lnTo>
                      <a:pt x="142" y="68"/>
                    </a:lnTo>
                    <a:lnTo>
                      <a:pt x="139" y="65"/>
                    </a:lnTo>
                    <a:lnTo>
                      <a:pt x="139" y="65"/>
                    </a:lnTo>
                    <a:lnTo>
                      <a:pt x="142" y="62"/>
                    </a:lnTo>
                    <a:lnTo>
                      <a:pt x="142" y="62"/>
                    </a:lnTo>
                    <a:lnTo>
                      <a:pt x="142" y="62"/>
                    </a:lnTo>
                    <a:lnTo>
                      <a:pt x="142" y="62"/>
                    </a:lnTo>
                    <a:lnTo>
                      <a:pt x="147" y="59"/>
                    </a:lnTo>
                    <a:lnTo>
                      <a:pt x="147" y="59"/>
                    </a:lnTo>
                    <a:lnTo>
                      <a:pt x="146" y="57"/>
                    </a:lnTo>
                    <a:lnTo>
                      <a:pt x="146" y="57"/>
                    </a:lnTo>
                    <a:lnTo>
                      <a:pt x="146" y="54"/>
                    </a:lnTo>
                    <a:lnTo>
                      <a:pt x="146" y="54"/>
                    </a:lnTo>
                    <a:lnTo>
                      <a:pt x="146" y="48"/>
                    </a:lnTo>
                    <a:lnTo>
                      <a:pt x="146" y="48"/>
                    </a:lnTo>
                    <a:lnTo>
                      <a:pt x="146" y="45"/>
                    </a:lnTo>
                    <a:lnTo>
                      <a:pt x="146" y="45"/>
                    </a:lnTo>
                    <a:lnTo>
                      <a:pt x="146" y="41"/>
                    </a:lnTo>
                    <a:lnTo>
                      <a:pt x="146" y="41"/>
                    </a:lnTo>
                    <a:lnTo>
                      <a:pt x="146" y="38"/>
                    </a:lnTo>
                    <a:lnTo>
                      <a:pt x="146" y="38"/>
                    </a:lnTo>
                    <a:lnTo>
                      <a:pt x="146" y="38"/>
                    </a:lnTo>
                    <a:lnTo>
                      <a:pt x="146" y="38"/>
                    </a:lnTo>
                    <a:lnTo>
                      <a:pt x="146" y="38"/>
                    </a:lnTo>
                    <a:lnTo>
                      <a:pt x="146" y="38"/>
                    </a:lnTo>
                    <a:lnTo>
                      <a:pt x="146" y="38"/>
                    </a:lnTo>
                    <a:lnTo>
                      <a:pt x="147" y="37"/>
                    </a:lnTo>
                    <a:lnTo>
                      <a:pt x="147" y="37"/>
                    </a:lnTo>
                    <a:lnTo>
                      <a:pt x="149" y="35"/>
                    </a:lnTo>
                    <a:lnTo>
                      <a:pt x="149" y="35"/>
                    </a:lnTo>
                    <a:lnTo>
                      <a:pt x="149" y="33"/>
                    </a:lnTo>
                    <a:lnTo>
                      <a:pt x="149" y="33"/>
                    </a:lnTo>
                    <a:lnTo>
                      <a:pt x="149" y="30"/>
                    </a:lnTo>
                    <a:lnTo>
                      <a:pt x="147" y="27"/>
                    </a:lnTo>
                    <a:lnTo>
                      <a:pt x="147" y="27"/>
                    </a:lnTo>
                    <a:lnTo>
                      <a:pt x="147" y="27"/>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44" name="Freeform 142">
                <a:extLst>
                  <a:ext uri="{FF2B5EF4-FFF2-40B4-BE49-F238E27FC236}">
                    <a16:creationId xmlns:a16="http://schemas.microsoft.com/office/drawing/2014/main" id="{88EB1883-C1CA-F7A4-10FD-3F9D6E1C53EE}"/>
                  </a:ext>
                </a:extLst>
              </p:cNvPr>
              <p:cNvSpPr>
                <a:spLocks/>
              </p:cNvSpPr>
              <p:nvPr/>
            </p:nvSpPr>
            <p:spPr bwMode="auto">
              <a:xfrm>
                <a:off x="6011424" y="3607898"/>
                <a:ext cx="222064" cy="365621"/>
              </a:xfrm>
              <a:custGeom>
                <a:avLst/>
                <a:gdLst>
                  <a:gd name="T0" fmla="*/ 86 w 99"/>
                  <a:gd name="T1" fmla="*/ 70 h 163"/>
                  <a:gd name="T2" fmla="*/ 73 w 99"/>
                  <a:gd name="T3" fmla="*/ 52 h 163"/>
                  <a:gd name="T4" fmla="*/ 70 w 99"/>
                  <a:gd name="T5" fmla="*/ 47 h 163"/>
                  <a:gd name="T6" fmla="*/ 78 w 99"/>
                  <a:gd name="T7" fmla="*/ 44 h 163"/>
                  <a:gd name="T8" fmla="*/ 88 w 99"/>
                  <a:gd name="T9" fmla="*/ 44 h 163"/>
                  <a:gd name="T10" fmla="*/ 88 w 99"/>
                  <a:gd name="T11" fmla="*/ 41 h 163"/>
                  <a:gd name="T12" fmla="*/ 84 w 99"/>
                  <a:gd name="T13" fmla="*/ 25 h 163"/>
                  <a:gd name="T14" fmla="*/ 84 w 99"/>
                  <a:gd name="T15" fmla="*/ 12 h 163"/>
                  <a:gd name="T16" fmla="*/ 81 w 99"/>
                  <a:gd name="T17" fmla="*/ 6 h 163"/>
                  <a:gd name="T18" fmla="*/ 75 w 99"/>
                  <a:gd name="T19" fmla="*/ 3 h 163"/>
                  <a:gd name="T20" fmla="*/ 73 w 99"/>
                  <a:gd name="T21" fmla="*/ 0 h 163"/>
                  <a:gd name="T22" fmla="*/ 72 w 99"/>
                  <a:gd name="T23" fmla="*/ 1 h 163"/>
                  <a:gd name="T24" fmla="*/ 75 w 99"/>
                  <a:gd name="T25" fmla="*/ 9 h 163"/>
                  <a:gd name="T26" fmla="*/ 78 w 99"/>
                  <a:gd name="T27" fmla="*/ 17 h 163"/>
                  <a:gd name="T28" fmla="*/ 75 w 99"/>
                  <a:gd name="T29" fmla="*/ 24 h 163"/>
                  <a:gd name="T30" fmla="*/ 67 w 99"/>
                  <a:gd name="T31" fmla="*/ 30 h 163"/>
                  <a:gd name="T32" fmla="*/ 62 w 99"/>
                  <a:gd name="T33" fmla="*/ 41 h 163"/>
                  <a:gd name="T34" fmla="*/ 59 w 99"/>
                  <a:gd name="T35" fmla="*/ 50 h 163"/>
                  <a:gd name="T36" fmla="*/ 56 w 99"/>
                  <a:gd name="T37" fmla="*/ 55 h 163"/>
                  <a:gd name="T38" fmla="*/ 49 w 99"/>
                  <a:gd name="T39" fmla="*/ 63 h 163"/>
                  <a:gd name="T40" fmla="*/ 46 w 99"/>
                  <a:gd name="T41" fmla="*/ 70 h 163"/>
                  <a:gd name="T42" fmla="*/ 43 w 99"/>
                  <a:gd name="T43" fmla="*/ 82 h 163"/>
                  <a:gd name="T44" fmla="*/ 43 w 99"/>
                  <a:gd name="T45" fmla="*/ 85 h 163"/>
                  <a:gd name="T46" fmla="*/ 40 w 99"/>
                  <a:gd name="T47" fmla="*/ 92 h 163"/>
                  <a:gd name="T48" fmla="*/ 34 w 99"/>
                  <a:gd name="T49" fmla="*/ 95 h 163"/>
                  <a:gd name="T50" fmla="*/ 30 w 99"/>
                  <a:gd name="T51" fmla="*/ 90 h 163"/>
                  <a:gd name="T52" fmla="*/ 27 w 99"/>
                  <a:gd name="T53" fmla="*/ 84 h 163"/>
                  <a:gd name="T54" fmla="*/ 22 w 99"/>
                  <a:gd name="T55" fmla="*/ 89 h 163"/>
                  <a:gd name="T56" fmla="*/ 18 w 99"/>
                  <a:gd name="T57" fmla="*/ 90 h 163"/>
                  <a:gd name="T58" fmla="*/ 7 w 99"/>
                  <a:gd name="T59" fmla="*/ 103 h 163"/>
                  <a:gd name="T60" fmla="*/ 5 w 99"/>
                  <a:gd name="T61" fmla="*/ 108 h 163"/>
                  <a:gd name="T62" fmla="*/ 2 w 99"/>
                  <a:gd name="T63" fmla="*/ 119 h 163"/>
                  <a:gd name="T64" fmla="*/ 0 w 99"/>
                  <a:gd name="T65" fmla="*/ 122 h 163"/>
                  <a:gd name="T66" fmla="*/ 3 w 99"/>
                  <a:gd name="T67" fmla="*/ 122 h 163"/>
                  <a:gd name="T68" fmla="*/ 7 w 99"/>
                  <a:gd name="T69" fmla="*/ 128 h 163"/>
                  <a:gd name="T70" fmla="*/ 11 w 99"/>
                  <a:gd name="T71" fmla="*/ 128 h 163"/>
                  <a:gd name="T72" fmla="*/ 11 w 99"/>
                  <a:gd name="T73" fmla="*/ 128 h 163"/>
                  <a:gd name="T74" fmla="*/ 15 w 99"/>
                  <a:gd name="T75" fmla="*/ 131 h 163"/>
                  <a:gd name="T76" fmla="*/ 15 w 99"/>
                  <a:gd name="T77" fmla="*/ 135 h 163"/>
                  <a:gd name="T78" fmla="*/ 15 w 99"/>
                  <a:gd name="T79" fmla="*/ 138 h 163"/>
                  <a:gd name="T80" fmla="*/ 18 w 99"/>
                  <a:gd name="T81" fmla="*/ 149 h 163"/>
                  <a:gd name="T82" fmla="*/ 18 w 99"/>
                  <a:gd name="T83" fmla="*/ 155 h 163"/>
                  <a:gd name="T84" fmla="*/ 30 w 99"/>
                  <a:gd name="T85" fmla="*/ 157 h 163"/>
                  <a:gd name="T86" fmla="*/ 38 w 99"/>
                  <a:gd name="T87" fmla="*/ 154 h 163"/>
                  <a:gd name="T88" fmla="*/ 53 w 99"/>
                  <a:gd name="T89" fmla="*/ 155 h 163"/>
                  <a:gd name="T90" fmla="*/ 61 w 99"/>
                  <a:gd name="T91" fmla="*/ 155 h 163"/>
                  <a:gd name="T92" fmla="*/ 64 w 99"/>
                  <a:gd name="T93" fmla="*/ 157 h 163"/>
                  <a:gd name="T94" fmla="*/ 75 w 99"/>
                  <a:gd name="T95" fmla="*/ 157 h 163"/>
                  <a:gd name="T96" fmla="*/ 84 w 99"/>
                  <a:gd name="T97" fmla="*/ 158 h 163"/>
                  <a:gd name="T98" fmla="*/ 97 w 99"/>
                  <a:gd name="T99" fmla="*/ 163 h 163"/>
                  <a:gd name="T100" fmla="*/ 97 w 99"/>
                  <a:gd name="T101" fmla="*/ 155 h 163"/>
                  <a:gd name="T102" fmla="*/ 96 w 99"/>
                  <a:gd name="T103" fmla="*/ 144 h 163"/>
                  <a:gd name="T104" fmla="*/ 88 w 99"/>
                  <a:gd name="T105" fmla="*/ 135 h 163"/>
                  <a:gd name="T106" fmla="*/ 84 w 99"/>
                  <a:gd name="T107" fmla="*/ 128 h 163"/>
                  <a:gd name="T108" fmla="*/ 81 w 99"/>
                  <a:gd name="T109" fmla="*/ 120 h 163"/>
                  <a:gd name="T110" fmla="*/ 78 w 99"/>
                  <a:gd name="T111" fmla="*/ 111 h 163"/>
                  <a:gd name="T112" fmla="*/ 75 w 99"/>
                  <a:gd name="T113" fmla="*/ 103 h 163"/>
                  <a:gd name="T114" fmla="*/ 81 w 99"/>
                  <a:gd name="T115" fmla="*/ 95 h 163"/>
                  <a:gd name="T116" fmla="*/ 88 w 99"/>
                  <a:gd name="T117" fmla="*/ 82 h 163"/>
                  <a:gd name="T118" fmla="*/ 89 w 99"/>
                  <a:gd name="T119" fmla="*/ 79 h 163"/>
                  <a:gd name="T120" fmla="*/ 89 w 99"/>
                  <a:gd name="T121" fmla="*/ 76 h 163"/>
                  <a:gd name="T122" fmla="*/ 89 w 99"/>
                  <a:gd name="T123" fmla="*/ 76 h 163"/>
                  <a:gd name="T124" fmla="*/ 89 w 99"/>
                  <a:gd name="T125" fmla="*/ 76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163">
                    <a:moveTo>
                      <a:pt x="89" y="76"/>
                    </a:moveTo>
                    <a:lnTo>
                      <a:pt x="88" y="73"/>
                    </a:lnTo>
                    <a:lnTo>
                      <a:pt x="86" y="70"/>
                    </a:lnTo>
                    <a:lnTo>
                      <a:pt x="84" y="65"/>
                    </a:lnTo>
                    <a:lnTo>
                      <a:pt x="78" y="58"/>
                    </a:lnTo>
                    <a:lnTo>
                      <a:pt x="73" y="52"/>
                    </a:lnTo>
                    <a:lnTo>
                      <a:pt x="72" y="50"/>
                    </a:lnTo>
                    <a:lnTo>
                      <a:pt x="70" y="47"/>
                    </a:lnTo>
                    <a:lnTo>
                      <a:pt x="70" y="47"/>
                    </a:lnTo>
                    <a:lnTo>
                      <a:pt x="73" y="44"/>
                    </a:lnTo>
                    <a:lnTo>
                      <a:pt x="75" y="44"/>
                    </a:lnTo>
                    <a:lnTo>
                      <a:pt x="78" y="44"/>
                    </a:lnTo>
                    <a:lnTo>
                      <a:pt x="84" y="44"/>
                    </a:lnTo>
                    <a:lnTo>
                      <a:pt x="86" y="44"/>
                    </a:lnTo>
                    <a:lnTo>
                      <a:pt x="88" y="44"/>
                    </a:lnTo>
                    <a:lnTo>
                      <a:pt x="89" y="44"/>
                    </a:lnTo>
                    <a:lnTo>
                      <a:pt x="91" y="44"/>
                    </a:lnTo>
                    <a:lnTo>
                      <a:pt x="88" y="41"/>
                    </a:lnTo>
                    <a:lnTo>
                      <a:pt x="84" y="36"/>
                    </a:lnTo>
                    <a:lnTo>
                      <a:pt x="84" y="31"/>
                    </a:lnTo>
                    <a:lnTo>
                      <a:pt x="84" y="25"/>
                    </a:lnTo>
                    <a:lnTo>
                      <a:pt x="84" y="22"/>
                    </a:lnTo>
                    <a:lnTo>
                      <a:pt x="84" y="17"/>
                    </a:lnTo>
                    <a:lnTo>
                      <a:pt x="84" y="12"/>
                    </a:lnTo>
                    <a:lnTo>
                      <a:pt x="81" y="12"/>
                    </a:lnTo>
                    <a:lnTo>
                      <a:pt x="81" y="12"/>
                    </a:lnTo>
                    <a:lnTo>
                      <a:pt x="81" y="6"/>
                    </a:lnTo>
                    <a:lnTo>
                      <a:pt x="78" y="6"/>
                    </a:lnTo>
                    <a:lnTo>
                      <a:pt x="78" y="4"/>
                    </a:lnTo>
                    <a:lnTo>
                      <a:pt x="75" y="3"/>
                    </a:lnTo>
                    <a:lnTo>
                      <a:pt x="75" y="1"/>
                    </a:lnTo>
                    <a:lnTo>
                      <a:pt x="75" y="0"/>
                    </a:lnTo>
                    <a:lnTo>
                      <a:pt x="73" y="0"/>
                    </a:lnTo>
                    <a:lnTo>
                      <a:pt x="72" y="0"/>
                    </a:lnTo>
                    <a:lnTo>
                      <a:pt x="70" y="0"/>
                    </a:lnTo>
                    <a:lnTo>
                      <a:pt x="72" y="1"/>
                    </a:lnTo>
                    <a:lnTo>
                      <a:pt x="72" y="6"/>
                    </a:lnTo>
                    <a:lnTo>
                      <a:pt x="73" y="9"/>
                    </a:lnTo>
                    <a:lnTo>
                      <a:pt x="75" y="9"/>
                    </a:lnTo>
                    <a:lnTo>
                      <a:pt x="78" y="12"/>
                    </a:lnTo>
                    <a:lnTo>
                      <a:pt x="78" y="16"/>
                    </a:lnTo>
                    <a:lnTo>
                      <a:pt x="78" y="17"/>
                    </a:lnTo>
                    <a:lnTo>
                      <a:pt x="78" y="19"/>
                    </a:lnTo>
                    <a:lnTo>
                      <a:pt x="78" y="22"/>
                    </a:lnTo>
                    <a:lnTo>
                      <a:pt x="75" y="24"/>
                    </a:lnTo>
                    <a:lnTo>
                      <a:pt x="72" y="25"/>
                    </a:lnTo>
                    <a:lnTo>
                      <a:pt x="69" y="27"/>
                    </a:lnTo>
                    <a:lnTo>
                      <a:pt x="67" y="30"/>
                    </a:lnTo>
                    <a:lnTo>
                      <a:pt x="65" y="36"/>
                    </a:lnTo>
                    <a:lnTo>
                      <a:pt x="64" y="41"/>
                    </a:lnTo>
                    <a:lnTo>
                      <a:pt x="62" y="41"/>
                    </a:lnTo>
                    <a:lnTo>
                      <a:pt x="61" y="44"/>
                    </a:lnTo>
                    <a:lnTo>
                      <a:pt x="61" y="47"/>
                    </a:lnTo>
                    <a:lnTo>
                      <a:pt x="59" y="50"/>
                    </a:lnTo>
                    <a:lnTo>
                      <a:pt x="54" y="52"/>
                    </a:lnTo>
                    <a:lnTo>
                      <a:pt x="56" y="54"/>
                    </a:lnTo>
                    <a:lnTo>
                      <a:pt x="56" y="55"/>
                    </a:lnTo>
                    <a:lnTo>
                      <a:pt x="54" y="58"/>
                    </a:lnTo>
                    <a:lnTo>
                      <a:pt x="53" y="63"/>
                    </a:lnTo>
                    <a:lnTo>
                      <a:pt x="49" y="63"/>
                    </a:lnTo>
                    <a:lnTo>
                      <a:pt x="49" y="66"/>
                    </a:lnTo>
                    <a:lnTo>
                      <a:pt x="49" y="66"/>
                    </a:lnTo>
                    <a:lnTo>
                      <a:pt x="46" y="70"/>
                    </a:lnTo>
                    <a:lnTo>
                      <a:pt x="46" y="71"/>
                    </a:lnTo>
                    <a:lnTo>
                      <a:pt x="46" y="76"/>
                    </a:lnTo>
                    <a:lnTo>
                      <a:pt x="43" y="82"/>
                    </a:lnTo>
                    <a:lnTo>
                      <a:pt x="43" y="82"/>
                    </a:lnTo>
                    <a:lnTo>
                      <a:pt x="43" y="84"/>
                    </a:lnTo>
                    <a:lnTo>
                      <a:pt x="43" y="85"/>
                    </a:lnTo>
                    <a:lnTo>
                      <a:pt x="40" y="87"/>
                    </a:lnTo>
                    <a:lnTo>
                      <a:pt x="40" y="89"/>
                    </a:lnTo>
                    <a:lnTo>
                      <a:pt x="40" y="92"/>
                    </a:lnTo>
                    <a:lnTo>
                      <a:pt x="37" y="95"/>
                    </a:lnTo>
                    <a:lnTo>
                      <a:pt x="35" y="95"/>
                    </a:lnTo>
                    <a:lnTo>
                      <a:pt x="34" y="95"/>
                    </a:lnTo>
                    <a:lnTo>
                      <a:pt x="34" y="93"/>
                    </a:lnTo>
                    <a:lnTo>
                      <a:pt x="34" y="92"/>
                    </a:lnTo>
                    <a:lnTo>
                      <a:pt x="30" y="90"/>
                    </a:lnTo>
                    <a:lnTo>
                      <a:pt x="29" y="89"/>
                    </a:lnTo>
                    <a:lnTo>
                      <a:pt x="27" y="87"/>
                    </a:lnTo>
                    <a:lnTo>
                      <a:pt x="27" y="84"/>
                    </a:lnTo>
                    <a:lnTo>
                      <a:pt x="26" y="87"/>
                    </a:lnTo>
                    <a:lnTo>
                      <a:pt x="24" y="89"/>
                    </a:lnTo>
                    <a:lnTo>
                      <a:pt x="22" y="89"/>
                    </a:lnTo>
                    <a:lnTo>
                      <a:pt x="19" y="87"/>
                    </a:lnTo>
                    <a:lnTo>
                      <a:pt x="18" y="89"/>
                    </a:lnTo>
                    <a:lnTo>
                      <a:pt x="18" y="90"/>
                    </a:lnTo>
                    <a:lnTo>
                      <a:pt x="15" y="95"/>
                    </a:lnTo>
                    <a:lnTo>
                      <a:pt x="8" y="100"/>
                    </a:lnTo>
                    <a:lnTo>
                      <a:pt x="7" y="103"/>
                    </a:lnTo>
                    <a:lnTo>
                      <a:pt x="5" y="106"/>
                    </a:lnTo>
                    <a:lnTo>
                      <a:pt x="7" y="106"/>
                    </a:lnTo>
                    <a:lnTo>
                      <a:pt x="5" y="108"/>
                    </a:lnTo>
                    <a:lnTo>
                      <a:pt x="5" y="112"/>
                    </a:lnTo>
                    <a:lnTo>
                      <a:pt x="3" y="116"/>
                    </a:lnTo>
                    <a:lnTo>
                      <a:pt x="2" y="119"/>
                    </a:lnTo>
                    <a:lnTo>
                      <a:pt x="0" y="119"/>
                    </a:lnTo>
                    <a:lnTo>
                      <a:pt x="2" y="119"/>
                    </a:lnTo>
                    <a:lnTo>
                      <a:pt x="0" y="122"/>
                    </a:lnTo>
                    <a:lnTo>
                      <a:pt x="3" y="124"/>
                    </a:lnTo>
                    <a:lnTo>
                      <a:pt x="2" y="120"/>
                    </a:lnTo>
                    <a:lnTo>
                      <a:pt x="3" y="122"/>
                    </a:lnTo>
                    <a:lnTo>
                      <a:pt x="5" y="120"/>
                    </a:lnTo>
                    <a:lnTo>
                      <a:pt x="7" y="124"/>
                    </a:lnTo>
                    <a:lnTo>
                      <a:pt x="7" y="128"/>
                    </a:lnTo>
                    <a:lnTo>
                      <a:pt x="8" y="128"/>
                    </a:lnTo>
                    <a:lnTo>
                      <a:pt x="8" y="128"/>
                    </a:lnTo>
                    <a:lnTo>
                      <a:pt x="11" y="128"/>
                    </a:lnTo>
                    <a:lnTo>
                      <a:pt x="11" y="131"/>
                    </a:lnTo>
                    <a:lnTo>
                      <a:pt x="11" y="131"/>
                    </a:lnTo>
                    <a:lnTo>
                      <a:pt x="11" y="128"/>
                    </a:lnTo>
                    <a:lnTo>
                      <a:pt x="15" y="128"/>
                    </a:lnTo>
                    <a:lnTo>
                      <a:pt x="15" y="128"/>
                    </a:lnTo>
                    <a:lnTo>
                      <a:pt x="15" y="131"/>
                    </a:lnTo>
                    <a:lnTo>
                      <a:pt x="15" y="131"/>
                    </a:lnTo>
                    <a:lnTo>
                      <a:pt x="15" y="131"/>
                    </a:lnTo>
                    <a:lnTo>
                      <a:pt x="15" y="135"/>
                    </a:lnTo>
                    <a:lnTo>
                      <a:pt x="15" y="135"/>
                    </a:lnTo>
                    <a:lnTo>
                      <a:pt x="15" y="135"/>
                    </a:lnTo>
                    <a:lnTo>
                      <a:pt x="15" y="138"/>
                    </a:lnTo>
                    <a:lnTo>
                      <a:pt x="18" y="141"/>
                    </a:lnTo>
                    <a:lnTo>
                      <a:pt x="18" y="144"/>
                    </a:lnTo>
                    <a:lnTo>
                      <a:pt x="18" y="149"/>
                    </a:lnTo>
                    <a:lnTo>
                      <a:pt x="18" y="152"/>
                    </a:lnTo>
                    <a:lnTo>
                      <a:pt x="18" y="154"/>
                    </a:lnTo>
                    <a:lnTo>
                      <a:pt x="18" y="155"/>
                    </a:lnTo>
                    <a:lnTo>
                      <a:pt x="19" y="157"/>
                    </a:lnTo>
                    <a:lnTo>
                      <a:pt x="22" y="157"/>
                    </a:lnTo>
                    <a:lnTo>
                      <a:pt x="30" y="157"/>
                    </a:lnTo>
                    <a:lnTo>
                      <a:pt x="37" y="157"/>
                    </a:lnTo>
                    <a:lnTo>
                      <a:pt x="37" y="155"/>
                    </a:lnTo>
                    <a:lnTo>
                      <a:pt x="38" y="154"/>
                    </a:lnTo>
                    <a:lnTo>
                      <a:pt x="40" y="154"/>
                    </a:lnTo>
                    <a:lnTo>
                      <a:pt x="49" y="155"/>
                    </a:lnTo>
                    <a:lnTo>
                      <a:pt x="53" y="155"/>
                    </a:lnTo>
                    <a:lnTo>
                      <a:pt x="56" y="155"/>
                    </a:lnTo>
                    <a:lnTo>
                      <a:pt x="59" y="155"/>
                    </a:lnTo>
                    <a:lnTo>
                      <a:pt x="61" y="155"/>
                    </a:lnTo>
                    <a:lnTo>
                      <a:pt x="61" y="157"/>
                    </a:lnTo>
                    <a:lnTo>
                      <a:pt x="62" y="157"/>
                    </a:lnTo>
                    <a:lnTo>
                      <a:pt x="64" y="157"/>
                    </a:lnTo>
                    <a:lnTo>
                      <a:pt x="69" y="157"/>
                    </a:lnTo>
                    <a:lnTo>
                      <a:pt x="72" y="157"/>
                    </a:lnTo>
                    <a:lnTo>
                      <a:pt x="75" y="157"/>
                    </a:lnTo>
                    <a:lnTo>
                      <a:pt x="81" y="157"/>
                    </a:lnTo>
                    <a:lnTo>
                      <a:pt x="81" y="158"/>
                    </a:lnTo>
                    <a:lnTo>
                      <a:pt x="84" y="158"/>
                    </a:lnTo>
                    <a:lnTo>
                      <a:pt x="88" y="158"/>
                    </a:lnTo>
                    <a:lnTo>
                      <a:pt x="91" y="160"/>
                    </a:lnTo>
                    <a:lnTo>
                      <a:pt x="97" y="163"/>
                    </a:lnTo>
                    <a:lnTo>
                      <a:pt x="97" y="162"/>
                    </a:lnTo>
                    <a:lnTo>
                      <a:pt x="97" y="158"/>
                    </a:lnTo>
                    <a:lnTo>
                      <a:pt x="97" y="155"/>
                    </a:lnTo>
                    <a:lnTo>
                      <a:pt x="99" y="154"/>
                    </a:lnTo>
                    <a:lnTo>
                      <a:pt x="97" y="146"/>
                    </a:lnTo>
                    <a:lnTo>
                      <a:pt x="96" y="144"/>
                    </a:lnTo>
                    <a:lnTo>
                      <a:pt x="94" y="143"/>
                    </a:lnTo>
                    <a:lnTo>
                      <a:pt x="91" y="141"/>
                    </a:lnTo>
                    <a:lnTo>
                      <a:pt x="88" y="135"/>
                    </a:lnTo>
                    <a:lnTo>
                      <a:pt x="86" y="135"/>
                    </a:lnTo>
                    <a:lnTo>
                      <a:pt x="84" y="131"/>
                    </a:lnTo>
                    <a:lnTo>
                      <a:pt x="84" y="128"/>
                    </a:lnTo>
                    <a:lnTo>
                      <a:pt x="84" y="127"/>
                    </a:lnTo>
                    <a:lnTo>
                      <a:pt x="81" y="124"/>
                    </a:lnTo>
                    <a:lnTo>
                      <a:pt x="81" y="120"/>
                    </a:lnTo>
                    <a:lnTo>
                      <a:pt x="78" y="119"/>
                    </a:lnTo>
                    <a:lnTo>
                      <a:pt x="78" y="114"/>
                    </a:lnTo>
                    <a:lnTo>
                      <a:pt x="78" y="111"/>
                    </a:lnTo>
                    <a:lnTo>
                      <a:pt x="78" y="106"/>
                    </a:lnTo>
                    <a:lnTo>
                      <a:pt x="78" y="103"/>
                    </a:lnTo>
                    <a:lnTo>
                      <a:pt x="75" y="103"/>
                    </a:lnTo>
                    <a:lnTo>
                      <a:pt x="75" y="100"/>
                    </a:lnTo>
                    <a:lnTo>
                      <a:pt x="78" y="97"/>
                    </a:lnTo>
                    <a:lnTo>
                      <a:pt x="81" y="95"/>
                    </a:lnTo>
                    <a:lnTo>
                      <a:pt x="81" y="92"/>
                    </a:lnTo>
                    <a:lnTo>
                      <a:pt x="84" y="87"/>
                    </a:lnTo>
                    <a:lnTo>
                      <a:pt x="88" y="82"/>
                    </a:lnTo>
                    <a:lnTo>
                      <a:pt x="89" y="81"/>
                    </a:lnTo>
                    <a:lnTo>
                      <a:pt x="89" y="79"/>
                    </a:lnTo>
                    <a:lnTo>
                      <a:pt x="89" y="79"/>
                    </a:lnTo>
                    <a:lnTo>
                      <a:pt x="89" y="76"/>
                    </a:lnTo>
                    <a:lnTo>
                      <a:pt x="89" y="76"/>
                    </a:lnTo>
                    <a:lnTo>
                      <a:pt x="89" y="76"/>
                    </a:lnTo>
                    <a:lnTo>
                      <a:pt x="89" y="76"/>
                    </a:lnTo>
                    <a:lnTo>
                      <a:pt x="89" y="76"/>
                    </a:lnTo>
                    <a:lnTo>
                      <a:pt x="89" y="76"/>
                    </a:lnTo>
                    <a:lnTo>
                      <a:pt x="89" y="76"/>
                    </a:lnTo>
                    <a:lnTo>
                      <a:pt x="89" y="76"/>
                    </a:lnTo>
                    <a:lnTo>
                      <a:pt x="89" y="76"/>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45" name="Freeform 146">
                <a:extLst>
                  <a:ext uri="{FF2B5EF4-FFF2-40B4-BE49-F238E27FC236}">
                    <a16:creationId xmlns:a16="http://schemas.microsoft.com/office/drawing/2014/main" id="{3D6E18D8-631C-08D8-6C8B-85D5BCCA371C}"/>
                  </a:ext>
                </a:extLst>
              </p:cNvPr>
              <p:cNvSpPr>
                <a:spLocks/>
              </p:cNvSpPr>
              <p:nvPr/>
            </p:nvSpPr>
            <p:spPr bwMode="auto">
              <a:xfrm>
                <a:off x="5791603" y="3628085"/>
                <a:ext cx="89723" cy="197391"/>
              </a:xfrm>
              <a:custGeom>
                <a:avLst/>
                <a:gdLst>
                  <a:gd name="T0" fmla="*/ 25 w 40"/>
                  <a:gd name="T1" fmla="*/ 76 h 88"/>
                  <a:gd name="T2" fmla="*/ 25 w 40"/>
                  <a:gd name="T3" fmla="*/ 67 h 88"/>
                  <a:gd name="T4" fmla="*/ 25 w 40"/>
                  <a:gd name="T5" fmla="*/ 54 h 88"/>
                  <a:gd name="T6" fmla="*/ 27 w 40"/>
                  <a:gd name="T7" fmla="*/ 48 h 88"/>
                  <a:gd name="T8" fmla="*/ 30 w 40"/>
                  <a:gd name="T9" fmla="*/ 46 h 88"/>
                  <a:gd name="T10" fmla="*/ 30 w 40"/>
                  <a:gd name="T11" fmla="*/ 43 h 88"/>
                  <a:gd name="T12" fmla="*/ 33 w 40"/>
                  <a:gd name="T13" fmla="*/ 38 h 88"/>
                  <a:gd name="T14" fmla="*/ 38 w 40"/>
                  <a:gd name="T15" fmla="*/ 32 h 88"/>
                  <a:gd name="T16" fmla="*/ 36 w 40"/>
                  <a:gd name="T17" fmla="*/ 29 h 88"/>
                  <a:gd name="T18" fmla="*/ 40 w 40"/>
                  <a:gd name="T19" fmla="*/ 29 h 88"/>
                  <a:gd name="T20" fmla="*/ 38 w 40"/>
                  <a:gd name="T21" fmla="*/ 24 h 88"/>
                  <a:gd name="T22" fmla="*/ 38 w 40"/>
                  <a:gd name="T23" fmla="*/ 18 h 88"/>
                  <a:gd name="T24" fmla="*/ 35 w 40"/>
                  <a:gd name="T25" fmla="*/ 13 h 88"/>
                  <a:gd name="T26" fmla="*/ 36 w 40"/>
                  <a:gd name="T27" fmla="*/ 10 h 88"/>
                  <a:gd name="T28" fmla="*/ 36 w 40"/>
                  <a:gd name="T29" fmla="*/ 10 h 88"/>
                  <a:gd name="T30" fmla="*/ 30 w 40"/>
                  <a:gd name="T31" fmla="*/ 3 h 88"/>
                  <a:gd name="T32" fmla="*/ 27 w 40"/>
                  <a:gd name="T33" fmla="*/ 0 h 88"/>
                  <a:gd name="T34" fmla="*/ 25 w 40"/>
                  <a:gd name="T35" fmla="*/ 0 h 88"/>
                  <a:gd name="T36" fmla="*/ 25 w 40"/>
                  <a:gd name="T37" fmla="*/ 0 h 88"/>
                  <a:gd name="T38" fmla="*/ 22 w 40"/>
                  <a:gd name="T39" fmla="*/ 3 h 88"/>
                  <a:gd name="T40" fmla="*/ 22 w 40"/>
                  <a:gd name="T41" fmla="*/ 7 h 88"/>
                  <a:gd name="T42" fmla="*/ 22 w 40"/>
                  <a:gd name="T43" fmla="*/ 8 h 88"/>
                  <a:gd name="T44" fmla="*/ 19 w 40"/>
                  <a:gd name="T45" fmla="*/ 10 h 88"/>
                  <a:gd name="T46" fmla="*/ 16 w 40"/>
                  <a:gd name="T47" fmla="*/ 13 h 88"/>
                  <a:gd name="T48" fmla="*/ 11 w 40"/>
                  <a:gd name="T49" fmla="*/ 15 h 88"/>
                  <a:gd name="T50" fmla="*/ 8 w 40"/>
                  <a:gd name="T51" fmla="*/ 15 h 88"/>
                  <a:gd name="T52" fmla="*/ 3 w 40"/>
                  <a:gd name="T53" fmla="*/ 19 h 88"/>
                  <a:gd name="T54" fmla="*/ 0 w 40"/>
                  <a:gd name="T55" fmla="*/ 29 h 88"/>
                  <a:gd name="T56" fmla="*/ 5 w 40"/>
                  <a:gd name="T57" fmla="*/ 32 h 88"/>
                  <a:gd name="T58" fmla="*/ 8 w 40"/>
                  <a:gd name="T59" fmla="*/ 35 h 88"/>
                  <a:gd name="T60" fmla="*/ 9 w 40"/>
                  <a:gd name="T61" fmla="*/ 45 h 88"/>
                  <a:gd name="T62" fmla="*/ 13 w 40"/>
                  <a:gd name="T63" fmla="*/ 54 h 88"/>
                  <a:gd name="T64" fmla="*/ 13 w 40"/>
                  <a:gd name="T65" fmla="*/ 75 h 88"/>
                  <a:gd name="T66" fmla="*/ 11 w 40"/>
                  <a:gd name="T67" fmla="*/ 78 h 88"/>
                  <a:gd name="T68" fmla="*/ 13 w 40"/>
                  <a:gd name="T69" fmla="*/ 88 h 88"/>
                  <a:gd name="T70" fmla="*/ 19 w 40"/>
                  <a:gd name="T71" fmla="*/ 88 h 88"/>
                  <a:gd name="T72" fmla="*/ 25 w 40"/>
                  <a:gd name="T73" fmla="*/ 83 h 88"/>
                  <a:gd name="T74" fmla="*/ 25 w 40"/>
                  <a:gd name="T75" fmla="*/ 80 h 88"/>
                  <a:gd name="T76" fmla="*/ 25 w 40"/>
                  <a:gd name="T77" fmla="*/ 80 h 88"/>
                  <a:gd name="T78" fmla="*/ 25 w 40"/>
                  <a:gd name="T79" fmla="*/ 80 h 88"/>
                  <a:gd name="T80" fmla="*/ 25 w 40"/>
                  <a:gd name="T81"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 h="88">
                    <a:moveTo>
                      <a:pt x="25" y="80"/>
                    </a:moveTo>
                    <a:lnTo>
                      <a:pt x="25" y="76"/>
                    </a:lnTo>
                    <a:lnTo>
                      <a:pt x="25" y="73"/>
                    </a:lnTo>
                    <a:lnTo>
                      <a:pt x="25" y="67"/>
                    </a:lnTo>
                    <a:lnTo>
                      <a:pt x="25" y="64"/>
                    </a:lnTo>
                    <a:lnTo>
                      <a:pt x="25" y="54"/>
                    </a:lnTo>
                    <a:lnTo>
                      <a:pt x="25" y="49"/>
                    </a:lnTo>
                    <a:lnTo>
                      <a:pt x="27" y="48"/>
                    </a:lnTo>
                    <a:lnTo>
                      <a:pt x="28" y="48"/>
                    </a:lnTo>
                    <a:lnTo>
                      <a:pt x="30" y="46"/>
                    </a:lnTo>
                    <a:lnTo>
                      <a:pt x="30" y="45"/>
                    </a:lnTo>
                    <a:lnTo>
                      <a:pt x="30" y="43"/>
                    </a:lnTo>
                    <a:lnTo>
                      <a:pt x="32" y="41"/>
                    </a:lnTo>
                    <a:lnTo>
                      <a:pt x="33" y="38"/>
                    </a:lnTo>
                    <a:lnTo>
                      <a:pt x="36" y="35"/>
                    </a:lnTo>
                    <a:lnTo>
                      <a:pt x="38" y="32"/>
                    </a:lnTo>
                    <a:lnTo>
                      <a:pt x="38" y="32"/>
                    </a:lnTo>
                    <a:lnTo>
                      <a:pt x="36" y="29"/>
                    </a:lnTo>
                    <a:lnTo>
                      <a:pt x="38" y="29"/>
                    </a:lnTo>
                    <a:lnTo>
                      <a:pt x="40" y="29"/>
                    </a:lnTo>
                    <a:lnTo>
                      <a:pt x="40" y="26"/>
                    </a:lnTo>
                    <a:lnTo>
                      <a:pt x="38" y="24"/>
                    </a:lnTo>
                    <a:lnTo>
                      <a:pt x="38" y="21"/>
                    </a:lnTo>
                    <a:lnTo>
                      <a:pt x="38" y="18"/>
                    </a:lnTo>
                    <a:lnTo>
                      <a:pt x="36" y="16"/>
                    </a:lnTo>
                    <a:lnTo>
                      <a:pt x="35" y="13"/>
                    </a:lnTo>
                    <a:lnTo>
                      <a:pt x="36" y="11"/>
                    </a:lnTo>
                    <a:lnTo>
                      <a:pt x="36" y="10"/>
                    </a:lnTo>
                    <a:lnTo>
                      <a:pt x="36" y="10"/>
                    </a:lnTo>
                    <a:lnTo>
                      <a:pt x="36" y="10"/>
                    </a:lnTo>
                    <a:lnTo>
                      <a:pt x="32" y="3"/>
                    </a:lnTo>
                    <a:lnTo>
                      <a:pt x="30" y="3"/>
                    </a:lnTo>
                    <a:lnTo>
                      <a:pt x="27" y="0"/>
                    </a:lnTo>
                    <a:lnTo>
                      <a:pt x="27" y="0"/>
                    </a:lnTo>
                    <a:lnTo>
                      <a:pt x="25" y="0"/>
                    </a:lnTo>
                    <a:lnTo>
                      <a:pt x="25" y="0"/>
                    </a:lnTo>
                    <a:lnTo>
                      <a:pt x="25" y="0"/>
                    </a:lnTo>
                    <a:lnTo>
                      <a:pt x="25" y="0"/>
                    </a:lnTo>
                    <a:lnTo>
                      <a:pt x="22" y="0"/>
                    </a:lnTo>
                    <a:lnTo>
                      <a:pt x="22" y="3"/>
                    </a:lnTo>
                    <a:lnTo>
                      <a:pt x="22" y="3"/>
                    </a:lnTo>
                    <a:lnTo>
                      <a:pt x="22" y="7"/>
                    </a:lnTo>
                    <a:lnTo>
                      <a:pt x="22" y="7"/>
                    </a:lnTo>
                    <a:lnTo>
                      <a:pt x="22" y="8"/>
                    </a:lnTo>
                    <a:lnTo>
                      <a:pt x="19" y="10"/>
                    </a:lnTo>
                    <a:lnTo>
                      <a:pt x="19" y="10"/>
                    </a:lnTo>
                    <a:lnTo>
                      <a:pt x="19" y="13"/>
                    </a:lnTo>
                    <a:lnTo>
                      <a:pt x="16" y="13"/>
                    </a:lnTo>
                    <a:lnTo>
                      <a:pt x="16" y="13"/>
                    </a:lnTo>
                    <a:lnTo>
                      <a:pt x="11" y="15"/>
                    </a:lnTo>
                    <a:lnTo>
                      <a:pt x="9" y="13"/>
                    </a:lnTo>
                    <a:lnTo>
                      <a:pt x="8" y="15"/>
                    </a:lnTo>
                    <a:lnTo>
                      <a:pt x="5" y="18"/>
                    </a:lnTo>
                    <a:lnTo>
                      <a:pt x="3" y="19"/>
                    </a:lnTo>
                    <a:lnTo>
                      <a:pt x="1" y="26"/>
                    </a:lnTo>
                    <a:lnTo>
                      <a:pt x="0" y="29"/>
                    </a:lnTo>
                    <a:lnTo>
                      <a:pt x="1" y="29"/>
                    </a:lnTo>
                    <a:lnTo>
                      <a:pt x="5" y="32"/>
                    </a:lnTo>
                    <a:lnTo>
                      <a:pt x="8" y="35"/>
                    </a:lnTo>
                    <a:lnTo>
                      <a:pt x="8" y="35"/>
                    </a:lnTo>
                    <a:lnTo>
                      <a:pt x="8" y="41"/>
                    </a:lnTo>
                    <a:lnTo>
                      <a:pt x="9" y="45"/>
                    </a:lnTo>
                    <a:lnTo>
                      <a:pt x="11" y="49"/>
                    </a:lnTo>
                    <a:lnTo>
                      <a:pt x="13" y="54"/>
                    </a:lnTo>
                    <a:lnTo>
                      <a:pt x="13" y="73"/>
                    </a:lnTo>
                    <a:lnTo>
                      <a:pt x="13" y="75"/>
                    </a:lnTo>
                    <a:lnTo>
                      <a:pt x="11" y="76"/>
                    </a:lnTo>
                    <a:lnTo>
                      <a:pt x="11" y="78"/>
                    </a:lnTo>
                    <a:lnTo>
                      <a:pt x="11" y="84"/>
                    </a:lnTo>
                    <a:lnTo>
                      <a:pt x="13" y="88"/>
                    </a:lnTo>
                    <a:lnTo>
                      <a:pt x="16" y="88"/>
                    </a:lnTo>
                    <a:lnTo>
                      <a:pt x="19" y="88"/>
                    </a:lnTo>
                    <a:lnTo>
                      <a:pt x="25" y="88"/>
                    </a:lnTo>
                    <a:lnTo>
                      <a:pt x="25" y="83"/>
                    </a:lnTo>
                    <a:lnTo>
                      <a:pt x="25" y="80"/>
                    </a:lnTo>
                    <a:lnTo>
                      <a:pt x="25" y="80"/>
                    </a:lnTo>
                    <a:lnTo>
                      <a:pt x="25" y="80"/>
                    </a:lnTo>
                    <a:lnTo>
                      <a:pt x="25" y="80"/>
                    </a:lnTo>
                    <a:lnTo>
                      <a:pt x="25" y="80"/>
                    </a:lnTo>
                    <a:lnTo>
                      <a:pt x="25" y="80"/>
                    </a:lnTo>
                    <a:lnTo>
                      <a:pt x="25" y="80"/>
                    </a:lnTo>
                    <a:lnTo>
                      <a:pt x="25" y="80"/>
                    </a:lnTo>
                    <a:lnTo>
                      <a:pt x="25" y="8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46" name="Freeform 148">
                <a:extLst>
                  <a:ext uri="{FF2B5EF4-FFF2-40B4-BE49-F238E27FC236}">
                    <a16:creationId xmlns:a16="http://schemas.microsoft.com/office/drawing/2014/main" id="{77687241-2C8F-8DA6-D3F7-87E92E806ECE}"/>
                  </a:ext>
                </a:extLst>
              </p:cNvPr>
              <p:cNvSpPr>
                <a:spLocks/>
              </p:cNvSpPr>
              <p:nvPr/>
            </p:nvSpPr>
            <p:spPr bwMode="auto">
              <a:xfrm>
                <a:off x="5769172" y="3670704"/>
                <a:ext cx="53834" cy="161502"/>
              </a:xfrm>
              <a:custGeom>
                <a:avLst/>
                <a:gdLst>
                  <a:gd name="T0" fmla="*/ 23 w 24"/>
                  <a:gd name="T1" fmla="*/ 65 h 72"/>
                  <a:gd name="T2" fmla="*/ 23 w 24"/>
                  <a:gd name="T3" fmla="*/ 57 h 72"/>
                  <a:gd name="T4" fmla="*/ 23 w 24"/>
                  <a:gd name="T5" fmla="*/ 54 h 72"/>
                  <a:gd name="T6" fmla="*/ 23 w 24"/>
                  <a:gd name="T7" fmla="*/ 30 h 72"/>
                  <a:gd name="T8" fmla="*/ 19 w 24"/>
                  <a:gd name="T9" fmla="*/ 22 h 72"/>
                  <a:gd name="T10" fmla="*/ 19 w 24"/>
                  <a:gd name="T11" fmla="*/ 16 h 72"/>
                  <a:gd name="T12" fmla="*/ 13 w 24"/>
                  <a:gd name="T13" fmla="*/ 10 h 72"/>
                  <a:gd name="T14" fmla="*/ 13 w 24"/>
                  <a:gd name="T15" fmla="*/ 7 h 72"/>
                  <a:gd name="T16" fmla="*/ 13 w 24"/>
                  <a:gd name="T17" fmla="*/ 2 h 72"/>
                  <a:gd name="T18" fmla="*/ 7 w 24"/>
                  <a:gd name="T19" fmla="*/ 2 h 72"/>
                  <a:gd name="T20" fmla="*/ 0 w 24"/>
                  <a:gd name="T21" fmla="*/ 0 h 72"/>
                  <a:gd name="T22" fmla="*/ 2 w 24"/>
                  <a:gd name="T23" fmla="*/ 2 h 72"/>
                  <a:gd name="T24" fmla="*/ 2 w 24"/>
                  <a:gd name="T25" fmla="*/ 7 h 72"/>
                  <a:gd name="T26" fmla="*/ 5 w 24"/>
                  <a:gd name="T27" fmla="*/ 10 h 72"/>
                  <a:gd name="T28" fmla="*/ 7 w 24"/>
                  <a:gd name="T29" fmla="*/ 13 h 72"/>
                  <a:gd name="T30" fmla="*/ 7 w 24"/>
                  <a:gd name="T31" fmla="*/ 16 h 72"/>
                  <a:gd name="T32" fmla="*/ 7 w 24"/>
                  <a:gd name="T33" fmla="*/ 22 h 72"/>
                  <a:gd name="T34" fmla="*/ 5 w 24"/>
                  <a:gd name="T35" fmla="*/ 24 h 72"/>
                  <a:gd name="T36" fmla="*/ 8 w 24"/>
                  <a:gd name="T37" fmla="*/ 24 h 72"/>
                  <a:gd name="T38" fmla="*/ 8 w 24"/>
                  <a:gd name="T39" fmla="*/ 27 h 72"/>
                  <a:gd name="T40" fmla="*/ 8 w 24"/>
                  <a:gd name="T41" fmla="*/ 32 h 72"/>
                  <a:gd name="T42" fmla="*/ 7 w 24"/>
                  <a:gd name="T43" fmla="*/ 34 h 72"/>
                  <a:gd name="T44" fmla="*/ 11 w 24"/>
                  <a:gd name="T45" fmla="*/ 40 h 72"/>
                  <a:gd name="T46" fmla="*/ 10 w 24"/>
                  <a:gd name="T47" fmla="*/ 45 h 72"/>
                  <a:gd name="T48" fmla="*/ 8 w 24"/>
                  <a:gd name="T49" fmla="*/ 51 h 72"/>
                  <a:gd name="T50" fmla="*/ 10 w 24"/>
                  <a:gd name="T51" fmla="*/ 56 h 72"/>
                  <a:gd name="T52" fmla="*/ 8 w 24"/>
                  <a:gd name="T53" fmla="*/ 62 h 72"/>
                  <a:gd name="T54" fmla="*/ 13 w 24"/>
                  <a:gd name="T55" fmla="*/ 69 h 72"/>
                  <a:gd name="T56" fmla="*/ 16 w 24"/>
                  <a:gd name="T57" fmla="*/ 70 h 72"/>
                  <a:gd name="T58" fmla="*/ 24 w 24"/>
                  <a:gd name="T59" fmla="*/ 69 h 72"/>
                  <a:gd name="T60" fmla="*/ 24 w 24"/>
                  <a:gd name="T61" fmla="*/ 69 h 72"/>
                  <a:gd name="T62" fmla="*/ 24 w 24"/>
                  <a:gd name="T63" fmla="*/ 69 h 72"/>
                  <a:gd name="T64" fmla="*/ 24 w 24"/>
                  <a:gd name="T65" fmla="*/ 69 h 72"/>
                  <a:gd name="T66" fmla="*/ 24 w 24"/>
                  <a:gd name="T67" fmla="*/ 6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72">
                    <a:moveTo>
                      <a:pt x="24" y="69"/>
                    </a:moveTo>
                    <a:lnTo>
                      <a:pt x="23" y="65"/>
                    </a:lnTo>
                    <a:lnTo>
                      <a:pt x="23" y="59"/>
                    </a:lnTo>
                    <a:lnTo>
                      <a:pt x="23" y="57"/>
                    </a:lnTo>
                    <a:lnTo>
                      <a:pt x="23" y="56"/>
                    </a:lnTo>
                    <a:lnTo>
                      <a:pt x="23" y="54"/>
                    </a:lnTo>
                    <a:lnTo>
                      <a:pt x="23" y="35"/>
                    </a:lnTo>
                    <a:lnTo>
                      <a:pt x="23" y="30"/>
                    </a:lnTo>
                    <a:lnTo>
                      <a:pt x="19" y="26"/>
                    </a:lnTo>
                    <a:lnTo>
                      <a:pt x="19" y="22"/>
                    </a:lnTo>
                    <a:lnTo>
                      <a:pt x="19" y="16"/>
                    </a:lnTo>
                    <a:lnTo>
                      <a:pt x="19" y="16"/>
                    </a:lnTo>
                    <a:lnTo>
                      <a:pt x="16" y="13"/>
                    </a:lnTo>
                    <a:lnTo>
                      <a:pt x="13" y="10"/>
                    </a:lnTo>
                    <a:lnTo>
                      <a:pt x="11" y="10"/>
                    </a:lnTo>
                    <a:lnTo>
                      <a:pt x="13" y="7"/>
                    </a:lnTo>
                    <a:lnTo>
                      <a:pt x="13" y="0"/>
                    </a:lnTo>
                    <a:lnTo>
                      <a:pt x="13" y="2"/>
                    </a:lnTo>
                    <a:lnTo>
                      <a:pt x="11" y="2"/>
                    </a:lnTo>
                    <a:lnTo>
                      <a:pt x="7" y="2"/>
                    </a:lnTo>
                    <a:lnTo>
                      <a:pt x="3" y="0"/>
                    </a:lnTo>
                    <a:lnTo>
                      <a:pt x="0" y="0"/>
                    </a:lnTo>
                    <a:lnTo>
                      <a:pt x="2" y="0"/>
                    </a:lnTo>
                    <a:lnTo>
                      <a:pt x="2" y="2"/>
                    </a:lnTo>
                    <a:lnTo>
                      <a:pt x="2" y="2"/>
                    </a:lnTo>
                    <a:lnTo>
                      <a:pt x="2" y="7"/>
                    </a:lnTo>
                    <a:lnTo>
                      <a:pt x="2" y="8"/>
                    </a:lnTo>
                    <a:lnTo>
                      <a:pt x="5" y="10"/>
                    </a:lnTo>
                    <a:lnTo>
                      <a:pt x="7" y="13"/>
                    </a:lnTo>
                    <a:lnTo>
                      <a:pt x="7" y="13"/>
                    </a:lnTo>
                    <a:lnTo>
                      <a:pt x="7" y="16"/>
                    </a:lnTo>
                    <a:lnTo>
                      <a:pt x="7" y="16"/>
                    </a:lnTo>
                    <a:lnTo>
                      <a:pt x="7" y="19"/>
                    </a:lnTo>
                    <a:lnTo>
                      <a:pt x="7" y="22"/>
                    </a:lnTo>
                    <a:lnTo>
                      <a:pt x="5" y="22"/>
                    </a:lnTo>
                    <a:lnTo>
                      <a:pt x="5" y="24"/>
                    </a:lnTo>
                    <a:lnTo>
                      <a:pt x="8" y="22"/>
                    </a:lnTo>
                    <a:lnTo>
                      <a:pt x="8" y="24"/>
                    </a:lnTo>
                    <a:lnTo>
                      <a:pt x="8" y="26"/>
                    </a:lnTo>
                    <a:lnTo>
                      <a:pt x="8" y="27"/>
                    </a:lnTo>
                    <a:lnTo>
                      <a:pt x="8" y="30"/>
                    </a:lnTo>
                    <a:lnTo>
                      <a:pt x="8" y="32"/>
                    </a:lnTo>
                    <a:lnTo>
                      <a:pt x="8" y="34"/>
                    </a:lnTo>
                    <a:lnTo>
                      <a:pt x="7" y="34"/>
                    </a:lnTo>
                    <a:lnTo>
                      <a:pt x="10" y="38"/>
                    </a:lnTo>
                    <a:lnTo>
                      <a:pt x="11" y="40"/>
                    </a:lnTo>
                    <a:lnTo>
                      <a:pt x="10" y="43"/>
                    </a:lnTo>
                    <a:lnTo>
                      <a:pt x="10" y="45"/>
                    </a:lnTo>
                    <a:lnTo>
                      <a:pt x="10" y="48"/>
                    </a:lnTo>
                    <a:lnTo>
                      <a:pt x="8" y="51"/>
                    </a:lnTo>
                    <a:lnTo>
                      <a:pt x="10" y="54"/>
                    </a:lnTo>
                    <a:lnTo>
                      <a:pt x="10" y="56"/>
                    </a:lnTo>
                    <a:lnTo>
                      <a:pt x="10" y="57"/>
                    </a:lnTo>
                    <a:lnTo>
                      <a:pt x="8" y="62"/>
                    </a:lnTo>
                    <a:lnTo>
                      <a:pt x="10" y="65"/>
                    </a:lnTo>
                    <a:lnTo>
                      <a:pt x="13" y="69"/>
                    </a:lnTo>
                    <a:lnTo>
                      <a:pt x="16" y="69"/>
                    </a:lnTo>
                    <a:lnTo>
                      <a:pt x="16" y="70"/>
                    </a:lnTo>
                    <a:lnTo>
                      <a:pt x="16" y="72"/>
                    </a:lnTo>
                    <a:lnTo>
                      <a:pt x="24" y="69"/>
                    </a:lnTo>
                    <a:lnTo>
                      <a:pt x="24" y="69"/>
                    </a:lnTo>
                    <a:lnTo>
                      <a:pt x="24" y="69"/>
                    </a:lnTo>
                    <a:lnTo>
                      <a:pt x="24" y="69"/>
                    </a:lnTo>
                    <a:lnTo>
                      <a:pt x="24" y="69"/>
                    </a:lnTo>
                    <a:lnTo>
                      <a:pt x="24" y="69"/>
                    </a:lnTo>
                    <a:lnTo>
                      <a:pt x="24" y="69"/>
                    </a:lnTo>
                    <a:lnTo>
                      <a:pt x="24" y="69"/>
                    </a:lnTo>
                    <a:lnTo>
                      <a:pt x="24" y="69"/>
                    </a:lnTo>
                    <a:lnTo>
                      <a:pt x="24" y="69"/>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47" name="Freeform 150">
                <a:extLst>
                  <a:ext uri="{FF2B5EF4-FFF2-40B4-BE49-F238E27FC236}">
                    <a16:creationId xmlns:a16="http://schemas.microsoft.com/office/drawing/2014/main" id="{050CC29B-583C-AD10-81A0-B4DCB3457D49}"/>
                  </a:ext>
                </a:extLst>
              </p:cNvPr>
              <p:cNvSpPr>
                <a:spLocks/>
              </p:cNvSpPr>
              <p:nvPr/>
            </p:nvSpPr>
            <p:spPr bwMode="auto">
              <a:xfrm>
                <a:off x="5681691" y="3668460"/>
                <a:ext cx="123806" cy="206363"/>
              </a:xfrm>
              <a:custGeom>
                <a:avLst/>
                <a:gdLst>
                  <a:gd name="T0" fmla="*/ 39 w 55"/>
                  <a:gd name="T1" fmla="*/ 1 h 92"/>
                  <a:gd name="T2" fmla="*/ 38 w 55"/>
                  <a:gd name="T3" fmla="*/ 0 h 92"/>
                  <a:gd name="T4" fmla="*/ 33 w 55"/>
                  <a:gd name="T5" fmla="*/ 3 h 92"/>
                  <a:gd name="T6" fmla="*/ 31 w 55"/>
                  <a:gd name="T7" fmla="*/ 3 h 92"/>
                  <a:gd name="T8" fmla="*/ 28 w 55"/>
                  <a:gd name="T9" fmla="*/ 3 h 92"/>
                  <a:gd name="T10" fmla="*/ 25 w 55"/>
                  <a:gd name="T11" fmla="*/ 3 h 92"/>
                  <a:gd name="T12" fmla="*/ 15 w 55"/>
                  <a:gd name="T13" fmla="*/ 3 h 92"/>
                  <a:gd name="T14" fmla="*/ 4 w 55"/>
                  <a:gd name="T15" fmla="*/ 3 h 92"/>
                  <a:gd name="T16" fmla="*/ 4 w 55"/>
                  <a:gd name="T17" fmla="*/ 6 h 92"/>
                  <a:gd name="T18" fmla="*/ 3 w 55"/>
                  <a:gd name="T19" fmla="*/ 8 h 92"/>
                  <a:gd name="T20" fmla="*/ 6 w 55"/>
                  <a:gd name="T21" fmla="*/ 14 h 92"/>
                  <a:gd name="T22" fmla="*/ 6 w 55"/>
                  <a:gd name="T23" fmla="*/ 20 h 92"/>
                  <a:gd name="T24" fmla="*/ 6 w 55"/>
                  <a:gd name="T25" fmla="*/ 23 h 92"/>
                  <a:gd name="T26" fmla="*/ 6 w 55"/>
                  <a:gd name="T27" fmla="*/ 25 h 92"/>
                  <a:gd name="T28" fmla="*/ 6 w 55"/>
                  <a:gd name="T29" fmla="*/ 30 h 92"/>
                  <a:gd name="T30" fmla="*/ 8 w 55"/>
                  <a:gd name="T31" fmla="*/ 35 h 92"/>
                  <a:gd name="T32" fmla="*/ 9 w 55"/>
                  <a:gd name="T33" fmla="*/ 43 h 92"/>
                  <a:gd name="T34" fmla="*/ 6 w 55"/>
                  <a:gd name="T35" fmla="*/ 46 h 92"/>
                  <a:gd name="T36" fmla="*/ 1 w 55"/>
                  <a:gd name="T37" fmla="*/ 55 h 92"/>
                  <a:gd name="T38" fmla="*/ 1 w 55"/>
                  <a:gd name="T39" fmla="*/ 58 h 92"/>
                  <a:gd name="T40" fmla="*/ 0 w 55"/>
                  <a:gd name="T41" fmla="*/ 68 h 92"/>
                  <a:gd name="T42" fmla="*/ 1 w 55"/>
                  <a:gd name="T43" fmla="*/ 73 h 92"/>
                  <a:gd name="T44" fmla="*/ 3 w 55"/>
                  <a:gd name="T45" fmla="*/ 79 h 92"/>
                  <a:gd name="T46" fmla="*/ 4 w 55"/>
                  <a:gd name="T47" fmla="*/ 79 h 92"/>
                  <a:gd name="T48" fmla="*/ 6 w 55"/>
                  <a:gd name="T49" fmla="*/ 87 h 92"/>
                  <a:gd name="T50" fmla="*/ 3 w 55"/>
                  <a:gd name="T51" fmla="*/ 87 h 92"/>
                  <a:gd name="T52" fmla="*/ 8 w 55"/>
                  <a:gd name="T53" fmla="*/ 89 h 92"/>
                  <a:gd name="T54" fmla="*/ 11 w 55"/>
                  <a:gd name="T55" fmla="*/ 90 h 92"/>
                  <a:gd name="T56" fmla="*/ 14 w 55"/>
                  <a:gd name="T57" fmla="*/ 92 h 92"/>
                  <a:gd name="T58" fmla="*/ 15 w 55"/>
                  <a:gd name="T59" fmla="*/ 92 h 92"/>
                  <a:gd name="T60" fmla="*/ 23 w 55"/>
                  <a:gd name="T61" fmla="*/ 87 h 92"/>
                  <a:gd name="T62" fmla="*/ 28 w 55"/>
                  <a:gd name="T63" fmla="*/ 85 h 92"/>
                  <a:gd name="T64" fmla="*/ 38 w 55"/>
                  <a:gd name="T65" fmla="*/ 79 h 92"/>
                  <a:gd name="T66" fmla="*/ 44 w 55"/>
                  <a:gd name="T67" fmla="*/ 79 h 92"/>
                  <a:gd name="T68" fmla="*/ 49 w 55"/>
                  <a:gd name="T69" fmla="*/ 79 h 92"/>
                  <a:gd name="T70" fmla="*/ 50 w 55"/>
                  <a:gd name="T71" fmla="*/ 76 h 92"/>
                  <a:gd name="T72" fmla="*/ 54 w 55"/>
                  <a:gd name="T73" fmla="*/ 73 h 92"/>
                  <a:gd name="T74" fmla="*/ 55 w 55"/>
                  <a:gd name="T75" fmla="*/ 73 h 92"/>
                  <a:gd name="T76" fmla="*/ 54 w 55"/>
                  <a:gd name="T77" fmla="*/ 70 h 92"/>
                  <a:gd name="T78" fmla="*/ 52 w 55"/>
                  <a:gd name="T79" fmla="*/ 70 h 92"/>
                  <a:gd name="T80" fmla="*/ 47 w 55"/>
                  <a:gd name="T81" fmla="*/ 63 h 92"/>
                  <a:gd name="T82" fmla="*/ 47 w 55"/>
                  <a:gd name="T83" fmla="*/ 58 h 92"/>
                  <a:gd name="T84" fmla="*/ 47 w 55"/>
                  <a:gd name="T85" fmla="*/ 55 h 92"/>
                  <a:gd name="T86" fmla="*/ 47 w 55"/>
                  <a:gd name="T87" fmla="*/ 52 h 92"/>
                  <a:gd name="T88" fmla="*/ 47 w 55"/>
                  <a:gd name="T89" fmla="*/ 46 h 92"/>
                  <a:gd name="T90" fmla="*/ 47 w 55"/>
                  <a:gd name="T91" fmla="*/ 44 h 92"/>
                  <a:gd name="T92" fmla="*/ 47 w 55"/>
                  <a:gd name="T93" fmla="*/ 39 h 92"/>
                  <a:gd name="T94" fmla="*/ 44 w 55"/>
                  <a:gd name="T95" fmla="*/ 35 h 92"/>
                  <a:gd name="T96" fmla="*/ 47 w 55"/>
                  <a:gd name="T97" fmla="*/ 33 h 92"/>
                  <a:gd name="T98" fmla="*/ 47 w 55"/>
                  <a:gd name="T99" fmla="*/ 31 h 92"/>
                  <a:gd name="T100" fmla="*/ 47 w 55"/>
                  <a:gd name="T101" fmla="*/ 27 h 92"/>
                  <a:gd name="T102" fmla="*/ 47 w 55"/>
                  <a:gd name="T103" fmla="*/ 25 h 92"/>
                  <a:gd name="T104" fmla="*/ 44 w 55"/>
                  <a:gd name="T105" fmla="*/ 25 h 92"/>
                  <a:gd name="T106" fmla="*/ 44 w 55"/>
                  <a:gd name="T107" fmla="*/ 23 h 92"/>
                  <a:gd name="T108" fmla="*/ 44 w 55"/>
                  <a:gd name="T109" fmla="*/ 20 h 92"/>
                  <a:gd name="T110" fmla="*/ 44 w 55"/>
                  <a:gd name="T111" fmla="*/ 17 h 92"/>
                  <a:gd name="T112" fmla="*/ 44 w 55"/>
                  <a:gd name="T113" fmla="*/ 14 h 92"/>
                  <a:gd name="T114" fmla="*/ 44 w 55"/>
                  <a:gd name="T115" fmla="*/ 14 h 92"/>
                  <a:gd name="T116" fmla="*/ 41 w 55"/>
                  <a:gd name="T117" fmla="*/ 9 h 92"/>
                  <a:gd name="T118" fmla="*/ 41 w 55"/>
                  <a:gd name="T119" fmla="*/ 8 h 92"/>
                  <a:gd name="T120" fmla="*/ 44 w 55"/>
                  <a:gd name="T121" fmla="*/ 6 h 92"/>
                  <a:gd name="T122" fmla="*/ 44 w 55"/>
                  <a:gd name="T123" fmla="*/ 3 h 92"/>
                  <a:gd name="T124" fmla="*/ 41 w 55"/>
                  <a:gd name="T125" fmla="*/ 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 h="92">
                    <a:moveTo>
                      <a:pt x="41" y="1"/>
                    </a:moveTo>
                    <a:lnTo>
                      <a:pt x="41" y="1"/>
                    </a:lnTo>
                    <a:lnTo>
                      <a:pt x="39" y="1"/>
                    </a:lnTo>
                    <a:lnTo>
                      <a:pt x="39" y="1"/>
                    </a:lnTo>
                    <a:lnTo>
                      <a:pt x="38" y="0"/>
                    </a:lnTo>
                    <a:lnTo>
                      <a:pt x="38" y="0"/>
                    </a:lnTo>
                    <a:lnTo>
                      <a:pt x="35" y="1"/>
                    </a:lnTo>
                    <a:lnTo>
                      <a:pt x="35" y="1"/>
                    </a:lnTo>
                    <a:lnTo>
                      <a:pt x="33" y="3"/>
                    </a:lnTo>
                    <a:lnTo>
                      <a:pt x="33" y="3"/>
                    </a:lnTo>
                    <a:lnTo>
                      <a:pt x="31" y="3"/>
                    </a:lnTo>
                    <a:lnTo>
                      <a:pt x="31" y="3"/>
                    </a:lnTo>
                    <a:lnTo>
                      <a:pt x="30" y="3"/>
                    </a:lnTo>
                    <a:lnTo>
                      <a:pt x="30" y="3"/>
                    </a:lnTo>
                    <a:lnTo>
                      <a:pt x="28" y="3"/>
                    </a:lnTo>
                    <a:lnTo>
                      <a:pt x="28" y="3"/>
                    </a:lnTo>
                    <a:lnTo>
                      <a:pt x="25" y="3"/>
                    </a:lnTo>
                    <a:lnTo>
                      <a:pt x="25" y="3"/>
                    </a:lnTo>
                    <a:lnTo>
                      <a:pt x="17" y="3"/>
                    </a:lnTo>
                    <a:lnTo>
                      <a:pt x="17" y="3"/>
                    </a:lnTo>
                    <a:lnTo>
                      <a:pt x="15" y="3"/>
                    </a:lnTo>
                    <a:lnTo>
                      <a:pt x="15" y="3"/>
                    </a:lnTo>
                    <a:lnTo>
                      <a:pt x="4" y="3"/>
                    </a:lnTo>
                    <a:lnTo>
                      <a:pt x="4" y="3"/>
                    </a:lnTo>
                    <a:lnTo>
                      <a:pt x="4" y="4"/>
                    </a:lnTo>
                    <a:lnTo>
                      <a:pt x="4" y="4"/>
                    </a:lnTo>
                    <a:lnTo>
                      <a:pt x="4" y="6"/>
                    </a:lnTo>
                    <a:lnTo>
                      <a:pt x="4" y="6"/>
                    </a:lnTo>
                    <a:lnTo>
                      <a:pt x="3" y="8"/>
                    </a:lnTo>
                    <a:lnTo>
                      <a:pt x="3" y="8"/>
                    </a:lnTo>
                    <a:lnTo>
                      <a:pt x="6" y="14"/>
                    </a:lnTo>
                    <a:lnTo>
                      <a:pt x="6" y="14"/>
                    </a:lnTo>
                    <a:lnTo>
                      <a:pt x="6" y="14"/>
                    </a:lnTo>
                    <a:lnTo>
                      <a:pt x="6" y="14"/>
                    </a:lnTo>
                    <a:lnTo>
                      <a:pt x="6" y="20"/>
                    </a:lnTo>
                    <a:lnTo>
                      <a:pt x="6" y="20"/>
                    </a:lnTo>
                    <a:lnTo>
                      <a:pt x="6" y="23"/>
                    </a:lnTo>
                    <a:lnTo>
                      <a:pt x="6" y="23"/>
                    </a:lnTo>
                    <a:lnTo>
                      <a:pt x="6" y="23"/>
                    </a:lnTo>
                    <a:lnTo>
                      <a:pt x="6" y="23"/>
                    </a:lnTo>
                    <a:lnTo>
                      <a:pt x="6" y="25"/>
                    </a:lnTo>
                    <a:lnTo>
                      <a:pt x="6" y="25"/>
                    </a:lnTo>
                    <a:lnTo>
                      <a:pt x="6" y="27"/>
                    </a:lnTo>
                    <a:lnTo>
                      <a:pt x="6" y="27"/>
                    </a:lnTo>
                    <a:lnTo>
                      <a:pt x="6" y="30"/>
                    </a:lnTo>
                    <a:lnTo>
                      <a:pt x="6" y="30"/>
                    </a:lnTo>
                    <a:lnTo>
                      <a:pt x="8" y="35"/>
                    </a:lnTo>
                    <a:lnTo>
                      <a:pt x="8" y="35"/>
                    </a:lnTo>
                    <a:lnTo>
                      <a:pt x="9" y="39"/>
                    </a:lnTo>
                    <a:lnTo>
                      <a:pt x="9" y="39"/>
                    </a:lnTo>
                    <a:lnTo>
                      <a:pt x="9" y="43"/>
                    </a:lnTo>
                    <a:lnTo>
                      <a:pt x="9" y="43"/>
                    </a:lnTo>
                    <a:lnTo>
                      <a:pt x="6" y="46"/>
                    </a:lnTo>
                    <a:lnTo>
                      <a:pt x="6" y="46"/>
                    </a:lnTo>
                    <a:lnTo>
                      <a:pt x="3" y="49"/>
                    </a:lnTo>
                    <a:lnTo>
                      <a:pt x="3" y="49"/>
                    </a:lnTo>
                    <a:lnTo>
                      <a:pt x="1" y="55"/>
                    </a:lnTo>
                    <a:lnTo>
                      <a:pt x="1" y="55"/>
                    </a:lnTo>
                    <a:lnTo>
                      <a:pt x="1" y="58"/>
                    </a:lnTo>
                    <a:lnTo>
                      <a:pt x="1" y="58"/>
                    </a:lnTo>
                    <a:lnTo>
                      <a:pt x="0" y="62"/>
                    </a:lnTo>
                    <a:lnTo>
                      <a:pt x="0" y="62"/>
                    </a:lnTo>
                    <a:lnTo>
                      <a:pt x="0" y="68"/>
                    </a:lnTo>
                    <a:lnTo>
                      <a:pt x="0" y="68"/>
                    </a:lnTo>
                    <a:lnTo>
                      <a:pt x="1" y="73"/>
                    </a:lnTo>
                    <a:lnTo>
                      <a:pt x="1" y="73"/>
                    </a:lnTo>
                    <a:lnTo>
                      <a:pt x="3" y="76"/>
                    </a:lnTo>
                    <a:lnTo>
                      <a:pt x="3" y="76"/>
                    </a:lnTo>
                    <a:lnTo>
                      <a:pt x="3" y="79"/>
                    </a:lnTo>
                    <a:lnTo>
                      <a:pt x="3" y="79"/>
                    </a:lnTo>
                    <a:lnTo>
                      <a:pt x="4" y="79"/>
                    </a:lnTo>
                    <a:lnTo>
                      <a:pt x="4" y="79"/>
                    </a:lnTo>
                    <a:lnTo>
                      <a:pt x="6" y="81"/>
                    </a:lnTo>
                    <a:lnTo>
                      <a:pt x="6" y="81"/>
                    </a:lnTo>
                    <a:lnTo>
                      <a:pt x="6" y="87"/>
                    </a:lnTo>
                    <a:lnTo>
                      <a:pt x="6" y="87"/>
                    </a:lnTo>
                    <a:lnTo>
                      <a:pt x="3" y="87"/>
                    </a:lnTo>
                    <a:lnTo>
                      <a:pt x="3" y="87"/>
                    </a:lnTo>
                    <a:lnTo>
                      <a:pt x="4" y="89"/>
                    </a:lnTo>
                    <a:lnTo>
                      <a:pt x="4" y="89"/>
                    </a:lnTo>
                    <a:lnTo>
                      <a:pt x="8" y="89"/>
                    </a:lnTo>
                    <a:lnTo>
                      <a:pt x="8" y="89"/>
                    </a:lnTo>
                    <a:lnTo>
                      <a:pt x="11" y="90"/>
                    </a:lnTo>
                    <a:lnTo>
                      <a:pt x="11" y="90"/>
                    </a:lnTo>
                    <a:lnTo>
                      <a:pt x="12" y="92"/>
                    </a:lnTo>
                    <a:lnTo>
                      <a:pt x="12" y="92"/>
                    </a:lnTo>
                    <a:lnTo>
                      <a:pt x="14" y="92"/>
                    </a:lnTo>
                    <a:lnTo>
                      <a:pt x="14" y="92"/>
                    </a:lnTo>
                    <a:lnTo>
                      <a:pt x="15" y="92"/>
                    </a:lnTo>
                    <a:lnTo>
                      <a:pt x="15" y="92"/>
                    </a:lnTo>
                    <a:lnTo>
                      <a:pt x="20" y="89"/>
                    </a:lnTo>
                    <a:lnTo>
                      <a:pt x="20" y="89"/>
                    </a:lnTo>
                    <a:lnTo>
                      <a:pt x="23" y="87"/>
                    </a:lnTo>
                    <a:lnTo>
                      <a:pt x="23" y="87"/>
                    </a:lnTo>
                    <a:lnTo>
                      <a:pt x="28" y="85"/>
                    </a:lnTo>
                    <a:lnTo>
                      <a:pt x="28" y="85"/>
                    </a:lnTo>
                    <a:lnTo>
                      <a:pt x="31" y="84"/>
                    </a:lnTo>
                    <a:lnTo>
                      <a:pt x="31" y="84"/>
                    </a:lnTo>
                    <a:lnTo>
                      <a:pt x="38" y="79"/>
                    </a:lnTo>
                    <a:lnTo>
                      <a:pt x="38" y="79"/>
                    </a:lnTo>
                    <a:lnTo>
                      <a:pt x="44" y="79"/>
                    </a:lnTo>
                    <a:lnTo>
                      <a:pt x="44" y="79"/>
                    </a:lnTo>
                    <a:lnTo>
                      <a:pt x="47" y="76"/>
                    </a:lnTo>
                    <a:lnTo>
                      <a:pt x="47" y="76"/>
                    </a:lnTo>
                    <a:lnTo>
                      <a:pt x="49" y="79"/>
                    </a:lnTo>
                    <a:lnTo>
                      <a:pt x="49" y="79"/>
                    </a:lnTo>
                    <a:lnTo>
                      <a:pt x="50" y="76"/>
                    </a:lnTo>
                    <a:lnTo>
                      <a:pt x="50" y="76"/>
                    </a:lnTo>
                    <a:lnTo>
                      <a:pt x="52" y="76"/>
                    </a:lnTo>
                    <a:lnTo>
                      <a:pt x="52" y="76"/>
                    </a:lnTo>
                    <a:lnTo>
                      <a:pt x="54" y="73"/>
                    </a:lnTo>
                    <a:lnTo>
                      <a:pt x="54" y="73"/>
                    </a:lnTo>
                    <a:lnTo>
                      <a:pt x="55" y="73"/>
                    </a:lnTo>
                    <a:lnTo>
                      <a:pt x="55" y="73"/>
                    </a:lnTo>
                    <a:lnTo>
                      <a:pt x="55" y="71"/>
                    </a:lnTo>
                    <a:lnTo>
                      <a:pt x="55" y="71"/>
                    </a:lnTo>
                    <a:lnTo>
                      <a:pt x="54" y="70"/>
                    </a:lnTo>
                    <a:lnTo>
                      <a:pt x="54" y="70"/>
                    </a:lnTo>
                    <a:lnTo>
                      <a:pt x="52" y="70"/>
                    </a:lnTo>
                    <a:lnTo>
                      <a:pt x="52" y="70"/>
                    </a:lnTo>
                    <a:lnTo>
                      <a:pt x="47" y="66"/>
                    </a:lnTo>
                    <a:lnTo>
                      <a:pt x="47" y="66"/>
                    </a:lnTo>
                    <a:lnTo>
                      <a:pt x="47" y="63"/>
                    </a:lnTo>
                    <a:lnTo>
                      <a:pt x="47" y="63"/>
                    </a:lnTo>
                    <a:lnTo>
                      <a:pt x="47" y="58"/>
                    </a:lnTo>
                    <a:lnTo>
                      <a:pt x="47" y="58"/>
                    </a:lnTo>
                    <a:lnTo>
                      <a:pt x="47" y="57"/>
                    </a:lnTo>
                    <a:lnTo>
                      <a:pt x="47" y="57"/>
                    </a:lnTo>
                    <a:lnTo>
                      <a:pt x="47" y="55"/>
                    </a:lnTo>
                    <a:lnTo>
                      <a:pt x="47" y="55"/>
                    </a:lnTo>
                    <a:lnTo>
                      <a:pt x="47" y="52"/>
                    </a:lnTo>
                    <a:lnTo>
                      <a:pt x="47" y="52"/>
                    </a:lnTo>
                    <a:lnTo>
                      <a:pt x="47" y="49"/>
                    </a:lnTo>
                    <a:lnTo>
                      <a:pt x="47" y="49"/>
                    </a:lnTo>
                    <a:lnTo>
                      <a:pt x="47" y="46"/>
                    </a:lnTo>
                    <a:lnTo>
                      <a:pt x="47" y="46"/>
                    </a:lnTo>
                    <a:lnTo>
                      <a:pt x="47" y="44"/>
                    </a:lnTo>
                    <a:lnTo>
                      <a:pt x="47" y="44"/>
                    </a:lnTo>
                    <a:lnTo>
                      <a:pt x="49" y="41"/>
                    </a:lnTo>
                    <a:lnTo>
                      <a:pt x="49" y="41"/>
                    </a:lnTo>
                    <a:lnTo>
                      <a:pt x="47" y="39"/>
                    </a:lnTo>
                    <a:lnTo>
                      <a:pt x="47" y="39"/>
                    </a:lnTo>
                    <a:lnTo>
                      <a:pt x="44" y="35"/>
                    </a:lnTo>
                    <a:lnTo>
                      <a:pt x="44" y="35"/>
                    </a:lnTo>
                    <a:lnTo>
                      <a:pt x="47" y="35"/>
                    </a:lnTo>
                    <a:lnTo>
                      <a:pt x="47" y="35"/>
                    </a:lnTo>
                    <a:lnTo>
                      <a:pt x="47" y="33"/>
                    </a:lnTo>
                    <a:lnTo>
                      <a:pt x="47" y="33"/>
                    </a:lnTo>
                    <a:lnTo>
                      <a:pt x="47" y="31"/>
                    </a:lnTo>
                    <a:lnTo>
                      <a:pt x="47" y="31"/>
                    </a:lnTo>
                    <a:lnTo>
                      <a:pt x="47" y="28"/>
                    </a:lnTo>
                    <a:lnTo>
                      <a:pt x="47" y="28"/>
                    </a:lnTo>
                    <a:lnTo>
                      <a:pt x="47" y="27"/>
                    </a:lnTo>
                    <a:lnTo>
                      <a:pt x="47" y="27"/>
                    </a:lnTo>
                    <a:lnTo>
                      <a:pt x="47" y="25"/>
                    </a:lnTo>
                    <a:lnTo>
                      <a:pt x="47" y="25"/>
                    </a:lnTo>
                    <a:lnTo>
                      <a:pt x="47" y="23"/>
                    </a:lnTo>
                    <a:lnTo>
                      <a:pt x="47" y="23"/>
                    </a:lnTo>
                    <a:lnTo>
                      <a:pt x="44" y="25"/>
                    </a:lnTo>
                    <a:lnTo>
                      <a:pt x="44" y="25"/>
                    </a:lnTo>
                    <a:lnTo>
                      <a:pt x="44" y="23"/>
                    </a:lnTo>
                    <a:lnTo>
                      <a:pt x="44" y="23"/>
                    </a:lnTo>
                    <a:lnTo>
                      <a:pt x="44" y="23"/>
                    </a:lnTo>
                    <a:lnTo>
                      <a:pt x="44" y="23"/>
                    </a:lnTo>
                    <a:lnTo>
                      <a:pt x="44" y="20"/>
                    </a:lnTo>
                    <a:lnTo>
                      <a:pt x="44" y="20"/>
                    </a:lnTo>
                    <a:lnTo>
                      <a:pt x="44" y="17"/>
                    </a:lnTo>
                    <a:lnTo>
                      <a:pt x="44" y="17"/>
                    </a:lnTo>
                    <a:lnTo>
                      <a:pt x="44" y="17"/>
                    </a:lnTo>
                    <a:lnTo>
                      <a:pt x="44" y="17"/>
                    </a:lnTo>
                    <a:lnTo>
                      <a:pt x="44" y="14"/>
                    </a:lnTo>
                    <a:lnTo>
                      <a:pt x="44" y="14"/>
                    </a:lnTo>
                    <a:lnTo>
                      <a:pt x="44" y="14"/>
                    </a:lnTo>
                    <a:lnTo>
                      <a:pt x="44" y="14"/>
                    </a:lnTo>
                    <a:lnTo>
                      <a:pt x="44" y="11"/>
                    </a:lnTo>
                    <a:lnTo>
                      <a:pt x="44" y="11"/>
                    </a:lnTo>
                    <a:lnTo>
                      <a:pt x="41" y="9"/>
                    </a:lnTo>
                    <a:lnTo>
                      <a:pt x="41" y="9"/>
                    </a:lnTo>
                    <a:lnTo>
                      <a:pt x="41" y="8"/>
                    </a:lnTo>
                    <a:lnTo>
                      <a:pt x="41" y="8"/>
                    </a:lnTo>
                    <a:lnTo>
                      <a:pt x="41" y="8"/>
                    </a:lnTo>
                    <a:lnTo>
                      <a:pt x="44" y="6"/>
                    </a:lnTo>
                    <a:lnTo>
                      <a:pt x="44" y="6"/>
                    </a:lnTo>
                    <a:lnTo>
                      <a:pt x="44" y="6"/>
                    </a:lnTo>
                    <a:lnTo>
                      <a:pt x="44" y="3"/>
                    </a:lnTo>
                    <a:lnTo>
                      <a:pt x="44" y="3"/>
                    </a:lnTo>
                    <a:lnTo>
                      <a:pt x="41" y="1"/>
                    </a:lnTo>
                    <a:lnTo>
                      <a:pt x="41" y="1"/>
                    </a:lnTo>
                    <a:lnTo>
                      <a:pt x="41" y="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48" name="Freeform 152">
                <a:extLst>
                  <a:ext uri="{FF2B5EF4-FFF2-40B4-BE49-F238E27FC236}">
                    <a16:creationId xmlns:a16="http://schemas.microsoft.com/office/drawing/2014/main" id="{E329A90F-EF51-8786-DF82-40286F6440FF}"/>
                  </a:ext>
                </a:extLst>
              </p:cNvPr>
              <p:cNvSpPr>
                <a:spLocks/>
              </p:cNvSpPr>
              <p:nvPr/>
            </p:nvSpPr>
            <p:spPr bwMode="auto">
              <a:xfrm>
                <a:off x="5847680" y="3578738"/>
                <a:ext cx="338704" cy="314030"/>
              </a:xfrm>
              <a:custGeom>
                <a:avLst/>
                <a:gdLst>
                  <a:gd name="T0" fmla="*/ 132 w 151"/>
                  <a:gd name="T1" fmla="*/ 5 h 140"/>
                  <a:gd name="T2" fmla="*/ 122 w 151"/>
                  <a:gd name="T3" fmla="*/ 11 h 140"/>
                  <a:gd name="T4" fmla="*/ 110 w 151"/>
                  <a:gd name="T5" fmla="*/ 8 h 140"/>
                  <a:gd name="T6" fmla="*/ 100 w 151"/>
                  <a:gd name="T7" fmla="*/ 8 h 140"/>
                  <a:gd name="T8" fmla="*/ 88 w 151"/>
                  <a:gd name="T9" fmla="*/ 16 h 140"/>
                  <a:gd name="T10" fmla="*/ 75 w 151"/>
                  <a:gd name="T11" fmla="*/ 13 h 140"/>
                  <a:gd name="T12" fmla="*/ 64 w 151"/>
                  <a:gd name="T13" fmla="*/ 10 h 140"/>
                  <a:gd name="T14" fmla="*/ 54 w 151"/>
                  <a:gd name="T15" fmla="*/ 13 h 140"/>
                  <a:gd name="T16" fmla="*/ 48 w 151"/>
                  <a:gd name="T17" fmla="*/ 5 h 140"/>
                  <a:gd name="T18" fmla="*/ 35 w 151"/>
                  <a:gd name="T19" fmla="*/ 0 h 140"/>
                  <a:gd name="T20" fmla="*/ 26 w 151"/>
                  <a:gd name="T21" fmla="*/ 3 h 140"/>
                  <a:gd name="T22" fmla="*/ 19 w 151"/>
                  <a:gd name="T23" fmla="*/ 8 h 140"/>
                  <a:gd name="T24" fmla="*/ 13 w 151"/>
                  <a:gd name="T25" fmla="*/ 19 h 140"/>
                  <a:gd name="T26" fmla="*/ 11 w 151"/>
                  <a:gd name="T27" fmla="*/ 32 h 140"/>
                  <a:gd name="T28" fmla="*/ 11 w 151"/>
                  <a:gd name="T29" fmla="*/ 38 h 140"/>
                  <a:gd name="T30" fmla="*/ 15 w 151"/>
                  <a:gd name="T31" fmla="*/ 48 h 140"/>
                  <a:gd name="T32" fmla="*/ 13 w 151"/>
                  <a:gd name="T33" fmla="*/ 54 h 140"/>
                  <a:gd name="T34" fmla="*/ 7 w 151"/>
                  <a:gd name="T35" fmla="*/ 63 h 140"/>
                  <a:gd name="T36" fmla="*/ 3 w 151"/>
                  <a:gd name="T37" fmla="*/ 70 h 140"/>
                  <a:gd name="T38" fmla="*/ 0 w 151"/>
                  <a:gd name="T39" fmla="*/ 86 h 140"/>
                  <a:gd name="T40" fmla="*/ 0 w 151"/>
                  <a:gd name="T41" fmla="*/ 102 h 140"/>
                  <a:gd name="T42" fmla="*/ 8 w 151"/>
                  <a:gd name="T43" fmla="*/ 108 h 140"/>
                  <a:gd name="T44" fmla="*/ 15 w 151"/>
                  <a:gd name="T45" fmla="*/ 105 h 140"/>
                  <a:gd name="T46" fmla="*/ 22 w 151"/>
                  <a:gd name="T47" fmla="*/ 110 h 140"/>
                  <a:gd name="T48" fmla="*/ 32 w 151"/>
                  <a:gd name="T49" fmla="*/ 119 h 140"/>
                  <a:gd name="T50" fmla="*/ 32 w 151"/>
                  <a:gd name="T51" fmla="*/ 121 h 140"/>
                  <a:gd name="T52" fmla="*/ 35 w 151"/>
                  <a:gd name="T53" fmla="*/ 122 h 140"/>
                  <a:gd name="T54" fmla="*/ 35 w 151"/>
                  <a:gd name="T55" fmla="*/ 130 h 140"/>
                  <a:gd name="T56" fmla="*/ 41 w 151"/>
                  <a:gd name="T57" fmla="*/ 137 h 140"/>
                  <a:gd name="T58" fmla="*/ 45 w 151"/>
                  <a:gd name="T59" fmla="*/ 137 h 140"/>
                  <a:gd name="T60" fmla="*/ 51 w 151"/>
                  <a:gd name="T61" fmla="*/ 133 h 140"/>
                  <a:gd name="T62" fmla="*/ 54 w 151"/>
                  <a:gd name="T63" fmla="*/ 133 h 140"/>
                  <a:gd name="T64" fmla="*/ 57 w 151"/>
                  <a:gd name="T65" fmla="*/ 133 h 140"/>
                  <a:gd name="T66" fmla="*/ 61 w 151"/>
                  <a:gd name="T67" fmla="*/ 133 h 140"/>
                  <a:gd name="T68" fmla="*/ 70 w 151"/>
                  <a:gd name="T69" fmla="*/ 133 h 140"/>
                  <a:gd name="T70" fmla="*/ 72 w 151"/>
                  <a:gd name="T71" fmla="*/ 130 h 140"/>
                  <a:gd name="T72" fmla="*/ 76 w 151"/>
                  <a:gd name="T73" fmla="*/ 129 h 140"/>
                  <a:gd name="T74" fmla="*/ 78 w 151"/>
                  <a:gd name="T75" fmla="*/ 119 h 140"/>
                  <a:gd name="T76" fmla="*/ 91 w 151"/>
                  <a:gd name="T77" fmla="*/ 103 h 140"/>
                  <a:gd name="T78" fmla="*/ 97 w 151"/>
                  <a:gd name="T79" fmla="*/ 102 h 140"/>
                  <a:gd name="T80" fmla="*/ 102 w 151"/>
                  <a:gd name="T81" fmla="*/ 102 h 140"/>
                  <a:gd name="T82" fmla="*/ 107 w 151"/>
                  <a:gd name="T83" fmla="*/ 108 h 140"/>
                  <a:gd name="T84" fmla="*/ 113 w 151"/>
                  <a:gd name="T85" fmla="*/ 102 h 140"/>
                  <a:gd name="T86" fmla="*/ 116 w 151"/>
                  <a:gd name="T87" fmla="*/ 95 h 140"/>
                  <a:gd name="T88" fmla="*/ 119 w 151"/>
                  <a:gd name="T89" fmla="*/ 83 h 140"/>
                  <a:gd name="T90" fmla="*/ 126 w 151"/>
                  <a:gd name="T91" fmla="*/ 76 h 140"/>
                  <a:gd name="T92" fmla="*/ 127 w 151"/>
                  <a:gd name="T93" fmla="*/ 65 h 140"/>
                  <a:gd name="T94" fmla="*/ 135 w 151"/>
                  <a:gd name="T95" fmla="*/ 54 h 140"/>
                  <a:gd name="T96" fmla="*/ 142 w 151"/>
                  <a:gd name="T97" fmla="*/ 40 h 140"/>
                  <a:gd name="T98" fmla="*/ 151 w 151"/>
                  <a:gd name="T99" fmla="*/ 32 h 140"/>
                  <a:gd name="T100" fmla="*/ 148 w 151"/>
                  <a:gd name="T101" fmla="*/ 22 h 140"/>
                  <a:gd name="T102" fmla="*/ 143 w 151"/>
                  <a:gd name="T103" fmla="*/ 13 h 140"/>
                  <a:gd name="T104" fmla="*/ 138 w 151"/>
                  <a:gd name="T105" fmla="*/ 3 h 140"/>
                  <a:gd name="T106" fmla="*/ 137 w 151"/>
                  <a:gd name="T107" fmla="*/ 3 h 140"/>
                  <a:gd name="T108" fmla="*/ 137 w 151"/>
                  <a:gd name="T109" fmla="*/ 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1" h="140">
                    <a:moveTo>
                      <a:pt x="137" y="3"/>
                    </a:moveTo>
                    <a:lnTo>
                      <a:pt x="134" y="3"/>
                    </a:lnTo>
                    <a:lnTo>
                      <a:pt x="134" y="3"/>
                    </a:lnTo>
                    <a:lnTo>
                      <a:pt x="132" y="5"/>
                    </a:lnTo>
                    <a:lnTo>
                      <a:pt x="127" y="6"/>
                    </a:lnTo>
                    <a:lnTo>
                      <a:pt x="126" y="10"/>
                    </a:lnTo>
                    <a:lnTo>
                      <a:pt x="126" y="10"/>
                    </a:lnTo>
                    <a:lnTo>
                      <a:pt x="122" y="11"/>
                    </a:lnTo>
                    <a:lnTo>
                      <a:pt x="122" y="13"/>
                    </a:lnTo>
                    <a:lnTo>
                      <a:pt x="119" y="13"/>
                    </a:lnTo>
                    <a:lnTo>
                      <a:pt x="116" y="10"/>
                    </a:lnTo>
                    <a:lnTo>
                      <a:pt x="110" y="8"/>
                    </a:lnTo>
                    <a:lnTo>
                      <a:pt x="110" y="8"/>
                    </a:lnTo>
                    <a:lnTo>
                      <a:pt x="108" y="8"/>
                    </a:lnTo>
                    <a:lnTo>
                      <a:pt x="102" y="8"/>
                    </a:lnTo>
                    <a:lnTo>
                      <a:pt x="100" y="8"/>
                    </a:lnTo>
                    <a:lnTo>
                      <a:pt x="95" y="10"/>
                    </a:lnTo>
                    <a:lnTo>
                      <a:pt x="91" y="11"/>
                    </a:lnTo>
                    <a:lnTo>
                      <a:pt x="89" y="14"/>
                    </a:lnTo>
                    <a:lnTo>
                      <a:pt x="88" y="16"/>
                    </a:lnTo>
                    <a:lnTo>
                      <a:pt x="84" y="16"/>
                    </a:lnTo>
                    <a:lnTo>
                      <a:pt x="81" y="16"/>
                    </a:lnTo>
                    <a:lnTo>
                      <a:pt x="78" y="14"/>
                    </a:lnTo>
                    <a:lnTo>
                      <a:pt x="75" y="13"/>
                    </a:lnTo>
                    <a:lnTo>
                      <a:pt x="73" y="13"/>
                    </a:lnTo>
                    <a:lnTo>
                      <a:pt x="68" y="10"/>
                    </a:lnTo>
                    <a:lnTo>
                      <a:pt x="67" y="8"/>
                    </a:lnTo>
                    <a:lnTo>
                      <a:pt x="64" y="10"/>
                    </a:lnTo>
                    <a:lnTo>
                      <a:pt x="61" y="11"/>
                    </a:lnTo>
                    <a:lnTo>
                      <a:pt x="57" y="11"/>
                    </a:lnTo>
                    <a:lnTo>
                      <a:pt x="57" y="13"/>
                    </a:lnTo>
                    <a:lnTo>
                      <a:pt x="54" y="13"/>
                    </a:lnTo>
                    <a:lnTo>
                      <a:pt x="54" y="13"/>
                    </a:lnTo>
                    <a:lnTo>
                      <a:pt x="53" y="11"/>
                    </a:lnTo>
                    <a:lnTo>
                      <a:pt x="49" y="6"/>
                    </a:lnTo>
                    <a:lnTo>
                      <a:pt x="48" y="5"/>
                    </a:lnTo>
                    <a:lnTo>
                      <a:pt x="45" y="3"/>
                    </a:lnTo>
                    <a:lnTo>
                      <a:pt x="43" y="3"/>
                    </a:lnTo>
                    <a:lnTo>
                      <a:pt x="38" y="2"/>
                    </a:lnTo>
                    <a:lnTo>
                      <a:pt x="35" y="0"/>
                    </a:lnTo>
                    <a:lnTo>
                      <a:pt x="32" y="2"/>
                    </a:lnTo>
                    <a:lnTo>
                      <a:pt x="32" y="2"/>
                    </a:lnTo>
                    <a:lnTo>
                      <a:pt x="29" y="2"/>
                    </a:lnTo>
                    <a:lnTo>
                      <a:pt x="26" y="3"/>
                    </a:lnTo>
                    <a:lnTo>
                      <a:pt x="22" y="3"/>
                    </a:lnTo>
                    <a:lnTo>
                      <a:pt x="21" y="5"/>
                    </a:lnTo>
                    <a:lnTo>
                      <a:pt x="19" y="6"/>
                    </a:lnTo>
                    <a:lnTo>
                      <a:pt x="19" y="8"/>
                    </a:lnTo>
                    <a:lnTo>
                      <a:pt x="18" y="13"/>
                    </a:lnTo>
                    <a:lnTo>
                      <a:pt x="16" y="16"/>
                    </a:lnTo>
                    <a:lnTo>
                      <a:pt x="15" y="19"/>
                    </a:lnTo>
                    <a:lnTo>
                      <a:pt x="13" y="19"/>
                    </a:lnTo>
                    <a:lnTo>
                      <a:pt x="13" y="22"/>
                    </a:lnTo>
                    <a:lnTo>
                      <a:pt x="11" y="30"/>
                    </a:lnTo>
                    <a:lnTo>
                      <a:pt x="11" y="30"/>
                    </a:lnTo>
                    <a:lnTo>
                      <a:pt x="11" y="32"/>
                    </a:lnTo>
                    <a:lnTo>
                      <a:pt x="11" y="32"/>
                    </a:lnTo>
                    <a:lnTo>
                      <a:pt x="11" y="33"/>
                    </a:lnTo>
                    <a:lnTo>
                      <a:pt x="10" y="35"/>
                    </a:lnTo>
                    <a:lnTo>
                      <a:pt x="11" y="38"/>
                    </a:lnTo>
                    <a:lnTo>
                      <a:pt x="13" y="40"/>
                    </a:lnTo>
                    <a:lnTo>
                      <a:pt x="13" y="43"/>
                    </a:lnTo>
                    <a:lnTo>
                      <a:pt x="13" y="46"/>
                    </a:lnTo>
                    <a:lnTo>
                      <a:pt x="15" y="48"/>
                    </a:lnTo>
                    <a:lnTo>
                      <a:pt x="15" y="51"/>
                    </a:lnTo>
                    <a:lnTo>
                      <a:pt x="13" y="51"/>
                    </a:lnTo>
                    <a:lnTo>
                      <a:pt x="11" y="51"/>
                    </a:lnTo>
                    <a:lnTo>
                      <a:pt x="13" y="54"/>
                    </a:lnTo>
                    <a:lnTo>
                      <a:pt x="13" y="54"/>
                    </a:lnTo>
                    <a:lnTo>
                      <a:pt x="11" y="57"/>
                    </a:lnTo>
                    <a:lnTo>
                      <a:pt x="8" y="60"/>
                    </a:lnTo>
                    <a:lnTo>
                      <a:pt x="7" y="63"/>
                    </a:lnTo>
                    <a:lnTo>
                      <a:pt x="5" y="65"/>
                    </a:lnTo>
                    <a:lnTo>
                      <a:pt x="5" y="67"/>
                    </a:lnTo>
                    <a:lnTo>
                      <a:pt x="5" y="68"/>
                    </a:lnTo>
                    <a:lnTo>
                      <a:pt x="3" y="70"/>
                    </a:lnTo>
                    <a:lnTo>
                      <a:pt x="2" y="70"/>
                    </a:lnTo>
                    <a:lnTo>
                      <a:pt x="0" y="71"/>
                    </a:lnTo>
                    <a:lnTo>
                      <a:pt x="0" y="76"/>
                    </a:lnTo>
                    <a:lnTo>
                      <a:pt x="0" y="86"/>
                    </a:lnTo>
                    <a:lnTo>
                      <a:pt x="0" y="89"/>
                    </a:lnTo>
                    <a:lnTo>
                      <a:pt x="0" y="95"/>
                    </a:lnTo>
                    <a:lnTo>
                      <a:pt x="0" y="98"/>
                    </a:lnTo>
                    <a:lnTo>
                      <a:pt x="0" y="102"/>
                    </a:lnTo>
                    <a:lnTo>
                      <a:pt x="0" y="105"/>
                    </a:lnTo>
                    <a:lnTo>
                      <a:pt x="0" y="110"/>
                    </a:lnTo>
                    <a:lnTo>
                      <a:pt x="8" y="110"/>
                    </a:lnTo>
                    <a:lnTo>
                      <a:pt x="8" y="108"/>
                    </a:lnTo>
                    <a:lnTo>
                      <a:pt x="8" y="106"/>
                    </a:lnTo>
                    <a:lnTo>
                      <a:pt x="10" y="106"/>
                    </a:lnTo>
                    <a:lnTo>
                      <a:pt x="11" y="106"/>
                    </a:lnTo>
                    <a:lnTo>
                      <a:pt x="15" y="105"/>
                    </a:lnTo>
                    <a:lnTo>
                      <a:pt x="11" y="108"/>
                    </a:lnTo>
                    <a:lnTo>
                      <a:pt x="15" y="108"/>
                    </a:lnTo>
                    <a:lnTo>
                      <a:pt x="21" y="110"/>
                    </a:lnTo>
                    <a:lnTo>
                      <a:pt x="22" y="110"/>
                    </a:lnTo>
                    <a:lnTo>
                      <a:pt x="26" y="113"/>
                    </a:lnTo>
                    <a:lnTo>
                      <a:pt x="29" y="119"/>
                    </a:lnTo>
                    <a:lnTo>
                      <a:pt x="32" y="119"/>
                    </a:lnTo>
                    <a:lnTo>
                      <a:pt x="32" y="119"/>
                    </a:lnTo>
                    <a:lnTo>
                      <a:pt x="35" y="119"/>
                    </a:lnTo>
                    <a:lnTo>
                      <a:pt x="35" y="119"/>
                    </a:lnTo>
                    <a:lnTo>
                      <a:pt x="32" y="121"/>
                    </a:lnTo>
                    <a:lnTo>
                      <a:pt x="32" y="121"/>
                    </a:lnTo>
                    <a:lnTo>
                      <a:pt x="32" y="122"/>
                    </a:lnTo>
                    <a:lnTo>
                      <a:pt x="35" y="121"/>
                    </a:lnTo>
                    <a:lnTo>
                      <a:pt x="37" y="121"/>
                    </a:lnTo>
                    <a:lnTo>
                      <a:pt x="35" y="122"/>
                    </a:lnTo>
                    <a:lnTo>
                      <a:pt x="35" y="124"/>
                    </a:lnTo>
                    <a:lnTo>
                      <a:pt x="35" y="125"/>
                    </a:lnTo>
                    <a:lnTo>
                      <a:pt x="35" y="127"/>
                    </a:lnTo>
                    <a:lnTo>
                      <a:pt x="35" y="130"/>
                    </a:lnTo>
                    <a:lnTo>
                      <a:pt x="35" y="133"/>
                    </a:lnTo>
                    <a:lnTo>
                      <a:pt x="37" y="133"/>
                    </a:lnTo>
                    <a:lnTo>
                      <a:pt x="40" y="137"/>
                    </a:lnTo>
                    <a:lnTo>
                      <a:pt x="41" y="137"/>
                    </a:lnTo>
                    <a:lnTo>
                      <a:pt x="41" y="137"/>
                    </a:lnTo>
                    <a:lnTo>
                      <a:pt x="43" y="140"/>
                    </a:lnTo>
                    <a:lnTo>
                      <a:pt x="45" y="137"/>
                    </a:lnTo>
                    <a:lnTo>
                      <a:pt x="45" y="137"/>
                    </a:lnTo>
                    <a:lnTo>
                      <a:pt x="48" y="137"/>
                    </a:lnTo>
                    <a:lnTo>
                      <a:pt x="49" y="137"/>
                    </a:lnTo>
                    <a:lnTo>
                      <a:pt x="51" y="133"/>
                    </a:lnTo>
                    <a:lnTo>
                      <a:pt x="51" y="133"/>
                    </a:lnTo>
                    <a:lnTo>
                      <a:pt x="53" y="130"/>
                    </a:lnTo>
                    <a:lnTo>
                      <a:pt x="53" y="133"/>
                    </a:lnTo>
                    <a:lnTo>
                      <a:pt x="54" y="137"/>
                    </a:lnTo>
                    <a:lnTo>
                      <a:pt x="54" y="133"/>
                    </a:lnTo>
                    <a:lnTo>
                      <a:pt x="56" y="137"/>
                    </a:lnTo>
                    <a:lnTo>
                      <a:pt x="57" y="133"/>
                    </a:lnTo>
                    <a:lnTo>
                      <a:pt x="56" y="133"/>
                    </a:lnTo>
                    <a:lnTo>
                      <a:pt x="57" y="133"/>
                    </a:lnTo>
                    <a:lnTo>
                      <a:pt x="57" y="133"/>
                    </a:lnTo>
                    <a:lnTo>
                      <a:pt x="61" y="133"/>
                    </a:lnTo>
                    <a:lnTo>
                      <a:pt x="61" y="133"/>
                    </a:lnTo>
                    <a:lnTo>
                      <a:pt x="61" y="133"/>
                    </a:lnTo>
                    <a:lnTo>
                      <a:pt x="64" y="133"/>
                    </a:lnTo>
                    <a:lnTo>
                      <a:pt x="67" y="133"/>
                    </a:lnTo>
                    <a:lnTo>
                      <a:pt x="70" y="133"/>
                    </a:lnTo>
                    <a:lnTo>
                      <a:pt x="70" y="133"/>
                    </a:lnTo>
                    <a:lnTo>
                      <a:pt x="70" y="130"/>
                    </a:lnTo>
                    <a:lnTo>
                      <a:pt x="72" y="130"/>
                    </a:lnTo>
                    <a:lnTo>
                      <a:pt x="72" y="130"/>
                    </a:lnTo>
                    <a:lnTo>
                      <a:pt x="72" y="130"/>
                    </a:lnTo>
                    <a:lnTo>
                      <a:pt x="73" y="133"/>
                    </a:lnTo>
                    <a:lnTo>
                      <a:pt x="73" y="132"/>
                    </a:lnTo>
                    <a:lnTo>
                      <a:pt x="75" y="130"/>
                    </a:lnTo>
                    <a:lnTo>
                      <a:pt x="76" y="129"/>
                    </a:lnTo>
                    <a:lnTo>
                      <a:pt x="78" y="125"/>
                    </a:lnTo>
                    <a:lnTo>
                      <a:pt x="78" y="121"/>
                    </a:lnTo>
                    <a:lnTo>
                      <a:pt x="80" y="119"/>
                    </a:lnTo>
                    <a:lnTo>
                      <a:pt x="78" y="119"/>
                    </a:lnTo>
                    <a:lnTo>
                      <a:pt x="80" y="116"/>
                    </a:lnTo>
                    <a:lnTo>
                      <a:pt x="81" y="113"/>
                    </a:lnTo>
                    <a:lnTo>
                      <a:pt x="88" y="108"/>
                    </a:lnTo>
                    <a:lnTo>
                      <a:pt x="91" y="103"/>
                    </a:lnTo>
                    <a:lnTo>
                      <a:pt x="91" y="102"/>
                    </a:lnTo>
                    <a:lnTo>
                      <a:pt x="92" y="100"/>
                    </a:lnTo>
                    <a:lnTo>
                      <a:pt x="95" y="102"/>
                    </a:lnTo>
                    <a:lnTo>
                      <a:pt x="97" y="102"/>
                    </a:lnTo>
                    <a:lnTo>
                      <a:pt x="99" y="100"/>
                    </a:lnTo>
                    <a:lnTo>
                      <a:pt x="100" y="97"/>
                    </a:lnTo>
                    <a:lnTo>
                      <a:pt x="100" y="100"/>
                    </a:lnTo>
                    <a:lnTo>
                      <a:pt x="102" y="102"/>
                    </a:lnTo>
                    <a:lnTo>
                      <a:pt x="103" y="103"/>
                    </a:lnTo>
                    <a:lnTo>
                      <a:pt x="107" y="105"/>
                    </a:lnTo>
                    <a:lnTo>
                      <a:pt x="107" y="106"/>
                    </a:lnTo>
                    <a:lnTo>
                      <a:pt x="107" y="108"/>
                    </a:lnTo>
                    <a:lnTo>
                      <a:pt x="108" y="108"/>
                    </a:lnTo>
                    <a:lnTo>
                      <a:pt x="110" y="108"/>
                    </a:lnTo>
                    <a:lnTo>
                      <a:pt x="113" y="105"/>
                    </a:lnTo>
                    <a:lnTo>
                      <a:pt x="113" y="102"/>
                    </a:lnTo>
                    <a:lnTo>
                      <a:pt x="113" y="100"/>
                    </a:lnTo>
                    <a:lnTo>
                      <a:pt x="116" y="98"/>
                    </a:lnTo>
                    <a:lnTo>
                      <a:pt x="116" y="97"/>
                    </a:lnTo>
                    <a:lnTo>
                      <a:pt x="116" y="95"/>
                    </a:lnTo>
                    <a:lnTo>
                      <a:pt x="116" y="95"/>
                    </a:lnTo>
                    <a:lnTo>
                      <a:pt x="119" y="89"/>
                    </a:lnTo>
                    <a:lnTo>
                      <a:pt x="119" y="84"/>
                    </a:lnTo>
                    <a:lnTo>
                      <a:pt x="119" y="83"/>
                    </a:lnTo>
                    <a:lnTo>
                      <a:pt x="122" y="79"/>
                    </a:lnTo>
                    <a:lnTo>
                      <a:pt x="122" y="79"/>
                    </a:lnTo>
                    <a:lnTo>
                      <a:pt x="122" y="76"/>
                    </a:lnTo>
                    <a:lnTo>
                      <a:pt x="126" y="76"/>
                    </a:lnTo>
                    <a:lnTo>
                      <a:pt x="127" y="71"/>
                    </a:lnTo>
                    <a:lnTo>
                      <a:pt x="129" y="68"/>
                    </a:lnTo>
                    <a:lnTo>
                      <a:pt x="129" y="67"/>
                    </a:lnTo>
                    <a:lnTo>
                      <a:pt x="127" y="65"/>
                    </a:lnTo>
                    <a:lnTo>
                      <a:pt x="132" y="63"/>
                    </a:lnTo>
                    <a:lnTo>
                      <a:pt x="134" y="60"/>
                    </a:lnTo>
                    <a:lnTo>
                      <a:pt x="134" y="57"/>
                    </a:lnTo>
                    <a:lnTo>
                      <a:pt x="135" y="54"/>
                    </a:lnTo>
                    <a:lnTo>
                      <a:pt x="137" y="54"/>
                    </a:lnTo>
                    <a:lnTo>
                      <a:pt x="138" y="49"/>
                    </a:lnTo>
                    <a:lnTo>
                      <a:pt x="140" y="43"/>
                    </a:lnTo>
                    <a:lnTo>
                      <a:pt x="142" y="40"/>
                    </a:lnTo>
                    <a:lnTo>
                      <a:pt x="145" y="38"/>
                    </a:lnTo>
                    <a:lnTo>
                      <a:pt x="148" y="37"/>
                    </a:lnTo>
                    <a:lnTo>
                      <a:pt x="151" y="35"/>
                    </a:lnTo>
                    <a:lnTo>
                      <a:pt x="151" y="32"/>
                    </a:lnTo>
                    <a:lnTo>
                      <a:pt x="151" y="30"/>
                    </a:lnTo>
                    <a:lnTo>
                      <a:pt x="151" y="29"/>
                    </a:lnTo>
                    <a:lnTo>
                      <a:pt x="151" y="25"/>
                    </a:lnTo>
                    <a:lnTo>
                      <a:pt x="148" y="22"/>
                    </a:lnTo>
                    <a:lnTo>
                      <a:pt x="146" y="22"/>
                    </a:lnTo>
                    <a:lnTo>
                      <a:pt x="145" y="19"/>
                    </a:lnTo>
                    <a:lnTo>
                      <a:pt x="145" y="14"/>
                    </a:lnTo>
                    <a:lnTo>
                      <a:pt x="143" y="13"/>
                    </a:lnTo>
                    <a:lnTo>
                      <a:pt x="143" y="13"/>
                    </a:lnTo>
                    <a:lnTo>
                      <a:pt x="138" y="6"/>
                    </a:lnTo>
                    <a:lnTo>
                      <a:pt x="138" y="3"/>
                    </a:lnTo>
                    <a:lnTo>
                      <a:pt x="138" y="3"/>
                    </a:lnTo>
                    <a:lnTo>
                      <a:pt x="137" y="3"/>
                    </a:lnTo>
                    <a:lnTo>
                      <a:pt x="137" y="3"/>
                    </a:lnTo>
                    <a:lnTo>
                      <a:pt x="137" y="3"/>
                    </a:lnTo>
                    <a:lnTo>
                      <a:pt x="137" y="3"/>
                    </a:lnTo>
                    <a:lnTo>
                      <a:pt x="137" y="3"/>
                    </a:lnTo>
                    <a:lnTo>
                      <a:pt x="137" y="3"/>
                    </a:lnTo>
                    <a:lnTo>
                      <a:pt x="137" y="3"/>
                    </a:lnTo>
                    <a:lnTo>
                      <a:pt x="137" y="3"/>
                    </a:lnTo>
                    <a:lnTo>
                      <a:pt x="137" y="3"/>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49" name="Freeform 160">
                <a:extLst>
                  <a:ext uri="{FF2B5EF4-FFF2-40B4-BE49-F238E27FC236}">
                    <a16:creationId xmlns:a16="http://schemas.microsoft.com/office/drawing/2014/main" id="{429B76BA-650E-AC6C-73E2-7473F7AA7138}"/>
                  </a:ext>
                </a:extLst>
              </p:cNvPr>
              <p:cNvSpPr>
                <a:spLocks/>
              </p:cNvSpPr>
              <p:nvPr/>
            </p:nvSpPr>
            <p:spPr bwMode="auto">
              <a:xfrm>
                <a:off x="5612157" y="3542849"/>
                <a:ext cx="228793" cy="181689"/>
              </a:xfrm>
              <a:custGeom>
                <a:avLst/>
                <a:gdLst>
                  <a:gd name="T0" fmla="*/ 64 w 102"/>
                  <a:gd name="T1" fmla="*/ 0 h 81"/>
                  <a:gd name="T2" fmla="*/ 50 w 102"/>
                  <a:gd name="T3" fmla="*/ 6 h 81"/>
                  <a:gd name="T4" fmla="*/ 46 w 102"/>
                  <a:gd name="T5" fmla="*/ 11 h 81"/>
                  <a:gd name="T6" fmla="*/ 37 w 102"/>
                  <a:gd name="T7" fmla="*/ 11 h 81"/>
                  <a:gd name="T8" fmla="*/ 35 w 102"/>
                  <a:gd name="T9" fmla="*/ 18 h 81"/>
                  <a:gd name="T10" fmla="*/ 31 w 102"/>
                  <a:gd name="T11" fmla="*/ 22 h 81"/>
                  <a:gd name="T12" fmla="*/ 27 w 102"/>
                  <a:gd name="T13" fmla="*/ 27 h 81"/>
                  <a:gd name="T14" fmla="*/ 21 w 102"/>
                  <a:gd name="T15" fmla="*/ 22 h 81"/>
                  <a:gd name="T16" fmla="*/ 16 w 102"/>
                  <a:gd name="T17" fmla="*/ 27 h 81"/>
                  <a:gd name="T18" fmla="*/ 16 w 102"/>
                  <a:gd name="T19" fmla="*/ 33 h 81"/>
                  <a:gd name="T20" fmla="*/ 15 w 102"/>
                  <a:gd name="T21" fmla="*/ 35 h 81"/>
                  <a:gd name="T22" fmla="*/ 12 w 102"/>
                  <a:gd name="T23" fmla="*/ 45 h 81"/>
                  <a:gd name="T24" fmla="*/ 5 w 102"/>
                  <a:gd name="T25" fmla="*/ 45 h 81"/>
                  <a:gd name="T26" fmla="*/ 5 w 102"/>
                  <a:gd name="T27" fmla="*/ 48 h 81"/>
                  <a:gd name="T28" fmla="*/ 5 w 102"/>
                  <a:gd name="T29" fmla="*/ 53 h 81"/>
                  <a:gd name="T30" fmla="*/ 2 w 102"/>
                  <a:gd name="T31" fmla="*/ 59 h 81"/>
                  <a:gd name="T32" fmla="*/ 2 w 102"/>
                  <a:gd name="T33" fmla="*/ 65 h 81"/>
                  <a:gd name="T34" fmla="*/ 2 w 102"/>
                  <a:gd name="T35" fmla="*/ 67 h 81"/>
                  <a:gd name="T36" fmla="*/ 5 w 102"/>
                  <a:gd name="T37" fmla="*/ 70 h 81"/>
                  <a:gd name="T38" fmla="*/ 12 w 102"/>
                  <a:gd name="T39" fmla="*/ 76 h 81"/>
                  <a:gd name="T40" fmla="*/ 16 w 102"/>
                  <a:gd name="T41" fmla="*/ 76 h 81"/>
                  <a:gd name="T42" fmla="*/ 27 w 102"/>
                  <a:gd name="T43" fmla="*/ 73 h 81"/>
                  <a:gd name="T44" fmla="*/ 31 w 102"/>
                  <a:gd name="T45" fmla="*/ 73 h 81"/>
                  <a:gd name="T46" fmla="*/ 37 w 102"/>
                  <a:gd name="T47" fmla="*/ 79 h 81"/>
                  <a:gd name="T48" fmla="*/ 37 w 102"/>
                  <a:gd name="T49" fmla="*/ 70 h 81"/>
                  <a:gd name="T50" fmla="*/ 35 w 102"/>
                  <a:gd name="T51" fmla="*/ 62 h 81"/>
                  <a:gd name="T52" fmla="*/ 46 w 102"/>
                  <a:gd name="T53" fmla="*/ 59 h 81"/>
                  <a:gd name="T54" fmla="*/ 59 w 102"/>
                  <a:gd name="T55" fmla="*/ 59 h 81"/>
                  <a:gd name="T56" fmla="*/ 64 w 102"/>
                  <a:gd name="T57" fmla="*/ 59 h 81"/>
                  <a:gd name="T58" fmla="*/ 70 w 102"/>
                  <a:gd name="T59" fmla="*/ 57 h 81"/>
                  <a:gd name="T60" fmla="*/ 75 w 102"/>
                  <a:gd name="T61" fmla="*/ 59 h 81"/>
                  <a:gd name="T62" fmla="*/ 83 w 102"/>
                  <a:gd name="T63" fmla="*/ 57 h 81"/>
                  <a:gd name="T64" fmla="*/ 89 w 102"/>
                  <a:gd name="T65" fmla="*/ 51 h 81"/>
                  <a:gd name="T66" fmla="*/ 96 w 102"/>
                  <a:gd name="T67" fmla="*/ 51 h 81"/>
                  <a:gd name="T68" fmla="*/ 99 w 102"/>
                  <a:gd name="T69" fmla="*/ 48 h 81"/>
                  <a:gd name="T70" fmla="*/ 99 w 102"/>
                  <a:gd name="T71" fmla="*/ 41 h 81"/>
                  <a:gd name="T72" fmla="*/ 99 w 102"/>
                  <a:gd name="T73" fmla="*/ 35 h 81"/>
                  <a:gd name="T74" fmla="*/ 94 w 102"/>
                  <a:gd name="T75" fmla="*/ 35 h 81"/>
                  <a:gd name="T76" fmla="*/ 85 w 102"/>
                  <a:gd name="T77" fmla="*/ 27 h 81"/>
                  <a:gd name="T78" fmla="*/ 88 w 102"/>
                  <a:gd name="T79" fmla="*/ 24 h 81"/>
                  <a:gd name="T80" fmla="*/ 77 w 102"/>
                  <a:gd name="T81" fmla="*/ 14 h 81"/>
                  <a:gd name="T82" fmla="*/ 75 w 102"/>
                  <a:gd name="T83" fmla="*/ 10 h 81"/>
                  <a:gd name="T84" fmla="*/ 73 w 102"/>
                  <a:gd name="T85" fmla="*/ 3 h 81"/>
                  <a:gd name="T86" fmla="*/ 67 w 102"/>
                  <a:gd name="T87" fmla="*/ 0 h 81"/>
                  <a:gd name="T88" fmla="*/ 67 w 102"/>
                  <a:gd name="T89" fmla="*/ 0 h 81"/>
                  <a:gd name="T90" fmla="*/ 67 w 102"/>
                  <a:gd name="T9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 h="81">
                    <a:moveTo>
                      <a:pt x="67" y="0"/>
                    </a:moveTo>
                    <a:lnTo>
                      <a:pt x="67" y="0"/>
                    </a:lnTo>
                    <a:lnTo>
                      <a:pt x="64" y="0"/>
                    </a:lnTo>
                    <a:lnTo>
                      <a:pt x="61" y="2"/>
                    </a:lnTo>
                    <a:lnTo>
                      <a:pt x="53" y="6"/>
                    </a:lnTo>
                    <a:lnTo>
                      <a:pt x="50" y="6"/>
                    </a:lnTo>
                    <a:lnTo>
                      <a:pt x="46" y="10"/>
                    </a:lnTo>
                    <a:lnTo>
                      <a:pt x="46" y="10"/>
                    </a:lnTo>
                    <a:lnTo>
                      <a:pt x="46" y="11"/>
                    </a:lnTo>
                    <a:lnTo>
                      <a:pt x="43" y="11"/>
                    </a:lnTo>
                    <a:lnTo>
                      <a:pt x="40" y="11"/>
                    </a:lnTo>
                    <a:lnTo>
                      <a:pt x="37" y="11"/>
                    </a:lnTo>
                    <a:lnTo>
                      <a:pt x="37" y="13"/>
                    </a:lnTo>
                    <a:lnTo>
                      <a:pt x="35" y="16"/>
                    </a:lnTo>
                    <a:lnTo>
                      <a:pt x="35" y="18"/>
                    </a:lnTo>
                    <a:lnTo>
                      <a:pt x="34" y="21"/>
                    </a:lnTo>
                    <a:lnTo>
                      <a:pt x="31" y="19"/>
                    </a:lnTo>
                    <a:lnTo>
                      <a:pt x="31" y="22"/>
                    </a:lnTo>
                    <a:lnTo>
                      <a:pt x="31" y="26"/>
                    </a:lnTo>
                    <a:lnTo>
                      <a:pt x="29" y="26"/>
                    </a:lnTo>
                    <a:lnTo>
                      <a:pt x="27" y="27"/>
                    </a:lnTo>
                    <a:lnTo>
                      <a:pt x="24" y="26"/>
                    </a:lnTo>
                    <a:lnTo>
                      <a:pt x="21" y="24"/>
                    </a:lnTo>
                    <a:lnTo>
                      <a:pt x="21" y="22"/>
                    </a:lnTo>
                    <a:lnTo>
                      <a:pt x="19" y="26"/>
                    </a:lnTo>
                    <a:lnTo>
                      <a:pt x="18" y="27"/>
                    </a:lnTo>
                    <a:lnTo>
                      <a:pt x="16" y="27"/>
                    </a:lnTo>
                    <a:lnTo>
                      <a:pt x="16" y="29"/>
                    </a:lnTo>
                    <a:lnTo>
                      <a:pt x="18" y="32"/>
                    </a:lnTo>
                    <a:lnTo>
                      <a:pt x="16" y="33"/>
                    </a:lnTo>
                    <a:lnTo>
                      <a:pt x="15" y="33"/>
                    </a:lnTo>
                    <a:lnTo>
                      <a:pt x="15" y="35"/>
                    </a:lnTo>
                    <a:lnTo>
                      <a:pt x="15" y="35"/>
                    </a:lnTo>
                    <a:lnTo>
                      <a:pt x="15" y="38"/>
                    </a:lnTo>
                    <a:lnTo>
                      <a:pt x="12" y="45"/>
                    </a:lnTo>
                    <a:lnTo>
                      <a:pt x="12" y="45"/>
                    </a:lnTo>
                    <a:lnTo>
                      <a:pt x="8" y="45"/>
                    </a:lnTo>
                    <a:lnTo>
                      <a:pt x="8" y="45"/>
                    </a:lnTo>
                    <a:lnTo>
                      <a:pt x="5" y="45"/>
                    </a:lnTo>
                    <a:lnTo>
                      <a:pt x="2" y="46"/>
                    </a:lnTo>
                    <a:lnTo>
                      <a:pt x="5" y="46"/>
                    </a:lnTo>
                    <a:lnTo>
                      <a:pt x="5" y="48"/>
                    </a:lnTo>
                    <a:lnTo>
                      <a:pt x="5" y="49"/>
                    </a:lnTo>
                    <a:lnTo>
                      <a:pt x="5" y="51"/>
                    </a:lnTo>
                    <a:lnTo>
                      <a:pt x="5" y="53"/>
                    </a:lnTo>
                    <a:lnTo>
                      <a:pt x="5" y="56"/>
                    </a:lnTo>
                    <a:lnTo>
                      <a:pt x="2" y="57"/>
                    </a:lnTo>
                    <a:lnTo>
                      <a:pt x="2" y="59"/>
                    </a:lnTo>
                    <a:lnTo>
                      <a:pt x="2" y="59"/>
                    </a:lnTo>
                    <a:lnTo>
                      <a:pt x="2" y="64"/>
                    </a:lnTo>
                    <a:lnTo>
                      <a:pt x="2" y="65"/>
                    </a:lnTo>
                    <a:lnTo>
                      <a:pt x="0" y="67"/>
                    </a:lnTo>
                    <a:lnTo>
                      <a:pt x="2" y="67"/>
                    </a:lnTo>
                    <a:lnTo>
                      <a:pt x="2" y="67"/>
                    </a:lnTo>
                    <a:lnTo>
                      <a:pt x="2" y="67"/>
                    </a:lnTo>
                    <a:lnTo>
                      <a:pt x="5" y="67"/>
                    </a:lnTo>
                    <a:lnTo>
                      <a:pt x="5" y="70"/>
                    </a:lnTo>
                    <a:lnTo>
                      <a:pt x="8" y="73"/>
                    </a:lnTo>
                    <a:lnTo>
                      <a:pt x="8" y="76"/>
                    </a:lnTo>
                    <a:lnTo>
                      <a:pt x="12" y="76"/>
                    </a:lnTo>
                    <a:lnTo>
                      <a:pt x="12" y="76"/>
                    </a:lnTo>
                    <a:lnTo>
                      <a:pt x="16" y="79"/>
                    </a:lnTo>
                    <a:lnTo>
                      <a:pt x="16" y="76"/>
                    </a:lnTo>
                    <a:lnTo>
                      <a:pt x="18" y="76"/>
                    </a:lnTo>
                    <a:lnTo>
                      <a:pt x="23" y="73"/>
                    </a:lnTo>
                    <a:lnTo>
                      <a:pt x="27" y="73"/>
                    </a:lnTo>
                    <a:lnTo>
                      <a:pt x="29" y="73"/>
                    </a:lnTo>
                    <a:lnTo>
                      <a:pt x="31" y="73"/>
                    </a:lnTo>
                    <a:lnTo>
                      <a:pt x="31" y="73"/>
                    </a:lnTo>
                    <a:lnTo>
                      <a:pt x="34" y="79"/>
                    </a:lnTo>
                    <a:lnTo>
                      <a:pt x="37" y="81"/>
                    </a:lnTo>
                    <a:lnTo>
                      <a:pt x="37" y="79"/>
                    </a:lnTo>
                    <a:lnTo>
                      <a:pt x="37" y="79"/>
                    </a:lnTo>
                    <a:lnTo>
                      <a:pt x="37" y="76"/>
                    </a:lnTo>
                    <a:lnTo>
                      <a:pt x="37" y="70"/>
                    </a:lnTo>
                    <a:lnTo>
                      <a:pt x="37" y="70"/>
                    </a:lnTo>
                    <a:lnTo>
                      <a:pt x="34" y="64"/>
                    </a:lnTo>
                    <a:lnTo>
                      <a:pt x="35" y="62"/>
                    </a:lnTo>
                    <a:lnTo>
                      <a:pt x="35" y="60"/>
                    </a:lnTo>
                    <a:lnTo>
                      <a:pt x="35" y="59"/>
                    </a:lnTo>
                    <a:lnTo>
                      <a:pt x="46" y="59"/>
                    </a:lnTo>
                    <a:lnTo>
                      <a:pt x="48" y="59"/>
                    </a:lnTo>
                    <a:lnTo>
                      <a:pt x="56" y="59"/>
                    </a:lnTo>
                    <a:lnTo>
                      <a:pt x="59" y="59"/>
                    </a:lnTo>
                    <a:lnTo>
                      <a:pt x="61" y="59"/>
                    </a:lnTo>
                    <a:lnTo>
                      <a:pt x="61" y="59"/>
                    </a:lnTo>
                    <a:lnTo>
                      <a:pt x="64" y="59"/>
                    </a:lnTo>
                    <a:lnTo>
                      <a:pt x="64" y="57"/>
                    </a:lnTo>
                    <a:lnTo>
                      <a:pt x="67" y="56"/>
                    </a:lnTo>
                    <a:lnTo>
                      <a:pt x="70" y="57"/>
                    </a:lnTo>
                    <a:lnTo>
                      <a:pt x="72" y="57"/>
                    </a:lnTo>
                    <a:lnTo>
                      <a:pt x="75" y="59"/>
                    </a:lnTo>
                    <a:lnTo>
                      <a:pt x="75" y="59"/>
                    </a:lnTo>
                    <a:lnTo>
                      <a:pt x="80" y="59"/>
                    </a:lnTo>
                    <a:lnTo>
                      <a:pt x="81" y="59"/>
                    </a:lnTo>
                    <a:lnTo>
                      <a:pt x="83" y="57"/>
                    </a:lnTo>
                    <a:lnTo>
                      <a:pt x="85" y="56"/>
                    </a:lnTo>
                    <a:lnTo>
                      <a:pt x="88" y="53"/>
                    </a:lnTo>
                    <a:lnTo>
                      <a:pt x="89" y="51"/>
                    </a:lnTo>
                    <a:lnTo>
                      <a:pt x="91" y="53"/>
                    </a:lnTo>
                    <a:lnTo>
                      <a:pt x="96" y="51"/>
                    </a:lnTo>
                    <a:lnTo>
                      <a:pt x="96" y="51"/>
                    </a:lnTo>
                    <a:lnTo>
                      <a:pt x="99" y="51"/>
                    </a:lnTo>
                    <a:lnTo>
                      <a:pt x="99" y="48"/>
                    </a:lnTo>
                    <a:lnTo>
                      <a:pt x="99" y="48"/>
                    </a:lnTo>
                    <a:lnTo>
                      <a:pt x="102" y="46"/>
                    </a:lnTo>
                    <a:lnTo>
                      <a:pt x="99" y="45"/>
                    </a:lnTo>
                    <a:lnTo>
                      <a:pt x="99" y="41"/>
                    </a:lnTo>
                    <a:lnTo>
                      <a:pt x="99" y="38"/>
                    </a:lnTo>
                    <a:lnTo>
                      <a:pt x="99" y="38"/>
                    </a:lnTo>
                    <a:lnTo>
                      <a:pt x="99" y="35"/>
                    </a:lnTo>
                    <a:lnTo>
                      <a:pt x="96" y="33"/>
                    </a:lnTo>
                    <a:lnTo>
                      <a:pt x="96" y="35"/>
                    </a:lnTo>
                    <a:lnTo>
                      <a:pt x="94" y="35"/>
                    </a:lnTo>
                    <a:lnTo>
                      <a:pt x="91" y="35"/>
                    </a:lnTo>
                    <a:lnTo>
                      <a:pt x="86" y="30"/>
                    </a:lnTo>
                    <a:lnTo>
                      <a:pt x="85" y="27"/>
                    </a:lnTo>
                    <a:lnTo>
                      <a:pt x="85" y="24"/>
                    </a:lnTo>
                    <a:lnTo>
                      <a:pt x="86" y="24"/>
                    </a:lnTo>
                    <a:lnTo>
                      <a:pt x="88" y="24"/>
                    </a:lnTo>
                    <a:lnTo>
                      <a:pt x="78" y="19"/>
                    </a:lnTo>
                    <a:lnTo>
                      <a:pt x="78" y="16"/>
                    </a:lnTo>
                    <a:lnTo>
                      <a:pt x="77" y="14"/>
                    </a:lnTo>
                    <a:lnTo>
                      <a:pt x="75" y="11"/>
                    </a:lnTo>
                    <a:lnTo>
                      <a:pt x="75" y="10"/>
                    </a:lnTo>
                    <a:lnTo>
                      <a:pt x="75" y="10"/>
                    </a:lnTo>
                    <a:lnTo>
                      <a:pt x="73" y="6"/>
                    </a:lnTo>
                    <a:lnTo>
                      <a:pt x="73" y="5"/>
                    </a:lnTo>
                    <a:lnTo>
                      <a:pt x="73" y="3"/>
                    </a:lnTo>
                    <a:lnTo>
                      <a:pt x="73" y="2"/>
                    </a:lnTo>
                    <a:lnTo>
                      <a:pt x="70" y="0"/>
                    </a:lnTo>
                    <a:lnTo>
                      <a:pt x="67" y="0"/>
                    </a:lnTo>
                    <a:lnTo>
                      <a:pt x="67" y="0"/>
                    </a:lnTo>
                    <a:lnTo>
                      <a:pt x="67" y="0"/>
                    </a:lnTo>
                    <a:lnTo>
                      <a:pt x="67" y="0"/>
                    </a:lnTo>
                    <a:lnTo>
                      <a:pt x="67" y="0"/>
                    </a:lnTo>
                    <a:lnTo>
                      <a:pt x="67" y="0"/>
                    </a:lnTo>
                    <a:lnTo>
                      <a:pt x="67" y="0"/>
                    </a:lnTo>
                    <a:lnTo>
                      <a:pt x="67" y="0"/>
                    </a:lnTo>
                    <a:lnTo>
                      <a:pt x="67" y="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50" name="Freeform 162">
                <a:extLst>
                  <a:ext uri="{FF2B5EF4-FFF2-40B4-BE49-F238E27FC236}">
                    <a16:creationId xmlns:a16="http://schemas.microsoft.com/office/drawing/2014/main" id="{040D533A-BC15-53D7-CA93-98EF9E8C51C9}"/>
                  </a:ext>
                </a:extLst>
              </p:cNvPr>
              <p:cNvSpPr>
                <a:spLocks/>
              </p:cNvSpPr>
              <p:nvPr/>
            </p:nvSpPr>
            <p:spPr bwMode="auto">
              <a:xfrm>
                <a:off x="5441684" y="3753698"/>
                <a:ext cx="118883" cy="134584"/>
              </a:xfrm>
              <a:custGeom>
                <a:avLst/>
                <a:gdLst>
                  <a:gd name="T0" fmla="*/ 53 w 53"/>
                  <a:gd name="T1" fmla="*/ 47 h 60"/>
                  <a:gd name="T2" fmla="*/ 53 w 53"/>
                  <a:gd name="T3" fmla="*/ 41 h 60"/>
                  <a:gd name="T4" fmla="*/ 49 w 53"/>
                  <a:gd name="T5" fmla="*/ 38 h 60"/>
                  <a:gd name="T6" fmla="*/ 48 w 53"/>
                  <a:gd name="T7" fmla="*/ 32 h 60"/>
                  <a:gd name="T8" fmla="*/ 46 w 53"/>
                  <a:gd name="T9" fmla="*/ 32 h 60"/>
                  <a:gd name="T10" fmla="*/ 43 w 53"/>
                  <a:gd name="T11" fmla="*/ 32 h 60"/>
                  <a:gd name="T12" fmla="*/ 40 w 53"/>
                  <a:gd name="T13" fmla="*/ 30 h 60"/>
                  <a:gd name="T14" fmla="*/ 40 w 53"/>
                  <a:gd name="T15" fmla="*/ 27 h 60"/>
                  <a:gd name="T16" fmla="*/ 43 w 53"/>
                  <a:gd name="T17" fmla="*/ 24 h 60"/>
                  <a:gd name="T18" fmla="*/ 40 w 53"/>
                  <a:gd name="T19" fmla="*/ 14 h 60"/>
                  <a:gd name="T20" fmla="*/ 40 w 53"/>
                  <a:gd name="T21" fmla="*/ 11 h 60"/>
                  <a:gd name="T22" fmla="*/ 37 w 53"/>
                  <a:gd name="T23" fmla="*/ 14 h 60"/>
                  <a:gd name="T24" fmla="*/ 34 w 53"/>
                  <a:gd name="T25" fmla="*/ 17 h 60"/>
                  <a:gd name="T26" fmla="*/ 32 w 53"/>
                  <a:gd name="T27" fmla="*/ 17 h 60"/>
                  <a:gd name="T28" fmla="*/ 27 w 53"/>
                  <a:gd name="T29" fmla="*/ 17 h 60"/>
                  <a:gd name="T30" fmla="*/ 27 w 53"/>
                  <a:gd name="T31" fmla="*/ 8 h 60"/>
                  <a:gd name="T32" fmla="*/ 27 w 53"/>
                  <a:gd name="T33" fmla="*/ 5 h 60"/>
                  <a:gd name="T34" fmla="*/ 26 w 53"/>
                  <a:gd name="T35" fmla="*/ 1 h 60"/>
                  <a:gd name="T36" fmla="*/ 22 w 53"/>
                  <a:gd name="T37" fmla="*/ 0 h 60"/>
                  <a:gd name="T38" fmla="*/ 19 w 53"/>
                  <a:gd name="T39" fmla="*/ 0 h 60"/>
                  <a:gd name="T40" fmla="*/ 18 w 53"/>
                  <a:gd name="T41" fmla="*/ 1 h 60"/>
                  <a:gd name="T42" fmla="*/ 15 w 53"/>
                  <a:gd name="T43" fmla="*/ 1 h 60"/>
                  <a:gd name="T44" fmla="*/ 15 w 53"/>
                  <a:gd name="T45" fmla="*/ 5 h 60"/>
                  <a:gd name="T46" fmla="*/ 11 w 53"/>
                  <a:gd name="T47" fmla="*/ 8 h 60"/>
                  <a:gd name="T48" fmla="*/ 11 w 53"/>
                  <a:gd name="T49" fmla="*/ 11 h 60"/>
                  <a:gd name="T50" fmla="*/ 5 w 53"/>
                  <a:gd name="T51" fmla="*/ 17 h 60"/>
                  <a:gd name="T52" fmla="*/ 2 w 53"/>
                  <a:gd name="T53" fmla="*/ 22 h 60"/>
                  <a:gd name="T54" fmla="*/ 2 w 53"/>
                  <a:gd name="T55" fmla="*/ 25 h 60"/>
                  <a:gd name="T56" fmla="*/ 8 w 53"/>
                  <a:gd name="T57" fmla="*/ 30 h 60"/>
                  <a:gd name="T58" fmla="*/ 10 w 53"/>
                  <a:gd name="T59" fmla="*/ 32 h 60"/>
                  <a:gd name="T60" fmla="*/ 18 w 53"/>
                  <a:gd name="T61" fmla="*/ 35 h 60"/>
                  <a:gd name="T62" fmla="*/ 34 w 53"/>
                  <a:gd name="T63" fmla="*/ 51 h 60"/>
                  <a:gd name="T64" fmla="*/ 43 w 53"/>
                  <a:gd name="T65" fmla="*/ 57 h 60"/>
                  <a:gd name="T66" fmla="*/ 48 w 53"/>
                  <a:gd name="T67" fmla="*/ 60 h 60"/>
                  <a:gd name="T68" fmla="*/ 51 w 53"/>
                  <a:gd name="T69" fmla="*/ 60 h 60"/>
                  <a:gd name="T70" fmla="*/ 51 w 53"/>
                  <a:gd name="T71" fmla="*/ 54 h 60"/>
                  <a:gd name="T72" fmla="*/ 51 w 53"/>
                  <a:gd name="T73" fmla="*/ 54 h 60"/>
                  <a:gd name="T74" fmla="*/ 51 w 53"/>
                  <a:gd name="T75" fmla="*/ 54 h 60"/>
                  <a:gd name="T76" fmla="*/ 51 w 53"/>
                  <a:gd name="T77" fmla="*/ 54 h 60"/>
                  <a:gd name="T78" fmla="*/ 51 w 53"/>
                  <a:gd name="T79" fmla="*/ 5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 h="60">
                    <a:moveTo>
                      <a:pt x="51" y="54"/>
                    </a:moveTo>
                    <a:lnTo>
                      <a:pt x="53" y="47"/>
                    </a:lnTo>
                    <a:lnTo>
                      <a:pt x="53" y="44"/>
                    </a:lnTo>
                    <a:lnTo>
                      <a:pt x="53" y="41"/>
                    </a:lnTo>
                    <a:lnTo>
                      <a:pt x="51" y="38"/>
                    </a:lnTo>
                    <a:lnTo>
                      <a:pt x="49" y="38"/>
                    </a:lnTo>
                    <a:lnTo>
                      <a:pt x="48" y="35"/>
                    </a:lnTo>
                    <a:lnTo>
                      <a:pt x="48" y="32"/>
                    </a:lnTo>
                    <a:lnTo>
                      <a:pt x="46" y="32"/>
                    </a:lnTo>
                    <a:lnTo>
                      <a:pt x="46" y="32"/>
                    </a:lnTo>
                    <a:lnTo>
                      <a:pt x="43" y="32"/>
                    </a:lnTo>
                    <a:lnTo>
                      <a:pt x="43" y="32"/>
                    </a:lnTo>
                    <a:lnTo>
                      <a:pt x="40" y="30"/>
                    </a:lnTo>
                    <a:lnTo>
                      <a:pt x="40" y="30"/>
                    </a:lnTo>
                    <a:lnTo>
                      <a:pt x="37" y="28"/>
                    </a:lnTo>
                    <a:lnTo>
                      <a:pt x="40" y="27"/>
                    </a:lnTo>
                    <a:lnTo>
                      <a:pt x="40" y="27"/>
                    </a:lnTo>
                    <a:lnTo>
                      <a:pt x="43" y="24"/>
                    </a:lnTo>
                    <a:lnTo>
                      <a:pt x="43" y="19"/>
                    </a:lnTo>
                    <a:lnTo>
                      <a:pt x="40" y="14"/>
                    </a:lnTo>
                    <a:lnTo>
                      <a:pt x="40" y="14"/>
                    </a:lnTo>
                    <a:lnTo>
                      <a:pt x="40" y="11"/>
                    </a:lnTo>
                    <a:lnTo>
                      <a:pt x="37" y="11"/>
                    </a:lnTo>
                    <a:lnTo>
                      <a:pt x="37" y="14"/>
                    </a:lnTo>
                    <a:lnTo>
                      <a:pt x="37" y="14"/>
                    </a:lnTo>
                    <a:lnTo>
                      <a:pt x="34" y="17"/>
                    </a:lnTo>
                    <a:lnTo>
                      <a:pt x="32" y="19"/>
                    </a:lnTo>
                    <a:lnTo>
                      <a:pt x="32" y="17"/>
                    </a:lnTo>
                    <a:lnTo>
                      <a:pt x="30" y="17"/>
                    </a:lnTo>
                    <a:lnTo>
                      <a:pt x="27" y="17"/>
                    </a:lnTo>
                    <a:lnTo>
                      <a:pt x="29" y="11"/>
                    </a:lnTo>
                    <a:lnTo>
                      <a:pt x="27" y="8"/>
                    </a:lnTo>
                    <a:lnTo>
                      <a:pt x="27" y="6"/>
                    </a:lnTo>
                    <a:lnTo>
                      <a:pt x="27" y="5"/>
                    </a:lnTo>
                    <a:lnTo>
                      <a:pt x="27" y="3"/>
                    </a:lnTo>
                    <a:lnTo>
                      <a:pt x="26" y="1"/>
                    </a:lnTo>
                    <a:lnTo>
                      <a:pt x="24" y="0"/>
                    </a:lnTo>
                    <a:lnTo>
                      <a:pt x="22" y="0"/>
                    </a:lnTo>
                    <a:lnTo>
                      <a:pt x="21" y="1"/>
                    </a:lnTo>
                    <a:lnTo>
                      <a:pt x="19" y="0"/>
                    </a:lnTo>
                    <a:lnTo>
                      <a:pt x="18" y="0"/>
                    </a:lnTo>
                    <a:lnTo>
                      <a:pt x="18" y="1"/>
                    </a:lnTo>
                    <a:lnTo>
                      <a:pt x="15" y="1"/>
                    </a:lnTo>
                    <a:lnTo>
                      <a:pt x="15" y="1"/>
                    </a:lnTo>
                    <a:lnTo>
                      <a:pt x="18" y="1"/>
                    </a:lnTo>
                    <a:lnTo>
                      <a:pt x="15" y="5"/>
                    </a:lnTo>
                    <a:lnTo>
                      <a:pt x="15" y="6"/>
                    </a:lnTo>
                    <a:lnTo>
                      <a:pt x="11" y="8"/>
                    </a:lnTo>
                    <a:lnTo>
                      <a:pt x="11" y="8"/>
                    </a:lnTo>
                    <a:lnTo>
                      <a:pt x="11" y="11"/>
                    </a:lnTo>
                    <a:lnTo>
                      <a:pt x="10" y="14"/>
                    </a:lnTo>
                    <a:lnTo>
                      <a:pt x="5" y="17"/>
                    </a:lnTo>
                    <a:lnTo>
                      <a:pt x="2" y="20"/>
                    </a:lnTo>
                    <a:lnTo>
                      <a:pt x="2" y="22"/>
                    </a:lnTo>
                    <a:lnTo>
                      <a:pt x="0" y="22"/>
                    </a:lnTo>
                    <a:lnTo>
                      <a:pt x="2" y="25"/>
                    </a:lnTo>
                    <a:lnTo>
                      <a:pt x="5" y="28"/>
                    </a:lnTo>
                    <a:lnTo>
                      <a:pt x="8" y="30"/>
                    </a:lnTo>
                    <a:lnTo>
                      <a:pt x="10" y="30"/>
                    </a:lnTo>
                    <a:lnTo>
                      <a:pt x="10" y="32"/>
                    </a:lnTo>
                    <a:lnTo>
                      <a:pt x="11" y="35"/>
                    </a:lnTo>
                    <a:lnTo>
                      <a:pt x="18" y="35"/>
                    </a:lnTo>
                    <a:lnTo>
                      <a:pt x="29" y="47"/>
                    </a:lnTo>
                    <a:lnTo>
                      <a:pt x="34" y="51"/>
                    </a:lnTo>
                    <a:lnTo>
                      <a:pt x="40" y="55"/>
                    </a:lnTo>
                    <a:lnTo>
                      <a:pt x="43" y="57"/>
                    </a:lnTo>
                    <a:lnTo>
                      <a:pt x="46" y="59"/>
                    </a:lnTo>
                    <a:lnTo>
                      <a:pt x="48" y="60"/>
                    </a:lnTo>
                    <a:lnTo>
                      <a:pt x="49" y="60"/>
                    </a:lnTo>
                    <a:lnTo>
                      <a:pt x="51" y="60"/>
                    </a:lnTo>
                    <a:lnTo>
                      <a:pt x="51" y="57"/>
                    </a:lnTo>
                    <a:lnTo>
                      <a:pt x="51" y="54"/>
                    </a:lnTo>
                    <a:lnTo>
                      <a:pt x="51" y="54"/>
                    </a:lnTo>
                    <a:lnTo>
                      <a:pt x="51" y="54"/>
                    </a:lnTo>
                    <a:lnTo>
                      <a:pt x="51" y="54"/>
                    </a:lnTo>
                    <a:lnTo>
                      <a:pt x="51" y="54"/>
                    </a:lnTo>
                    <a:lnTo>
                      <a:pt x="51" y="54"/>
                    </a:lnTo>
                    <a:lnTo>
                      <a:pt x="51" y="54"/>
                    </a:lnTo>
                    <a:lnTo>
                      <a:pt x="51" y="54"/>
                    </a:lnTo>
                    <a:lnTo>
                      <a:pt x="51" y="5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51" name="Freeform 164">
                <a:extLst>
                  <a:ext uri="{FF2B5EF4-FFF2-40B4-BE49-F238E27FC236}">
                    <a16:creationId xmlns:a16="http://schemas.microsoft.com/office/drawing/2014/main" id="{19686A91-DA50-30A4-D89B-9CDFF1E26A5E}"/>
                  </a:ext>
                </a:extLst>
              </p:cNvPr>
              <p:cNvSpPr>
                <a:spLocks/>
              </p:cNvSpPr>
              <p:nvPr/>
            </p:nvSpPr>
            <p:spPr bwMode="auto">
              <a:xfrm>
                <a:off x="5392337" y="3706593"/>
                <a:ext cx="89723" cy="96452"/>
              </a:xfrm>
              <a:custGeom>
                <a:avLst/>
                <a:gdLst>
                  <a:gd name="T0" fmla="*/ 35 w 40"/>
                  <a:gd name="T1" fmla="*/ 21 h 43"/>
                  <a:gd name="T2" fmla="*/ 35 w 40"/>
                  <a:gd name="T3" fmla="*/ 18 h 43"/>
                  <a:gd name="T4" fmla="*/ 35 w 40"/>
                  <a:gd name="T5" fmla="*/ 14 h 43"/>
                  <a:gd name="T6" fmla="*/ 33 w 40"/>
                  <a:gd name="T7" fmla="*/ 11 h 43"/>
                  <a:gd name="T8" fmla="*/ 30 w 40"/>
                  <a:gd name="T9" fmla="*/ 3 h 43"/>
                  <a:gd name="T10" fmla="*/ 24 w 40"/>
                  <a:gd name="T11" fmla="*/ 0 h 43"/>
                  <a:gd name="T12" fmla="*/ 17 w 40"/>
                  <a:gd name="T13" fmla="*/ 0 h 43"/>
                  <a:gd name="T14" fmla="*/ 14 w 40"/>
                  <a:gd name="T15" fmla="*/ 0 h 43"/>
                  <a:gd name="T16" fmla="*/ 11 w 40"/>
                  <a:gd name="T17" fmla="*/ 3 h 43"/>
                  <a:gd name="T18" fmla="*/ 6 w 40"/>
                  <a:gd name="T19" fmla="*/ 10 h 43"/>
                  <a:gd name="T20" fmla="*/ 5 w 40"/>
                  <a:gd name="T21" fmla="*/ 13 h 43"/>
                  <a:gd name="T22" fmla="*/ 3 w 40"/>
                  <a:gd name="T23" fmla="*/ 13 h 43"/>
                  <a:gd name="T24" fmla="*/ 0 w 40"/>
                  <a:gd name="T25" fmla="*/ 13 h 43"/>
                  <a:gd name="T26" fmla="*/ 3 w 40"/>
                  <a:gd name="T27" fmla="*/ 16 h 43"/>
                  <a:gd name="T28" fmla="*/ 2 w 40"/>
                  <a:gd name="T29" fmla="*/ 19 h 43"/>
                  <a:gd name="T30" fmla="*/ 6 w 40"/>
                  <a:gd name="T31" fmla="*/ 19 h 43"/>
                  <a:gd name="T32" fmla="*/ 5 w 40"/>
                  <a:gd name="T33" fmla="*/ 21 h 43"/>
                  <a:gd name="T34" fmla="*/ 3 w 40"/>
                  <a:gd name="T35" fmla="*/ 22 h 43"/>
                  <a:gd name="T36" fmla="*/ 2 w 40"/>
                  <a:gd name="T37" fmla="*/ 22 h 43"/>
                  <a:gd name="T38" fmla="*/ 2 w 40"/>
                  <a:gd name="T39" fmla="*/ 24 h 43"/>
                  <a:gd name="T40" fmla="*/ 5 w 40"/>
                  <a:gd name="T41" fmla="*/ 29 h 43"/>
                  <a:gd name="T42" fmla="*/ 8 w 40"/>
                  <a:gd name="T43" fmla="*/ 32 h 43"/>
                  <a:gd name="T44" fmla="*/ 11 w 40"/>
                  <a:gd name="T45" fmla="*/ 32 h 43"/>
                  <a:gd name="T46" fmla="*/ 11 w 40"/>
                  <a:gd name="T47" fmla="*/ 35 h 43"/>
                  <a:gd name="T48" fmla="*/ 11 w 40"/>
                  <a:gd name="T49" fmla="*/ 35 h 43"/>
                  <a:gd name="T50" fmla="*/ 11 w 40"/>
                  <a:gd name="T51" fmla="*/ 38 h 43"/>
                  <a:gd name="T52" fmla="*/ 24 w 40"/>
                  <a:gd name="T53" fmla="*/ 43 h 43"/>
                  <a:gd name="T54" fmla="*/ 27 w 40"/>
                  <a:gd name="T55" fmla="*/ 38 h 43"/>
                  <a:gd name="T56" fmla="*/ 33 w 40"/>
                  <a:gd name="T57" fmla="*/ 32 h 43"/>
                  <a:gd name="T58" fmla="*/ 35 w 40"/>
                  <a:gd name="T59" fmla="*/ 29 h 43"/>
                  <a:gd name="T60" fmla="*/ 38 w 40"/>
                  <a:gd name="T61" fmla="*/ 26 h 43"/>
                  <a:gd name="T62" fmla="*/ 38 w 40"/>
                  <a:gd name="T63" fmla="*/ 22 h 43"/>
                  <a:gd name="T64" fmla="*/ 37 w 40"/>
                  <a:gd name="T65" fmla="*/ 22 h 43"/>
                  <a:gd name="T66" fmla="*/ 33 w 40"/>
                  <a:gd name="T67" fmla="*/ 26 h 43"/>
                  <a:gd name="T68" fmla="*/ 33 w 40"/>
                  <a:gd name="T69" fmla="*/ 26 h 43"/>
                  <a:gd name="T70" fmla="*/ 33 w 40"/>
                  <a:gd name="T71" fmla="*/ 26 h 43"/>
                  <a:gd name="T72" fmla="*/ 33 w 40"/>
                  <a:gd name="T73" fmla="*/ 2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43">
                    <a:moveTo>
                      <a:pt x="33" y="26"/>
                    </a:moveTo>
                    <a:lnTo>
                      <a:pt x="35" y="21"/>
                    </a:lnTo>
                    <a:lnTo>
                      <a:pt x="35" y="19"/>
                    </a:lnTo>
                    <a:lnTo>
                      <a:pt x="35" y="18"/>
                    </a:lnTo>
                    <a:lnTo>
                      <a:pt x="35" y="16"/>
                    </a:lnTo>
                    <a:lnTo>
                      <a:pt x="35" y="14"/>
                    </a:lnTo>
                    <a:lnTo>
                      <a:pt x="33" y="13"/>
                    </a:lnTo>
                    <a:lnTo>
                      <a:pt x="33" y="11"/>
                    </a:lnTo>
                    <a:lnTo>
                      <a:pt x="33" y="10"/>
                    </a:lnTo>
                    <a:lnTo>
                      <a:pt x="30" y="3"/>
                    </a:lnTo>
                    <a:lnTo>
                      <a:pt x="27" y="0"/>
                    </a:lnTo>
                    <a:lnTo>
                      <a:pt x="24" y="0"/>
                    </a:lnTo>
                    <a:lnTo>
                      <a:pt x="19" y="0"/>
                    </a:lnTo>
                    <a:lnTo>
                      <a:pt x="17" y="0"/>
                    </a:lnTo>
                    <a:lnTo>
                      <a:pt x="16" y="0"/>
                    </a:lnTo>
                    <a:lnTo>
                      <a:pt x="14" y="0"/>
                    </a:lnTo>
                    <a:lnTo>
                      <a:pt x="13" y="0"/>
                    </a:lnTo>
                    <a:lnTo>
                      <a:pt x="11" y="3"/>
                    </a:lnTo>
                    <a:lnTo>
                      <a:pt x="10" y="6"/>
                    </a:lnTo>
                    <a:lnTo>
                      <a:pt x="6" y="10"/>
                    </a:lnTo>
                    <a:lnTo>
                      <a:pt x="5" y="11"/>
                    </a:lnTo>
                    <a:lnTo>
                      <a:pt x="5" y="13"/>
                    </a:lnTo>
                    <a:lnTo>
                      <a:pt x="3" y="13"/>
                    </a:lnTo>
                    <a:lnTo>
                      <a:pt x="3" y="13"/>
                    </a:lnTo>
                    <a:lnTo>
                      <a:pt x="2" y="13"/>
                    </a:lnTo>
                    <a:lnTo>
                      <a:pt x="0" y="13"/>
                    </a:lnTo>
                    <a:lnTo>
                      <a:pt x="2" y="14"/>
                    </a:lnTo>
                    <a:lnTo>
                      <a:pt x="3" y="16"/>
                    </a:lnTo>
                    <a:lnTo>
                      <a:pt x="2" y="18"/>
                    </a:lnTo>
                    <a:lnTo>
                      <a:pt x="2" y="19"/>
                    </a:lnTo>
                    <a:lnTo>
                      <a:pt x="5" y="21"/>
                    </a:lnTo>
                    <a:lnTo>
                      <a:pt x="6" y="19"/>
                    </a:lnTo>
                    <a:lnTo>
                      <a:pt x="6" y="21"/>
                    </a:lnTo>
                    <a:lnTo>
                      <a:pt x="5" y="21"/>
                    </a:lnTo>
                    <a:lnTo>
                      <a:pt x="3" y="21"/>
                    </a:lnTo>
                    <a:lnTo>
                      <a:pt x="3" y="22"/>
                    </a:lnTo>
                    <a:lnTo>
                      <a:pt x="3" y="24"/>
                    </a:lnTo>
                    <a:lnTo>
                      <a:pt x="2" y="22"/>
                    </a:lnTo>
                    <a:lnTo>
                      <a:pt x="0" y="24"/>
                    </a:lnTo>
                    <a:lnTo>
                      <a:pt x="2" y="24"/>
                    </a:lnTo>
                    <a:lnTo>
                      <a:pt x="5" y="26"/>
                    </a:lnTo>
                    <a:lnTo>
                      <a:pt x="5" y="29"/>
                    </a:lnTo>
                    <a:lnTo>
                      <a:pt x="6" y="32"/>
                    </a:lnTo>
                    <a:lnTo>
                      <a:pt x="8" y="32"/>
                    </a:lnTo>
                    <a:lnTo>
                      <a:pt x="10" y="32"/>
                    </a:lnTo>
                    <a:lnTo>
                      <a:pt x="11" y="32"/>
                    </a:lnTo>
                    <a:lnTo>
                      <a:pt x="11" y="32"/>
                    </a:lnTo>
                    <a:lnTo>
                      <a:pt x="11" y="35"/>
                    </a:lnTo>
                    <a:lnTo>
                      <a:pt x="14" y="35"/>
                    </a:lnTo>
                    <a:lnTo>
                      <a:pt x="11" y="35"/>
                    </a:lnTo>
                    <a:lnTo>
                      <a:pt x="13" y="38"/>
                    </a:lnTo>
                    <a:lnTo>
                      <a:pt x="11" y="38"/>
                    </a:lnTo>
                    <a:lnTo>
                      <a:pt x="24" y="43"/>
                    </a:lnTo>
                    <a:lnTo>
                      <a:pt x="24" y="43"/>
                    </a:lnTo>
                    <a:lnTo>
                      <a:pt x="24" y="41"/>
                    </a:lnTo>
                    <a:lnTo>
                      <a:pt x="27" y="38"/>
                    </a:lnTo>
                    <a:lnTo>
                      <a:pt x="33" y="35"/>
                    </a:lnTo>
                    <a:lnTo>
                      <a:pt x="33" y="32"/>
                    </a:lnTo>
                    <a:lnTo>
                      <a:pt x="35" y="29"/>
                    </a:lnTo>
                    <a:lnTo>
                      <a:pt x="35" y="29"/>
                    </a:lnTo>
                    <a:lnTo>
                      <a:pt x="37" y="27"/>
                    </a:lnTo>
                    <a:lnTo>
                      <a:pt x="38" y="26"/>
                    </a:lnTo>
                    <a:lnTo>
                      <a:pt x="40" y="22"/>
                    </a:lnTo>
                    <a:lnTo>
                      <a:pt x="38" y="22"/>
                    </a:lnTo>
                    <a:lnTo>
                      <a:pt x="37" y="22"/>
                    </a:lnTo>
                    <a:lnTo>
                      <a:pt x="37" y="22"/>
                    </a:lnTo>
                    <a:lnTo>
                      <a:pt x="33" y="26"/>
                    </a:lnTo>
                    <a:lnTo>
                      <a:pt x="33" y="26"/>
                    </a:lnTo>
                    <a:lnTo>
                      <a:pt x="33" y="26"/>
                    </a:lnTo>
                    <a:lnTo>
                      <a:pt x="33" y="26"/>
                    </a:lnTo>
                    <a:lnTo>
                      <a:pt x="33" y="26"/>
                    </a:lnTo>
                    <a:lnTo>
                      <a:pt x="33" y="26"/>
                    </a:lnTo>
                    <a:lnTo>
                      <a:pt x="33" y="26"/>
                    </a:lnTo>
                    <a:lnTo>
                      <a:pt x="33" y="26"/>
                    </a:lnTo>
                    <a:lnTo>
                      <a:pt x="33" y="26"/>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52" name="Freeform 166">
                <a:extLst>
                  <a:ext uri="{FF2B5EF4-FFF2-40B4-BE49-F238E27FC236}">
                    <a16:creationId xmlns:a16="http://schemas.microsoft.com/office/drawing/2014/main" id="{C40189EA-BC34-1F02-AC2D-A669DDAADEEA}"/>
                  </a:ext>
                </a:extLst>
              </p:cNvPr>
              <p:cNvSpPr>
                <a:spLocks noEditPoints="1"/>
              </p:cNvSpPr>
              <p:nvPr/>
            </p:nvSpPr>
            <p:spPr bwMode="auto">
              <a:xfrm>
                <a:off x="5524678" y="3681919"/>
                <a:ext cx="177202" cy="206363"/>
              </a:xfrm>
              <a:custGeom>
                <a:avLst/>
                <a:gdLst>
                  <a:gd name="T0" fmla="*/ 76 w 79"/>
                  <a:gd name="T1" fmla="*/ 21 h 92"/>
                  <a:gd name="T2" fmla="*/ 70 w 79"/>
                  <a:gd name="T3" fmla="*/ 11 h 92"/>
                  <a:gd name="T4" fmla="*/ 66 w 79"/>
                  <a:gd name="T5" fmla="*/ 11 h 92"/>
                  <a:gd name="T6" fmla="*/ 55 w 79"/>
                  <a:gd name="T7" fmla="*/ 14 h 92"/>
                  <a:gd name="T8" fmla="*/ 51 w 79"/>
                  <a:gd name="T9" fmla="*/ 14 h 92"/>
                  <a:gd name="T10" fmla="*/ 44 w 79"/>
                  <a:gd name="T11" fmla="*/ 8 h 92"/>
                  <a:gd name="T12" fmla="*/ 41 w 79"/>
                  <a:gd name="T13" fmla="*/ 5 h 92"/>
                  <a:gd name="T14" fmla="*/ 36 w 79"/>
                  <a:gd name="T15" fmla="*/ 5 h 92"/>
                  <a:gd name="T16" fmla="*/ 33 w 79"/>
                  <a:gd name="T17" fmla="*/ 8 h 92"/>
                  <a:gd name="T18" fmla="*/ 31 w 79"/>
                  <a:gd name="T19" fmla="*/ 5 h 92"/>
                  <a:gd name="T20" fmla="*/ 30 w 79"/>
                  <a:gd name="T21" fmla="*/ 2 h 92"/>
                  <a:gd name="T22" fmla="*/ 25 w 79"/>
                  <a:gd name="T23" fmla="*/ 2 h 92"/>
                  <a:gd name="T24" fmla="*/ 24 w 79"/>
                  <a:gd name="T25" fmla="*/ 5 h 92"/>
                  <a:gd name="T26" fmla="*/ 19 w 79"/>
                  <a:gd name="T27" fmla="*/ 8 h 92"/>
                  <a:gd name="T28" fmla="*/ 14 w 79"/>
                  <a:gd name="T29" fmla="*/ 5 h 92"/>
                  <a:gd name="T30" fmla="*/ 9 w 79"/>
                  <a:gd name="T31" fmla="*/ 8 h 92"/>
                  <a:gd name="T32" fmla="*/ 6 w 79"/>
                  <a:gd name="T33" fmla="*/ 14 h 92"/>
                  <a:gd name="T34" fmla="*/ 11 w 79"/>
                  <a:gd name="T35" fmla="*/ 19 h 92"/>
                  <a:gd name="T36" fmla="*/ 11 w 79"/>
                  <a:gd name="T37" fmla="*/ 25 h 92"/>
                  <a:gd name="T38" fmla="*/ 12 w 79"/>
                  <a:gd name="T39" fmla="*/ 30 h 92"/>
                  <a:gd name="T40" fmla="*/ 6 w 79"/>
                  <a:gd name="T41" fmla="*/ 33 h 92"/>
                  <a:gd name="T42" fmla="*/ 9 w 79"/>
                  <a:gd name="T43" fmla="*/ 40 h 92"/>
                  <a:gd name="T44" fmla="*/ 9 w 79"/>
                  <a:gd name="T45" fmla="*/ 43 h 92"/>
                  <a:gd name="T46" fmla="*/ 3 w 79"/>
                  <a:gd name="T47" fmla="*/ 46 h 92"/>
                  <a:gd name="T48" fmla="*/ 6 w 79"/>
                  <a:gd name="T49" fmla="*/ 51 h 92"/>
                  <a:gd name="T50" fmla="*/ 3 w 79"/>
                  <a:gd name="T51" fmla="*/ 59 h 92"/>
                  <a:gd name="T52" fmla="*/ 3 w 79"/>
                  <a:gd name="T53" fmla="*/ 62 h 92"/>
                  <a:gd name="T54" fmla="*/ 9 w 79"/>
                  <a:gd name="T55" fmla="*/ 64 h 92"/>
                  <a:gd name="T56" fmla="*/ 11 w 79"/>
                  <a:gd name="T57" fmla="*/ 67 h 92"/>
                  <a:gd name="T58" fmla="*/ 16 w 79"/>
                  <a:gd name="T59" fmla="*/ 73 h 92"/>
                  <a:gd name="T60" fmla="*/ 14 w 79"/>
                  <a:gd name="T61" fmla="*/ 86 h 92"/>
                  <a:gd name="T62" fmla="*/ 16 w 79"/>
                  <a:gd name="T63" fmla="*/ 92 h 92"/>
                  <a:gd name="T64" fmla="*/ 24 w 79"/>
                  <a:gd name="T65" fmla="*/ 87 h 92"/>
                  <a:gd name="T66" fmla="*/ 39 w 79"/>
                  <a:gd name="T67" fmla="*/ 81 h 92"/>
                  <a:gd name="T68" fmla="*/ 47 w 79"/>
                  <a:gd name="T69" fmla="*/ 79 h 92"/>
                  <a:gd name="T70" fmla="*/ 54 w 79"/>
                  <a:gd name="T71" fmla="*/ 78 h 92"/>
                  <a:gd name="T72" fmla="*/ 55 w 79"/>
                  <a:gd name="T73" fmla="*/ 78 h 92"/>
                  <a:gd name="T74" fmla="*/ 60 w 79"/>
                  <a:gd name="T75" fmla="*/ 79 h 92"/>
                  <a:gd name="T76" fmla="*/ 68 w 79"/>
                  <a:gd name="T77" fmla="*/ 79 h 92"/>
                  <a:gd name="T78" fmla="*/ 73 w 79"/>
                  <a:gd name="T79" fmla="*/ 81 h 92"/>
                  <a:gd name="T80" fmla="*/ 74 w 79"/>
                  <a:gd name="T81" fmla="*/ 73 h 92"/>
                  <a:gd name="T82" fmla="*/ 71 w 79"/>
                  <a:gd name="T83" fmla="*/ 67 h 92"/>
                  <a:gd name="T84" fmla="*/ 71 w 79"/>
                  <a:gd name="T85" fmla="*/ 52 h 92"/>
                  <a:gd name="T86" fmla="*/ 76 w 79"/>
                  <a:gd name="T87" fmla="*/ 40 h 92"/>
                  <a:gd name="T88" fmla="*/ 76 w 79"/>
                  <a:gd name="T89" fmla="*/ 29 h 92"/>
                  <a:gd name="T90" fmla="*/ 76 w 79"/>
                  <a:gd name="T91" fmla="*/ 29 h 92"/>
                  <a:gd name="T92" fmla="*/ 76 w 79"/>
                  <a:gd name="T93" fmla="*/ 29 h 92"/>
                  <a:gd name="T94" fmla="*/ 62 w 79"/>
                  <a:gd name="T95" fmla="*/ 78 h 92"/>
                  <a:gd name="T96" fmla="*/ 62 w 79"/>
                  <a:gd name="T97" fmla="*/ 78 h 92"/>
                  <a:gd name="T98" fmla="*/ 62 w 79"/>
                  <a:gd name="T99" fmla="*/ 78 h 92"/>
                  <a:gd name="T100" fmla="*/ 62 w 79"/>
                  <a:gd name="T101" fmla="*/ 7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9" h="92">
                    <a:moveTo>
                      <a:pt x="76" y="29"/>
                    </a:moveTo>
                    <a:lnTo>
                      <a:pt x="76" y="24"/>
                    </a:lnTo>
                    <a:lnTo>
                      <a:pt x="76" y="21"/>
                    </a:lnTo>
                    <a:lnTo>
                      <a:pt x="76" y="19"/>
                    </a:lnTo>
                    <a:lnTo>
                      <a:pt x="73" y="17"/>
                    </a:lnTo>
                    <a:lnTo>
                      <a:pt x="70" y="11"/>
                    </a:lnTo>
                    <a:lnTo>
                      <a:pt x="70" y="11"/>
                    </a:lnTo>
                    <a:lnTo>
                      <a:pt x="68" y="11"/>
                    </a:lnTo>
                    <a:lnTo>
                      <a:pt x="66" y="11"/>
                    </a:lnTo>
                    <a:lnTo>
                      <a:pt x="62" y="11"/>
                    </a:lnTo>
                    <a:lnTo>
                      <a:pt x="57" y="14"/>
                    </a:lnTo>
                    <a:lnTo>
                      <a:pt x="55" y="14"/>
                    </a:lnTo>
                    <a:lnTo>
                      <a:pt x="55" y="17"/>
                    </a:lnTo>
                    <a:lnTo>
                      <a:pt x="51" y="14"/>
                    </a:lnTo>
                    <a:lnTo>
                      <a:pt x="51" y="14"/>
                    </a:lnTo>
                    <a:lnTo>
                      <a:pt x="47" y="14"/>
                    </a:lnTo>
                    <a:lnTo>
                      <a:pt x="47" y="11"/>
                    </a:lnTo>
                    <a:lnTo>
                      <a:pt x="44" y="8"/>
                    </a:lnTo>
                    <a:lnTo>
                      <a:pt x="44" y="5"/>
                    </a:lnTo>
                    <a:lnTo>
                      <a:pt x="41" y="5"/>
                    </a:lnTo>
                    <a:lnTo>
                      <a:pt x="41" y="5"/>
                    </a:lnTo>
                    <a:lnTo>
                      <a:pt x="41" y="5"/>
                    </a:lnTo>
                    <a:lnTo>
                      <a:pt x="39" y="5"/>
                    </a:lnTo>
                    <a:lnTo>
                      <a:pt x="36" y="5"/>
                    </a:lnTo>
                    <a:lnTo>
                      <a:pt x="35" y="5"/>
                    </a:lnTo>
                    <a:lnTo>
                      <a:pt x="35" y="8"/>
                    </a:lnTo>
                    <a:lnTo>
                      <a:pt x="33" y="8"/>
                    </a:lnTo>
                    <a:lnTo>
                      <a:pt x="33" y="8"/>
                    </a:lnTo>
                    <a:lnTo>
                      <a:pt x="31" y="8"/>
                    </a:lnTo>
                    <a:lnTo>
                      <a:pt x="31" y="5"/>
                    </a:lnTo>
                    <a:lnTo>
                      <a:pt x="31" y="5"/>
                    </a:lnTo>
                    <a:lnTo>
                      <a:pt x="31" y="0"/>
                    </a:lnTo>
                    <a:lnTo>
                      <a:pt x="30" y="2"/>
                    </a:lnTo>
                    <a:lnTo>
                      <a:pt x="28" y="3"/>
                    </a:lnTo>
                    <a:lnTo>
                      <a:pt x="27" y="3"/>
                    </a:lnTo>
                    <a:lnTo>
                      <a:pt x="25" y="2"/>
                    </a:lnTo>
                    <a:lnTo>
                      <a:pt x="25" y="5"/>
                    </a:lnTo>
                    <a:lnTo>
                      <a:pt x="25" y="5"/>
                    </a:lnTo>
                    <a:lnTo>
                      <a:pt x="24" y="5"/>
                    </a:lnTo>
                    <a:lnTo>
                      <a:pt x="22" y="5"/>
                    </a:lnTo>
                    <a:lnTo>
                      <a:pt x="20" y="8"/>
                    </a:lnTo>
                    <a:lnTo>
                      <a:pt x="19" y="8"/>
                    </a:lnTo>
                    <a:lnTo>
                      <a:pt x="17" y="5"/>
                    </a:lnTo>
                    <a:lnTo>
                      <a:pt x="16" y="5"/>
                    </a:lnTo>
                    <a:lnTo>
                      <a:pt x="14" y="5"/>
                    </a:lnTo>
                    <a:lnTo>
                      <a:pt x="12" y="5"/>
                    </a:lnTo>
                    <a:lnTo>
                      <a:pt x="11" y="8"/>
                    </a:lnTo>
                    <a:lnTo>
                      <a:pt x="9" y="8"/>
                    </a:lnTo>
                    <a:lnTo>
                      <a:pt x="9" y="11"/>
                    </a:lnTo>
                    <a:lnTo>
                      <a:pt x="6" y="11"/>
                    </a:lnTo>
                    <a:lnTo>
                      <a:pt x="6" y="14"/>
                    </a:lnTo>
                    <a:lnTo>
                      <a:pt x="9" y="17"/>
                    </a:lnTo>
                    <a:lnTo>
                      <a:pt x="9" y="19"/>
                    </a:lnTo>
                    <a:lnTo>
                      <a:pt x="11" y="19"/>
                    </a:lnTo>
                    <a:lnTo>
                      <a:pt x="11" y="22"/>
                    </a:lnTo>
                    <a:lnTo>
                      <a:pt x="12" y="24"/>
                    </a:lnTo>
                    <a:lnTo>
                      <a:pt x="11" y="25"/>
                    </a:lnTo>
                    <a:lnTo>
                      <a:pt x="9" y="29"/>
                    </a:lnTo>
                    <a:lnTo>
                      <a:pt x="11" y="29"/>
                    </a:lnTo>
                    <a:lnTo>
                      <a:pt x="12" y="30"/>
                    </a:lnTo>
                    <a:lnTo>
                      <a:pt x="14" y="35"/>
                    </a:lnTo>
                    <a:lnTo>
                      <a:pt x="9" y="33"/>
                    </a:lnTo>
                    <a:lnTo>
                      <a:pt x="6" y="33"/>
                    </a:lnTo>
                    <a:lnTo>
                      <a:pt x="6" y="35"/>
                    </a:lnTo>
                    <a:lnTo>
                      <a:pt x="6" y="37"/>
                    </a:lnTo>
                    <a:lnTo>
                      <a:pt x="9" y="40"/>
                    </a:lnTo>
                    <a:lnTo>
                      <a:pt x="9" y="40"/>
                    </a:lnTo>
                    <a:lnTo>
                      <a:pt x="9" y="40"/>
                    </a:lnTo>
                    <a:lnTo>
                      <a:pt x="9" y="43"/>
                    </a:lnTo>
                    <a:lnTo>
                      <a:pt x="6" y="46"/>
                    </a:lnTo>
                    <a:lnTo>
                      <a:pt x="6" y="46"/>
                    </a:lnTo>
                    <a:lnTo>
                      <a:pt x="3" y="46"/>
                    </a:lnTo>
                    <a:lnTo>
                      <a:pt x="3" y="46"/>
                    </a:lnTo>
                    <a:lnTo>
                      <a:pt x="3" y="46"/>
                    </a:lnTo>
                    <a:lnTo>
                      <a:pt x="6" y="51"/>
                    </a:lnTo>
                    <a:lnTo>
                      <a:pt x="6" y="56"/>
                    </a:lnTo>
                    <a:lnTo>
                      <a:pt x="3" y="59"/>
                    </a:lnTo>
                    <a:lnTo>
                      <a:pt x="3" y="59"/>
                    </a:lnTo>
                    <a:lnTo>
                      <a:pt x="0" y="60"/>
                    </a:lnTo>
                    <a:lnTo>
                      <a:pt x="3" y="62"/>
                    </a:lnTo>
                    <a:lnTo>
                      <a:pt x="3" y="62"/>
                    </a:lnTo>
                    <a:lnTo>
                      <a:pt x="6" y="64"/>
                    </a:lnTo>
                    <a:lnTo>
                      <a:pt x="6" y="64"/>
                    </a:lnTo>
                    <a:lnTo>
                      <a:pt x="9" y="64"/>
                    </a:lnTo>
                    <a:lnTo>
                      <a:pt x="9" y="64"/>
                    </a:lnTo>
                    <a:lnTo>
                      <a:pt x="11" y="64"/>
                    </a:lnTo>
                    <a:lnTo>
                      <a:pt x="11" y="67"/>
                    </a:lnTo>
                    <a:lnTo>
                      <a:pt x="12" y="70"/>
                    </a:lnTo>
                    <a:lnTo>
                      <a:pt x="14" y="70"/>
                    </a:lnTo>
                    <a:lnTo>
                      <a:pt x="16" y="73"/>
                    </a:lnTo>
                    <a:lnTo>
                      <a:pt x="16" y="76"/>
                    </a:lnTo>
                    <a:lnTo>
                      <a:pt x="16" y="79"/>
                    </a:lnTo>
                    <a:lnTo>
                      <a:pt x="14" y="86"/>
                    </a:lnTo>
                    <a:lnTo>
                      <a:pt x="14" y="89"/>
                    </a:lnTo>
                    <a:lnTo>
                      <a:pt x="14" y="92"/>
                    </a:lnTo>
                    <a:lnTo>
                      <a:pt x="16" y="92"/>
                    </a:lnTo>
                    <a:lnTo>
                      <a:pt x="17" y="91"/>
                    </a:lnTo>
                    <a:lnTo>
                      <a:pt x="19" y="89"/>
                    </a:lnTo>
                    <a:lnTo>
                      <a:pt x="24" y="87"/>
                    </a:lnTo>
                    <a:lnTo>
                      <a:pt x="28" y="86"/>
                    </a:lnTo>
                    <a:lnTo>
                      <a:pt x="33" y="83"/>
                    </a:lnTo>
                    <a:lnTo>
                      <a:pt x="39" y="81"/>
                    </a:lnTo>
                    <a:lnTo>
                      <a:pt x="44" y="81"/>
                    </a:lnTo>
                    <a:lnTo>
                      <a:pt x="44" y="79"/>
                    </a:lnTo>
                    <a:lnTo>
                      <a:pt x="47" y="79"/>
                    </a:lnTo>
                    <a:lnTo>
                      <a:pt x="47" y="81"/>
                    </a:lnTo>
                    <a:lnTo>
                      <a:pt x="47" y="79"/>
                    </a:lnTo>
                    <a:lnTo>
                      <a:pt x="54" y="78"/>
                    </a:lnTo>
                    <a:lnTo>
                      <a:pt x="51" y="79"/>
                    </a:lnTo>
                    <a:lnTo>
                      <a:pt x="58" y="79"/>
                    </a:lnTo>
                    <a:lnTo>
                      <a:pt x="55" y="78"/>
                    </a:lnTo>
                    <a:lnTo>
                      <a:pt x="57" y="78"/>
                    </a:lnTo>
                    <a:lnTo>
                      <a:pt x="58" y="78"/>
                    </a:lnTo>
                    <a:lnTo>
                      <a:pt x="60" y="79"/>
                    </a:lnTo>
                    <a:lnTo>
                      <a:pt x="62" y="79"/>
                    </a:lnTo>
                    <a:lnTo>
                      <a:pt x="66" y="79"/>
                    </a:lnTo>
                    <a:lnTo>
                      <a:pt x="68" y="79"/>
                    </a:lnTo>
                    <a:lnTo>
                      <a:pt x="70" y="78"/>
                    </a:lnTo>
                    <a:lnTo>
                      <a:pt x="71" y="79"/>
                    </a:lnTo>
                    <a:lnTo>
                      <a:pt x="73" y="81"/>
                    </a:lnTo>
                    <a:lnTo>
                      <a:pt x="76" y="81"/>
                    </a:lnTo>
                    <a:lnTo>
                      <a:pt x="76" y="75"/>
                    </a:lnTo>
                    <a:lnTo>
                      <a:pt x="74" y="73"/>
                    </a:lnTo>
                    <a:lnTo>
                      <a:pt x="73" y="73"/>
                    </a:lnTo>
                    <a:lnTo>
                      <a:pt x="73" y="70"/>
                    </a:lnTo>
                    <a:lnTo>
                      <a:pt x="71" y="67"/>
                    </a:lnTo>
                    <a:lnTo>
                      <a:pt x="70" y="62"/>
                    </a:lnTo>
                    <a:lnTo>
                      <a:pt x="70" y="56"/>
                    </a:lnTo>
                    <a:lnTo>
                      <a:pt x="71" y="52"/>
                    </a:lnTo>
                    <a:lnTo>
                      <a:pt x="71" y="49"/>
                    </a:lnTo>
                    <a:lnTo>
                      <a:pt x="73" y="43"/>
                    </a:lnTo>
                    <a:lnTo>
                      <a:pt x="76" y="40"/>
                    </a:lnTo>
                    <a:lnTo>
                      <a:pt x="79" y="37"/>
                    </a:lnTo>
                    <a:lnTo>
                      <a:pt x="79" y="33"/>
                    </a:lnTo>
                    <a:lnTo>
                      <a:pt x="76" y="29"/>
                    </a:lnTo>
                    <a:lnTo>
                      <a:pt x="76" y="29"/>
                    </a:lnTo>
                    <a:lnTo>
                      <a:pt x="76" y="29"/>
                    </a:lnTo>
                    <a:lnTo>
                      <a:pt x="76" y="29"/>
                    </a:lnTo>
                    <a:lnTo>
                      <a:pt x="76" y="29"/>
                    </a:lnTo>
                    <a:lnTo>
                      <a:pt x="76" y="29"/>
                    </a:lnTo>
                    <a:lnTo>
                      <a:pt x="76" y="29"/>
                    </a:lnTo>
                    <a:lnTo>
                      <a:pt x="76" y="29"/>
                    </a:lnTo>
                    <a:lnTo>
                      <a:pt x="76" y="29"/>
                    </a:lnTo>
                    <a:close/>
                    <a:moveTo>
                      <a:pt x="62" y="78"/>
                    </a:moveTo>
                    <a:lnTo>
                      <a:pt x="60" y="78"/>
                    </a:lnTo>
                    <a:lnTo>
                      <a:pt x="62" y="76"/>
                    </a:lnTo>
                    <a:lnTo>
                      <a:pt x="62" y="78"/>
                    </a:lnTo>
                    <a:lnTo>
                      <a:pt x="62" y="78"/>
                    </a:lnTo>
                    <a:lnTo>
                      <a:pt x="62" y="78"/>
                    </a:lnTo>
                    <a:lnTo>
                      <a:pt x="62" y="78"/>
                    </a:lnTo>
                    <a:lnTo>
                      <a:pt x="62" y="78"/>
                    </a:lnTo>
                    <a:lnTo>
                      <a:pt x="62" y="78"/>
                    </a:lnTo>
                    <a:lnTo>
                      <a:pt x="62" y="78"/>
                    </a:lnTo>
                    <a:lnTo>
                      <a:pt x="62" y="78"/>
                    </a:lnTo>
                    <a:lnTo>
                      <a:pt x="62" y="7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53" name="Freeform 168">
                <a:extLst>
                  <a:ext uri="{FF2B5EF4-FFF2-40B4-BE49-F238E27FC236}">
                    <a16:creationId xmlns:a16="http://schemas.microsoft.com/office/drawing/2014/main" id="{BDCDF5C4-78E2-6327-EB4F-D10B173DAB7F}"/>
                  </a:ext>
                </a:extLst>
              </p:cNvPr>
              <p:cNvSpPr>
                <a:spLocks/>
              </p:cNvSpPr>
              <p:nvPr/>
            </p:nvSpPr>
            <p:spPr bwMode="auto">
              <a:xfrm>
                <a:off x="5345232" y="3621356"/>
                <a:ext cx="210849" cy="174960"/>
              </a:xfrm>
              <a:custGeom>
                <a:avLst/>
                <a:gdLst>
                  <a:gd name="T0" fmla="*/ 89 w 94"/>
                  <a:gd name="T1" fmla="*/ 32 h 78"/>
                  <a:gd name="T2" fmla="*/ 86 w 94"/>
                  <a:gd name="T3" fmla="*/ 29 h 78"/>
                  <a:gd name="T4" fmla="*/ 83 w 94"/>
                  <a:gd name="T5" fmla="*/ 22 h 78"/>
                  <a:gd name="T6" fmla="*/ 83 w 94"/>
                  <a:gd name="T7" fmla="*/ 19 h 78"/>
                  <a:gd name="T8" fmla="*/ 86 w 94"/>
                  <a:gd name="T9" fmla="*/ 18 h 78"/>
                  <a:gd name="T10" fmla="*/ 80 w 94"/>
                  <a:gd name="T11" fmla="*/ 13 h 78"/>
                  <a:gd name="T12" fmla="*/ 80 w 94"/>
                  <a:gd name="T13" fmla="*/ 10 h 78"/>
                  <a:gd name="T14" fmla="*/ 77 w 94"/>
                  <a:gd name="T15" fmla="*/ 3 h 78"/>
                  <a:gd name="T16" fmla="*/ 73 w 94"/>
                  <a:gd name="T17" fmla="*/ 0 h 78"/>
                  <a:gd name="T18" fmla="*/ 73 w 94"/>
                  <a:gd name="T19" fmla="*/ 6 h 78"/>
                  <a:gd name="T20" fmla="*/ 64 w 94"/>
                  <a:gd name="T21" fmla="*/ 6 h 78"/>
                  <a:gd name="T22" fmla="*/ 56 w 94"/>
                  <a:gd name="T23" fmla="*/ 10 h 78"/>
                  <a:gd name="T24" fmla="*/ 54 w 94"/>
                  <a:gd name="T25" fmla="*/ 6 h 78"/>
                  <a:gd name="T26" fmla="*/ 48 w 94"/>
                  <a:gd name="T27" fmla="*/ 10 h 78"/>
                  <a:gd name="T28" fmla="*/ 48 w 94"/>
                  <a:gd name="T29" fmla="*/ 3 h 78"/>
                  <a:gd name="T30" fmla="*/ 42 w 94"/>
                  <a:gd name="T31" fmla="*/ 3 h 78"/>
                  <a:gd name="T32" fmla="*/ 31 w 94"/>
                  <a:gd name="T33" fmla="*/ 3 h 78"/>
                  <a:gd name="T34" fmla="*/ 26 w 94"/>
                  <a:gd name="T35" fmla="*/ 3 h 78"/>
                  <a:gd name="T36" fmla="*/ 23 w 94"/>
                  <a:gd name="T37" fmla="*/ 0 h 78"/>
                  <a:gd name="T38" fmla="*/ 19 w 94"/>
                  <a:gd name="T39" fmla="*/ 3 h 78"/>
                  <a:gd name="T40" fmla="*/ 13 w 94"/>
                  <a:gd name="T41" fmla="*/ 6 h 78"/>
                  <a:gd name="T42" fmla="*/ 16 w 94"/>
                  <a:gd name="T43" fmla="*/ 10 h 78"/>
                  <a:gd name="T44" fmla="*/ 10 w 94"/>
                  <a:gd name="T45" fmla="*/ 13 h 78"/>
                  <a:gd name="T46" fmla="*/ 2 w 94"/>
                  <a:gd name="T47" fmla="*/ 21 h 78"/>
                  <a:gd name="T48" fmla="*/ 5 w 94"/>
                  <a:gd name="T49" fmla="*/ 22 h 78"/>
                  <a:gd name="T50" fmla="*/ 5 w 94"/>
                  <a:gd name="T51" fmla="*/ 27 h 78"/>
                  <a:gd name="T52" fmla="*/ 5 w 94"/>
                  <a:gd name="T53" fmla="*/ 32 h 78"/>
                  <a:gd name="T54" fmla="*/ 8 w 94"/>
                  <a:gd name="T55" fmla="*/ 35 h 78"/>
                  <a:gd name="T56" fmla="*/ 13 w 94"/>
                  <a:gd name="T57" fmla="*/ 35 h 78"/>
                  <a:gd name="T58" fmla="*/ 16 w 94"/>
                  <a:gd name="T59" fmla="*/ 38 h 78"/>
                  <a:gd name="T60" fmla="*/ 19 w 94"/>
                  <a:gd name="T61" fmla="*/ 44 h 78"/>
                  <a:gd name="T62" fmla="*/ 19 w 94"/>
                  <a:gd name="T63" fmla="*/ 44 h 78"/>
                  <a:gd name="T64" fmla="*/ 21 w 94"/>
                  <a:gd name="T65" fmla="*/ 49 h 78"/>
                  <a:gd name="T66" fmla="*/ 21 w 94"/>
                  <a:gd name="T67" fmla="*/ 49 h 78"/>
                  <a:gd name="T68" fmla="*/ 24 w 94"/>
                  <a:gd name="T69" fmla="*/ 51 h 78"/>
                  <a:gd name="T70" fmla="*/ 26 w 94"/>
                  <a:gd name="T71" fmla="*/ 49 h 78"/>
                  <a:gd name="T72" fmla="*/ 32 w 94"/>
                  <a:gd name="T73" fmla="*/ 41 h 78"/>
                  <a:gd name="T74" fmla="*/ 37 w 94"/>
                  <a:gd name="T75" fmla="*/ 38 h 78"/>
                  <a:gd name="T76" fmla="*/ 45 w 94"/>
                  <a:gd name="T77" fmla="*/ 38 h 78"/>
                  <a:gd name="T78" fmla="*/ 54 w 94"/>
                  <a:gd name="T79" fmla="*/ 48 h 78"/>
                  <a:gd name="T80" fmla="*/ 56 w 94"/>
                  <a:gd name="T81" fmla="*/ 52 h 78"/>
                  <a:gd name="T82" fmla="*/ 56 w 94"/>
                  <a:gd name="T83" fmla="*/ 57 h 78"/>
                  <a:gd name="T84" fmla="*/ 58 w 94"/>
                  <a:gd name="T85" fmla="*/ 60 h 78"/>
                  <a:gd name="T86" fmla="*/ 61 w 94"/>
                  <a:gd name="T87" fmla="*/ 60 h 78"/>
                  <a:gd name="T88" fmla="*/ 64 w 94"/>
                  <a:gd name="T89" fmla="*/ 60 h 78"/>
                  <a:gd name="T90" fmla="*/ 69 w 94"/>
                  <a:gd name="T91" fmla="*/ 60 h 78"/>
                  <a:gd name="T92" fmla="*/ 70 w 94"/>
                  <a:gd name="T93" fmla="*/ 65 h 78"/>
                  <a:gd name="T94" fmla="*/ 70 w 94"/>
                  <a:gd name="T95" fmla="*/ 76 h 78"/>
                  <a:gd name="T96" fmla="*/ 75 w 94"/>
                  <a:gd name="T97" fmla="*/ 78 h 78"/>
                  <a:gd name="T98" fmla="*/ 80 w 94"/>
                  <a:gd name="T99" fmla="*/ 73 h 78"/>
                  <a:gd name="T100" fmla="*/ 83 w 94"/>
                  <a:gd name="T101" fmla="*/ 73 h 78"/>
                  <a:gd name="T102" fmla="*/ 86 w 94"/>
                  <a:gd name="T103" fmla="*/ 73 h 78"/>
                  <a:gd name="T104" fmla="*/ 89 w 94"/>
                  <a:gd name="T105" fmla="*/ 67 h 78"/>
                  <a:gd name="T106" fmla="*/ 86 w 94"/>
                  <a:gd name="T107" fmla="*/ 62 h 78"/>
                  <a:gd name="T108" fmla="*/ 94 w 94"/>
                  <a:gd name="T109" fmla="*/ 62 h 78"/>
                  <a:gd name="T110" fmla="*/ 89 w 94"/>
                  <a:gd name="T111" fmla="*/ 56 h 78"/>
                  <a:gd name="T112" fmla="*/ 91 w 94"/>
                  <a:gd name="T113" fmla="*/ 49 h 78"/>
                  <a:gd name="T114" fmla="*/ 89 w 94"/>
                  <a:gd name="T115" fmla="*/ 44 h 78"/>
                  <a:gd name="T116" fmla="*/ 89 w 94"/>
                  <a:gd name="T117" fmla="*/ 38 h 78"/>
                  <a:gd name="T118" fmla="*/ 89 w 94"/>
                  <a:gd name="T119" fmla="*/ 35 h 78"/>
                  <a:gd name="T120" fmla="*/ 89 w 94"/>
                  <a:gd name="T121" fmla="*/ 35 h 78"/>
                  <a:gd name="T122" fmla="*/ 89 w 94"/>
                  <a:gd name="T123" fmla="*/ 3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 h="78">
                    <a:moveTo>
                      <a:pt x="89" y="35"/>
                    </a:moveTo>
                    <a:lnTo>
                      <a:pt x="89" y="35"/>
                    </a:lnTo>
                    <a:lnTo>
                      <a:pt x="89" y="32"/>
                    </a:lnTo>
                    <a:lnTo>
                      <a:pt x="89" y="32"/>
                    </a:lnTo>
                    <a:lnTo>
                      <a:pt x="86" y="32"/>
                    </a:lnTo>
                    <a:lnTo>
                      <a:pt x="86" y="29"/>
                    </a:lnTo>
                    <a:lnTo>
                      <a:pt x="86" y="24"/>
                    </a:lnTo>
                    <a:lnTo>
                      <a:pt x="86" y="22"/>
                    </a:lnTo>
                    <a:lnTo>
                      <a:pt x="83" y="22"/>
                    </a:lnTo>
                    <a:lnTo>
                      <a:pt x="80" y="24"/>
                    </a:lnTo>
                    <a:lnTo>
                      <a:pt x="83" y="21"/>
                    </a:lnTo>
                    <a:lnTo>
                      <a:pt x="83" y="19"/>
                    </a:lnTo>
                    <a:lnTo>
                      <a:pt x="83" y="19"/>
                    </a:lnTo>
                    <a:lnTo>
                      <a:pt x="86" y="19"/>
                    </a:lnTo>
                    <a:lnTo>
                      <a:pt x="86" y="18"/>
                    </a:lnTo>
                    <a:lnTo>
                      <a:pt x="83" y="16"/>
                    </a:lnTo>
                    <a:lnTo>
                      <a:pt x="83" y="14"/>
                    </a:lnTo>
                    <a:lnTo>
                      <a:pt x="80" y="13"/>
                    </a:lnTo>
                    <a:lnTo>
                      <a:pt x="80" y="13"/>
                    </a:lnTo>
                    <a:lnTo>
                      <a:pt x="80" y="11"/>
                    </a:lnTo>
                    <a:lnTo>
                      <a:pt x="80" y="10"/>
                    </a:lnTo>
                    <a:lnTo>
                      <a:pt x="80" y="10"/>
                    </a:lnTo>
                    <a:lnTo>
                      <a:pt x="77" y="6"/>
                    </a:lnTo>
                    <a:lnTo>
                      <a:pt x="77" y="3"/>
                    </a:lnTo>
                    <a:lnTo>
                      <a:pt x="77" y="3"/>
                    </a:lnTo>
                    <a:lnTo>
                      <a:pt x="75" y="3"/>
                    </a:lnTo>
                    <a:lnTo>
                      <a:pt x="73" y="0"/>
                    </a:lnTo>
                    <a:lnTo>
                      <a:pt x="73" y="3"/>
                    </a:lnTo>
                    <a:lnTo>
                      <a:pt x="73" y="3"/>
                    </a:lnTo>
                    <a:lnTo>
                      <a:pt x="73" y="6"/>
                    </a:lnTo>
                    <a:lnTo>
                      <a:pt x="67" y="10"/>
                    </a:lnTo>
                    <a:lnTo>
                      <a:pt x="65" y="6"/>
                    </a:lnTo>
                    <a:lnTo>
                      <a:pt x="64" y="6"/>
                    </a:lnTo>
                    <a:lnTo>
                      <a:pt x="61" y="6"/>
                    </a:lnTo>
                    <a:lnTo>
                      <a:pt x="58" y="6"/>
                    </a:lnTo>
                    <a:lnTo>
                      <a:pt x="56" y="10"/>
                    </a:lnTo>
                    <a:lnTo>
                      <a:pt x="54" y="10"/>
                    </a:lnTo>
                    <a:lnTo>
                      <a:pt x="54" y="6"/>
                    </a:lnTo>
                    <a:lnTo>
                      <a:pt x="54" y="6"/>
                    </a:lnTo>
                    <a:lnTo>
                      <a:pt x="51" y="6"/>
                    </a:lnTo>
                    <a:lnTo>
                      <a:pt x="51" y="6"/>
                    </a:lnTo>
                    <a:lnTo>
                      <a:pt x="48" y="10"/>
                    </a:lnTo>
                    <a:lnTo>
                      <a:pt x="48" y="10"/>
                    </a:lnTo>
                    <a:lnTo>
                      <a:pt x="45" y="6"/>
                    </a:lnTo>
                    <a:lnTo>
                      <a:pt x="48" y="3"/>
                    </a:lnTo>
                    <a:lnTo>
                      <a:pt x="48" y="3"/>
                    </a:lnTo>
                    <a:lnTo>
                      <a:pt x="45" y="3"/>
                    </a:lnTo>
                    <a:lnTo>
                      <a:pt x="42" y="3"/>
                    </a:lnTo>
                    <a:lnTo>
                      <a:pt x="38" y="3"/>
                    </a:lnTo>
                    <a:lnTo>
                      <a:pt x="35" y="3"/>
                    </a:lnTo>
                    <a:lnTo>
                      <a:pt x="31" y="3"/>
                    </a:lnTo>
                    <a:lnTo>
                      <a:pt x="29" y="0"/>
                    </a:lnTo>
                    <a:lnTo>
                      <a:pt x="27" y="3"/>
                    </a:lnTo>
                    <a:lnTo>
                      <a:pt x="26" y="3"/>
                    </a:lnTo>
                    <a:lnTo>
                      <a:pt x="26" y="0"/>
                    </a:lnTo>
                    <a:lnTo>
                      <a:pt x="26" y="0"/>
                    </a:lnTo>
                    <a:lnTo>
                      <a:pt x="23" y="0"/>
                    </a:lnTo>
                    <a:lnTo>
                      <a:pt x="16" y="0"/>
                    </a:lnTo>
                    <a:lnTo>
                      <a:pt x="19" y="0"/>
                    </a:lnTo>
                    <a:lnTo>
                      <a:pt x="19" y="3"/>
                    </a:lnTo>
                    <a:lnTo>
                      <a:pt x="16" y="3"/>
                    </a:lnTo>
                    <a:lnTo>
                      <a:pt x="16" y="6"/>
                    </a:lnTo>
                    <a:lnTo>
                      <a:pt x="13" y="6"/>
                    </a:lnTo>
                    <a:lnTo>
                      <a:pt x="16" y="6"/>
                    </a:lnTo>
                    <a:lnTo>
                      <a:pt x="16" y="10"/>
                    </a:lnTo>
                    <a:lnTo>
                      <a:pt x="16" y="10"/>
                    </a:lnTo>
                    <a:lnTo>
                      <a:pt x="16" y="13"/>
                    </a:lnTo>
                    <a:lnTo>
                      <a:pt x="13" y="13"/>
                    </a:lnTo>
                    <a:lnTo>
                      <a:pt x="10" y="13"/>
                    </a:lnTo>
                    <a:lnTo>
                      <a:pt x="5" y="16"/>
                    </a:lnTo>
                    <a:lnTo>
                      <a:pt x="4" y="18"/>
                    </a:lnTo>
                    <a:lnTo>
                      <a:pt x="2" y="21"/>
                    </a:lnTo>
                    <a:lnTo>
                      <a:pt x="2" y="22"/>
                    </a:lnTo>
                    <a:lnTo>
                      <a:pt x="0" y="24"/>
                    </a:lnTo>
                    <a:lnTo>
                      <a:pt x="5" y="22"/>
                    </a:lnTo>
                    <a:lnTo>
                      <a:pt x="4" y="25"/>
                    </a:lnTo>
                    <a:lnTo>
                      <a:pt x="4" y="29"/>
                    </a:lnTo>
                    <a:lnTo>
                      <a:pt x="5" y="27"/>
                    </a:lnTo>
                    <a:lnTo>
                      <a:pt x="5" y="29"/>
                    </a:lnTo>
                    <a:lnTo>
                      <a:pt x="7" y="25"/>
                    </a:lnTo>
                    <a:lnTo>
                      <a:pt x="5" y="32"/>
                    </a:lnTo>
                    <a:lnTo>
                      <a:pt x="7" y="30"/>
                    </a:lnTo>
                    <a:lnTo>
                      <a:pt x="7" y="32"/>
                    </a:lnTo>
                    <a:lnTo>
                      <a:pt x="8" y="35"/>
                    </a:lnTo>
                    <a:lnTo>
                      <a:pt x="10" y="35"/>
                    </a:lnTo>
                    <a:lnTo>
                      <a:pt x="10" y="38"/>
                    </a:lnTo>
                    <a:lnTo>
                      <a:pt x="13" y="35"/>
                    </a:lnTo>
                    <a:lnTo>
                      <a:pt x="13" y="38"/>
                    </a:lnTo>
                    <a:lnTo>
                      <a:pt x="13" y="38"/>
                    </a:lnTo>
                    <a:lnTo>
                      <a:pt x="16" y="38"/>
                    </a:lnTo>
                    <a:lnTo>
                      <a:pt x="16" y="38"/>
                    </a:lnTo>
                    <a:lnTo>
                      <a:pt x="16" y="41"/>
                    </a:lnTo>
                    <a:lnTo>
                      <a:pt x="19" y="44"/>
                    </a:lnTo>
                    <a:lnTo>
                      <a:pt x="19" y="44"/>
                    </a:lnTo>
                    <a:lnTo>
                      <a:pt x="19" y="44"/>
                    </a:lnTo>
                    <a:lnTo>
                      <a:pt x="19" y="44"/>
                    </a:lnTo>
                    <a:lnTo>
                      <a:pt x="19" y="48"/>
                    </a:lnTo>
                    <a:lnTo>
                      <a:pt x="21" y="46"/>
                    </a:lnTo>
                    <a:lnTo>
                      <a:pt x="21" y="49"/>
                    </a:lnTo>
                    <a:lnTo>
                      <a:pt x="23" y="48"/>
                    </a:lnTo>
                    <a:lnTo>
                      <a:pt x="23" y="49"/>
                    </a:lnTo>
                    <a:lnTo>
                      <a:pt x="21" y="49"/>
                    </a:lnTo>
                    <a:lnTo>
                      <a:pt x="21" y="51"/>
                    </a:lnTo>
                    <a:lnTo>
                      <a:pt x="23" y="51"/>
                    </a:lnTo>
                    <a:lnTo>
                      <a:pt x="24" y="51"/>
                    </a:lnTo>
                    <a:lnTo>
                      <a:pt x="24" y="51"/>
                    </a:lnTo>
                    <a:lnTo>
                      <a:pt x="26" y="51"/>
                    </a:lnTo>
                    <a:lnTo>
                      <a:pt x="26" y="49"/>
                    </a:lnTo>
                    <a:lnTo>
                      <a:pt x="27" y="48"/>
                    </a:lnTo>
                    <a:lnTo>
                      <a:pt x="31" y="44"/>
                    </a:lnTo>
                    <a:lnTo>
                      <a:pt x="32" y="41"/>
                    </a:lnTo>
                    <a:lnTo>
                      <a:pt x="34" y="38"/>
                    </a:lnTo>
                    <a:lnTo>
                      <a:pt x="35" y="38"/>
                    </a:lnTo>
                    <a:lnTo>
                      <a:pt x="37" y="38"/>
                    </a:lnTo>
                    <a:lnTo>
                      <a:pt x="38" y="38"/>
                    </a:lnTo>
                    <a:lnTo>
                      <a:pt x="40" y="38"/>
                    </a:lnTo>
                    <a:lnTo>
                      <a:pt x="45" y="38"/>
                    </a:lnTo>
                    <a:lnTo>
                      <a:pt x="48" y="38"/>
                    </a:lnTo>
                    <a:lnTo>
                      <a:pt x="51" y="41"/>
                    </a:lnTo>
                    <a:lnTo>
                      <a:pt x="54" y="48"/>
                    </a:lnTo>
                    <a:lnTo>
                      <a:pt x="54" y="49"/>
                    </a:lnTo>
                    <a:lnTo>
                      <a:pt x="54" y="51"/>
                    </a:lnTo>
                    <a:lnTo>
                      <a:pt x="56" y="52"/>
                    </a:lnTo>
                    <a:lnTo>
                      <a:pt x="56" y="54"/>
                    </a:lnTo>
                    <a:lnTo>
                      <a:pt x="56" y="56"/>
                    </a:lnTo>
                    <a:lnTo>
                      <a:pt x="56" y="57"/>
                    </a:lnTo>
                    <a:lnTo>
                      <a:pt x="56" y="59"/>
                    </a:lnTo>
                    <a:lnTo>
                      <a:pt x="54" y="64"/>
                    </a:lnTo>
                    <a:lnTo>
                      <a:pt x="58" y="60"/>
                    </a:lnTo>
                    <a:lnTo>
                      <a:pt x="58" y="60"/>
                    </a:lnTo>
                    <a:lnTo>
                      <a:pt x="58" y="60"/>
                    </a:lnTo>
                    <a:lnTo>
                      <a:pt x="61" y="60"/>
                    </a:lnTo>
                    <a:lnTo>
                      <a:pt x="61" y="59"/>
                    </a:lnTo>
                    <a:lnTo>
                      <a:pt x="62" y="59"/>
                    </a:lnTo>
                    <a:lnTo>
                      <a:pt x="64" y="60"/>
                    </a:lnTo>
                    <a:lnTo>
                      <a:pt x="65" y="59"/>
                    </a:lnTo>
                    <a:lnTo>
                      <a:pt x="67" y="59"/>
                    </a:lnTo>
                    <a:lnTo>
                      <a:pt x="69" y="60"/>
                    </a:lnTo>
                    <a:lnTo>
                      <a:pt x="70" y="62"/>
                    </a:lnTo>
                    <a:lnTo>
                      <a:pt x="70" y="64"/>
                    </a:lnTo>
                    <a:lnTo>
                      <a:pt x="70" y="65"/>
                    </a:lnTo>
                    <a:lnTo>
                      <a:pt x="70" y="67"/>
                    </a:lnTo>
                    <a:lnTo>
                      <a:pt x="72" y="70"/>
                    </a:lnTo>
                    <a:lnTo>
                      <a:pt x="70" y="76"/>
                    </a:lnTo>
                    <a:lnTo>
                      <a:pt x="73" y="76"/>
                    </a:lnTo>
                    <a:lnTo>
                      <a:pt x="75" y="76"/>
                    </a:lnTo>
                    <a:lnTo>
                      <a:pt x="75" y="78"/>
                    </a:lnTo>
                    <a:lnTo>
                      <a:pt x="77" y="76"/>
                    </a:lnTo>
                    <a:lnTo>
                      <a:pt x="80" y="73"/>
                    </a:lnTo>
                    <a:lnTo>
                      <a:pt x="80" y="73"/>
                    </a:lnTo>
                    <a:lnTo>
                      <a:pt x="80" y="70"/>
                    </a:lnTo>
                    <a:lnTo>
                      <a:pt x="83" y="70"/>
                    </a:lnTo>
                    <a:lnTo>
                      <a:pt x="83" y="73"/>
                    </a:lnTo>
                    <a:lnTo>
                      <a:pt x="83" y="73"/>
                    </a:lnTo>
                    <a:lnTo>
                      <a:pt x="86" y="73"/>
                    </a:lnTo>
                    <a:lnTo>
                      <a:pt x="86" y="73"/>
                    </a:lnTo>
                    <a:lnTo>
                      <a:pt x="89" y="70"/>
                    </a:lnTo>
                    <a:lnTo>
                      <a:pt x="89" y="67"/>
                    </a:lnTo>
                    <a:lnTo>
                      <a:pt x="89" y="67"/>
                    </a:lnTo>
                    <a:lnTo>
                      <a:pt x="89" y="67"/>
                    </a:lnTo>
                    <a:lnTo>
                      <a:pt x="86" y="64"/>
                    </a:lnTo>
                    <a:lnTo>
                      <a:pt x="86" y="62"/>
                    </a:lnTo>
                    <a:lnTo>
                      <a:pt x="86" y="60"/>
                    </a:lnTo>
                    <a:lnTo>
                      <a:pt x="89" y="60"/>
                    </a:lnTo>
                    <a:lnTo>
                      <a:pt x="94" y="62"/>
                    </a:lnTo>
                    <a:lnTo>
                      <a:pt x="92" y="57"/>
                    </a:lnTo>
                    <a:lnTo>
                      <a:pt x="91" y="56"/>
                    </a:lnTo>
                    <a:lnTo>
                      <a:pt x="89" y="56"/>
                    </a:lnTo>
                    <a:lnTo>
                      <a:pt x="91" y="52"/>
                    </a:lnTo>
                    <a:lnTo>
                      <a:pt x="92" y="51"/>
                    </a:lnTo>
                    <a:lnTo>
                      <a:pt x="91" y="49"/>
                    </a:lnTo>
                    <a:lnTo>
                      <a:pt x="91" y="46"/>
                    </a:lnTo>
                    <a:lnTo>
                      <a:pt x="89" y="46"/>
                    </a:lnTo>
                    <a:lnTo>
                      <a:pt x="89" y="44"/>
                    </a:lnTo>
                    <a:lnTo>
                      <a:pt x="86" y="41"/>
                    </a:lnTo>
                    <a:lnTo>
                      <a:pt x="86" y="38"/>
                    </a:lnTo>
                    <a:lnTo>
                      <a:pt x="89" y="38"/>
                    </a:lnTo>
                    <a:lnTo>
                      <a:pt x="89" y="35"/>
                    </a:lnTo>
                    <a:lnTo>
                      <a:pt x="89" y="35"/>
                    </a:lnTo>
                    <a:lnTo>
                      <a:pt x="89" y="35"/>
                    </a:lnTo>
                    <a:lnTo>
                      <a:pt x="89" y="35"/>
                    </a:lnTo>
                    <a:lnTo>
                      <a:pt x="89" y="35"/>
                    </a:lnTo>
                    <a:lnTo>
                      <a:pt x="89" y="35"/>
                    </a:lnTo>
                    <a:lnTo>
                      <a:pt x="89" y="35"/>
                    </a:lnTo>
                    <a:lnTo>
                      <a:pt x="89" y="35"/>
                    </a:lnTo>
                    <a:lnTo>
                      <a:pt x="89" y="35"/>
                    </a:lnTo>
                    <a:lnTo>
                      <a:pt x="89" y="35"/>
                    </a:lnTo>
                    <a:lnTo>
                      <a:pt x="89" y="35"/>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54" name="Freeform 170">
                <a:extLst>
                  <a:ext uri="{FF2B5EF4-FFF2-40B4-BE49-F238E27FC236}">
                    <a16:creationId xmlns:a16="http://schemas.microsoft.com/office/drawing/2014/main" id="{1F40EAE7-ADCA-34DC-9DA2-A73CA63CE8F7}"/>
                  </a:ext>
                </a:extLst>
              </p:cNvPr>
              <p:cNvSpPr>
                <a:spLocks/>
              </p:cNvSpPr>
              <p:nvPr/>
            </p:nvSpPr>
            <p:spPr bwMode="auto">
              <a:xfrm>
                <a:off x="5295885" y="3621356"/>
                <a:ext cx="91966" cy="53834"/>
              </a:xfrm>
              <a:custGeom>
                <a:avLst/>
                <a:gdLst>
                  <a:gd name="T0" fmla="*/ 24 w 41"/>
                  <a:gd name="T1" fmla="*/ 21 h 24"/>
                  <a:gd name="T2" fmla="*/ 26 w 41"/>
                  <a:gd name="T3" fmla="*/ 18 h 24"/>
                  <a:gd name="T4" fmla="*/ 27 w 41"/>
                  <a:gd name="T5" fmla="*/ 16 h 24"/>
                  <a:gd name="T6" fmla="*/ 32 w 41"/>
                  <a:gd name="T7" fmla="*/ 13 h 24"/>
                  <a:gd name="T8" fmla="*/ 35 w 41"/>
                  <a:gd name="T9" fmla="*/ 13 h 24"/>
                  <a:gd name="T10" fmla="*/ 38 w 41"/>
                  <a:gd name="T11" fmla="*/ 13 h 24"/>
                  <a:gd name="T12" fmla="*/ 38 w 41"/>
                  <a:gd name="T13" fmla="*/ 10 h 24"/>
                  <a:gd name="T14" fmla="*/ 38 w 41"/>
                  <a:gd name="T15" fmla="*/ 10 h 24"/>
                  <a:gd name="T16" fmla="*/ 38 w 41"/>
                  <a:gd name="T17" fmla="*/ 6 h 24"/>
                  <a:gd name="T18" fmla="*/ 35 w 41"/>
                  <a:gd name="T19" fmla="*/ 6 h 24"/>
                  <a:gd name="T20" fmla="*/ 38 w 41"/>
                  <a:gd name="T21" fmla="*/ 6 h 24"/>
                  <a:gd name="T22" fmla="*/ 38 w 41"/>
                  <a:gd name="T23" fmla="*/ 3 h 24"/>
                  <a:gd name="T24" fmla="*/ 41 w 41"/>
                  <a:gd name="T25" fmla="*/ 3 h 24"/>
                  <a:gd name="T26" fmla="*/ 41 w 41"/>
                  <a:gd name="T27" fmla="*/ 0 h 24"/>
                  <a:gd name="T28" fmla="*/ 38 w 41"/>
                  <a:gd name="T29" fmla="*/ 0 h 24"/>
                  <a:gd name="T30" fmla="*/ 27 w 41"/>
                  <a:gd name="T31" fmla="*/ 0 h 24"/>
                  <a:gd name="T32" fmla="*/ 24 w 41"/>
                  <a:gd name="T33" fmla="*/ 0 h 24"/>
                  <a:gd name="T34" fmla="*/ 22 w 41"/>
                  <a:gd name="T35" fmla="*/ 0 h 24"/>
                  <a:gd name="T36" fmla="*/ 18 w 41"/>
                  <a:gd name="T37" fmla="*/ 0 h 24"/>
                  <a:gd name="T38" fmla="*/ 14 w 41"/>
                  <a:gd name="T39" fmla="*/ 3 h 24"/>
                  <a:gd name="T40" fmla="*/ 10 w 41"/>
                  <a:gd name="T41" fmla="*/ 3 h 24"/>
                  <a:gd name="T42" fmla="*/ 6 w 41"/>
                  <a:gd name="T43" fmla="*/ 3 h 24"/>
                  <a:gd name="T44" fmla="*/ 3 w 41"/>
                  <a:gd name="T45" fmla="*/ 3 h 24"/>
                  <a:gd name="T46" fmla="*/ 0 w 41"/>
                  <a:gd name="T47" fmla="*/ 3 h 24"/>
                  <a:gd name="T48" fmla="*/ 3 w 41"/>
                  <a:gd name="T49" fmla="*/ 6 h 24"/>
                  <a:gd name="T50" fmla="*/ 6 w 41"/>
                  <a:gd name="T51" fmla="*/ 6 h 24"/>
                  <a:gd name="T52" fmla="*/ 6 w 41"/>
                  <a:gd name="T53" fmla="*/ 3 h 24"/>
                  <a:gd name="T54" fmla="*/ 8 w 41"/>
                  <a:gd name="T55" fmla="*/ 3 h 24"/>
                  <a:gd name="T56" fmla="*/ 6 w 41"/>
                  <a:gd name="T57" fmla="*/ 6 h 24"/>
                  <a:gd name="T58" fmla="*/ 6 w 41"/>
                  <a:gd name="T59" fmla="*/ 10 h 24"/>
                  <a:gd name="T60" fmla="*/ 8 w 41"/>
                  <a:gd name="T61" fmla="*/ 10 h 24"/>
                  <a:gd name="T62" fmla="*/ 11 w 41"/>
                  <a:gd name="T63" fmla="*/ 10 h 24"/>
                  <a:gd name="T64" fmla="*/ 10 w 41"/>
                  <a:gd name="T65" fmla="*/ 13 h 24"/>
                  <a:gd name="T66" fmla="*/ 14 w 41"/>
                  <a:gd name="T67" fmla="*/ 11 h 24"/>
                  <a:gd name="T68" fmla="*/ 18 w 41"/>
                  <a:gd name="T69" fmla="*/ 10 h 24"/>
                  <a:gd name="T70" fmla="*/ 19 w 41"/>
                  <a:gd name="T71" fmla="*/ 10 h 24"/>
                  <a:gd name="T72" fmla="*/ 21 w 41"/>
                  <a:gd name="T73" fmla="*/ 10 h 24"/>
                  <a:gd name="T74" fmla="*/ 24 w 41"/>
                  <a:gd name="T75" fmla="*/ 10 h 24"/>
                  <a:gd name="T76" fmla="*/ 22 w 41"/>
                  <a:gd name="T77" fmla="*/ 11 h 24"/>
                  <a:gd name="T78" fmla="*/ 21 w 41"/>
                  <a:gd name="T79" fmla="*/ 11 h 24"/>
                  <a:gd name="T80" fmla="*/ 19 w 41"/>
                  <a:gd name="T81" fmla="*/ 10 h 24"/>
                  <a:gd name="T82" fmla="*/ 16 w 41"/>
                  <a:gd name="T83" fmla="*/ 13 h 24"/>
                  <a:gd name="T84" fmla="*/ 18 w 41"/>
                  <a:gd name="T85" fmla="*/ 14 h 24"/>
                  <a:gd name="T86" fmla="*/ 19 w 41"/>
                  <a:gd name="T87" fmla="*/ 13 h 24"/>
                  <a:gd name="T88" fmla="*/ 21 w 41"/>
                  <a:gd name="T89" fmla="*/ 13 h 24"/>
                  <a:gd name="T90" fmla="*/ 22 w 41"/>
                  <a:gd name="T91" fmla="*/ 14 h 24"/>
                  <a:gd name="T92" fmla="*/ 19 w 41"/>
                  <a:gd name="T93" fmla="*/ 14 h 24"/>
                  <a:gd name="T94" fmla="*/ 18 w 41"/>
                  <a:gd name="T95" fmla="*/ 16 h 24"/>
                  <a:gd name="T96" fmla="*/ 18 w 41"/>
                  <a:gd name="T97" fmla="*/ 18 h 24"/>
                  <a:gd name="T98" fmla="*/ 19 w 41"/>
                  <a:gd name="T99" fmla="*/ 18 h 24"/>
                  <a:gd name="T100" fmla="*/ 18 w 41"/>
                  <a:gd name="T101" fmla="*/ 19 h 24"/>
                  <a:gd name="T102" fmla="*/ 21 w 41"/>
                  <a:gd name="T103" fmla="*/ 21 h 24"/>
                  <a:gd name="T104" fmla="*/ 22 w 41"/>
                  <a:gd name="T105" fmla="*/ 24 h 24"/>
                  <a:gd name="T106" fmla="*/ 24 w 41"/>
                  <a:gd name="T107" fmla="*/ 22 h 24"/>
                  <a:gd name="T108" fmla="*/ 24 w 41"/>
                  <a:gd name="T109" fmla="*/ 21 h 24"/>
                  <a:gd name="T110" fmla="*/ 24 w 41"/>
                  <a:gd name="T111" fmla="*/ 21 h 24"/>
                  <a:gd name="T112" fmla="*/ 24 w 41"/>
                  <a:gd name="T113" fmla="*/ 21 h 24"/>
                  <a:gd name="T114" fmla="*/ 24 w 41"/>
                  <a:gd name="T115" fmla="*/ 21 h 24"/>
                  <a:gd name="T116" fmla="*/ 24 w 41"/>
                  <a:gd name="T117" fmla="*/ 21 h 24"/>
                  <a:gd name="T118" fmla="*/ 24 w 41"/>
                  <a:gd name="T119" fmla="*/ 21 h 24"/>
                  <a:gd name="T120" fmla="*/ 24 w 41"/>
                  <a:gd name="T121" fmla="*/ 21 h 24"/>
                  <a:gd name="T122" fmla="*/ 24 w 41"/>
                  <a:gd name="T123" fmla="*/ 21 h 24"/>
                  <a:gd name="T124" fmla="*/ 24 w 41"/>
                  <a:gd name="T125"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 h="24">
                    <a:moveTo>
                      <a:pt x="24" y="21"/>
                    </a:moveTo>
                    <a:lnTo>
                      <a:pt x="26" y="18"/>
                    </a:lnTo>
                    <a:lnTo>
                      <a:pt x="27" y="16"/>
                    </a:lnTo>
                    <a:lnTo>
                      <a:pt x="32" y="13"/>
                    </a:lnTo>
                    <a:lnTo>
                      <a:pt x="35" y="13"/>
                    </a:lnTo>
                    <a:lnTo>
                      <a:pt x="38" y="13"/>
                    </a:lnTo>
                    <a:lnTo>
                      <a:pt x="38" y="10"/>
                    </a:lnTo>
                    <a:lnTo>
                      <a:pt x="38" y="10"/>
                    </a:lnTo>
                    <a:lnTo>
                      <a:pt x="38" y="6"/>
                    </a:lnTo>
                    <a:lnTo>
                      <a:pt x="35" y="6"/>
                    </a:lnTo>
                    <a:lnTo>
                      <a:pt x="38" y="6"/>
                    </a:lnTo>
                    <a:lnTo>
                      <a:pt x="38" y="3"/>
                    </a:lnTo>
                    <a:lnTo>
                      <a:pt x="41" y="3"/>
                    </a:lnTo>
                    <a:lnTo>
                      <a:pt x="41" y="0"/>
                    </a:lnTo>
                    <a:lnTo>
                      <a:pt x="38" y="0"/>
                    </a:lnTo>
                    <a:lnTo>
                      <a:pt x="27" y="0"/>
                    </a:lnTo>
                    <a:lnTo>
                      <a:pt x="24" y="0"/>
                    </a:lnTo>
                    <a:lnTo>
                      <a:pt x="22" y="0"/>
                    </a:lnTo>
                    <a:lnTo>
                      <a:pt x="18" y="0"/>
                    </a:lnTo>
                    <a:lnTo>
                      <a:pt x="14" y="3"/>
                    </a:lnTo>
                    <a:lnTo>
                      <a:pt x="10" y="3"/>
                    </a:lnTo>
                    <a:lnTo>
                      <a:pt x="6" y="3"/>
                    </a:lnTo>
                    <a:lnTo>
                      <a:pt x="3" y="3"/>
                    </a:lnTo>
                    <a:lnTo>
                      <a:pt x="0" y="3"/>
                    </a:lnTo>
                    <a:lnTo>
                      <a:pt x="3" y="6"/>
                    </a:lnTo>
                    <a:lnTo>
                      <a:pt x="6" y="6"/>
                    </a:lnTo>
                    <a:lnTo>
                      <a:pt x="6" y="3"/>
                    </a:lnTo>
                    <a:lnTo>
                      <a:pt x="8" y="3"/>
                    </a:lnTo>
                    <a:lnTo>
                      <a:pt x="6" y="6"/>
                    </a:lnTo>
                    <a:lnTo>
                      <a:pt x="6" y="10"/>
                    </a:lnTo>
                    <a:lnTo>
                      <a:pt x="8" y="10"/>
                    </a:lnTo>
                    <a:lnTo>
                      <a:pt x="11" y="10"/>
                    </a:lnTo>
                    <a:lnTo>
                      <a:pt x="10" y="13"/>
                    </a:lnTo>
                    <a:lnTo>
                      <a:pt x="14" y="11"/>
                    </a:lnTo>
                    <a:lnTo>
                      <a:pt x="18" y="10"/>
                    </a:lnTo>
                    <a:lnTo>
                      <a:pt x="19" y="10"/>
                    </a:lnTo>
                    <a:lnTo>
                      <a:pt x="21" y="10"/>
                    </a:lnTo>
                    <a:lnTo>
                      <a:pt x="24" y="10"/>
                    </a:lnTo>
                    <a:lnTo>
                      <a:pt x="22" y="11"/>
                    </a:lnTo>
                    <a:lnTo>
                      <a:pt x="21" y="11"/>
                    </a:lnTo>
                    <a:lnTo>
                      <a:pt x="19" y="10"/>
                    </a:lnTo>
                    <a:lnTo>
                      <a:pt x="16" y="13"/>
                    </a:lnTo>
                    <a:lnTo>
                      <a:pt x="18" y="14"/>
                    </a:lnTo>
                    <a:lnTo>
                      <a:pt x="19" y="13"/>
                    </a:lnTo>
                    <a:lnTo>
                      <a:pt x="21" y="13"/>
                    </a:lnTo>
                    <a:lnTo>
                      <a:pt x="22" y="14"/>
                    </a:lnTo>
                    <a:lnTo>
                      <a:pt x="19" y="14"/>
                    </a:lnTo>
                    <a:lnTo>
                      <a:pt x="18" y="16"/>
                    </a:lnTo>
                    <a:lnTo>
                      <a:pt x="18" y="18"/>
                    </a:lnTo>
                    <a:lnTo>
                      <a:pt x="19" y="18"/>
                    </a:lnTo>
                    <a:lnTo>
                      <a:pt x="18" y="19"/>
                    </a:lnTo>
                    <a:lnTo>
                      <a:pt x="21" y="21"/>
                    </a:lnTo>
                    <a:lnTo>
                      <a:pt x="22" y="24"/>
                    </a:lnTo>
                    <a:lnTo>
                      <a:pt x="24" y="22"/>
                    </a:lnTo>
                    <a:lnTo>
                      <a:pt x="24" y="21"/>
                    </a:lnTo>
                    <a:lnTo>
                      <a:pt x="24" y="21"/>
                    </a:lnTo>
                    <a:lnTo>
                      <a:pt x="24" y="21"/>
                    </a:lnTo>
                    <a:lnTo>
                      <a:pt x="24" y="21"/>
                    </a:lnTo>
                    <a:lnTo>
                      <a:pt x="24" y="21"/>
                    </a:lnTo>
                    <a:lnTo>
                      <a:pt x="24" y="21"/>
                    </a:lnTo>
                    <a:lnTo>
                      <a:pt x="24" y="21"/>
                    </a:lnTo>
                    <a:lnTo>
                      <a:pt x="24" y="21"/>
                    </a:lnTo>
                    <a:lnTo>
                      <a:pt x="24" y="2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55" name="Freeform 172">
                <a:extLst>
                  <a:ext uri="{FF2B5EF4-FFF2-40B4-BE49-F238E27FC236}">
                    <a16:creationId xmlns:a16="http://schemas.microsoft.com/office/drawing/2014/main" id="{F8C27444-D484-D588-A94B-CC3FDBBB1DCF}"/>
                  </a:ext>
                </a:extLst>
              </p:cNvPr>
              <p:cNvSpPr>
                <a:spLocks noEditPoints="1"/>
              </p:cNvSpPr>
              <p:nvPr/>
            </p:nvSpPr>
            <p:spPr bwMode="auto">
              <a:xfrm>
                <a:off x="5277940" y="3489015"/>
                <a:ext cx="170474" cy="139071"/>
              </a:xfrm>
              <a:custGeom>
                <a:avLst/>
                <a:gdLst>
                  <a:gd name="T0" fmla="*/ 75 w 76"/>
                  <a:gd name="T1" fmla="*/ 53 h 62"/>
                  <a:gd name="T2" fmla="*/ 70 w 76"/>
                  <a:gd name="T3" fmla="*/ 46 h 62"/>
                  <a:gd name="T4" fmla="*/ 68 w 76"/>
                  <a:gd name="T5" fmla="*/ 42 h 62"/>
                  <a:gd name="T6" fmla="*/ 68 w 76"/>
                  <a:gd name="T7" fmla="*/ 37 h 62"/>
                  <a:gd name="T8" fmla="*/ 65 w 76"/>
                  <a:gd name="T9" fmla="*/ 30 h 62"/>
                  <a:gd name="T10" fmla="*/ 64 w 76"/>
                  <a:gd name="T11" fmla="*/ 26 h 62"/>
                  <a:gd name="T12" fmla="*/ 59 w 76"/>
                  <a:gd name="T13" fmla="*/ 19 h 62"/>
                  <a:gd name="T14" fmla="*/ 54 w 76"/>
                  <a:gd name="T15" fmla="*/ 13 h 62"/>
                  <a:gd name="T16" fmla="*/ 51 w 76"/>
                  <a:gd name="T17" fmla="*/ 10 h 62"/>
                  <a:gd name="T18" fmla="*/ 43 w 76"/>
                  <a:gd name="T19" fmla="*/ 3 h 62"/>
                  <a:gd name="T20" fmla="*/ 32 w 76"/>
                  <a:gd name="T21" fmla="*/ 0 h 62"/>
                  <a:gd name="T22" fmla="*/ 21 w 76"/>
                  <a:gd name="T23" fmla="*/ 3 h 62"/>
                  <a:gd name="T24" fmla="*/ 14 w 76"/>
                  <a:gd name="T25" fmla="*/ 7 h 62"/>
                  <a:gd name="T26" fmla="*/ 11 w 76"/>
                  <a:gd name="T27" fmla="*/ 16 h 62"/>
                  <a:gd name="T28" fmla="*/ 3 w 76"/>
                  <a:gd name="T29" fmla="*/ 27 h 62"/>
                  <a:gd name="T30" fmla="*/ 3 w 76"/>
                  <a:gd name="T31" fmla="*/ 29 h 62"/>
                  <a:gd name="T32" fmla="*/ 8 w 76"/>
                  <a:gd name="T33" fmla="*/ 40 h 62"/>
                  <a:gd name="T34" fmla="*/ 11 w 76"/>
                  <a:gd name="T35" fmla="*/ 38 h 62"/>
                  <a:gd name="T36" fmla="*/ 13 w 76"/>
                  <a:gd name="T37" fmla="*/ 38 h 62"/>
                  <a:gd name="T38" fmla="*/ 11 w 76"/>
                  <a:gd name="T39" fmla="*/ 43 h 62"/>
                  <a:gd name="T40" fmla="*/ 26 w 76"/>
                  <a:gd name="T41" fmla="*/ 45 h 62"/>
                  <a:gd name="T42" fmla="*/ 29 w 76"/>
                  <a:gd name="T43" fmla="*/ 42 h 62"/>
                  <a:gd name="T44" fmla="*/ 35 w 76"/>
                  <a:gd name="T45" fmla="*/ 43 h 62"/>
                  <a:gd name="T46" fmla="*/ 38 w 76"/>
                  <a:gd name="T47" fmla="*/ 46 h 62"/>
                  <a:gd name="T48" fmla="*/ 45 w 76"/>
                  <a:gd name="T49" fmla="*/ 45 h 62"/>
                  <a:gd name="T50" fmla="*/ 45 w 76"/>
                  <a:gd name="T51" fmla="*/ 50 h 62"/>
                  <a:gd name="T52" fmla="*/ 40 w 76"/>
                  <a:gd name="T53" fmla="*/ 50 h 62"/>
                  <a:gd name="T54" fmla="*/ 29 w 76"/>
                  <a:gd name="T55" fmla="*/ 45 h 62"/>
                  <a:gd name="T56" fmla="*/ 26 w 76"/>
                  <a:gd name="T57" fmla="*/ 48 h 62"/>
                  <a:gd name="T58" fmla="*/ 21 w 76"/>
                  <a:gd name="T59" fmla="*/ 51 h 62"/>
                  <a:gd name="T60" fmla="*/ 11 w 76"/>
                  <a:gd name="T61" fmla="*/ 51 h 62"/>
                  <a:gd name="T62" fmla="*/ 8 w 76"/>
                  <a:gd name="T63" fmla="*/ 57 h 62"/>
                  <a:gd name="T64" fmla="*/ 8 w 76"/>
                  <a:gd name="T65" fmla="*/ 62 h 62"/>
                  <a:gd name="T66" fmla="*/ 18 w 76"/>
                  <a:gd name="T67" fmla="*/ 62 h 62"/>
                  <a:gd name="T68" fmla="*/ 29 w 76"/>
                  <a:gd name="T69" fmla="*/ 59 h 62"/>
                  <a:gd name="T70" fmla="*/ 46 w 76"/>
                  <a:gd name="T71" fmla="*/ 59 h 62"/>
                  <a:gd name="T72" fmla="*/ 56 w 76"/>
                  <a:gd name="T73" fmla="*/ 59 h 62"/>
                  <a:gd name="T74" fmla="*/ 59 w 76"/>
                  <a:gd name="T75" fmla="*/ 59 h 62"/>
                  <a:gd name="T76" fmla="*/ 67 w 76"/>
                  <a:gd name="T77" fmla="*/ 62 h 62"/>
                  <a:gd name="T78" fmla="*/ 76 w 76"/>
                  <a:gd name="T79" fmla="*/ 62 h 62"/>
                  <a:gd name="T80" fmla="*/ 75 w 76"/>
                  <a:gd name="T81" fmla="*/ 57 h 62"/>
                  <a:gd name="T82" fmla="*/ 75 w 76"/>
                  <a:gd name="T83" fmla="*/ 57 h 62"/>
                  <a:gd name="T84" fmla="*/ 75 w 76"/>
                  <a:gd name="T85" fmla="*/ 57 h 62"/>
                  <a:gd name="T86" fmla="*/ 24 w 76"/>
                  <a:gd name="T87" fmla="*/ 59 h 62"/>
                  <a:gd name="T88" fmla="*/ 18 w 76"/>
                  <a:gd name="T89" fmla="*/ 59 h 62"/>
                  <a:gd name="T90" fmla="*/ 10 w 76"/>
                  <a:gd name="T91" fmla="*/ 59 h 62"/>
                  <a:gd name="T92" fmla="*/ 13 w 76"/>
                  <a:gd name="T93" fmla="*/ 59 h 62"/>
                  <a:gd name="T94" fmla="*/ 21 w 76"/>
                  <a:gd name="T95" fmla="*/ 59 h 62"/>
                  <a:gd name="T96" fmla="*/ 26 w 76"/>
                  <a:gd name="T97" fmla="*/ 56 h 62"/>
                  <a:gd name="T98" fmla="*/ 24 w 76"/>
                  <a:gd name="T99" fmla="*/ 59 h 62"/>
                  <a:gd name="T100" fmla="*/ 24 w 76"/>
                  <a:gd name="T101" fmla="*/ 59 h 62"/>
                  <a:gd name="T102" fmla="*/ 24 w 76"/>
                  <a:gd name="T103"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62">
                    <a:moveTo>
                      <a:pt x="75" y="57"/>
                    </a:moveTo>
                    <a:lnTo>
                      <a:pt x="76" y="56"/>
                    </a:lnTo>
                    <a:lnTo>
                      <a:pt x="75" y="53"/>
                    </a:lnTo>
                    <a:lnTo>
                      <a:pt x="75" y="50"/>
                    </a:lnTo>
                    <a:lnTo>
                      <a:pt x="72" y="48"/>
                    </a:lnTo>
                    <a:lnTo>
                      <a:pt x="70" y="46"/>
                    </a:lnTo>
                    <a:lnTo>
                      <a:pt x="68" y="46"/>
                    </a:lnTo>
                    <a:lnTo>
                      <a:pt x="68" y="45"/>
                    </a:lnTo>
                    <a:lnTo>
                      <a:pt x="68" y="42"/>
                    </a:lnTo>
                    <a:lnTo>
                      <a:pt x="68" y="40"/>
                    </a:lnTo>
                    <a:lnTo>
                      <a:pt x="68" y="38"/>
                    </a:lnTo>
                    <a:lnTo>
                      <a:pt x="68" y="37"/>
                    </a:lnTo>
                    <a:lnTo>
                      <a:pt x="67" y="34"/>
                    </a:lnTo>
                    <a:lnTo>
                      <a:pt x="65" y="34"/>
                    </a:lnTo>
                    <a:lnTo>
                      <a:pt x="65" y="30"/>
                    </a:lnTo>
                    <a:lnTo>
                      <a:pt x="67" y="30"/>
                    </a:lnTo>
                    <a:lnTo>
                      <a:pt x="65" y="29"/>
                    </a:lnTo>
                    <a:lnTo>
                      <a:pt x="64" y="26"/>
                    </a:lnTo>
                    <a:lnTo>
                      <a:pt x="61" y="24"/>
                    </a:lnTo>
                    <a:lnTo>
                      <a:pt x="61" y="23"/>
                    </a:lnTo>
                    <a:lnTo>
                      <a:pt x="59" y="19"/>
                    </a:lnTo>
                    <a:lnTo>
                      <a:pt x="57" y="18"/>
                    </a:lnTo>
                    <a:lnTo>
                      <a:pt x="54" y="15"/>
                    </a:lnTo>
                    <a:lnTo>
                      <a:pt x="54" y="13"/>
                    </a:lnTo>
                    <a:lnTo>
                      <a:pt x="53" y="10"/>
                    </a:lnTo>
                    <a:lnTo>
                      <a:pt x="51" y="10"/>
                    </a:lnTo>
                    <a:lnTo>
                      <a:pt x="51" y="10"/>
                    </a:lnTo>
                    <a:lnTo>
                      <a:pt x="46" y="7"/>
                    </a:lnTo>
                    <a:lnTo>
                      <a:pt x="45" y="7"/>
                    </a:lnTo>
                    <a:lnTo>
                      <a:pt x="43" y="3"/>
                    </a:lnTo>
                    <a:lnTo>
                      <a:pt x="40" y="3"/>
                    </a:lnTo>
                    <a:lnTo>
                      <a:pt x="35" y="0"/>
                    </a:lnTo>
                    <a:lnTo>
                      <a:pt x="32" y="0"/>
                    </a:lnTo>
                    <a:lnTo>
                      <a:pt x="29" y="3"/>
                    </a:lnTo>
                    <a:lnTo>
                      <a:pt x="26" y="3"/>
                    </a:lnTo>
                    <a:lnTo>
                      <a:pt x="21" y="3"/>
                    </a:lnTo>
                    <a:lnTo>
                      <a:pt x="19" y="3"/>
                    </a:lnTo>
                    <a:lnTo>
                      <a:pt x="18" y="3"/>
                    </a:lnTo>
                    <a:lnTo>
                      <a:pt x="14" y="7"/>
                    </a:lnTo>
                    <a:lnTo>
                      <a:pt x="13" y="8"/>
                    </a:lnTo>
                    <a:lnTo>
                      <a:pt x="13" y="13"/>
                    </a:lnTo>
                    <a:lnTo>
                      <a:pt x="11" y="16"/>
                    </a:lnTo>
                    <a:lnTo>
                      <a:pt x="8" y="21"/>
                    </a:lnTo>
                    <a:lnTo>
                      <a:pt x="5" y="26"/>
                    </a:lnTo>
                    <a:lnTo>
                      <a:pt x="3" y="27"/>
                    </a:lnTo>
                    <a:lnTo>
                      <a:pt x="0" y="29"/>
                    </a:lnTo>
                    <a:lnTo>
                      <a:pt x="0" y="30"/>
                    </a:lnTo>
                    <a:lnTo>
                      <a:pt x="3" y="29"/>
                    </a:lnTo>
                    <a:lnTo>
                      <a:pt x="5" y="30"/>
                    </a:lnTo>
                    <a:lnTo>
                      <a:pt x="7" y="34"/>
                    </a:lnTo>
                    <a:lnTo>
                      <a:pt x="8" y="40"/>
                    </a:lnTo>
                    <a:lnTo>
                      <a:pt x="11" y="37"/>
                    </a:lnTo>
                    <a:lnTo>
                      <a:pt x="14" y="37"/>
                    </a:lnTo>
                    <a:lnTo>
                      <a:pt x="11" y="38"/>
                    </a:lnTo>
                    <a:lnTo>
                      <a:pt x="8" y="42"/>
                    </a:lnTo>
                    <a:lnTo>
                      <a:pt x="11" y="40"/>
                    </a:lnTo>
                    <a:lnTo>
                      <a:pt x="13" y="38"/>
                    </a:lnTo>
                    <a:lnTo>
                      <a:pt x="11" y="42"/>
                    </a:lnTo>
                    <a:lnTo>
                      <a:pt x="10" y="43"/>
                    </a:lnTo>
                    <a:lnTo>
                      <a:pt x="11" y="43"/>
                    </a:lnTo>
                    <a:lnTo>
                      <a:pt x="11" y="45"/>
                    </a:lnTo>
                    <a:lnTo>
                      <a:pt x="14" y="45"/>
                    </a:lnTo>
                    <a:lnTo>
                      <a:pt x="26" y="45"/>
                    </a:lnTo>
                    <a:lnTo>
                      <a:pt x="26" y="43"/>
                    </a:lnTo>
                    <a:lnTo>
                      <a:pt x="27" y="42"/>
                    </a:lnTo>
                    <a:lnTo>
                      <a:pt x="29" y="42"/>
                    </a:lnTo>
                    <a:lnTo>
                      <a:pt x="32" y="42"/>
                    </a:lnTo>
                    <a:lnTo>
                      <a:pt x="32" y="42"/>
                    </a:lnTo>
                    <a:lnTo>
                      <a:pt x="35" y="43"/>
                    </a:lnTo>
                    <a:lnTo>
                      <a:pt x="35" y="43"/>
                    </a:lnTo>
                    <a:lnTo>
                      <a:pt x="38" y="43"/>
                    </a:lnTo>
                    <a:lnTo>
                      <a:pt x="38" y="46"/>
                    </a:lnTo>
                    <a:lnTo>
                      <a:pt x="40" y="46"/>
                    </a:lnTo>
                    <a:lnTo>
                      <a:pt x="41" y="45"/>
                    </a:lnTo>
                    <a:lnTo>
                      <a:pt x="45" y="45"/>
                    </a:lnTo>
                    <a:lnTo>
                      <a:pt x="46" y="46"/>
                    </a:lnTo>
                    <a:lnTo>
                      <a:pt x="46" y="48"/>
                    </a:lnTo>
                    <a:lnTo>
                      <a:pt x="45" y="50"/>
                    </a:lnTo>
                    <a:lnTo>
                      <a:pt x="43" y="50"/>
                    </a:lnTo>
                    <a:lnTo>
                      <a:pt x="41" y="50"/>
                    </a:lnTo>
                    <a:lnTo>
                      <a:pt x="40" y="50"/>
                    </a:lnTo>
                    <a:lnTo>
                      <a:pt x="38" y="50"/>
                    </a:lnTo>
                    <a:lnTo>
                      <a:pt x="32" y="46"/>
                    </a:lnTo>
                    <a:lnTo>
                      <a:pt x="29" y="45"/>
                    </a:lnTo>
                    <a:lnTo>
                      <a:pt x="29" y="48"/>
                    </a:lnTo>
                    <a:lnTo>
                      <a:pt x="27" y="48"/>
                    </a:lnTo>
                    <a:lnTo>
                      <a:pt x="26" y="48"/>
                    </a:lnTo>
                    <a:lnTo>
                      <a:pt x="24" y="48"/>
                    </a:lnTo>
                    <a:lnTo>
                      <a:pt x="21" y="50"/>
                    </a:lnTo>
                    <a:lnTo>
                      <a:pt x="21" y="51"/>
                    </a:lnTo>
                    <a:lnTo>
                      <a:pt x="14" y="51"/>
                    </a:lnTo>
                    <a:lnTo>
                      <a:pt x="13" y="51"/>
                    </a:lnTo>
                    <a:lnTo>
                      <a:pt x="11" y="51"/>
                    </a:lnTo>
                    <a:lnTo>
                      <a:pt x="8" y="53"/>
                    </a:lnTo>
                    <a:lnTo>
                      <a:pt x="8" y="56"/>
                    </a:lnTo>
                    <a:lnTo>
                      <a:pt x="8" y="57"/>
                    </a:lnTo>
                    <a:lnTo>
                      <a:pt x="8" y="59"/>
                    </a:lnTo>
                    <a:lnTo>
                      <a:pt x="8" y="62"/>
                    </a:lnTo>
                    <a:lnTo>
                      <a:pt x="8" y="62"/>
                    </a:lnTo>
                    <a:lnTo>
                      <a:pt x="11" y="62"/>
                    </a:lnTo>
                    <a:lnTo>
                      <a:pt x="14" y="62"/>
                    </a:lnTo>
                    <a:lnTo>
                      <a:pt x="18" y="62"/>
                    </a:lnTo>
                    <a:lnTo>
                      <a:pt x="22" y="62"/>
                    </a:lnTo>
                    <a:lnTo>
                      <a:pt x="26" y="59"/>
                    </a:lnTo>
                    <a:lnTo>
                      <a:pt x="29" y="59"/>
                    </a:lnTo>
                    <a:lnTo>
                      <a:pt x="32" y="59"/>
                    </a:lnTo>
                    <a:lnTo>
                      <a:pt x="35" y="59"/>
                    </a:lnTo>
                    <a:lnTo>
                      <a:pt x="46" y="59"/>
                    </a:lnTo>
                    <a:lnTo>
                      <a:pt x="53" y="59"/>
                    </a:lnTo>
                    <a:lnTo>
                      <a:pt x="56" y="59"/>
                    </a:lnTo>
                    <a:lnTo>
                      <a:pt x="56" y="59"/>
                    </a:lnTo>
                    <a:lnTo>
                      <a:pt x="56" y="62"/>
                    </a:lnTo>
                    <a:lnTo>
                      <a:pt x="57" y="62"/>
                    </a:lnTo>
                    <a:lnTo>
                      <a:pt x="59" y="59"/>
                    </a:lnTo>
                    <a:lnTo>
                      <a:pt x="61" y="62"/>
                    </a:lnTo>
                    <a:lnTo>
                      <a:pt x="64" y="62"/>
                    </a:lnTo>
                    <a:lnTo>
                      <a:pt x="67" y="62"/>
                    </a:lnTo>
                    <a:lnTo>
                      <a:pt x="70" y="62"/>
                    </a:lnTo>
                    <a:lnTo>
                      <a:pt x="73" y="62"/>
                    </a:lnTo>
                    <a:lnTo>
                      <a:pt x="76" y="62"/>
                    </a:lnTo>
                    <a:lnTo>
                      <a:pt x="76" y="59"/>
                    </a:lnTo>
                    <a:lnTo>
                      <a:pt x="75" y="57"/>
                    </a:lnTo>
                    <a:lnTo>
                      <a:pt x="75" y="57"/>
                    </a:lnTo>
                    <a:lnTo>
                      <a:pt x="75" y="57"/>
                    </a:lnTo>
                    <a:lnTo>
                      <a:pt x="75" y="57"/>
                    </a:lnTo>
                    <a:lnTo>
                      <a:pt x="75" y="57"/>
                    </a:lnTo>
                    <a:lnTo>
                      <a:pt x="75" y="57"/>
                    </a:lnTo>
                    <a:lnTo>
                      <a:pt x="75" y="57"/>
                    </a:lnTo>
                    <a:lnTo>
                      <a:pt x="75" y="57"/>
                    </a:lnTo>
                    <a:lnTo>
                      <a:pt x="75" y="57"/>
                    </a:lnTo>
                    <a:close/>
                    <a:moveTo>
                      <a:pt x="24" y="59"/>
                    </a:moveTo>
                    <a:lnTo>
                      <a:pt x="24" y="59"/>
                    </a:lnTo>
                    <a:lnTo>
                      <a:pt x="22" y="59"/>
                    </a:lnTo>
                    <a:lnTo>
                      <a:pt x="21" y="59"/>
                    </a:lnTo>
                    <a:lnTo>
                      <a:pt x="18" y="59"/>
                    </a:lnTo>
                    <a:lnTo>
                      <a:pt x="14" y="59"/>
                    </a:lnTo>
                    <a:lnTo>
                      <a:pt x="13" y="59"/>
                    </a:lnTo>
                    <a:lnTo>
                      <a:pt x="10" y="59"/>
                    </a:lnTo>
                    <a:lnTo>
                      <a:pt x="10" y="57"/>
                    </a:lnTo>
                    <a:lnTo>
                      <a:pt x="11" y="59"/>
                    </a:lnTo>
                    <a:lnTo>
                      <a:pt x="13" y="59"/>
                    </a:lnTo>
                    <a:lnTo>
                      <a:pt x="16" y="59"/>
                    </a:lnTo>
                    <a:lnTo>
                      <a:pt x="18" y="57"/>
                    </a:lnTo>
                    <a:lnTo>
                      <a:pt x="21" y="59"/>
                    </a:lnTo>
                    <a:lnTo>
                      <a:pt x="24" y="59"/>
                    </a:lnTo>
                    <a:lnTo>
                      <a:pt x="24" y="57"/>
                    </a:lnTo>
                    <a:lnTo>
                      <a:pt x="26" y="56"/>
                    </a:lnTo>
                    <a:lnTo>
                      <a:pt x="24" y="59"/>
                    </a:lnTo>
                    <a:lnTo>
                      <a:pt x="24" y="59"/>
                    </a:lnTo>
                    <a:lnTo>
                      <a:pt x="24" y="59"/>
                    </a:lnTo>
                    <a:lnTo>
                      <a:pt x="24" y="59"/>
                    </a:lnTo>
                    <a:lnTo>
                      <a:pt x="24" y="59"/>
                    </a:lnTo>
                    <a:lnTo>
                      <a:pt x="24" y="59"/>
                    </a:lnTo>
                    <a:lnTo>
                      <a:pt x="24" y="59"/>
                    </a:lnTo>
                    <a:lnTo>
                      <a:pt x="24" y="59"/>
                    </a:lnTo>
                    <a:lnTo>
                      <a:pt x="24" y="59"/>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56" name="Freeform 221">
                <a:extLst>
                  <a:ext uri="{FF2B5EF4-FFF2-40B4-BE49-F238E27FC236}">
                    <a16:creationId xmlns:a16="http://schemas.microsoft.com/office/drawing/2014/main" id="{489C9C64-7552-738F-AD93-CB6129D1A04A}"/>
                  </a:ext>
                </a:extLst>
              </p:cNvPr>
              <p:cNvSpPr>
                <a:spLocks/>
              </p:cNvSpPr>
              <p:nvPr/>
            </p:nvSpPr>
            <p:spPr bwMode="auto">
              <a:xfrm>
                <a:off x="6980430" y="4415403"/>
                <a:ext cx="222064" cy="437399"/>
              </a:xfrm>
              <a:custGeom>
                <a:avLst/>
                <a:gdLst>
                  <a:gd name="T0" fmla="*/ 3 w 99"/>
                  <a:gd name="T1" fmla="*/ 157 h 195"/>
                  <a:gd name="T2" fmla="*/ 6 w 99"/>
                  <a:gd name="T3" fmla="*/ 165 h 195"/>
                  <a:gd name="T4" fmla="*/ 5 w 99"/>
                  <a:gd name="T5" fmla="*/ 179 h 195"/>
                  <a:gd name="T6" fmla="*/ 13 w 99"/>
                  <a:gd name="T7" fmla="*/ 191 h 195"/>
                  <a:gd name="T8" fmla="*/ 18 w 99"/>
                  <a:gd name="T9" fmla="*/ 192 h 195"/>
                  <a:gd name="T10" fmla="*/ 25 w 99"/>
                  <a:gd name="T11" fmla="*/ 195 h 195"/>
                  <a:gd name="T12" fmla="*/ 41 w 99"/>
                  <a:gd name="T13" fmla="*/ 189 h 195"/>
                  <a:gd name="T14" fmla="*/ 48 w 99"/>
                  <a:gd name="T15" fmla="*/ 186 h 195"/>
                  <a:gd name="T16" fmla="*/ 57 w 99"/>
                  <a:gd name="T17" fmla="*/ 157 h 195"/>
                  <a:gd name="T18" fmla="*/ 70 w 99"/>
                  <a:gd name="T19" fmla="*/ 119 h 195"/>
                  <a:gd name="T20" fmla="*/ 73 w 99"/>
                  <a:gd name="T21" fmla="*/ 113 h 195"/>
                  <a:gd name="T22" fmla="*/ 81 w 99"/>
                  <a:gd name="T23" fmla="*/ 91 h 195"/>
                  <a:gd name="T24" fmla="*/ 86 w 99"/>
                  <a:gd name="T25" fmla="*/ 70 h 195"/>
                  <a:gd name="T26" fmla="*/ 89 w 99"/>
                  <a:gd name="T27" fmla="*/ 64 h 195"/>
                  <a:gd name="T28" fmla="*/ 86 w 99"/>
                  <a:gd name="T29" fmla="*/ 54 h 195"/>
                  <a:gd name="T30" fmla="*/ 89 w 99"/>
                  <a:gd name="T31" fmla="*/ 54 h 195"/>
                  <a:gd name="T32" fmla="*/ 95 w 99"/>
                  <a:gd name="T33" fmla="*/ 54 h 195"/>
                  <a:gd name="T34" fmla="*/ 95 w 99"/>
                  <a:gd name="T35" fmla="*/ 43 h 195"/>
                  <a:gd name="T36" fmla="*/ 89 w 99"/>
                  <a:gd name="T37" fmla="*/ 11 h 195"/>
                  <a:gd name="T38" fmla="*/ 86 w 99"/>
                  <a:gd name="T39" fmla="*/ 10 h 195"/>
                  <a:gd name="T40" fmla="*/ 86 w 99"/>
                  <a:gd name="T41" fmla="*/ 3 h 195"/>
                  <a:gd name="T42" fmla="*/ 84 w 99"/>
                  <a:gd name="T43" fmla="*/ 0 h 195"/>
                  <a:gd name="T44" fmla="*/ 78 w 99"/>
                  <a:gd name="T45" fmla="*/ 6 h 195"/>
                  <a:gd name="T46" fmla="*/ 78 w 99"/>
                  <a:gd name="T47" fmla="*/ 16 h 195"/>
                  <a:gd name="T48" fmla="*/ 73 w 99"/>
                  <a:gd name="T49" fmla="*/ 22 h 195"/>
                  <a:gd name="T50" fmla="*/ 67 w 99"/>
                  <a:gd name="T51" fmla="*/ 22 h 195"/>
                  <a:gd name="T52" fmla="*/ 67 w 99"/>
                  <a:gd name="T53" fmla="*/ 29 h 195"/>
                  <a:gd name="T54" fmla="*/ 65 w 99"/>
                  <a:gd name="T55" fmla="*/ 30 h 195"/>
                  <a:gd name="T56" fmla="*/ 65 w 99"/>
                  <a:gd name="T57" fmla="*/ 38 h 195"/>
                  <a:gd name="T58" fmla="*/ 65 w 99"/>
                  <a:gd name="T59" fmla="*/ 38 h 195"/>
                  <a:gd name="T60" fmla="*/ 57 w 99"/>
                  <a:gd name="T61" fmla="*/ 45 h 195"/>
                  <a:gd name="T62" fmla="*/ 57 w 99"/>
                  <a:gd name="T63" fmla="*/ 40 h 195"/>
                  <a:gd name="T64" fmla="*/ 54 w 99"/>
                  <a:gd name="T65" fmla="*/ 46 h 195"/>
                  <a:gd name="T66" fmla="*/ 54 w 99"/>
                  <a:gd name="T67" fmla="*/ 51 h 195"/>
                  <a:gd name="T68" fmla="*/ 51 w 99"/>
                  <a:gd name="T69" fmla="*/ 48 h 195"/>
                  <a:gd name="T70" fmla="*/ 46 w 99"/>
                  <a:gd name="T71" fmla="*/ 52 h 195"/>
                  <a:gd name="T72" fmla="*/ 46 w 99"/>
                  <a:gd name="T73" fmla="*/ 57 h 195"/>
                  <a:gd name="T74" fmla="*/ 43 w 99"/>
                  <a:gd name="T75" fmla="*/ 54 h 195"/>
                  <a:gd name="T76" fmla="*/ 38 w 99"/>
                  <a:gd name="T77" fmla="*/ 54 h 195"/>
                  <a:gd name="T78" fmla="*/ 35 w 99"/>
                  <a:gd name="T79" fmla="*/ 57 h 195"/>
                  <a:gd name="T80" fmla="*/ 30 w 99"/>
                  <a:gd name="T81" fmla="*/ 57 h 195"/>
                  <a:gd name="T82" fmla="*/ 19 w 99"/>
                  <a:gd name="T83" fmla="*/ 60 h 195"/>
                  <a:gd name="T84" fmla="*/ 19 w 99"/>
                  <a:gd name="T85" fmla="*/ 72 h 195"/>
                  <a:gd name="T86" fmla="*/ 14 w 99"/>
                  <a:gd name="T87" fmla="*/ 83 h 195"/>
                  <a:gd name="T88" fmla="*/ 16 w 99"/>
                  <a:gd name="T89" fmla="*/ 99 h 195"/>
                  <a:gd name="T90" fmla="*/ 19 w 99"/>
                  <a:gd name="T91" fmla="*/ 108 h 195"/>
                  <a:gd name="T92" fmla="*/ 18 w 99"/>
                  <a:gd name="T93" fmla="*/ 116 h 195"/>
                  <a:gd name="T94" fmla="*/ 10 w 99"/>
                  <a:gd name="T95" fmla="*/ 130 h 195"/>
                  <a:gd name="T96" fmla="*/ 3 w 99"/>
                  <a:gd name="T97" fmla="*/ 138 h 195"/>
                  <a:gd name="T98" fmla="*/ 0 w 99"/>
                  <a:gd name="T99" fmla="*/ 145 h 195"/>
                  <a:gd name="T100" fmla="*/ 0 w 99"/>
                  <a:gd name="T101" fmla="*/ 14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9" h="195">
                    <a:moveTo>
                      <a:pt x="0" y="145"/>
                    </a:moveTo>
                    <a:lnTo>
                      <a:pt x="0" y="145"/>
                    </a:lnTo>
                    <a:lnTo>
                      <a:pt x="0" y="151"/>
                    </a:lnTo>
                    <a:lnTo>
                      <a:pt x="2" y="154"/>
                    </a:lnTo>
                    <a:lnTo>
                      <a:pt x="3" y="157"/>
                    </a:lnTo>
                    <a:lnTo>
                      <a:pt x="3" y="157"/>
                    </a:lnTo>
                    <a:lnTo>
                      <a:pt x="3" y="160"/>
                    </a:lnTo>
                    <a:lnTo>
                      <a:pt x="5" y="164"/>
                    </a:lnTo>
                    <a:lnTo>
                      <a:pt x="5" y="164"/>
                    </a:lnTo>
                    <a:lnTo>
                      <a:pt x="6" y="165"/>
                    </a:lnTo>
                    <a:lnTo>
                      <a:pt x="5" y="167"/>
                    </a:lnTo>
                    <a:lnTo>
                      <a:pt x="5" y="167"/>
                    </a:lnTo>
                    <a:lnTo>
                      <a:pt x="5" y="170"/>
                    </a:lnTo>
                    <a:lnTo>
                      <a:pt x="3" y="173"/>
                    </a:lnTo>
                    <a:lnTo>
                      <a:pt x="5" y="179"/>
                    </a:lnTo>
                    <a:lnTo>
                      <a:pt x="5" y="179"/>
                    </a:lnTo>
                    <a:lnTo>
                      <a:pt x="8" y="186"/>
                    </a:lnTo>
                    <a:lnTo>
                      <a:pt x="8" y="186"/>
                    </a:lnTo>
                    <a:lnTo>
                      <a:pt x="10" y="189"/>
                    </a:lnTo>
                    <a:lnTo>
                      <a:pt x="13" y="191"/>
                    </a:lnTo>
                    <a:lnTo>
                      <a:pt x="13" y="191"/>
                    </a:lnTo>
                    <a:lnTo>
                      <a:pt x="11" y="191"/>
                    </a:lnTo>
                    <a:lnTo>
                      <a:pt x="13" y="191"/>
                    </a:lnTo>
                    <a:lnTo>
                      <a:pt x="13" y="191"/>
                    </a:lnTo>
                    <a:lnTo>
                      <a:pt x="18" y="192"/>
                    </a:lnTo>
                    <a:lnTo>
                      <a:pt x="18" y="192"/>
                    </a:lnTo>
                    <a:lnTo>
                      <a:pt x="19" y="194"/>
                    </a:lnTo>
                    <a:lnTo>
                      <a:pt x="22" y="195"/>
                    </a:lnTo>
                    <a:lnTo>
                      <a:pt x="22" y="195"/>
                    </a:lnTo>
                    <a:lnTo>
                      <a:pt x="25" y="195"/>
                    </a:lnTo>
                    <a:lnTo>
                      <a:pt x="30" y="194"/>
                    </a:lnTo>
                    <a:lnTo>
                      <a:pt x="37" y="189"/>
                    </a:lnTo>
                    <a:lnTo>
                      <a:pt x="37" y="189"/>
                    </a:lnTo>
                    <a:lnTo>
                      <a:pt x="41" y="189"/>
                    </a:lnTo>
                    <a:lnTo>
                      <a:pt x="41" y="189"/>
                    </a:lnTo>
                    <a:lnTo>
                      <a:pt x="45" y="189"/>
                    </a:lnTo>
                    <a:lnTo>
                      <a:pt x="45" y="189"/>
                    </a:lnTo>
                    <a:lnTo>
                      <a:pt x="46" y="186"/>
                    </a:lnTo>
                    <a:lnTo>
                      <a:pt x="48" y="186"/>
                    </a:lnTo>
                    <a:lnTo>
                      <a:pt x="48" y="186"/>
                    </a:lnTo>
                    <a:lnTo>
                      <a:pt x="51" y="179"/>
                    </a:lnTo>
                    <a:lnTo>
                      <a:pt x="51" y="179"/>
                    </a:lnTo>
                    <a:lnTo>
                      <a:pt x="54" y="172"/>
                    </a:lnTo>
                    <a:lnTo>
                      <a:pt x="54" y="172"/>
                    </a:lnTo>
                    <a:lnTo>
                      <a:pt x="57" y="157"/>
                    </a:lnTo>
                    <a:lnTo>
                      <a:pt x="57" y="157"/>
                    </a:lnTo>
                    <a:lnTo>
                      <a:pt x="64" y="137"/>
                    </a:lnTo>
                    <a:lnTo>
                      <a:pt x="64" y="137"/>
                    </a:lnTo>
                    <a:lnTo>
                      <a:pt x="67" y="129"/>
                    </a:lnTo>
                    <a:lnTo>
                      <a:pt x="70" y="119"/>
                    </a:lnTo>
                    <a:lnTo>
                      <a:pt x="70" y="119"/>
                    </a:lnTo>
                    <a:lnTo>
                      <a:pt x="72" y="119"/>
                    </a:lnTo>
                    <a:lnTo>
                      <a:pt x="72" y="116"/>
                    </a:lnTo>
                    <a:lnTo>
                      <a:pt x="72" y="116"/>
                    </a:lnTo>
                    <a:lnTo>
                      <a:pt x="73" y="113"/>
                    </a:lnTo>
                    <a:lnTo>
                      <a:pt x="73" y="110"/>
                    </a:lnTo>
                    <a:lnTo>
                      <a:pt x="73" y="110"/>
                    </a:lnTo>
                    <a:lnTo>
                      <a:pt x="78" y="100"/>
                    </a:lnTo>
                    <a:lnTo>
                      <a:pt x="78" y="100"/>
                    </a:lnTo>
                    <a:lnTo>
                      <a:pt x="81" y="91"/>
                    </a:lnTo>
                    <a:lnTo>
                      <a:pt x="83" y="84"/>
                    </a:lnTo>
                    <a:lnTo>
                      <a:pt x="83" y="84"/>
                    </a:lnTo>
                    <a:lnTo>
                      <a:pt x="83" y="76"/>
                    </a:lnTo>
                    <a:lnTo>
                      <a:pt x="84" y="73"/>
                    </a:lnTo>
                    <a:lnTo>
                      <a:pt x="86" y="70"/>
                    </a:lnTo>
                    <a:lnTo>
                      <a:pt x="86" y="70"/>
                    </a:lnTo>
                    <a:lnTo>
                      <a:pt x="86" y="68"/>
                    </a:lnTo>
                    <a:lnTo>
                      <a:pt x="89" y="65"/>
                    </a:lnTo>
                    <a:lnTo>
                      <a:pt x="89" y="65"/>
                    </a:lnTo>
                    <a:lnTo>
                      <a:pt x="89" y="64"/>
                    </a:lnTo>
                    <a:lnTo>
                      <a:pt x="89" y="64"/>
                    </a:lnTo>
                    <a:lnTo>
                      <a:pt x="86" y="60"/>
                    </a:lnTo>
                    <a:lnTo>
                      <a:pt x="86" y="60"/>
                    </a:lnTo>
                    <a:lnTo>
                      <a:pt x="86" y="60"/>
                    </a:lnTo>
                    <a:lnTo>
                      <a:pt x="86" y="54"/>
                    </a:lnTo>
                    <a:lnTo>
                      <a:pt x="86" y="51"/>
                    </a:lnTo>
                    <a:lnTo>
                      <a:pt x="89" y="51"/>
                    </a:lnTo>
                    <a:lnTo>
                      <a:pt x="89" y="51"/>
                    </a:lnTo>
                    <a:lnTo>
                      <a:pt x="89" y="52"/>
                    </a:lnTo>
                    <a:lnTo>
                      <a:pt x="89" y="54"/>
                    </a:lnTo>
                    <a:lnTo>
                      <a:pt x="92" y="54"/>
                    </a:lnTo>
                    <a:lnTo>
                      <a:pt x="92" y="57"/>
                    </a:lnTo>
                    <a:lnTo>
                      <a:pt x="92" y="57"/>
                    </a:lnTo>
                    <a:lnTo>
                      <a:pt x="95" y="57"/>
                    </a:lnTo>
                    <a:lnTo>
                      <a:pt x="95" y="54"/>
                    </a:lnTo>
                    <a:lnTo>
                      <a:pt x="99" y="49"/>
                    </a:lnTo>
                    <a:lnTo>
                      <a:pt x="99" y="49"/>
                    </a:lnTo>
                    <a:lnTo>
                      <a:pt x="99" y="46"/>
                    </a:lnTo>
                    <a:lnTo>
                      <a:pt x="95" y="43"/>
                    </a:lnTo>
                    <a:lnTo>
                      <a:pt x="95" y="43"/>
                    </a:lnTo>
                    <a:lnTo>
                      <a:pt x="95" y="38"/>
                    </a:lnTo>
                    <a:lnTo>
                      <a:pt x="95" y="32"/>
                    </a:lnTo>
                    <a:lnTo>
                      <a:pt x="95" y="32"/>
                    </a:lnTo>
                    <a:lnTo>
                      <a:pt x="92" y="22"/>
                    </a:lnTo>
                    <a:lnTo>
                      <a:pt x="89" y="11"/>
                    </a:lnTo>
                    <a:lnTo>
                      <a:pt x="89" y="11"/>
                    </a:lnTo>
                    <a:lnTo>
                      <a:pt x="89" y="11"/>
                    </a:lnTo>
                    <a:lnTo>
                      <a:pt x="89" y="11"/>
                    </a:lnTo>
                    <a:lnTo>
                      <a:pt x="86" y="10"/>
                    </a:lnTo>
                    <a:lnTo>
                      <a:pt x="86" y="10"/>
                    </a:lnTo>
                    <a:lnTo>
                      <a:pt x="86" y="8"/>
                    </a:lnTo>
                    <a:lnTo>
                      <a:pt x="86" y="8"/>
                    </a:lnTo>
                    <a:lnTo>
                      <a:pt x="86" y="8"/>
                    </a:lnTo>
                    <a:lnTo>
                      <a:pt x="86" y="5"/>
                    </a:lnTo>
                    <a:lnTo>
                      <a:pt x="86" y="3"/>
                    </a:lnTo>
                    <a:lnTo>
                      <a:pt x="84" y="3"/>
                    </a:lnTo>
                    <a:lnTo>
                      <a:pt x="84" y="2"/>
                    </a:lnTo>
                    <a:lnTo>
                      <a:pt x="84" y="2"/>
                    </a:lnTo>
                    <a:lnTo>
                      <a:pt x="86" y="2"/>
                    </a:lnTo>
                    <a:lnTo>
                      <a:pt x="84" y="0"/>
                    </a:lnTo>
                    <a:lnTo>
                      <a:pt x="83" y="0"/>
                    </a:lnTo>
                    <a:lnTo>
                      <a:pt x="83" y="2"/>
                    </a:lnTo>
                    <a:lnTo>
                      <a:pt x="83" y="2"/>
                    </a:lnTo>
                    <a:lnTo>
                      <a:pt x="81" y="5"/>
                    </a:lnTo>
                    <a:lnTo>
                      <a:pt x="78" y="6"/>
                    </a:lnTo>
                    <a:lnTo>
                      <a:pt x="78" y="6"/>
                    </a:lnTo>
                    <a:lnTo>
                      <a:pt x="79" y="8"/>
                    </a:lnTo>
                    <a:lnTo>
                      <a:pt x="79" y="11"/>
                    </a:lnTo>
                    <a:lnTo>
                      <a:pt x="78" y="16"/>
                    </a:lnTo>
                    <a:lnTo>
                      <a:pt x="78" y="16"/>
                    </a:lnTo>
                    <a:lnTo>
                      <a:pt x="76" y="19"/>
                    </a:lnTo>
                    <a:lnTo>
                      <a:pt x="75" y="19"/>
                    </a:lnTo>
                    <a:lnTo>
                      <a:pt x="73" y="19"/>
                    </a:lnTo>
                    <a:lnTo>
                      <a:pt x="73" y="19"/>
                    </a:lnTo>
                    <a:lnTo>
                      <a:pt x="73" y="22"/>
                    </a:lnTo>
                    <a:lnTo>
                      <a:pt x="72" y="22"/>
                    </a:lnTo>
                    <a:lnTo>
                      <a:pt x="72" y="22"/>
                    </a:lnTo>
                    <a:lnTo>
                      <a:pt x="70" y="25"/>
                    </a:lnTo>
                    <a:lnTo>
                      <a:pt x="70" y="25"/>
                    </a:lnTo>
                    <a:lnTo>
                      <a:pt x="67" y="22"/>
                    </a:lnTo>
                    <a:lnTo>
                      <a:pt x="65" y="22"/>
                    </a:lnTo>
                    <a:lnTo>
                      <a:pt x="65" y="25"/>
                    </a:lnTo>
                    <a:lnTo>
                      <a:pt x="65" y="25"/>
                    </a:lnTo>
                    <a:lnTo>
                      <a:pt x="65" y="25"/>
                    </a:lnTo>
                    <a:lnTo>
                      <a:pt x="67" y="29"/>
                    </a:lnTo>
                    <a:lnTo>
                      <a:pt x="67" y="29"/>
                    </a:lnTo>
                    <a:lnTo>
                      <a:pt x="67" y="32"/>
                    </a:lnTo>
                    <a:lnTo>
                      <a:pt x="65" y="32"/>
                    </a:lnTo>
                    <a:lnTo>
                      <a:pt x="65" y="30"/>
                    </a:lnTo>
                    <a:lnTo>
                      <a:pt x="65" y="30"/>
                    </a:lnTo>
                    <a:lnTo>
                      <a:pt x="64" y="33"/>
                    </a:lnTo>
                    <a:lnTo>
                      <a:pt x="64" y="33"/>
                    </a:lnTo>
                    <a:lnTo>
                      <a:pt x="64" y="37"/>
                    </a:lnTo>
                    <a:lnTo>
                      <a:pt x="64" y="37"/>
                    </a:lnTo>
                    <a:lnTo>
                      <a:pt x="65" y="38"/>
                    </a:lnTo>
                    <a:lnTo>
                      <a:pt x="65" y="38"/>
                    </a:lnTo>
                    <a:lnTo>
                      <a:pt x="65" y="40"/>
                    </a:lnTo>
                    <a:lnTo>
                      <a:pt x="65" y="40"/>
                    </a:lnTo>
                    <a:lnTo>
                      <a:pt x="65" y="38"/>
                    </a:lnTo>
                    <a:lnTo>
                      <a:pt x="65" y="38"/>
                    </a:lnTo>
                    <a:lnTo>
                      <a:pt x="64" y="38"/>
                    </a:lnTo>
                    <a:lnTo>
                      <a:pt x="64" y="38"/>
                    </a:lnTo>
                    <a:lnTo>
                      <a:pt x="60" y="41"/>
                    </a:lnTo>
                    <a:lnTo>
                      <a:pt x="60" y="43"/>
                    </a:lnTo>
                    <a:lnTo>
                      <a:pt x="57" y="45"/>
                    </a:lnTo>
                    <a:lnTo>
                      <a:pt x="57" y="45"/>
                    </a:lnTo>
                    <a:lnTo>
                      <a:pt x="60" y="41"/>
                    </a:lnTo>
                    <a:lnTo>
                      <a:pt x="60" y="40"/>
                    </a:lnTo>
                    <a:lnTo>
                      <a:pt x="60" y="40"/>
                    </a:lnTo>
                    <a:lnTo>
                      <a:pt x="57" y="40"/>
                    </a:lnTo>
                    <a:lnTo>
                      <a:pt x="57" y="43"/>
                    </a:lnTo>
                    <a:lnTo>
                      <a:pt x="57" y="43"/>
                    </a:lnTo>
                    <a:lnTo>
                      <a:pt x="54" y="45"/>
                    </a:lnTo>
                    <a:lnTo>
                      <a:pt x="54" y="46"/>
                    </a:lnTo>
                    <a:lnTo>
                      <a:pt x="54" y="46"/>
                    </a:lnTo>
                    <a:lnTo>
                      <a:pt x="54" y="48"/>
                    </a:lnTo>
                    <a:lnTo>
                      <a:pt x="54" y="49"/>
                    </a:lnTo>
                    <a:lnTo>
                      <a:pt x="54" y="49"/>
                    </a:lnTo>
                    <a:lnTo>
                      <a:pt x="54" y="51"/>
                    </a:lnTo>
                    <a:lnTo>
                      <a:pt x="54" y="51"/>
                    </a:lnTo>
                    <a:lnTo>
                      <a:pt x="51" y="52"/>
                    </a:lnTo>
                    <a:lnTo>
                      <a:pt x="51" y="52"/>
                    </a:lnTo>
                    <a:lnTo>
                      <a:pt x="54" y="49"/>
                    </a:lnTo>
                    <a:lnTo>
                      <a:pt x="54" y="48"/>
                    </a:lnTo>
                    <a:lnTo>
                      <a:pt x="51" y="48"/>
                    </a:lnTo>
                    <a:lnTo>
                      <a:pt x="51" y="48"/>
                    </a:lnTo>
                    <a:lnTo>
                      <a:pt x="49" y="49"/>
                    </a:lnTo>
                    <a:lnTo>
                      <a:pt x="48" y="51"/>
                    </a:lnTo>
                    <a:lnTo>
                      <a:pt x="48" y="51"/>
                    </a:lnTo>
                    <a:lnTo>
                      <a:pt x="46" y="52"/>
                    </a:lnTo>
                    <a:lnTo>
                      <a:pt x="45" y="54"/>
                    </a:lnTo>
                    <a:lnTo>
                      <a:pt x="45" y="54"/>
                    </a:lnTo>
                    <a:lnTo>
                      <a:pt x="45" y="54"/>
                    </a:lnTo>
                    <a:lnTo>
                      <a:pt x="45" y="54"/>
                    </a:lnTo>
                    <a:lnTo>
                      <a:pt x="46" y="57"/>
                    </a:lnTo>
                    <a:lnTo>
                      <a:pt x="46" y="57"/>
                    </a:lnTo>
                    <a:lnTo>
                      <a:pt x="45" y="57"/>
                    </a:lnTo>
                    <a:lnTo>
                      <a:pt x="43" y="54"/>
                    </a:lnTo>
                    <a:lnTo>
                      <a:pt x="43" y="54"/>
                    </a:lnTo>
                    <a:lnTo>
                      <a:pt x="43" y="54"/>
                    </a:lnTo>
                    <a:lnTo>
                      <a:pt x="41" y="54"/>
                    </a:lnTo>
                    <a:lnTo>
                      <a:pt x="41" y="54"/>
                    </a:lnTo>
                    <a:lnTo>
                      <a:pt x="40" y="54"/>
                    </a:lnTo>
                    <a:lnTo>
                      <a:pt x="40" y="54"/>
                    </a:lnTo>
                    <a:lnTo>
                      <a:pt x="38" y="54"/>
                    </a:lnTo>
                    <a:lnTo>
                      <a:pt x="37" y="54"/>
                    </a:lnTo>
                    <a:lnTo>
                      <a:pt x="37" y="54"/>
                    </a:lnTo>
                    <a:lnTo>
                      <a:pt x="35" y="57"/>
                    </a:lnTo>
                    <a:lnTo>
                      <a:pt x="35" y="57"/>
                    </a:lnTo>
                    <a:lnTo>
                      <a:pt x="35" y="57"/>
                    </a:lnTo>
                    <a:lnTo>
                      <a:pt x="33" y="57"/>
                    </a:lnTo>
                    <a:lnTo>
                      <a:pt x="33" y="57"/>
                    </a:lnTo>
                    <a:lnTo>
                      <a:pt x="32" y="60"/>
                    </a:lnTo>
                    <a:lnTo>
                      <a:pt x="32" y="60"/>
                    </a:lnTo>
                    <a:lnTo>
                      <a:pt x="30" y="57"/>
                    </a:lnTo>
                    <a:lnTo>
                      <a:pt x="30" y="57"/>
                    </a:lnTo>
                    <a:lnTo>
                      <a:pt x="25" y="60"/>
                    </a:lnTo>
                    <a:lnTo>
                      <a:pt x="25" y="60"/>
                    </a:lnTo>
                    <a:lnTo>
                      <a:pt x="22" y="60"/>
                    </a:lnTo>
                    <a:lnTo>
                      <a:pt x="19" y="60"/>
                    </a:lnTo>
                    <a:lnTo>
                      <a:pt x="19" y="60"/>
                    </a:lnTo>
                    <a:lnTo>
                      <a:pt x="19" y="65"/>
                    </a:lnTo>
                    <a:lnTo>
                      <a:pt x="19" y="65"/>
                    </a:lnTo>
                    <a:lnTo>
                      <a:pt x="19" y="68"/>
                    </a:lnTo>
                    <a:lnTo>
                      <a:pt x="19" y="72"/>
                    </a:lnTo>
                    <a:lnTo>
                      <a:pt x="19" y="72"/>
                    </a:lnTo>
                    <a:lnTo>
                      <a:pt x="14" y="76"/>
                    </a:lnTo>
                    <a:lnTo>
                      <a:pt x="13" y="79"/>
                    </a:lnTo>
                    <a:lnTo>
                      <a:pt x="14" y="83"/>
                    </a:lnTo>
                    <a:lnTo>
                      <a:pt x="14" y="83"/>
                    </a:lnTo>
                    <a:lnTo>
                      <a:pt x="14" y="87"/>
                    </a:lnTo>
                    <a:lnTo>
                      <a:pt x="14" y="91"/>
                    </a:lnTo>
                    <a:lnTo>
                      <a:pt x="14" y="91"/>
                    </a:lnTo>
                    <a:lnTo>
                      <a:pt x="16" y="94"/>
                    </a:lnTo>
                    <a:lnTo>
                      <a:pt x="16" y="99"/>
                    </a:lnTo>
                    <a:lnTo>
                      <a:pt x="16" y="99"/>
                    </a:lnTo>
                    <a:lnTo>
                      <a:pt x="16" y="102"/>
                    </a:lnTo>
                    <a:lnTo>
                      <a:pt x="18" y="105"/>
                    </a:lnTo>
                    <a:lnTo>
                      <a:pt x="18" y="105"/>
                    </a:lnTo>
                    <a:lnTo>
                      <a:pt x="19" y="108"/>
                    </a:lnTo>
                    <a:lnTo>
                      <a:pt x="18" y="110"/>
                    </a:lnTo>
                    <a:lnTo>
                      <a:pt x="18" y="110"/>
                    </a:lnTo>
                    <a:lnTo>
                      <a:pt x="18" y="113"/>
                    </a:lnTo>
                    <a:lnTo>
                      <a:pt x="18" y="116"/>
                    </a:lnTo>
                    <a:lnTo>
                      <a:pt x="18" y="116"/>
                    </a:lnTo>
                    <a:lnTo>
                      <a:pt x="14" y="121"/>
                    </a:lnTo>
                    <a:lnTo>
                      <a:pt x="14" y="121"/>
                    </a:lnTo>
                    <a:lnTo>
                      <a:pt x="10" y="127"/>
                    </a:lnTo>
                    <a:lnTo>
                      <a:pt x="10" y="127"/>
                    </a:lnTo>
                    <a:lnTo>
                      <a:pt x="10" y="130"/>
                    </a:lnTo>
                    <a:lnTo>
                      <a:pt x="10" y="132"/>
                    </a:lnTo>
                    <a:lnTo>
                      <a:pt x="8" y="133"/>
                    </a:lnTo>
                    <a:lnTo>
                      <a:pt x="8" y="133"/>
                    </a:lnTo>
                    <a:lnTo>
                      <a:pt x="5" y="135"/>
                    </a:lnTo>
                    <a:lnTo>
                      <a:pt x="3" y="138"/>
                    </a:lnTo>
                    <a:lnTo>
                      <a:pt x="3" y="138"/>
                    </a:lnTo>
                    <a:lnTo>
                      <a:pt x="3" y="141"/>
                    </a:lnTo>
                    <a:lnTo>
                      <a:pt x="0" y="145"/>
                    </a:lnTo>
                    <a:lnTo>
                      <a:pt x="0" y="145"/>
                    </a:lnTo>
                    <a:lnTo>
                      <a:pt x="0" y="145"/>
                    </a:lnTo>
                    <a:lnTo>
                      <a:pt x="0" y="145"/>
                    </a:lnTo>
                    <a:lnTo>
                      <a:pt x="0" y="145"/>
                    </a:lnTo>
                    <a:lnTo>
                      <a:pt x="0" y="145"/>
                    </a:lnTo>
                    <a:lnTo>
                      <a:pt x="0" y="145"/>
                    </a:lnTo>
                    <a:lnTo>
                      <a:pt x="0" y="145"/>
                    </a:lnTo>
                    <a:lnTo>
                      <a:pt x="0" y="145"/>
                    </a:lnTo>
                    <a:lnTo>
                      <a:pt x="0" y="145"/>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57" name="Freeform 339">
                <a:extLst>
                  <a:ext uri="{FF2B5EF4-FFF2-40B4-BE49-F238E27FC236}">
                    <a16:creationId xmlns:a16="http://schemas.microsoft.com/office/drawing/2014/main" id="{F9736E87-EF33-4BF6-0D5C-5462F025FE86}"/>
                  </a:ext>
                </a:extLst>
              </p:cNvPr>
              <p:cNvSpPr>
                <a:spLocks/>
              </p:cNvSpPr>
              <p:nvPr/>
            </p:nvSpPr>
            <p:spPr bwMode="auto">
              <a:xfrm>
                <a:off x="6114605" y="4173152"/>
                <a:ext cx="29161" cy="40375"/>
              </a:xfrm>
              <a:custGeom>
                <a:avLst/>
                <a:gdLst>
                  <a:gd name="T0" fmla="*/ 11 w 13"/>
                  <a:gd name="T1" fmla="*/ 2 h 18"/>
                  <a:gd name="T2" fmla="*/ 11 w 13"/>
                  <a:gd name="T3" fmla="*/ 2 h 18"/>
                  <a:gd name="T4" fmla="*/ 10 w 13"/>
                  <a:gd name="T5" fmla="*/ 0 h 18"/>
                  <a:gd name="T6" fmla="*/ 8 w 13"/>
                  <a:gd name="T7" fmla="*/ 0 h 18"/>
                  <a:gd name="T8" fmla="*/ 7 w 13"/>
                  <a:gd name="T9" fmla="*/ 0 h 18"/>
                  <a:gd name="T10" fmla="*/ 7 w 13"/>
                  <a:gd name="T11" fmla="*/ 2 h 18"/>
                  <a:gd name="T12" fmla="*/ 3 w 13"/>
                  <a:gd name="T13" fmla="*/ 5 h 18"/>
                  <a:gd name="T14" fmla="*/ 0 w 13"/>
                  <a:gd name="T15" fmla="*/ 8 h 18"/>
                  <a:gd name="T16" fmla="*/ 0 w 13"/>
                  <a:gd name="T17" fmla="*/ 8 h 18"/>
                  <a:gd name="T18" fmla="*/ 0 w 13"/>
                  <a:gd name="T19" fmla="*/ 11 h 18"/>
                  <a:gd name="T20" fmla="*/ 2 w 13"/>
                  <a:gd name="T21" fmla="*/ 11 h 18"/>
                  <a:gd name="T22" fmla="*/ 2 w 13"/>
                  <a:gd name="T23" fmla="*/ 14 h 18"/>
                  <a:gd name="T24" fmla="*/ 2 w 13"/>
                  <a:gd name="T25" fmla="*/ 16 h 18"/>
                  <a:gd name="T26" fmla="*/ 2 w 13"/>
                  <a:gd name="T27" fmla="*/ 18 h 18"/>
                  <a:gd name="T28" fmla="*/ 3 w 13"/>
                  <a:gd name="T29" fmla="*/ 18 h 18"/>
                  <a:gd name="T30" fmla="*/ 3 w 13"/>
                  <a:gd name="T31" fmla="*/ 16 h 18"/>
                  <a:gd name="T32" fmla="*/ 7 w 13"/>
                  <a:gd name="T33" fmla="*/ 14 h 18"/>
                  <a:gd name="T34" fmla="*/ 7 w 13"/>
                  <a:gd name="T35" fmla="*/ 14 h 18"/>
                  <a:gd name="T36" fmla="*/ 7 w 13"/>
                  <a:gd name="T37" fmla="*/ 11 h 18"/>
                  <a:gd name="T38" fmla="*/ 3 w 13"/>
                  <a:gd name="T39" fmla="*/ 8 h 18"/>
                  <a:gd name="T40" fmla="*/ 7 w 13"/>
                  <a:gd name="T41" fmla="*/ 8 h 18"/>
                  <a:gd name="T42" fmla="*/ 11 w 13"/>
                  <a:gd name="T43" fmla="*/ 3 h 18"/>
                  <a:gd name="T44" fmla="*/ 11 w 13"/>
                  <a:gd name="T45" fmla="*/ 3 h 18"/>
                  <a:gd name="T46" fmla="*/ 11 w 13"/>
                  <a:gd name="T47" fmla="*/ 3 h 18"/>
                  <a:gd name="T48" fmla="*/ 13 w 13"/>
                  <a:gd name="T49" fmla="*/ 2 h 18"/>
                  <a:gd name="T50" fmla="*/ 11 w 13"/>
                  <a:gd name="T51" fmla="*/ 2 h 18"/>
                  <a:gd name="T52" fmla="*/ 11 w 13"/>
                  <a:gd name="T53" fmla="*/ 2 h 18"/>
                  <a:gd name="T54" fmla="*/ 11 w 13"/>
                  <a:gd name="T55" fmla="*/ 2 h 18"/>
                  <a:gd name="T56" fmla="*/ 11 w 13"/>
                  <a:gd name="T57" fmla="*/ 2 h 18"/>
                  <a:gd name="T58" fmla="*/ 11 w 13"/>
                  <a:gd name="T59" fmla="*/ 2 h 18"/>
                  <a:gd name="T60" fmla="*/ 11 w 13"/>
                  <a:gd name="T61" fmla="*/ 2 h 18"/>
                  <a:gd name="T62" fmla="*/ 11 w 13"/>
                  <a:gd name="T63" fmla="*/ 2 h 18"/>
                  <a:gd name="T64" fmla="*/ 11 w 13"/>
                  <a:gd name="T65" fmla="*/ 2 h 18"/>
                  <a:gd name="T66" fmla="*/ 11 w 13"/>
                  <a:gd name="T6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 h="18">
                    <a:moveTo>
                      <a:pt x="11" y="2"/>
                    </a:moveTo>
                    <a:lnTo>
                      <a:pt x="11" y="2"/>
                    </a:lnTo>
                    <a:lnTo>
                      <a:pt x="10" y="0"/>
                    </a:lnTo>
                    <a:lnTo>
                      <a:pt x="8" y="0"/>
                    </a:lnTo>
                    <a:lnTo>
                      <a:pt x="7" y="0"/>
                    </a:lnTo>
                    <a:lnTo>
                      <a:pt x="7" y="2"/>
                    </a:lnTo>
                    <a:lnTo>
                      <a:pt x="3" y="5"/>
                    </a:lnTo>
                    <a:lnTo>
                      <a:pt x="0" y="8"/>
                    </a:lnTo>
                    <a:lnTo>
                      <a:pt x="0" y="8"/>
                    </a:lnTo>
                    <a:lnTo>
                      <a:pt x="0" y="11"/>
                    </a:lnTo>
                    <a:lnTo>
                      <a:pt x="2" y="11"/>
                    </a:lnTo>
                    <a:lnTo>
                      <a:pt x="2" y="14"/>
                    </a:lnTo>
                    <a:lnTo>
                      <a:pt x="2" y="16"/>
                    </a:lnTo>
                    <a:lnTo>
                      <a:pt x="2" y="18"/>
                    </a:lnTo>
                    <a:lnTo>
                      <a:pt x="3" y="18"/>
                    </a:lnTo>
                    <a:lnTo>
                      <a:pt x="3" y="16"/>
                    </a:lnTo>
                    <a:lnTo>
                      <a:pt x="7" y="14"/>
                    </a:lnTo>
                    <a:lnTo>
                      <a:pt x="7" y="14"/>
                    </a:lnTo>
                    <a:lnTo>
                      <a:pt x="7" y="11"/>
                    </a:lnTo>
                    <a:lnTo>
                      <a:pt x="3" y="8"/>
                    </a:lnTo>
                    <a:lnTo>
                      <a:pt x="7" y="8"/>
                    </a:lnTo>
                    <a:lnTo>
                      <a:pt x="11" y="3"/>
                    </a:lnTo>
                    <a:lnTo>
                      <a:pt x="11" y="3"/>
                    </a:lnTo>
                    <a:lnTo>
                      <a:pt x="11" y="3"/>
                    </a:lnTo>
                    <a:lnTo>
                      <a:pt x="13" y="2"/>
                    </a:lnTo>
                    <a:lnTo>
                      <a:pt x="11" y="2"/>
                    </a:lnTo>
                    <a:lnTo>
                      <a:pt x="11" y="2"/>
                    </a:lnTo>
                    <a:lnTo>
                      <a:pt x="11" y="2"/>
                    </a:lnTo>
                    <a:lnTo>
                      <a:pt x="11" y="2"/>
                    </a:lnTo>
                    <a:lnTo>
                      <a:pt x="11" y="2"/>
                    </a:lnTo>
                    <a:lnTo>
                      <a:pt x="11" y="2"/>
                    </a:lnTo>
                    <a:lnTo>
                      <a:pt x="11" y="2"/>
                    </a:lnTo>
                    <a:lnTo>
                      <a:pt x="11" y="2"/>
                    </a:lnTo>
                    <a:lnTo>
                      <a:pt x="11" y="2"/>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58" name="Freeform 341">
                <a:extLst>
                  <a:ext uri="{FF2B5EF4-FFF2-40B4-BE49-F238E27FC236}">
                    <a16:creationId xmlns:a16="http://schemas.microsoft.com/office/drawing/2014/main" id="{CB2CDC5D-BA79-1F91-7CA7-258B1FD64CDA}"/>
                  </a:ext>
                </a:extLst>
              </p:cNvPr>
              <p:cNvSpPr>
                <a:spLocks/>
              </p:cNvSpPr>
              <p:nvPr/>
            </p:nvSpPr>
            <p:spPr bwMode="auto">
              <a:xfrm>
                <a:off x="6087688" y="3910712"/>
                <a:ext cx="213092" cy="275899"/>
              </a:xfrm>
              <a:custGeom>
                <a:avLst/>
                <a:gdLst>
                  <a:gd name="T0" fmla="*/ 85 w 95"/>
                  <a:gd name="T1" fmla="*/ 3 h 123"/>
                  <a:gd name="T2" fmla="*/ 76 w 95"/>
                  <a:gd name="T3" fmla="*/ 3 h 123"/>
                  <a:gd name="T4" fmla="*/ 69 w 95"/>
                  <a:gd name="T5" fmla="*/ 3 h 123"/>
                  <a:gd name="T6" fmla="*/ 66 w 95"/>
                  <a:gd name="T7" fmla="*/ 17 h 123"/>
                  <a:gd name="T8" fmla="*/ 63 w 95"/>
                  <a:gd name="T9" fmla="*/ 20 h 123"/>
                  <a:gd name="T10" fmla="*/ 63 w 95"/>
                  <a:gd name="T11" fmla="*/ 28 h 123"/>
                  <a:gd name="T12" fmla="*/ 50 w 95"/>
                  <a:gd name="T13" fmla="*/ 23 h 123"/>
                  <a:gd name="T14" fmla="*/ 41 w 95"/>
                  <a:gd name="T15" fmla="*/ 22 h 123"/>
                  <a:gd name="T16" fmla="*/ 30 w 95"/>
                  <a:gd name="T17" fmla="*/ 22 h 123"/>
                  <a:gd name="T18" fmla="*/ 27 w 95"/>
                  <a:gd name="T19" fmla="*/ 25 h 123"/>
                  <a:gd name="T20" fmla="*/ 25 w 95"/>
                  <a:gd name="T21" fmla="*/ 35 h 123"/>
                  <a:gd name="T22" fmla="*/ 38 w 95"/>
                  <a:gd name="T23" fmla="*/ 31 h 123"/>
                  <a:gd name="T24" fmla="*/ 41 w 95"/>
                  <a:gd name="T25" fmla="*/ 39 h 123"/>
                  <a:gd name="T26" fmla="*/ 38 w 95"/>
                  <a:gd name="T27" fmla="*/ 44 h 123"/>
                  <a:gd name="T28" fmla="*/ 35 w 95"/>
                  <a:gd name="T29" fmla="*/ 55 h 123"/>
                  <a:gd name="T30" fmla="*/ 38 w 95"/>
                  <a:gd name="T31" fmla="*/ 58 h 123"/>
                  <a:gd name="T32" fmla="*/ 41 w 95"/>
                  <a:gd name="T33" fmla="*/ 62 h 123"/>
                  <a:gd name="T34" fmla="*/ 41 w 95"/>
                  <a:gd name="T35" fmla="*/ 69 h 123"/>
                  <a:gd name="T36" fmla="*/ 41 w 95"/>
                  <a:gd name="T37" fmla="*/ 76 h 123"/>
                  <a:gd name="T38" fmla="*/ 41 w 95"/>
                  <a:gd name="T39" fmla="*/ 81 h 123"/>
                  <a:gd name="T40" fmla="*/ 38 w 95"/>
                  <a:gd name="T41" fmla="*/ 87 h 123"/>
                  <a:gd name="T42" fmla="*/ 33 w 95"/>
                  <a:gd name="T43" fmla="*/ 82 h 123"/>
                  <a:gd name="T44" fmla="*/ 27 w 95"/>
                  <a:gd name="T45" fmla="*/ 87 h 123"/>
                  <a:gd name="T46" fmla="*/ 23 w 95"/>
                  <a:gd name="T47" fmla="*/ 85 h 123"/>
                  <a:gd name="T48" fmla="*/ 20 w 95"/>
                  <a:gd name="T49" fmla="*/ 79 h 123"/>
                  <a:gd name="T50" fmla="*/ 19 w 95"/>
                  <a:gd name="T51" fmla="*/ 84 h 123"/>
                  <a:gd name="T52" fmla="*/ 12 w 95"/>
                  <a:gd name="T53" fmla="*/ 87 h 123"/>
                  <a:gd name="T54" fmla="*/ 6 w 95"/>
                  <a:gd name="T55" fmla="*/ 90 h 123"/>
                  <a:gd name="T56" fmla="*/ 6 w 95"/>
                  <a:gd name="T57" fmla="*/ 96 h 123"/>
                  <a:gd name="T58" fmla="*/ 9 w 95"/>
                  <a:gd name="T59" fmla="*/ 101 h 123"/>
                  <a:gd name="T60" fmla="*/ 6 w 95"/>
                  <a:gd name="T61" fmla="*/ 104 h 123"/>
                  <a:gd name="T62" fmla="*/ 1 w 95"/>
                  <a:gd name="T63" fmla="*/ 106 h 123"/>
                  <a:gd name="T64" fmla="*/ 6 w 95"/>
                  <a:gd name="T65" fmla="*/ 117 h 123"/>
                  <a:gd name="T66" fmla="*/ 9 w 95"/>
                  <a:gd name="T67" fmla="*/ 123 h 123"/>
                  <a:gd name="T68" fmla="*/ 15 w 95"/>
                  <a:gd name="T69" fmla="*/ 119 h 123"/>
                  <a:gd name="T70" fmla="*/ 20 w 95"/>
                  <a:gd name="T71" fmla="*/ 117 h 123"/>
                  <a:gd name="T72" fmla="*/ 23 w 95"/>
                  <a:gd name="T73" fmla="*/ 119 h 123"/>
                  <a:gd name="T74" fmla="*/ 27 w 95"/>
                  <a:gd name="T75" fmla="*/ 122 h 123"/>
                  <a:gd name="T76" fmla="*/ 33 w 95"/>
                  <a:gd name="T77" fmla="*/ 119 h 123"/>
                  <a:gd name="T78" fmla="*/ 38 w 95"/>
                  <a:gd name="T79" fmla="*/ 117 h 123"/>
                  <a:gd name="T80" fmla="*/ 41 w 95"/>
                  <a:gd name="T81" fmla="*/ 116 h 123"/>
                  <a:gd name="T82" fmla="*/ 41 w 95"/>
                  <a:gd name="T83" fmla="*/ 122 h 123"/>
                  <a:gd name="T84" fmla="*/ 47 w 95"/>
                  <a:gd name="T85" fmla="*/ 122 h 123"/>
                  <a:gd name="T86" fmla="*/ 55 w 95"/>
                  <a:gd name="T87" fmla="*/ 111 h 123"/>
                  <a:gd name="T88" fmla="*/ 63 w 95"/>
                  <a:gd name="T89" fmla="*/ 104 h 123"/>
                  <a:gd name="T90" fmla="*/ 65 w 95"/>
                  <a:gd name="T91" fmla="*/ 85 h 123"/>
                  <a:gd name="T92" fmla="*/ 69 w 95"/>
                  <a:gd name="T93" fmla="*/ 79 h 123"/>
                  <a:gd name="T94" fmla="*/ 82 w 95"/>
                  <a:gd name="T95" fmla="*/ 63 h 123"/>
                  <a:gd name="T96" fmla="*/ 85 w 95"/>
                  <a:gd name="T97" fmla="*/ 52 h 123"/>
                  <a:gd name="T98" fmla="*/ 87 w 95"/>
                  <a:gd name="T99" fmla="*/ 35 h 123"/>
                  <a:gd name="T100" fmla="*/ 90 w 95"/>
                  <a:gd name="T101" fmla="*/ 17 h 123"/>
                  <a:gd name="T102" fmla="*/ 95 w 95"/>
                  <a:gd name="T103" fmla="*/ 3 h 123"/>
                  <a:gd name="T104" fmla="*/ 93 w 95"/>
                  <a:gd name="T105" fmla="*/ 0 h 123"/>
                  <a:gd name="T106" fmla="*/ 93 w 95"/>
                  <a:gd name="T107" fmla="*/ 0 h 123"/>
                  <a:gd name="T108" fmla="*/ 93 w 95"/>
                  <a:gd name="T10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5" h="123">
                    <a:moveTo>
                      <a:pt x="93" y="0"/>
                    </a:moveTo>
                    <a:lnTo>
                      <a:pt x="88" y="3"/>
                    </a:lnTo>
                    <a:lnTo>
                      <a:pt x="85" y="3"/>
                    </a:lnTo>
                    <a:lnTo>
                      <a:pt x="82" y="0"/>
                    </a:lnTo>
                    <a:lnTo>
                      <a:pt x="79" y="0"/>
                    </a:lnTo>
                    <a:lnTo>
                      <a:pt x="76" y="3"/>
                    </a:lnTo>
                    <a:lnTo>
                      <a:pt x="74" y="3"/>
                    </a:lnTo>
                    <a:lnTo>
                      <a:pt x="71" y="3"/>
                    </a:lnTo>
                    <a:lnTo>
                      <a:pt x="69" y="3"/>
                    </a:lnTo>
                    <a:lnTo>
                      <a:pt x="69" y="6"/>
                    </a:lnTo>
                    <a:lnTo>
                      <a:pt x="68" y="12"/>
                    </a:lnTo>
                    <a:lnTo>
                      <a:pt x="66" y="17"/>
                    </a:lnTo>
                    <a:lnTo>
                      <a:pt x="65" y="20"/>
                    </a:lnTo>
                    <a:lnTo>
                      <a:pt x="65" y="19"/>
                    </a:lnTo>
                    <a:lnTo>
                      <a:pt x="63" y="20"/>
                    </a:lnTo>
                    <a:lnTo>
                      <a:pt x="63" y="23"/>
                    </a:lnTo>
                    <a:lnTo>
                      <a:pt x="63" y="27"/>
                    </a:lnTo>
                    <a:lnTo>
                      <a:pt x="63" y="28"/>
                    </a:lnTo>
                    <a:lnTo>
                      <a:pt x="57" y="25"/>
                    </a:lnTo>
                    <a:lnTo>
                      <a:pt x="54" y="23"/>
                    </a:lnTo>
                    <a:lnTo>
                      <a:pt x="50" y="23"/>
                    </a:lnTo>
                    <a:lnTo>
                      <a:pt x="47" y="23"/>
                    </a:lnTo>
                    <a:lnTo>
                      <a:pt x="47" y="22"/>
                    </a:lnTo>
                    <a:lnTo>
                      <a:pt x="41" y="22"/>
                    </a:lnTo>
                    <a:lnTo>
                      <a:pt x="38" y="22"/>
                    </a:lnTo>
                    <a:lnTo>
                      <a:pt x="35" y="22"/>
                    </a:lnTo>
                    <a:lnTo>
                      <a:pt x="30" y="22"/>
                    </a:lnTo>
                    <a:lnTo>
                      <a:pt x="28" y="22"/>
                    </a:lnTo>
                    <a:lnTo>
                      <a:pt x="27" y="22"/>
                    </a:lnTo>
                    <a:lnTo>
                      <a:pt x="27" y="25"/>
                    </a:lnTo>
                    <a:lnTo>
                      <a:pt x="25" y="28"/>
                    </a:lnTo>
                    <a:lnTo>
                      <a:pt x="27" y="31"/>
                    </a:lnTo>
                    <a:lnTo>
                      <a:pt x="25" y="35"/>
                    </a:lnTo>
                    <a:lnTo>
                      <a:pt x="35" y="33"/>
                    </a:lnTo>
                    <a:lnTo>
                      <a:pt x="36" y="31"/>
                    </a:lnTo>
                    <a:lnTo>
                      <a:pt x="38" y="31"/>
                    </a:lnTo>
                    <a:lnTo>
                      <a:pt x="39" y="35"/>
                    </a:lnTo>
                    <a:lnTo>
                      <a:pt x="41" y="38"/>
                    </a:lnTo>
                    <a:lnTo>
                      <a:pt x="41" y="39"/>
                    </a:lnTo>
                    <a:lnTo>
                      <a:pt x="41" y="41"/>
                    </a:lnTo>
                    <a:lnTo>
                      <a:pt x="41" y="44"/>
                    </a:lnTo>
                    <a:lnTo>
                      <a:pt x="38" y="44"/>
                    </a:lnTo>
                    <a:lnTo>
                      <a:pt x="36" y="47"/>
                    </a:lnTo>
                    <a:lnTo>
                      <a:pt x="36" y="52"/>
                    </a:lnTo>
                    <a:lnTo>
                      <a:pt x="35" y="55"/>
                    </a:lnTo>
                    <a:lnTo>
                      <a:pt x="35" y="57"/>
                    </a:lnTo>
                    <a:lnTo>
                      <a:pt x="38" y="57"/>
                    </a:lnTo>
                    <a:lnTo>
                      <a:pt x="38" y="58"/>
                    </a:lnTo>
                    <a:lnTo>
                      <a:pt x="39" y="60"/>
                    </a:lnTo>
                    <a:lnTo>
                      <a:pt x="41" y="60"/>
                    </a:lnTo>
                    <a:lnTo>
                      <a:pt x="41" y="62"/>
                    </a:lnTo>
                    <a:lnTo>
                      <a:pt x="44" y="63"/>
                    </a:lnTo>
                    <a:lnTo>
                      <a:pt x="41" y="63"/>
                    </a:lnTo>
                    <a:lnTo>
                      <a:pt x="41" y="69"/>
                    </a:lnTo>
                    <a:lnTo>
                      <a:pt x="41" y="73"/>
                    </a:lnTo>
                    <a:lnTo>
                      <a:pt x="41" y="74"/>
                    </a:lnTo>
                    <a:lnTo>
                      <a:pt x="41" y="76"/>
                    </a:lnTo>
                    <a:lnTo>
                      <a:pt x="41" y="76"/>
                    </a:lnTo>
                    <a:lnTo>
                      <a:pt x="41" y="77"/>
                    </a:lnTo>
                    <a:lnTo>
                      <a:pt x="41" y="81"/>
                    </a:lnTo>
                    <a:lnTo>
                      <a:pt x="39" y="82"/>
                    </a:lnTo>
                    <a:lnTo>
                      <a:pt x="39" y="85"/>
                    </a:lnTo>
                    <a:lnTo>
                      <a:pt x="38" y="87"/>
                    </a:lnTo>
                    <a:lnTo>
                      <a:pt x="36" y="90"/>
                    </a:lnTo>
                    <a:lnTo>
                      <a:pt x="35" y="87"/>
                    </a:lnTo>
                    <a:lnTo>
                      <a:pt x="33" y="82"/>
                    </a:lnTo>
                    <a:lnTo>
                      <a:pt x="31" y="85"/>
                    </a:lnTo>
                    <a:lnTo>
                      <a:pt x="30" y="87"/>
                    </a:lnTo>
                    <a:lnTo>
                      <a:pt x="27" y="87"/>
                    </a:lnTo>
                    <a:lnTo>
                      <a:pt x="25" y="87"/>
                    </a:lnTo>
                    <a:lnTo>
                      <a:pt x="23" y="87"/>
                    </a:lnTo>
                    <a:lnTo>
                      <a:pt x="23" y="85"/>
                    </a:lnTo>
                    <a:lnTo>
                      <a:pt x="22" y="82"/>
                    </a:lnTo>
                    <a:lnTo>
                      <a:pt x="22" y="79"/>
                    </a:lnTo>
                    <a:lnTo>
                      <a:pt x="20" y="79"/>
                    </a:lnTo>
                    <a:lnTo>
                      <a:pt x="19" y="79"/>
                    </a:lnTo>
                    <a:lnTo>
                      <a:pt x="15" y="81"/>
                    </a:lnTo>
                    <a:lnTo>
                      <a:pt x="19" y="84"/>
                    </a:lnTo>
                    <a:lnTo>
                      <a:pt x="15" y="87"/>
                    </a:lnTo>
                    <a:lnTo>
                      <a:pt x="15" y="87"/>
                    </a:lnTo>
                    <a:lnTo>
                      <a:pt x="12" y="87"/>
                    </a:lnTo>
                    <a:lnTo>
                      <a:pt x="9" y="87"/>
                    </a:lnTo>
                    <a:lnTo>
                      <a:pt x="6" y="87"/>
                    </a:lnTo>
                    <a:lnTo>
                      <a:pt x="6" y="90"/>
                    </a:lnTo>
                    <a:lnTo>
                      <a:pt x="6" y="93"/>
                    </a:lnTo>
                    <a:lnTo>
                      <a:pt x="6" y="93"/>
                    </a:lnTo>
                    <a:lnTo>
                      <a:pt x="6" y="96"/>
                    </a:lnTo>
                    <a:lnTo>
                      <a:pt x="6" y="98"/>
                    </a:lnTo>
                    <a:lnTo>
                      <a:pt x="9" y="100"/>
                    </a:lnTo>
                    <a:lnTo>
                      <a:pt x="9" y="101"/>
                    </a:lnTo>
                    <a:lnTo>
                      <a:pt x="9" y="106"/>
                    </a:lnTo>
                    <a:lnTo>
                      <a:pt x="6" y="106"/>
                    </a:lnTo>
                    <a:lnTo>
                      <a:pt x="6" y="104"/>
                    </a:lnTo>
                    <a:lnTo>
                      <a:pt x="6" y="103"/>
                    </a:lnTo>
                    <a:lnTo>
                      <a:pt x="4" y="103"/>
                    </a:lnTo>
                    <a:lnTo>
                      <a:pt x="1" y="106"/>
                    </a:lnTo>
                    <a:lnTo>
                      <a:pt x="0" y="109"/>
                    </a:lnTo>
                    <a:lnTo>
                      <a:pt x="4" y="114"/>
                    </a:lnTo>
                    <a:lnTo>
                      <a:pt x="6" y="117"/>
                    </a:lnTo>
                    <a:lnTo>
                      <a:pt x="9" y="119"/>
                    </a:lnTo>
                    <a:lnTo>
                      <a:pt x="9" y="122"/>
                    </a:lnTo>
                    <a:lnTo>
                      <a:pt x="9" y="123"/>
                    </a:lnTo>
                    <a:lnTo>
                      <a:pt x="12" y="123"/>
                    </a:lnTo>
                    <a:lnTo>
                      <a:pt x="15" y="120"/>
                    </a:lnTo>
                    <a:lnTo>
                      <a:pt x="15" y="119"/>
                    </a:lnTo>
                    <a:lnTo>
                      <a:pt x="19" y="119"/>
                    </a:lnTo>
                    <a:lnTo>
                      <a:pt x="19" y="117"/>
                    </a:lnTo>
                    <a:lnTo>
                      <a:pt x="20" y="117"/>
                    </a:lnTo>
                    <a:lnTo>
                      <a:pt x="22" y="117"/>
                    </a:lnTo>
                    <a:lnTo>
                      <a:pt x="23" y="119"/>
                    </a:lnTo>
                    <a:lnTo>
                      <a:pt x="23" y="119"/>
                    </a:lnTo>
                    <a:lnTo>
                      <a:pt x="25" y="119"/>
                    </a:lnTo>
                    <a:lnTo>
                      <a:pt x="27" y="120"/>
                    </a:lnTo>
                    <a:lnTo>
                      <a:pt x="27" y="122"/>
                    </a:lnTo>
                    <a:lnTo>
                      <a:pt x="28" y="122"/>
                    </a:lnTo>
                    <a:lnTo>
                      <a:pt x="31" y="122"/>
                    </a:lnTo>
                    <a:lnTo>
                      <a:pt x="33" y="119"/>
                    </a:lnTo>
                    <a:lnTo>
                      <a:pt x="35" y="117"/>
                    </a:lnTo>
                    <a:lnTo>
                      <a:pt x="36" y="117"/>
                    </a:lnTo>
                    <a:lnTo>
                      <a:pt x="38" y="117"/>
                    </a:lnTo>
                    <a:lnTo>
                      <a:pt x="39" y="116"/>
                    </a:lnTo>
                    <a:lnTo>
                      <a:pt x="41" y="116"/>
                    </a:lnTo>
                    <a:lnTo>
                      <a:pt x="41" y="116"/>
                    </a:lnTo>
                    <a:lnTo>
                      <a:pt x="41" y="117"/>
                    </a:lnTo>
                    <a:lnTo>
                      <a:pt x="41" y="119"/>
                    </a:lnTo>
                    <a:lnTo>
                      <a:pt x="41" y="122"/>
                    </a:lnTo>
                    <a:lnTo>
                      <a:pt x="44" y="122"/>
                    </a:lnTo>
                    <a:lnTo>
                      <a:pt x="44" y="122"/>
                    </a:lnTo>
                    <a:lnTo>
                      <a:pt x="47" y="122"/>
                    </a:lnTo>
                    <a:lnTo>
                      <a:pt x="50" y="117"/>
                    </a:lnTo>
                    <a:lnTo>
                      <a:pt x="55" y="114"/>
                    </a:lnTo>
                    <a:lnTo>
                      <a:pt x="55" y="111"/>
                    </a:lnTo>
                    <a:lnTo>
                      <a:pt x="58" y="109"/>
                    </a:lnTo>
                    <a:lnTo>
                      <a:pt x="62" y="108"/>
                    </a:lnTo>
                    <a:lnTo>
                      <a:pt x="63" y="104"/>
                    </a:lnTo>
                    <a:lnTo>
                      <a:pt x="65" y="98"/>
                    </a:lnTo>
                    <a:lnTo>
                      <a:pt x="65" y="87"/>
                    </a:lnTo>
                    <a:lnTo>
                      <a:pt x="65" y="85"/>
                    </a:lnTo>
                    <a:lnTo>
                      <a:pt x="66" y="84"/>
                    </a:lnTo>
                    <a:lnTo>
                      <a:pt x="68" y="82"/>
                    </a:lnTo>
                    <a:lnTo>
                      <a:pt x="69" y="79"/>
                    </a:lnTo>
                    <a:lnTo>
                      <a:pt x="73" y="73"/>
                    </a:lnTo>
                    <a:lnTo>
                      <a:pt x="76" y="69"/>
                    </a:lnTo>
                    <a:lnTo>
                      <a:pt x="82" y="63"/>
                    </a:lnTo>
                    <a:lnTo>
                      <a:pt x="82" y="62"/>
                    </a:lnTo>
                    <a:lnTo>
                      <a:pt x="85" y="58"/>
                    </a:lnTo>
                    <a:lnTo>
                      <a:pt x="85" y="52"/>
                    </a:lnTo>
                    <a:lnTo>
                      <a:pt x="85" y="46"/>
                    </a:lnTo>
                    <a:lnTo>
                      <a:pt x="85" y="41"/>
                    </a:lnTo>
                    <a:lnTo>
                      <a:pt x="87" y="35"/>
                    </a:lnTo>
                    <a:lnTo>
                      <a:pt x="88" y="28"/>
                    </a:lnTo>
                    <a:lnTo>
                      <a:pt x="88" y="22"/>
                    </a:lnTo>
                    <a:lnTo>
                      <a:pt x="90" y="17"/>
                    </a:lnTo>
                    <a:lnTo>
                      <a:pt x="93" y="11"/>
                    </a:lnTo>
                    <a:lnTo>
                      <a:pt x="95" y="3"/>
                    </a:lnTo>
                    <a:lnTo>
                      <a:pt x="95" y="3"/>
                    </a:lnTo>
                    <a:lnTo>
                      <a:pt x="93" y="0"/>
                    </a:lnTo>
                    <a:lnTo>
                      <a:pt x="93" y="0"/>
                    </a:lnTo>
                    <a:lnTo>
                      <a:pt x="93" y="0"/>
                    </a:lnTo>
                    <a:lnTo>
                      <a:pt x="93" y="0"/>
                    </a:lnTo>
                    <a:lnTo>
                      <a:pt x="93" y="0"/>
                    </a:lnTo>
                    <a:lnTo>
                      <a:pt x="93" y="0"/>
                    </a:lnTo>
                    <a:lnTo>
                      <a:pt x="93" y="0"/>
                    </a:lnTo>
                    <a:lnTo>
                      <a:pt x="93" y="0"/>
                    </a:lnTo>
                    <a:lnTo>
                      <a:pt x="93" y="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59" name="Freeform 91">
                <a:extLst>
                  <a:ext uri="{FF2B5EF4-FFF2-40B4-BE49-F238E27FC236}">
                    <a16:creationId xmlns:a16="http://schemas.microsoft.com/office/drawing/2014/main" id="{216C312B-80F0-1D51-D166-C7298ECABAEC}"/>
                  </a:ext>
                </a:extLst>
              </p:cNvPr>
              <p:cNvSpPr>
                <a:spLocks/>
              </p:cNvSpPr>
              <p:nvPr/>
            </p:nvSpPr>
            <p:spPr bwMode="auto">
              <a:xfrm>
                <a:off x="5295885" y="3583224"/>
                <a:ext cx="85236" cy="24674"/>
              </a:xfrm>
              <a:custGeom>
                <a:avLst/>
                <a:gdLst>
                  <a:gd name="T0" fmla="*/ 6 w 38"/>
                  <a:gd name="T1" fmla="*/ 9 h 11"/>
                  <a:gd name="T2" fmla="*/ 6 w 38"/>
                  <a:gd name="T3" fmla="*/ 9 h 11"/>
                  <a:gd name="T4" fmla="*/ 13 w 38"/>
                  <a:gd name="T5" fmla="*/ 9 h 11"/>
                  <a:gd name="T6" fmla="*/ 13 w 38"/>
                  <a:gd name="T7" fmla="*/ 8 h 11"/>
                  <a:gd name="T8" fmla="*/ 14 w 38"/>
                  <a:gd name="T9" fmla="*/ 6 h 11"/>
                  <a:gd name="T10" fmla="*/ 16 w 38"/>
                  <a:gd name="T11" fmla="*/ 6 h 11"/>
                  <a:gd name="T12" fmla="*/ 18 w 38"/>
                  <a:gd name="T13" fmla="*/ 6 h 11"/>
                  <a:gd name="T14" fmla="*/ 19 w 38"/>
                  <a:gd name="T15" fmla="*/ 6 h 11"/>
                  <a:gd name="T16" fmla="*/ 21 w 38"/>
                  <a:gd name="T17" fmla="*/ 6 h 11"/>
                  <a:gd name="T18" fmla="*/ 22 w 38"/>
                  <a:gd name="T19" fmla="*/ 3 h 11"/>
                  <a:gd name="T20" fmla="*/ 24 w 38"/>
                  <a:gd name="T21" fmla="*/ 4 h 11"/>
                  <a:gd name="T22" fmla="*/ 27 w 38"/>
                  <a:gd name="T23" fmla="*/ 6 h 11"/>
                  <a:gd name="T24" fmla="*/ 30 w 38"/>
                  <a:gd name="T25" fmla="*/ 8 h 11"/>
                  <a:gd name="T26" fmla="*/ 32 w 38"/>
                  <a:gd name="T27" fmla="*/ 8 h 11"/>
                  <a:gd name="T28" fmla="*/ 35 w 38"/>
                  <a:gd name="T29" fmla="*/ 8 h 11"/>
                  <a:gd name="T30" fmla="*/ 35 w 38"/>
                  <a:gd name="T31" fmla="*/ 8 h 11"/>
                  <a:gd name="T32" fmla="*/ 38 w 38"/>
                  <a:gd name="T33" fmla="*/ 8 h 11"/>
                  <a:gd name="T34" fmla="*/ 38 w 38"/>
                  <a:gd name="T35" fmla="*/ 6 h 11"/>
                  <a:gd name="T36" fmla="*/ 38 w 38"/>
                  <a:gd name="T37" fmla="*/ 4 h 11"/>
                  <a:gd name="T38" fmla="*/ 38 w 38"/>
                  <a:gd name="T39" fmla="*/ 3 h 11"/>
                  <a:gd name="T40" fmla="*/ 35 w 38"/>
                  <a:gd name="T41" fmla="*/ 3 h 11"/>
                  <a:gd name="T42" fmla="*/ 32 w 38"/>
                  <a:gd name="T43" fmla="*/ 4 h 11"/>
                  <a:gd name="T44" fmla="*/ 32 w 38"/>
                  <a:gd name="T45" fmla="*/ 4 h 11"/>
                  <a:gd name="T46" fmla="*/ 30 w 38"/>
                  <a:gd name="T47" fmla="*/ 1 h 11"/>
                  <a:gd name="T48" fmla="*/ 29 w 38"/>
                  <a:gd name="T49" fmla="*/ 1 h 11"/>
                  <a:gd name="T50" fmla="*/ 27 w 38"/>
                  <a:gd name="T51" fmla="*/ 1 h 11"/>
                  <a:gd name="T52" fmla="*/ 26 w 38"/>
                  <a:gd name="T53" fmla="*/ 0 h 11"/>
                  <a:gd name="T54" fmla="*/ 24 w 38"/>
                  <a:gd name="T55" fmla="*/ 0 h 11"/>
                  <a:gd name="T56" fmla="*/ 22 w 38"/>
                  <a:gd name="T57" fmla="*/ 0 h 11"/>
                  <a:gd name="T58" fmla="*/ 19 w 38"/>
                  <a:gd name="T59" fmla="*/ 0 h 11"/>
                  <a:gd name="T60" fmla="*/ 18 w 38"/>
                  <a:gd name="T61" fmla="*/ 1 h 11"/>
                  <a:gd name="T62" fmla="*/ 18 w 38"/>
                  <a:gd name="T63" fmla="*/ 3 h 11"/>
                  <a:gd name="T64" fmla="*/ 6 w 38"/>
                  <a:gd name="T65" fmla="*/ 3 h 11"/>
                  <a:gd name="T66" fmla="*/ 3 w 38"/>
                  <a:gd name="T67" fmla="*/ 3 h 11"/>
                  <a:gd name="T68" fmla="*/ 3 w 38"/>
                  <a:gd name="T69" fmla="*/ 4 h 11"/>
                  <a:gd name="T70" fmla="*/ 6 w 38"/>
                  <a:gd name="T71" fmla="*/ 6 h 11"/>
                  <a:gd name="T72" fmla="*/ 8 w 38"/>
                  <a:gd name="T73" fmla="*/ 6 h 11"/>
                  <a:gd name="T74" fmla="*/ 11 w 38"/>
                  <a:gd name="T75" fmla="*/ 4 h 11"/>
                  <a:gd name="T76" fmla="*/ 16 w 38"/>
                  <a:gd name="T77" fmla="*/ 4 h 11"/>
                  <a:gd name="T78" fmla="*/ 11 w 38"/>
                  <a:gd name="T79" fmla="*/ 6 h 11"/>
                  <a:gd name="T80" fmla="*/ 8 w 38"/>
                  <a:gd name="T81" fmla="*/ 6 h 11"/>
                  <a:gd name="T82" fmla="*/ 8 w 38"/>
                  <a:gd name="T83" fmla="*/ 8 h 11"/>
                  <a:gd name="T84" fmla="*/ 6 w 38"/>
                  <a:gd name="T85" fmla="*/ 8 h 11"/>
                  <a:gd name="T86" fmla="*/ 3 w 38"/>
                  <a:gd name="T87" fmla="*/ 8 h 11"/>
                  <a:gd name="T88" fmla="*/ 3 w 38"/>
                  <a:gd name="T89" fmla="*/ 4 h 11"/>
                  <a:gd name="T90" fmla="*/ 0 w 38"/>
                  <a:gd name="T91" fmla="*/ 6 h 11"/>
                  <a:gd name="T92" fmla="*/ 0 w 38"/>
                  <a:gd name="T93" fmla="*/ 11 h 11"/>
                  <a:gd name="T94" fmla="*/ 3 w 38"/>
                  <a:gd name="T95" fmla="*/ 9 h 11"/>
                  <a:gd name="T96" fmla="*/ 6 w 38"/>
                  <a:gd name="T97" fmla="*/ 9 h 11"/>
                  <a:gd name="T98" fmla="*/ 6 w 38"/>
                  <a:gd name="T99" fmla="*/ 9 h 11"/>
                  <a:gd name="T100" fmla="*/ 6 w 38"/>
                  <a:gd name="T101" fmla="*/ 9 h 11"/>
                  <a:gd name="T102" fmla="*/ 6 w 38"/>
                  <a:gd name="T103" fmla="*/ 9 h 11"/>
                  <a:gd name="T104" fmla="*/ 6 w 38"/>
                  <a:gd name="T105" fmla="*/ 9 h 11"/>
                  <a:gd name="T106" fmla="*/ 6 w 38"/>
                  <a:gd name="T107" fmla="*/ 9 h 11"/>
                  <a:gd name="T108" fmla="*/ 6 w 38"/>
                  <a:gd name="T109" fmla="*/ 9 h 11"/>
                  <a:gd name="T110" fmla="*/ 6 w 38"/>
                  <a:gd name="T111" fmla="*/ 9 h 11"/>
                  <a:gd name="T112" fmla="*/ 6 w 38"/>
                  <a:gd name="T113"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 h="11">
                    <a:moveTo>
                      <a:pt x="6" y="9"/>
                    </a:moveTo>
                    <a:lnTo>
                      <a:pt x="6" y="9"/>
                    </a:lnTo>
                    <a:lnTo>
                      <a:pt x="13" y="9"/>
                    </a:lnTo>
                    <a:lnTo>
                      <a:pt x="13" y="8"/>
                    </a:lnTo>
                    <a:lnTo>
                      <a:pt x="14" y="6"/>
                    </a:lnTo>
                    <a:lnTo>
                      <a:pt x="16" y="6"/>
                    </a:lnTo>
                    <a:lnTo>
                      <a:pt x="18" y="6"/>
                    </a:lnTo>
                    <a:lnTo>
                      <a:pt x="19" y="6"/>
                    </a:lnTo>
                    <a:lnTo>
                      <a:pt x="21" y="6"/>
                    </a:lnTo>
                    <a:lnTo>
                      <a:pt x="22" y="3"/>
                    </a:lnTo>
                    <a:lnTo>
                      <a:pt x="24" y="4"/>
                    </a:lnTo>
                    <a:lnTo>
                      <a:pt x="27" y="6"/>
                    </a:lnTo>
                    <a:lnTo>
                      <a:pt x="30" y="8"/>
                    </a:lnTo>
                    <a:lnTo>
                      <a:pt x="32" y="8"/>
                    </a:lnTo>
                    <a:lnTo>
                      <a:pt x="35" y="8"/>
                    </a:lnTo>
                    <a:lnTo>
                      <a:pt x="35" y="8"/>
                    </a:lnTo>
                    <a:lnTo>
                      <a:pt x="38" y="8"/>
                    </a:lnTo>
                    <a:lnTo>
                      <a:pt x="38" y="6"/>
                    </a:lnTo>
                    <a:lnTo>
                      <a:pt x="38" y="4"/>
                    </a:lnTo>
                    <a:lnTo>
                      <a:pt x="38" y="3"/>
                    </a:lnTo>
                    <a:lnTo>
                      <a:pt x="35" y="3"/>
                    </a:lnTo>
                    <a:lnTo>
                      <a:pt x="32" y="4"/>
                    </a:lnTo>
                    <a:lnTo>
                      <a:pt x="32" y="4"/>
                    </a:lnTo>
                    <a:lnTo>
                      <a:pt x="30" y="1"/>
                    </a:lnTo>
                    <a:lnTo>
                      <a:pt x="29" y="1"/>
                    </a:lnTo>
                    <a:lnTo>
                      <a:pt x="27" y="1"/>
                    </a:lnTo>
                    <a:lnTo>
                      <a:pt x="26" y="0"/>
                    </a:lnTo>
                    <a:lnTo>
                      <a:pt x="24" y="0"/>
                    </a:lnTo>
                    <a:lnTo>
                      <a:pt x="22" y="0"/>
                    </a:lnTo>
                    <a:lnTo>
                      <a:pt x="19" y="0"/>
                    </a:lnTo>
                    <a:lnTo>
                      <a:pt x="18" y="1"/>
                    </a:lnTo>
                    <a:lnTo>
                      <a:pt x="18" y="3"/>
                    </a:lnTo>
                    <a:lnTo>
                      <a:pt x="6" y="3"/>
                    </a:lnTo>
                    <a:lnTo>
                      <a:pt x="3" y="3"/>
                    </a:lnTo>
                    <a:lnTo>
                      <a:pt x="3" y="4"/>
                    </a:lnTo>
                    <a:lnTo>
                      <a:pt x="6" y="6"/>
                    </a:lnTo>
                    <a:lnTo>
                      <a:pt x="8" y="6"/>
                    </a:lnTo>
                    <a:lnTo>
                      <a:pt x="11" y="4"/>
                    </a:lnTo>
                    <a:lnTo>
                      <a:pt x="16" y="4"/>
                    </a:lnTo>
                    <a:lnTo>
                      <a:pt x="11" y="6"/>
                    </a:lnTo>
                    <a:lnTo>
                      <a:pt x="8" y="6"/>
                    </a:lnTo>
                    <a:lnTo>
                      <a:pt x="8" y="8"/>
                    </a:lnTo>
                    <a:lnTo>
                      <a:pt x="6" y="8"/>
                    </a:lnTo>
                    <a:lnTo>
                      <a:pt x="3" y="8"/>
                    </a:lnTo>
                    <a:lnTo>
                      <a:pt x="3" y="4"/>
                    </a:lnTo>
                    <a:lnTo>
                      <a:pt x="0" y="6"/>
                    </a:lnTo>
                    <a:lnTo>
                      <a:pt x="0" y="11"/>
                    </a:lnTo>
                    <a:lnTo>
                      <a:pt x="3" y="9"/>
                    </a:lnTo>
                    <a:lnTo>
                      <a:pt x="6" y="9"/>
                    </a:lnTo>
                    <a:lnTo>
                      <a:pt x="6" y="9"/>
                    </a:lnTo>
                    <a:lnTo>
                      <a:pt x="6" y="9"/>
                    </a:lnTo>
                    <a:lnTo>
                      <a:pt x="6" y="9"/>
                    </a:lnTo>
                    <a:lnTo>
                      <a:pt x="6" y="9"/>
                    </a:lnTo>
                    <a:lnTo>
                      <a:pt x="6" y="9"/>
                    </a:lnTo>
                    <a:lnTo>
                      <a:pt x="6" y="9"/>
                    </a:lnTo>
                    <a:lnTo>
                      <a:pt x="6" y="9"/>
                    </a:lnTo>
                    <a:lnTo>
                      <a:pt x="6" y="9"/>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60" name="Freeform 96">
                <a:extLst>
                  <a:ext uri="{FF2B5EF4-FFF2-40B4-BE49-F238E27FC236}">
                    <a16:creationId xmlns:a16="http://schemas.microsoft.com/office/drawing/2014/main" id="{C04E84E0-846F-0492-19CF-17B22508E2F7}"/>
                  </a:ext>
                </a:extLst>
              </p:cNvPr>
              <p:cNvSpPr>
                <a:spLocks/>
              </p:cNvSpPr>
              <p:nvPr/>
            </p:nvSpPr>
            <p:spPr bwMode="auto">
              <a:xfrm>
                <a:off x="6960243" y="3616870"/>
                <a:ext cx="42619" cy="58320"/>
              </a:xfrm>
              <a:custGeom>
                <a:avLst/>
                <a:gdLst>
                  <a:gd name="T0" fmla="*/ 3 w 19"/>
                  <a:gd name="T1" fmla="*/ 8 h 26"/>
                  <a:gd name="T2" fmla="*/ 0 w 19"/>
                  <a:gd name="T3" fmla="*/ 13 h 26"/>
                  <a:gd name="T4" fmla="*/ 0 w 19"/>
                  <a:gd name="T5" fmla="*/ 16 h 26"/>
                  <a:gd name="T6" fmla="*/ 0 w 19"/>
                  <a:gd name="T7" fmla="*/ 20 h 26"/>
                  <a:gd name="T8" fmla="*/ 0 w 19"/>
                  <a:gd name="T9" fmla="*/ 24 h 26"/>
                  <a:gd name="T10" fmla="*/ 0 w 19"/>
                  <a:gd name="T11" fmla="*/ 26 h 26"/>
                  <a:gd name="T12" fmla="*/ 3 w 19"/>
                  <a:gd name="T13" fmla="*/ 26 h 26"/>
                  <a:gd name="T14" fmla="*/ 7 w 19"/>
                  <a:gd name="T15" fmla="*/ 24 h 26"/>
                  <a:gd name="T16" fmla="*/ 11 w 19"/>
                  <a:gd name="T17" fmla="*/ 24 h 26"/>
                  <a:gd name="T18" fmla="*/ 12 w 19"/>
                  <a:gd name="T19" fmla="*/ 24 h 26"/>
                  <a:gd name="T20" fmla="*/ 14 w 19"/>
                  <a:gd name="T21" fmla="*/ 24 h 26"/>
                  <a:gd name="T22" fmla="*/ 14 w 19"/>
                  <a:gd name="T23" fmla="*/ 23 h 26"/>
                  <a:gd name="T24" fmla="*/ 15 w 19"/>
                  <a:gd name="T25" fmla="*/ 21 h 26"/>
                  <a:gd name="T26" fmla="*/ 15 w 19"/>
                  <a:gd name="T27" fmla="*/ 20 h 26"/>
                  <a:gd name="T28" fmla="*/ 15 w 19"/>
                  <a:gd name="T29" fmla="*/ 18 h 26"/>
                  <a:gd name="T30" fmla="*/ 15 w 19"/>
                  <a:gd name="T31" fmla="*/ 16 h 26"/>
                  <a:gd name="T32" fmla="*/ 11 w 19"/>
                  <a:gd name="T33" fmla="*/ 18 h 26"/>
                  <a:gd name="T34" fmla="*/ 9 w 19"/>
                  <a:gd name="T35" fmla="*/ 18 h 26"/>
                  <a:gd name="T36" fmla="*/ 7 w 19"/>
                  <a:gd name="T37" fmla="*/ 16 h 26"/>
                  <a:gd name="T38" fmla="*/ 9 w 19"/>
                  <a:gd name="T39" fmla="*/ 16 h 26"/>
                  <a:gd name="T40" fmla="*/ 11 w 19"/>
                  <a:gd name="T41" fmla="*/ 13 h 26"/>
                  <a:gd name="T42" fmla="*/ 15 w 19"/>
                  <a:gd name="T43" fmla="*/ 12 h 26"/>
                  <a:gd name="T44" fmla="*/ 19 w 19"/>
                  <a:gd name="T45" fmla="*/ 12 h 26"/>
                  <a:gd name="T46" fmla="*/ 19 w 19"/>
                  <a:gd name="T47" fmla="*/ 8 h 26"/>
                  <a:gd name="T48" fmla="*/ 17 w 19"/>
                  <a:gd name="T49" fmla="*/ 5 h 26"/>
                  <a:gd name="T50" fmla="*/ 14 w 19"/>
                  <a:gd name="T51" fmla="*/ 0 h 26"/>
                  <a:gd name="T52" fmla="*/ 11 w 19"/>
                  <a:gd name="T53" fmla="*/ 2 h 26"/>
                  <a:gd name="T54" fmla="*/ 11 w 19"/>
                  <a:gd name="T55" fmla="*/ 5 h 26"/>
                  <a:gd name="T56" fmla="*/ 9 w 19"/>
                  <a:gd name="T57" fmla="*/ 5 h 26"/>
                  <a:gd name="T58" fmla="*/ 6 w 19"/>
                  <a:gd name="T59" fmla="*/ 5 h 26"/>
                  <a:gd name="T60" fmla="*/ 4 w 19"/>
                  <a:gd name="T61" fmla="*/ 5 h 26"/>
                  <a:gd name="T62" fmla="*/ 4 w 19"/>
                  <a:gd name="T63" fmla="*/ 5 h 26"/>
                  <a:gd name="T64" fmla="*/ 3 w 19"/>
                  <a:gd name="T65" fmla="*/ 8 h 26"/>
                  <a:gd name="T66" fmla="*/ 3 w 19"/>
                  <a:gd name="T67" fmla="*/ 8 h 26"/>
                  <a:gd name="T68" fmla="*/ 3 w 19"/>
                  <a:gd name="T69" fmla="*/ 8 h 26"/>
                  <a:gd name="T70" fmla="*/ 3 w 19"/>
                  <a:gd name="T71" fmla="*/ 8 h 26"/>
                  <a:gd name="T72" fmla="*/ 3 w 19"/>
                  <a:gd name="T73" fmla="*/ 8 h 26"/>
                  <a:gd name="T74" fmla="*/ 3 w 19"/>
                  <a:gd name="T75" fmla="*/ 8 h 26"/>
                  <a:gd name="T76" fmla="*/ 3 w 19"/>
                  <a:gd name="T77" fmla="*/ 8 h 26"/>
                  <a:gd name="T78" fmla="*/ 3 w 19"/>
                  <a:gd name="T79" fmla="*/ 8 h 26"/>
                  <a:gd name="T80" fmla="*/ 3 w 19"/>
                  <a:gd name="T8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26">
                    <a:moveTo>
                      <a:pt x="3" y="8"/>
                    </a:moveTo>
                    <a:lnTo>
                      <a:pt x="0" y="13"/>
                    </a:lnTo>
                    <a:lnTo>
                      <a:pt x="0" y="16"/>
                    </a:lnTo>
                    <a:lnTo>
                      <a:pt x="0" y="20"/>
                    </a:lnTo>
                    <a:lnTo>
                      <a:pt x="0" y="24"/>
                    </a:lnTo>
                    <a:lnTo>
                      <a:pt x="0" y="26"/>
                    </a:lnTo>
                    <a:lnTo>
                      <a:pt x="3" y="26"/>
                    </a:lnTo>
                    <a:lnTo>
                      <a:pt x="7" y="24"/>
                    </a:lnTo>
                    <a:lnTo>
                      <a:pt x="11" y="24"/>
                    </a:lnTo>
                    <a:lnTo>
                      <a:pt x="12" y="24"/>
                    </a:lnTo>
                    <a:lnTo>
                      <a:pt x="14" y="24"/>
                    </a:lnTo>
                    <a:lnTo>
                      <a:pt x="14" y="23"/>
                    </a:lnTo>
                    <a:lnTo>
                      <a:pt x="15" y="21"/>
                    </a:lnTo>
                    <a:lnTo>
                      <a:pt x="15" y="20"/>
                    </a:lnTo>
                    <a:lnTo>
                      <a:pt x="15" y="18"/>
                    </a:lnTo>
                    <a:lnTo>
                      <a:pt x="15" y="16"/>
                    </a:lnTo>
                    <a:lnTo>
                      <a:pt x="11" y="18"/>
                    </a:lnTo>
                    <a:lnTo>
                      <a:pt x="9" y="18"/>
                    </a:lnTo>
                    <a:lnTo>
                      <a:pt x="7" y="16"/>
                    </a:lnTo>
                    <a:lnTo>
                      <a:pt x="9" y="16"/>
                    </a:lnTo>
                    <a:lnTo>
                      <a:pt x="11" y="13"/>
                    </a:lnTo>
                    <a:lnTo>
                      <a:pt x="15" y="12"/>
                    </a:lnTo>
                    <a:lnTo>
                      <a:pt x="19" y="12"/>
                    </a:lnTo>
                    <a:lnTo>
                      <a:pt x="19" y="8"/>
                    </a:lnTo>
                    <a:lnTo>
                      <a:pt x="17" y="5"/>
                    </a:lnTo>
                    <a:lnTo>
                      <a:pt x="14" y="0"/>
                    </a:lnTo>
                    <a:lnTo>
                      <a:pt x="11" y="2"/>
                    </a:lnTo>
                    <a:lnTo>
                      <a:pt x="11" y="5"/>
                    </a:lnTo>
                    <a:lnTo>
                      <a:pt x="9" y="5"/>
                    </a:lnTo>
                    <a:lnTo>
                      <a:pt x="6" y="5"/>
                    </a:lnTo>
                    <a:lnTo>
                      <a:pt x="4" y="5"/>
                    </a:lnTo>
                    <a:lnTo>
                      <a:pt x="4" y="5"/>
                    </a:lnTo>
                    <a:lnTo>
                      <a:pt x="3" y="8"/>
                    </a:lnTo>
                    <a:lnTo>
                      <a:pt x="3" y="8"/>
                    </a:lnTo>
                    <a:lnTo>
                      <a:pt x="3" y="8"/>
                    </a:lnTo>
                    <a:lnTo>
                      <a:pt x="3" y="8"/>
                    </a:lnTo>
                    <a:lnTo>
                      <a:pt x="3" y="8"/>
                    </a:lnTo>
                    <a:lnTo>
                      <a:pt x="3" y="8"/>
                    </a:lnTo>
                    <a:lnTo>
                      <a:pt x="3" y="8"/>
                    </a:lnTo>
                    <a:lnTo>
                      <a:pt x="3" y="8"/>
                    </a:lnTo>
                    <a:lnTo>
                      <a:pt x="3" y="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61" name="Freeform 94">
                <a:extLst>
                  <a:ext uri="{FF2B5EF4-FFF2-40B4-BE49-F238E27FC236}">
                    <a16:creationId xmlns:a16="http://schemas.microsoft.com/office/drawing/2014/main" id="{C2D768B0-AB4E-38B0-2734-7DDF27645770}"/>
                  </a:ext>
                </a:extLst>
              </p:cNvPr>
              <p:cNvSpPr>
                <a:spLocks/>
              </p:cNvSpPr>
              <p:nvPr/>
            </p:nvSpPr>
            <p:spPr bwMode="auto">
              <a:xfrm>
                <a:off x="6803228" y="3446396"/>
                <a:ext cx="188418" cy="197391"/>
              </a:xfrm>
              <a:custGeom>
                <a:avLst/>
                <a:gdLst>
                  <a:gd name="T0" fmla="*/ 81 w 84"/>
                  <a:gd name="T1" fmla="*/ 73 h 88"/>
                  <a:gd name="T2" fmla="*/ 76 w 84"/>
                  <a:gd name="T3" fmla="*/ 69 h 88"/>
                  <a:gd name="T4" fmla="*/ 73 w 84"/>
                  <a:gd name="T5" fmla="*/ 65 h 88"/>
                  <a:gd name="T6" fmla="*/ 73 w 84"/>
                  <a:gd name="T7" fmla="*/ 64 h 88"/>
                  <a:gd name="T8" fmla="*/ 70 w 84"/>
                  <a:gd name="T9" fmla="*/ 62 h 88"/>
                  <a:gd name="T10" fmla="*/ 63 w 84"/>
                  <a:gd name="T11" fmla="*/ 56 h 88"/>
                  <a:gd name="T12" fmla="*/ 60 w 84"/>
                  <a:gd name="T13" fmla="*/ 49 h 88"/>
                  <a:gd name="T14" fmla="*/ 57 w 84"/>
                  <a:gd name="T15" fmla="*/ 49 h 88"/>
                  <a:gd name="T16" fmla="*/ 52 w 84"/>
                  <a:gd name="T17" fmla="*/ 45 h 88"/>
                  <a:gd name="T18" fmla="*/ 33 w 84"/>
                  <a:gd name="T19" fmla="*/ 26 h 88"/>
                  <a:gd name="T20" fmla="*/ 30 w 84"/>
                  <a:gd name="T21" fmla="*/ 11 h 88"/>
                  <a:gd name="T22" fmla="*/ 25 w 84"/>
                  <a:gd name="T23" fmla="*/ 0 h 88"/>
                  <a:gd name="T24" fmla="*/ 19 w 84"/>
                  <a:gd name="T25" fmla="*/ 8 h 88"/>
                  <a:gd name="T26" fmla="*/ 12 w 84"/>
                  <a:gd name="T27" fmla="*/ 11 h 88"/>
                  <a:gd name="T28" fmla="*/ 11 w 84"/>
                  <a:gd name="T29" fmla="*/ 15 h 88"/>
                  <a:gd name="T30" fmla="*/ 8 w 84"/>
                  <a:gd name="T31" fmla="*/ 15 h 88"/>
                  <a:gd name="T32" fmla="*/ 6 w 84"/>
                  <a:gd name="T33" fmla="*/ 19 h 88"/>
                  <a:gd name="T34" fmla="*/ 4 w 84"/>
                  <a:gd name="T35" fmla="*/ 29 h 88"/>
                  <a:gd name="T36" fmla="*/ 0 w 84"/>
                  <a:gd name="T37" fmla="*/ 42 h 88"/>
                  <a:gd name="T38" fmla="*/ 0 w 84"/>
                  <a:gd name="T39" fmla="*/ 49 h 88"/>
                  <a:gd name="T40" fmla="*/ 1 w 84"/>
                  <a:gd name="T41" fmla="*/ 54 h 88"/>
                  <a:gd name="T42" fmla="*/ 8 w 84"/>
                  <a:gd name="T43" fmla="*/ 53 h 88"/>
                  <a:gd name="T44" fmla="*/ 11 w 84"/>
                  <a:gd name="T45" fmla="*/ 53 h 88"/>
                  <a:gd name="T46" fmla="*/ 16 w 84"/>
                  <a:gd name="T47" fmla="*/ 56 h 88"/>
                  <a:gd name="T48" fmla="*/ 22 w 84"/>
                  <a:gd name="T49" fmla="*/ 48 h 88"/>
                  <a:gd name="T50" fmla="*/ 24 w 84"/>
                  <a:gd name="T51" fmla="*/ 49 h 88"/>
                  <a:gd name="T52" fmla="*/ 28 w 84"/>
                  <a:gd name="T53" fmla="*/ 53 h 88"/>
                  <a:gd name="T54" fmla="*/ 33 w 84"/>
                  <a:gd name="T55" fmla="*/ 49 h 88"/>
                  <a:gd name="T56" fmla="*/ 35 w 84"/>
                  <a:gd name="T57" fmla="*/ 53 h 88"/>
                  <a:gd name="T58" fmla="*/ 39 w 84"/>
                  <a:gd name="T59" fmla="*/ 49 h 88"/>
                  <a:gd name="T60" fmla="*/ 46 w 84"/>
                  <a:gd name="T61" fmla="*/ 53 h 88"/>
                  <a:gd name="T62" fmla="*/ 54 w 84"/>
                  <a:gd name="T63" fmla="*/ 54 h 88"/>
                  <a:gd name="T64" fmla="*/ 58 w 84"/>
                  <a:gd name="T65" fmla="*/ 59 h 88"/>
                  <a:gd name="T66" fmla="*/ 63 w 84"/>
                  <a:gd name="T67" fmla="*/ 67 h 88"/>
                  <a:gd name="T68" fmla="*/ 70 w 84"/>
                  <a:gd name="T69" fmla="*/ 73 h 88"/>
                  <a:gd name="T70" fmla="*/ 74 w 84"/>
                  <a:gd name="T71" fmla="*/ 78 h 88"/>
                  <a:gd name="T72" fmla="*/ 73 w 84"/>
                  <a:gd name="T73" fmla="*/ 84 h 88"/>
                  <a:gd name="T74" fmla="*/ 79 w 84"/>
                  <a:gd name="T75" fmla="*/ 88 h 88"/>
                  <a:gd name="T76" fmla="*/ 84 w 84"/>
                  <a:gd name="T77" fmla="*/ 78 h 88"/>
                  <a:gd name="T78" fmla="*/ 82 w 84"/>
                  <a:gd name="T79" fmla="*/ 75 h 88"/>
                  <a:gd name="T80" fmla="*/ 82 w 84"/>
                  <a:gd name="T81" fmla="*/ 75 h 88"/>
                  <a:gd name="T82" fmla="*/ 82 w 84"/>
                  <a:gd name="T83" fmla="*/ 75 h 88"/>
                  <a:gd name="T84" fmla="*/ 82 w 84"/>
                  <a:gd name="T85" fmla="*/ 75 h 88"/>
                  <a:gd name="T86" fmla="*/ 82 w 84"/>
                  <a:gd name="T87" fmla="*/ 7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 h="88">
                    <a:moveTo>
                      <a:pt x="82" y="75"/>
                    </a:moveTo>
                    <a:lnTo>
                      <a:pt x="81" y="73"/>
                    </a:lnTo>
                    <a:lnTo>
                      <a:pt x="77" y="70"/>
                    </a:lnTo>
                    <a:lnTo>
                      <a:pt x="76" y="69"/>
                    </a:lnTo>
                    <a:lnTo>
                      <a:pt x="76" y="69"/>
                    </a:lnTo>
                    <a:lnTo>
                      <a:pt x="73" y="65"/>
                    </a:lnTo>
                    <a:lnTo>
                      <a:pt x="73" y="65"/>
                    </a:lnTo>
                    <a:lnTo>
                      <a:pt x="73" y="64"/>
                    </a:lnTo>
                    <a:lnTo>
                      <a:pt x="73" y="64"/>
                    </a:lnTo>
                    <a:lnTo>
                      <a:pt x="70" y="62"/>
                    </a:lnTo>
                    <a:lnTo>
                      <a:pt x="66" y="59"/>
                    </a:lnTo>
                    <a:lnTo>
                      <a:pt x="63" y="56"/>
                    </a:lnTo>
                    <a:lnTo>
                      <a:pt x="63" y="53"/>
                    </a:lnTo>
                    <a:lnTo>
                      <a:pt x="60" y="49"/>
                    </a:lnTo>
                    <a:lnTo>
                      <a:pt x="57" y="49"/>
                    </a:lnTo>
                    <a:lnTo>
                      <a:pt x="57" y="49"/>
                    </a:lnTo>
                    <a:lnTo>
                      <a:pt x="52" y="45"/>
                    </a:lnTo>
                    <a:lnTo>
                      <a:pt x="52" y="45"/>
                    </a:lnTo>
                    <a:lnTo>
                      <a:pt x="52" y="45"/>
                    </a:lnTo>
                    <a:lnTo>
                      <a:pt x="33" y="26"/>
                    </a:lnTo>
                    <a:lnTo>
                      <a:pt x="33" y="22"/>
                    </a:lnTo>
                    <a:lnTo>
                      <a:pt x="30" y="11"/>
                    </a:lnTo>
                    <a:lnTo>
                      <a:pt x="28" y="7"/>
                    </a:lnTo>
                    <a:lnTo>
                      <a:pt x="25" y="0"/>
                    </a:lnTo>
                    <a:lnTo>
                      <a:pt x="22" y="5"/>
                    </a:lnTo>
                    <a:lnTo>
                      <a:pt x="19" y="8"/>
                    </a:lnTo>
                    <a:lnTo>
                      <a:pt x="16" y="10"/>
                    </a:lnTo>
                    <a:lnTo>
                      <a:pt x="12" y="11"/>
                    </a:lnTo>
                    <a:lnTo>
                      <a:pt x="12" y="15"/>
                    </a:lnTo>
                    <a:lnTo>
                      <a:pt x="11" y="15"/>
                    </a:lnTo>
                    <a:lnTo>
                      <a:pt x="9" y="15"/>
                    </a:lnTo>
                    <a:lnTo>
                      <a:pt x="8" y="15"/>
                    </a:lnTo>
                    <a:lnTo>
                      <a:pt x="6" y="18"/>
                    </a:lnTo>
                    <a:lnTo>
                      <a:pt x="6" y="19"/>
                    </a:lnTo>
                    <a:lnTo>
                      <a:pt x="6" y="26"/>
                    </a:lnTo>
                    <a:lnTo>
                      <a:pt x="4" y="29"/>
                    </a:lnTo>
                    <a:lnTo>
                      <a:pt x="3" y="35"/>
                    </a:lnTo>
                    <a:lnTo>
                      <a:pt x="0" y="42"/>
                    </a:lnTo>
                    <a:lnTo>
                      <a:pt x="0" y="46"/>
                    </a:lnTo>
                    <a:lnTo>
                      <a:pt x="0" y="49"/>
                    </a:lnTo>
                    <a:lnTo>
                      <a:pt x="1" y="56"/>
                    </a:lnTo>
                    <a:lnTo>
                      <a:pt x="1" y="54"/>
                    </a:lnTo>
                    <a:lnTo>
                      <a:pt x="3" y="53"/>
                    </a:lnTo>
                    <a:lnTo>
                      <a:pt x="8" y="53"/>
                    </a:lnTo>
                    <a:lnTo>
                      <a:pt x="9" y="53"/>
                    </a:lnTo>
                    <a:lnTo>
                      <a:pt x="11" y="53"/>
                    </a:lnTo>
                    <a:lnTo>
                      <a:pt x="14" y="54"/>
                    </a:lnTo>
                    <a:lnTo>
                      <a:pt x="16" y="56"/>
                    </a:lnTo>
                    <a:lnTo>
                      <a:pt x="19" y="46"/>
                    </a:lnTo>
                    <a:lnTo>
                      <a:pt x="22" y="48"/>
                    </a:lnTo>
                    <a:lnTo>
                      <a:pt x="22" y="49"/>
                    </a:lnTo>
                    <a:lnTo>
                      <a:pt x="24" y="49"/>
                    </a:lnTo>
                    <a:lnTo>
                      <a:pt x="25" y="53"/>
                    </a:lnTo>
                    <a:lnTo>
                      <a:pt x="28" y="53"/>
                    </a:lnTo>
                    <a:lnTo>
                      <a:pt x="31" y="49"/>
                    </a:lnTo>
                    <a:lnTo>
                      <a:pt x="33" y="49"/>
                    </a:lnTo>
                    <a:lnTo>
                      <a:pt x="35" y="49"/>
                    </a:lnTo>
                    <a:lnTo>
                      <a:pt x="35" y="53"/>
                    </a:lnTo>
                    <a:lnTo>
                      <a:pt x="38" y="49"/>
                    </a:lnTo>
                    <a:lnTo>
                      <a:pt x="39" y="49"/>
                    </a:lnTo>
                    <a:lnTo>
                      <a:pt x="43" y="53"/>
                    </a:lnTo>
                    <a:lnTo>
                      <a:pt x="46" y="53"/>
                    </a:lnTo>
                    <a:lnTo>
                      <a:pt x="49" y="53"/>
                    </a:lnTo>
                    <a:lnTo>
                      <a:pt x="54" y="54"/>
                    </a:lnTo>
                    <a:lnTo>
                      <a:pt x="57" y="57"/>
                    </a:lnTo>
                    <a:lnTo>
                      <a:pt x="58" y="59"/>
                    </a:lnTo>
                    <a:lnTo>
                      <a:pt x="62" y="65"/>
                    </a:lnTo>
                    <a:lnTo>
                      <a:pt x="63" y="67"/>
                    </a:lnTo>
                    <a:lnTo>
                      <a:pt x="66" y="70"/>
                    </a:lnTo>
                    <a:lnTo>
                      <a:pt x="70" y="73"/>
                    </a:lnTo>
                    <a:lnTo>
                      <a:pt x="73" y="76"/>
                    </a:lnTo>
                    <a:lnTo>
                      <a:pt x="74" y="78"/>
                    </a:lnTo>
                    <a:lnTo>
                      <a:pt x="74" y="81"/>
                    </a:lnTo>
                    <a:lnTo>
                      <a:pt x="73" y="84"/>
                    </a:lnTo>
                    <a:lnTo>
                      <a:pt x="73" y="84"/>
                    </a:lnTo>
                    <a:lnTo>
                      <a:pt x="79" y="88"/>
                    </a:lnTo>
                    <a:lnTo>
                      <a:pt x="84" y="81"/>
                    </a:lnTo>
                    <a:lnTo>
                      <a:pt x="84" y="78"/>
                    </a:lnTo>
                    <a:lnTo>
                      <a:pt x="84" y="76"/>
                    </a:lnTo>
                    <a:lnTo>
                      <a:pt x="82" y="75"/>
                    </a:lnTo>
                    <a:lnTo>
                      <a:pt x="82" y="75"/>
                    </a:lnTo>
                    <a:lnTo>
                      <a:pt x="82" y="75"/>
                    </a:lnTo>
                    <a:lnTo>
                      <a:pt x="82" y="75"/>
                    </a:lnTo>
                    <a:lnTo>
                      <a:pt x="82" y="75"/>
                    </a:lnTo>
                    <a:lnTo>
                      <a:pt x="82" y="75"/>
                    </a:lnTo>
                    <a:lnTo>
                      <a:pt x="82" y="75"/>
                    </a:lnTo>
                    <a:lnTo>
                      <a:pt x="82" y="75"/>
                    </a:lnTo>
                    <a:lnTo>
                      <a:pt x="82" y="75"/>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62" name="Freeform 98">
                <a:extLst>
                  <a:ext uri="{FF2B5EF4-FFF2-40B4-BE49-F238E27FC236}">
                    <a16:creationId xmlns:a16="http://schemas.microsoft.com/office/drawing/2014/main" id="{520C173C-9239-C64D-A61F-A986E71688C0}"/>
                  </a:ext>
                </a:extLst>
              </p:cNvPr>
              <p:cNvSpPr>
                <a:spLocks/>
              </p:cNvSpPr>
              <p:nvPr/>
            </p:nvSpPr>
            <p:spPr bwMode="auto">
              <a:xfrm>
                <a:off x="6937813" y="3643787"/>
                <a:ext cx="291599" cy="437399"/>
              </a:xfrm>
              <a:custGeom>
                <a:avLst/>
                <a:gdLst>
                  <a:gd name="T0" fmla="*/ 129 w 130"/>
                  <a:gd name="T1" fmla="*/ 22 h 195"/>
                  <a:gd name="T2" fmla="*/ 129 w 130"/>
                  <a:gd name="T3" fmla="*/ 20 h 195"/>
                  <a:gd name="T4" fmla="*/ 129 w 130"/>
                  <a:gd name="T5" fmla="*/ 12 h 195"/>
                  <a:gd name="T6" fmla="*/ 129 w 130"/>
                  <a:gd name="T7" fmla="*/ 3 h 195"/>
                  <a:gd name="T8" fmla="*/ 125 w 130"/>
                  <a:gd name="T9" fmla="*/ 0 h 195"/>
                  <a:gd name="T10" fmla="*/ 119 w 130"/>
                  <a:gd name="T11" fmla="*/ 1 h 195"/>
                  <a:gd name="T12" fmla="*/ 113 w 130"/>
                  <a:gd name="T13" fmla="*/ 6 h 195"/>
                  <a:gd name="T14" fmla="*/ 103 w 130"/>
                  <a:gd name="T15" fmla="*/ 9 h 195"/>
                  <a:gd name="T16" fmla="*/ 95 w 130"/>
                  <a:gd name="T17" fmla="*/ 9 h 195"/>
                  <a:gd name="T18" fmla="*/ 87 w 130"/>
                  <a:gd name="T19" fmla="*/ 11 h 195"/>
                  <a:gd name="T20" fmla="*/ 83 w 130"/>
                  <a:gd name="T21" fmla="*/ 11 h 195"/>
                  <a:gd name="T22" fmla="*/ 78 w 130"/>
                  <a:gd name="T23" fmla="*/ 12 h 195"/>
                  <a:gd name="T24" fmla="*/ 68 w 130"/>
                  <a:gd name="T25" fmla="*/ 17 h 195"/>
                  <a:gd name="T26" fmla="*/ 59 w 130"/>
                  <a:gd name="T27" fmla="*/ 15 h 195"/>
                  <a:gd name="T28" fmla="*/ 51 w 130"/>
                  <a:gd name="T29" fmla="*/ 22 h 195"/>
                  <a:gd name="T30" fmla="*/ 43 w 130"/>
                  <a:gd name="T31" fmla="*/ 22 h 195"/>
                  <a:gd name="T32" fmla="*/ 35 w 130"/>
                  <a:gd name="T33" fmla="*/ 17 h 195"/>
                  <a:gd name="T34" fmla="*/ 29 w 130"/>
                  <a:gd name="T35" fmla="*/ 8 h 195"/>
                  <a:gd name="T36" fmla="*/ 25 w 130"/>
                  <a:gd name="T37" fmla="*/ 9 h 195"/>
                  <a:gd name="T38" fmla="*/ 24 w 130"/>
                  <a:gd name="T39" fmla="*/ 12 h 195"/>
                  <a:gd name="T40" fmla="*/ 21 w 130"/>
                  <a:gd name="T41" fmla="*/ 17 h 195"/>
                  <a:gd name="T42" fmla="*/ 21 w 130"/>
                  <a:gd name="T43" fmla="*/ 22 h 195"/>
                  <a:gd name="T44" fmla="*/ 29 w 130"/>
                  <a:gd name="T45" fmla="*/ 31 h 195"/>
                  <a:gd name="T46" fmla="*/ 32 w 130"/>
                  <a:gd name="T47" fmla="*/ 36 h 195"/>
                  <a:gd name="T48" fmla="*/ 40 w 130"/>
                  <a:gd name="T49" fmla="*/ 42 h 195"/>
                  <a:gd name="T50" fmla="*/ 60 w 130"/>
                  <a:gd name="T51" fmla="*/ 50 h 195"/>
                  <a:gd name="T52" fmla="*/ 83 w 130"/>
                  <a:gd name="T53" fmla="*/ 57 h 195"/>
                  <a:gd name="T54" fmla="*/ 52 w 130"/>
                  <a:gd name="T55" fmla="*/ 98 h 195"/>
                  <a:gd name="T56" fmla="*/ 46 w 130"/>
                  <a:gd name="T57" fmla="*/ 101 h 195"/>
                  <a:gd name="T58" fmla="*/ 32 w 130"/>
                  <a:gd name="T59" fmla="*/ 103 h 195"/>
                  <a:gd name="T60" fmla="*/ 22 w 130"/>
                  <a:gd name="T61" fmla="*/ 109 h 195"/>
                  <a:gd name="T62" fmla="*/ 13 w 130"/>
                  <a:gd name="T63" fmla="*/ 112 h 195"/>
                  <a:gd name="T64" fmla="*/ 10 w 130"/>
                  <a:gd name="T65" fmla="*/ 119 h 195"/>
                  <a:gd name="T66" fmla="*/ 2 w 130"/>
                  <a:gd name="T67" fmla="*/ 130 h 195"/>
                  <a:gd name="T68" fmla="*/ 0 w 130"/>
                  <a:gd name="T69" fmla="*/ 138 h 195"/>
                  <a:gd name="T70" fmla="*/ 0 w 130"/>
                  <a:gd name="T71" fmla="*/ 177 h 195"/>
                  <a:gd name="T72" fmla="*/ 3 w 130"/>
                  <a:gd name="T73" fmla="*/ 185 h 195"/>
                  <a:gd name="T74" fmla="*/ 6 w 130"/>
                  <a:gd name="T75" fmla="*/ 193 h 195"/>
                  <a:gd name="T76" fmla="*/ 10 w 130"/>
                  <a:gd name="T77" fmla="*/ 192 h 195"/>
                  <a:gd name="T78" fmla="*/ 13 w 130"/>
                  <a:gd name="T79" fmla="*/ 185 h 195"/>
                  <a:gd name="T80" fmla="*/ 16 w 130"/>
                  <a:gd name="T81" fmla="*/ 182 h 195"/>
                  <a:gd name="T82" fmla="*/ 32 w 130"/>
                  <a:gd name="T83" fmla="*/ 163 h 195"/>
                  <a:gd name="T84" fmla="*/ 48 w 130"/>
                  <a:gd name="T85" fmla="*/ 147 h 195"/>
                  <a:gd name="T86" fmla="*/ 65 w 130"/>
                  <a:gd name="T87" fmla="*/ 135 h 195"/>
                  <a:gd name="T88" fmla="*/ 87 w 130"/>
                  <a:gd name="T89" fmla="*/ 111 h 195"/>
                  <a:gd name="T90" fmla="*/ 94 w 130"/>
                  <a:gd name="T91" fmla="*/ 98 h 195"/>
                  <a:gd name="T92" fmla="*/ 102 w 130"/>
                  <a:gd name="T93" fmla="*/ 84 h 195"/>
                  <a:gd name="T94" fmla="*/ 106 w 130"/>
                  <a:gd name="T95" fmla="*/ 71 h 195"/>
                  <a:gd name="T96" fmla="*/ 111 w 130"/>
                  <a:gd name="T97" fmla="*/ 63 h 195"/>
                  <a:gd name="T98" fmla="*/ 116 w 130"/>
                  <a:gd name="T99" fmla="*/ 55 h 195"/>
                  <a:gd name="T100" fmla="*/ 119 w 130"/>
                  <a:gd name="T101" fmla="*/ 44 h 195"/>
                  <a:gd name="T102" fmla="*/ 125 w 130"/>
                  <a:gd name="T103" fmla="*/ 36 h 195"/>
                  <a:gd name="T104" fmla="*/ 125 w 130"/>
                  <a:gd name="T105" fmla="*/ 25 h 195"/>
                  <a:gd name="T106" fmla="*/ 129 w 130"/>
                  <a:gd name="T107" fmla="*/ 22 h 195"/>
                  <a:gd name="T108" fmla="*/ 129 w 130"/>
                  <a:gd name="T109" fmla="*/ 20 h 195"/>
                  <a:gd name="T110" fmla="*/ 129 w 130"/>
                  <a:gd name="T111" fmla="*/ 20 h 195"/>
                  <a:gd name="T112" fmla="*/ 129 w 130"/>
                  <a:gd name="T113" fmla="*/ 20 h 195"/>
                  <a:gd name="T114" fmla="*/ 129 w 130"/>
                  <a:gd name="T115" fmla="*/ 20 h 195"/>
                  <a:gd name="T116" fmla="*/ 129 w 130"/>
                  <a:gd name="T117" fmla="*/ 2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95">
                    <a:moveTo>
                      <a:pt x="129" y="20"/>
                    </a:moveTo>
                    <a:lnTo>
                      <a:pt x="129" y="22"/>
                    </a:lnTo>
                    <a:lnTo>
                      <a:pt x="125" y="22"/>
                    </a:lnTo>
                    <a:lnTo>
                      <a:pt x="129" y="20"/>
                    </a:lnTo>
                    <a:lnTo>
                      <a:pt x="129" y="17"/>
                    </a:lnTo>
                    <a:lnTo>
                      <a:pt x="129" y="12"/>
                    </a:lnTo>
                    <a:lnTo>
                      <a:pt x="129" y="8"/>
                    </a:lnTo>
                    <a:lnTo>
                      <a:pt x="129" y="3"/>
                    </a:lnTo>
                    <a:lnTo>
                      <a:pt x="129" y="1"/>
                    </a:lnTo>
                    <a:lnTo>
                      <a:pt x="125" y="0"/>
                    </a:lnTo>
                    <a:lnTo>
                      <a:pt x="122" y="0"/>
                    </a:lnTo>
                    <a:lnTo>
                      <a:pt x="119" y="1"/>
                    </a:lnTo>
                    <a:lnTo>
                      <a:pt x="116" y="4"/>
                    </a:lnTo>
                    <a:lnTo>
                      <a:pt x="113" y="6"/>
                    </a:lnTo>
                    <a:lnTo>
                      <a:pt x="108" y="6"/>
                    </a:lnTo>
                    <a:lnTo>
                      <a:pt x="103" y="9"/>
                    </a:lnTo>
                    <a:lnTo>
                      <a:pt x="98" y="9"/>
                    </a:lnTo>
                    <a:lnTo>
                      <a:pt x="95" y="9"/>
                    </a:lnTo>
                    <a:lnTo>
                      <a:pt x="94" y="9"/>
                    </a:lnTo>
                    <a:lnTo>
                      <a:pt x="87" y="11"/>
                    </a:lnTo>
                    <a:lnTo>
                      <a:pt x="84" y="11"/>
                    </a:lnTo>
                    <a:lnTo>
                      <a:pt x="83" y="11"/>
                    </a:lnTo>
                    <a:lnTo>
                      <a:pt x="79" y="11"/>
                    </a:lnTo>
                    <a:lnTo>
                      <a:pt x="78" y="12"/>
                    </a:lnTo>
                    <a:lnTo>
                      <a:pt x="73" y="15"/>
                    </a:lnTo>
                    <a:lnTo>
                      <a:pt x="68" y="17"/>
                    </a:lnTo>
                    <a:lnTo>
                      <a:pt x="64" y="17"/>
                    </a:lnTo>
                    <a:lnTo>
                      <a:pt x="59" y="15"/>
                    </a:lnTo>
                    <a:lnTo>
                      <a:pt x="57" y="17"/>
                    </a:lnTo>
                    <a:lnTo>
                      <a:pt x="51" y="22"/>
                    </a:lnTo>
                    <a:lnTo>
                      <a:pt x="46" y="22"/>
                    </a:lnTo>
                    <a:lnTo>
                      <a:pt x="43" y="22"/>
                    </a:lnTo>
                    <a:lnTo>
                      <a:pt x="38" y="20"/>
                    </a:lnTo>
                    <a:lnTo>
                      <a:pt x="35" y="17"/>
                    </a:lnTo>
                    <a:lnTo>
                      <a:pt x="32" y="11"/>
                    </a:lnTo>
                    <a:lnTo>
                      <a:pt x="29" y="8"/>
                    </a:lnTo>
                    <a:lnTo>
                      <a:pt x="29" y="6"/>
                    </a:lnTo>
                    <a:lnTo>
                      <a:pt x="25" y="9"/>
                    </a:lnTo>
                    <a:lnTo>
                      <a:pt x="24" y="11"/>
                    </a:lnTo>
                    <a:lnTo>
                      <a:pt x="24" y="12"/>
                    </a:lnTo>
                    <a:lnTo>
                      <a:pt x="22" y="12"/>
                    </a:lnTo>
                    <a:lnTo>
                      <a:pt x="21" y="17"/>
                    </a:lnTo>
                    <a:lnTo>
                      <a:pt x="21" y="20"/>
                    </a:lnTo>
                    <a:lnTo>
                      <a:pt x="21" y="22"/>
                    </a:lnTo>
                    <a:lnTo>
                      <a:pt x="24" y="25"/>
                    </a:lnTo>
                    <a:lnTo>
                      <a:pt x="29" y="31"/>
                    </a:lnTo>
                    <a:lnTo>
                      <a:pt x="29" y="34"/>
                    </a:lnTo>
                    <a:lnTo>
                      <a:pt x="32" y="36"/>
                    </a:lnTo>
                    <a:lnTo>
                      <a:pt x="35" y="39"/>
                    </a:lnTo>
                    <a:lnTo>
                      <a:pt x="40" y="42"/>
                    </a:lnTo>
                    <a:lnTo>
                      <a:pt x="48" y="46"/>
                    </a:lnTo>
                    <a:lnTo>
                      <a:pt x="60" y="50"/>
                    </a:lnTo>
                    <a:lnTo>
                      <a:pt x="76" y="57"/>
                    </a:lnTo>
                    <a:lnTo>
                      <a:pt x="83" y="57"/>
                    </a:lnTo>
                    <a:lnTo>
                      <a:pt x="87" y="57"/>
                    </a:lnTo>
                    <a:lnTo>
                      <a:pt x="52" y="98"/>
                    </a:lnTo>
                    <a:lnTo>
                      <a:pt x="51" y="101"/>
                    </a:lnTo>
                    <a:lnTo>
                      <a:pt x="46" y="101"/>
                    </a:lnTo>
                    <a:lnTo>
                      <a:pt x="38" y="100"/>
                    </a:lnTo>
                    <a:lnTo>
                      <a:pt x="32" y="103"/>
                    </a:lnTo>
                    <a:lnTo>
                      <a:pt x="25" y="108"/>
                    </a:lnTo>
                    <a:lnTo>
                      <a:pt x="22" y="109"/>
                    </a:lnTo>
                    <a:lnTo>
                      <a:pt x="19" y="111"/>
                    </a:lnTo>
                    <a:lnTo>
                      <a:pt x="13" y="112"/>
                    </a:lnTo>
                    <a:lnTo>
                      <a:pt x="13" y="115"/>
                    </a:lnTo>
                    <a:lnTo>
                      <a:pt x="10" y="119"/>
                    </a:lnTo>
                    <a:lnTo>
                      <a:pt x="3" y="125"/>
                    </a:lnTo>
                    <a:lnTo>
                      <a:pt x="2" y="130"/>
                    </a:lnTo>
                    <a:lnTo>
                      <a:pt x="0" y="135"/>
                    </a:lnTo>
                    <a:lnTo>
                      <a:pt x="0" y="138"/>
                    </a:lnTo>
                    <a:lnTo>
                      <a:pt x="0" y="141"/>
                    </a:lnTo>
                    <a:lnTo>
                      <a:pt x="0" y="177"/>
                    </a:lnTo>
                    <a:lnTo>
                      <a:pt x="0" y="182"/>
                    </a:lnTo>
                    <a:lnTo>
                      <a:pt x="3" y="185"/>
                    </a:lnTo>
                    <a:lnTo>
                      <a:pt x="6" y="192"/>
                    </a:lnTo>
                    <a:lnTo>
                      <a:pt x="6" y="193"/>
                    </a:lnTo>
                    <a:lnTo>
                      <a:pt x="6" y="195"/>
                    </a:lnTo>
                    <a:lnTo>
                      <a:pt x="10" y="192"/>
                    </a:lnTo>
                    <a:lnTo>
                      <a:pt x="10" y="192"/>
                    </a:lnTo>
                    <a:lnTo>
                      <a:pt x="13" y="185"/>
                    </a:lnTo>
                    <a:lnTo>
                      <a:pt x="14" y="185"/>
                    </a:lnTo>
                    <a:lnTo>
                      <a:pt x="16" y="182"/>
                    </a:lnTo>
                    <a:lnTo>
                      <a:pt x="21" y="176"/>
                    </a:lnTo>
                    <a:lnTo>
                      <a:pt x="32" y="163"/>
                    </a:lnTo>
                    <a:lnTo>
                      <a:pt x="43" y="154"/>
                    </a:lnTo>
                    <a:lnTo>
                      <a:pt x="48" y="147"/>
                    </a:lnTo>
                    <a:lnTo>
                      <a:pt x="54" y="144"/>
                    </a:lnTo>
                    <a:lnTo>
                      <a:pt x="65" y="135"/>
                    </a:lnTo>
                    <a:lnTo>
                      <a:pt x="76" y="125"/>
                    </a:lnTo>
                    <a:lnTo>
                      <a:pt x="87" y="111"/>
                    </a:lnTo>
                    <a:lnTo>
                      <a:pt x="91" y="104"/>
                    </a:lnTo>
                    <a:lnTo>
                      <a:pt x="94" y="98"/>
                    </a:lnTo>
                    <a:lnTo>
                      <a:pt x="97" y="92"/>
                    </a:lnTo>
                    <a:lnTo>
                      <a:pt x="102" y="84"/>
                    </a:lnTo>
                    <a:lnTo>
                      <a:pt x="103" y="79"/>
                    </a:lnTo>
                    <a:lnTo>
                      <a:pt x="106" y="71"/>
                    </a:lnTo>
                    <a:lnTo>
                      <a:pt x="110" y="66"/>
                    </a:lnTo>
                    <a:lnTo>
                      <a:pt x="111" y="63"/>
                    </a:lnTo>
                    <a:lnTo>
                      <a:pt x="113" y="57"/>
                    </a:lnTo>
                    <a:lnTo>
                      <a:pt x="116" y="55"/>
                    </a:lnTo>
                    <a:lnTo>
                      <a:pt x="118" y="49"/>
                    </a:lnTo>
                    <a:lnTo>
                      <a:pt x="119" y="44"/>
                    </a:lnTo>
                    <a:lnTo>
                      <a:pt x="122" y="39"/>
                    </a:lnTo>
                    <a:lnTo>
                      <a:pt x="125" y="36"/>
                    </a:lnTo>
                    <a:lnTo>
                      <a:pt x="125" y="31"/>
                    </a:lnTo>
                    <a:lnTo>
                      <a:pt x="125" y="25"/>
                    </a:lnTo>
                    <a:lnTo>
                      <a:pt x="125" y="22"/>
                    </a:lnTo>
                    <a:lnTo>
                      <a:pt x="129" y="22"/>
                    </a:lnTo>
                    <a:lnTo>
                      <a:pt x="130" y="22"/>
                    </a:lnTo>
                    <a:lnTo>
                      <a:pt x="129" y="20"/>
                    </a:lnTo>
                    <a:lnTo>
                      <a:pt x="129" y="20"/>
                    </a:lnTo>
                    <a:lnTo>
                      <a:pt x="129" y="20"/>
                    </a:lnTo>
                    <a:lnTo>
                      <a:pt x="129" y="20"/>
                    </a:lnTo>
                    <a:lnTo>
                      <a:pt x="129" y="20"/>
                    </a:lnTo>
                    <a:lnTo>
                      <a:pt x="129" y="20"/>
                    </a:lnTo>
                    <a:lnTo>
                      <a:pt x="129" y="20"/>
                    </a:lnTo>
                    <a:lnTo>
                      <a:pt x="129" y="20"/>
                    </a:lnTo>
                    <a:lnTo>
                      <a:pt x="129" y="2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63" name="Freeform 100">
                <a:extLst>
                  <a:ext uri="{FF2B5EF4-FFF2-40B4-BE49-F238E27FC236}">
                    <a16:creationId xmlns:a16="http://schemas.microsoft.com/office/drawing/2014/main" id="{2BD6BE19-EE94-ECDE-0707-F165AEB8CCE4}"/>
                  </a:ext>
                </a:extLst>
              </p:cNvPr>
              <p:cNvSpPr>
                <a:spLocks/>
              </p:cNvSpPr>
              <p:nvPr/>
            </p:nvSpPr>
            <p:spPr bwMode="auto">
              <a:xfrm>
                <a:off x="6713505" y="3547335"/>
                <a:ext cx="419454" cy="370107"/>
              </a:xfrm>
              <a:custGeom>
                <a:avLst/>
                <a:gdLst>
                  <a:gd name="T0" fmla="*/ 38 w 187"/>
                  <a:gd name="T1" fmla="*/ 22 h 165"/>
                  <a:gd name="T2" fmla="*/ 37 w 187"/>
                  <a:gd name="T3" fmla="*/ 31 h 165"/>
                  <a:gd name="T4" fmla="*/ 33 w 187"/>
                  <a:gd name="T5" fmla="*/ 33 h 165"/>
                  <a:gd name="T6" fmla="*/ 27 w 187"/>
                  <a:gd name="T7" fmla="*/ 43 h 165"/>
                  <a:gd name="T8" fmla="*/ 24 w 187"/>
                  <a:gd name="T9" fmla="*/ 49 h 165"/>
                  <a:gd name="T10" fmla="*/ 24 w 187"/>
                  <a:gd name="T11" fmla="*/ 55 h 165"/>
                  <a:gd name="T12" fmla="*/ 19 w 187"/>
                  <a:gd name="T13" fmla="*/ 58 h 165"/>
                  <a:gd name="T14" fmla="*/ 16 w 187"/>
                  <a:gd name="T15" fmla="*/ 63 h 165"/>
                  <a:gd name="T16" fmla="*/ 13 w 187"/>
                  <a:gd name="T17" fmla="*/ 74 h 165"/>
                  <a:gd name="T18" fmla="*/ 13 w 187"/>
                  <a:gd name="T19" fmla="*/ 89 h 165"/>
                  <a:gd name="T20" fmla="*/ 3 w 187"/>
                  <a:gd name="T21" fmla="*/ 93 h 165"/>
                  <a:gd name="T22" fmla="*/ 2 w 187"/>
                  <a:gd name="T23" fmla="*/ 98 h 165"/>
                  <a:gd name="T24" fmla="*/ 0 w 187"/>
                  <a:gd name="T25" fmla="*/ 103 h 165"/>
                  <a:gd name="T26" fmla="*/ 13 w 187"/>
                  <a:gd name="T27" fmla="*/ 109 h 165"/>
                  <a:gd name="T28" fmla="*/ 21 w 187"/>
                  <a:gd name="T29" fmla="*/ 119 h 165"/>
                  <a:gd name="T30" fmla="*/ 25 w 187"/>
                  <a:gd name="T31" fmla="*/ 133 h 165"/>
                  <a:gd name="T32" fmla="*/ 30 w 187"/>
                  <a:gd name="T33" fmla="*/ 136 h 165"/>
                  <a:gd name="T34" fmla="*/ 33 w 187"/>
                  <a:gd name="T35" fmla="*/ 139 h 165"/>
                  <a:gd name="T36" fmla="*/ 35 w 187"/>
                  <a:gd name="T37" fmla="*/ 146 h 165"/>
                  <a:gd name="T38" fmla="*/ 37 w 187"/>
                  <a:gd name="T39" fmla="*/ 149 h 165"/>
                  <a:gd name="T40" fmla="*/ 48 w 187"/>
                  <a:gd name="T41" fmla="*/ 151 h 165"/>
                  <a:gd name="T42" fmla="*/ 56 w 187"/>
                  <a:gd name="T43" fmla="*/ 155 h 165"/>
                  <a:gd name="T44" fmla="*/ 65 w 187"/>
                  <a:gd name="T45" fmla="*/ 162 h 165"/>
                  <a:gd name="T46" fmla="*/ 75 w 187"/>
                  <a:gd name="T47" fmla="*/ 165 h 165"/>
                  <a:gd name="T48" fmla="*/ 83 w 187"/>
                  <a:gd name="T49" fmla="*/ 165 h 165"/>
                  <a:gd name="T50" fmla="*/ 92 w 187"/>
                  <a:gd name="T51" fmla="*/ 155 h 165"/>
                  <a:gd name="T52" fmla="*/ 100 w 187"/>
                  <a:gd name="T53" fmla="*/ 155 h 165"/>
                  <a:gd name="T54" fmla="*/ 108 w 187"/>
                  <a:gd name="T55" fmla="*/ 158 h 165"/>
                  <a:gd name="T56" fmla="*/ 114 w 187"/>
                  <a:gd name="T57" fmla="*/ 155 h 165"/>
                  <a:gd name="T58" fmla="*/ 125 w 187"/>
                  <a:gd name="T59" fmla="*/ 151 h 165"/>
                  <a:gd name="T60" fmla="*/ 146 w 187"/>
                  <a:gd name="T61" fmla="*/ 144 h 165"/>
                  <a:gd name="T62" fmla="*/ 187 w 187"/>
                  <a:gd name="T63" fmla="*/ 100 h 165"/>
                  <a:gd name="T64" fmla="*/ 160 w 187"/>
                  <a:gd name="T65" fmla="*/ 93 h 165"/>
                  <a:gd name="T66" fmla="*/ 135 w 187"/>
                  <a:gd name="T67" fmla="*/ 82 h 165"/>
                  <a:gd name="T68" fmla="*/ 129 w 187"/>
                  <a:gd name="T69" fmla="*/ 74 h 165"/>
                  <a:gd name="T70" fmla="*/ 122 w 187"/>
                  <a:gd name="T71" fmla="*/ 63 h 165"/>
                  <a:gd name="T72" fmla="*/ 122 w 187"/>
                  <a:gd name="T73" fmla="*/ 55 h 165"/>
                  <a:gd name="T74" fmla="*/ 111 w 187"/>
                  <a:gd name="T75" fmla="*/ 57 h 165"/>
                  <a:gd name="T76" fmla="*/ 110 w 187"/>
                  <a:gd name="T77" fmla="*/ 47 h 165"/>
                  <a:gd name="T78" fmla="*/ 114 w 187"/>
                  <a:gd name="T79" fmla="*/ 39 h 165"/>
                  <a:gd name="T80" fmla="*/ 113 w 187"/>
                  <a:gd name="T81" fmla="*/ 31 h 165"/>
                  <a:gd name="T82" fmla="*/ 105 w 187"/>
                  <a:gd name="T83" fmla="*/ 22 h 165"/>
                  <a:gd name="T84" fmla="*/ 97 w 187"/>
                  <a:gd name="T85" fmla="*/ 12 h 165"/>
                  <a:gd name="T86" fmla="*/ 87 w 187"/>
                  <a:gd name="T87" fmla="*/ 8 h 165"/>
                  <a:gd name="T88" fmla="*/ 78 w 187"/>
                  <a:gd name="T89" fmla="*/ 4 h 165"/>
                  <a:gd name="T90" fmla="*/ 73 w 187"/>
                  <a:gd name="T91" fmla="*/ 4 h 165"/>
                  <a:gd name="T92" fmla="*/ 65 w 187"/>
                  <a:gd name="T93" fmla="*/ 8 h 165"/>
                  <a:gd name="T94" fmla="*/ 62 w 187"/>
                  <a:gd name="T95" fmla="*/ 1 h 165"/>
                  <a:gd name="T96" fmla="*/ 54 w 187"/>
                  <a:gd name="T97" fmla="*/ 9 h 165"/>
                  <a:gd name="T98" fmla="*/ 48 w 187"/>
                  <a:gd name="T99" fmla="*/ 8 h 165"/>
                  <a:gd name="T100" fmla="*/ 41 w 187"/>
                  <a:gd name="T101" fmla="*/ 9 h 165"/>
                  <a:gd name="T102" fmla="*/ 40 w 187"/>
                  <a:gd name="T103" fmla="*/ 17 h 165"/>
                  <a:gd name="T104" fmla="*/ 40 w 187"/>
                  <a:gd name="T105" fmla="*/ 17 h 165"/>
                  <a:gd name="T106" fmla="*/ 40 w 187"/>
                  <a:gd name="T107" fmla="*/ 1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7" h="165">
                    <a:moveTo>
                      <a:pt x="40" y="17"/>
                    </a:moveTo>
                    <a:lnTo>
                      <a:pt x="38" y="22"/>
                    </a:lnTo>
                    <a:lnTo>
                      <a:pt x="38" y="22"/>
                    </a:lnTo>
                    <a:lnTo>
                      <a:pt x="38" y="27"/>
                    </a:lnTo>
                    <a:lnTo>
                      <a:pt x="38" y="30"/>
                    </a:lnTo>
                    <a:lnTo>
                      <a:pt x="37" y="31"/>
                    </a:lnTo>
                    <a:lnTo>
                      <a:pt x="37" y="33"/>
                    </a:lnTo>
                    <a:lnTo>
                      <a:pt x="33" y="33"/>
                    </a:lnTo>
                    <a:lnTo>
                      <a:pt x="33" y="33"/>
                    </a:lnTo>
                    <a:lnTo>
                      <a:pt x="30" y="33"/>
                    </a:lnTo>
                    <a:lnTo>
                      <a:pt x="27" y="39"/>
                    </a:lnTo>
                    <a:lnTo>
                      <a:pt x="27" y="43"/>
                    </a:lnTo>
                    <a:lnTo>
                      <a:pt x="25" y="44"/>
                    </a:lnTo>
                    <a:lnTo>
                      <a:pt x="25" y="47"/>
                    </a:lnTo>
                    <a:lnTo>
                      <a:pt x="24" y="49"/>
                    </a:lnTo>
                    <a:lnTo>
                      <a:pt x="24" y="52"/>
                    </a:lnTo>
                    <a:lnTo>
                      <a:pt x="24" y="54"/>
                    </a:lnTo>
                    <a:lnTo>
                      <a:pt x="24" y="55"/>
                    </a:lnTo>
                    <a:lnTo>
                      <a:pt x="24" y="57"/>
                    </a:lnTo>
                    <a:lnTo>
                      <a:pt x="21" y="62"/>
                    </a:lnTo>
                    <a:lnTo>
                      <a:pt x="19" y="58"/>
                    </a:lnTo>
                    <a:lnTo>
                      <a:pt x="17" y="58"/>
                    </a:lnTo>
                    <a:lnTo>
                      <a:pt x="17" y="60"/>
                    </a:lnTo>
                    <a:lnTo>
                      <a:pt x="16" y="63"/>
                    </a:lnTo>
                    <a:lnTo>
                      <a:pt x="16" y="65"/>
                    </a:lnTo>
                    <a:lnTo>
                      <a:pt x="14" y="71"/>
                    </a:lnTo>
                    <a:lnTo>
                      <a:pt x="13" y="74"/>
                    </a:lnTo>
                    <a:lnTo>
                      <a:pt x="13" y="77"/>
                    </a:lnTo>
                    <a:lnTo>
                      <a:pt x="13" y="82"/>
                    </a:lnTo>
                    <a:lnTo>
                      <a:pt x="13" y="89"/>
                    </a:lnTo>
                    <a:lnTo>
                      <a:pt x="13" y="92"/>
                    </a:lnTo>
                    <a:lnTo>
                      <a:pt x="10" y="93"/>
                    </a:lnTo>
                    <a:lnTo>
                      <a:pt x="3" y="93"/>
                    </a:lnTo>
                    <a:lnTo>
                      <a:pt x="3" y="93"/>
                    </a:lnTo>
                    <a:lnTo>
                      <a:pt x="2" y="95"/>
                    </a:lnTo>
                    <a:lnTo>
                      <a:pt x="2" y="98"/>
                    </a:lnTo>
                    <a:lnTo>
                      <a:pt x="0" y="100"/>
                    </a:lnTo>
                    <a:lnTo>
                      <a:pt x="0" y="100"/>
                    </a:lnTo>
                    <a:lnTo>
                      <a:pt x="0" y="103"/>
                    </a:lnTo>
                    <a:lnTo>
                      <a:pt x="6" y="103"/>
                    </a:lnTo>
                    <a:lnTo>
                      <a:pt x="10" y="106"/>
                    </a:lnTo>
                    <a:lnTo>
                      <a:pt x="13" y="109"/>
                    </a:lnTo>
                    <a:lnTo>
                      <a:pt x="14" y="111"/>
                    </a:lnTo>
                    <a:lnTo>
                      <a:pt x="16" y="114"/>
                    </a:lnTo>
                    <a:lnTo>
                      <a:pt x="21" y="119"/>
                    </a:lnTo>
                    <a:lnTo>
                      <a:pt x="22" y="122"/>
                    </a:lnTo>
                    <a:lnTo>
                      <a:pt x="24" y="124"/>
                    </a:lnTo>
                    <a:lnTo>
                      <a:pt x="25" y="133"/>
                    </a:lnTo>
                    <a:lnTo>
                      <a:pt x="27" y="135"/>
                    </a:lnTo>
                    <a:lnTo>
                      <a:pt x="27" y="135"/>
                    </a:lnTo>
                    <a:lnTo>
                      <a:pt x="30" y="136"/>
                    </a:lnTo>
                    <a:lnTo>
                      <a:pt x="30" y="136"/>
                    </a:lnTo>
                    <a:lnTo>
                      <a:pt x="33" y="136"/>
                    </a:lnTo>
                    <a:lnTo>
                      <a:pt x="33" y="139"/>
                    </a:lnTo>
                    <a:lnTo>
                      <a:pt x="35" y="141"/>
                    </a:lnTo>
                    <a:lnTo>
                      <a:pt x="33" y="144"/>
                    </a:lnTo>
                    <a:lnTo>
                      <a:pt x="35" y="146"/>
                    </a:lnTo>
                    <a:lnTo>
                      <a:pt x="37" y="147"/>
                    </a:lnTo>
                    <a:lnTo>
                      <a:pt x="35" y="147"/>
                    </a:lnTo>
                    <a:lnTo>
                      <a:pt x="37" y="149"/>
                    </a:lnTo>
                    <a:lnTo>
                      <a:pt x="38" y="151"/>
                    </a:lnTo>
                    <a:lnTo>
                      <a:pt x="44" y="151"/>
                    </a:lnTo>
                    <a:lnTo>
                      <a:pt x="48" y="151"/>
                    </a:lnTo>
                    <a:lnTo>
                      <a:pt x="49" y="152"/>
                    </a:lnTo>
                    <a:lnTo>
                      <a:pt x="51" y="152"/>
                    </a:lnTo>
                    <a:lnTo>
                      <a:pt x="56" y="155"/>
                    </a:lnTo>
                    <a:lnTo>
                      <a:pt x="62" y="158"/>
                    </a:lnTo>
                    <a:lnTo>
                      <a:pt x="62" y="162"/>
                    </a:lnTo>
                    <a:lnTo>
                      <a:pt x="65" y="162"/>
                    </a:lnTo>
                    <a:lnTo>
                      <a:pt x="68" y="162"/>
                    </a:lnTo>
                    <a:lnTo>
                      <a:pt x="71" y="162"/>
                    </a:lnTo>
                    <a:lnTo>
                      <a:pt x="75" y="165"/>
                    </a:lnTo>
                    <a:lnTo>
                      <a:pt x="78" y="165"/>
                    </a:lnTo>
                    <a:lnTo>
                      <a:pt x="81" y="165"/>
                    </a:lnTo>
                    <a:lnTo>
                      <a:pt x="83" y="165"/>
                    </a:lnTo>
                    <a:lnTo>
                      <a:pt x="84" y="162"/>
                    </a:lnTo>
                    <a:lnTo>
                      <a:pt x="87" y="158"/>
                    </a:lnTo>
                    <a:lnTo>
                      <a:pt x="92" y="155"/>
                    </a:lnTo>
                    <a:lnTo>
                      <a:pt x="97" y="154"/>
                    </a:lnTo>
                    <a:lnTo>
                      <a:pt x="100" y="154"/>
                    </a:lnTo>
                    <a:lnTo>
                      <a:pt x="100" y="155"/>
                    </a:lnTo>
                    <a:lnTo>
                      <a:pt x="103" y="158"/>
                    </a:lnTo>
                    <a:lnTo>
                      <a:pt x="105" y="158"/>
                    </a:lnTo>
                    <a:lnTo>
                      <a:pt x="108" y="158"/>
                    </a:lnTo>
                    <a:lnTo>
                      <a:pt x="110" y="158"/>
                    </a:lnTo>
                    <a:lnTo>
                      <a:pt x="113" y="158"/>
                    </a:lnTo>
                    <a:lnTo>
                      <a:pt x="114" y="155"/>
                    </a:lnTo>
                    <a:lnTo>
                      <a:pt x="121" y="154"/>
                    </a:lnTo>
                    <a:lnTo>
                      <a:pt x="124" y="152"/>
                    </a:lnTo>
                    <a:lnTo>
                      <a:pt x="125" y="151"/>
                    </a:lnTo>
                    <a:lnTo>
                      <a:pt x="132" y="146"/>
                    </a:lnTo>
                    <a:lnTo>
                      <a:pt x="138" y="143"/>
                    </a:lnTo>
                    <a:lnTo>
                      <a:pt x="146" y="144"/>
                    </a:lnTo>
                    <a:lnTo>
                      <a:pt x="151" y="144"/>
                    </a:lnTo>
                    <a:lnTo>
                      <a:pt x="152" y="141"/>
                    </a:lnTo>
                    <a:lnTo>
                      <a:pt x="187" y="100"/>
                    </a:lnTo>
                    <a:lnTo>
                      <a:pt x="183" y="100"/>
                    </a:lnTo>
                    <a:lnTo>
                      <a:pt x="176" y="100"/>
                    </a:lnTo>
                    <a:lnTo>
                      <a:pt x="160" y="93"/>
                    </a:lnTo>
                    <a:lnTo>
                      <a:pt x="148" y="89"/>
                    </a:lnTo>
                    <a:lnTo>
                      <a:pt x="140" y="85"/>
                    </a:lnTo>
                    <a:lnTo>
                      <a:pt x="135" y="82"/>
                    </a:lnTo>
                    <a:lnTo>
                      <a:pt x="132" y="79"/>
                    </a:lnTo>
                    <a:lnTo>
                      <a:pt x="129" y="77"/>
                    </a:lnTo>
                    <a:lnTo>
                      <a:pt x="129" y="74"/>
                    </a:lnTo>
                    <a:lnTo>
                      <a:pt x="125" y="68"/>
                    </a:lnTo>
                    <a:lnTo>
                      <a:pt x="122" y="65"/>
                    </a:lnTo>
                    <a:lnTo>
                      <a:pt x="122" y="63"/>
                    </a:lnTo>
                    <a:lnTo>
                      <a:pt x="122" y="60"/>
                    </a:lnTo>
                    <a:lnTo>
                      <a:pt x="124" y="55"/>
                    </a:lnTo>
                    <a:lnTo>
                      <a:pt x="122" y="55"/>
                    </a:lnTo>
                    <a:lnTo>
                      <a:pt x="119" y="55"/>
                    </a:lnTo>
                    <a:lnTo>
                      <a:pt x="114" y="57"/>
                    </a:lnTo>
                    <a:lnTo>
                      <a:pt x="111" y="57"/>
                    </a:lnTo>
                    <a:lnTo>
                      <a:pt x="110" y="55"/>
                    </a:lnTo>
                    <a:lnTo>
                      <a:pt x="110" y="51"/>
                    </a:lnTo>
                    <a:lnTo>
                      <a:pt x="110" y="47"/>
                    </a:lnTo>
                    <a:lnTo>
                      <a:pt x="110" y="44"/>
                    </a:lnTo>
                    <a:lnTo>
                      <a:pt x="114" y="39"/>
                    </a:lnTo>
                    <a:lnTo>
                      <a:pt x="114" y="39"/>
                    </a:lnTo>
                    <a:lnTo>
                      <a:pt x="116" y="36"/>
                    </a:lnTo>
                    <a:lnTo>
                      <a:pt x="116" y="33"/>
                    </a:lnTo>
                    <a:lnTo>
                      <a:pt x="113" y="31"/>
                    </a:lnTo>
                    <a:lnTo>
                      <a:pt x="110" y="28"/>
                    </a:lnTo>
                    <a:lnTo>
                      <a:pt x="108" y="25"/>
                    </a:lnTo>
                    <a:lnTo>
                      <a:pt x="105" y="22"/>
                    </a:lnTo>
                    <a:lnTo>
                      <a:pt x="103" y="20"/>
                    </a:lnTo>
                    <a:lnTo>
                      <a:pt x="100" y="14"/>
                    </a:lnTo>
                    <a:lnTo>
                      <a:pt x="97" y="12"/>
                    </a:lnTo>
                    <a:lnTo>
                      <a:pt x="94" y="9"/>
                    </a:lnTo>
                    <a:lnTo>
                      <a:pt x="91" y="8"/>
                    </a:lnTo>
                    <a:lnTo>
                      <a:pt x="87" y="8"/>
                    </a:lnTo>
                    <a:lnTo>
                      <a:pt x="84" y="8"/>
                    </a:lnTo>
                    <a:lnTo>
                      <a:pt x="79" y="4"/>
                    </a:lnTo>
                    <a:lnTo>
                      <a:pt x="78" y="4"/>
                    </a:lnTo>
                    <a:lnTo>
                      <a:pt x="75" y="8"/>
                    </a:lnTo>
                    <a:lnTo>
                      <a:pt x="75" y="4"/>
                    </a:lnTo>
                    <a:lnTo>
                      <a:pt x="73" y="4"/>
                    </a:lnTo>
                    <a:lnTo>
                      <a:pt x="71" y="4"/>
                    </a:lnTo>
                    <a:lnTo>
                      <a:pt x="68" y="8"/>
                    </a:lnTo>
                    <a:lnTo>
                      <a:pt x="65" y="8"/>
                    </a:lnTo>
                    <a:lnTo>
                      <a:pt x="65" y="4"/>
                    </a:lnTo>
                    <a:lnTo>
                      <a:pt x="62" y="4"/>
                    </a:lnTo>
                    <a:lnTo>
                      <a:pt x="62" y="1"/>
                    </a:lnTo>
                    <a:lnTo>
                      <a:pt x="59" y="0"/>
                    </a:lnTo>
                    <a:lnTo>
                      <a:pt x="56" y="11"/>
                    </a:lnTo>
                    <a:lnTo>
                      <a:pt x="54" y="9"/>
                    </a:lnTo>
                    <a:lnTo>
                      <a:pt x="51" y="8"/>
                    </a:lnTo>
                    <a:lnTo>
                      <a:pt x="49" y="8"/>
                    </a:lnTo>
                    <a:lnTo>
                      <a:pt x="48" y="8"/>
                    </a:lnTo>
                    <a:lnTo>
                      <a:pt x="43" y="8"/>
                    </a:lnTo>
                    <a:lnTo>
                      <a:pt x="41" y="9"/>
                    </a:lnTo>
                    <a:lnTo>
                      <a:pt x="41" y="9"/>
                    </a:lnTo>
                    <a:lnTo>
                      <a:pt x="41" y="11"/>
                    </a:lnTo>
                    <a:lnTo>
                      <a:pt x="40" y="17"/>
                    </a:lnTo>
                    <a:lnTo>
                      <a:pt x="40" y="17"/>
                    </a:lnTo>
                    <a:lnTo>
                      <a:pt x="40" y="17"/>
                    </a:lnTo>
                    <a:lnTo>
                      <a:pt x="40" y="17"/>
                    </a:lnTo>
                    <a:lnTo>
                      <a:pt x="40" y="17"/>
                    </a:lnTo>
                    <a:lnTo>
                      <a:pt x="40" y="17"/>
                    </a:lnTo>
                    <a:lnTo>
                      <a:pt x="40" y="17"/>
                    </a:lnTo>
                    <a:lnTo>
                      <a:pt x="40" y="17"/>
                    </a:lnTo>
                    <a:lnTo>
                      <a:pt x="40" y="17"/>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64" name="Freeform 106">
                <a:extLst>
                  <a:ext uri="{FF2B5EF4-FFF2-40B4-BE49-F238E27FC236}">
                    <a16:creationId xmlns:a16="http://schemas.microsoft.com/office/drawing/2014/main" id="{EFEFD5C9-0AE6-0C78-97D8-A5E1D74CD4ED}"/>
                  </a:ext>
                </a:extLst>
              </p:cNvPr>
              <p:cNvSpPr>
                <a:spLocks/>
              </p:cNvSpPr>
              <p:nvPr/>
            </p:nvSpPr>
            <p:spPr bwMode="auto">
              <a:xfrm>
                <a:off x="6738180" y="3877066"/>
                <a:ext cx="228793" cy="300571"/>
              </a:xfrm>
              <a:custGeom>
                <a:avLst/>
                <a:gdLst>
                  <a:gd name="T0" fmla="*/ 95 w 102"/>
                  <a:gd name="T1" fmla="*/ 88 h 134"/>
                  <a:gd name="T2" fmla="*/ 89 w 102"/>
                  <a:gd name="T3" fmla="*/ 78 h 134"/>
                  <a:gd name="T4" fmla="*/ 89 w 102"/>
                  <a:gd name="T5" fmla="*/ 37 h 134"/>
                  <a:gd name="T6" fmla="*/ 89 w 102"/>
                  <a:gd name="T7" fmla="*/ 31 h 134"/>
                  <a:gd name="T8" fmla="*/ 94 w 102"/>
                  <a:gd name="T9" fmla="*/ 21 h 134"/>
                  <a:gd name="T10" fmla="*/ 102 w 102"/>
                  <a:gd name="T11" fmla="*/ 11 h 134"/>
                  <a:gd name="T12" fmla="*/ 97 w 102"/>
                  <a:gd name="T13" fmla="*/ 11 h 134"/>
                  <a:gd name="T14" fmla="*/ 92 w 102"/>
                  <a:gd name="T15" fmla="*/ 11 h 134"/>
                  <a:gd name="T16" fmla="*/ 89 w 102"/>
                  <a:gd name="T17" fmla="*/ 7 h 134"/>
                  <a:gd name="T18" fmla="*/ 81 w 102"/>
                  <a:gd name="T19" fmla="*/ 8 h 134"/>
                  <a:gd name="T20" fmla="*/ 73 w 102"/>
                  <a:gd name="T21" fmla="*/ 15 h 134"/>
                  <a:gd name="T22" fmla="*/ 70 w 102"/>
                  <a:gd name="T23" fmla="*/ 18 h 134"/>
                  <a:gd name="T24" fmla="*/ 64 w 102"/>
                  <a:gd name="T25" fmla="*/ 18 h 134"/>
                  <a:gd name="T26" fmla="*/ 57 w 102"/>
                  <a:gd name="T27" fmla="*/ 15 h 134"/>
                  <a:gd name="T28" fmla="*/ 51 w 102"/>
                  <a:gd name="T29" fmla="*/ 15 h 134"/>
                  <a:gd name="T30" fmla="*/ 43 w 102"/>
                  <a:gd name="T31" fmla="*/ 8 h 134"/>
                  <a:gd name="T32" fmla="*/ 37 w 102"/>
                  <a:gd name="T33" fmla="*/ 5 h 134"/>
                  <a:gd name="T34" fmla="*/ 33 w 102"/>
                  <a:gd name="T35" fmla="*/ 4 h 134"/>
                  <a:gd name="T36" fmla="*/ 26 w 102"/>
                  <a:gd name="T37" fmla="*/ 2 h 134"/>
                  <a:gd name="T38" fmla="*/ 16 w 102"/>
                  <a:gd name="T39" fmla="*/ 0 h 134"/>
                  <a:gd name="T40" fmla="*/ 5 w 102"/>
                  <a:gd name="T41" fmla="*/ 4 h 134"/>
                  <a:gd name="T42" fmla="*/ 0 w 102"/>
                  <a:gd name="T43" fmla="*/ 7 h 134"/>
                  <a:gd name="T44" fmla="*/ 2 w 102"/>
                  <a:gd name="T45" fmla="*/ 11 h 134"/>
                  <a:gd name="T46" fmla="*/ 5 w 102"/>
                  <a:gd name="T47" fmla="*/ 15 h 134"/>
                  <a:gd name="T48" fmla="*/ 5 w 102"/>
                  <a:gd name="T49" fmla="*/ 18 h 134"/>
                  <a:gd name="T50" fmla="*/ 8 w 102"/>
                  <a:gd name="T51" fmla="*/ 21 h 134"/>
                  <a:gd name="T52" fmla="*/ 11 w 102"/>
                  <a:gd name="T53" fmla="*/ 31 h 134"/>
                  <a:gd name="T54" fmla="*/ 14 w 102"/>
                  <a:gd name="T55" fmla="*/ 40 h 134"/>
                  <a:gd name="T56" fmla="*/ 11 w 102"/>
                  <a:gd name="T57" fmla="*/ 46 h 134"/>
                  <a:gd name="T58" fmla="*/ 11 w 102"/>
                  <a:gd name="T59" fmla="*/ 50 h 134"/>
                  <a:gd name="T60" fmla="*/ 5 w 102"/>
                  <a:gd name="T61" fmla="*/ 53 h 134"/>
                  <a:gd name="T62" fmla="*/ 2 w 102"/>
                  <a:gd name="T63" fmla="*/ 59 h 134"/>
                  <a:gd name="T64" fmla="*/ 2 w 102"/>
                  <a:gd name="T65" fmla="*/ 70 h 134"/>
                  <a:gd name="T66" fmla="*/ 8 w 102"/>
                  <a:gd name="T67" fmla="*/ 70 h 134"/>
                  <a:gd name="T68" fmla="*/ 11 w 102"/>
                  <a:gd name="T69" fmla="*/ 72 h 134"/>
                  <a:gd name="T70" fmla="*/ 5 w 102"/>
                  <a:gd name="T71" fmla="*/ 75 h 134"/>
                  <a:gd name="T72" fmla="*/ 2 w 102"/>
                  <a:gd name="T73" fmla="*/ 78 h 134"/>
                  <a:gd name="T74" fmla="*/ 2 w 102"/>
                  <a:gd name="T75" fmla="*/ 81 h 134"/>
                  <a:gd name="T76" fmla="*/ 46 w 102"/>
                  <a:gd name="T77" fmla="*/ 111 h 134"/>
                  <a:gd name="T78" fmla="*/ 46 w 102"/>
                  <a:gd name="T79" fmla="*/ 115 h 134"/>
                  <a:gd name="T80" fmla="*/ 48 w 102"/>
                  <a:gd name="T81" fmla="*/ 118 h 134"/>
                  <a:gd name="T82" fmla="*/ 62 w 102"/>
                  <a:gd name="T83" fmla="*/ 131 h 134"/>
                  <a:gd name="T84" fmla="*/ 67 w 102"/>
                  <a:gd name="T85" fmla="*/ 134 h 134"/>
                  <a:gd name="T86" fmla="*/ 70 w 102"/>
                  <a:gd name="T87" fmla="*/ 134 h 134"/>
                  <a:gd name="T88" fmla="*/ 72 w 102"/>
                  <a:gd name="T89" fmla="*/ 131 h 134"/>
                  <a:gd name="T90" fmla="*/ 73 w 102"/>
                  <a:gd name="T91" fmla="*/ 126 h 134"/>
                  <a:gd name="T92" fmla="*/ 75 w 102"/>
                  <a:gd name="T93" fmla="*/ 121 h 134"/>
                  <a:gd name="T94" fmla="*/ 80 w 102"/>
                  <a:gd name="T95" fmla="*/ 113 h 134"/>
                  <a:gd name="T96" fmla="*/ 81 w 102"/>
                  <a:gd name="T97" fmla="*/ 105 h 134"/>
                  <a:gd name="T98" fmla="*/ 83 w 102"/>
                  <a:gd name="T99" fmla="*/ 105 h 134"/>
                  <a:gd name="T100" fmla="*/ 86 w 102"/>
                  <a:gd name="T101" fmla="*/ 102 h 134"/>
                  <a:gd name="T102" fmla="*/ 89 w 102"/>
                  <a:gd name="T103" fmla="*/ 102 h 134"/>
                  <a:gd name="T104" fmla="*/ 89 w 102"/>
                  <a:gd name="T105" fmla="*/ 96 h 134"/>
                  <a:gd name="T106" fmla="*/ 89 w 102"/>
                  <a:gd name="T107" fmla="*/ 96 h 134"/>
                  <a:gd name="T108" fmla="*/ 94 w 102"/>
                  <a:gd name="T109" fmla="*/ 96 h 134"/>
                  <a:gd name="T110" fmla="*/ 100 w 102"/>
                  <a:gd name="T111" fmla="*/ 88 h 134"/>
                  <a:gd name="T112" fmla="*/ 97 w 102"/>
                  <a:gd name="T113" fmla="*/ 89 h 134"/>
                  <a:gd name="T114" fmla="*/ 97 w 102"/>
                  <a:gd name="T115" fmla="*/ 89 h 134"/>
                  <a:gd name="T116" fmla="*/ 97 w 102"/>
                  <a:gd name="T117" fmla="*/ 89 h 134"/>
                  <a:gd name="T118" fmla="*/ 97 w 102"/>
                  <a:gd name="T119" fmla="*/ 89 h 134"/>
                  <a:gd name="T120" fmla="*/ 97 w 102"/>
                  <a:gd name="T121" fmla="*/ 8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 h="134">
                    <a:moveTo>
                      <a:pt x="97" y="89"/>
                    </a:moveTo>
                    <a:lnTo>
                      <a:pt x="95" y="88"/>
                    </a:lnTo>
                    <a:lnTo>
                      <a:pt x="92" y="81"/>
                    </a:lnTo>
                    <a:lnTo>
                      <a:pt x="89" y="78"/>
                    </a:lnTo>
                    <a:lnTo>
                      <a:pt x="89" y="73"/>
                    </a:lnTo>
                    <a:lnTo>
                      <a:pt x="89" y="37"/>
                    </a:lnTo>
                    <a:lnTo>
                      <a:pt x="89" y="34"/>
                    </a:lnTo>
                    <a:lnTo>
                      <a:pt x="89" y="31"/>
                    </a:lnTo>
                    <a:lnTo>
                      <a:pt x="92" y="26"/>
                    </a:lnTo>
                    <a:lnTo>
                      <a:pt x="94" y="21"/>
                    </a:lnTo>
                    <a:lnTo>
                      <a:pt x="99" y="15"/>
                    </a:lnTo>
                    <a:lnTo>
                      <a:pt x="102" y="11"/>
                    </a:lnTo>
                    <a:lnTo>
                      <a:pt x="99" y="11"/>
                    </a:lnTo>
                    <a:lnTo>
                      <a:pt x="97" y="11"/>
                    </a:lnTo>
                    <a:lnTo>
                      <a:pt x="94" y="11"/>
                    </a:lnTo>
                    <a:lnTo>
                      <a:pt x="92" y="11"/>
                    </a:lnTo>
                    <a:lnTo>
                      <a:pt x="89" y="8"/>
                    </a:lnTo>
                    <a:lnTo>
                      <a:pt x="89" y="7"/>
                    </a:lnTo>
                    <a:lnTo>
                      <a:pt x="86" y="7"/>
                    </a:lnTo>
                    <a:lnTo>
                      <a:pt x="81" y="8"/>
                    </a:lnTo>
                    <a:lnTo>
                      <a:pt x="76" y="11"/>
                    </a:lnTo>
                    <a:lnTo>
                      <a:pt x="73" y="15"/>
                    </a:lnTo>
                    <a:lnTo>
                      <a:pt x="72" y="18"/>
                    </a:lnTo>
                    <a:lnTo>
                      <a:pt x="70" y="18"/>
                    </a:lnTo>
                    <a:lnTo>
                      <a:pt x="67" y="18"/>
                    </a:lnTo>
                    <a:lnTo>
                      <a:pt x="64" y="18"/>
                    </a:lnTo>
                    <a:lnTo>
                      <a:pt x="60" y="15"/>
                    </a:lnTo>
                    <a:lnTo>
                      <a:pt x="57" y="15"/>
                    </a:lnTo>
                    <a:lnTo>
                      <a:pt x="54" y="15"/>
                    </a:lnTo>
                    <a:lnTo>
                      <a:pt x="51" y="15"/>
                    </a:lnTo>
                    <a:lnTo>
                      <a:pt x="49" y="11"/>
                    </a:lnTo>
                    <a:lnTo>
                      <a:pt x="43" y="8"/>
                    </a:lnTo>
                    <a:lnTo>
                      <a:pt x="40" y="5"/>
                    </a:lnTo>
                    <a:lnTo>
                      <a:pt x="37" y="5"/>
                    </a:lnTo>
                    <a:lnTo>
                      <a:pt x="37" y="4"/>
                    </a:lnTo>
                    <a:lnTo>
                      <a:pt x="33" y="4"/>
                    </a:lnTo>
                    <a:lnTo>
                      <a:pt x="27" y="4"/>
                    </a:lnTo>
                    <a:lnTo>
                      <a:pt x="26" y="2"/>
                    </a:lnTo>
                    <a:lnTo>
                      <a:pt x="24" y="0"/>
                    </a:lnTo>
                    <a:lnTo>
                      <a:pt x="16" y="0"/>
                    </a:lnTo>
                    <a:lnTo>
                      <a:pt x="5" y="2"/>
                    </a:lnTo>
                    <a:lnTo>
                      <a:pt x="5" y="4"/>
                    </a:lnTo>
                    <a:lnTo>
                      <a:pt x="2" y="5"/>
                    </a:lnTo>
                    <a:lnTo>
                      <a:pt x="0" y="7"/>
                    </a:lnTo>
                    <a:lnTo>
                      <a:pt x="2" y="8"/>
                    </a:lnTo>
                    <a:lnTo>
                      <a:pt x="2" y="11"/>
                    </a:lnTo>
                    <a:lnTo>
                      <a:pt x="2" y="11"/>
                    </a:lnTo>
                    <a:lnTo>
                      <a:pt x="5" y="15"/>
                    </a:lnTo>
                    <a:lnTo>
                      <a:pt x="5" y="15"/>
                    </a:lnTo>
                    <a:lnTo>
                      <a:pt x="5" y="18"/>
                    </a:lnTo>
                    <a:lnTo>
                      <a:pt x="5" y="21"/>
                    </a:lnTo>
                    <a:lnTo>
                      <a:pt x="8" y="21"/>
                    </a:lnTo>
                    <a:lnTo>
                      <a:pt x="11" y="27"/>
                    </a:lnTo>
                    <a:lnTo>
                      <a:pt x="11" y="31"/>
                    </a:lnTo>
                    <a:lnTo>
                      <a:pt x="13" y="37"/>
                    </a:lnTo>
                    <a:lnTo>
                      <a:pt x="14" y="40"/>
                    </a:lnTo>
                    <a:lnTo>
                      <a:pt x="13" y="43"/>
                    </a:lnTo>
                    <a:lnTo>
                      <a:pt x="11" y="46"/>
                    </a:lnTo>
                    <a:lnTo>
                      <a:pt x="11" y="50"/>
                    </a:lnTo>
                    <a:lnTo>
                      <a:pt x="11" y="50"/>
                    </a:lnTo>
                    <a:lnTo>
                      <a:pt x="8" y="53"/>
                    </a:lnTo>
                    <a:lnTo>
                      <a:pt x="5" y="53"/>
                    </a:lnTo>
                    <a:lnTo>
                      <a:pt x="5" y="56"/>
                    </a:lnTo>
                    <a:lnTo>
                      <a:pt x="2" y="59"/>
                    </a:lnTo>
                    <a:lnTo>
                      <a:pt x="0" y="65"/>
                    </a:lnTo>
                    <a:lnTo>
                      <a:pt x="2" y="70"/>
                    </a:lnTo>
                    <a:lnTo>
                      <a:pt x="5" y="72"/>
                    </a:lnTo>
                    <a:lnTo>
                      <a:pt x="8" y="70"/>
                    </a:lnTo>
                    <a:lnTo>
                      <a:pt x="8" y="70"/>
                    </a:lnTo>
                    <a:lnTo>
                      <a:pt x="11" y="72"/>
                    </a:lnTo>
                    <a:lnTo>
                      <a:pt x="5" y="73"/>
                    </a:lnTo>
                    <a:lnTo>
                      <a:pt x="5" y="75"/>
                    </a:lnTo>
                    <a:lnTo>
                      <a:pt x="2" y="75"/>
                    </a:lnTo>
                    <a:lnTo>
                      <a:pt x="2" y="78"/>
                    </a:lnTo>
                    <a:lnTo>
                      <a:pt x="2" y="81"/>
                    </a:lnTo>
                    <a:lnTo>
                      <a:pt x="2" y="81"/>
                    </a:lnTo>
                    <a:lnTo>
                      <a:pt x="43" y="108"/>
                    </a:lnTo>
                    <a:lnTo>
                      <a:pt x="46" y="111"/>
                    </a:lnTo>
                    <a:lnTo>
                      <a:pt x="48" y="113"/>
                    </a:lnTo>
                    <a:lnTo>
                      <a:pt x="46" y="115"/>
                    </a:lnTo>
                    <a:lnTo>
                      <a:pt x="46" y="118"/>
                    </a:lnTo>
                    <a:lnTo>
                      <a:pt x="48" y="118"/>
                    </a:lnTo>
                    <a:lnTo>
                      <a:pt x="54" y="126"/>
                    </a:lnTo>
                    <a:lnTo>
                      <a:pt x="62" y="131"/>
                    </a:lnTo>
                    <a:lnTo>
                      <a:pt x="65" y="134"/>
                    </a:lnTo>
                    <a:lnTo>
                      <a:pt x="67" y="134"/>
                    </a:lnTo>
                    <a:lnTo>
                      <a:pt x="68" y="134"/>
                    </a:lnTo>
                    <a:lnTo>
                      <a:pt x="70" y="134"/>
                    </a:lnTo>
                    <a:lnTo>
                      <a:pt x="70" y="134"/>
                    </a:lnTo>
                    <a:lnTo>
                      <a:pt x="72" y="131"/>
                    </a:lnTo>
                    <a:lnTo>
                      <a:pt x="73" y="127"/>
                    </a:lnTo>
                    <a:lnTo>
                      <a:pt x="73" y="126"/>
                    </a:lnTo>
                    <a:lnTo>
                      <a:pt x="75" y="124"/>
                    </a:lnTo>
                    <a:lnTo>
                      <a:pt x="75" y="121"/>
                    </a:lnTo>
                    <a:lnTo>
                      <a:pt x="78" y="115"/>
                    </a:lnTo>
                    <a:lnTo>
                      <a:pt x="80" y="113"/>
                    </a:lnTo>
                    <a:lnTo>
                      <a:pt x="81" y="111"/>
                    </a:lnTo>
                    <a:lnTo>
                      <a:pt x="81" y="105"/>
                    </a:lnTo>
                    <a:lnTo>
                      <a:pt x="83" y="105"/>
                    </a:lnTo>
                    <a:lnTo>
                      <a:pt x="83" y="105"/>
                    </a:lnTo>
                    <a:lnTo>
                      <a:pt x="86" y="102"/>
                    </a:lnTo>
                    <a:lnTo>
                      <a:pt x="86" y="102"/>
                    </a:lnTo>
                    <a:lnTo>
                      <a:pt x="89" y="100"/>
                    </a:lnTo>
                    <a:lnTo>
                      <a:pt x="89" y="102"/>
                    </a:lnTo>
                    <a:lnTo>
                      <a:pt x="89" y="99"/>
                    </a:lnTo>
                    <a:lnTo>
                      <a:pt x="89" y="96"/>
                    </a:lnTo>
                    <a:lnTo>
                      <a:pt x="89" y="97"/>
                    </a:lnTo>
                    <a:lnTo>
                      <a:pt x="89" y="96"/>
                    </a:lnTo>
                    <a:lnTo>
                      <a:pt x="92" y="97"/>
                    </a:lnTo>
                    <a:lnTo>
                      <a:pt x="94" y="96"/>
                    </a:lnTo>
                    <a:lnTo>
                      <a:pt x="97" y="92"/>
                    </a:lnTo>
                    <a:lnTo>
                      <a:pt x="100" y="88"/>
                    </a:lnTo>
                    <a:lnTo>
                      <a:pt x="97" y="91"/>
                    </a:lnTo>
                    <a:lnTo>
                      <a:pt x="97" y="89"/>
                    </a:lnTo>
                    <a:lnTo>
                      <a:pt x="97" y="89"/>
                    </a:lnTo>
                    <a:lnTo>
                      <a:pt x="97" y="89"/>
                    </a:lnTo>
                    <a:lnTo>
                      <a:pt x="97" y="89"/>
                    </a:lnTo>
                    <a:lnTo>
                      <a:pt x="97" y="89"/>
                    </a:lnTo>
                    <a:lnTo>
                      <a:pt x="97" y="89"/>
                    </a:lnTo>
                    <a:lnTo>
                      <a:pt x="97" y="89"/>
                    </a:lnTo>
                    <a:lnTo>
                      <a:pt x="97" y="89"/>
                    </a:lnTo>
                    <a:lnTo>
                      <a:pt x="97" y="89"/>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65" name="Freeform 126">
                <a:extLst>
                  <a:ext uri="{FF2B5EF4-FFF2-40B4-BE49-F238E27FC236}">
                    <a16:creationId xmlns:a16="http://schemas.microsoft.com/office/drawing/2014/main" id="{98BD7045-DBA8-885F-B93F-2575703343E0}"/>
                  </a:ext>
                </a:extLst>
              </p:cNvPr>
              <p:cNvSpPr>
                <a:spLocks/>
              </p:cNvSpPr>
              <p:nvPr/>
            </p:nvSpPr>
            <p:spPr bwMode="auto">
              <a:xfrm>
                <a:off x="6390503" y="3282652"/>
                <a:ext cx="468802" cy="634789"/>
              </a:xfrm>
              <a:custGeom>
                <a:avLst/>
                <a:gdLst>
                  <a:gd name="T0" fmla="*/ 203 w 209"/>
                  <a:gd name="T1" fmla="*/ 70 h 283"/>
                  <a:gd name="T2" fmla="*/ 192 w 209"/>
                  <a:gd name="T3" fmla="*/ 57 h 283"/>
                  <a:gd name="T4" fmla="*/ 188 w 209"/>
                  <a:gd name="T5" fmla="*/ 32 h 283"/>
                  <a:gd name="T6" fmla="*/ 188 w 209"/>
                  <a:gd name="T7" fmla="*/ 26 h 283"/>
                  <a:gd name="T8" fmla="*/ 179 w 209"/>
                  <a:gd name="T9" fmla="*/ 10 h 283"/>
                  <a:gd name="T10" fmla="*/ 163 w 209"/>
                  <a:gd name="T11" fmla="*/ 5 h 283"/>
                  <a:gd name="T12" fmla="*/ 157 w 209"/>
                  <a:gd name="T13" fmla="*/ 11 h 283"/>
                  <a:gd name="T14" fmla="*/ 149 w 209"/>
                  <a:gd name="T15" fmla="*/ 19 h 283"/>
                  <a:gd name="T16" fmla="*/ 125 w 209"/>
                  <a:gd name="T17" fmla="*/ 16 h 283"/>
                  <a:gd name="T18" fmla="*/ 114 w 209"/>
                  <a:gd name="T19" fmla="*/ 16 h 283"/>
                  <a:gd name="T20" fmla="*/ 38 w 209"/>
                  <a:gd name="T21" fmla="*/ 45 h 283"/>
                  <a:gd name="T22" fmla="*/ 25 w 209"/>
                  <a:gd name="T23" fmla="*/ 54 h 283"/>
                  <a:gd name="T24" fmla="*/ 17 w 209"/>
                  <a:gd name="T25" fmla="*/ 107 h 283"/>
                  <a:gd name="T26" fmla="*/ 14 w 209"/>
                  <a:gd name="T27" fmla="*/ 113 h 283"/>
                  <a:gd name="T28" fmla="*/ 6 w 209"/>
                  <a:gd name="T29" fmla="*/ 122 h 283"/>
                  <a:gd name="T30" fmla="*/ 3 w 209"/>
                  <a:gd name="T31" fmla="*/ 135 h 283"/>
                  <a:gd name="T32" fmla="*/ 0 w 209"/>
                  <a:gd name="T33" fmla="*/ 148 h 283"/>
                  <a:gd name="T34" fmla="*/ 7 w 209"/>
                  <a:gd name="T35" fmla="*/ 151 h 283"/>
                  <a:gd name="T36" fmla="*/ 9 w 209"/>
                  <a:gd name="T37" fmla="*/ 157 h 283"/>
                  <a:gd name="T38" fmla="*/ 9 w 209"/>
                  <a:gd name="T39" fmla="*/ 165 h 283"/>
                  <a:gd name="T40" fmla="*/ 12 w 209"/>
                  <a:gd name="T41" fmla="*/ 175 h 283"/>
                  <a:gd name="T42" fmla="*/ 19 w 209"/>
                  <a:gd name="T43" fmla="*/ 181 h 283"/>
                  <a:gd name="T44" fmla="*/ 22 w 209"/>
                  <a:gd name="T45" fmla="*/ 202 h 283"/>
                  <a:gd name="T46" fmla="*/ 31 w 209"/>
                  <a:gd name="T47" fmla="*/ 208 h 283"/>
                  <a:gd name="T48" fmla="*/ 34 w 209"/>
                  <a:gd name="T49" fmla="*/ 215 h 283"/>
                  <a:gd name="T50" fmla="*/ 42 w 209"/>
                  <a:gd name="T51" fmla="*/ 221 h 283"/>
                  <a:gd name="T52" fmla="*/ 47 w 209"/>
                  <a:gd name="T53" fmla="*/ 227 h 283"/>
                  <a:gd name="T54" fmla="*/ 58 w 209"/>
                  <a:gd name="T55" fmla="*/ 237 h 283"/>
                  <a:gd name="T56" fmla="*/ 60 w 209"/>
                  <a:gd name="T57" fmla="*/ 242 h 283"/>
                  <a:gd name="T58" fmla="*/ 66 w 209"/>
                  <a:gd name="T59" fmla="*/ 248 h 283"/>
                  <a:gd name="T60" fmla="*/ 69 w 209"/>
                  <a:gd name="T61" fmla="*/ 257 h 283"/>
                  <a:gd name="T62" fmla="*/ 79 w 209"/>
                  <a:gd name="T63" fmla="*/ 269 h 283"/>
                  <a:gd name="T64" fmla="*/ 90 w 209"/>
                  <a:gd name="T65" fmla="*/ 267 h 283"/>
                  <a:gd name="T66" fmla="*/ 98 w 209"/>
                  <a:gd name="T67" fmla="*/ 267 h 283"/>
                  <a:gd name="T68" fmla="*/ 104 w 209"/>
                  <a:gd name="T69" fmla="*/ 273 h 283"/>
                  <a:gd name="T70" fmla="*/ 114 w 209"/>
                  <a:gd name="T71" fmla="*/ 280 h 283"/>
                  <a:gd name="T72" fmla="*/ 122 w 209"/>
                  <a:gd name="T73" fmla="*/ 276 h 283"/>
                  <a:gd name="T74" fmla="*/ 128 w 209"/>
                  <a:gd name="T75" fmla="*/ 280 h 283"/>
                  <a:gd name="T76" fmla="*/ 138 w 209"/>
                  <a:gd name="T77" fmla="*/ 278 h 283"/>
                  <a:gd name="T78" fmla="*/ 147 w 209"/>
                  <a:gd name="T79" fmla="*/ 278 h 283"/>
                  <a:gd name="T80" fmla="*/ 155 w 209"/>
                  <a:gd name="T81" fmla="*/ 272 h 283"/>
                  <a:gd name="T82" fmla="*/ 179 w 209"/>
                  <a:gd name="T83" fmla="*/ 265 h 283"/>
                  <a:gd name="T84" fmla="*/ 177 w 209"/>
                  <a:gd name="T85" fmla="*/ 257 h 283"/>
                  <a:gd name="T86" fmla="*/ 169 w 209"/>
                  <a:gd name="T87" fmla="*/ 253 h 283"/>
                  <a:gd name="T88" fmla="*/ 160 w 209"/>
                  <a:gd name="T89" fmla="*/ 232 h 283"/>
                  <a:gd name="T90" fmla="*/ 142 w 209"/>
                  <a:gd name="T91" fmla="*/ 221 h 283"/>
                  <a:gd name="T92" fmla="*/ 146 w 209"/>
                  <a:gd name="T93" fmla="*/ 211 h 283"/>
                  <a:gd name="T94" fmla="*/ 157 w 209"/>
                  <a:gd name="T95" fmla="*/ 200 h 283"/>
                  <a:gd name="T96" fmla="*/ 160 w 209"/>
                  <a:gd name="T97" fmla="*/ 181 h 283"/>
                  <a:gd name="T98" fmla="*/ 166 w 209"/>
                  <a:gd name="T99" fmla="*/ 175 h 283"/>
                  <a:gd name="T100" fmla="*/ 168 w 209"/>
                  <a:gd name="T101" fmla="*/ 165 h 283"/>
                  <a:gd name="T102" fmla="*/ 176 w 209"/>
                  <a:gd name="T103" fmla="*/ 151 h 283"/>
                  <a:gd name="T104" fmla="*/ 182 w 209"/>
                  <a:gd name="T105" fmla="*/ 145 h 283"/>
                  <a:gd name="T106" fmla="*/ 185 w 209"/>
                  <a:gd name="T107" fmla="*/ 127 h 283"/>
                  <a:gd name="T108" fmla="*/ 188 w 209"/>
                  <a:gd name="T109" fmla="*/ 102 h 283"/>
                  <a:gd name="T110" fmla="*/ 192 w 209"/>
                  <a:gd name="T111" fmla="*/ 88 h 283"/>
                  <a:gd name="T112" fmla="*/ 203 w 209"/>
                  <a:gd name="T113" fmla="*/ 81 h 283"/>
                  <a:gd name="T114" fmla="*/ 208 w 209"/>
                  <a:gd name="T115" fmla="*/ 72 h 283"/>
                  <a:gd name="T116" fmla="*/ 208 w 209"/>
                  <a:gd name="T117" fmla="*/ 7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9" h="283">
                    <a:moveTo>
                      <a:pt x="208" y="72"/>
                    </a:moveTo>
                    <a:lnTo>
                      <a:pt x="206" y="72"/>
                    </a:lnTo>
                    <a:lnTo>
                      <a:pt x="206" y="70"/>
                    </a:lnTo>
                    <a:lnTo>
                      <a:pt x="204" y="70"/>
                    </a:lnTo>
                    <a:lnTo>
                      <a:pt x="203" y="70"/>
                    </a:lnTo>
                    <a:lnTo>
                      <a:pt x="201" y="67"/>
                    </a:lnTo>
                    <a:lnTo>
                      <a:pt x="198" y="64"/>
                    </a:lnTo>
                    <a:lnTo>
                      <a:pt x="198" y="64"/>
                    </a:lnTo>
                    <a:lnTo>
                      <a:pt x="195" y="61"/>
                    </a:lnTo>
                    <a:lnTo>
                      <a:pt x="192" y="57"/>
                    </a:lnTo>
                    <a:lnTo>
                      <a:pt x="192" y="51"/>
                    </a:lnTo>
                    <a:lnTo>
                      <a:pt x="190" y="45"/>
                    </a:lnTo>
                    <a:lnTo>
                      <a:pt x="190" y="37"/>
                    </a:lnTo>
                    <a:lnTo>
                      <a:pt x="190" y="35"/>
                    </a:lnTo>
                    <a:lnTo>
                      <a:pt x="188" y="32"/>
                    </a:lnTo>
                    <a:lnTo>
                      <a:pt x="188" y="29"/>
                    </a:lnTo>
                    <a:lnTo>
                      <a:pt x="190" y="29"/>
                    </a:lnTo>
                    <a:lnTo>
                      <a:pt x="192" y="29"/>
                    </a:lnTo>
                    <a:lnTo>
                      <a:pt x="190" y="26"/>
                    </a:lnTo>
                    <a:lnTo>
                      <a:pt x="188" y="26"/>
                    </a:lnTo>
                    <a:lnTo>
                      <a:pt x="185" y="21"/>
                    </a:lnTo>
                    <a:lnTo>
                      <a:pt x="185" y="16"/>
                    </a:lnTo>
                    <a:lnTo>
                      <a:pt x="185" y="15"/>
                    </a:lnTo>
                    <a:lnTo>
                      <a:pt x="182" y="13"/>
                    </a:lnTo>
                    <a:lnTo>
                      <a:pt x="179" y="10"/>
                    </a:lnTo>
                    <a:lnTo>
                      <a:pt x="176" y="5"/>
                    </a:lnTo>
                    <a:lnTo>
                      <a:pt x="171" y="5"/>
                    </a:lnTo>
                    <a:lnTo>
                      <a:pt x="168" y="0"/>
                    </a:lnTo>
                    <a:lnTo>
                      <a:pt x="166" y="2"/>
                    </a:lnTo>
                    <a:lnTo>
                      <a:pt x="163" y="5"/>
                    </a:lnTo>
                    <a:lnTo>
                      <a:pt x="163" y="5"/>
                    </a:lnTo>
                    <a:lnTo>
                      <a:pt x="163" y="5"/>
                    </a:lnTo>
                    <a:lnTo>
                      <a:pt x="160" y="5"/>
                    </a:lnTo>
                    <a:lnTo>
                      <a:pt x="160" y="8"/>
                    </a:lnTo>
                    <a:lnTo>
                      <a:pt x="157" y="11"/>
                    </a:lnTo>
                    <a:lnTo>
                      <a:pt x="157" y="11"/>
                    </a:lnTo>
                    <a:lnTo>
                      <a:pt x="154" y="13"/>
                    </a:lnTo>
                    <a:lnTo>
                      <a:pt x="152" y="15"/>
                    </a:lnTo>
                    <a:lnTo>
                      <a:pt x="150" y="18"/>
                    </a:lnTo>
                    <a:lnTo>
                      <a:pt x="149" y="19"/>
                    </a:lnTo>
                    <a:lnTo>
                      <a:pt x="147" y="19"/>
                    </a:lnTo>
                    <a:lnTo>
                      <a:pt x="144" y="19"/>
                    </a:lnTo>
                    <a:lnTo>
                      <a:pt x="141" y="18"/>
                    </a:lnTo>
                    <a:lnTo>
                      <a:pt x="136" y="16"/>
                    </a:lnTo>
                    <a:lnTo>
                      <a:pt x="125" y="16"/>
                    </a:lnTo>
                    <a:lnTo>
                      <a:pt x="117" y="16"/>
                    </a:lnTo>
                    <a:lnTo>
                      <a:pt x="119" y="13"/>
                    </a:lnTo>
                    <a:lnTo>
                      <a:pt x="117" y="13"/>
                    </a:lnTo>
                    <a:lnTo>
                      <a:pt x="115" y="15"/>
                    </a:lnTo>
                    <a:lnTo>
                      <a:pt x="114" y="16"/>
                    </a:lnTo>
                    <a:lnTo>
                      <a:pt x="109" y="16"/>
                    </a:lnTo>
                    <a:lnTo>
                      <a:pt x="103" y="16"/>
                    </a:lnTo>
                    <a:lnTo>
                      <a:pt x="69" y="16"/>
                    </a:lnTo>
                    <a:lnTo>
                      <a:pt x="38" y="16"/>
                    </a:lnTo>
                    <a:lnTo>
                      <a:pt x="38" y="45"/>
                    </a:lnTo>
                    <a:lnTo>
                      <a:pt x="25" y="45"/>
                    </a:lnTo>
                    <a:lnTo>
                      <a:pt x="25" y="53"/>
                    </a:lnTo>
                    <a:lnTo>
                      <a:pt x="12" y="45"/>
                    </a:lnTo>
                    <a:lnTo>
                      <a:pt x="25" y="54"/>
                    </a:lnTo>
                    <a:lnTo>
                      <a:pt x="25" y="54"/>
                    </a:lnTo>
                    <a:lnTo>
                      <a:pt x="27" y="107"/>
                    </a:lnTo>
                    <a:lnTo>
                      <a:pt x="23" y="105"/>
                    </a:lnTo>
                    <a:lnTo>
                      <a:pt x="20" y="107"/>
                    </a:lnTo>
                    <a:lnTo>
                      <a:pt x="19" y="107"/>
                    </a:lnTo>
                    <a:lnTo>
                      <a:pt x="17" y="107"/>
                    </a:lnTo>
                    <a:lnTo>
                      <a:pt x="15" y="107"/>
                    </a:lnTo>
                    <a:lnTo>
                      <a:pt x="14" y="108"/>
                    </a:lnTo>
                    <a:lnTo>
                      <a:pt x="12" y="108"/>
                    </a:lnTo>
                    <a:lnTo>
                      <a:pt x="12" y="111"/>
                    </a:lnTo>
                    <a:lnTo>
                      <a:pt x="14" y="113"/>
                    </a:lnTo>
                    <a:lnTo>
                      <a:pt x="14" y="113"/>
                    </a:lnTo>
                    <a:lnTo>
                      <a:pt x="12" y="116"/>
                    </a:lnTo>
                    <a:lnTo>
                      <a:pt x="11" y="119"/>
                    </a:lnTo>
                    <a:lnTo>
                      <a:pt x="7" y="122"/>
                    </a:lnTo>
                    <a:lnTo>
                      <a:pt x="6" y="122"/>
                    </a:lnTo>
                    <a:lnTo>
                      <a:pt x="6" y="126"/>
                    </a:lnTo>
                    <a:lnTo>
                      <a:pt x="7" y="129"/>
                    </a:lnTo>
                    <a:lnTo>
                      <a:pt x="3" y="132"/>
                    </a:lnTo>
                    <a:lnTo>
                      <a:pt x="3" y="134"/>
                    </a:lnTo>
                    <a:lnTo>
                      <a:pt x="3" y="135"/>
                    </a:lnTo>
                    <a:lnTo>
                      <a:pt x="6" y="138"/>
                    </a:lnTo>
                    <a:lnTo>
                      <a:pt x="6" y="142"/>
                    </a:lnTo>
                    <a:lnTo>
                      <a:pt x="3" y="143"/>
                    </a:lnTo>
                    <a:lnTo>
                      <a:pt x="0" y="146"/>
                    </a:lnTo>
                    <a:lnTo>
                      <a:pt x="0" y="148"/>
                    </a:lnTo>
                    <a:lnTo>
                      <a:pt x="0" y="151"/>
                    </a:lnTo>
                    <a:lnTo>
                      <a:pt x="3" y="151"/>
                    </a:lnTo>
                    <a:lnTo>
                      <a:pt x="6" y="149"/>
                    </a:lnTo>
                    <a:lnTo>
                      <a:pt x="6" y="151"/>
                    </a:lnTo>
                    <a:lnTo>
                      <a:pt x="7" y="151"/>
                    </a:lnTo>
                    <a:lnTo>
                      <a:pt x="7" y="151"/>
                    </a:lnTo>
                    <a:lnTo>
                      <a:pt x="6" y="154"/>
                    </a:lnTo>
                    <a:lnTo>
                      <a:pt x="7" y="157"/>
                    </a:lnTo>
                    <a:lnTo>
                      <a:pt x="7" y="161"/>
                    </a:lnTo>
                    <a:lnTo>
                      <a:pt x="9" y="157"/>
                    </a:lnTo>
                    <a:lnTo>
                      <a:pt x="9" y="161"/>
                    </a:lnTo>
                    <a:lnTo>
                      <a:pt x="9" y="161"/>
                    </a:lnTo>
                    <a:lnTo>
                      <a:pt x="9" y="162"/>
                    </a:lnTo>
                    <a:lnTo>
                      <a:pt x="9" y="164"/>
                    </a:lnTo>
                    <a:lnTo>
                      <a:pt x="9" y="165"/>
                    </a:lnTo>
                    <a:lnTo>
                      <a:pt x="11" y="167"/>
                    </a:lnTo>
                    <a:lnTo>
                      <a:pt x="14" y="169"/>
                    </a:lnTo>
                    <a:lnTo>
                      <a:pt x="14" y="170"/>
                    </a:lnTo>
                    <a:lnTo>
                      <a:pt x="14" y="172"/>
                    </a:lnTo>
                    <a:lnTo>
                      <a:pt x="12" y="175"/>
                    </a:lnTo>
                    <a:lnTo>
                      <a:pt x="12" y="176"/>
                    </a:lnTo>
                    <a:lnTo>
                      <a:pt x="12" y="176"/>
                    </a:lnTo>
                    <a:lnTo>
                      <a:pt x="15" y="180"/>
                    </a:lnTo>
                    <a:lnTo>
                      <a:pt x="17" y="180"/>
                    </a:lnTo>
                    <a:lnTo>
                      <a:pt x="19" y="181"/>
                    </a:lnTo>
                    <a:lnTo>
                      <a:pt x="22" y="186"/>
                    </a:lnTo>
                    <a:lnTo>
                      <a:pt x="23" y="192"/>
                    </a:lnTo>
                    <a:lnTo>
                      <a:pt x="23" y="197"/>
                    </a:lnTo>
                    <a:lnTo>
                      <a:pt x="23" y="199"/>
                    </a:lnTo>
                    <a:lnTo>
                      <a:pt x="22" y="202"/>
                    </a:lnTo>
                    <a:lnTo>
                      <a:pt x="22" y="203"/>
                    </a:lnTo>
                    <a:lnTo>
                      <a:pt x="22" y="205"/>
                    </a:lnTo>
                    <a:lnTo>
                      <a:pt x="22" y="207"/>
                    </a:lnTo>
                    <a:lnTo>
                      <a:pt x="27" y="207"/>
                    </a:lnTo>
                    <a:lnTo>
                      <a:pt x="31" y="208"/>
                    </a:lnTo>
                    <a:lnTo>
                      <a:pt x="31" y="210"/>
                    </a:lnTo>
                    <a:lnTo>
                      <a:pt x="31" y="211"/>
                    </a:lnTo>
                    <a:lnTo>
                      <a:pt x="31" y="213"/>
                    </a:lnTo>
                    <a:lnTo>
                      <a:pt x="31" y="215"/>
                    </a:lnTo>
                    <a:lnTo>
                      <a:pt x="34" y="215"/>
                    </a:lnTo>
                    <a:lnTo>
                      <a:pt x="34" y="215"/>
                    </a:lnTo>
                    <a:lnTo>
                      <a:pt x="41" y="216"/>
                    </a:lnTo>
                    <a:lnTo>
                      <a:pt x="41" y="218"/>
                    </a:lnTo>
                    <a:lnTo>
                      <a:pt x="41" y="218"/>
                    </a:lnTo>
                    <a:lnTo>
                      <a:pt x="42" y="221"/>
                    </a:lnTo>
                    <a:lnTo>
                      <a:pt x="44" y="221"/>
                    </a:lnTo>
                    <a:lnTo>
                      <a:pt x="42" y="224"/>
                    </a:lnTo>
                    <a:lnTo>
                      <a:pt x="42" y="224"/>
                    </a:lnTo>
                    <a:lnTo>
                      <a:pt x="44" y="226"/>
                    </a:lnTo>
                    <a:lnTo>
                      <a:pt x="47" y="227"/>
                    </a:lnTo>
                    <a:lnTo>
                      <a:pt x="52" y="230"/>
                    </a:lnTo>
                    <a:lnTo>
                      <a:pt x="54" y="232"/>
                    </a:lnTo>
                    <a:lnTo>
                      <a:pt x="55" y="234"/>
                    </a:lnTo>
                    <a:lnTo>
                      <a:pt x="57" y="235"/>
                    </a:lnTo>
                    <a:lnTo>
                      <a:pt x="58" y="237"/>
                    </a:lnTo>
                    <a:lnTo>
                      <a:pt x="58" y="238"/>
                    </a:lnTo>
                    <a:lnTo>
                      <a:pt x="58" y="240"/>
                    </a:lnTo>
                    <a:lnTo>
                      <a:pt x="58" y="242"/>
                    </a:lnTo>
                    <a:lnTo>
                      <a:pt x="60" y="242"/>
                    </a:lnTo>
                    <a:lnTo>
                      <a:pt x="60" y="242"/>
                    </a:lnTo>
                    <a:lnTo>
                      <a:pt x="60" y="242"/>
                    </a:lnTo>
                    <a:lnTo>
                      <a:pt x="60" y="245"/>
                    </a:lnTo>
                    <a:lnTo>
                      <a:pt x="61" y="245"/>
                    </a:lnTo>
                    <a:lnTo>
                      <a:pt x="65" y="248"/>
                    </a:lnTo>
                    <a:lnTo>
                      <a:pt x="66" y="248"/>
                    </a:lnTo>
                    <a:lnTo>
                      <a:pt x="69" y="251"/>
                    </a:lnTo>
                    <a:lnTo>
                      <a:pt x="69" y="251"/>
                    </a:lnTo>
                    <a:lnTo>
                      <a:pt x="69" y="253"/>
                    </a:lnTo>
                    <a:lnTo>
                      <a:pt x="69" y="254"/>
                    </a:lnTo>
                    <a:lnTo>
                      <a:pt x="69" y="257"/>
                    </a:lnTo>
                    <a:lnTo>
                      <a:pt x="73" y="261"/>
                    </a:lnTo>
                    <a:lnTo>
                      <a:pt x="76" y="262"/>
                    </a:lnTo>
                    <a:lnTo>
                      <a:pt x="76" y="264"/>
                    </a:lnTo>
                    <a:lnTo>
                      <a:pt x="77" y="267"/>
                    </a:lnTo>
                    <a:lnTo>
                      <a:pt x="79" y="269"/>
                    </a:lnTo>
                    <a:lnTo>
                      <a:pt x="82" y="270"/>
                    </a:lnTo>
                    <a:lnTo>
                      <a:pt x="84" y="270"/>
                    </a:lnTo>
                    <a:lnTo>
                      <a:pt x="85" y="270"/>
                    </a:lnTo>
                    <a:lnTo>
                      <a:pt x="87" y="269"/>
                    </a:lnTo>
                    <a:lnTo>
                      <a:pt x="90" y="267"/>
                    </a:lnTo>
                    <a:lnTo>
                      <a:pt x="92" y="269"/>
                    </a:lnTo>
                    <a:lnTo>
                      <a:pt x="93" y="269"/>
                    </a:lnTo>
                    <a:lnTo>
                      <a:pt x="95" y="269"/>
                    </a:lnTo>
                    <a:lnTo>
                      <a:pt x="96" y="269"/>
                    </a:lnTo>
                    <a:lnTo>
                      <a:pt x="98" y="267"/>
                    </a:lnTo>
                    <a:lnTo>
                      <a:pt x="100" y="265"/>
                    </a:lnTo>
                    <a:lnTo>
                      <a:pt x="101" y="265"/>
                    </a:lnTo>
                    <a:lnTo>
                      <a:pt x="101" y="267"/>
                    </a:lnTo>
                    <a:lnTo>
                      <a:pt x="103" y="270"/>
                    </a:lnTo>
                    <a:lnTo>
                      <a:pt x="104" y="273"/>
                    </a:lnTo>
                    <a:lnTo>
                      <a:pt x="109" y="276"/>
                    </a:lnTo>
                    <a:lnTo>
                      <a:pt x="112" y="276"/>
                    </a:lnTo>
                    <a:lnTo>
                      <a:pt x="111" y="280"/>
                    </a:lnTo>
                    <a:lnTo>
                      <a:pt x="112" y="280"/>
                    </a:lnTo>
                    <a:lnTo>
                      <a:pt x="114" y="280"/>
                    </a:lnTo>
                    <a:lnTo>
                      <a:pt x="115" y="283"/>
                    </a:lnTo>
                    <a:lnTo>
                      <a:pt x="117" y="280"/>
                    </a:lnTo>
                    <a:lnTo>
                      <a:pt x="119" y="280"/>
                    </a:lnTo>
                    <a:lnTo>
                      <a:pt x="120" y="278"/>
                    </a:lnTo>
                    <a:lnTo>
                      <a:pt x="122" y="276"/>
                    </a:lnTo>
                    <a:lnTo>
                      <a:pt x="122" y="280"/>
                    </a:lnTo>
                    <a:lnTo>
                      <a:pt x="125" y="280"/>
                    </a:lnTo>
                    <a:lnTo>
                      <a:pt x="125" y="280"/>
                    </a:lnTo>
                    <a:lnTo>
                      <a:pt x="128" y="276"/>
                    </a:lnTo>
                    <a:lnTo>
                      <a:pt x="128" y="280"/>
                    </a:lnTo>
                    <a:lnTo>
                      <a:pt x="131" y="280"/>
                    </a:lnTo>
                    <a:lnTo>
                      <a:pt x="131" y="283"/>
                    </a:lnTo>
                    <a:lnTo>
                      <a:pt x="133" y="280"/>
                    </a:lnTo>
                    <a:lnTo>
                      <a:pt x="134" y="280"/>
                    </a:lnTo>
                    <a:lnTo>
                      <a:pt x="138" y="278"/>
                    </a:lnTo>
                    <a:lnTo>
                      <a:pt x="141" y="276"/>
                    </a:lnTo>
                    <a:lnTo>
                      <a:pt x="142" y="276"/>
                    </a:lnTo>
                    <a:lnTo>
                      <a:pt x="144" y="276"/>
                    </a:lnTo>
                    <a:lnTo>
                      <a:pt x="147" y="278"/>
                    </a:lnTo>
                    <a:lnTo>
                      <a:pt x="147" y="278"/>
                    </a:lnTo>
                    <a:lnTo>
                      <a:pt x="147" y="280"/>
                    </a:lnTo>
                    <a:lnTo>
                      <a:pt x="149" y="280"/>
                    </a:lnTo>
                    <a:lnTo>
                      <a:pt x="152" y="276"/>
                    </a:lnTo>
                    <a:lnTo>
                      <a:pt x="154" y="275"/>
                    </a:lnTo>
                    <a:lnTo>
                      <a:pt x="155" y="272"/>
                    </a:lnTo>
                    <a:lnTo>
                      <a:pt x="157" y="270"/>
                    </a:lnTo>
                    <a:lnTo>
                      <a:pt x="160" y="269"/>
                    </a:lnTo>
                    <a:lnTo>
                      <a:pt x="160" y="267"/>
                    </a:lnTo>
                    <a:lnTo>
                      <a:pt x="171" y="265"/>
                    </a:lnTo>
                    <a:lnTo>
                      <a:pt x="179" y="265"/>
                    </a:lnTo>
                    <a:lnTo>
                      <a:pt x="181" y="265"/>
                    </a:lnTo>
                    <a:lnTo>
                      <a:pt x="179" y="264"/>
                    </a:lnTo>
                    <a:lnTo>
                      <a:pt x="177" y="262"/>
                    </a:lnTo>
                    <a:lnTo>
                      <a:pt x="179" y="259"/>
                    </a:lnTo>
                    <a:lnTo>
                      <a:pt x="177" y="257"/>
                    </a:lnTo>
                    <a:lnTo>
                      <a:pt x="177" y="254"/>
                    </a:lnTo>
                    <a:lnTo>
                      <a:pt x="174" y="254"/>
                    </a:lnTo>
                    <a:lnTo>
                      <a:pt x="173" y="254"/>
                    </a:lnTo>
                    <a:lnTo>
                      <a:pt x="171" y="253"/>
                    </a:lnTo>
                    <a:lnTo>
                      <a:pt x="169" y="253"/>
                    </a:lnTo>
                    <a:lnTo>
                      <a:pt x="168" y="251"/>
                    </a:lnTo>
                    <a:lnTo>
                      <a:pt x="166" y="242"/>
                    </a:lnTo>
                    <a:lnTo>
                      <a:pt x="166" y="240"/>
                    </a:lnTo>
                    <a:lnTo>
                      <a:pt x="163" y="237"/>
                    </a:lnTo>
                    <a:lnTo>
                      <a:pt x="160" y="232"/>
                    </a:lnTo>
                    <a:lnTo>
                      <a:pt x="157" y="229"/>
                    </a:lnTo>
                    <a:lnTo>
                      <a:pt x="155" y="227"/>
                    </a:lnTo>
                    <a:lnTo>
                      <a:pt x="154" y="224"/>
                    </a:lnTo>
                    <a:lnTo>
                      <a:pt x="150" y="221"/>
                    </a:lnTo>
                    <a:lnTo>
                      <a:pt x="142" y="221"/>
                    </a:lnTo>
                    <a:lnTo>
                      <a:pt x="142" y="218"/>
                    </a:lnTo>
                    <a:lnTo>
                      <a:pt x="142" y="218"/>
                    </a:lnTo>
                    <a:lnTo>
                      <a:pt x="144" y="216"/>
                    </a:lnTo>
                    <a:lnTo>
                      <a:pt x="144" y="213"/>
                    </a:lnTo>
                    <a:lnTo>
                      <a:pt x="146" y="211"/>
                    </a:lnTo>
                    <a:lnTo>
                      <a:pt x="147" y="211"/>
                    </a:lnTo>
                    <a:lnTo>
                      <a:pt x="154" y="211"/>
                    </a:lnTo>
                    <a:lnTo>
                      <a:pt x="157" y="210"/>
                    </a:lnTo>
                    <a:lnTo>
                      <a:pt x="157" y="207"/>
                    </a:lnTo>
                    <a:lnTo>
                      <a:pt x="157" y="200"/>
                    </a:lnTo>
                    <a:lnTo>
                      <a:pt x="157" y="195"/>
                    </a:lnTo>
                    <a:lnTo>
                      <a:pt x="157" y="192"/>
                    </a:lnTo>
                    <a:lnTo>
                      <a:pt x="157" y="189"/>
                    </a:lnTo>
                    <a:lnTo>
                      <a:pt x="160" y="183"/>
                    </a:lnTo>
                    <a:lnTo>
                      <a:pt x="160" y="181"/>
                    </a:lnTo>
                    <a:lnTo>
                      <a:pt x="160" y="178"/>
                    </a:lnTo>
                    <a:lnTo>
                      <a:pt x="160" y="176"/>
                    </a:lnTo>
                    <a:lnTo>
                      <a:pt x="163" y="176"/>
                    </a:lnTo>
                    <a:lnTo>
                      <a:pt x="163" y="180"/>
                    </a:lnTo>
                    <a:lnTo>
                      <a:pt x="166" y="175"/>
                    </a:lnTo>
                    <a:lnTo>
                      <a:pt x="166" y="173"/>
                    </a:lnTo>
                    <a:lnTo>
                      <a:pt x="166" y="172"/>
                    </a:lnTo>
                    <a:lnTo>
                      <a:pt x="166" y="170"/>
                    </a:lnTo>
                    <a:lnTo>
                      <a:pt x="166" y="167"/>
                    </a:lnTo>
                    <a:lnTo>
                      <a:pt x="168" y="165"/>
                    </a:lnTo>
                    <a:lnTo>
                      <a:pt x="168" y="162"/>
                    </a:lnTo>
                    <a:lnTo>
                      <a:pt x="169" y="161"/>
                    </a:lnTo>
                    <a:lnTo>
                      <a:pt x="171" y="157"/>
                    </a:lnTo>
                    <a:lnTo>
                      <a:pt x="174" y="151"/>
                    </a:lnTo>
                    <a:lnTo>
                      <a:pt x="176" y="151"/>
                    </a:lnTo>
                    <a:lnTo>
                      <a:pt x="177" y="151"/>
                    </a:lnTo>
                    <a:lnTo>
                      <a:pt x="181" y="151"/>
                    </a:lnTo>
                    <a:lnTo>
                      <a:pt x="181" y="149"/>
                    </a:lnTo>
                    <a:lnTo>
                      <a:pt x="182" y="148"/>
                    </a:lnTo>
                    <a:lnTo>
                      <a:pt x="182" y="145"/>
                    </a:lnTo>
                    <a:lnTo>
                      <a:pt x="182" y="140"/>
                    </a:lnTo>
                    <a:lnTo>
                      <a:pt x="182" y="140"/>
                    </a:lnTo>
                    <a:lnTo>
                      <a:pt x="184" y="135"/>
                    </a:lnTo>
                    <a:lnTo>
                      <a:pt x="185" y="129"/>
                    </a:lnTo>
                    <a:lnTo>
                      <a:pt x="185" y="127"/>
                    </a:lnTo>
                    <a:lnTo>
                      <a:pt x="184" y="122"/>
                    </a:lnTo>
                    <a:lnTo>
                      <a:pt x="184" y="119"/>
                    </a:lnTo>
                    <a:lnTo>
                      <a:pt x="184" y="115"/>
                    </a:lnTo>
                    <a:lnTo>
                      <a:pt x="187" y="108"/>
                    </a:lnTo>
                    <a:lnTo>
                      <a:pt x="188" y="102"/>
                    </a:lnTo>
                    <a:lnTo>
                      <a:pt x="190" y="99"/>
                    </a:lnTo>
                    <a:lnTo>
                      <a:pt x="190" y="92"/>
                    </a:lnTo>
                    <a:lnTo>
                      <a:pt x="190" y="91"/>
                    </a:lnTo>
                    <a:lnTo>
                      <a:pt x="192" y="88"/>
                    </a:lnTo>
                    <a:lnTo>
                      <a:pt x="192" y="88"/>
                    </a:lnTo>
                    <a:lnTo>
                      <a:pt x="195" y="88"/>
                    </a:lnTo>
                    <a:lnTo>
                      <a:pt x="195" y="88"/>
                    </a:lnTo>
                    <a:lnTo>
                      <a:pt x="195" y="84"/>
                    </a:lnTo>
                    <a:lnTo>
                      <a:pt x="198" y="83"/>
                    </a:lnTo>
                    <a:lnTo>
                      <a:pt x="203" y="81"/>
                    </a:lnTo>
                    <a:lnTo>
                      <a:pt x="206" y="78"/>
                    </a:lnTo>
                    <a:lnTo>
                      <a:pt x="209" y="73"/>
                    </a:lnTo>
                    <a:lnTo>
                      <a:pt x="208" y="72"/>
                    </a:lnTo>
                    <a:lnTo>
                      <a:pt x="208" y="72"/>
                    </a:lnTo>
                    <a:lnTo>
                      <a:pt x="208" y="72"/>
                    </a:lnTo>
                    <a:lnTo>
                      <a:pt x="208" y="72"/>
                    </a:lnTo>
                    <a:lnTo>
                      <a:pt x="208" y="72"/>
                    </a:lnTo>
                    <a:lnTo>
                      <a:pt x="208" y="72"/>
                    </a:lnTo>
                    <a:lnTo>
                      <a:pt x="208" y="72"/>
                    </a:lnTo>
                    <a:lnTo>
                      <a:pt x="208" y="72"/>
                    </a:lnTo>
                    <a:lnTo>
                      <a:pt x="208" y="72"/>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66" name="Freeform 144">
                <a:extLst>
                  <a:ext uri="{FF2B5EF4-FFF2-40B4-BE49-F238E27FC236}">
                    <a16:creationId xmlns:a16="http://schemas.microsoft.com/office/drawing/2014/main" id="{BA6844CD-65A9-558E-2A35-08B43C398D20}"/>
                  </a:ext>
                </a:extLst>
              </p:cNvPr>
              <p:cNvSpPr>
                <a:spLocks/>
              </p:cNvSpPr>
              <p:nvPr/>
            </p:nvSpPr>
            <p:spPr bwMode="auto">
              <a:xfrm>
                <a:off x="5780388" y="3269194"/>
                <a:ext cx="441885" cy="381322"/>
              </a:xfrm>
              <a:custGeom>
                <a:avLst/>
                <a:gdLst>
                  <a:gd name="T0" fmla="*/ 192 w 197"/>
                  <a:gd name="T1" fmla="*/ 38 h 170"/>
                  <a:gd name="T2" fmla="*/ 187 w 197"/>
                  <a:gd name="T3" fmla="*/ 30 h 170"/>
                  <a:gd name="T4" fmla="*/ 186 w 197"/>
                  <a:gd name="T5" fmla="*/ 19 h 170"/>
                  <a:gd name="T6" fmla="*/ 176 w 197"/>
                  <a:gd name="T7" fmla="*/ 13 h 170"/>
                  <a:gd name="T8" fmla="*/ 173 w 197"/>
                  <a:gd name="T9" fmla="*/ 11 h 170"/>
                  <a:gd name="T10" fmla="*/ 167 w 197"/>
                  <a:gd name="T11" fmla="*/ 6 h 170"/>
                  <a:gd name="T12" fmla="*/ 156 w 197"/>
                  <a:gd name="T13" fmla="*/ 3 h 170"/>
                  <a:gd name="T14" fmla="*/ 146 w 197"/>
                  <a:gd name="T15" fmla="*/ 1 h 170"/>
                  <a:gd name="T16" fmla="*/ 78 w 197"/>
                  <a:gd name="T17" fmla="*/ 51 h 170"/>
                  <a:gd name="T18" fmla="*/ 65 w 197"/>
                  <a:gd name="T19" fmla="*/ 60 h 170"/>
                  <a:gd name="T20" fmla="*/ 51 w 197"/>
                  <a:gd name="T21" fmla="*/ 63 h 170"/>
                  <a:gd name="T22" fmla="*/ 49 w 197"/>
                  <a:gd name="T23" fmla="*/ 101 h 170"/>
                  <a:gd name="T24" fmla="*/ 45 w 197"/>
                  <a:gd name="T25" fmla="*/ 113 h 170"/>
                  <a:gd name="T26" fmla="*/ 40 w 197"/>
                  <a:gd name="T27" fmla="*/ 117 h 170"/>
                  <a:gd name="T28" fmla="*/ 33 w 197"/>
                  <a:gd name="T29" fmla="*/ 117 h 170"/>
                  <a:gd name="T30" fmla="*/ 14 w 197"/>
                  <a:gd name="T31" fmla="*/ 119 h 170"/>
                  <a:gd name="T32" fmla="*/ 6 w 197"/>
                  <a:gd name="T33" fmla="*/ 124 h 170"/>
                  <a:gd name="T34" fmla="*/ 0 w 197"/>
                  <a:gd name="T35" fmla="*/ 125 h 170"/>
                  <a:gd name="T36" fmla="*/ 2 w 197"/>
                  <a:gd name="T37" fmla="*/ 132 h 170"/>
                  <a:gd name="T38" fmla="*/ 3 w 197"/>
                  <a:gd name="T39" fmla="*/ 136 h 170"/>
                  <a:gd name="T40" fmla="*/ 14 w 197"/>
                  <a:gd name="T41" fmla="*/ 146 h 170"/>
                  <a:gd name="T42" fmla="*/ 11 w 197"/>
                  <a:gd name="T43" fmla="*/ 149 h 170"/>
                  <a:gd name="T44" fmla="*/ 21 w 197"/>
                  <a:gd name="T45" fmla="*/ 157 h 170"/>
                  <a:gd name="T46" fmla="*/ 24 w 197"/>
                  <a:gd name="T47" fmla="*/ 157 h 170"/>
                  <a:gd name="T48" fmla="*/ 24 w 197"/>
                  <a:gd name="T49" fmla="*/ 163 h 170"/>
                  <a:gd name="T50" fmla="*/ 27 w 197"/>
                  <a:gd name="T51" fmla="*/ 167 h 170"/>
                  <a:gd name="T52" fmla="*/ 27 w 197"/>
                  <a:gd name="T53" fmla="*/ 163 h 170"/>
                  <a:gd name="T54" fmla="*/ 32 w 197"/>
                  <a:gd name="T55" fmla="*/ 160 h 170"/>
                  <a:gd name="T56" fmla="*/ 33 w 197"/>
                  <a:gd name="T57" fmla="*/ 160 h 170"/>
                  <a:gd name="T58" fmla="*/ 37 w 197"/>
                  <a:gd name="T59" fmla="*/ 163 h 170"/>
                  <a:gd name="T60" fmla="*/ 41 w 197"/>
                  <a:gd name="T61" fmla="*/ 168 h 170"/>
                  <a:gd name="T62" fmla="*/ 43 w 197"/>
                  <a:gd name="T63" fmla="*/ 157 h 170"/>
                  <a:gd name="T64" fmla="*/ 48 w 197"/>
                  <a:gd name="T65" fmla="*/ 151 h 170"/>
                  <a:gd name="T66" fmla="*/ 51 w 197"/>
                  <a:gd name="T67" fmla="*/ 143 h 170"/>
                  <a:gd name="T68" fmla="*/ 59 w 197"/>
                  <a:gd name="T69" fmla="*/ 140 h 170"/>
                  <a:gd name="T70" fmla="*/ 65 w 197"/>
                  <a:gd name="T71" fmla="*/ 138 h 170"/>
                  <a:gd name="T72" fmla="*/ 75 w 197"/>
                  <a:gd name="T73" fmla="*/ 141 h 170"/>
                  <a:gd name="T74" fmla="*/ 83 w 197"/>
                  <a:gd name="T75" fmla="*/ 149 h 170"/>
                  <a:gd name="T76" fmla="*/ 87 w 197"/>
                  <a:gd name="T77" fmla="*/ 151 h 170"/>
                  <a:gd name="T78" fmla="*/ 94 w 197"/>
                  <a:gd name="T79" fmla="*/ 148 h 170"/>
                  <a:gd name="T80" fmla="*/ 103 w 197"/>
                  <a:gd name="T81" fmla="*/ 151 h 170"/>
                  <a:gd name="T82" fmla="*/ 111 w 197"/>
                  <a:gd name="T83" fmla="*/ 154 h 170"/>
                  <a:gd name="T84" fmla="*/ 119 w 197"/>
                  <a:gd name="T85" fmla="*/ 152 h 170"/>
                  <a:gd name="T86" fmla="*/ 130 w 197"/>
                  <a:gd name="T87" fmla="*/ 146 h 170"/>
                  <a:gd name="T88" fmla="*/ 140 w 197"/>
                  <a:gd name="T89" fmla="*/ 146 h 170"/>
                  <a:gd name="T90" fmla="*/ 149 w 197"/>
                  <a:gd name="T91" fmla="*/ 151 h 170"/>
                  <a:gd name="T92" fmla="*/ 156 w 197"/>
                  <a:gd name="T93" fmla="*/ 148 h 170"/>
                  <a:gd name="T94" fmla="*/ 162 w 197"/>
                  <a:gd name="T95" fmla="*/ 143 h 170"/>
                  <a:gd name="T96" fmla="*/ 167 w 197"/>
                  <a:gd name="T97" fmla="*/ 141 h 170"/>
                  <a:gd name="T98" fmla="*/ 167 w 197"/>
                  <a:gd name="T99" fmla="*/ 135 h 170"/>
                  <a:gd name="T100" fmla="*/ 168 w 197"/>
                  <a:gd name="T101" fmla="*/ 128 h 170"/>
                  <a:gd name="T102" fmla="*/ 178 w 197"/>
                  <a:gd name="T103" fmla="*/ 111 h 170"/>
                  <a:gd name="T104" fmla="*/ 191 w 197"/>
                  <a:gd name="T105" fmla="*/ 95 h 170"/>
                  <a:gd name="T106" fmla="*/ 192 w 197"/>
                  <a:gd name="T107" fmla="*/ 76 h 170"/>
                  <a:gd name="T108" fmla="*/ 195 w 197"/>
                  <a:gd name="T109" fmla="*/ 49 h 170"/>
                  <a:gd name="T110" fmla="*/ 194 w 197"/>
                  <a:gd name="T111" fmla="*/ 41 h 170"/>
                  <a:gd name="T112" fmla="*/ 194 w 197"/>
                  <a:gd name="T113" fmla="*/ 41 h 170"/>
                  <a:gd name="T114" fmla="*/ 194 w 197"/>
                  <a:gd name="T115" fmla="*/ 4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7" h="170">
                    <a:moveTo>
                      <a:pt x="194" y="41"/>
                    </a:moveTo>
                    <a:lnTo>
                      <a:pt x="192" y="41"/>
                    </a:lnTo>
                    <a:lnTo>
                      <a:pt x="192" y="38"/>
                    </a:lnTo>
                    <a:lnTo>
                      <a:pt x="192" y="38"/>
                    </a:lnTo>
                    <a:lnTo>
                      <a:pt x="189" y="32"/>
                    </a:lnTo>
                    <a:lnTo>
                      <a:pt x="187" y="30"/>
                    </a:lnTo>
                    <a:lnTo>
                      <a:pt x="187" y="27"/>
                    </a:lnTo>
                    <a:lnTo>
                      <a:pt x="186" y="19"/>
                    </a:lnTo>
                    <a:lnTo>
                      <a:pt x="186" y="19"/>
                    </a:lnTo>
                    <a:lnTo>
                      <a:pt x="186" y="14"/>
                    </a:lnTo>
                    <a:lnTo>
                      <a:pt x="184" y="8"/>
                    </a:lnTo>
                    <a:lnTo>
                      <a:pt x="176" y="13"/>
                    </a:lnTo>
                    <a:lnTo>
                      <a:pt x="175" y="13"/>
                    </a:lnTo>
                    <a:lnTo>
                      <a:pt x="175" y="11"/>
                    </a:lnTo>
                    <a:lnTo>
                      <a:pt x="173" y="11"/>
                    </a:lnTo>
                    <a:lnTo>
                      <a:pt x="170" y="8"/>
                    </a:lnTo>
                    <a:lnTo>
                      <a:pt x="168" y="8"/>
                    </a:lnTo>
                    <a:lnTo>
                      <a:pt x="167" y="6"/>
                    </a:lnTo>
                    <a:lnTo>
                      <a:pt x="162" y="5"/>
                    </a:lnTo>
                    <a:lnTo>
                      <a:pt x="159" y="5"/>
                    </a:lnTo>
                    <a:lnTo>
                      <a:pt x="156" y="3"/>
                    </a:lnTo>
                    <a:lnTo>
                      <a:pt x="149" y="1"/>
                    </a:lnTo>
                    <a:lnTo>
                      <a:pt x="146" y="0"/>
                    </a:lnTo>
                    <a:lnTo>
                      <a:pt x="146" y="1"/>
                    </a:lnTo>
                    <a:lnTo>
                      <a:pt x="111" y="25"/>
                    </a:lnTo>
                    <a:lnTo>
                      <a:pt x="94" y="38"/>
                    </a:lnTo>
                    <a:lnTo>
                      <a:pt x="78" y="51"/>
                    </a:lnTo>
                    <a:lnTo>
                      <a:pt x="75" y="55"/>
                    </a:lnTo>
                    <a:lnTo>
                      <a:pt x="70" y="59"/>
                    </a:lnTo>
                    <a:lnTo>
                      <a:pt x="65" y="60"/>
                    </a:lnTo>
                    <a:lnTo>
                      <a:pt x="62" y="60"/>
                    </a:lnTo>
                    <a:lnTo>
                      <a:pt x="52" y="63"/>
                    </a:lnTo>
                    <a:lnTo>
                      <a:pt x="51" y="63"/>
                    </a:lnTo>
                    <a:lnTo>
                      <a:pt x="51" y="78"/>
                    </a:lnTo>
                    <a:lnTo>
                      <a:pt x="51" y="95"/>
                    </a:lnTo>
                    <a:lnTo>
                      <a:pt x="49" y="101"/>
                    </a:lnTo>
                    <a:lnTo>
                      <a:pt x="48" y="108"/>
                    </a:lnTo>
                    <a:lnTo>
                      <a:pt x="46" y="111"/>
                    </a:lnTo>
                    <a:lnTo>
                      <a:pt x="45" y="113"/>
                    </a:lnTo>
                    <a:lnTo>
                      <a:pt x="43" y="114"/>
                    </a:lnTo>
                    <a:lnTo>
                      <a:pt x="41" y="117"/>
                    </a:lnTo>
                    <a:lnTo>
                      <a:pt x="40" y="117"/>
                    </a:lnTo>
                    <a:lnTo>
                      <a:pt x="37" y="117"/>
                    </a:lnTo>
                    <a:lnTo>
                      <a:pt x="35" y="117"/>
                    </a:lnTo>
                    <a:lnTo>
                      <a:pt x="33" y="117"/>
                    </a:lnTo>
                    <a:lnTo>
                      <a:pt x="27" y="119"/>
                    </a:lnTo>
                    <a:lnTo>
                      <a:pt x="21" y="119"/>
                    </a:lnTo>
                    <a:lnTo>
                      <a:pt x="14" y="119"/>
                    </a:lnTo>
                    <a:lnTo>
                      <a:pt x="11" y="122"/>
                    </a:lnTo>
                    <a:lnTo>
                      <a:pt x="8" y="124"/>
                    </a:lnTo>
                    <a:lnTo>
                      <a:pt x="6" y="124"/>
                    </a:lnTo>
                    <a:lnTo>
                      <a:pt x="2" y="124"/>
                    </a:lnTo>
                    <a:lnTo>
                      <a:pt x="0" y="124"/>
                    </a:lnTo>
                    <a:lnTo>
                      <a:pt x="0" y="125"/>
                    </a:lnTo>
                    <a:lnTo>
                      <a:pt x="0" y="127"/>
                    </a:lnTo>
                    <a:lnTo>
                      <a:pt x="0" y="128"/>
                    </a:lnTo>
                    <a:lnTo>
                      <a:pt x="2" y="132"/>
                    </a:lnTo>
                    <a:lnTo>
                      <a:pt x="2" y="132"/>
                    </a:lnTo>
                    <a:lnTo>
                      <a:pt x="2" y="133"/>
                    </a:lnTo>
                    <a:lnTo>
                      <a:pt x="3" y="136"/>
                    </a:lnTo>
                    <a:lnTo>
                      <a:pt x="5" y="138"/>
                    </a:lnTo>
                    <a:lnTo>
                      <a:pt x="5" y="141"/>
                    </a:lnTo>
                    <a:lnTo>
                      <a:pt x="14" y="146"/>
                    </a:lnTo>
                    <a:lnTo>
                      <a:pt x="11" y="146"/>
                    </a:lnTo>
                    <a:lnTo>
                      <a:pt x="11" y="146"/>
                    </a:lnTo>
                    <a:lnTo>
                      <a:pt x="11" y="149"/>
                    </a:lnTo>
                    <a:lnTo>
                      <a:pt x="11" y="152"/>
                    </a:lnTo>
                    <a:lnTo>
                      <a:pt x="18" y="157"/>
                    </a:lnTo>
                    <a:lnTo>
                      <a:pt x="21" y="157"/>
                    </a:lnTo>
                    <a:lnTo>
                      <a:pt x="21" y="157"/>
                    </a:lnTo>
                    <a:lnTo>
                      <a:pt x="22" y="155"/>
                    </a:lnTo>
                    <a:lnTo>
                      <a:pt x="24" y="157"/>
                    </a:lnTo>
                    <a:lnTo>
                      <a:pt x="25" y="160"/>
                    </a:lnTo>
                    <a:lnTo>
                      <a:pt x="24" y="160"/>
                    </a:lnTo>
                    <a:lnTo>
                      <a:pt x="24" y="163"/>
                    </a:lnTo>
                    <a:lnTo>
                      <a:pt x="25" y="167"/>
                    </a:lnTo>
                    <a:lnTo>
                      <a:pt x="27" y="168"/>
                    </a:lnTo>
                    <a:lnTo>
                      <a:pt x="27" y="167"/>
                    </a:lnTo>
                    <a:lnTo>
                      <a:pt x="27" y="167"/>
                    </a:lnTo>
                    <a:lnTo>
                      <a:pt x="27" y="163"/>
                    </a:lnTo>
                    <a:lnTo>
                      <a:pt x="27" y="163"/>
                    </a:lnTo>
                    <a:lnTo>
                      <a:pt x="29" y="160"/>
                    </a:lnTo>
                    <a:lnTo>
                      <a:pt x="30" y="160"/>
                    </a:lnTo>
                    <a:lnTo>
                      <a:pt x="32" y="160"/>
                    </a:lnTo>
                    <a:lnTo>
                      <a:pt x="32" y="160"/>
                    </a:lnTo>
                    <a:lnTo>
                      <a:pt x="32" y="160"/>
                    </a:lnTo>
                    <a:lnTo>
                      <a:pt x="33" y="160"/>
                    </a:lnTo>
                    <a:lnTo>
                      <a:pt x="33" y="160"/>
                    </a:lnTo>
                    <a:lnTo>
                      <a:pt x="37" y="163"/>
                    </a:lnTo>
                    <a:lnTo>
                      <a:pt x="37" y="163"/>
                    </a:lnTo>
                    <a:lnTo>
                      <a:pt x="41" y="170"/>
                    </a:lnTo>
                    <a:lnTo>
                      <a:pt x="41" y="170"/>
                    </a:lnTo>
                    <a:lnTo>
                      <a:pt x="41" y="168"/>
                    </a:lnTo>
                    <a:lnTo>
                      <a:pt x="41" y="168"/>
                    </a:lnTo>
                    <a:lnTo>
                      <a:pt x="43" y="160"/>
                    </a:lnTo>
                    <a:lnTo>
                      <a:pt x="43" y="157"/>
                    </a:lnTo>
                    <a:lnTo>
                      <a:pt x="45" y="157"/>
                    </a:lnTo>
                    <a:lnTo>
                      <a:pt x="46" y="154"/>
                    </a:lnTo>
                    <a:lnTo>
                      <a:pt x="48" y="151"/>
                    </a:lnTo>
                    <a:lnTo>
                      <a:pt x="49" y="146"/>
                    </a:lnTo>
                    <a:lnTo>
                      <a:pt x="49" y="144"/>
                    </a:lnTo>
                    <a:lnTo>
                      <a:pt x="51" y="143"/>
                    </a:lnTo>
                    <a:lnTo>
                      <a:pt x="52" y="141"/>
                    </a:lnTo>
                    <a:lnTo>
                      <a:pt x="56" y="141"/>
                    </a:lnTo>
                    <a:lnTo>
                      <a:pt x="59" y="140"/>
                    </a:lnTo>
                    <a:lnTo>
                      <a:pt x="62" y="140"/>
                    </a:lnTo>
                    <a:lnTo>
                      <a:pt x="62" y="140"/>
                    </a:lnTo>
                    <a:lnTo>
                      <a:pt x="65" y="138"/>
                    </a:lnTo>
                    <a:lnTo>
                      <a:pt x="68" y="140"/>
                    </a:lnTo>
                    <a:lnTo>
                      <a:pt x="73" y="141"/>
                    </a:lnTo>
                    <a:lnTo>
                      <a:pt x="75" y="141"/>
                    </a:lnTo>
                    <a:lnTo>
                      <a:pt x="78" y="143"/>
                    </a:lnTo>
                    <a:lnTo>
                      <a:pt x="79" y="144"/>
                    </a:lnTo>
                    <a:lnTo>
                      <a:pt x="83" y="149"/>
                    </a:lnTo>
                    <a:lnTo>
                      <a:pt x="84" y="151"/>
                    </a:lnTo>
                    <a:lnTo>
                      <a:pt x="84" y="151"/>
                    </a:lnTo>
                    <a:lnTo>
                      <a:pt x="87" y="151"/>
                    </a:lnTo>
                    <a:lnTo>
                      <a:pt x="87" y="149"/>
                    </a:lnTo>
                    <a:lnTo>
                      <a:pt x="91" y="149"/>
                    </a:lnTo>
                    <a:lnTo>
                      <a:pt x="94" y="148"/>
                    </a:lnTo>
                    <a:lnTo>
                      <a:pt x="97" y="146"/>
                    </a:lnTo>
                    <a:lnTo>
                      <a:pt x="98" y="148"/>
                    </a:lnTo>
                    <a:lnTo>
                      <a:pt x="103" y="151"/>
                    </a:lnTo>
                    <a:lnTo>
                      <a:pt x="105" y="151"/>
                    </a:lnTo>
                    <a:lnTo>
                      <a:pt x="108" y="152"/>
                    </a:lnTo>
                    <a:lnTo>
                      <a:pt x="111" y="154"/>
                    </a:lnTo>
                    <a:lnTo>
                      <a:pt x="114" y="154"/>
                    </a:lnTo>
                    <a:lnTo>
                      <a:pt x="118" y="154"/>
                    </a:lnTo>
                    <a:lnTo>
                      <a:pt x="119" y="152"/>
                    </a:lnTo>
                    <a:lnTo>
                      <a:pt x="121" y="149"/>
                    </a:lnTo>
                    <a:lnTo>
                      <a:pt x="125" y="148"/>
                    </a:lnTo>
                    <a:lnTo>
                      <a:pt x="130" y="146"/>
                    </a:lnTo>
                    <a:lnTo>
                      <a:pt x="132" y="146"/>
                    </a:lnTo>
                    <a:lnTo>
                      <a:pt x="138" y="146"/>
                    </a:lnTo>
                    <a:lnTo>
                      <a:pt x="140" y="146"/>
                    </a:lnTo>
                    <a:lnTo>
                      <a:pt x="140" y="146"/>
                    </a:lnTo>
                    <a:lnTo>
                      <a:pt x="146" y="148"/>
                    </a:lnTo>
                    <a:lnTo>
                      <a:pt x="149" y="151"/>
                    </a:lnTo>
                    <a:lnTo>
                      <a:pt x="152" y="151"/>
                    </a:lnTo>
                    <a:lnTo>
                      <a:pt x="152" y="149"/>
                    </a:lnTo>
                    <a:lnTo>
                      <a:pt x="156" y="148"/>
                    </a:lnTo>
                    <a:lnTo>
                      <a:pt x="156" y="148"/>
                    </a:lnTo>
                    <a:lnTo>
                      <a:pt x="157" y="144"/>
                    </a:lnTo>
                    <a:lnTo>
                      <a:pt x="162" y="143"/>
                    </a:lnTo>
                    <a:lnTo>
                      <a:pt x="164" y="141"/>
                    </a:lnTo>
                    <a:lnTo>
                      <a:pt x="164" y="141"/>
                    </a:lnTo>
                    <a:lnTo>
                      <a:pt x="167" y="141"/>
                    </a:lnTo>
                    <a:lnTo>
                      <a:pt x="168" y="141"/>
                    </a:lnTo>
                    <a:lnTo>
                      <a:pt x="168" y="141"/>
                    </a:lnTo>
                    <a:lnTo>
                      <a:pt x="167" y="135"/>
                    </a:lnTo>
                    <a:lnTo>
                      <a:pt x="165" y="132"/>
                    </a:lnTo>
                    <a:lnTo>
                      <a:pt x="167" y="132"/>
                    </a:lnTo>
                    <a:lnTo>
                      <a:pt x="168" y="128"/>
                    </a:lnTo>
                    <a:lnTo>
                      <a:pt x="170" y="127"/>
                    </a:lnTo>
                    <a:lnTo>
                      <a:pt x="175" y="117"/>
                    </a:lnTo>
                    <a:lnTo>
                      <a:pt x="178" y="111"/>
                    </a:lnTo>
                    <a:lnTo>
                      <a:pt x="187" y="101"/>
                    </a:lnTo>
                    <a:lnTo>
                      <a:pt x="189" y="98"/>
                    </a:lnTo>
                    <a:lnTo>
                      <a:pt x="191" y="95"/>
                    </a:lnTo>
                    <a:lnTo>
                      <a:pt x="191" y="90"/>
                    </a:lnTo>
                    <a:lnTo>
                      <a:pt x="191" y="87"/>
                    </a:lnTo>
                    <a:lnTo>
                      <a:pt x="192" y="76"/>
                    </a:lnTo>
                    <a:lnTo>
                      <a:pt x="192" y="63"/>
                    </a:lnTo>
                    <a:lnTo>
                      <a:pt x="194" y="52"/>
                    </a:lnTo>
                    <a:lnTo>
                      <a:pt x="195" y="49"/>
                    </a:lnTo>
                    <a:lnTo>
                      <a:pt x="197" y="47"/>
                    </a:lnTo>
                    <a:lnTo>
                      <a:pt x="197" y="44"/>
                    </a:lnTo>
                    <a:lnTo>
                      <a:pt x="194" y="41"/>
                    </a:lnTo>
                    <a:lnTo>
                      <a:pt x="194" y="41"/>
                    </a:lnTo>
                    <a:lnTo>
                      <a:pt x="194" y="41"/>
                    </a:lnTo>
                    <a:lnTo>
                      <a:pt x="194" y="41"/>
                    </a:lnTo>
                    <a:lnTo>
                      <a:pt x="194" y="41"/>
                    </a:lnTo>
                    <a:lnTo>
                      <a:pt x="194" y="41"/>
                    </a:lnTo>
                    <a:lnTo>
                      <a:pt x="194" y="41"/>
                    </a:lnTo>
                    <a:lnTo>
                      <a:pt x="194" y="41"/>
                    </a:lnTo>
                    <a:lnTo>
                      <a:pt x="194" y="4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67" name="Freeform 154">
                <a:extLst>
                  <a:ext uri="{FF2B5EF4-FFF2-40B4-BE49-F238E27FC236}">
                    <a16:creationId xmlns:a16="http://schemas.microsoft.com/office/drawing/2014/main" id="{49F68541-199B-404A-DE74-2796EAB42D15}"/>
                  </a:ext>
                </a:extLst>
              </p:cNvPr>
              <p:cNvSpPr>
                <a:spLocks/>
              </p:cNvSpPr>
              <p:nvPr/>
            </p:nvSpPr>
            <p:spPr bwMode="auto">
              <a:xfrm>
                <a:off x="6154980" y="3271437"/>
                <a:ext cx="298329" cy="513663"/>
              </a:xfrm>
              <a:custGeom>
                <a:avLst/>
                <a:gdLst>
                  <a:gd name="T0" fmla="*/ 130 w 133"/>
                  <a:gd name="T1" fmla="*/ 58 h 229"/>
                  <a:gd name="T2" fmla="*/ 32 w 133"/>
                  <a:gd name="T3" fmla="*/ 0 h 229"/>
                  <a:gd name="T4" fmla="*/ 19 w 133"/>
                  <a:gd name="T5" fmla="*/ 18 h 229"/>
                  <a:gd name="T6" fmla="*/ 22 w 133"/>
                  <a:gd name="T7" fmla="*/ 29 h 229"/>
                  <a:gd name="T8" fmla="*/ 25 w 133"/>
                  <a:gd name="T9" fmla="*/ 37 h 229"/>
                  <a:gd name="T10" fmla="*/ 32 w 133"/>
                  <a:gd name="T11" fmla="*/ 43 h 229"/>
                  <a:gd name="T12" fmla="*/ 28 w 133"/>
                  <a:gd name="T13" fmla="*/ 51 h 229"/>
                  <a:gd name="T14" fmla="*/ 25 w 133"/>
                  <a:gd name="T15" fmla="*/ 86 h 229"/>
                  <a:gd name="T16" fmla="*/ 22 w 133"/>
                  <a:gd name="T17" fmla="*/ 97 h 229"/>
                  <a:gd name="T18" fmla="*/ 8 w 133"/>
                  <a:gd name="T19" fmla="*/ 116 h 229"/>
                  <a:gd name="T20" fmla="*/ 1 w 133"/>
                  <a:gd name="T21" fmla="*/ 131 h 229"/>
                  <a:gd name="T22" fmla="*/ 1 w 133"/>
                  <a:gd name="T23" fmla="*/ 140 h 229"/>
                  <a:gd name="T24" fmla="*/ 8 w 133"/>
                  <a:gd name="T25" fmla="*/ 150 h 229"/>
                  <a:gd name="T26" fmla="*/ 12 w 133"/>
                  <a:gd name="T27" fmla="*/ 150 h 229"/>
                  <a:gd name="T28" fmla="*/ 14 w 133"/>
                  <a:gd name="T29" fmla="*/ 154 h 229"/>
                  <a:gd name="T30" fmla="*/ 19 w 133"/>
                  <a:gd name="T31" fmla="*/ 162 h 229"/>
                  <a:gd name="T32" fmla="*/ 20 w 133"/>
                  <a:gd name="T33" fmla="*/ 167 h 229"/>
                  <a:gd name="T34" fmla="*/ 20 w 133"/>
                  <a:gd name="T35" fmla="*/ 181 h 229"/>
                  <a:gd name="T36" fmla="*/ 28 w 133"/>
                  <a:gd name="T37" fmla="*/ 194 h 229"/>
                  <a:gd name="T38" fmla="*/ 22 w 133"/>
                  <a:gd name="T39" fmla="*/ 194 h 229"/>
                  <a:gd name="T40" fmla="*/ 12 w 133"/>
                  <a:gd name="T41" fmla="*/ 194 h 229"/>
                  <a:gd name="T42" fmla="*/ 8 w 133"/>
                  <a:gd name="T43" fmla="*/ 197 h 229"/>
                  <a:gd name="T44" fmla="*/ 14 w 133"/>
                  <a:gd name="T45" fmla="*/ 208 h 229"/>
                  <a:gd name="T46" fmla="*/ 25 w 133"/>
                  <a:gd name="T47" fmla="*/ 223 h 229"/>
                  <a:gd name="T48" fmla="*/ 25 w 133"/>
                  <a:gd name="T49" fmla="*/ 229 h 229"/>
                  <a:gd name="T50" fmla="*/ 35 w 133"/>
                  <a:gd name="T51" fmla="*/ 229 h 229"/>
                  <a:gd name="T52" fmla="*/ 38 w 133"/>
                  <a:gd name="T53" fmla="*/ 226 h 229"/>
                  <a:gd name="T54" fmla="*/ 41 w 133"/>
                  <a:gd name="T55" fmla="*/ 226 h 229"/>
                  <a:gd name="T56" fmla="*/ 47 w 133"/>
                  <a:gd name="T57" fmla="*/ 226 h 229"/>
                  <a:gd name="T58" fmla="*/ 60 w 133"/>
                  <a:gd name="T59" fmla="*/ 223 h 229"/>
                  <a:gd name="T60" fmla="*/ 66 w 133"/>
                  <a:gd name="T61" fmla="*/ 221 h 229"/>
                  <a:gd name="T62" fmla="*/ 70 w 133"/>
                  <a:gd name="T63" fmla="*/ 212 h 229"/>
                  <a:gd name="T64" fmla="*/ 73 w 133"/>
                  <a:gd name="T65" fmla="*/ 208 h 229"/>
                  <a:gd name="T66" fmla="*/ 87 w 133"/>
                  <a:gd name="T67" fmla="*/ 205 h 229"/>
                  <a:gd name="T68" fmla="*/ 98 w 133"/>
                  <a:gd name="T69" fmla="*/ 197 h 229"/>
                  <a:gd name="T70" fmla="*/ 101 w 133"/>
                  <a:gd name="T71" fmla="*/ 191 h 229"/>
                  <a:gd name="T72" fmla="*/ 105 w 133"/>
                  <a:gd name="T73" fmla="*/ 188 h 229"/>
                  <a:gd name="T74" fmla="*/ 108 w 133"/>
                  <a:gd name="T75" fmla="*/ 183 h 229"/>
                  <a:gd name="T76" fmla="*/ 116 w 133"/>
                  <a:gd name="T77" fmla="*/ 180 h 229"/>
                  <a:gd name="T78" fmla="*/ 119 w 133"/>
                  <a:gd name="T79" fmla="*/ 180 h 229"/>
                  <a:gd name="T80" fmla="*/ 120 w 133"/>
                  <a:gd name="T81" fmla="*/ 174 h 229"/>
                  <a:gd name="T82" fmla="*/ 116 w 133"/>
                  <a:gd name="T83" fmla="*/ 169 h 229"/>
                  <a:gd name="T84" fmla="*/ 116 w 133"/>
                  <a:gd name="T85" fmla="*/ 166 h 229"/>
                  <a:gd name="T86" fmla="*/ 114 w 133"/>
                  <a:gd name="T87" fmla="*/ 162 h 229"/>
                  <a:gd name="T88" fmla="*/ 114 w 133"/>
                  <a:gd name="T89" fmla="*/ 156 h 229"/>
                  <a:gd name="T90" fmla="*/ 109 w 133"/>
                  <a:gd name="T91" fmla="*/ 156 h 229"/>
                  <a:gd name="T92" fmla="*/ 106 w 133"/>
                  <a:gd name="T93" fmla="*/ 151 h 229"/>
                  <a:gd name="T94" fmla="*/ 111 w 133"/>
                  <a:gd name="T95" fmla="*/ 143 h 229"/>
                  <a:gd name="T96" fmla="*/ 109 w 133"/>
                  <a:gd name="T97" fmla="*/ 137 h 229"/>
                  <a:gd name="T98" fmla="*/ 112 w 133"/>
                  <a:gd name="T99" fmla="*/ 127 h 229"/>
                  <a:gd name="T100" fmla="*/ 119 w 133"/>
                  <a:gd name="T101" fmla="*/ 121 h 229"/>
                  <a:gd name="T102" fmla="*/ 119 w 133"/>
                  <a:gd name="T103" fmla="*/ 116 h 229"/>
                  <a:gd name="T104" fmla="*/ 122 w 133"/>
                  <a:gd name="T105" fmla="*/ 112 h 229"/>
                  <a:gd name="T106" fmla="*/ 127 w 133"/>
                  <a:gd name="T107" fmla="*/ 112 h 229"/>
                  <a:gd name="T108" fmla="*/ 130 w 133"/>
                  <a:gd name="T109" fmla="*/ 59 h 229"/>
                  <a:gd name="T110" fmla="*/ 130 w 133"/>
                  <a:gd name="T111" fmla="*/ 59 h 229"/>
                  <a:gd name="T112" fmla="*/ 130 w 133"/>
                  <a:gd name="T113" fmla="*/ 59 h 229"/>
                  <a:gd name="T114" fmla="*/ 130 w 133"/>
                  <a:gd name="T115" fmla="*/ 5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3" h="229">
                    <a:moveTo>
                      <a:pt x="130" y="59"/>
                    </a:moveTo>
                    <a:lnTo>
                      <a:pt x="130" y="53"/>
                    </a:lnTo>
                    <a:lnTo>
                      <a:pt x="130" y="58"/>
                    </a:lnTo>
                    <a:lnTo>
                      <a:pt x="119" y="50"/>
                    </a:lnTo>
                    <a:lnTo>
                      <a:pt x="103" y="40"/>
                    </a:lnTo>
                    <a:lnTo>
                      <a:pt x="32" y="0"/>
                    </a:lnTo>
                    <a:lnTo>
                      <a:pt x="19" y="7"/>
                    </a:lnTo>
                    <a:lnTo>
                      <a:pt x="19" y="13"/>
                    </a:lnTo>
                    <a:lnTo>
                      <a:pt x="19" y="18"/>
                    </a:lnTo>
                    <a:lnTo>
                      <a:pt x="19" y="18"/>
                    </a:lnTo>
                    <a:lnTo>
                      <a:pt x="20" y="26"/>
                    </a:lnTo>
                    <a:lnTo>
                      <a:pt x="22" y="29"/>
                    </a:lnTo>
                    <a:lnTo>
                      <a:pt x="22" y="31"/>
                    </a:lnTo>
                    <a:lnTo>
                      <a:pt x="25" y="37"/>
                    </a:lnTo>
                    <a:lnTo>
                      <a:pt x="25" y="37"/>
                    </a:lnTo>
                    <a:lnTo>
                      <a:pt x="25" y="40"/>
                    </a:lnTo>
                    <a:lnTo>
                      <a:pt x="28" y="40"/>
                    </a:lnTo>
                    <a:lnTo>
                      <a:pt x="32" y="43"/>
                    </a:lnTo>
                    <a:lnTo>
                      <a:pt x="32" y="46"/>
                    </a:lnTo>
                    <a:lnTo>
                      <a:pt x="28" y="48"/>
                    </a:lnTo>
                    <a:lnTo>
                      <a:pt x="28" y="51"/>
                    </a:lnTo>
                    <a:lnTo>
                      <a:pt x="25" y="62"/>
                    </a:lnTo>
                    <a:lnTo>
                      <a:pt x="25" y="75"/>
                    </a:lnTo>
                    <a:lnTo>
                      <a:pt x="25" y="86"/>
                    </a:lnTo>
                    <a:lnTo>
                      <a:pt x="25" y="89"/>
                    </a:lnTo>
                    <a:lnTo>
                      <a:pt x="25" y="94"/>
                    </a:lnTo>
                    <a:lnTo>
                      <a:pt x="22" y="97"/>
                    </a:lnTo>
                    <a:lnTo>
                      <a:pt x="20" y="100"/>
                    </a:lnTo>
                    <a:lnTo>
                      <a:pt x="12" y="110"/>
                    </a:lnTo>
                    <a:lnTo>
                      <a:pt x="8" y="116"/>
                    </a:lnTo>
                    <a:lnTo>
                      <a:pt x="5" y="126"/>
                    </a:lnTo>
                    <a:lnTo>
                      <a:pt x="1" y="127"/>
                    </a:lnTo>
                    <a:lnTo>
                      <a:pt x="1" y="131"/>
                    </a:lnTo>
                    <a:lnTo>
                      <a:pt x="0" y="131"/>
                    </a:lnTo>
                    <a:lnTo>
                      <a:pt x="1" y="134"/>
                    </a:lnTo>
                    <a:lnTo>
                      <a:pt x="1" y="140"/>
                    </a:lnTo>
                    <a:lnTo>
                      <a:pt x="3" y="143"/>
                    </a:lnTo>
                    <a:lnTo>
                      <a:pt x="8" y="150"/>
                    </a:lnTo>
                    <a:lnTo>
                      <a:pt x="8" y="150"/>
                    </a:lnTo>
                    <a:lnTo>
                      <a:pt x="8" y="150"/>
                    </a:lnTo>
                    <a:lnTo>
                      <a:pt x="9" y="150"/>
                    </a:lnTo>
                    <a:lnTo>
                      <a:pt x="12" y="150"/>
                    </a:lnTo>
                    <a:lnTo>
                      <a:pt x="12" y="151"/>
                    </a:lnTo>
                    <a:lnTo>
                      <a:pt x="12" y="153"/>
                    </a:lnTo>
                    <a:lnTo>
                      <a:pt x="14" y="154"/>
                    </a:lnTo>
                    <a:lnTo>
                      <a:pt x="16" y="156"/>
                    </a:lnTo>
                    <a:lnTo>
                      <a:pt x="17" y="156"/>
                    </a:lnTo>
                    <a:lnTo>
                      <a:pt x="19" y="162"/>
                    </a:lnTo>
                    <a:lnTo>
                      <a:pt x="19" y="162"/>
                    </a:lnTo>
                    <a:lnTo>
                      <a:pt x="20" y="162"/>
                    </a:lnTo>
                    <a:lnTo>
                      <a:pt x="20" y="167"/>
                    </a:lnTo>
                    <a:lnTo>
                      <a:pt x="20" y="172"/>
                    </a:lnTo>
                    <a:lnTo>
                      <a:pt x="20" y="175"/>
                    </a:lnTo>
                    <a:lnTo>
                      <a:pt x="20" y="181"/>
                    </a:lnTo>
                    <a:lnTo>
                      <a:pt x="22" y="186"/>
                    </a:lnTo>
                    <a:lnTo>
                      <a:pt x="25" y="191"/>
                    </a:lnTo>
                    <a:lnTo>
                      <a:pt x="28" y="194"/>
                    </a:lnTo>
                    <a:lnTo>
                      <a:pt x="25" y="194"/>
                    </a:lnTo>
                    <a:lnTo>
                      <a:pt x="25" y="194"/>
                    </a:lnTo>
                    <a:lnTo>
                      <a:pt x="22" y="194"/>
                    </a:lnTo>
                    <a:lnTo>
                      <a:pt x="20" y="194"/>
                    </a:lnTo>
                    <a:lnTo>
                      <a:pt x="16" y="194"/>
                    </a:lnTo>
                    <a:lnTo>
                      <a:pt x="12" y="194"/>
                    </a:lnTo>
                    <a:lnTo>
                      <a:pt x="9" y="194"/>
                    </a:lnTo>
                    <a:lnTo>
                      <a:pt x="8" y="197"/>
                    </a:lnTo>
                    <a:lnTo>
                      <a:pt x="8" y="197"/>
                    </a:lnTo>
                    <a:lnTo>
                      <a:pt x="8" y="200"/>
                    </a:lnTo>
                    <a:lnTo>
                      <a:pt x="9" y="202"/>
                    </a:lnTo>
                    <a:lnTo>
                      <a:pt x="14" y="208"/>
                    </a:lnTo>
                    <a:lnTo>
                      <a:pt x="22" y="215"/>
                    </a:lnTo>
                    <a:lnTo>
                      <a:pt x="22" y="220"/>
                    </a:lnTo>
                    <a:lnTo>
                      <a:pt x="25" y="223"/>
                    </a:lnTo>
                    <a:lnTo>
                      <a:pt x="25" y="226"/>
                    </a:lnTo>
                    <a:lnTo>
                      <a:pt x="25" y="229"/>
                    </a:lnTo>
                    <a:lnTo>
                      <a:pt x="25" y="229"/>
                    </a:lnTo>
                    <a:lnTo>
                      <a:pt x="28" y="229"/>
                    </a:lnTo>
                    <a:lnTo>
                      <a:pt x="32" y="229"/>
                    </a:lnTo>
                    <a:lnTo>
                      <a:pt x="35" y="229"/>
                    </a:lnTo>
                    <a:lnTo>
                      <a:pt x="35" y="227"/>
                    </a:lnTo>
                    <a:lnTo>
                      <a:pt x="36" y="226"/>
                    </a:lnTo>
                    <a:lnTo>
                      <a:pt x="38" y="226"/>
                    </a:lnTo>
                    <a:lnTo>
                      <a:pt x="38" y="226"/>
                    </a:lnTo>
                    <a:lnTo>
                      <a:pt x="39" y="223"/>
                    </a:lnTo>
                    <a:lnTo>
                      <a:pt x="41" y="226"/>
                    </a:lnTo>
                    <a:lnTo>
                      <a:pt x="43" y="229"/>
                    </a:lnTo>
                    <a:lnTo>
                      <a:pt x="44" y="226"/>
                    </a:lnTo>
                    <a:lnTo>
                      <a:pt x="47" y="226"/>
                    </a:lnTo>
                    <a:lnTo>
                      <a:pt x="52" y="223"/>
                    </a:lnTo>
                    <a:lnTo>
                      <a:pt x="57" y="223"/>
                    </a:lnTo>
                    <a:lnTo>
                      <a:pt x="60" y="223"/>
                    </a:lnTo>
                    <a:lnTo>
                      <a:pt x="63" y="223"/>
                    </a:lnTo>
                    <a:lnTo>
                      <a:pt x="63" y="223"/>
                    </a:lnTo>
                    <a:lnTo>
                      <a:pt x="66" y="221"/>
                    </a:lnTo>
                    <a:lnTo>
                      <a:pt x="66" y="220"/>
                    </a:lnTo>
                    <a:lnTo>
                      <a:pt x="71" y="213"/>
                    </a:lnTo>
                    <a:lnTo>
                      <a:pt x="70" y="212"/>
                    </a:lnTo>
                    <a:lnTo>
                      <a:pt x="68" y="210"/>
                    </a:lnTo>
                    <a:lnTo>
                      <a:pt x="70" y="208"/>
                    </a:lnTo>
                    <a:lnTo>
                      <a:pt x="73" y="208"/>
                    </a:lnTo>
                    <a:lnTo>
                      <a:pt x="78" y="208"/>
                    </a:lnTo>
                    <a:lnTo>
                      <a:pt x="82" y="207"/>
                    </a:lnTo>
                    <a:lnTo>
                      <a:pt x="87" y="205"/>
                    </a:lnTo>
                    <a:lnTo>
                      <a:pt x="92" y="204"/>
                    </a:lnTo>
                    <a:lnTo>
                      <a:pt x="95" y="200"/>
                    </a:lnTo>
                    <a:lnTo>
                      <a:pt x="98" y="197"/>
                    </a:lnTo>
                    <a:lnTo>
                      <a:pt x="98" y="194"/>
                    </a:lnTo>
                    <a:lnTo>
                      <a:pt x="101" y="194"/>
                    </a:lnTo>
                    <a:lnTo>
                      <a:pt x="101" y="191"/>
                    </a:lnTo>
                    <a:lnTo>
                      <a:pt x="103" y="191"/>
                    </a:lnTo>
                    <a:lnTo>
                      <a:pt x="103" y="188"/>
                    </a:lnTo>
                    <a:lnTo>
                      <a:pt x="105" y="188"/>
                    </a:lnTo>
                    <a:lnTo>
                      <a:pt x="105" y="186"/>
                    </a:lnTo>
                    <a:lnTo>
                      <a:pt x="105" y="185"/>
                    </a:lnTo>
                    <a:lnTo>
                      <a:pt x="108" y="183"/>
                    </a:lnTo>
                    <a:lnTo>
                      <a:pt x="111" y="181"/>
                    </a:lnTo>
                    <a:lnTo>
                      <a:pt x="114" y="180"/>
                    </a:lnTo>
                    <a:lnTo>
                      <a:pt x="116" y="180"/>
                    </a:lnTo>
                    <a:lnTo>
                      <a:pt x="117" y="180"/>
                    </a:lnTo>
                    <a:lnTo>
                      <a:pt x="119" y="181"/>
                    </a:lnTo>
                    <a:lnTo>
                      <a:pt x="119" y="180"/>
                    </a:lnTo>
                    <a:lnTo>
                      <a:pt x="120" y="177"/>
                    </a:lnTo>
                    <a:lnTo>
                      <a:pt x="120" y="175"/>
                    </a:lnTo>
                    <a:lnTo>
                      <a:pt x="120" y="174"/>
                    </a:lnTo>
                    <a:lnTo>
                      <a:pt x="117" y="172"/>
                    </a:lnTo>
                    <a:lnTo>
                      <a:pt x="116" y="170"/>
                    </a:lnTo>
                    <a:lnTo>
                      <a:pt x="116" y="169"/>
                    </a:lnTo>
                    <a:lnTo>
                      <a:pt x="116" y="167"/>
                    </a:lnTo>
                    <a:lnTo>
                      <a:pt x="116" y="166"/>
                    </a:lnTo>
                    <a:lnTo>
                      <a:pt x="116" y="166"/>
                    </a:lnTo>
                    <a:lnTo>
                      <a:pt x="116" y="162"/>
                    </a:lnTo>
                    <a:lnTo>
                      <a:pt x="114" y="166"/>
                    </a:lnTo>
                    <a:lnTo>
                      <a:pt x="114" y="162"/>
                    </a:lnTo>
                    <a:lnTo>
                      <a:pt x="112" y="159"/>
                    </a:lnTo>
                    <a:lnTo>
                      <a:pt x="114" y="156"/>
                    </a:lnTo>
                    <a:lnTo>
                      <a:pt x="114" y="156"/>
                    </a:lnTo>
                    <a:lnTo>
                      <a:pt x="112" y="156"/>
                    </a:lnTo>
                    <a:lnTo>
                      <a:pt x="111" y="154"/>
                    </a:lnTo>
                    <a:lnTo>
                      <a:pt x="109" y="156"/>
                    </a:lnTo>
                    <a:lnTo>
                      <a:pt x="106" y="156"/>
                    </a:lnTo>
                    <a:lnTo>
                      <a:pt x="105" y="153"/>
                    </a:lnTo>
                    <a:lnTo>
                      <a:pt x="106" y="151"/>
                    </a:lnTo>
                    <a:lnTo>
                      <a:pt x="108" y="148"/>
                    </a:lnTo>
                    <a:lnTo>
                      <a:pt x="111" y="147"/>
                    </a:lnTo>
                    <a:lnTo>
                      <a:pt x="111" y="143"/>
                    </a:lnTo>
                    <a:lnTo>
                      <a:pt x="109" y="140"/>
                    </a:lnTo>
                    <a:lnTo>
                      <a:pt x="109" y="139"/>
                    </a:lnTo>
                    <a:lnTo>
                      <a:pt x="109" y="137"/>
                    </a:lnTo>
                    <a:lnTo>
                      <a:pt x="114" y="134"/>
                    </a:lnTo>
                    <a:lnTo>
                      <a:pt x="112" y="131"/>
                    </a:lnTo>
                    <a:lnTo>
                      <a:pt x="112" y="127"/>
                    </a:lnTo>
                    <a:lnTo>
                      <a:pt x="114" y="127"/>
                    </a:lnTo>
                    <a:lnTo>
                      <a:pt x="117" y="124"/>
                    </a:lnTo>
                    <a:lnTo>
                      <a:pt x="119" y="121"/>
                    </a:lnTo>
                    <a:lnTo>
                      <a:pt x="120" y="118"/>
                    </a:lnTo>
                    <a:lnTo>
                      <a:pt x="120" y="118"/>
                    </a:lnTo>
                    <a:lnTo>
                      <a:pt x="119" y="116"/>
                    </a:lnTo>
                    <a:lnTo>
                      <a:pt x="119" y="113"/>
                    </a:lnTo>
                    <a:lnTo>
                      <a:pt x="120" y="113"/>
                    </a:lnTo>
                    <a:lnTo>
                      <a:pt x="122" y="112"/>
                    </a:lnTo>
                    <a:lnTo>
                      <a:pt x="124" y="112"/>
                    </a:lnTo>
                    <a:lnTo>
                      <a:pt x="125" y="112"/>
                    </a:lnTo>
                    <a:lnTo>
                      <a:pt x="127" y="112"/>
                    </a:lnTo>
                    <a:lnTo>
                      <a:pt x="130" y="110"/>
                    </a:lnTo>
                    <a:lnTo>
                      <a:pt x="133" y="112"/>
                    </a:lnTo>
                    <a:lnTo>
                      <a:pt x="130" y="59"/>
                    </a:lnTo>
                    <a:lnTo>
                      <a:pt x="130" y="59"/>
                    </a:lnTo>
                    <a:lnTo>
                      <a:pt x="130" y="59"/>
                    </a:lnTo>
                    <a:lnTo>
                      <a:pt x="130" y="59"/>
                    </a:lnTo>
                    <a:lnTo>
                      <a:pt x="130" y="59"/>
                    </a:lnTo>
                    <a:lnTo>
                      <a:pt x="130" y="59"/>
                    </a:lnTo>
                    <a:lnTo>
                      <a:pt x="130" y="59"/>
                    </a:lnTo>
                    <a:lnTo>
                      <a:pt x="130" y="59"/>
                    </a:lnTo>
                    <a:lnTo>
                      <a:pt x="130" y="59"/>
                    </a:lnTo>
                    <a:lnTo>
                      <a:pt x="130" y="59"/>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68" name="Freeform 156">
                <a:extLst>
                  <a:ext uri="{FF2B5EF4-FFF2-40B4-BE49-F238E27FC236}">
                    <a16:creationId xmlns:a16="http://schemas.microsoft.com/office/drawing/2014/main" id="{62004A65-1A69-12F9-7A30-44C909528CE1}"/>
                  </a:ext>
                </a:extLst>
              </p:cNvPr>
              <p:cNvSpPr>
                <a:spLocks/>
              </p:cNvSpPr>
              <p:nvPr/>
            </p:nvSpPr>
            <p:spPr bwMode="auto">
              <a:xfrm>
                <a:off x="5414767" y="2869927"/>
                <a:ext cx="340947" cy="266925"/>
              </a:xfrm>
              <a:custGeom>
                <a:avLst/>
                <a:gdLst>
                  <a:gd name="T0" fmla="*/ 58 w 152"/>
                  <a:gd name="T1" fmla="*/ 102 h 119"/>
                  <a:gd name="T2" fmla="*/ 65 w 152"/>
                  <a:gd name="T3" fmla="*/ 97 h 119"/>
                  <a:gd name="T4" fmla="*/ 71 w 152"/>
                  <a:gd name="T5" fmla="*/ 94 h 119"/>
                  <a:gd name="T6" fmla="*/ 76 w 152"/>
                  <a:gd name="T7" fmla="*/ 91 h 119"/>
                  <a:gd name="T8" fmla="*/ 82 w 152"/>
                  <a:gd name="T9" fmla="*/ 91 h 119"/>
                  <a:gd name="T10" fmla="*/ 87 w 152"/>
                  <a:gd name="T11" fmla="*/ 87 h 119"/>
                  <a:gd name="T12" fmla="*/ 96 w 152"/>
                  <a:gd name="T13" fmla="*/ 84 h 119"/>
                  <a:gd name="T14" fmla="*/ 100 w 152"/>
                  <a:gd name="T15" fmla="*/ 81 h 119"/>
                  <a:gd name="T16" fmla="*/ 104 w 152"/>
                  <a:gd name="T17" fmla="*/ 76 h 119"/>
                  <a:gd name="T18" fmla="*/ 112 w 152"/>
                  <a:gd name="T19" fmla="*/ 73 h 119"/>
                  <a:gd name="T20" fmla="*/ 119 w 152"/>
                  <a:gd name="T21" fmla="*/ 70 h 119"/>
                  <a:gd name="T22" fmla="*/ 120 w 152"/>
                  <a:gd name="T23" fmla="*/ 70 h 119"/>
                  <a:gd name="T24" fmla="*/ 117 w 152"/>
                  <a:gd name="T25" fmla="*/ 67 h 119"/>
                  <a:gd name="T26" fmla="*/ 117 w 152"/>
                  <a:gd name="T27" fmla="*/ 64 h 119"/>
                  <a:gd name="T28" fmla="*/ 119 w 152"/>
                  <a:gd name="T29" fmla="*/ 60 h 119"/>
                  <a:gd name="T30" fmla="*/ 125 w 152"/>
                  <a:gd name="T31" fmla="*/ 60 h 119"/>
                  <a:gd name="T32" fmla="*/ 128 w 152"/>
                  <a:gd name="T33" fmla="*/ 56 h 119"/>
                  <a:gd name="T34" fmla="*/ 138 w 152"/>
                  <a:gd name="T35" fmla="*/ 54 h 119"/>
                  <a:gd name="T36" fmla="*/ 149 w 152"/>
                  <a:gd name="T37" fmla="*/ 56 h 119"/>
                  <a:gd name="T38" fmla="*/ 149 w 152"/>
                  <a:gd name="T39" fmla="*/ 51 h 119"/>
                  <a:gd name="T40" fmla="*/ 149 w 152"/>
                  <a:gd name="T41" fmla="*/ 48 h 119"/>
                  <a:gd name="T42" fmla="*/ 146 w 152"/>
                  <a:gd name="T43" fmla="*/ 41 h 119"/>
                  <a:gd name="T44" fmla="*/ 144 w 152"/>
                  <a:gd name="T45" fmla="*/ 38 h 119"/>
                  <a:gd name="T46" fmla="*/ 144 w 152"/>
                  <a:gd name="T47" fmla="*/ 32 h 119"/>
                  <a:gd name="T48" fmla="*/ 144 w 152"/>
                  <a:gd name="T49" fmla="*/ 25 h 119"/>
                  <a:gd name="T50" fmla="*/ 146 w 152"/>
                  <a:gd name="T51" fmla="*/ 21 h 119"/>
                  <a:gd name="T52" fmla="*/ 144 w 152"/>
                  <a:gd name="T53" fmla="*/ 16 h 119"/>
                  <a:gd name="T54" fmla="*/ 138 w 152"/>
                  <a:gd name="T55" fmla="*/ 11 h 119"/>
                  <a:gd name="T56" fmla="*/ 134 w 152"/>
                  <a:gd name="T57" fmla="*/ 11 h 119"/>
                  <a:gd name="T58" fmla="*/ 131 w 152"/>
                  <a:gd name="T59" fmla="*/ 11 h 119"/>
                  <a:gd name="T60" fmla="*/ 131 w 152"/>
                  <a:gd name="T61" fmla="*/ 6 h 119"/>
                  <a:gd name="T62" fmla="*/ 125 w 152"/>
                  <a:gd name="T63" fmla="*/ 10 h 119"/>
                  <a:gd name="T64" fmla="*/ 112 w 152"/>
                  <a:gd name="T65" fmla="*/ 10 h 119"/>
                  <a:gd name="T66" fmla="*/ 106 w 152"/>
                  <a:gd name="T67" fmla="*/ 8 h 119"/>
                  <a:gd name="T68" fmla="*/ 103 w 152"/>
                  <a:gd name="T69" fmla="*/ 3 h 119"/>
                  <a:gd name="T70" fmla="*/ 100 w 152"/>
                  <a:gd name="T71" fmla="*/ 0 h 119"/>
                  <a:gd name="T72" fmla="*/ 93 w 152"/>
                  <a:gd name="T73" fmla="*/ 3 h 119"/>
                  <a:gd name="T74" fmla="*/ 88 w 152"/>
                  <a:gd name="T75" fmla="*/ 19 h 119"/>
                  <a:gd name="T76" fmla="*/ 79 w 152"/>
                  <a:gd name="T77" fmla="*/ 29 h 119"/>
                  <a:gd name="T78" fmla="*/ 61 w 152"/>
                  <a:gd name="T79" fmla="*/ 40 h 119"/>
                  <a:gd name="T80" fmla="*/ 54 w 152"/>
                  <a:gd name="T81" fmla="*/ 46 h 119"/>
                  <a:gd name="T82" fmla="*/ 52 w 152"/>
                  <a:gd name="T83" fmla="*/ 52 h 119"/>
                  <a:gd name="T84" fmla="*/ 46 w 152"/>
                  <a:gd name="T85" fmla="*/ 60 h 119"/>
                  <a:gd name="T86" fmla="*/ 42 w 152"/>
                  <a:gd name="T87" fmla="*/ 75 h 119"/>
                  <a:gd name="T88" fmla="*/ 44 w 152"/>
                  <a:gd name="T89" fmla="*/ 76 h 119"/>
                  <a:gd name="T90" fmla="*/ 46 w 152"/>
                  <a:gd name="T91" fmla="*/ 83 h 119"/>
                  <a:gd name="T92" fmla="*/ 38 w 152"/>
                  <a:gd name="T93" fmla="*/ 94 h 119"/>
                  <a:gd name="T94" fmla="*/ 23 w 152"/>
                  <a:gd name="T95" fmla="*/ 108 h 119"/>
                  <a:gd name="T96" fmla="*/ 11 w 152"/>
                  <a:gd name="T97" fmla="*/ 113 h 119"/>
                  <a:gd name="T98" fmla="*/ 0 w 152"/>
                  <a:gd name="T99" fmla="*/ 119 h 119"/>
                  <a:gd name="T100" fmla="*/ 57 w 152"/>
                  <a:gd name="T101" fmla="*/ 105 h 119"/>
                  <a:gd name="T102" fmla="*/ 57 w 152"/>
                  <a:gd name="T103" fmla="*/ 105 h 119"/>
                  <a:gd name="T104" fmla="*/ 57 w 152"/>
                  <a:gd name="T105" fmla="*/ 105 h 119"/>
                  <a:gd name="T106" fmla="*/ 57 w 152"/>
                  <a:gd name="T107" fmla="*/ 105 h 119"/>
                  <a:gd name="T108" fmla="*/ 57 w 152"/>
                  <a:gd name="T109" fmla="*/ 10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119">
                    <a:moveTo>
                      <a:pt x="57" y="105"/>
                    </a:moveTo>
                    <a:lnTo>
                      <a:pt x="58" y="102"/>
                    </a:lnTo>
                    <a:lnTo>
                      <a:pt x="58" y="100"/>
                    </a:lnTo>
                    <a:lnTo>
                      <a:pt x="65" y="97"/>
                    </a:lnTo>
                    <a:lnTo>
                      <a:pt x="68" y="94"/>
                    </a:lnTo>
                    <a:lnTo>
                      <a:pt x="71" y="94"/>
                    </a:lnTo>
                    <a:lnTo>
                      <a:pt x="73" y="91"/>
                    </a:lnTo>
                    <a:lnTo>
                      <a:pt x="76" y="91"/>
                    </a:lnTo>
                    <a:lnTo>
                      <a:pt x="80" y="91"/>
                    </a:lnTo>
                    <a:lnTo>
                      <a:pt x="82" y="91"/>
                    </a:lnTo>
                    <a:lnTo>
                      <a:pt x="84" y="87"/>
                    </a:lnTo>
                    <a:lnTo>
                      <a:pt x="87" y="87"/>
                    </a:lnTo>
                    <a:lnTo>
                      <a:pt x="88" y="87"/>
                    </a:lnTo>
                    <a:lnTo>
                      <a:pt x="96" y="84"/>
                    </a:lnTo>
                    <a:lnTo>
                      <a:pt x="100" y="84"/>
                    </a:lnTo>
                    <a:lnTo>
                      <a:pt x="100" y="81"/>
                    </a:lnTo>
                    <a:lnTo>
                      <a:pt x="103" y="79"/>
                    </a:lnTo>
                    <a:lnTo>
                      <a:pt x="104" y="76"/>
                    </a:lnTo>
                    <a:lnTo>
                      <a:pt x="111" y="75"/>
                    </a:lnTo>
                    <a:lnTo>
                      <a:pt x="112" y="73"/>
                    </a:lnTo>
                    <a:lnTo>
                      <a:pt x="115" y="71"/>
                    </a:lnTo>
                    <a:lnTo>
                      <a:pt x="119" y="70"/>
                    </a:lnTo>
                    <a:lnTo>
                      <a:pt x="120" y="70"/>
                    </a:lnTo>
                    <a:lnTo>
                      <a:pt x="120" y="70"/>
                    </a:lnTo>
                    <a:lnTo>
                      <a:pt x="117" y="67"/>
                    </a:lnTo>
                    <a:lnTo>
                      <a:pt x="117" y="67"/>
                    </a:lnTo>
                    <a:lnTo>
                      <a:pt x="119" y="64"/>
                    </a:lnTo>
                    <a:lnTo>
                      <a:pt x="117" y="64"/>
                    </a:lnTo>
                    <a:lnTo>
                      <a:pt x="117" y="60"/>
                    </a:lnTo>
                    <a:lnTo>
                      <a:pt x="119" y="60"/>
                    </a:lnTo>
                    <a:lnTo>
                      <a:pt x="122" y="60"/>
                    </a:lnTo>
                    <a:lnTo>
                      <a:pt x="125" y="60"/>
                    </a:lnTo>
                    <a:lnTo>
                      <a:pt x="128" y="57"/>
                    </a:lnTo>
                    <a:lnTo>
                      <a:pt x="128" y="56"/>
                    </a:lnTo>
                    <a:lnTo>
                      <a:pt x="131" y="54"/>
                    </a:lnTo>
                    <a:lnTo>
                      <a:pt x="138" y="54"/>
                    </a:lnTo>
                    <a:lnTo>
                      <a:pt x="146" y="56"/>
                    </a:lnTo>
                    <a:lnTo>
                      <a:pt x="149" y="56"/>
                    </a:lnTo>
                    <a:lnTo>
                      <a:pt x="149" y="52"/>
                    </a:lnTo>
                    <a:lnTo>
                      <a:pt x="149" y="51"/>
                    </a:lnTo>
                    <a:lnTo>
                      <a:pt x="152" y="49"/>
                    </a:lnTo>
                    <a:lnTo>
                      <a:pt x="149" y="48"/>
                    </a:lnTo>
                    <a:lnTo>
                      <a:pt x="147" y="45"/>
                    </a:lnTo>
                    <a:lnTo>
                      <a:pt x="146" y="41"/>
                    </a:lnTo>
                    <a:lnTo>
                      <a:pt x="146" y="38"/>
                    </a:lnTo>
                    <a:lnTo>
                      <a:pt x="144" y="38"/>
                    </a:lnTo>
                    <a:lnTo>
                      <a:pt x="146" y="35"/>
                    </a:lnTo>
                    <a:lnTo>
                      <a:pt x="144" y="32"/>
                    </a:lnTo>
                    <a:lnTo>
                      <a:pt x="144" y="32"/>
                    </a:lnTo>
                    <a:lnTo>
                      <a:pt x="144" y="25"/>
                    </a:lnTo>
                    <a:lnTo>
                      <a:pt x="144" y="22"/>
                    </a:lnTo>
                    <a:lnTo>
                      <a:pt x="146" y="21"/>
                    </a:lnTo>
                    <a:lnTo>
                      <a:pt x="144" y="19"/>
                    </a:lnTo>
                    <a:lnTo>
                      <a:pt x="144" y="16"/>
                    </a:lnTo>
                    <a:lnTo>
                      <a:pt x="141" y="14"/>
                    </a:lnTo>
                    <a:lnTo>
                      <a:pt x="138" y="11"/>
                    </a:lnTo>
                    <a:lnTo>
                      <a:pt x="136" y="11"/>
                    </a:lnTo>
                    <a:lnTo>
                      <a:pt x="134" y="11"/>
                    </a:lnTo>
                    <a:lnTo>
                      <a:pt x="131" y="10"/>
                    </a:lnTo>
                    <a:lnTo>
                      <a:pt x="131" y="11"/>
                    </a:lnTo>
                    <a:lnTo>
                      <a:pt x="131" y="10"/>
                    </a:lnTo>
                    <a:lnTo>
                      <a:pt x="131" y="6"/>
                    </a:lnTo>
                    <a:lnTo>
                      <a:pt x="128" y="8"/>
                    </a:lnTo>
                    <a:lnTo>
                      <a:pt x="125" y="10"/>
                    </a:lnTo>
                    <a:lnTo>
                      <a:pt x="119" y="10"/>
                    </a:lnTo>
                    <a:lnTo>
                      <a:pt x="112" y="10"/>
                    </a:lnTo>
                    <a:lnTo>
                      <a:pt x="109" y="10"/>
                    </a:lnTo>
                    <a:lnTo>
                      <a:pt x="106" y="8"/>
                    </a:lnTo>
                    <a:lnTo>
                      <a:pt x="104" y="5"/>
                    </a:lnTo>
                    <a:lnTo>
                      <a:pt x="103" y="3"/>
                    </a:lnTo>
                    <a:lnTo>
                      <a:pt x="103" y="0"/>
                    </a:lnTo>
                    <a:lnTo>
                      <a:pt x="100" y="0"/>
                    </a:lnTo>
                    <a:lnTo>
                      <a:pt x="96" y="0"/>
                    </a:lnTo>
                    <a:lnTo>
                      <a:pt x="93" y="3"/>
                    </a:lnTo>
                    <a:lnTo>
                      <a:pt x="93" y="6"/>
                    </a:lnTo>
                    <a:lnTo>
                      <a:pt x="88" y="19"/>
                    </a:lnTo>
                    <a:lnTo>
                      <a:pt x="84" y="25"/>
                    </a:lnTo>
                    <a:lnTo>
                      <a:pt x="79" y="29"/>
                    </a:lnTo>
                    <a:lnTo>
                      <a:pt x="65" y="35"/>
                    </a:lnTo>
                    <a:lnTo>
                      <a:pt x="61" y="40"/>
                    </a:lnTo>
                    <a:lnTo>
                      <a:pt x="57" y="45"/>
                    </a:lnTo>
                    <a:lnTo>
                      <a:pt x="54" y="46"/>
                    </a:lnTo>
                    <a:lnTo>
                      <a:pt x="52" y="49"/>
                    </a:lnTo>
                    <a:lnTo>
                      <a:pt x="52" y="52"/>
                    </a:lnTo>
                    <a:lnTo>
                      <a:pt x="50" y="57"/>
                    </a:lnTo>
                    <a:lnTo>
                      <a:pt x="46" y="60"/>
                    </a:lnTo>
                    <a:lnTo>
                      <a:pt x="44" y="70"/>
                    </a:lnTo>
                    <a:lnTo>
                      <a:pt x="42" y="75"/>
                    </a:lnTo>
                    <a:lnTo>
                      <a:pt x="42" y="76"/>
                    </a:lnTo>
                    <a:lnTo>
                      <a:pt x="44" y="76"/>
                    </a:lnTo>
                    <a:lnTo>
                      <a:pt x="46" y="79"/>
                    </a:lnTo>
                    <a:lnTo>
                      <a:pt x="46" y="83"/>
                    </a:lnTo>
                    <a:lnTo>
                      <a:pt x="42" y="87"/>
                    </a:lnTo>
                    <a:lnTo>
                      <a:pt x="38" y="94"/>
                    </a:lnTo>
                    <a:lnTo>
                      <a:pt x="33" y="98"/>
                    </a:lnTo>
                    <a:lnTo>
                      <a:pt x="23" y="108"/>
                    </a:lnTo>
                    <a:lnTo>
                      <a:pt x="17" y="111"/>
                    </a:lnTo>
                    <a:lnTo>
                      <a:pt x="11" y="113"/>
                    </a:lnTo>
                    <a:lnTo>
                      <a:pt x="3" y="114"/>
                    </a:lnTo>
                    <a:lnTo>
                      <a:pt x="0" y="119"/>
                    </a:lnTo>
                    <a:lnTo>
                      <a:pt x="57" y="119"/>
                    </a:lnTo>
                    <a:lnTo>
                      <a:pt x="57" y="105"/>
                    </a:lnTo>
                    <a:lnTo>
                      <a:pt x="57" y="105"/>
                    </a:lnTo>
                    <a:lnTo>
                      <a:pt x="57" y="105"/>
                    </a:lnTo>
                    <a:lnTo>
                      <a:pt x="57" y="105"/>
                    </a:lnTo>
                    <a:lnTo>
                      <a:pt x="57" y="105"/>
                    </a:lnTo>
                    <a:lnTo>
                      <a:pt x="57" y="105"/>
                    </a:lnTo>
                    <a:lnTo>
                      <a:pt x="57" y="105"/>
                    </a:lnTo>
                    <a:lnTo>
                      <a:pt x="57" y="105"/>
                    </a:lnTo>
                    <a:lnTo>
                      <a:pt x="57" y="105"/>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69" name="Freeform 158">
                <a:extLst>
                  <a:ext uri="{FF2B5EF4-FFF2-40B4-BE49-F238E27FC236}">
                    <a16:creationId xmlns:a16="http://schemas.microsoft.com/office/drawing/2014/main" id="{5F0558AD-3F13-30D8-8EDA-664227D658A8}"/>
                  </a:ext>
                </a:extLst>
              </p:cNvPr>
              <p:cNvSpPr>
                <a:spLocks/>
              </p:cNvSpPr>
              <p:nvPr/>
            </p:nvSpPr>
            <p:spPr bwMode="auto">
              <a:xfrm>
                <a:off x="5538136" y="2831795"/>
                <a:ext cx="574226" cy="587684"/>
              </a:xfrm>
              <a:custGeom>
                <a:avLst/>
                <a:gdLst>
                  <a:gd name="T0" fmla="*/ 249 w 256"/>
                  <a:gd name="T1" fmla="*/ 185 h 262"/>
                  <a:gd name="T2" fmla="*/ 240 w 256"/>
                  <a:gd name="T3" fmla="*/ 181 h 262"/>
                  <a:gd name="T4" fmla="*/ 233 w 256"/>
                  <a:gd name="T5" fmla="*/ 181 h 262"/>
                  <a:gd name="T6" fmla="*/ 230 w 256"/>
                  <a:gd name="T7" fmla="*/ 168 h 262"/>
                  <a:gd name="T8" fmla="*/ 224 w 256"/>
                  <a:gd name="T9" fmla="*/ 155 h 262"/>
                  <a:gd name="T10" fmla="*/ 229 w 256"/>
                  <a:gd name="T11" fmla="*/ 150 h 262"/>
                  <a:gd name="T12" fmla="*/ 229 w 256"/>
                  <a:gd name="T13" fmla="*/ 136 h 262"/>
                  <a:gd name="T14" fmla="*/ 229 w 256"/>
                  <a:gd name="T15" fmla="*/ 125 h 262"/>
                  <a:gd name="T16" fmla="*/ 229 w 256"/>
                  <a:gd name="T17" fmla="*/ 112 h 262"/>
                  <a:gd name="T18" fmla="*/ 224 w 256"/>
                  <a:gd name="T19" fmla="*/ 101 h 262"/>
                  <a:gd name="T20" fmla="*/ 224 w 256"/>
                  <a:gd name="T21" fmla="*/ 90 h 262"/>
                  <a:gd name="T22" fmla="*/ 218 w 256"/>
                  <a:gd name="T23" fmla="*/ 71 h 262"/>
                  <a:gd name="T24" fmla="*/ 208 w 256"/>
                  <a:gd name="T25" fmla="*/ 58 h 262"/>
                  <a:gd name="T26" fmla="*/ 202 w 256"/>
                  <a:gd name="T27" fmla="*/ 55 h 262"/>
                  <a:gd name="T28" fmla="*/ 202 w 256"/>
                  <a:gd name="T29" fmla="*/ 42 h 262"/>
                  <a:gd name="T30" fmla="*/ 210 w 256"/>
                  <a:gd name="T31" fmla="*/ 33 h 262"/>
                  <a:gd name="T32" fmla="*/ 211 w 256"/>
                  <a:gd name="T33" fmla="*/ 14 h 262"/>
                  <a:gd name="T34" fmla="*/ 211 w 256"/>
                  <a:gd name="T35" fmla="*/ 6 h 262"/>
                  <a:gd name="T36" fmla="*/ 206 w 256"/>
                  <a:gd name="T37" fmla="*/ 3 h 262"/>
                  <a:gd name="T38" fmla="*/ 205 w 256"/>
                  <a:gd name="T39" fmla="*/ 1 h 262"/>
                  <a:gd name="T40" fmla="*/ 194 w 256"/>
                  <a:gd name="T41" fmla="*/ 3 h 262"/>
                  <a:gd name="T42" fmla="*/ 186 w 256"/>
                  <a:gd name="T43" fmla="*/ 0 h 262"/>
                  <a:gd name="T44" fmla="*/ 179 w 256"/>
                  <a:gd name="T45" fmla="*/ 4 h 262"/>
                  <a:gd name="T46" fmla="*/ 173 w 256"/>
                  <a:gd name="T47" fmla="*/ 6 h 262"/>
                  <a:gd name="T48" fmla="*/ 154 w 256"/>
                  <a:gd name="T49" fmla="*/ 4 h 262"/>
                  <a:gd name="T50" fmla="*/ 146 w 256"/>
                  <a:gd name="T51" fmla="*/ 4 h 262"/>
                  <a:gd name="T52" fmla="*/ 135 w 256"/>
                  <a:gd name="T53" fmla="*/ 8 h 262"/>
                  <a:gd name="T54" fmla="*/ 114 w 256"/>
                  <a:gd name="T55" fmla="*/ 14 h 262"/>
                  <a:gd name="T56" fmla="*/ 108 w 256"/>
                  <a:gd name="T57" fmla="*/ 19 h 262"/>
                  <a:gd name="T58" fmla="*/ 103 w 256"/>
                  <a:gd name="T59" fmla="*/ 20 h 262"/>
                  <a:gd name="T60" fmla="*/ 95 w 256"/>
                  <a:gd name="T61" fmla="*/ 25 h 262"/>
                  <a:gd name="T62" fmla="*/ 83 w 256"/>
                  <a:gd name="T63" fmla="*/ 28 h 262"/>
                  <a:gd name="T64" fmla="*/ 91 w 256"/>
                  <a:gd name="T65" fmla="*/ 38 h 262"/>
                  <a:gd name="T66" fmla="*/ 89 w 256"/>
                  <a:gd name="T67" fmla="*/ 49 h 262"/>
                  <a:gd name="T68" fmla="*/ 91 w 256"/>
                  <a:gd name="T69" fmla="*/ 55 h 262"/>
                  <a:gd name="T70" fmla="*/ 95 w 256"/>
                  <a:gd name="T71" fmla="*/ 65 h 262"/>
                  <a:gd name="T72" fmla="*/ 95 w 256"/>
                  <a:gd name="T73" fmla="*/ 73 h 262"/>
                  <a:gd name="T74" fmla="*/ 76 w 256"/>
                  <a:gd name="T75" fmla="*/ 71 h 262"/>
                  <a:gd name="T76" fmla="*/ 67 w 256"/>
                  <a:gd name="T77" fmla="*/ 77 h 262"/>
                  <a:gd name="T78" fmla="*/ 62 w 256"/>
                  <a:gd name="T79" fmla="*/ 81 h 262"/>
                  <a:gd name="T80" fmla="*/ 65 w 256"/>
                  <a:gd name="T81" fmla="*/ 87 h 262"/>
                  <a:gd name="T82" fmla="*/ 60 w 256"/>
                  <a:gd name="T83" fmla="*/ 90 h 262"/>
                  <a:gd name="T84" fmla="*/ 48 w 256"/>
                  <a:gd name="T85" fmla="*/ 96 h 262"/>
                  <a:gd name="T86" fmla="*/ 41 w 256"/>
                  <a:gd name="T87" fmla="*/ 103 h 262"/>
                  <a:gd name="T88" fmla="*/ 27 w 256"/>
                  <a:gd name="T89" fmla="*/ 108 h 262"/>
                  <a:gd name="T90" fmla="*/ 18 w 256"/>
                  <a:gd name="T91" fmla="*/ 109 h 262"/>
                  <a:gd name="T92" fmla="*/ 5 w 256"/>
                  <a:gd name="T93" fmla="*/ 119 h 262"/>
                  <a:gd name="T94" fmla="*/ 2 w 256"/>
                  <a:gd name="T95" fmla="*/ 136 h 262"/>
                  <a:gd name="T96" fmla="*/ 0 w 256"/>
                  <a:gd name="T97" fmla="*/ 158 h 262"/>
                  <a:gd name="T98" fmla="*/ 46 w 256"/>
                  <a:gd name="T99" fmla="*/ 174 h 262"/>
                  <a:gd name="T100" fmla="*/ 108 w 256"/>
                  <a:gd name="T101" fmla="*/ 220 h 262"/>
                  <a:gd name="T102" fmla="*/ 119 w 256"/>
                  <a:gd name="T103" fmla="*/ 230 h 262"/>
                  <a:gd name="T104" fmla="*/ 121 w 256"/>
                  <a:gd name="T105" fmla="*/ 236 h 262"/>
                  <a:gd name="T106" fmla="*/ 129 w 256"/>
                  <a:gd name="T107" fmla="*/ 241 h 262"/>
                  <a:gd name="T108" fmla="*/ 135 w 256"/>
                  <a:gd name="T109" fmla="*/ 244 h 262"/>
                  <a:gd name="T110" fmla="*/ 146 w 256"/>
                  <a:gd name="T111" fmla="*/ 250 h 262"/>
                  <a:gd name="T112" fmla="*/ 146 w 256"/>
                  <a:gd name="T113" fmla="*/ 258 h 262"/>
                  <a:gd name="T114" fmla="*/ 156 w 256"/>
                  <a:gd name="T115" fmla="*/ 258 h 262"/>
                  <a:gd name="T116" fmla="*/ 160 w 256"/>
                  <a:gd name="T117" fmla="*/ 258 h 262"/>
                  <a:gd name="T118" fmla="*/ 178 w 256"/>
                  <a:gd name="T119" fmla="*/ 254 h 262"/>
                  <a:gd name="T120" fmla="*/ 219 w 256"/>
                  <a:gd name="T121" fmla="*/ 220 h 262"/>
                  <a:gd name="T122" fmla="*/ 254 w 256"/>
                  <a:gd name="T123" fmla="*/ 193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262">
                    <a:moveTo>
                      <a:pt x="254" y="193"/>
                    </a:moveTo>
                    <a:lnTo>
                      <a:pt x="254" y="193"/>
                    </a:lnTo>
                    <a:lnTo>
                      <a:pt x="254" y="193"/>
                    </a:lnTo>
                    <a:lnTo>
                      <a:pt x="253" y="190"/>
                    </a:lnTo>
                    <a:lnTo>
                      <a:pt x="253" y="190"/>
                    </a:lnTo>
                    <a:lnTo>
                      <a:pt x="249" y="185"/>
                    </a:lnTo>
                    <a:lnTo>
                      <a:pt x="249" y="185"/>
                    </a:lnTo>
                    <a:lnTo>
                      <a:pt x="249" y="184"/>
                    </a:lnTo>
                    <a:lnTo>
                      <a:pt x="249" y="184"/>
                    </a:lnTo>
                    <a:lnTo>
                      <a:pt x="243" y="182"/>
                    </a:lnTo>
                    <a:lnTo>
                      <a:pt x="243" y="182"/>
                    </a:lnTo>
                    <a:lnTo>
                      <a:pt x="241" y="181"/>
                    </a:lnTo>
                    <a:lnTo>
                      <a:pt x="241" y="181"/>
                    </a:lnTo>
                    <a:lnTo>
                      <a:pt x="240" y="181"/>
                    </a:lnTo>
                    <a:lnTo>
                      <a:pt x="240" y="181"/>
                    </a:lnTo>
                    <a:lnTo>
                      <a:pt x="240" y="181"/>
                    </a:lnTo>
                    <a:lnTo>
                      <a:pt x="237" y="181"/>
                    </a:lnTo>
                    <a:lnTo>
                      <a:pt x="237" y="181"/>
                    </a:lnTo>
                    <a:lnTo>
                      <a:pt x="237" y="181"/>
                    </a:lnTo>
                    <a:lnTo>
                      <a:pt x="237" y="181"/>
                    </a:lnTo>
                    <a:lnTo>
                      <a:pt x="233" y="181"/>
                    </a:lnTo>
                    <a:lnTo>
                      <a:pt x="233" y="181"/>
                    </a:lnTo>
                    <a:lnTo>
                      <a:pt x="233" y="177"/>
                    </a:lnTo>
                    <a:lnTo>
                      <a:pt x="233" y="177"/>
                    </a:lnTo>
                    <a:lnTo>
                      <a:pt x="230" y="174"/>
                    </a:lnTo>
                    <a:lnTo>
                      <a:pt x="230" y="174"/>
                    </a:lnTo>
                    <a:lnTo>
                      <a:pt x="230" y="168"/>
                    </a:lnTo>
                    <a:lnTo>
                      <a:pt x="230" y="168"/>
                    </a:lnTo>
                    <a:lnTo>
                      <a:pt x="229" y="166"/>
                    </a:lnTo>
                    <a:lnTo>
                      <a:pt x="229" y="166"/>
                    </a:lnTo>
                    <a:lnTo>
                      <a:pt x="226" y="160"/>
                    </a:lnTo>
                    <a:lnTo>
                      <a:pt x="226" y="160"/>
                    </a:lnTo>
                    <a:lnTo>
                      <a:pt x="224" y="157"/>
                    </a:lnTo>
                    <a:lnTo>
                      <a:pt x="224" y="157"/>
                    </a:lnTo>
                    <a:lnTo>
                      <a:pt x="224" y="155"/>
                    </a:lnTo>
                    <a:lnTo>
                      <a:pt x="224" y="155"/>
                    </a:lnTo>
                    <a:lnTo>
                      <a:pt x="226" y="154"/>
                    </a:lnTo>
                    <a:lnTo>
                      <a:pt x="226" y="154"/>
                    </a:lnTo>
                    <a:lnTo>
                      <a:pt x="227" y="152"/>
                    </a:lnTo>
                    <a:lnTo>
                      <a:pt x="227" y="152"/>
                    </a:lnTo>
                    <a:lnTo>
                      <a:pt x="229" y="150"/>
                    </a:lnTo>
                    <a:lnTo>
                      <a:pt x="229" y="150"/>
                    </a:lnTo>
                    <a:lnTo>
                      <a:pt x="230" y="149"/>
                    </a:lnTo>
                    <a:lnTo>
                      <a:pt x="230" y="149"/>
                    </a:lnTo>
                    <a:lnTo>
                      <a:pt x="229" y="146"/>
                    </a:lnTo>
                    <a:lnTo>
                      <a:pt x="229" y="146"/>
                    </a:lnTo>
                    <a:lnTo>
                      <a:pt x="229" y="142"/>
                    </a:lnTo>
                    <a:lnTo>
                      <a:pt x="229" y="142"/>
                    </a:lnTo>
                    <a:lnTo>
                      <a:pt x="229" y="136"/>
                    </a:lnTo>
                    <a:lnTo>
                      <a:pt x="229" y="136"/>
                    </a:lnTo>
                    <a:lnTo>
                      <a:pt x="230" y="133"/>
                    </a:lnTo>
                    <a:lnTo>
                      <a:pt x="230" y="133"/>
                    </a:lnTo>
                    <a:lnTo>
                      <a:pt x="229" y="130"/>
                    </a:lnTo>
                    <a:lnTo>
                      <a:pt x="229" y="130"/>
                    </a:lnTo>
                    <a:lnTo>
                      <a:pt x="229" y="125"/>
                    </a:lnTo>
                    <a:lnTo>
                      <a:pt x="229" y="125"/>
                    </a:lnTo>
                    <a:lnTo>
                      <a:pt x="229" y="122"/>
                    </a:lnTo>
                    <a:lnTo>
                      <a:pt x="229" y="122"/>
                    </a:lnTo>
                    <a:lnTo>
                      <a:pt x="229" y="122"/>
                    </a:lnTo>
                    <a:lnTo>
                      <a:pt x="229" y="122"/>
                    </a:lnTo>
                    <a:lnTo>
                      <a:pt x="229" y="115"/>
                    </a:lnTo>
                    <a:lnTo>
                      <a:pt x="229" y="115"/>
                    </a:lnTo>
                    <a:lnTo>
                      <a:pt x="229" y="112"/>
                    </a:lnTo>
                    <a:lnTo>
                      <a:pt x="229" y="112"/>
                    </a:lnTo>
                    <a:lnTo>
                      <a:pt x="229" y="111"/>
                    </a:lnTo>
                    <a:lnTo>
                      <a:pt x="229" y="111"/>
                    </a:lnTo>
                    <a:lnTo>
                      <a:pt x="227" y="108"/>
                    </a:lnTo>
                    <a:lnTo>
                      <a:pt x="227" y="108"/>
                    </a:lnTo>
                    <a:lnTo>
                      <a:pt x="224" y="101"/>
                    </a:lnTo>
                    <a:lnTo>
                      <a:pt x="224" y="101"/>
                    </a:lnTo>
                    <a:lnTo>
                      <a:pt x="222" y="101"/>
                    </a:lnTo>
                    <a:lnTo>
                      <a:pt x="222" y="101"/>
                    </a:lnTo>
                    <a:lnTo>
                      <a:pt x="224" y="100"/>
                    </a:lnTo>
                    <a:lnTo>
                      <a:pt x="224" y="100"/>
                    </a:lnTo>
                    <a:lnTo>
                      <a:pt x="226" y="98"/>
                    </a:lnTo>
                    <a:lnTo>
                      <a:pt x="226" y="98"/>
                    </a:lnTo>
                    <a:lnTo>
                      <a:pt x="224" y="90"/>
                    </a:lnTo>
                    <a:lnTo>
                      <a:pt x="224" y="90"/>
                    </a:lnTo>
                    <a:lnTo>
                      <a:pt x="221" y="81"/>
                    </a:lnTo>
                    <a:lnTo>
                      <a:pt x="221" y="81"/>
                    </a:lnTo>
                    <a:lnTo>
                      <a:pt x="221" y="76"/>
                    </a:lnTo>
                    <a:lnTo>
                      <a:pt x="221" y="76"/>
                    </a:lnTo>
                    <a:lnTo>
                      <a:pt x="218" y="71"/>
                    </a:lnTo>
                    <a:lnTo>
                      <a:pt x="218" y="71"/>
                    </a:lnTo>
                    <a:lnTo>
                      <a:pt x="213" y="68"/>
                    </a:lnTo>
                    <a:lnTo>
                      <a:pt x="213" y="68"/>
                    </a:lnTo>
                    <a:lnTo>
                      <a:pt x="211" y="65"/>
                    </a:lnTo>
                    <a:lnTo>
                      <a:pt x="211" y="65"/>
                    </a:lnTo>
                    <a:lnTo>
                      <a:pt x="210" y="62"/>
                    </a:lnTo>
                    <a:lnTo>
                      <a:pt x="210" y="62"/>
                    </a:lnTo>
                    <a:lnTo>
                      <a:pt x="208" y="58"/>
                    </a:lnTo>
                    <a:lnTo>
                      <a:pt x="208" y="58"/>
                    </a:lnTo>
                    <a:lnTo>
                      <a:pt x="205" y="57"/>
                    </a:lnTo>
                    <a:lnTo>
                      <a:pt x="205" y="57"/>
                    </a:lnTo>
                    <a:lnTo>
                      <a:pt x="205" y="55"/>
                    </a:lnTo>
                    <a:lnTo>
                      <a:pt x="205" y="55"/>
                    </a:lnTo>
                    <a:lnTo>
                      <a:pt x="202" y="55"/>
                    </a:lnTo>
                    <a:lnTo>
                      <a:pt x="202" y="55"/>
                    </a:lnTo>
                    <a:lnTo>
                      <a:pt x="202" y="49"/>
                    </a:lnTo>
                    <a:lnTo>
                      <a:pt x="202" y="49"/>
                    </a:lnTo>
                    <a:lnTo>
                      <a:pt x="202" y="47"/>
                    </a:lnTo>
                    <a:lnTo>
                      <a:pt x="202" y="47"/>
                    </a:lnTo>
                    <a:lnTo>
                      <a:pt x="202" y="44"/>
                    </a:lnTo>
                    <a:lnTo>
                      <a:pt x="202" y="44"/>
                    </a:lnTo>
                    <a:lnTo>
                      <a:pt x="202" y="42"/>
                    </a:lnTo>
                    <a:lnTo>
                      <a:pt x="202" y="42"/>
                    </a:lnTo>
                    <a:lnTo>
                      <a:pt x="206" y="38"/>
                    </a:lnTo>
                    <a:lnTo>
                      <a:pt x="206" y="38"/>
                    </a:lnTo>
                    <a:lnTo>
                      <a:pt x="208" y="35"/>
                    </a:lnTo>
                    <a:lnTo>
                      <a:pt x="208" y="35"/>
                    </a:lnTo>
                    <a:lnTo>
                      <a:pt x="210" y="33"/>
                    </a:lnTo>
                    <a:lnTo>
                      <a:pt x="210" y="33"/>
                    </a:lnTo>
                    <a:lnTo>
                      <a:pt x="211" y="25"/>
                    </a:lnTo>
                    <a:lnTo>
                      <a:pt x="211" y="25"/>
                    </a:lnTo>
                    <a:lnTo>
                      <a:pt x="210" y="19"/>
                    </a:lnTo>
                    <a:lnTo>
                      <a:pt x="210" y="19"/>
                    </a:lnTo>
                    <a:lnTo>
                      <a:pt x="210" y="17"/>
                    </a:lnTo>
                    <a:lnTo>
                      <a:pt x="210" y="17"/>
                    </a:lnTo>
                    <a:lnTo>
                      <a:pt x="211" y="14"/>
                    </a:lnTo>
                    <a:lnTo>
                      <a:pt x="211" y="14"/>
                    </a:lnTo>
                    <a:lnTo>
                      <a:pt x="211" y="11"/>
                    </a:lnTo>
                    <a:lnTo>
                      <a:pt x="211" y="11"/>
                    </a:lnTo>
                    <a:lnTo>
                      <a:pt x="208" y="9"/>
                    </a:lnTo>
                    <a:lnTo>
                      <a:pt x="208" y="9"/>
                    </a:lnTo>
                    <a:lnTo>
                      <a:pt x="211" y="6"/>
                    </a:lnTo>
                    <a:lnTo>
                      <a:pt x="211" y="6"/>
                    </a:lnTo>
                    <a:lnTo>
                      <a:pt x="213" y="6"/>
                    </a:lnTo>
                    <a:lnTo>
                      <a:pt x="213" y="6"/>
                    </a:lnTo>
                    <a:lnTo>
                      <a:pt x="213" y="4"/>
                    </a:lnTo>
                    <a:lnTo>
                      <a:pt x="213" y="4"/>
                    </a:lnTo>
                    <a:lnTo>
                      <a:pt x="214" y="3"/>
                    </a:lnTo>
                    <a:lnTo>
                      <a:pt x="214" y="3"/>
                    </a:lnTo>
                    <a:lnTo>
                      <a:pt x="206" y="3"/>
                    </a:lnTo>
                    <a:lnTo>
                      <a:pt x="206" y="3"/>
                    </a:lnTo>
                    <a:lnTo>
                      <a:pt x="205" y="3"/>
                    </a:lnTo>
                    <a:lnTo>
                      <a:pt x="205" y="3"/>
                    </a:lnTo>
                    <a:lnTo>
                      <a:pt x="205" y="3"/>
                    </a:lnTo>
                    <a:lnTo>
                      <a:pt x="205" y="3"/>
                    </a:lnTo>
                    <a:lnTo>
                      <a:pt x="205" y="1"/>
                    </a:lnTo>
                    <a:lnTo>
                      <a:pt x="205" y="1"/>
                    </a:lnTo>
                    <a:lnTo>
                      <a:pt x="199" y="0"/>
                    </a:lnTo>
                    <a:lnTo>
                      <a:pt x="199" y="0"/>
                    </a:lnTo>
                    <a:lnTo>
                      <a:pt x="199" y="0"/>
                    </a:lnTo>
                    <a:lnTo>
                      <a:pt x="199" y="0"/>
                    </a:lnTo>
                    <a:lnTo>
                      <a:pt x="199" y="1"/>
                    </a:lnTo>
                    <a:lnTo>
                      <a:pt x="199" y="1"/>
                    </a:lnTo>
                    <a:lnTo>
                      <a:pt x="194" y="3"/>
                    </a:lnTo>
                    <a:lnTo>
                      <a:pt x="194" y="3"/>
                    </a:lnTo>
                    <a:lnTo>
                      <a:pt x="191" y="1"/>
                    </a:lnTo>
                    <a:lnTo>
                      <a:pt x="191" y="1"/>
                    </a:lnTo>
                    <a:lnTo>
                      <a:pt x="187" y="0"/>
                    </a:lnTo>
                    <a:lnTo>
                      <a:pt x="187" y="0"/>
                    </a:lnTo>
                    <a:lnTo>
                      <a:pt x="186" y="0"/>
                    </a:lnTo>
                    <a:lnTo>
                      <a:pt x="186" y="0"/>
                    </a:lnTo>
                    <a:lnTo>
                      <a:pt x="186" y="1"/>
                    </a:lnTo>
                    <a:lnTo>
                      <a:pt x="186" y="1"/>
                    </a:lnTo>
                    <a:lnTo>
                      <a:pt x="186" y="3"/>
                    </a:lnTo>
                    <a:lnTo>
                      <a:pt x="186" y="3"/>
                    </a:lnTo>
                    <a:lnTo>
                      <a:pt x="183" y="3"/>
                    </a:lnTo>
                    <a:lnTo>
                      <a:pt x="183" y="3"/>
                    </a:lnTo>
                    <a:lnTo>
                      <a:pt x="179" y="4"/>
                    </a:lnTo>
                    <a:lnTo>
                      <a:pt x="179" y="4"/>
                    </a:lnTo>
                    <a:lnTo>
                      <a:pt x="176" y="6"/>
                    </a:lnTo>
                    <a:lnTo>
                      <a:pt x="176" y="6"/>
                    </a:lnTo>
                    <a:lnTo>
                      <a:pt x="175" y="6"/>
                    </a:lnTo>
                    <a:lnTo>
                      <a:pt x="175" y="6"/>
                    </a:lnTo>
                    <a:lnTo>
                      <a:pt x="173" y="6"/>
                    </a:lnTo>
                    <a:lnTo>
                      <a:pt x="173" y="6"/>
                    </a:lnTo>
                    <a:lnTo>
                      <a:pt x="170" y="3"/>
                    </a:lnTo>
                    <a:lnTo>
                      <a:pt x="170" y="3"/>
                    </a:lnTo>
                    <a:lnTo>
                      <a:pt x="167" y="3"/>
                    </a:lnTo>
                    <a:lnTo>
                      <a:pt x="167" y="3"/>
                    </a:lnTo>
                    <a:lnTo>
                      <a:pt x="160" y="3"/>
                    </a:lnTo>
                    <a:lnTo>
                      <a:pt x="160" y="3"/>
                    </a:lnTo>
                    <a:lnTo>
                      <a:pt x="154" y="4"/>
                    </a:lnTo>
                    <a:lnTo>
                      <a:pt x="154" y="4"/>
                    </a:lnTo>
                    <a:lnTo>
                      <a:pt x="149" y="4"/>
                    </a:lnTo>
                    <a:lnTo>
                      <a:pt x="149" y="4"/>
                    </a:lnTo>
                    <a:lnTo>
                      <a:pt x="149" y="4"/>
                    </a:lnTo>
                    <a:lnTo>
                      <a:pt x="149" y="4"/>
                    </a:lnTo>
                    <a:lnTo>
                      <a:pt x="146" y="4"/>
                    </a:lnTo>
                    <a:lnTo>
                      <a:pt x="146" y="4"/>
                    </a:lnTo>
                    <a:lnTo>
                      <a:pt x="146" y="6"/>
                    </a:lnTo>
                    <a:lnTo>
                      <a:pt x="146" y="6"/>
                    </a:lnTo>
                    <a:lnTo>
                      <a:pt x="143" y="6"/>
                    </a:lnTo>
                    <a:lnTo>
                      <a:pt x="143" y="6"/>
                    </a:lnTo>
                    <a:lnTo>
                      <a:pt x="140" y="8"/>
                    </a:lnTo>
                    <a:lnTo>
                      <a:pt x="140" y="8"/>
                    </a:lnTo>
                    <a:lnTo>
                      <a:pt x="135" y="8"/>
                    </a:lnTo>
                    <a:lnTo>
                      <a:pt x="135" y="8"/>
                    </a:lnTo>
                    <a:lnTo>
                      <a:pt x="130" y="8"/>
                    </a:lnTo>
                    <a:lnTo>
                      <a:pt x="130" y="8"/>
                    </a:lnTo>
                    <a:lnTo>
                      <a:pt x="119" y="11"/>
                    </a:lnTo>
                    <a:lnTo>
                      <a:pt x="119" y="11"/>
                    </a:lnTo>
                    <a:lnTo>
                      <a:pt x="114" y="14"/>
                    </a:lnTo>
                    <a:lnTo>
                      <a:pt x="114" y="14"/>
                    </a:lnTo>
                    <a:lnTo>
                      <a:pt x="111" y="17"/>
                    </a:lnTo>
                    <a:lnTo>
                      <a:pt x="111" y="17"/>
                    </a:lnTo>
                    <a:lnTo>
                      <a:pt x="111" y="19"/>
                    </a:lnTo>
                    <a:lnTo>
                      <a:pt x="111" y="19"/>
                    </a:lnTo>
                    <a:lnTo>
                      <a:pt x="108" y="19"/>
                    </a:lnTo>
                    <a:lnTo>
                      <a:pt x="108" y="19"/>
                    </a:lnTo>
                    <a:lnTo>
                      <a:pt x="108" y="19"/>
                    </a:lnTo>
                    <a:lnTo>
                      <a:pt x="108" y="19"/>
                    </a:lnTo>
                    <a:lnTo>
                      <a:pt x="105" y="19"/>
                    </a:lnTo>
                    <a:lnTo>
                      <a:pt x="105" y="19"/>
                    </a:lnTo>
                    <a:lnTo>
                      <a:pt x="105" y="20"/>
                    </a:lnTo>
                    <a:lnTo>
                      <a:pt x="105" y="20"/>
                    </a:lnTo>
                    <a:lnTo>
                      <a:pt x="103" y="20"/>
                    </a:lnTo>
                    <a:lnTo>
                      <a:pt x="103" y="20"/>
                    </a:lnTo>
                    <a:lnTo>
                      <a:pt x="102" y="20"/>
                    </a:lnTo>
                    <a:lnTo>
                      <a:pt x="102" y="20"/>
                    </a:lnTo>
                    <a:lnTo>
                      <a:pt x="99" y="22"/>
                    </a:lnTo>
                    <a:lnTo>
                      <a:pt x="99" y="22"/>
                    </a:lnTo>
                    <a:lnTo>
                      <a:pt x="97" y="25"/>
                    </a:lnTo>
                    <a:lnTo>
                      <a:pt x="97" y="25"/>
                    </a:lnTo>
                    <a:lnTo>
                      <a:pt x="95" y="25"/>
                    </a:lnTo>
                    <a:lnTo>
                      <a:pt x="95" y="25"/>
                    </a:lnTo>
                    <a:lnTo>
                      <a:pt x="92" y="25"/>
                    </a:lnTo>
                    <a:lnTo>
                      <a:pt x="92" y="25"/>
                    </a:lnTo>
                    <a:lnTo>
                      <a:pt x="89" y="28"/>
                    </a:lnTo>
                    <a:lnTo>
                      <a:pt x="89" y="28"/>
                    </a:lnTo>
                    <a:lnTo>
                      <a:pt x="83" y="28"/>
                    </a:lnTo>
                    <a:lnTo>
                      <a:pt x="83" y="28"/>
                    </a:lnTo>
                    <a:lnTo>
                      <a:pt x="86" y="31"/>
                    </a:lnTo>
                    <a:lnTo>
                      <a:pt x="86" y="31"/>
                    </a:lnTo>
                    <a:lnTo>
                      <a:pt x="89" y="33"/>
                    </a:lnTo>
                    <a:lnTo>
                      <a:pt x="89" y="33"/>
                    </a:lnTo>
                    <a:lnTo>
                      <a:pt x="89" y="36"/>
                    </a:lnTo>
                    <a:lnTo>
                      <a:pt x="89" y="36"/>
                    </a:lnTo>
                    <a:lnTo>
                      <a:pt x="91" y="38"/>
                    </a:lnTo>
                    <a:lnTo>
                      <a:pt x="91" y="38"/>
                    </a:lnTo>
                    <a:lnTo>
                      <a:pt x="89" y="39"/>
                    </a:lnTo>
                    <a:lnTo>
                      <a:pt x="89" y="39"/>
                    </a:lnTo>
                    <a:lnTo>
                      <a:pt x="89" y="42"/>
                    </a:lnTo>
                    <a:lnTo>
                      <a:pt x="89" y="42"/>
                    </a:lnTo>
                    <a:lnTo>
                      <a:pt x="89" y="49"/>
                    </a:lnTo>
                    <a:lnTo>
                      <a:pt x="89" y="49"/>
                    </a:lnTo>
                    <a:lnTo>
                      <a:pt x="89" y="49"/>
                    </a:lnTo>
                    <a:lnTo>
                      <a:pt x="89" y="49"/>
                    </a:lnTo>
                    <a:lnTo>
                      <a:pt x="91" y="52"/>
                    </a:lnTo>
                    <a:lnTo>
                      <a:pt x="91" y="52"/>
                    </a:lnTo>
                    <a:lnTo>
                      <a:pt x="89" y="55"/>
                    </a:lnTo>
                    <a:lnTo>
                      <a:pt x="89" y="55"/>
                    </a:lnTo>
                    <a:lnTo>
                      <a:pt x="91" y="55"/>
                    </a:lnTo>
                    <a:lnTo>
                      <a:pt x="91" y="55"/>
                    </a:lnTo>
                    <a:lnTo>
                      <a:pt x="91" y="58"/>
                    </a:lnTo>
                    <a:lnTo>
                      <a:pt x="91" y="58"/>
                    </a:lnTo>
                    <a:lnTo>
                      <a:pt x="92" y="62"/>
                    </a:lnTo>
                    <a:lnTo>
                      <a:pt x="92" y="62"/>
                    </a:lnTo>
                    <a:lnTo>
                      <a:pt x="95" y="65"/>
                    </a:lnTo>
                    <a:lnTo>
                      <a:pt x="95" y="65"/>
                    </a:lnTo>
                    <a:lnTo>
                      <a:pt x="97" y="66"/>
                    </a:lnTo>
                    <a:lnTo>
                      <a:pt x="97" y="66"/>
                    </a:lnTo>
                    <a:lnTo>
                      <a:pt x="95" y="68"/>
                    </a:lnTo>
                    <a:lnTo>
                      <a:pt x="95" y="68"/>
                    </a:lnTo>
                    <a:lnTo>
                      <a:pt x="94" y="69"/>
                    </a:lnTo>
                    <a:lnTo>
                      <a:pt x="94" y="69"/>
                    </a:lnTo>
                    <a:lnTo>
                      <a:pt x="95" y="73"/>
                    </a:lnTo>
                    <a:lnTo>
                      <a:pt x="95" y="73"/>
                    </a:lnTo>
                    <a:lnTo>
                      <a:pt x="91" y="73"/>
                    </a:lnTo>
                    <a:lnTo>
                      <a:pt x="91" y="73"/>
                    </a:lnTo>
                    <a:lnTo>
                      <a:pt x="83" y="71"/>
                    </a:lnTo>
                    <a:lnTo>
                      <a:pt x="83" y="71"/>
                    </a:lnTo>
                    <a:lnTo>
                      <a:pt x="76" y="71"/>
                    </a:lnTo>
                    <a:lnTo>
                      <a:pt x="76" y="71"/>
                    </a:lnTo>
                    <a:lnTo>
                      <a:pt x="73" y="73"/>
                    </a:lnTo>
                    <a:lnTo>
                      <a:pt x="73" y="73"/>
                    </a:lnTo>
                    <a:lnTo>
                      <a:pt x="73" y="74"/>
                    </a:lnTo>
                    <a:lnTo>
                      <a:pt x="73" y="74"/>
                    </a:lnTo>
                    <a:lnTo>
                      <a:pt x="70" y="77"/>
                    </a:lnTo>
                    <a:lnTo>
                      <a:pt x="70" y="77"/>
                    </a:lnTo>
                    <a:lnTo>
                      <a:pt x="67" y="77"/>
                    </a:lnTo>
                    <a:lnTo>
                      <a:pt x="67" y="77"/>
                    </a:lnTo>
                    <a:lnTo>
                      <a:pt x="64" y="77"/>
                    </a:lnTo>
                    <a:lnTo>
                      <a:pt x="64" y="77"/>
                    </a:lnTo>
                    <a:lnTo>
                      <a:pt x="62" y="77"/>
                    </a:lnTo>
                    <a:lnTo>
                      <a:pt x="62" y="77"/>
                    </a:lnTo>
                    <a:lnTo>
                      <a:pt x="62" y="81"/>
                    </a:lnTo>
                    <a:lnTo>
                      <a:pt x="62" y="81"/>
                    </a:lnTo>
                    <a:lnTo>
                      <a:pt x="64" y="81"/>
                    </a:lnTo>
                    <a:lnTo>
                      <a:pt x="64" y="81"/>
                    </a:lnTo>
                    <a:lnTo>
                      <a:pt x="62" y="84"/>
                    </a:lnTo>
                    <a:lnTo>
                      <a:pt x="62" y="84"/>
                    </a:lnTo>
                    <a:lnTo>
                      <a:pt x="62" y="84"/>
                    </a:lnTo>
                    <a:lnTo>
                      <a:pt x="62" y="84"/>
                    </a:lnTo>
                    <a:lnTo>
                      <a:pt x="65" y="87"/>
                    </a:lnTo>
                    <a:lnTo>
                      <a:pt x="65" y="87"/>
                    </a:lnTo>
                    <a:lnTo>
                      <a:pt x="65" y="87"/>
                    </a:lnTo>
                    <a:lnTo>
                      <a:pt x="65" y="87"/>
                    </a:lnTo>
                    <a:lnTo>
                      <a:pt x="64" y="87"/>
                    </a:lnTo>
                    <a:lnTo>
                      <a:pt x="64" y="87"/>
                    </a:lnTo>
                    <a:lnTo>
                      <a:pt x="60" y="90"/>
                    </a:lnTo>
                    <a:lnTo>
                      <a:pt x="60" y="90"/>
                    </a:lnTo>
                    <a:lnTo>
                      <a:pt x="57" y="90"/>
                    </a:lnTo>
                    <a:lnTo>
                      <a:pt x="57" y="90"/>
                    </a:lnTo>
                    <a:lnTo>
                      <a:pt x="56" y="92"/>
                    </a:lnTo>
                    <a:lnTo>
                      <a:pt x="56" y="92"/>
                    </a:lnTo>
                    <a:lnTo>
                      <a:pt x="49" y="93"/>
                    </a:lnTo>
                    <a:lnTo>
                      <a:pt x="49" y="93"/>
                    </a:lnTo>
                    <a:lnTo>
                      <a:pt x="48" y="96"/>
                    </a:lnTo>
                    <a:lnTo>
                      <a:pt x="48" y="96"/>
                    </a:lnTo>
                    <a:lnTo>
                      <a:pt x="45" y="98"/>
                    </a:lnTo>
                    <a:lnTo>
                      <a:pt x="45" y="98"/>
                    </a:lnTo>
                    <a:lnTo>
                      <a:pt x="45" y="101"/>
                    </a:lnTo>
                    <a:lnTo>
                      <a:pt x="45" y="101"/>
                    </a:lnTo>
                    <a:lnTo>
                      <a:pt x="41" y="103"/>
                    </a:lnTo>
                    <a:lnTo>
                      <a:pt x="41" y="103"/>
                    </a:lnTo>
                    <a:lnTo>
                      <a:pt x="33" y="104"/>
                    </a:lnTo>
                    <a:lnTo>
                      <a:pt x="33" y="104"/>
                    </a:lnTo>
                    <a:lnTo>
                      <a:pt x="32" y="104"/>
                    </a:lnTo>
                    <a:lnTo>
                      <a:pt x="32" y="104"/>
                    </a:lnTo>
                    <a:lnTo>
                      <a:pt x="29" y="106"/>
                    </a:lnTo>
                    <a:lnTo>
                      <a:pt x="29" y="106"/>
                    </a:lnTo>
                    <a:lnTo>
                      <a:pt x="27" y="108"/>
                    </a:lnTo>
                    <a:lnTo>
                      <a:pt x="27" y="108"/>
                    </a:lnTo>
                    <a:lnTo>
                      <a:pt x="25" y="109"/>
                    </a:lnTo>
                    <a:lnTo>
                      <a:pt x="25" y="109"/>
                    </a:lnTo>
                    <a:lnTo>
                      <a:pt x="21" y="108"/>
                    </a:lnTo>
                    <a:lnTo>
                      <a:pt x="21" y="108"/>
                    </a:lnTo>
                    <a:lnTo>
                      <a:pt x="18" y="109"/>
                    </a:lnTo>
                    <a:lnTo>
                      <a:pt x="18" y="109"/>
                    </a:lnTo>
                    <a:lnTo>
                      <a:pt x="16" y="111"/>
                    </a:lnTo>
                    <a:lnTo>
                      <a:pt x="16" y="111"/>
                    </a:lnTo>
                    <a:lnTo>
                      <a:pt x="13" y="112"/>
                    </a:lnTo>
                    <a:lnTo>
                      <a:pt x="13" y="112"/>
                    </a:lnTo>
                    <a:lnTo>
                      <a:pt x="11" y="115"/>
                    </a:lnTo>
                    <a:lnTo>
                      <a:pt x="11" y="115"/>
                    </a:lnTo>
                    <a:lnTo>
                      <a:pt x="5" y="119"/>
                    </a:lnTo>
                    <a:lnTo>
                      <a:pt x="5" y="119"/>
                    </a:lnTo>
                    <a:lnTo>
                      <a:pt x="3" y="119"/>
                    </a:lnTo>
                    <a:lnTo>
                      <a:pt x="3" y="119"/>
                    </a:lnTo>
                    <a:lnTo>
                      <a:pt x="2" y="122"/>
                    </a:lnTo>
                    <a:lnTo>
                      <a:pt x="2" y="122"/>
                    </a:lnTo>
                    <a:lnTo>
                      <a:pt x="2" y="136"/>
                    </a:lnTo>
                    <a:lnTo>
                      <a:pt x="2" y="136"/>
                    </a:lnTo>
                    <a:lnTo>
                      <a:pt x="2" y="138"/>
                    </a:lnTo>
                    <a:lnTo>
                      <a:pt x="2" y="138"/>
                    </a:lnTo>
                    <a:lnTo>
                      <a:pt x="2" y="138"/>
                    </a:lnTo>
                    <a:lnTo>
                      <a:pt x="2" y="138"/>
                    </a:lnTo>
                    <a:lnTo>
                      <a:pt x="2" y="139"/>
                    </a:lnTo>
                    <a:lnTo>
                      <a:pt x="2" y="139"/>
                    </a:lnTo>
                    <a:lnTo>
                      <a:pt x="0" y="158"/>
                    </a:lnTo>
                    <a:lnTo>
                      <a:pt x="0" y="158"/>
                    </a:lnTo>
                    <a:lnTo>
                      <a:pt x="0" y="158"/>
                    </a:lnTo>
                    <a:lnTo>
                      <a:pt x="2" y="139"/>
                    </a:lnTo>
                    <a:lnTo>
                      <a:pt x="2" y="139"/>
                    </a:lnTo>
                    <a:lnTo>
                      <a:pt x="48" y="174"/>
                    </a:lnTo>
                    <a:lnTo>
                      <a:pt x="48" y="174"/>
                    </a:lnTo>
                    <a:lnTo>
                      <a:pt x="46" y="174"/>
                    </a:lnTo>
                    <a:lnTo>
                      <a:pt x="46" y="174"/>
                    </a:lnTo>
                    <a:lnTo>
                      <a:pt x="54" y="181"/>
                    </a:lnTo>
                    <a:lnTo>
                      <a:pt x="54" y="181"/>
                    </a:lnTo>
                    <a:lnTo>
                      <a:pt x="89" y="206"/>
                    </a:lnTo>
                    <a:lnTo>
                      <a:pt x="89" y="206"/>
                    </a:lnTo>
                    <a:lnTo>
                      <a:pt x="108" y="220"/>
                    </a:lnTo>
                    <a:lnTo>
                      <a:pt x="108" y="220"/>
                    </a:lnTo>
                    <a:lnTo>
                      <a:pt x="108" y="220"/>
                    </a:lnTo>
                    <a:lnTo>
                      <a:pt x="108" y="220"/>
                    </a:lnTo>
                    <a:lnTo>
                      <a:pt x="114" y="225"/>
                    </a:lnTo>
                    <a:lnTo>
                      <a:pt x="114" y="225"/>
                    </a:lnTo>
                    <a:lnTo>
                      <a:pt x="118" y="227"/>
                    </a:lnTo>
                    <a:lnTo>
                      <a:pt x="118" y="227"/>
                    </a:lnTo>
                    <a:lnTo>
                      <a:pt x="119" y="230"/>
                    </a:lnTo>
                    <a:lnTo>
                      <a:pt x="119" y="230"/>
                    </a:lnTo>
                    <a:lnTo>
                      <a:pt x="121" y="233"/>
                    </a:lnTo>
                    <a:lnTo>
                      <a:pt x="121" y="233"/>
                    </a:lnTo>
                    <a:lnTo>
                      <a:pt x="121" y="233"/>
                    </a:lnTo>
                    <a:lnTo>
                      <a:pt x="121" y="233"/>
                    </a:lnTo>
                    <a:lnTo>
                      <a:pt x="121" y="236"/>
                    </a:lnTo>
                    <a:lnTo>
                      <a:pt x="121" y="236"/>
                    </a:lnTo>
                    <a:lnTo>
                      <a:pt x="126" y="236"/>
                    </a:lnTo>
                    <a:lnTo>
                      <a:pt x="126" y="236"/>
                    </a:lnTo>
                    <a:lnTo>
                      <a:pt x="127" y="239"/>
                    </a:lnTo>
                    <a:lnTo>
                      <a:pt x="127" y="239"/>
                    </a:lnTo>
                    <a:lnTo>
                      <a:pt x="127" y="239"/>
                    </a:lnTo>
                    <a:lnTo>
                      <a:pt x="129" y="241"/>
                    </a:lnTo>
                    <a:lnTo>
                      <a:pt x="129" y="241"/>
                    </a:lnTo>
                    <a:lnTo>
                      <a:pt x="130" y="241"/>
                    </a:lnTo>
                    <a:lnTo>
                      <a:pt x="130" y="241"/>
                    </a:lnTo>
                    <a:lnTo>
                      <a:pt x="132" y="242"/>
                    </a:lnTo>
                    <a:lnTo>
                      <a:pt x="132" y="242"/>
                    </a:lnTo>
                    <a:lnTo>
                      <a:pt x="133" y="242"/>
                    </a:lnTo>
                    <a:lnTo>
                      <a:pt x="133" y="242"/>
                    </a:lnTo>
                    <a:lnTo>
                      <a:pt x="135" y="244"/>
                    </a:lnTo>
                    <a:lnTo>
                      <a:pt x="135" y="244"/>
                    </a:lnTo>
                    <a:lnTo>
                      <a:pt x="138" y="246"/>
                    </a:lnTo>
                    <a:lnTo>
                      <a:pt x="138" y="246"/>
                    </a:lnTo>
                    <a:lnTo>
                      <a:pt x="146" y="247"/>
                    </a:lnTo>
                    <a:lnTo>
                      <a:pt x="146" y="247"/>
                    </a:lnTo>
                    <a:lnTo>
                      <a:pt x="146" y="250"/>
                    </a:lnTo>
                    <a:lnTo>
                      <a:pt x="146" y="250"/>
                    </a:lnTo>
                    <a:lnTo>
                      <a:pt x="146" y="255"/>
                    </a:lnTo>
                    <a:lnTo>
                      <a:pt x="146" y="255"/>
                    </a:lnTo>
                    <a:lnTo>
                      <a:pt x="146" y="258"/>
                    </a:lnTo>
                    <a:lnTo>
                      <a:pt x="146" y="258"/>
                    </a:lnTo>
                    <a:lnTo>
                      <a:pt x="146" y="258"/>
                    </a:lnTo>
                    <a:lnTo>
                      <a:pt x="146" y="258"/>
                    </a:lnTo>
                    <a:lnTo>
                      <a:pt x="146" y="258"/>
                    </a:lnTo>
                    <a:lnTo>
                      <a:pt x="146" y="258"/>
                    </a:lnTo>
                    <a:lnTo>
                      <a:pt x="151" y="258"/>
                    </a:lnTo>
                    <a:lnTo>
                      <a:pt x="151" y="258"/>
                    </a:lnTo>
                    <a:lnTo>
                      <a:pt x="153" y="258"/>
                    </a:lnTo>
                    <a:lnTo>
                      <a:pt x="153" y="258"/>
                    </a:lnTo>
                    <a:lnTo>
                      <a:pt x="156" y="258"/>
                    </a:lnTo>
                    <a:lnTo>
                      <a:pt x="156" y="258"/>
                    </a:lnTo>
                    <a:lnTo>
                      <a:pt x="159" y="258"/>
                    </a:lnTo>
                    <a:lnTo>
                      <a:pt x="159" y="258"/>
                    </a:lnTo>
                    <a:lnTo>
                      <a:pt x="159" y="262"/>
                    </a:lnTo>
                    <a:lnTo>
                      <a:pt x="159" y="262"/>
                    </a:lnTo>
                    <a:lnTo>
                      <a:pt x="159" y="258"/>
                    </a:lnTo>
                    <a:lnTo>
                      <a:pt x="159" y="258"/>
                    </a:lnTo>
                    <a:lnTo>
                      <a:pt x="160" y="258"/>
                    </a:lnTo>
                    <a:lnTo>
                      <a:pt x="160" y="258"/>
                    </a:lnTo>
                    <a:lnTo>
                      <a:pt x="172" y="255"/>
                    </a:lnTo>
                    <a:lnTo>
                      <a:pt x="172" y="255"/>
                    </a:lnTo>
                    <a:lnTo>
                      <a:pt x="173" y="255"/>
                    </a:lnTo>
                    <a:lnTo>
                      <a:pt x="173" y="255"/>
                    </a:lnTo>
                    <a:lnTo>
                      <a:pt x="178" y="254"/>
                    </a:lnTo>
                    <a:lnTo>
                      <a:pt x="178" y="254"/>
                    </a:lnTo>
                    <a:lnTo>
                      <a:pt x="183" y="250"/>
                    </a:lnTo>
                    <a:lnTo>
                      <a:pt x="183" y="250"/>
                    </a:lnTo>
                    <a:lnTo>
                      <a:pt x="186" y="246"/>
                    </a:lnTo>
                    <a:lnTo>
                      <a:pt x="186" y="246"/>
                    </a:lnTo>
                    <a:lnTo>
                      <a:pt x="202" y="233"/>
                    </a:lnTo>
                    <a:lnTo>
                      <a:pt x="202" y="233"/>
                    </a:lnTo>
                    <a:lnTo>
                      <a:pt x="219" y="220"/>
                    </a:lnTo>
                    <a:lnTo>
                      <a:pt x="219" y="220"/>
                    </a:lnTo>
                    <a:lnTo>
                      <a:pt x="254" y="195"/>
                    </a:lnTo>
                    <a:lnTo>
                      <a:pt x="254" y="195"/>
                    </a:lnTo>
                    <a:lnTo>
                      <a:pt x="256" y="195"/>
                    </a:lnTo>
                    <a:lnTo>
                      <a:pt x="254" y="193"/>
                    </a:lnTo>
                    <a:lnTo>
                      <a:pt x="254" y="193"/>
                    </a:lnTo>
                    <a:lnTo>
                      <a:pt x="254" y="193"/>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70" name="Freeform 174">
                <a:extLst>
                  <a:ext uri="{FF2B5EF4-FFF2-40B4-BE49-F238E27FC236}">
                    <a16:creationId xmlns:a16="http://schemas.microsoft.com/office/drawing/2014/main" id="{D05233E3-5DF0-CAE9-DE29-DD8A06B4F79F}"/>
                  </a:ext>
                </a:extLst>
              </p:cNvPr>
              <p:cNvSpPr>
                <a:spLocks/>
              </p:cNvSpPr>
              <p:nvPr/>
            </p:nvSpPr>
            <p:spPr bwMode="auto">
              <a:xfrm>
                <a:off x="5428226" y="3222089"/>
                <a:ext cx="466559" cy="477774"/>
              </a:xfrm>
              <a:custGeom>
                <a:avLst/>
                <a:gdLst>
                  <a:gd name="T0" fmla="*/ 197 w 208"/>
                  <a:gd name="T1" fmla="*/ 84 h 213"/>
                  <a:gd name="T2" fmla="*/ 197 w 208"/>
                  <a:gd name="T3" fmla="*/ 76 h 213"/>
                  <a:gd name="T4" fmla="*/ 182 w 208"/>
                  <a:gd name="T5" fmla="*/ 68 h 213"/>
                  <a:gd name="T6" fmla="*/ 178 w 208"/>
                  <a:gd name="T7" fmla="*/ 65 h 213"/>
                  <a:gd name="T8" fmla="*/ 171 w 208"/>
                  <a:gd name="T9" fmla="*/ 59 h 213"/>
                  <a:gd name="T10" fmla="*/ 163 w 208"/>
                  <a:gd name="T11" fmla="*/ 51 h 213"/>
                  <a:gd name="T12" fmla="*/ 105 w 208"/>
                  <a:gd name="T13" fmla="*/ 7 h 213"/>
                  <a:gd name="T14" fmla="*/ 76 w 208"/>
                  <a:gd name="T15" fmla="*/ 22 h 213"/>
                  <a:gd name="T16" fmla="*/ 86 w 208"/>
                  <a:gd name="T17" fmla="*/ 122 h 213"/>
                  <a:gd name="T18" fmla="*/ 86 w 208"/>
                  <a:gd name="T19" fmla="*/ 134 h 213"/>
                  <a:gd name="T20" fmla="*/ 59 w 208"/>
                  <a:gd name="T21" fmla="*/ 137 h 213"/>
                  <a:gd name="T22" fmla="*/ 36 w 208"/>
                  <a:gd name="T23" fmla="*/ 134 h 213"/>
                  <a:gd name="T24" fmla="*/ 25 w 208"/>
                  <a:gd name="T25" fmla="*/ 138 h 213"/>
                  <a:gd name="T26" fmla="*/ 17 w 208"/>
                  <a:gd name="T27" fmla="*/ 142 h 213"/>
                  <a:gd name="T28" fmla="*/ 8 w 208"/>
                  <a:gd name="T29" fmla="*/ 135 h 213"/>
                  <a:gd name="T30" fmla="*/ 6 w 208"/>
                  <a:gd name="T31" fmla="*/ 143 h 213"/>
                  <a:gd name="T32" fmla="*/ 0 w 208"/>
                  <a:gd name="T33" fmla="*/ 148 h 213"/>
                  <a:gd name="T34" fmla="*/ 1 w 208"/>
                  <a:gd name="T35" fmla="*/ 153 h 213"/>
                  <a:gd name="T36" fmla="*/ 3 w 208"/>
                  <a:gd name="T37" fmla="*/ 161 h 213"/>
                  <a:gd name="T38" fmla="*/ 6 w 208"/>
                  <a:gd name="T39" fmla="*/ 167 h 213"/>
                  <a:gd name="T40" fmla="*/ 8 w 208"/>
                  <a:gd name="T41" fmla="*/ 176 h 213"/>
                  <a:gd name="T42" fmla="*/ 8 w 208"/>
                  <a:gd name="T43" fmla="*/ 184 h 213"/>
                  <a:gd name="T44" fmla="*/ 14 w 208"/>
                  <a:gd name="T45" fmla="*/ 184 h 213"/>
                  <a:gd name="T46" fmla="*/ 19 w 208"/>
                  <a:gd name="T47" fmla="*/ 188 h 213"/>
                  <a:gd name="T48" fmla="*/ 28 w 208"/>
                  <a:gd name="T49" fmla="*/ 184 h 213"/>
                  <a:gd name="T50" fmla="*/ 36 w 208"/>
                  <a:gd name="T51" fmla="*/ 181 h 213"/>
                  <a:gd name="T52" fmla="*/ 40 w 208"/>
                  <a:gd name="T53" fmla="*/ 181 h 213"/>
                  <a:gd name="T54" fmla="*/ 43 w 208"/>
                  <a:gd name="T55" fmla="*/ 189 h 213"/>
                  <a:gd name="T56" fmla="*/ 46 w 208"/>
                  <a:gd name="T57" fmla="*/ 194 h 213"/>
                  <a:gd name="T58" fmla="*/ 46 w 208"/>
                  <a:gd name="T59" fmla="*/ 197 h 213"/>
                  <a:gd name="T60" fmla="*/ 49 w 208"/>
                  <a:gd name="T61" fmla="*/ 200 h 213"/>
                  <a:gd name="T62" fmla="*/ 52 w 208"/>
                  <a:gd name="T63" fmla="*/ 210 h 213"/>
                  <a:gd name="T64" fmla="*/ 52 w 208"/>
                  <a:gd name="T65" fmla="*/ 213 h 213"/>
                  <a:gd name="T66" fmla="*/ 57 w 208"/>
                  <a:gd name="T67" fmla="*/ 210 h 213"/>
                  <a:gd name="T68" fmla="*/ 65 w 208"/>
                  <a:gd name="T69" fmla="*/ 213 h 213"/>
                  <a:gd name="T70" fmla="*/ 70 w 208"/>
                  <a:gd name="T71" fmla="*/ 210 h 213"/>
                  <a:gd name="T72" fmla="*/ 73 w 208"/>
                  <a:gd name="T73" fmla="*/ 207 h 213"/>
                  <a:gd name="T74" fmla="*/ 74 w 208"/>
                  <a:gd name="T75" fmla="*/ 213 h 213"/>
                  <a:gd name="T76" fmla="*/ 78 w 208"/>
                  <a:gd name="T77" fmla="*/ 210 h 213"/>
                  <a:gd name="T78" fmla="*/ 84 w 208"/>
                  <a:gd name="T79" fmla="*/ 207 h 213"/>
                  <a:gd name="T80" fmla="*/ 87 w 208"/>
                  <a:gd name="T81" fmla="*/ 199 h 213"/>
                  <a:gd name="T82" fmla="*/ 87 w 208"/>
                  <a:gd name="T83" fmla="*/ 191 h 213"/>
                  <a:gd name="T84" fmla="*/ 90 w 208"/>
                  <a:gd name="T85" fmla="*/ 188 h 213"/>
                  <a:gd name="T86" fmla="*/ 98 w 208"/>
                  <a:gd name="T87" fmla="*/ 181 h 213"/>
                  <a:gd name="T88" fmla="*/ 98 w 208"/>
                  <a:gd name="T89" fmla="*/ 176 h 213"/>
                  <a:gd name="T90" fmla="*/ 101 w 208"/>
                  <a:gd name="T91" fmla="*/ 170 h 213"/>
                  <a:gd name="T92" fmla="*/ 108 w 208"/>
                  <a:gd name="T93" fmla="*/ 169 h 213"/>
                  <a:gd name="T94" fmla="*/ 113 w 208"/>
                  <a:gd name="T95" fmla="*/ 165 h 213"/>
                  <a:gd name="T96" fmla="*/ 117 w 208"/>
                  <a:gd name="T97" fmla="*/ 159 h 213"/>
                  <a:gd name="T98" fmla="*/ 127 w 208"/>
                  <a:gd name="T99" fmla="*/ 154 h 213"/>
                  <a:gd name="T100" fmla="*/ 133 w 208"/>
                  <a:gd name="T101" fmla="*/ 149 h 213"/>
                  <a:gd name="T102" fmla="*/ 149 w 208"/>
                  <a:gd name="T103" fmla="*/ 143 h 213"/>
                  <a:gd name="T104" fmla="*/ 157 w 208"/>
                  <a:gd name="T105" fmla="*/ 145 h 213"/>
                  <a:gd name="T106" fmla="*/ 168 w 208"/>
                  <a:gd name="T107" fmla="*/ 143 h 213"/>
                  <a:gd name="T108" fmla="*/ 190 w 208"/>
                  <a:gd name="T109" fmla="*/ 138 h 213"/>
                  <a:gd name="T110" fmla="*/ 198 w 208"/>
                  <a:gd name="T111" fmla="*/ 138 h 213"/>
                  <a:gd name="T112" fmla="*/ 205 w 208"/>
                  <a:gd name="T113" fmla="*/ 129 h 213"/>
                  <a:gd name="T114" fmla="*/ 208 w 208"/>
                  <a:gd name="T115" fmla="*/ 88 h 213"/>
                  <a:gd name="T116" fmla="*/ 205 w 208"/>
                  <a:gd name="T117" fmla="*/ 84 h 213"/>
                  <a:gd name="T118" fmla="*/ 205 w 208"/>
                  <a:gd name="T119" fmla="*/ 8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8" h="213">
                    <a:moveTo>
                      <a:pt x="205" y="84"/>
                    </a:moveTo>
                    <a:lnTo>
                      <a:pt x="202" y="84"/>
                    </a:lnTo>
                    <a:lnTo>
                      <a:pt x="200" y="84"/>
                    </a:lnTo>
                    <a:lnTo>
                      <a:pt x="197" y="84"/>
                    </a:lnTo>
                    <a:lnTo>
                      <a:pt x="195" y="84"/>
                    </a:lnTo>
                    <a:lnTo>
                      <a:pt x="195" y="84"/>
                    </a:lnTo>
                    <a:lnTo>
                      <a:pt x="195" y="81"/>
                    </a:lnTo>
                    <a:lnTo>
                      <a:pt x="197" y="76"/>
                    </a:lnTo>
                    <a:lnTo>
                      <a:pt x="195" y="73"/>
                    </a:lnTo>
                    <a:lnTo>
                      <a:pt x="187" y="72"/>
                    </a:lnTo>
                    <a:lnTo>
                      <a:pt x="184" y="70"/>
                    </a:lnTo>
                    <a:lnTo>
                      <a:pt x="182" y="68"/>
                    </a:lnTo>
                    <a:lnTo>
                      <a:pt x="181" y="68"/>
                    </a:lnTo>
                    <a:lnTo>
                      <a:pt x="179" y="67"/>
                    </a:lnTo>
                    <a:lnTo>
                      <a:pt x="178" y="67"/>
                    </a:lnTo>
                    <a:lnTo>
                      <a:pt x="178" y="65"/>
                    </a:lnTo>
                    <a:lnTo>
                      <a:pt x="178" y="65"/>
                    </a:lnTo>
                    <a:lnTo>
                      <a:pt x="175" y="62"/>
                    </a:lnTo>
                    <a:lnTo>
                      <a:pt x="171" y="62"/>
                    </a:lnTo>
                    <a:lnTo>
                      <a:pt x="171" y="59"/>
                    </a:lnTo>
                    <a:lnTo>
                      <a:pt x="171" y="59"/>
                    </a:lnTo>
                    <a:lnTo>
                      <a:pt x="168" y="56"/>
                    </a:lnTo>
                    <a:lnTo>
                      <a:pt x="167" y="53"/>
                    </a:lnTo>
                    <a:lnTo>
                      <a:pt x="163" y="51"/>
                    </a:lnTo>
                    <a:lnTo>
                      <a:pt x="159" y="46"/>
                    </a:lnTo>
                    <a:lnTo>
                      <a:pt x="157" y="46"/>
                    </a:lnTo>
                    <a:lnTo>
                      <a:pt x="140" y="32"/>
                    </a:lnTo>
                    <a:lnTo>
                      <a:pt x="105" y="7"/>
                    </a:lnTo>
                    <a:lnTo>
                      <a:pt x="95" y="0"/>
                    </a:lnTo>
                    <a:lnTo>
                      <a:pt x="76" y="0"/>
                    </a:lnTo>
                    <a:lnTo>
                      <a:pt x="74" y="0"/>
                    </a:lnTo>
                    <a:lnTo>
                      <a:pt x="76" y="22"/>
                    </a:lnTo>
                    <a:lnTo>
                      <a:pt x="84" y="116"/>
                    </a:lnTo>
                    <a:lnTo>
                      <a:pt x="84" y="119"/>
                    </a:lnTo>
                    <a:lnTo>
                      <a:pt x="84" y="122"/>
                    </a:lnTo>
                    <a:lnTo>
                      <a:pt x="86" y="122"/>
                    </a:lnTo>
                    <a:lnTo>
                      <a:pt x="87" y="126"/>
                    </a:lnTo>
                    <a:lnTo>
                      <a:pt x="87" y="129"/>
                    </a:lnTo>
                    <a:lnTo>
                      <a:pt x="86" y="132"/>
                    </a:lnTo>
                    <a:lnTo>
                      <a:pt x="86" y="134"/>
                    </a:lnTo>
                    <a:lnTo>
                      <a:pt x="86" y="135"/>
                    </a:lnTo>
                    <a:lnTo>
                      <a:pt x="84" y="137"/>
                    </a:lnTo>
                    <a:lnTo>
                      <a:pt x="74" y="137"/>
                    </a:lnTo>
                    <a:lnTo>
                      <a:pt x="59" y="137"/>
                    </a:lnTo>
                    <a:lnTo>
                      <a:pt x="49" y="137"/>
                    </a:lnTo>
                    <a:lnTo>
                      <a:pt x="43" y="137"/>
                    </a:lnTo>
                    <a:lnTo>
                      <a:pt x="40" y="137"/>
                    </a:lnTo>
                    <a:lnTo>
                      <a:pt x="36" y="134"/>
                    </a:lnTo>
                    <a:lnTo>
                      <a:pt x="35" y="137"/>
                    </a:lnTo>
                    <a:lnTo>
                      <a:pt x="32" y="138"/>
                    </a:lnTo>
                    <a:lnTo>
                      <a:pt x="27" y="138"/>
                    </a:lnTo>
                    <a:lnTo>
                      <a:pt x="25" y="138"/>
                    </a:lnTo>
                    <a:lnTo>
                      <a:pt x="22" y="137"/>
                    </a:lnTo>
                    <a:lnTo>
                      <a:pt x="19" y="138"/>
                    </a:lnTo>
                    <a:lnTo>
                      <a:pt x="17" y="140"/>
                    </a:lnTo>
                    <a:lnTo>
                      <a:pt x="17" y="142"/>
                    </a:lnTo>
                    <a:lnTo>
                      <a:pt x="17" y="142"/>
                    </a:lnTo>
                    <a:lnTo>
                      <a:pt x="14" y="140"/>
                    </a:lnTo>
                    <a:lnTo>
                      <a:pt x="11" y="137"/>
                    </a:lnTo>
                    <a:lnTo>
                      <a:pt x="8" y="135"/>
                    </a:lnTo>
                    <a:lnTo>
                      <a:pt x="8" y="135"/>
                    </a:lnTo>
                    <a:lnTo>
                      <a:pt x="8" y="137"/>
                    </a:lnTo>
                    <a:lnTo>
                      <a:pt x="6" y="142"/>
                    </a:lnTo>
                    <a:lnTo>
                      <a:pt x="6" y="143"/>
                    </a:lnTo>
                    <a:lnTo>
                      <a:pt x="6" y="146"/>
                    </a:lnTo>
                    <a:lnTo>
                      <a:pt x="3" y="148"/>
                    </a:lnTo>
                    <a:lnTo>
                      <a:pt x="0" y="148"/>
                    </a:lnTo>
                    <a:lnTo>
                      <a:pt x="0" y="148"/>
                    </a:lnTo>
                    <a:lnTo>
                      <a:pt x="1" y="149"/>
                    </a:lnTo>
                    <a:lnTo>
                      <a:pt x="0" y="149"/>
                    </a:lnTo>
                    <a:lnTo>
                      <a:pt x="0" y="153"/>
                    </a:lnTo>
                    <a:lnTo>
                      <a:pt x="1" y="153"/>
                    </a:lnTo>
                    <a:lnTo>
                      <a:pt x="3" y="156"/>
                    </a:lnTo>
                    <a:lnTo>
                      <a:pt x="3" y="157"/>
                    </a:lnTo>
                    <a:lnTo>
                      <a:pt x="3" y="159"/>
                    </a:lnTo>
                    <a:lnTo>
                      <a:pt x="3" y="161"/>
                    </a:lnTo>
                    <a:lnTo>
                      <a:pt x="3" y="164"/>
                    </a:lnTo>
                    <a:lnTo>
                      <a:pt x="3" y="165"/>
                    </a:lnTo>
                    <a:lnTo>
                      <a:pt x="5" y="165"/>
                    </a:lnTo>
                    <a:lnTo>
                      <a:pt x="6" y="167"/>
                    </a:lnTo>
                    <a:lnTo>
                      <a:pt x="8" y="169"/>
                    </a:lnTo>
                    <a:lnTo>
                      <a:pt x="9" y="172"/>
                    </a:lnTo>
                    <a:lnTo>
                      <a:pt x="11" y="175"/>
                    </a:lnTo>
                    <a:lnTo>
                      <a:pt x="8" y="176"/>
                    </a:lnTo>
                    <a:lnTo>
                      <a:pt x="11" y="178"/>
                    </a:lnTo>
                    <a:lnTo>
                      <a:pt x="11" y="181"/>
                    </a:lnTo>
                    <a:lnTo>
                      <a:pt x="11" y="181"/>
                    </a:lnTo>
                    <a:lnTo>
                      <a:pt x="8" y="184"/>
                    </a:lnTo>
                    <a:lnTo>
                      <a:pt x="11" y="188"/>
                    </a:lnTo>
                    <a:lnTo>
                      <a:pt x="11" y="188"/>
                    </a:lnTo>
                    <a:lnTo>
                      <a:pt x="14" y="184"/>
                    </a:lnTo>
                    <a:lnTo>
                      <a:pt x="14" y="184"/>
                    </a:lnTo>
                    <a:lnTo>
                      <a:pt x="17" y="184"/>
                    </a:lnTo>
                    <a:lnTo>
                      <a:pt x="17" y="184"/>
                    </a:lnTo>
                    <a:lnTo>
                      <a:pt x="17" y="188"/>
                    </a:lnTo>
                    <a:lnTo>
                      <a:pt x="19" y="188"/>
                    </a:lnTo>
                    <a:lnTo>
                      <a:pt x="21" y="184"/>
                    </a:lnTo>
                    <a:lnTo>
                      <a:pt x="24" y="184"/>
                    </a:lnTo>
                    <a:lnTo>
                      <a:pt x="27" y="184"/>
                    </a:lnTo>
                    <a:lnTo>
                      <a:pt x="28" y="184"/>
                    </a:lnTo>
                    <a:lnTo>
                      <a:pt x="30" y="188"/>
                    </a:lnTo>
                    <a:lnTo>
                      <a:pt x="36" y="184"/>
                    </a:lnTo>
                    <a:lnTo>
                      <a:pt x="36" y="181"/>
                    </a:lnTo>
                    <a:lnTo>
                      <a:pt x="36" y="181"/>
                    </a:lnTo>
                    <a:lnTo>
                      <a:pt x="36" y="178"/>
                    </a:lnTo>
                    <a:lnTo>
                      <a:pt x="38" y="181"/>
                    </a:lnTo>
                    <a:lnTo>
                      <a:pt x="40" y="181"/>
                    </a:lnTo>
                    <a:lnTo>
                      <a:pt x="40" y="181"/>
                    </a:lnTo>
                    <a:lnTo>
                      <a:pt x="40" y="184"/>
                    </a:lnTo>
                    <a:lnTo>
                      <a:pt x="43" y="188"/>
                    </a:lnTo>
                    <a:lnTo>
                      <a:pt x="43" y="188"/>
                    </a:lnTo>
                    <a:lnTo>
                      <a:pt x="43" y="189"/>
                    </a:lnTo>
                    <a:lnTo>
                      <a:pt x="43" y="191"/>
                    </a:lnTo>
                    <a:lnTo>
                      <a:pt x="43" y="191"/>
                    </a:lnTo>
                    <a:lnTo>
                      <a:pt x="46" y="192"/>
                    </a:lnTo>
                    <a:lnTo>
                      <a:pt x="46" y="194"/>
                    </a:lnTo>
                    <a:lnTo>
                      <a:pt x="49" y="196"/>
                    </a:lnTo>
                    <a:lnTo>
                      <a:pt x="49" y="197"/>
                    </a:lnTo>
                    <a:lnTo>
                      <a:pt x="46" y="197"/>
                    </a:lnTo>
                    <a:lnTo>
                      <a:pt x="46" y="197"/>
                    </a:lnTo>
                    <a:lnTo>
                      <a:pt x="46" y="199"/>
                    </a:lnTo>
                    <a:lnTo>
                      <a:pt x="43" y="202"/>
                    </a:lnTo>
                    <a:lnTo>
                      <a:pt x="46" y="200"/>
                    </a:lnTo>
                    <a:lnTo>
                      <a:pt x="49" y="200"/>
                    </a:lnTo>
                    <a:lnTo>
                      <a:pt x="49" y="202"/>
                    </a:lnTo>
                    <a:lnTo>
                      <a:pt x="49" y="207"/>
                    </a:lnTo>
                    <a:lnTo>
                      <a:pt x="49" y="210"/>
                    </a:lnTo>
                    <a:lnTo>
                      <a:pt x="52" y="210"/>
                    </a:lnTo>
                    <a:lnTo>
                      <a:pt x="52" y="210"/>
                    </a:lnTo>
                    <a:lnTo>
                      <a:pt x="52" y="213"/>
                    </a:lnTo>
                    <a:lnTo>
                      <a:pt x="52" y="213"/>
                    </a:lnTo>
                    <a:lnTo>
                      <a:pt x="52" y="213"/>
                    </a:lnTo>
                    <a:lnTo>
                      <a:pt x="52" y="213"/>
                    </a:lnTo>
                    <a:lnTo>
                      <a:pt x="54" y="213"/>
                    </a:lnTo>
                    <a:lnTo>
                      <a:pt x="55" y="210"/>
                    </a:lnTo>
                    <a:lnTo>
                      <a:pt x="57" y="210"/>
                    </a:lnTo>
                    <a:lnTo>
                      <a:pt x="59" y="210"/>
                    </a:lnTo>
                    <a:lnTo>
                      <a:pt x="60" y="210"/>
                    </a:lnTo>
                    <a:lnTo>
                      <a:pt x="62" y="213"/>
                    </a:lnTo>
                    <a:lnTo>
                      <a:pt x="65" y="213"/>
                    </a:lnTo>
                    <a:lnTo>
                      <a:pt x="67" y="210"/>
                    </a:lnTo>
                    <a:lnTo>
                      <a:pt x="67" y="210"/>
                    </a:lnTo>
                    <a:lnTo>
                      <a:pt x="70" y="210"/>
                    </a:lnTo>
                    <a:lnTo>
                      <a:pt x="70" y="210"/>
                    </a:lnTo>
                    <a:lnTo>
                      <a:pt x="70" y="207"/>
                    </a:lnTo>
                    <a:lnTo>
                      <a:pt x="70" y="208"/>
                    </a:lnTo>
                    <a:lnTo>
                      <a:pt x="73" y="208"/>
                    </a:lnTo>
                    <a:lnTo>
                      <a:pt x="73" y="207"/>
                    </a:lnTo>
                    <a:lnTo>
                      <a:pt x="74" y="205"/>
                    </a:lnTo>
                    <a:lnTo>
                      <a:pt x="74" y="210"/>
                    </a:lnTo>
                    <a:lnTo>
                      <a:pt x="74" y="210"/>
                    </a:lnTo>
                    <a:lnTo>
                      <a:pt x="74" y="213"/>
                    </a:lnTo>
                    <a:lnTo>
                      <a:pt x="76" y="213"/>
                    </a:lnTo>
                    <a:lnTo>
                      <a:pt x="76" y="213"/>
                    </a:lnTo>
                    <a:lnTo>
                      <a:pt x="78" y="213"/>
                    </a:lnTo>
                    <a:lnTo>
                      <a:pt x="78" y="210"/>
                    </a:lnTo>
                    <a:lnTo>
                      <a:pt x="79" y="210"/>
                    </a:lnTo>
                    <a:lnTo>
                      <a:pt x="82" y="210"/>
                    </a:lnTo>
                    <a:lnTo>
                      <a:pt x="84" y="208"/>
                    </a:lnTo>
                    <a:lnTo>
                      <a:pt x="84" y="207"/>
                    </a:lnTo>
                    <a:lnTo>
                      <a:pt x="84" y="202"/>
                    </a:lnTo>
                    <a:lnTo>
                      <a:pt x="84" y="202"/>
                    </a:lnTo>
                    <a:lnTo>
                      <a:pt x="84" y="200"/>
                    </a:lnTo>
                    <a:lnTo>
                      <a:pt x="87" y="199"/>
                    </a:lnTo>
                    <a:lnTo>
                      <a:pt x="87" y="196"/>
                    </a:lnTo>
                    <a:lnTo>
                      <a:pt x="87" y="194"/>
                    </a:lnTo>
                    <a:lnTo>
                      <a:pt x="87" y="192"/>
                    </a:lnTo>
                    <a:lnTo>
                      <a:pt x="87" y="191"/>
                    </a:lnTo>
                    <a:lnTo>
                      <a:pt x="87" y="189"/>
                    </a:lnTo>
                    <a:lnTo>
                      <a:pt x="86" y="189"/>
                    </a:lnTo>
                    <a:lnTo>
                      <a:pt x="87" y="188"/>
                    </a:lnTo>
                    <a:lnTo>
                      <a:pt x="90" y="188"/>
                    </a:lnTo>
                    <a:lnTo>
                      <a:pt x="92" y="188"/>
                    </a:lnTo>
                    <a:lnTo>
                      <a:pt x="94" y="188"/>
                    </a:lnTo>
                    <a:lnTo>
                      <a:pt x="95" y="188"/>
                    </a:lnTo>
                    <a:lnTo>
                      <a:pt x="98" y="181"/>
                    </a:lnTo>
                    <a:lnTo>
                      <a:pt x="98" y="178"/>
                    </a:lnTo>
                    <a:lnTo>
                      <a:pt x="98" y="178"/>
                    </a:lnTo>
                    <a:lnTo>
                      <a:pt x="98" y="176"/>
                    </a:lnTo>
                    <a:lnTo>
                      <a:pt x="98" y="176"/>
                    </a:lnTo>
                    <a:lnTo>
                      <a:pt x="101" y="175"/>
                    </a:lnTo>
                    <a:lnTo>
                      <a:pt x="98" y="172"/>
                    </a:lnTo>
                    <a:lnTo>
                      <a:pt x="98" y="170"/>
                    </a:lnTo>
                    <a:lnTo>
                      <a:pt x="101" y="170"/>
                    </a:lnTo>
                    <a:lnTo>
                      <a:pt x="101" y="169"/>
                    </a:lnTo>
                    <a:lnTo>
                      <a:pt x="105" y="165"/>
                    </a:lnTo>
                    <a:lnTo>
                      <a:pt x="105" y="167"/>
                    </a:lnTo>
                    <a:lnTo>
                      <a:pt x="108" y="169"/>
                    </a:lnTo>
                    <a:lnTo>
                      <a:pt x="109" y="170"/>
                    </a:lnTo>
                    <a:lnTo>
                      <a:pt x="111" y="169"/>
                    </a:lnTo>
                    <a:lnTo>
                      <a:pt x="113" y="169"/>
                    </a:lnTo>
                    <a:lnTo>
                      <a:pt x="113" y="165"/>
                    </a:lnTo>
                    <a:lnTo>
                      <a:pt x="113" y="162"/>
                    </a:lnTo>
                    <a:lnTo>
                      <a:pt x="116" y="164"/>
                    </a:lnTo>
                    <a:lnTo>
                      <a:pt x="117" y="161"/>
                    </a:lnTo>
                    <a:lnTo>
                      <a:pt x="117" y="159"/>
                    </a:lnTo>
                    <a:lnTo>
                      <a:pt x="119" y="156"/>
                    </a:lnTo>
                    <a:lnTo>
                      <a:pt x="121" y="154"/>
                    </a:lnTo>
                    <a:lnTo>
                      <a:pt x="124" y="154"/>
                    </a:lnTo>
                    <a:lnTo>
                      <a:pt x="127" y="154"/>
                    </a:lnTo>
                    <a:lnTo>
                      <a:pt x="128" y="154"/>
                    </a:lnTo>
                    <a:lnTo>
                      <a:pt x="128" y="153"/>
                    </a:lnTo>
                    <a:lnTo>
                      <a:pt x="130" y="153"/>
                    </a:lnTo>
                    <a:lnTo>
                      <a:pt x="133" y="149"/>
                    </a:lnTo>
                    <a:lnTo>
                      <a:pt x="136" y="149"/>
                    </a:lnTo>
                    <a:lnTo>
                      <a:pt x="143" y="145"/>
                    </a:lnTo>
                    <a:lnTo>
                      <a:pt x="146" y="143"/>
                    </a:lnTo>
                    <a:lnTo>
                      <a:pt x="149" y="143"/>
                    </a:lnTo>
                    <a:lnTo>
                      <a:pt x="151" y="143"/>
                    </a:lnTo>
                    <a:lnTo>
                      <a:pt x="152" y="143"/>
                    </a:lnTo>
                    <a:lnTo>
                      <a:pt x="154" y="143"/>
                    </a:lnTo>
                    <a:lnTo>
                      <a:pt x="157" y="145"/>
                    </a:lnTo>
                    <a:lnTo>
                      <a:pt x="159" y="145"/>
                    </a:lnTo>
                    <a:lnTo>
                      <a:pt x="163" y="145"/>
                    </a:lnTo>
                    <a:lnTo>
                      <a:pt x="165" y="145"/>
                    </a:lnTo>
                    <a:lnTo>
                      <a:pt x="168" y="143"/>
                    </a:lnTo>
                    <a:lnTo>
                      <a:pt x="171" y="140"/>
                    </a:lnTo>
                    <a:lnTo>
                      <a:pt x="178" y="140"/>
                    </a:lnTo>
                    <a:lnTo>
                      <a:pt x="184" y="140"/>
                    </a:lnTo>
                    <a:lnTo>
                      <a:pt x="190" y="138"/>
                    </a:lnTo>
                    <a:lnTo>
                      <a:pt x="192" y="138"/>
                    </a:lnTo>
                    <a:lnTo>
                      <a:pt x="195" y="138"/>
                    </a:lnTo>
                    <a:lnTo>
                      <a:pt x="198" y="138"/>
                    </a:lnTo>
                    <a:lnTo>
                      <a:pt x="198" y="138"/>
                    </a:lnTo>
                    <a:lnTo>
                      <a:pt x="200" y="135"/>
                    </a:lnTo>
                    <a:lnTo>
                      <a:pt x="202" y="134"/>
                    </a:lnTo>
                    <a:lnTo>
                      <a:pt x="203" y="132"/>
                    </a:lnTo>
                    <a:lnTo>
                      <a:pt x="205" y="129"/>
                    </a:lnTo>
                    <a:lnTo>
                      <a:pt x="206" y="122"/>
                    </a:lnTo>
                    <a:lnTo>
                      <a:pt x="208" y="116"/>
                    </a:lnTo>
                    <a:lnTo>
                      <a:pt x="208" y="99"/>
                    </a:lnTo>
                    <a:lnTo>
                      <a:pt x="208" y="88"/>
                    </a:lnTo>
                    <a:lnTo>
                      <a:pt x="208" y="84"/>
                    </a:lnTo>
                    <a:lnTo>
                      <a:pt x="205" y="84"/>
                    </a:lnTo>
                    <a:lnTo>
                      <a:pt x="205" y="84"/>
                    </a:lnTo>
                    <a:lnTo>
                      <a:pt x="205" y="84"/>
                    </a:lnTo>
                    <a:lnTo>
                      <a:pt x="205" y="84"/>
                    </a:lnTo>
                    <a:lnTo>
                      <a:pt x="205" y="84"/>
                    </a:lnTo>
                    <a:lnTo>
                      <a:pt x="205" y="84"/>
                    </a:lnTo>
                    <a:lnTo>
                      <a:pt x="205" y="84"/>
                    </a:lnTo>
                    <a:lnTo>
                      <a:pt x="205" y="84"/>
                    </a:lnTo>
                    <a:lnTo>
                      <a:pt x="205" y="8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71" name="Freeform 176">
                <a:extLst>
                  <a:ext uri="{FF2B5EF4-FFF2-40B4-BE49-F238E27FC236}">
                    <a16:creationId xmlns:a16="http://schemas.microsoft.com/office/drawing/2014/main" id="{E6090878-07CB-D677-B013-E9FA4B3CE7E5}"/>
                  </a:ext>
                </a:extLst>
              </p:cNvPr>
              <p:cNvSpPr>
                <a:spLocks/>
              </p:cNvSpPr>
              <p:nvPr/>
            </p:nvSpPr>
            <p:spPr bwMode="auto">
              <a:xfrm>
                <a:off x="5991236" y="2822823"/>
                <a:ext cx="105424" cy="228793"/>
              </a:xfrm>
              <a:custGeom>
                <a:avLst/>
                <a:gdLst>
                  <a:gd name="T0" fmla="*/ 11 w 47"/>
                  <a:gd name="T1" fmla="*/ 10 h 102"/>
                  <a:gd name="T2" fmla="*/ 11 w 47"/>
                  <a:gd name="T3" fmla="*/ 15 h 102"/>
                  <a:gd name="T4" fmla="*/ 8 w 47"/>
                  <a:gd name="T5" fmla="*/ 21 h 102"/>
                  <a:gd name="T6" fmla="*/ 11 w 47"/>
                  <a:gd name="T7" fmla="*/ 29 h 102"/>
                  <a:gd name="T8" fmla="*/ 8 w 47"/>
                  <a:gd name="T9" fmla="*/ 39 h 102"/>
                  <a:gd name="T10" fmla="*/ 0 w 47"/>
                  <a:gd name="T11" fmla="*/ 46 h 102"/>
                  <a:gd name="T12" fmla="*/ 0 w 47"/>
                  <a:gd name="T13" fmla="*/ 50 h 102"/>
                  <a:gd name="T14" fmla="*/ 1 w 47"/>
                  <a:gd name="T15" fmla="*/ 59 h 102"/>
                  <a:gd name="T16" fmla="*/ 4 w 47"/>
                  <a:gd name="T17" fmla="*/ 61 h 102"/>
                  <a:gd name="T18" fmla="*/ 8 w 47"/>
                  <a:gd name="T19" fmla="*/ 66 h 102"/>
                  <a:gd name="T20" fmla="*/ 11 w 47"/>
                  <a:gd name="T21" fmla="*/ 72 h 102"/>
                  <a:gd name="T22" fmla="*/ 17 w 47"/>
                  <a:gd name="T23" fmla="*/ 80 h 102"/>
                  <a:gd name="T24" fmla="*/ 20 w 47"/>
                  <a:gd name="T25" fmla="*/ 92 h 102"/>
                  <a:gd name="T26" fmla="*/ 27 w 47"/>
                  <a:gd name="T27" fmla="*/ 100 h 102"/>
                  <a:gd name="T28" fmla="*/ 30 w 47"/>
                  <a:gd name="T29" fmla="*/ 94 h 102"/>
                  <a:gd name="T30" fmla="*/ 30 w 47"/>
                  <a:gd name="T31" fmla="*/ 88 h 102"/>
                  <a:gd name="T32" fmla="*/ 30 w 47"/>
                  <a:gd name="T33" fmla="*/ 81 h 102"/>
                  <a:gd name="T34" fmla="*/ 33 w 47"/>
                  <a:gd name="T35" fmla="*/ 81 h 102"/>
                  <a:gd name="T36" fmla="*/ 36 w 47"/>
                  <a:gd name="T37" fmla="*/ 77 h 102"/>
                  <a:gd name="T38" fmla="*/ 44 w 47"/>
                  <a:gd name="T39" fmla="*/ 73 h 102"/>
                  <a:gd name="T40" fmla="*/ 47 w 47"/>
                  <a:gd name="T41" fmla="*/ 70 h 102"/>
                  <a:gd name="T42" fmla="*/ 47 w 47"/>
                  <a:gd name="T43" fmla="*/ 59 h 102"/>
                  <a:gd name="T44" fmla="*/ 43 w 47"/>
                  <a:gd name="T45" fmla="*/ 59 h 102"/>
                  <a:gd name="T46" fmla="*/ 41 w 47"/>
                  <a:gd name="T47" fmla="*/ 56 h 102"/>
                  <a:gd name="T48" fmla="*/ 39 w 47"/>
                  <a:gd name="T49" fmla="*/ 56 h 102"/>
                  <a:gd name="T50" fmla="*/ 36 w 47"/>
                  <a:gd name="T51" fmla="*/ 56 h 102"/>
                  <a:gd name="T52" fmla="*/ 35 w 47"/>
                  <a:gd name="T53" fmla="*/ 53 h 102"/>
                  <a:gd name="T54" fmla="*/ 30 w 47"/>
                  <a:gd name="T55" fmla="*/ 50 h 102"/>
                  <a:gd name="T56" fmla="*/ 30 w 47"/>
                  <a:gd name="T57" fmla="*/ 45 h 102"/>
                  <a:gd name="T58" fmla="*/ 39 w 47"/>
                  <a:gd name="T59" fmla="*/ 35 h 102"/>
                  <a:gd name="T60" fmla="*/ 41 w 47"/>
                  <a:gd name="T61" fmla="*/ 27 h 102"/>
                  <a:gd name="T62" fmla="*/ 36 w 47"/>
                  <a:gd name="T63" fmla="*/ 24 h 102"/>
                  <a:gd name="T64" fmla="*/ 33 w 47"/>
                  <a:gd name="T65" fmla="*/ 18 h 102"/>
                  <a:gd name="T66" fmla="*/ 36 w 47"/>
                  <a:gd name="T67" fmla="*/ 13 h 102"/>
                  <a:gd name="T68" fmla="*/ 41 w 47"/>
                  <a:gd name="T69" fmla="*/ 7 h 102"/>
                  <a:gd name="T70" fmla="*/ 38 w 47"/>
                  <a:gd name="T71" fmla="*/ 4 h 102"/>
                  <a:gd name="T72" fmla="*/ 33 w 47"/>
                  <a:gd name="T73" fmla="*/ 8 h 102"/>
                  <a:gd name="T74" fmla="*/ 31 w 47"/>
                  <a:gd name="T75" fmla="*/ 7 h 102"/>
                  <a:gd name="T76" fmla="*/ 30 w 47"/>
                  <a:gd name="T77" fmla="*/ 4 h 102"/>
                  <a:gd name="T78" fmla="*/ 27 w 47"/>
                  <a:gd name="T79" fmla="*/ 0 h 102"/>
                  <a:gd name="T80" fmla="*/ 27 w 47"/>
                  <a:gd name="T81" fmla="*/ 4 h 102"/>
                  <a:gd name="T82" fmla="*/ 27 w 47"/>
                  <a:gd name="T83" fmla="*/ 0 h 102"/>
                  <a:gd name="T84" fmla="*/ 20 w 47"/>
                  <a:gd name="T85" fmla="*/ 0 h 102"/>
                  <a:gd name="T86" fmla="*/ 16 w 47"/>
                  <a:gd name="T87" fmla="*/ 4 h 102"/>
                  <a:gd name="T88" fmla="*/ 12 w 47"/>
                  <a:gd name="T89" fmla="*/ 7 h 102"/>
                  <a:gd name="T90" fmla="*/ 11 w 47"/>
                  <a:gd name="T91" fmla="*/ 8 h 102"/>
                  <a:gd name="T92" fmla="*/ 11 w 47"/>
                  <a:gd name="T93" fmla="*/ 8 h 102"/>
                  <a:gd name="T94" fmla="*/ 11 w 47"/>
                  <a:gd name="T95" fmla="*/ 8 h 102"/>
                  <a:gd name="T96" fmla="*/ 11 w 47"/>
                  <a:gd name="T97" fmla="*/ 8 h 102"/>
                  <a:gd name="T98" fmla="*/ 11 w 47"/>
                  <a:gd name="T99" fmla="*/ 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 h="102">
                    <a:moveTo>
                      <a:pt x="11" y="8"/>
                    </a:moveTo>
                    <a:lnTo>
                      <a:pt x="11" y="10"/>
                    </a:lnTo>
                    <a:lnTo>
                      <a:pt x="8" y="13"/>
                    </a:lnTo>
                    <a:lnTo>
                      <a:pt x="11" y="15"/>
                    </a:lnTo>
                    <a:lnTo>
                      <a:pt x="11" y="18"/>
                    </a:lnTo>
                    <a:lnTo>
                      <a:pt x="8" y="21"/>
                    </a:lnTo>
                    <a:lnTo>
                      <a:pt x="8" y="21"/>
                    </a:lnTo>
                    <a:lnTo>
                      <a:pt x="11" y="29"/>
                    </a:lnTo>
                    <a:lnTo>
                      <a:pt x="8" y="37"/>
                    </a:lnTo>
                    <a:lnTo>
                      <a:pt x="8" y="39"/>
                    </a:lnTo>
                    <a:lnTo>
                      <a:pt x="4" y="42"/>
                    </a:lnTo>
                    <a:lnTo>
                      <a:pt x="0" y="46"/>
                    </a:lnTo>
                    <a:lnTo>
                      <a:pt x="0" y="48"/>
                    </a:lnTo>
                    <a:lnTo>
                      <a:pt x="0" y="50"/>
                    </a:lnTo>
                    <a:lnTo>
                      <a:pt x="0" y="53"/>
                    </a:lnTo>
                    <a:lnTo>
                      <a:pt x="1" y="59"/>
                    </a:lnTo>
                    <a:lnTo>
                      <a:pt x="3" y="59"/>
                    </a:lnTo>
                    <a:lnTo>
                      <a:pt x="4" y="61"/>
                    </a:lnTo>
                    <a:lnTo>
                      <a:pt x="8" y="62"/>
                    </a:lnTo>
                    <a:lnTo>
                      <a:pt x="8" y="66"/>
                    </a:lnTo>
                    <a:lnTo>
                      <a:pt x="11" y="69"/>
                    </a:lnTo>
                    <a:lnTo>
                      <a:pt x="11" y="72"/>
                    </a:lnTo>
                    <a:lnTo>
                      <a:pt x="16" y="75"/>
                    </a:lnTo>
                    <a:lnTo>
                      <a:pt x="17" y="80"/>
                    </a:lnTo>
                    <a:lnTo>
                      <a:pt x="17" y="85"/>
                    </a:lnTo>
                    <a:lnTo>
                      <a:pt x="20" y="92"/>
                    </a:lnTo>
                    <a:lnTo>
                      <a:pt x="24" y="102"/>
                    </a:lnTo>
                    <a:lnTo>
                      <a:pt x="27" y="100"/>
                    </a:lnTo>
                    <a:lnTo>
                      <a:pt x="28" y="97"/>
                    </a:lnTo>
                    <a:lnTo>
                      <a:pt x="30" y="94"/>
                    </a:lnTo>
                    <a:lnTo>
                      <a:pt x="31" y="91"/>
                    </a:lnTo>
                    <a:lnTo>
                      <a:pt x="30" y="88"/>
                    </a:lnTo>
                    <a:lnTo>
                      <a:pt x="30" y="85"/>
                    </a:lnTo>
                    <a:lnTo>
                      <a:pt x="30" y="81"/>
                    </a:lnTo>
                    <a:lnTo>
                      <a:pt x="31" y="81"/>
                    </a:lnTo>
                    <a:lnTo>
                      <a:pt x="33" y="81"/>
                    </a:lnTo>
                    <a:lnTo>
                      <a:pt x="35" y="80"/>
                    </a:lnTo>
                    <a:lnTo>
                      <a:pt x="36" y="77"/>
                    </a:lnTo>
                    <a:lnTo>
                      <a:pt x="39" y="75"/>
                    </a:lnTo>
                    <a:lnTo>
                      <a:pt x="44" y="73"/>
                    </a:lnTo>
                    <a:lnTo>
                      <a:pt x="46" y="72"/>
                    </a:lnTo>
                    <a:lnTo>
                      <a:pt x="47" y="70"/>
                    </a:lnTo>
                    <a:lnTo>
                      <a:pt x="46" y="67"/>
                    </a:lnTo>
                    <a:lnTo>
                      <a:pt x="47" y="59"/>
                    </a:lnTo>
                    <a:lnTo>
                      <a:pt x="44" y="59"/>
                    </a:lnTo>
                    <a:lnTo>
                      <a:pt x="43" y="59"/>
                    </a:lnTo>
                    <a:lnTo>
                      <a:pt x="41" y="56"/>
                    </a:lnTo>
                    <a:lnTo>
                      <a:pt x="41" y="56"/>
                    </a:lnTo>
                    <a:lnTo>
                      <a:pt x="41" y="53"/>
                    </a:lnTo>
                    <a:lnTo>
                      <a:pt x="39" y="56"/>
                    </a:lnTo>
                    <a:lnTo>
                      <a:pt x="38" y="56"/>
                    </a:lnTo>
                    <a:lnTo>
                      <a:pt x="36" y="56"/>
                    </a:lnTo>
                    <a:lnTo>
                      <a:pt x="36" y="53"/>
                    </a:lnTo>
                    <a:lnTo>
                      <a:pt x="35" y="53"/>
                    </a:lnTo>
                    <a:lnTo>
                      <a:pt x="33" y="53"/>
                    </a:lnTo>
                    <a:lnTo>
                      <a:pt x="30" y="50"/>
                    </a:lnTo>
                    <a:lnTo>
                      <a:pt x="28" y="46"/>
                    </a:lnTo>
                    <a:lnTo>
                      <a:pt x="30" y="45"/>
                    </a:lnTo>
                    <a:lnTo>
                      <a:pt x="35" y="40"/>
                    </a:lnTo>
                    <a:lnTo>
                      <a:pt x="39" y="35"/>
                    </a:lnTo>
                    <a:lnTo>
                      <a:pt x="41" y="32"/>
                    </a:lnTo>
                    <a:lnTo>
                      <a:pt x="41" y="27"/>
                    </a:lnTo>
                    <a:lnTo>
                      <a:pt x="39" y="24"/>
                    </a:lnTo>
                    <a:lnTo>
                      <a:pt x="36" y="24"/>
                    </a:lnTo>
                    <a:lnTo>
                      <a:pt x="35" y="21"/>
                    </a:lnTo>
                    <a:lnTo>
                      <a:pt x="33" y="18"/>
                    </a:lnTo>
                    <a:lnTo>
                      <a:pt x="35" y="15"/>
                    </a:lnTo>
                    <a:lnTo>
                      <a:pt x="36" y="13"/>
                    </a:lnTo>
                    <a:lnTo>
                      <a:pt x="41" y="8"/>
                    </a:lnTo>
                    <a:lnTo>
                      <a:pt x="41" y="7"/>
                    </a:lnTo>
                    <a:lnTo>
                      <a:pt x="39" y="4"/>
                    </a:lnTo>
                    <a:lnTo>
                      <a:pt x="38" y="4"/>
                    </a:lnTo>
                    <a:lnTo>
                      <a:pt x="36" y="7"/>
                    </a:lnTo>
                    <a:lnTo>
                      <a:pt x="33" y="8"/>
                    </a:lnTo>
                    <a:lnTo>
                      <a:pt x="31" y="8"/>
                    </a:lnTo>
                    <a:lnTo>
                      <a:pt x="31" y="7"/>
                    </a:lnTo>
                    <a:lnTo>
                      <a:pt x="30" y="4"/>
                    </a:lnTo>
                    <a:lnTo>
                      <a:pt x="30" y="4"/>
                    </a:lnTo>
                    <a:lnTo>
                      <a:pt x="28" y="0"/>
                    </a:lnTo>
                    <a:lnTo>
                      <a:pt x="27" y="0"/>
                    </a:lnTo>
                    <a:lnTo>
                      <a:pt x="27" y="0"/>
                    </a:lnTo>
                    <a:lnTo>
                      <a:pt x="27" y="4"/>
                    </a:lnTo>
                    <a:lnTo>
                      <a:pt x="27" y="0"/>
                    </a:lnTo>
                    <a:lnTo>
                      <a:pt x="27" y="0"/>
                    </a:lnTo>
                    <a:lnTo>
                      <a:pt x="24" y="0"/>
                    </a:lnTo>
                    <a:lnTo>
                      <a:pt x="20" y="0"/>
                    </a:lnTo>
                    <a:lnTo>
                      <a:pt x="17" y="0"/>
                    </a:lnTo>
                    <a:lnTo>
                      <a:pt x="16" y="4"/>
                    </a:lnTo>
                    <a:lnTo>
                      <a:pt x="12" y="4"/>
                    </a:lnTo>
                    <a:lnTo>
                      <a:pt x="12" y="7"/>
                    </a:lnTo>
                    <a:lnTo>
                      <a:pt x="11" y="8"/>
                    </a:lnTo>
                    <a:lnTo>
                      <a:pt x="11" y="8"/>
                    </a:lnTo>
                    <a:lnTo>
                      <a:pt x="11" y="8"/>
                    </a:lnTo>
                    <a:lnTo>
                      <a:pt x="11" y="8"/>
                    </a:lnTo>
                    <a:lnTo>
                      <a:pt x="11" y="8"/>
                    </a:lnTo>
                    <a:lnTo>
                      <a:pt x="11" y="8"/>
                    </a:lnTo>
                    <a:lnTo>
                      <a:pt x="11" y="8"/>
                    </a:lnTo>
                    <a:lnTo>
                      <a:pt x="11" y="8"/>
                    </a:lnTo>
                    <a:lnTo>
                      <a:pt x="11" y="8"/>
                    </a:lnTo>
                    <a:lnTo>
                      <a:pt x="11" y="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72" name="Freeform 178">
                <a:extLst>
                  <a:ext uri="{FF2B5EF4-FFF2-40B4-BE49-F238E27FC236}">
                    <a16:creationId xmlns:a16="http://schemas.microsoft.com/office/drawing/2014/main" id="{FC33B3D6-9E1D-F51C-C163-65BDF901EF98}"/>
                  </a:ext>
                </a:extLst>
              </p:cNvPr>
              <p:cNvSpPr>
                <a:spLocks/>
              </p:cNvSpPr>
              <p:nvPr/>
            </p:nvSpPr>
            <p:spPr bwMode="auto">
              <a:xfrm>
                <a:off x="6036097" y="2955164"/>
                <a:ext cx="439642" cy="446371"/>
              </a:xfrm>
              <a:custGeom>
                <a:avLst/>
                <a:gdLst>
                  <a:gd name="T0" fmla="*/ 189 w 196"/>
                  <a:gd name="T1" fmla="*/ 53 h 199"/>
                  <a:gd name="T2" fmla="*/ 189 w 196"/>
                  <a:gd name="T3" fmla="*/ 43 h 199"/>
                  <a:gd name="T4" fmla="*/ 189 w 196"/>
                  <a:gd name="T5" fmla="*/ 32 h 199"/>
                  <a:gd name="T6" fmla="*/ 192 w 196"/>
                  <a:gd name="T7" fmla="*/ 22 h 199"/>
                  <a:gd name="T8" fmla="*/ 185 w 196"/>
                  <a:gd name="T9" fmla="*/ 19 h 199"/>
                  <a:gd name="T10" fmla="*/ 172 w 196"/>
                  <a:gd name="T11" fmla="*/ 16 h 199"/>
                  <a:gd name="T12" fmla="*/ 167 w 196"/>
                  <a:gd name="T13" fmla="*/ 13 h 199"/>
                  <a:gd name="T14" fmla="*/ 158 w 196"/>
                  <a:gd name="T15" fmla="*/ 5 h 199"/>
                  <a:gd name="T16" fmla="*/ 143 w 196"/>
                  <a:gd name="T17" fmla="*/ 7 h 199"/>
                  <a:gd name="T18" fmla="*/ 132 w 196"/>
                  <a:gd name="T19" fmla="*/ 14 h 199"/>
                  <a:gd name="T20" fmla="*/ 129 w 196"/>
                  <a:gd name="T21" fmla="*/ 26 h 199"/>
                  <a:gd name="T22" fmla="*/ 129 w 196"/>
                  <a:gd name="T23" fmla="*/ 37 h 199"/>
                  <a:gd name="T24" fmla="*/ 119 w 196"/>
                  <a:gd name="T25" fmla="*/ 43 h 199"/>
                  <a:gd name="T26" fmla="*/ 108 w 196"/>
                  <a:gd name="T27" fmla="*/ 37 h 199"/>
                  <a:gd name="T28" fmla="*/ 85 w 196"/>
                  <a:gd name="T29" fmla="*/ 29 h 199"/>
                  <a:gd name="T30" fmla="*/ 75 w 196"/>
                  <a:gd name="T31" fmla="*/ 22 h 199"/>
                  <a:gd name="T32" fmla="*/ 70 w 196"/>
                  <a:gd name="T33" fmla="*/ 13 h 199"/>
                  <a:gd name="T34" fmla="*/ 58 w 196"/>
                  <a:gd name="T35" fmla="*/ 8 h 199"/>
                  <a:gd name="T36" fmla="*/ 42 w 196"/>
                  <a:gd name="T37" fmla="*/ 7 h 199"/>
                  <a:gd name="T38" fmla="*/ 27 w 196"/>
                  <a:gd name="T39" fmla="*/ 0 h 199"/>
                  <a:gd name="T40" fmla="*/ 26 w 196"/>
                  <a:gd name="T41" fmla="*/ 13 h 199"/>
                  <a:gd name="T42" fmla="*/ 18 w 196"/>
                  <a:gd name="T43" fmla="*/ 18 h 199"/>
                  <a:gd name="T44" fmla="*/ 13 w 196"/>
                  <a:gd name="T45" fmla="*/ 22 h 199"/>
                  <a:gd name="T46" fmla="*/ 11 w 196"/>
                  <a:gd name="T47" fmla="*/ 29 h 199"/>
                  <a:gd name="T48" fmla="*/ 10 w 196"/>
                  <a:gd name="T49" fmla="*/ 38 h 199"/>
                  <a:gd name="T50" fmla="*/ 2 w 196"/>
                  <a:gd name="T51" fmla="*/ 45 h 199"/>
                  <a:gd name="T52" fmla="*/ 5 w 196"/>
                  <a:gd name="T53" fmla="*/ 53 h 199"/>
                  <a:gd name="T54" fmla="*/ 7 w 196"/>
                  <a:gd name="T55" fmla="*/ 59 h 199"/>
                  <a:gd name="T56" fmla="*/ 7 w 196"/>
                  <a:gd name="T57" fmla="*/ 70 h 199"/>
                  <a:gd name="T58" fmla="*/ 7 w 196"/>
                  <a:gd name="T59" fmla="*/ 81 h 199"/>
                  <a:gd name="T60" fmla="*/ 8 w 196"/>
                  <a:gd name="T61" fmla="*/ 94 h 199"/>
                  <a:gd name="T62" fmla="*/ 4 w 196"/>
                  <a:gd name="T63" fmla="*/ 99 h 199"/>
                  <a:gd name="T64" fmla="*/ 4 w 196"/>
                  <a:gd name="T65" fmla="*/ 105 h 199"/>
                  <a:gd name="T66" fmla="*/ 10 w 196"/>
                  <a:gd name="T67" fmla="*/ 119 h 199"/>
                  <a:gd name="T68" fmla="*/ 15 w 196"/>
                  <a:gd name="T69" fmla="*/ 126 h 199"/>
                  <a:gd name="T70" fmla="*/ 18 w 196"/>
                  <a:gd name="T71" fmla="*/ 126 h 199"/>
                  <a:gd name="T72" fmla="*/ 27 w 196"/>
                  <a:gd name="T73" fmla="*/ 129 h 199"/>
                  <a:gd name="T74" fmla="*/ 32 w 196"/>
                  <a:gd name="T75" fmla="*/ 138 h 199"/>
                  <a:gd name="T76" fmla="*/ 35 w 196"/>
                  <a:gd name="T77" fmla="*/ 141 h 199"/>
                  <a:gd name="T78" fmla="*/ 48 w 196"/>
                  <a:gd name="T79" fmla="*/ 145 h 199"/>
                  <a:gd name="T80" fmla="*/ 56 w 196"/>
                  <a:gd name="T81" fmla="*/ 148 h 199"/>
                  <a:gd name="T82" fmla="*/ 61 w 196"/>
                  <a:gd name="T83" fmla="*/ 153 h 199"/>
                  <a:gd name="T84" fmla="*/ 85 w 196"/>
                  <a:gd name="T85" fmla="*/ 141 h 199"/>
                  <a:gd name="T86" fmla="*/ 183 w 196"/>
                  <a:gd name="T87" fmla="*/ 199 h 199"/>
                  <a:gd name="T88" fmla="*/ 196 w 196"/>
                  <a:gd name="T89" fmla="*/ 191 h 199"/>
                  <a:gd name="T90" fmla="*/ 196 w 196"/>
                  <a:gd name="T91" fmla="*/ 162 h 199"/>
                  <a:gd name="T92" fmla="*/ 196 w 196"/>
                  <a:gd name="T93" fmla="*/ 162 h 199"/>
                  <a:gd name="T94" fmla="*/ 196 w 196"/>
                  <a:gd name="T95" fmla="*/ 16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6" h="199">
                    <a:moveTo>
                      <a:pt x="196" y="162"/>
                    </a:moveTo>
                    <a:lnTo>
                      <a:pt x="192" y="65"/>
                    </a:lnTo>
                    <a:lnTo>
                      <a:pt x="189" y="53"/>
                    </a:lnTo>
                    <a:lnTo>
                      <a:pt x="189" y="46"/>
                    </a:lnTo>
                    <a:lnTo>
                      <a:pt x="189" y="45"/>
                    </a:lnTo>
                    <a:lnTo>
                      <a:pt x="189" y="43"/>
                    </a:lnTo>
                    <a:lnTo>
                      <a:pt x="189" y="38"/>
                    </a:lnTo>
                    <a:lnTo>
                      <a:pt x="189" y="35"/>
                    </a:lnTo>
                    <a:lnTo>
                      <a:pt x="189" y="32"/>
                    </a:lnTo>
                    <a:lnTo>
                      <a:pt x="189" y="29"/>
                    </a:lnTo>
                    <a:lnTo>
                      <a:pt x="189" y="26"/>
                    </a:lnTo>
                    <a:lnTo>
                      <a:pt x="192" y="22"/>
                    </a:lnTo>
                    <a:lnTo>
                      <a:pt x="192" y="21"/>
                    </a:lnTo>
                    <a:lnTo>
                      <a:pt x="189" y="19"/>
                    </a:lnTo>
                    <a:lnTo>
                      <a:pt x="185" y="19"/>
                    </a:lnTo>
                    <a:lnTo>
                      <a:pt x="180" y="18"/>
                    </a:lnTo>
                    <a:lnTo>
                      <a:pt x="177" y="16"/>
                    </a:lnTo>
                    <a:lnTo>
                      <a:pt x="172" y="16"/>
                    </a:lnTo>
                    <a:lnTo>
                      <a:pt x="169" y="14"/>
                    </a:lnTo>
                    <a:lnTo>
                      <a:pt x="167" y="14"/>
                    </a:lnTo>
                    <a:lnTo>
                      <a:pt x="167" y="13"/>
                    </a:lnTo>
                    <a:lnTo>
                      <a:pt x="167" y="10"/>
                    </a:lnTo>
                    <a:lnTo>
                      <a:pt x="164" y="8"/>
                    </a:lnTo>
                    <a:lnTo>
                      <a:pt x="158" y="5"/>
                    </a:lnTo>
                    <a:lnTo>
                      <a:pt x="150" y="5"/>
                    </a:lnTo>
                    <a:lnTo>
                      <a:pt x="146" y="7"/>
                    </a:lnTo>
                    <a:lnTo>
                      <a:pt x="143" y="7"/>
                    </a:lnTo>
                    <a:lnTo>
                      <a:pt x="138" y="8"/>
                    </a:lnTo>
                    <a:lnTo>
                      <a:pt x="134" y="11"/>
                    </a:lnTo>
                    <a:lnTo>
                      <a:pt x="132" y="14"/>
                    </a:lnTo>
                    <a:lnTo>
                      <a:pt x="129" y="18"/>
                    </a:lnTo>
                    <a:lnTo>
                      <a:pt x="129" y="22"/>
                    </a:lnTo>
                    <a:lnTo>
                      <a:pt x="129" y="26"/>
                    </a:lnTo>
                    <a:lnTo>
                      <a:pt x="132" y="29"/>
                    </a:lnTo>
                    <a:lnTo>
                      <a:pt x="132" y="32"/>
                    </a:lnTo>
                    <a:lnTo>
                      <a:pt x="129" y="37"/>
                    </a:lnTo>
                    <a:lnTo>
                      <a:pt x="127" y="40"/>
                    </a:lnTo>
                    <a:lnTo>
                      <a:pt x="124" y="41"/>
                    </a:lnTo>
                    <a:lnTo>
                      <a:pt x="119" y="43"/>
                    </a:lnTo>
                    <a:lnTo>
                      <a:pt x="116" y="43"/>
                    </a:lnTo>
                    <a:lnTo>
                      <a:pt x="113" y="41"/>
                    </a:lnTo>
                    <a:lnTo>
                      <a:pt x="108" y="37"/>
                    </a:lnTo>
                    <a:lnTo>
                      <a:pt x="102" y="32"/>
                    </a:lnTo>
                    <a:lnTo>
                      <a:pt x="92" y="29"/>
                    </a:lnTo>
                    <a:lnTo>
                      <a:pt x="85" y="29"/>
                    </a:lnTo>
                    <a:lnTo>
                      <a:pt x="81" y="29"/>
                    </a:lnTo>
                    <a:lnTo>
                      <a:pt x="77" y="26"/>
                    </a:lnTo>
                    <a:lnTo>
                      <a:pt x="75" y="22"/>
                    </a:lnTo>
                    <a:lnTo>
                      <a:pt x="73" y="19"/>
                    </a:lnTo>
                    <a:lnTo>
                      <a:pt x="73" y="16"/>
                    </a:lnTo>
                    <a:lnTo>
                      <a:pt x="70" y="13"/>
                    </a:lnTo>
                    <a:lnTo>
                      <a:pt x="67" y="11"/>
                    </a:lnTo>
                    <a:lnTo>
                      <a:pt x="64" y="11"/>
                    </a:lnTo>
                    <a:lnTo>
                      <a:pt x="58" y="8"/>
                    </a:lnTo>
                    <a:lnTo>
                      <a:pt x="50" y="5"/>
                    </a:lnTo>
                    <a:lnTo>
                      <a:pt x="46" y="5"/>
                    </a:lnTo>
                    <a:lnTo>
                      <a:pt x="42" y="7"/>
                    </a:lnTo>
                    <a:lnTo>
                      <a:pt x="38" y="7"/>
                    </a:lnTo>
                    <a:lnTo>
                      <a:pt x="35" y="5"/>
                    </a:lnTo>
                    <a:lnTo>
                      <a:pt x="27" y="0"/>
                    </a:lnTo>
                    <a:lnTo>
                      <a:pt x="26" y="8"/>
                    </a:lnTo>
                    <a:lnTo>
                      <a:pt x="27" y="11"/>
                    </a:lnTo>
                    <a:lnTo>
                      <a:pt x="26" y="13"/>
                    </a:lnTo>
                    <a:lnTo>
                      <a:pt x="26" y="14"/>
                    </a:lnTo>
                    <a:lnTo>
                      <a:pt x="19" y="16"/>
                    </a:lnTo>
                    <a:lnTo>
                      <a:pt x="18" y="18"/>
                    </a:lnTo>
                    <a:lnTo>
                      <a:pt x="16" y="21"/>
                    </a:lnTo>
                    <a:lnTo>
                      <a:pt x="15" y="22"/>
                    </a:lnTo>
                    <a:lnTo>
                      <a:pt x="13" y="22"/>
                    </a:lnTo>
                    <a:lnTo>
                      <a:pt x="11" y="22"/>
                    </a:lnTo>
                    <a:lnTo>
                      <a:pt x="11" y="26"/>
                    </a:lnTo>
                    <a:lnTo>
                      <a:pt x="11" y="29"/>
                    </a:lnTo>
                    <a:lnTo>
                      <a:pt x="13" y="32"/>
                    </a:lnTo>
                    <a:lnTo>
                      <a:pt x="11" y="35"/>
                    </a:lnTo>
                    <a:lnTo>
                      <a:pt x="10" y="38"/>
                    </a:lnTo>
                    <a:lnTo>
                      <a:pt x="8" y="41"/>
                    </a:lnTo>
                    <a:lnTo>
                      <a:pt x="4" y="43"/>
                    </a:lnTo>
                    <a:lnTo>
                      <a:pt x="2" y="45"/>
                    </a:lnTo>
                    <a:lnTo>
                      <a:pt x="0" y="46"/>
                    </a:lnTo>
                    <a:lnTo>
                      <a:pt x="2" y="46"/>
                    </a:lnTo>
                    <a:lnTo>
                      <a:pt x="5" y="53"/>
                    </a:lnTo>
                    <a:lnTo>
                      <a:pt x="7" y="56"/>
                    </a:lnTo>
                    <a:lnTo>
                      <a:pt x="7" y="56"/>
                    </a:lnTo>
                    <a:lnTo>
                      <a:pt x="7" y="59"/>
                    </a:lnTo>
                    <a:lnTo>
                      <a:pt x="7" y="65"/>
                    </a:lnTo>
                    <a:lnTo>
                      <a:pt x="7" y="67"/>
                    </a:lnTo>
                    <a:lnTo>
                      <a:pt x="7" y="70"/>
                    </a:lnTo>
                    <a:lnTo>
                      <a:pt x="7" y="75"/>
                    </a:lnTo>
                    <a:lnTo>
                      <a:pt x="8" y="78"/>
                    </a:lnTo>
                    <a:lnTo>
                      <a:pt x="7" y="81"/>
                    </a:lnTo>
                    <a:lnTo>
                      <a:pt x="7" y="87"/>
                    </a:lnTo>
                    <a:lnTo>
                      <a:pt x="7" y="91"/>
                    </a:lnTo>
                    <a:lnTo>
                      <a:pt x="8" y="94"/>
                    </a:lnTo>
                    <a:lnTo>
                      <a:pt x="7" y="95"/>
                    </a:lnTo>
                    <a:lnTo>
                      <a:pt x="5" y="97"/>
                    </a:lnTo>
                    <a:lnTo>
                      <a:pt x="4" y="99"/>
                    </a:lnTo>
                    <a:lnTo>
                      <a:pt x="2" y="100"/>
                    </a:lnTo>
                    <a:lnTo>
                      <a:pt x="2" y="102"/>
                    </a:lnTo>
                    <a:lnTo>
                      <a:pt x="4" y="105"/>
                    </a:lnTo>
                    <a:lnTo>
                      <a:pt x="7" y="111"/>
                    </a:lnTo>
                    <a:lnTo>
                      <a:pt x="10" y="113"/>
                    </a:lnTo>
                    <a:lnTo>
                      <a:pt x="10" y="119"/>
                    </a:lnTo>
                    <a:lnTo>
                      <a:pt x="11" y="122"/>
                    </a:lnTo>
                    <a:lnTo>
                      <a:pt x="13" y="126"/>
                    </a:lnTo>
                    <a:lnTo>
                      <a:pt x="15" y="126"/>
                    </a:lnTo>
                    <a:lnTo>
                      <a:pt x="16" y="126"/>
                    </a:lnTo>
                    <a:lnTo>
                      <a:pt x="18" y="126"/>
                    </a:lnTo>
                    <a:lnTo>
                      <a:pt x="18" y="126"/>
                    </a:lnTo>
                    <a:lnTo>
                      <a:pt x="19" y="126"/>
                    </a:lnTo>
                    <a:lnTo>
                      <a:pt x="23" y="127"/>
                    </a:lnTo>
                    <a:lnTo>
                      <a:pt x="27" y="129"/>
                    </a:lnTo>
                    <a:lnTo>
                      <a:pt x="27" y="130"/>
                    </a:lnTo>
                    <a:lnTo>
                      <a:pt x="29" y="135"/>
                    </a:lnTo>
                    <a:lnTo>
                      <a:pt x="32" y="138"/>
                    </a:lnTo>
                    <a:lnTo>
                      <a:pt x="32" y="138"/>
                    </a:lnTo>
                    <a:lnTo>
                      <a:pt x="32" y="140"/>
                    </a:lnTo>
                    <a:lnTo>
                      <a:pt x="35" y="141"/>
                    </a:lnTo>
                    <a:lnTo>
                      <a:pt x="42" y="143"/>
                    </a:lnTo>
                    <a:lnTo>
                      <a:pt x="45" y="145"/>
                    </a:lnTo>
                    <a:lnTo>
                      <a:pt x="48" y="145"/>
                    </a:lnTo>
                    <a:lnTo>
                      <a:pt x="53" y="146"/>
                    </a:lnTo>
                    <a:lnTo>
                      <a:pt x="54" y="148"/>
                    </a:lnTo>
                    <a:lnTo>
                      <a:pt x="56" y="148"/>
                    </a:lnTo>
                    <a:lnTo>
                      <a:pt x="59" y="151"/>
                    </a:lnTo>
                    <a:lnTo>
                      <a:pt x="61" y="151"/>
                    </a:lnTo>
                    <a:lnTo>
                      <a:pt x="61" y="153"/>
                    </a:lnTo>
                    <a:lnTo>
                      <a:pt x="62" y="153"/>
                    </a:lnTo>
                    <a:lnTo>
                      <a:pt x="70" y="148"/>
                    </a:lnTo>
                    <a:lnTo>
                      <a:pt x="85" y="141"/>
                    </a:lnTo>
                    <a:lnTo>
                      <a:pt x="154" y="181"/>
                    </a:lnTo>
                    <a:lnTo>
                      <a:pt x="170" y="191"/>
                    </a:lnTo>
                    <a:lnTo>
                      <a:pt x="183" y="199"/>
                    </a:lnTo>
                    <a:lnTo>
                      <a:pt x="183" y="194"/>
                    </a:lnTo>
                    <a:lnTo>
                      <a:pt x="183" y="191"/>
                    </a:lnTo>
                    <a:lnTo>
                      <a:pt x="196" y="191"/>
                    </a:lnTo>
                    <a:lnTo>
                      <a:pt x="196" y="162"/>
                    </a:lnTo>
                    <a:lnTo>
                      <a:pt x="196" y="162"/>
                    </a:lnTo>
                    <a:lnTo>
                      <a:pt x="196" y="162"/>
                    </a:lnTo>
                    <a:lnTo>
                      <a:pt x="196" y="162"/>
                    </a:lnTo>
                    <a:lnTo>
                      <a:pt x="196" y="162"/>
                    </a:lnTo>
                    <a:lnTo>
                      <a:pt x="196" y="162"/>
                    </a:lnTo>
                    <a:lnTo>
                      <a:pt x="196" y="162"/>
                    </a:lnTo>
                    <a:lnTo>
                      <a:pt x="196" y="162"/>
                    </a:lnTo>
                    <a:lnTo>
                      <a:pt x="196" y="162"/>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73" name="Freeform 180">
                <a:extLst>
                  <a:ext uri="{FF2B5EF4-FFF2-40B4-BE49-F238E27FC236}">
                    <a16:creationId xmlns:a16="http://schemas.microsoft.com/office/drawing/2014/main" id="{3B91F713-7E7A-01B1-0B9B-ECE0E1479E81}"/>
                  </a:ext>
                </a:extLst>
              </p:cNvPr>
              <p:cNvSpPr>
                <a:spLocks/>
              </p:cNvSpPr>
              <p:nvPr/>
            </p:nvSpPr>
            <p:spPr bwMode="auto">
              <a:xfrm>
                <a:off x="5302613" y="3143581"/>
                <a:ext cx="343190" cy="410482"/>
              </a:xfrm>
              <a:custGeom>
                <a:avLst/>
                <a:gdLst>
                  <a:gd name="T0" fmla="*/ 153 w 153"/>
                  <a:gd name="T1" fmla="*/ 35 h 183"/>
                  <a:gd name="T2" fmla="*/ 107 w 153"/>
                  <a:gd name="T3" fmla="*/ 13 h 183"/>
                  <a:gd name="T4" fmla="*/ 105 w 153"/>
                  <a:gd name="T5" fmla="*/ 21 h 183"/>
                  <a:gd name="T6" fmla="*/ 64 w 153"/>
                  <a:gd name="T7" fmla="*/ 57 h 183"/>
                  <a:gd name="T8" fmla="*/ 51 w 153"/>
                  <a:gd name="T9" fmla="*/ 64 h 183"/>
                  <a:gd name="T10" fmla="*/ 50 w 153"/>
                  <a:gd name="T11" fmla="*/ 67 h 183"/>
                  <a:gd name="T12" fmla="*/ 50 w 153"/>
                  <a:gd name="T13" fmla="*/ 72 h 183"/>
                  <a:gd name="T14" fmla="*/ 50 w 153"/>
                  <a:gd name="T15" fmla="*/ 81 h 183"/>
                  <a:gd name="T16" fmla="*/ 48 w 153"/>
                  <a:gd name="T17" fmla="*/ 88 h 183"/>
                  <a:gd name="T18" fmla="*/ 0 w 153"/>
                  <a:gd name="T19" fmla="*/ 88 h 183"/>
                  <a:gd name="T20" fmla="*/ 0 w 153"/>
                  <a:gd name="T21" fmla="*/ 91 h 183"/>
                  <a:gd name="T22" fmla="*/ 3 w 153"/>
                  <a:gd name="T23" fmla="*/ 97 h 183"/>
                  <a:gd name="T24" fmla="*/ 5 w 153"/>
                  <a:gd name="T25" fmla="*/ 97 h 183"/>
                  <a:gd name="T26" fmla="*/ 8 w 153"/>
                  <a:gd name="T27" fmla="*/ 105 h 183"/>
                  <a:gd name="T28" fmla="*/ 7 w 153"/>
                  <a:gd name="T29" fmla="*/ 111 h 183"/>
                  <a:gd name="T30" fmla="*/ 5 w 153"/>
                  <a:gd name="T31" fmla="*/ 115 h 183"/>
                  <a:gd name="T32" fmla="*/ 5 w 153"/>
                  <a:gd name="T33" fmla="*/ 118 h 183"/>
                  <a:gd name="T34" fmla="*/ 8 w 153"/>
                  <a:gd name="T35" fmla="*/ 123 h 183"/>
                  <a:gd name="T36" fmla="*/ 8 w 153"/>
                  <a:gd name="T37" fmla="*/ 132 h 183"/>
                  <a:gd name="T38" fmla="*/ 8 w 153"/>
                  <a:gd name="T39" fmla="*/ 146 h 183"/>
                  <a:gd name="T40" fmla="*/ 3 w 153"/>
                  <a:gd name="T41" fmla="*/ 157 h 183"/>
                  <a:gd name="T42" fmla="*/ 3 w 153"/>
                  <a:gd name="T43" fmla="*/ 162 h 183"/>
                  <a:gd name="T44" fmla="*/ 7 w 153"/>
                  <a:gd name="T45" fmla="*/ 157 h 183"/>
                  <a:gd name="T46" fmla="*/ 10 w 153"/>
                  <a:gd name="T47" fmla="*/ 157 h 183"/>
                  <a:gd name="T48" fmla="*/ 19 w 153"/>
                  <a:gd name="T49" fmla="*/ 157 h 183"/>
                  <a:gd name="T50" fmla="*/ 24 w 153"/>
                  <a:gd name="T51" fmla="*/ 154 h 183"/>
                  <a:gd name="T52" fmla="*/ 32 w 153"/>
                  <a:gd name="T53" fmla="*/ 157 h 183"/>
                  <a:gd name="T54" fmla="*/ 35 w 153"/>
                  <a:gd name="T55" fmla="*/ 161 h 183"/>
                  <a:gd name="T56" fmla="*/ 42 w 153"/>
                  <a:gd name="T57" fmla="*/ 164 h 183"/>
                  <a:gd name="T58" fmla="*/ 43 w 153"/>
                  <a:gd name="T59" fmla="*/ 167 h 183"/>
                  <a:gd name="T60" fmla="*/ 46 w 153"/>
                  <a:gd name="T61" fmla="*/ 172 h 183"/>
                  <a:gd name="T62" fmla="*/ 50 w 153"/>
                  <a:gd name="T63" fmla="*/ 177 h 183"/>
                  <a:gd name="T64" fmla="*/ 53 w 153"/>
                  <a:gd name="T65" fmla="*/ 180 h 183"/>
                  <a:gd name="T66" fmla="*/ 56 w 153"/>
                  <a:gd name="T67" fmla="*/ 183 h 183"/>
                  <a:gd name="T68" fmla="*/ 62 w 153"/>
                  <a:gd name="T69" fmla="*/ 181 h 183"/>
                  <a:gd name="T70" fmla="*/ 62 w 153"/>
                  <a:gd name="T71" fmla="*/ 177 h 183"/>
                  <a:gd name="T72" fmla="*/ 64 w 153"/>
                  <a:gd name="T73" fmla="*/ 170 h 183"/>
                  <a:gd name="T74" fmla="*/ 67 w 153"/>
                  <a:gd name="T75" fmla="*/ 172 h 183"/>
                  <a:gd name="T76" fmla="*/ 73 w 153"/>
                  <a:gd name="T77" fmla="*/ 177 h 183"/>
                  <a:gd name="T78" fmla="*/ 73 w 153"/>
                  <a:gd name="T79" fmla="*/ 175 h 183"/>
                  <a:gd name="T80" fmla="*/ 78 w 153"/>
                  <a:gd name="T81" fmla="*/ 172 h 183"/>
                  <a:gd name="T82" fmla="*/ 83 w 153"/>
                  <a:gd name="T83" fmla="*/ 173 h 183"/>
                  <a:gd name="T84" fmla="*/ 91 w 153"/>
                  <a:gd name="T85" fmla="*/ 172 h 183"/>
                  <a:gd name="T86" fmla="*/ 96 w 153"/>
                  <a:gd name="T87" fmla="*/ 172 h 183"/>
                  <a:gd name="T88" fmla="*/ 105 w 153"/>
                  <a:gd name="T89" fmla="*/ 172 h 183"/>
                  <a:gd name="T90" fmla="*/ 130 w 153"/>
                  <a:gd name="T91" fmla="*/ 172 h 183"/>
                  <a:gd name="T92" fmla="*/ 142 w 153"/>
                  <a:gd name="T93" fmla="*/ 170 h 183"/>
                  <a:gd name="T94" fmla="*/ 142 w 153"/>
                  <a:gd name="T95" fmla="*/ 167 h 183"/>
                  <a:gd name="T96" fmla="*/ 143 w 153"/>
                  <a:gd name="T97" fmla="*/ 161 h 183"/>
                  <a:gd name="T98" fmla="*/ 140 w 153"/>
                  <a:gd name="T99" fmla="*/ 157 h 183"/>
                  <a:gd name="T100" fmla="*/ 140 w 153"/>
                  <a:gd name="T101" fmla="*/ 151 h 183"/>
                  <a:gd name="T102" fmla="*/ 130 w 153"/>
                  <a:gd name="T103" fmla="*/ 35 h 183"/>
                  <a:gd name="T104" fmla="*/ 151 w 153"/>
                  <a:gd name="T105" fmla="*/ 35 h 183"/>
                  <a:gd name="T106" fmla="*/ 151 w 153"/>
                  <a:gd name="T107" fmla="*/ 35 h 183"/>
                  <a:gd name="T108" fmla="*/ 151 w 153"/>
                  <a:gd name="T109" fmla="*/ 35 h 183"/>
                  <a:gd name="T110" fmla="*/ 151 w 153"/>
                  <a:gd name="T111" fmla="*/ 35 h 183"/>
                  <a:gd name="T112" fmla="*/ 151 w 153"/>
                  <a:gd name="T113" fmla="*/ 3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3" h="183">
                    <a:moveTo>
                      <a:pt x="151" y="35"/>
                    </a:moveTo>
                    <a:lnTo>
                      <a:pt x="153" y="35"/>
                    </a:lnTo>
                    <a:lnTo>
                      <a:pt x="108" y="0"/>
                    </a:lnTo>
                    <a:lnTo>
                      <a:pt x="107" y="13"/>
                    </a:lnTo>
                    <a:lnTo>
                      <a:pt x="105" y="19"/>
                    </a:lnTo>
                    <a:lnTo>
                      <a:pt x="105" y="21"/>
                    </a:lnTo>
                    <a:lnTo>
                      <a:pt x="64" y="21"/>
                    </a:lnTo>
                    <a:lnTo>
                      <a:pt x="64" y="57"/>
                    </a:lnTo>
                    <a:lnTo>
                      <a:pt x="56" y="61"/>
                    </a:lnTo>
                    <a:lnTo>
                      <a:pt x="51" y="64"/>
                    </a:lnTo>
                    <a:lnTo>
                      <a:pt x="50" y="64"/>
                    </a:lnTo>
                    <a:lnTo>
                      <a:pt x="50" y="67"/>
                    </a:lnTo>
                    <a:lnTo>
                      <a:pt x="50" y="70"/>
                    </a:lnTo>
                    <a:lnTo>
                      <a:pt x="50" y="72"/>
                    </a:lnTo>
                    <a:lnTo>
                      <a:pt x="50" y="80"/>
                    </a:lnTo>
                    <a:lnTo>
                      <a:pt x="50" y="81"/>
                    </a:lnTo>
                    <a:lnTo>
                      <a:pt x="50" y="84"/>
                    </a:lnTo>
                    <a:lnTo>
                      <a:pt x="48" y="88"/>
                    </a:lnTo>
                    <a:lnTo>
                      <a:pt x="3" y="88"/>
                    </a:lnTo>
                    <a:lnTo>
                      <a:pt x="0" y="88"/>
                    </a:lnTo>
                    <a:lnTo>
                      <a:pt x="0" y="88"/>
                    </a:lnTo>
                    <a:lnTo>
                      <a:pt x="0" y="91"/>
                    </a:lnTo>
                    <a:lnTo>
                      <a:pt x="3" y="94"/>
                    </a:lnTo>
                    <a:lnTo>
                      <a:pt x="3" y="97"/>
                    </a:lnTo>
                    <a:lnTo>
                      <a:pt x="3" y="97"/>
                    </a:lnTo>
                    <a:lnTo>
                      <a:pt x="5" y="97"/>
                    </a:lnTo>
                    <a:lnTo>
                      <a:pt x="8" y="102"/>
                    </a:lnTo>
                    <a:lnTo>
                      <a:pt x="8" y="105"/>
                    </a:lnTo>
                    <a:lnTo>
                      <a:pt x="7" y="107"/>
                    </a:lnTo>
                    <a:lnTo>
                      <a:pt x="7" y="111"/>
                    </a:lnTo>
                    <a:lnTo>
                      <a:pt x="7" y="113"/>
                    </a:lnTo>
                    <a:lnTo>
                      <a:pt x="5" y="115"/>
                    </a:lnTo>
                    <a:lnTo>
                      <a:pt x="3" y="116"/>
                    </a:lnTo>
                    <a:lnTo>
                      <a:pt x="5" y="118"/>
                    </a:lnTo>
                    <a:lnTo>
                      <a:pt x="7" y="119"/>
                    </a:lnTo>
                    <a:lnTo>
                      <a:pt x="8" y="123"/>
                    </a:lnTo>
                    <a:lnTo>
                      <a:pt x="8" y="126"/>
                    </a:lnTo>
                    <a:lnTo>
                      <a:pt x="8" y="132"/>
                    </a:lnTo>
                    <a:lnTo>
                      <a:pt x="8" y="138"/>
                    </a:lnTo>
                    <a:lnTo>
                      <a:pt x="8" y="146"/>
                    </a:lnTo>
                    <a:lnTo>
                      <a:pt x="5" y="151"/>
                    </a:lnTo>
                    <a:lnTo>
                      <a:pt x="3" y="157"/>
                    </a:lnTo>
                    <a:lnTo>
                      <a:pt x="3" y="164"/>
                    </a:lnTo>
                    <a:lnTo>
                      <a:pt x="3" y="162"/>
                    </a:lnTo>
                    <a:lnTo>
                      <a:pt x="3" y="161"/>
                    </a:lnTo>
                    <a:lnTo>
                      <a:pt x="7" y="157"/>
                    </a:lnTo>
                    <a:lnTo>
                      <a:pt x="8" y="157"/>
                    </a:lnTo>
                    <a:lnTo>
                      <a:pt x="10" y="157"/>
                    </a:lnTo>
                    <a:lnTo>
                      <a:pt x="15" y="157"/>
                    </a:lnTo>
                    <a:lnTo>
                      <a:pt x="19" y="157"/>
                    </a:lnTo>
                    <a:lnTo>
                      <a:pt x="23" y="154"/>
                    </a:lnTo>
                    <a:lnTo>
                      <a:pt x="24" y="154"/>
                    </a:lnTo>
                    <a:lnTo>
                      <a:pt x="29" y="157"/>
                    </a:lnTo>
                    <a:lnTo>
                      <a:pt x="32" y="157"/>
                    </a:lnTo>
                    <a:lnTo>
                      <a:pt x="35" y="161"/>
                    </a:lnTo>
                    <a:lnTo>
                      <a:pt x="35" y="161"/>
                    </a:lnTo>
                    <a:lnTo>
                      <a:pt x="40" y="164"/>
                    </a:lnTo>
                    <a:lnTo>
                      <a:pt x="42" y="164"/>
                    </a:lnTo>
                    <a:lnTo>
                      <a:pt x="42" y="164"/>
                    </a:lnTo>
                    <a:lnTo>
                      <a:pt x="43" y="167"/>
                    </a:lnTo>
                    <a:lnTo>
                      <a:pt x="43" y="169"/>
                    </a:lnTo>
                    <a:lnTo>
                      <a:pt x="46" y="172"/>
                    </a:lnTo>
                    <a:lnTo>
                      <a:pt x="48" y="173"/>
                    </a:lnTo>
                    <a:lnTo>
                      <a:pt x="50" y="177"/>
                    </a:lnTo>
                    <a:lnTo>
                      <a:pt x="51" y="178"/>
                    </a:lnTo>
                    <a:lnTo>
                      <a:pt x="53" y="180"/>
                    </a:lnTo>
                    <a:lnTo>
                      <a:pt x="56" y="183"/>
                    </a:lnTo>
                    <a:lnTo>
                      <a:pt x="56" y="183"/>
                    </a:lnTo>
                    <a:lnTo>
                      <a:pt x="59" y="183"/>
                    </a:lnTo>
                    <a:lnTo>
                      <a:pt x="62" y="181"/>
                    </a:lnTo>
                    <a:lnTo>
                      <a:pt x="62" y="178"/>
                    </a:lnTo>
                    <a:lnTo>
                      <a:pt x="62" y="177"/>
                    </a:lnTo>
                    <a:lnTo>
                      <a:pt x="64" y="172"/>
                    </a:lnTo>
                    <a:lnTo>
                      <a:pt x="64" y="170"/>
                    </a:lnTo>
                    <a:lnTo>
                      <a:pt x="64" y="170"/>
                    </a:lnTo>
                    <a:lnTo>
                      <a:pt x="67" y="172"/>
                    </a:lnTo>
                    <a:lnTo>
                      <a:pt x="70" y="175"/>
                    </a:lnTo>
                    <a:lnTo>
                      <a:pt x="73" y="177"/>
                    </a:lnTo>
                    <a:lnTo>
                      <a:pt x="73" y="177"/>
                    </a:lnTo>
                    <a:lnTo>
                      <a:pt x="73" y="175"/>
                    </a:lnTo>
                    <a:lnTo>
                      <a:pt x="75" y="173"/>
                    </a:lnTo>
                    <a:lnTo>
                      <a:pt x="78" y="172"/>
                    </a:lnTo>
                    <a:lnTo>
                      <a:pt x="81" y="173"/>
                    </a:lnTo>
                    <a:lnTo>
                      <a:pt x="83" y="173"/>
                    </a:lnTo>
                    <a:lnTo>
                      <a:pt x="88" y="173"/>
                    </a:lnTo>
                    <a:lnTo>
                      <a:pt x="91" y="172"/>
                    </a:lnTo>
                    <a:lnTo>
                      <a:pt x="92" y="169"/>
                    </a:lnTo>
                    <a:lnTo>
                      <a:pt x="96" y="172"/>
                    </a:lnTo>
                    <a:lnTo>
                      <a:pt x="99" y="172"/>
                    </a:lnTo>
                    <a:lnTo>
                      <a:pt x="105" y="172"/>
                    </a:lnTo>
                    <a:lnTo>
                      <a:pt x="115" y="172"/>
                    </a:lnTo>
                    <a:lnTo>
                      <a:pt x="130" y="172"/>
                    </a:lnTo>
                    <a:lnTo>
                      <a:pt x="140" y="172"/>
                    </a:lnTo>
                    <a:lnTo>
                      <a:pt x="142" y="170"/>
                    </a:lnTo>
                    <a:lnTo>
                      <a:pt x="142" y="169"/>
                    </a:lnTo>
                    <a:lnTo>
                      <a:pt x="142" y="167"/>
                    </a:lnTo>
                    <a:lnTo>
                      <a:pt x="143" y="164"/>
                    </a:lnTo>
                    <a:lnTo>
                      <a:pt x="143" y="161"/>
                    </a:lnTo>
                    <a:lnTo>
                      <a:pt x="142" y="157"/>
                    </a:lnTo>
                    <a:lnTo>
                      <a:pt x="140" y="157"/>
                    </a:lnTo>
                    <a:lnTo>
                      <a:pt x="140" y="154"/>
                    </a:lnTo>
                    <a:lnTo>
                      <a:pt x="140" y="151"/>
                    </a:lnTo>
                    <a:lnTo>
                      <a:pt x="132" y="57"/>
                    </a:lnTo>
                    <a:lnTo>
                      <a:pt x="130" y="35"/>
                    </a:lnTo>
                    <a:lnTo>
                      <a:pt x="132" y="35"/>
                    </a:lnTo>
                    <a:lnTo>
                      <a:pt x="151" y="35"/>
                    </a:lnTo>
                    <a:lnTo>
                      <a:pt x="151" y="35"/>
                    </a:lnTo>
                    <a:lnTo>
                      <a:pt x="151" y="35"/>
                    </a:lnTo>
                    <a:lnTo>
                      <a:pt x="151" y="35"/>
                    </a:lnTo>
                    <a:lnTo>
                      <a:pt x="151" y="35"/>
                    </a:lnTo>
                    <a:lnTo>
                      <a:pt x="151" y="35"/>
                    </a:lnTo>
                    <a:lnTo>
                      <a:pt x="151" y="35"/>
                    </a:lnTo>
                    <a:lnTo>
                      <a:pt x="151" y="35"/>
                    </a:lnTo>
                    <a:lnTo>
                      <a:pt x="151" y="35"/>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74" name="Freeform 182">
                <a:extLst>
                  <a:ext uri="{FF2B5EF4-FFF2-40B4-BE49-F238E27FC236}">
                    <a16:creationId xmlns:a16="http://schemas.microsoft.com/office/drawing/2014/main" id="{AE1C6B12-9594-1749-1715-B993DC68DCAA}"/>
                  </a:ext>
                </a:extLst>
              </p:cNvPr>
              <p:cNvSpPr>
                <a:spLocks/>
              </p:cNvSpPr>
              <p:nvPr/>
            </p:nvSpPr>
            <p:spPr bwMode="auto">
              <a:xfrm>
                <a:off x="5300371" y="3136853"/>
                <a:ext cx="242252" cy="204119"/>
              </a:xfrm>
              <a:custGeom>
                <a:avLst/>
                <a:gdLst>
                  <a:gd name="T0" fmla="*/ 1 w 108"/>
                  <a:gd name="T1" fmla="*/ 91 h 91"/>
                  <a:gd name="T2" fmla="*/ 4 w 108"/>
                  <a:gd name="T3" fmla="*/ 91 h 91"/>
                  <a:gd name="T4" fmla="*/ 49 w 108"/>
                  <a:gd name="T5" fmla="*/ 91 h 91"/>
                  <a:gd name="T6" fmla="*/ 51 w 108"/>
                  <a:gd name="T7" fmla="*/ 87 h 91"/>
                  <a:gd name="T8" fmla="*/ 51 w 108"/>
                  <a:gd name="T9" fmla="*/ 84 h 91"/>
                  <a:gd name="T10" fmla="*/ 51 w 108"/>
                  <a:gd name="T11" fmla="*/ 83 h 91"/>
                  <a:gd name="T12" fmla="*/ 51 w 108"/>
                  <a:gd name="T13" fmla="*/ 75 h 91"/>
                  <a:gd name="T14" fmla="*/ 51 w 108"/>
                  <a:gd name="T15" fmla="*/ 73 h 91"/>
                  <a:gd name="T16" fmla="*/ 51 w 108"/>
                  <a:gd name="T17" fmla="*/ 70 h 91"/>
                  <a:gd name="T18" fmla="*/ 51 w 108"/>
                  <a:gd name="T19" fmla="*/ 67 h 91"/>
                  <a:gd name="T20" fmla="*/ 52 w 108"/>
                  <a:gd name="T21" fmla="*/ 67 h 91"/>
                  <a:gd name="T22" fmla="*/ 57 w 108"/>
                  <a:gd name="T23" fmla="*/ 64 h 91"/>
                  <a:gd name="T24" fmla="*/ 65 w 108"/>
                  <a:gd name="T25" fmla="*/ 60 h 91"/>
                  <a:gd name="T26" fmla="*/ 65 w 108"/>
                  <a:gd name="T27" fmla="*/ 24 h 91"/>
                  <a:gd name="T28" fmla="*/ 106 w 108"/>
                  <a:gd name="T29" fmla="*/ 24 h 91"/>
                  <a:gd name="T30" fmla="*/ 106 w 108"/>
                  <a:gd name="T31" fmla="*/ 22 h 91"/>
                  <a:gd name="T32" fmla="*/ 108 w 108"/>
                  <a:gd name="T33" fmla="*/ 16 h 91"/>
                  <a:gd name="T34" fmla="*/ 108 w 108"/>
                  <a:gd name="T35" fmla="*/ 3 h 91"/>
                  <a:gd name="T36" fmla="*/ 108 w 108"/>
                  <a:gd name="T37" fmla="*/ 2 h 91"/>
                  <a:gd name="T38" fmla="*/ 108 w 108"/>
                  <a:gd name="T39" fmla="*/ 0 h 91"/>
                  <a:gd name="T40" fmla="*/ 52 w 108"/>
                  <a:gd name="T41" fmla="*/ 0 h 91"/>
                  <a:gd name="T42" fmla="*/ 49 w 108"/>
                  <a:gd name="T43" fmla="*/ 6 h 91"/>
                  <a:gd name="T44" fmla="*/ 44 w 108"/>
                  <a:gd name="T45" fmla="*/ 13 h 91"/>
                  <a:gd name="T46" fmla="*/ 39 w 108"/>
                  <a:gd name="T47" fmla="*/ 18 h 91"/>
                  <a:gd name="T48" fmla="*/ 36 w 108"/>
                  <a:gd name="T49" fmla="*/ 19 h 91"/>
                  <a:gd name="T50" fmla="*/ 33 w 108"/>
                  <a:gd name="T51" fmla="*/ 22 h 91"/>
                  <a:gd name="T52" fmla="*/ 30 w 108"/>
                  <a:gd name="T53" fmla="*/ 30 h 91"/>
                  <a:gd name="T54" fmla="*/ 30 w 108"/>
                  <a:gd name="T55" fmla="*/ 38 h 91"/>
                  <a:gd name="T56" fmla="*/ 28 w 108"/>
                  <a:gd name="T57" fmla="*/ 41 h 91"/>
                  <a:gd name="T58" fmla="*/ 25 w 108"/>
                  <a:gd name="T59" fmla="*/ 45 h 91"/>
                  <a:gd name="T60" fmla="*/ 19 w 108"/>
                  <a:gd name="T61" fmla="*/ 51 h 91"/>
                  <a:gd name="T62" fmla="*/ 17 w 108"/>
                  <a:gd name="T63" fmla="*/ 54 h 91"/>
                  <a:gd name="T64" fmla="*/ 17 w 108"/>
                  <a:gd name="T65" fmla="*/ 57 h 91"/>
                  <a:gd name="T66" fmla="*/ 16 w 108"/>
                  <a:gd name="T67" fmla="*/ 60 h 91"/>
                  <a:gd name="T68" fmla="*/ 12 w 108"/>
                  <a:gd name="T69" fmla="*/ 65 h 91"/>
                  <a:gd name="T70" fmla="*/ 11 w 108"/>
                  <a:gd name="T71" fmla="*/ 67 h 91"/>
                  <a:gd name="T72" fmla="*/ 11 w 108"/>
                  <a:gd name="T73" fmla="*/ 67 h 91"/>
                  <a:gd name="T74" fmla="*/ 9 w 108"/>
                  <a:gd name="T75" fmla="*/ 70 h 91"/>
                  <a:gd name="T76" fmla="*/ 8 w 108"/>
                  <a:gd name="T77" fmla="*/ 73 h 91"/>
                  <a:gd name="T78" fmla="*/ 8 w 108"/>
                  <a:gd name="T79" fmla="*/ 75 h 91"/>
                  <a:gd name="T80" fmla="*/ 6 w 108"/>
                  <a:gd name="T81" fmla="*/ 76 h 91"/>
                  <a:gd name="T82" fmla="*/ 4 w 108"/>
                  <a:gd name="T83" fmla="*/ 78 h 91"/>
                  <a:gd name="T84" fmla="*/ 1 w 108"/>
                  <a:gd name="T85" fmla="*/ 86 h 91"/>
                  <a:gd name="T86" fmla="*/ 0 w 108"/>
                  <a:gd name="T87" fmla="*/ 87 h 91"/>
                  <a:gd name="T88" fmla="*/ 1 w 108"/>
                  <a:gd name="T8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8" h="91">
                    <a:moveTo>
                      <a:pt x="1" y="91"/>
                    </a:moveTo>
                    <a:lnTo>
                      <a:pt x="1" y="91"/>
                    </a:lnTo>
                    <a:lnTo>
                      <a:pt x="4" y="91"/>
                    </a:lnTo>
                    <a:lnTo>
                      <a:pt x="4" y="91"/>
                    </a:lnTo>
                    <a:lnTo>
                      <a:pt x="49" y="91"/>
                    </a:lnTo>
                    <a:lnTo>
                      <a:pt x="49" y="91"/>
                    </a:lnTo>
                    <a:lnTo>
                      <a:pt x="51" y="87"/>
                    </a:lnTo>
                    <a:lnTo>
                      <a:pt x="51" y="87"/>
                    </a:lnTo>
                    <a:lnTo>
                      <a:pt x="51" y="84"/>
                    </a:lnTo>
                    <a:lnTo>
                      <a:pt x="51" y="84"/>
                    </a:lnTo>
                    <a:lnTo>
                      <a:pt x="51" y="83"/>
                    </a:lnTo>
                    <a:lnTo>
                      <a:pt x="51" y="83"/>
                    </a:lnTo>
                    <a:lnTo>
                      <a:pt x="51" y="75"/>
                    </a:lnTo>
                    <a:lnTo>
                      <a:pt x="51" y="75"/>
                    </a:lnTo>
                    <a:lnTo>
                      <a:pt x="51" y="73"/>
                    </a:lnTo>
                    <a:lnTo>
                      <a:pt x="51" y="73"/>
                    </a:lnTo>
                    <a:lnTo>
                      <a:pt x="51" y="70"/>
                    </a:lnTo>
                    <a:lnTo>
                      <a:pt x="51" y="70"/>
                    </a:lnTo>
                    <a:lnTo>
                      <a:pt x="51" y="67"/>
                    </a:lnTo>
                    <a:lnTo>
                      <a:pt x="51" y="67"/>
                    </a:lnTo>
                    <a:lnTo>
                      <a:pt x="52" y="67"/>
                    </a:lnTo>
                    <a:lnTo>
                      <a:pt x="52" y="67"/>
                    </a:lnTo>
                    <a:lnTo>
                      <a:pt x="57" y="64"/>
                    </a:lnTo>
                    <a:lnTo>
                      <a:pt x="57" y="64"/>
                    </a:lnTo>
                    <a:lnTo>
                      <a:pt x="65" y="60"/>
                    </a:lnTo>
                    <a:lnTo>
                      <a:pt x="65" y="60"/>
                    </a:lnTo>
                    <a:lnTo>
                      <a:pt x="65" y="24"/>
                    </a:lnTo>
                    <a:lnTo>
                      <a:pt x="65" y="24"/>
                    </a:lnTo>
                    <a:lnTo>
                      <a:pt x="106" y="24"/>
                    </a:lnTo>
                    <a:lnTo>
                      <a:pt x="106" y="24"/>
                    </a:lnTo>
                    <a:lnTo>
                      <a:pt x="106" y="22"/>
                    </a:lnTo>
                    <a:lnTo>
                      <a:pt x="106" y="22"/>
                    </a:lnTo>
                    <a:lnTo>
                      <a:pt x="108" y="16"/>
                    </a:lnTo>
                    <a:lnTo>
                      <a:pt x="108" y="16"/>
                    </a:lnTo>
                    <a:lnTo>
                      <a:pt x="108" y="16"/>
                    </a:lnTo>
                    <a:lnTo>
                      <a:pt x="108" y="3"/>
                    </a:lnTo>
                    <a:lnTo>
                      <a:pt x="108" y="3"/>
                    </a:lnTo>
                    <a:lnTo>
                      <a:pt x="108" y="2"/>
                    </a:lnTo>
                    <a:lnTo>
                      <a:pt x="108" y="2"/>
                    </a:lnTo>
                    <a:lnTo>
                      <a:pt x="108" y="0"/>
                    </a:lnTo>
                    <a:lnTo>
                      <a:pt x="108" y="0"/>
                    </a:lnTo>
                    <a:lnTo>
                      <a:pt x="52" y="0"/>
                    </a:lnTo>
                    <a:lnTo>
                      <a:pt x="52" y="0"/>
                    </a:lnTo>
                    <a:lnTo>
                      <a:pt x="49" y="6"/>
                    </a:lnTo>
                    <a:lnTo>
                      <a:pt x="49" y="6"/>
                    </a:lnTo>
                    <a:lnTo>
                      <a:pt x="44" y="13"/>
                    </a:lnTo>
                    <a:lnTo>
                      <a:pt x="44" y="13"/>
                    </a:lnTo>
                    <a:lnTo>
                      <a:pt x="39" y="18"/>
                    </a:lnTo>
                    <a:lnTo>
                      <a:pt x="39" y="18"/>
                    </a:lnTo>
                    <a:lnTo>
                      <a:pt x="36" y="19"/>
                    </a:lnTo>
                    <a:lnTo>
                      <a:pt x="36" y="19"/>
                    </a:lnTo>
                    <a:lnTo>
                      <a:pt x="33" y="22"/>
                    </a:lnTo>
                    <a:lnTo>
                      <a:pt x="33" y="22"/>
                    </a:lnTo>
                    <a:lnTo>
                      <a:pt x="30" y="30"/>
                    </a:lnTo>
                    <a:lnTo>
                      <a:pt x="30" y="30"/>
                    </a:lnTo>
                    <a:lnTo>
                      <a:pt x="30" y="38"/>
                    </a:lnTo>
                    <a:lnTo>
                      <a:pt x="30" y="38"/>
                    </a:lnTo>
                    <a:lnTo>
                      <a:pt x="28" y="41"/>
                    </a:lnTo>
                    <a:lnTo>
                      <a:pt x="28" y="41"/>
                    </a:lnTo>
                    <a:lnTo>
                      <a:pt x="25" y="45"/>
                    </a:lnTo>
                    <a:lnTo>
                      <a:pt x="25" y="45"/>
                    </a:lnTo>
                    <a:lnTo>
                      <a:pt x="19" y="51"/>
                    </a:lnTo>
                    <a:lnTo>
                      <a:pt x="19" y="51"/>
                    </a:lnTo>
                    <a:lnTo>
                      <a:pt x="17" y="54"/>
                    </a:lnTo>
                    <a:lnTo>
                      <a:pt x="17" y="54"/>
                    </a:lnTo>
                    <a:lnTo>
                      <a:pt x="17" y="57"/>
                    </a:lnTo>
                    <a:lnTo>
                      <a:pt x="17" y="57"/>
                    </a:lnTo>
                    <a:lnTo>
                      <a:pt x="16" y="60"/>
                    </a:lnTo>
                    <a:lnTo>
                      <a:pt x="16" y="60"/>
                    </a:lnTo>
                    <a:lnTo>
                      <a:pt x="12" y="65"/>
                    </a:lnTo>
                    <a:lnTo>
                      <a:pt x="12" y="65"/>
                    </a:lnTo>
                    <a:lnTo>
                      <a:pt x="11" y="67"/>
                    </a:lnTo>
                    <a:lnTo>
                      <a:pt x="11" y="67"/>
                    </a:lnTo>
                    <a:lnTo>
                      <a:pt x="11" y="67"/>
                    </a:lnTo>
                    <a:lnTo>
                      <a:pt x="11" y="67"/>
                    </a:lnTo>
                    <a:lnTo>
                      <a:pt x="9" y="70"/>
                    </a:lnTo>
                    <a:lnTo>
                      <a:pt x="9" y="70"/>
                    </a:lnTo>
                    <a:lnTo>
                      <a:pt x="8" y="73"/>
                    </a:lnTo>
                    <a:lnTo>
                      <a:pt x="8" y="73"/>
                    </a:lnTo>
                    <a:lnTo>
                      <a:pt x="8" y="75"/>
                    </a:lnTo>
                    <a:lnTo>
                      <a:pt x="8" y="75"/>
                    </a:lnTo>
                    <a:lnTo>
                      <a:pt x="6" y="76"/>
                    </a:lnTo>
                    <a:lnTo>
                      <a:pt x="6" y="76"/>
                    </a:lnTo>
                    <a:lnTo>
                      <a:pt x="4" y="78"/>
                    </a:lnTo>
                    <a:lnTo>
                      <a:pt x="4" y="78"/>
                    </a:lnTo>
                    <a:lnTo>
                      <a:pt x="1" y="86"/>
                    </a:lnTo>
                    <a:lnTo>
                      <a:pt x="1" y="86"/>
                    </a:lnTo>
                    <a:lnTo>
                      <a:pt x="0" y="87"/>
                    </a:lnTo>
                    <a:lnTo>
                      <a:pt x="0" y="87"/>
                    </a:lnTo>
                    <a:lnTo>
                      <a:pt x="1" y="91"/>
                    </a:lnTo>
                    <a:lnTo>
                      <a:pt x="1" y="9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75" name="Freeform 263">
                <a:extLst>
                  <a:ext uri="{FF2B5EF4-FFF2-40B4-BE49-F238E27FC236}">
                    <a16:creationId xmlns:a16="http://schemas.microsoft.com/office/drawing/2014/main" id="{D04319D8-C09F-DB28-1E4C-D13BC280EF03}"/>
                  </a:ext>
                </a:extLst>
              </p:cNvPr>
              <p:cNvSpPr>
                <a:spLocks/>
              </p:cNvSpPr>
              <p:nvPr/>
            </p:nvSpPr>
            <p:spPr bwMode="auto">
              <a:xfrm>
                <a:off x="6652942" y="2876657"/>
                <a:ext cx="65050" cy="35889"/>
              </a:xfrm>
              <a:custGeom>
                <a:avLst/>
                <a:gdLst>
                  <a:gd name="T0" fmla="*/ 2 w 29"/>
                  <a:gd name="T1" fmla="*/ 10 h 16"/>
                  <a:gd name="T2" fmla="*/ 0 w 29"/>
                  <a:gd name="T3" fmla="*/ 8 h 16"/>
                  <a:gd name="T4" fmla="*/ 0 w 29"/>
                  <a:gd name="T5" fmla="*/ 8 h 16"/>
                  <a:gd name="T6" fmla="*/ 2 w 29"/>
                  <a:gd name="T7" fmla="*/ 8 h 16"/>
                  <a:gd name="T8" fmla="*/ 3 w 29"/>
                  <a:gd name="T9" fmla="*/ 8 h 16"/>
                  <a:gd name="T10" fmla="*/ 5 w 29"/>
                  <a:gd name="T11" fmla="*/ 7 h 16"/>
                  <a:gd name="T12" fmla="*/ 5 w 29"/>
                  <a:gd name="T13" fmla="*/ 7 h 16"/>
                  <a:gd name="T14" fmla="*/ 8 w 29"/>
                  <a:gd name="T15" fmla="*/ 7 h 16"/>
                  <a:gd name="T16" fmla="*/ 8 w 29"/>
                  <a:gd name="T17" fmla="*/ 5 h 16"/>
                  <a:gd name="T18" fmla="*/ 8 w 29"/>
                  <a:gd name="T19" fmla="*/ 5 h 16"/>
                  <a:gd name="T20" fmla="*/ 8 w 29"/>
                  <a:gd name="T21" fmla="*/ 3 h 16"/>
                  <a:gd name="T22" fmla="*/ 8 w 29"/>
                  <a:gd name="T23" fmla="*/ 3 h 16"/>
                  <a:gd name="T24" fmla="*/ 14 w 29"/>
                  <a:gd name="T25" fmla="*/ 5 h 16"/>
                  <a:gd name="T26" fmla="*/ 17 w 29"/>
                  <a:gd name="T27" fmla="*/ 3 h 16"/>
                  <a:gd name="T28" fmla="*/ 17 w 29"/>
                  <a:gd name="T29" fmla="*/ 3 h 16"/>
                  <a:gd name="T30" fmla="*/ 24 w 29"/>
                  <a:gd name="T31" fmla="*/ 2 h 16"/>
                  <a:gd name="T32" fmla="*/ 29 w 29"/>
                  <a:gd name="T33" fmla="*/ 0 h 16"/>
                  <a:gd name="T34" fmla="*/ 29 w 29"/>
                  <a:gd name="T35" fmla="*/ 0 h 16"/>
                  <a:gd name="T36" fmla="*/ 25 w 29"/>
                  <a:gd name="T37" fmla="*/ 2 h 16"/>
                  <a:gd name="T38" fmla="*/ 22 w 29"/>
                  <a:gd name="T39" fmla="*/ 5 h 16"/>
                  <a:gd name="T40" fmla="*/ 22 w 29"/>
                  <a:gd name="T41" fmla="*/ 5 h 16"/>
                  <a:gd name="T42" fmla="*/ 19 w 29"/>
                  <a:gd name="T43" fmla="*/ 7 h 16"/>
                  <a:gd name="T44" fmla="*/ 19 w 29"/>
                  <a:gd name="T45" fmla="*/ 7 h 16"/>
                  <a:gd name="T46" fmla="*/ 24 w 29"/>
                  <a:gd name="T47" fmla="*/ 10 h 16"/>
                  <a:gd name="T48" fmla="*/ 24 w 29"/>
                  <a:gd name="T49" fmla="*/ 10 h 16"/>
                  <a:gd name="T50" fmla="*/ 19 w 29"/>
                  <a:gd name="T51" fmla="*/ 10 h 16"/>
                  <a:gd name="T52" fmla="*/ 17 w 29"/>
                  <a:gd name="T53" fmla="*/ 10 h 16"/>
                  <a:gd name="T54" fmla="*/ 17 w 29"/>
                  <a:gd name="T55" fmla="*/ 10 h 16"/>
                  <a:gd name="T56" fmla="*/ 14 w 29"/>
                  <a:gd name="T57" fmla="*/ 13 h 16"/>
                  <a:gd name="T58" fmla="*/ 14 w 29"/>
                  <a:gd name="T59" fmla="*/ 13 h 16"/>
                  <a:gd name="T60" fmla="*/ 11 w 29"/>
                  <a:gd name="T61" fmla="*/ 15 h 16"/>
                  <a:gd name="T62" fmla="*/ 11 w 29"/>
                  <a:gd name="T63" fmla="*/ 15 h 16"/>
                  <a:gd name="T64" fmla="*/ 11 w 29"/>
                  <a:gd name="T65" fmla="*/ 16 h 16"/>
                  <a:gd name="T66" fmla="*/ 11 w 29"/>
                  <a:gd name="T67" fmla="*/ 16 h 16"/>
                  <a:gd name="T68" fmla="*/ 5 w 29"/>
                  <a:gd name="T69" fmla="*/ 15 h 16"/>
                  <a:gd name="T70" fmla="*/ 3 w 29"/>
                  <a:gd name="T71" fmla="*/ 13 h 16"/>
                  <a:gd name="T72" fmla="*/ 2 w 29"/>
                  <a:gd name="T73" fmla="*/ 10 h 16"/>
                  <a:gd name="T74" fmla="*/ 2 w 29"/>
                  <a:gd name="T75" fmla="*/ 10 h 16"/>
                  <a:gd name="T76" fmla="*/ 2 w 29"/>
                  <a:gd name="T77" fmla="*/ 10 h 16"/>
                  <a:gd name="T78" fmla="*/ 2 w 29"/>
                  <a:gd name="T79" fmla="*/ 10 h 16"/>
                  <a:gd name="T80" fmla="*/ 2 w 29"/>
                  <a:gd name="T81" fmla="*/ 10 h 16"/>
                  <a:gd name="T82" fmla="*/ 2 w 29"/>
                  <a:gd name="T83" fmla="*/ 10 h 16"/>
                  <a:gd name="T84" fmla="*/ 2 w 29"/>
                  <a:gd name="T85" fmla="*/ 10 h 16"/>
                  <a:gd name="T86" fmla="*/ 2 w 29"/>
                  <a:gd name="T87" fmla="*/ 10 h 16"/>
                  <a:gd name="T88" fmla="*/ 2 w 29"/>
                  <a:gd name="T89" fmla="*/ 10 h 16"/>
                  <a:gd name="T90" fmla="*/ 2 w 29"/>
                  <a:gd name="T91"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 h="16">
                    <a:moveTo>
                      <a:pt x="2" y="10"/>
                    </a:moveTo>
                    <a:lnTo>
                      <a:pt x="0" y="8"/>
                    </a:lnTo>
                    <a:lnTo>
                      <a:pt x="0" y="8"/>
                    </a:lnTo>
                    <a:lnTo>
                      <a:pt x="2" y="8"/>
                    </a:lnTo>
                    <a:lnTo>
                      <a:pt x="3" y="8"/>
                    </a:lnTo>
                    <a:lnTo>
                      <a:pt x="5" y="7"/>
                    </a:lnTo>
                    <a:lnTo>
                      <a:pt x="5" y="7"/>
                    </a:lnTo>
                    <a:lnTo>
                      <a:pt x="8" y="7"/>
                    </a:lnTo>
                    <a:lnTo>
                      <a:pt x="8" y="5"/>
                    </a:lnTo>
                    <a:lnTo>
                      <a:pt x="8" y="5"/>
                    </a:lnTo>
                    <a:lnTo>
                      <a:pt x="8" y="3"/>
                    </a:lnTo>
                    <a:lnTo>
                      <a:pt x="8" y="3"/>
                    </a:lnTo>
                    <a:lnTo>
                      <a:pt x="14" y="5"/>
                    </a:lnTo>
                    <a:lnTo>
                      <a:pt x="17" y="3"/>
                    </a:lnTo>
                    <a:lnTo>
                      <a:pt x="17" y="3"/>
                    </a:lnTo>
                    <a:lnTo>
                      <a:pt x="24" y="2"/>
                    </a:lnTo>
                    <a:lnTo>
                      <a:pt x="29" y="0"/>
                    </a:lnTo>
                    <a:lnTo>
                      <a:pt x="29" y="0"/>
                    </a:lnTo>
                    <a:lnTo>
                      <a:pt x="25" y="2"/>
                    </a:lnTo>
                    <a:lnTo>
                      <a:pt x="22" y="5"/>
                    </a:lnTo>
                    <a:lnTo>
                      <a:pt x="22" y="5"/>
                    </a:lnTo>
                    <a:lnTo>
                      <a:pt x="19" y="7"/>
                    </a:lnTo>
                    <a:lnTo>
                      <a:pt x="19" y="7"/>
                    </a:lnTo>
                    <a:lnTo>
                      <a:pt x="24" y="10"/>
                    </a:lnTo>
                    <a:lnTo>
                      <a:pt x="24" y="10"/>
                    </a:lnTo>
                    <a:lnTo>
                      <a:pt x="19" y="10"/>
                    </a:lnTo>
                    <a:lnTo>
                      <a:pt x="17" y="10"/>
                    </a:lnTo>
                    <a:lnTo>
                      <a:pt x="17" y="10"/>
                    </a:lnTo>
                    <a:lnTo>
                      <a:pt x="14" y="13"/>
                    </a:lnTo>
                    <a:lnTo>
                      <a:pt x="14" y="13"/>
                    </a:lnTo>
                    <a:lnTo>
                      <a:pt x="11" y="15"/>
                    </a:lnTo>
                    <a:lnTo>
                      <a:pt x="11" y="15"/>
                    </a:lnTo>
                    <a:lnTo>
                      <a:pt x="11" y="16"/>
                    </a:lnTo>
                    <a:lnTo>
                      <a:pt x="11" y="16"/>
                    </a:lnTo>
                    <a:lnTo>
                      <a:pt x="5" y="15"/>
                    </a:lnTo>
                    <a:lnTo>
                      <a:pt x="3" y="13"/>
                    </a:lnTo>
                    <a:lnTo>
                      <a:pt x="2" y="10"/>
                    </a:lnTo>
                    <a:lnTo>
                      <a:pt x="2" y="10"/>
                    </a:lnTo>
                    <a:lnTo>
                      <a:pt x="2" y="10"/>
                    </a:lnTo>
                    <a:lnTo>
                      <a:pt x="2" y="10"/>
                    </a:lnTo>
                    <a:lnTo>
                      <a:pt x="2" y="10"/>
                    </a:lnTo>
                    <a:lnTo>
                      <a:pt x="2" y="10"/>
                    </a:lnTo>
                    <a:lnTo>
                      <a:pt x="2" y="10"/>
                    </a:lnTo>
                    <a:lnTo>
                      <a:pt x="2" y="10"/>
                    </a:lnTo>
                    <a:lnTo>
                      <a:pt x="2" y="10"/>
                    </a:lnTo>
                    <a:lnTo>
                      <a:pt x="2" y="1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76" name="Freeform 66">
                <a:extLst>
                  <a:ext uri="{FF2B5EF4-FFF2-40B4-BE49-F238E27FC236}">
                    <a16:creationId xmlns:a16="http://schemas.microsoft.com/office/drawing/2014/main" id="{A83F5688-6D87-9A15-8A19-C00884D3660D}"/>
                  </a:ext>
                </a:extLst>
              </p:cNvPr>
              <p:cNvSpPr>
                <a:spLocks/>
              </p:cNvSpPr>
              <p:nvPr/>
            </p:nvSpPr>
            <p:spPr bwMode="auto">
              <a:xfrm>
                <a:off x="6742666" y="2984324"/>
                <a:ext cx="105424" cy="98695"/>
              </a:xfrm>
              <a:custGeom>
                <a:avLst/>
                <a:gdLst>
                  <a:gd name="T0" fmla="*/ 47 w 47"/>
                  <a:gd name="T1" fmla="*/ 1 h 44"/>
                  <a:gd name="T2" fmla="*/ 47 w 47"/>
                  <a:gd name="T3" fmla="*/ 1 h 44"/>
                  <a:gd name="T4" fmla="*/ 46 w 47"/>
                  <a:gd name="T5" fmla="*/ 3 h 44"/>
                  <a:gd name="T6" fmla="*/ 44 w 47"/>
                  <a:gd name="T7" fmla="*/ 3 h 44"/>
                  <a:gd name="T8" fmla="*/ 16 w 47"/>
                  <a:gd name="T9" fmla="*/ 6 h 44"/>
                  <a:gd name="T10" fmla="*/ 11 w 47"/>
                  <a:gd name="T11" fmla="*/ 3 h 44"/>
                  <a:gd name="T12" fmla="*/ 8 w 47"/>
                  <a:gd name="T13" fmla="*/ 3 h 44"/>
                  <a:gd name="T14" fmla="*/ 3 w 47"/>
                  <a:gd name="T15" fmla="*/ 0 h 44"/>
                  <a:gd name="T16" fmla="*/ 3 w 47"/>
                  <a:gd name="T17" fmla="*/ 0 h 44"/>
                  <a:gd name="T18" fmla="*/ 3 w 47"/>
                  <a:gd name="T19" fmla="*/ 6 h 44"/>
                  <a:gd name="T20" fmla="*/ 3 w 47"/>
                  <a:gd name="T21" fmla="*/ 9 h 44"/>
                  <a:gd name="T22" fmla="*/ 3 w 47"/>
                  <a:gd name="T23" fmla="*/ 13 h 44"/>
                  <a:gd name="T24" fmla="*/ 3 w 47"/>
                  <a:gd name="T25" fmla="*/ 16 h 44"/>
                  <a:gd name="T26" fmla="*/ 3 w 47"/>
                  <a:gd name="T27" fmla="*/ 17 h 44"/>
                  <a:gd name="T28" fmla="*/ 3 w 47"/>
                  <a:gd name="T29" fmla="*/ 19 h 44"/>
                  <a:gd name="T30" fmla="*/ 3 w 47"/>
                  <a:gd name="T31" fmla="*/ 19 h 44"/>
                  <a:gd name="T32" fmla="*/ 0 w 47"/>
                  <a:gd name="T33" fmla="*/ 25 h 44"/>
                  <a:gd name="T34" fmla="*/ 0 w 47"/>
                  <a:gd name="T35" fmla="*/ 32 h 44"/>
                  <a:gd name="T36" fmla="*/ 0 w 47"/>
                  <a:gd name="T37" fmla="*/ 33 h 44"/>
                  <a:gd name="T38" fmla="*/ 0 w 47"/>
                  <a:gd name="T39" fmla="*/ 38 h 44"/>
                  <a:gd name="T40" fmla="*/ 0 w 47"/>
                  <a:gd name="T41" fmla="*/ 41 h 44"/>
                  <a:gd name="T42" fmla="*/ 0 w 47"/>
                  <a:gd name="T43" fmla="*/ 44 h 44"/>
                  <a:gd name="T44" fmla="*/ 1 w 47"/>
                  <a:gd name="T45" fmla="*/ 44 h 44"/>
                  <a:gd name="T46" fmla="*/ 1 w 47"/>
                  <a:gd name="T47" fmla="*/ 44 h 44"/>
                  <a:gd name="T48" fmla="*/ 6 w 47"/>
                  <a:gd name="T49" fmla="*/ 44 h 44"/>
                  <a:gd name="T50" fmla="*/ 12 w 47"/>
                  <a:gd name="T51" fmla="*/ 44 h 44"/>
                  <a:gd name="T52" fmla="*/ 16 w 47"/>
                  <a:gd name="T53" fmla="*/ 44 h 44"/>
                  <a:gd name="T54" fmla="*/ 17 w 47"/>
                  <a:gd name="T55" fmla="*/ 41 h 44"/>
                  <a:gd name="T56" fmla="*/ 20 w 47"/>
                  <a:gd name="T57" fmla="*/ 38 h 44"/>
                  <a:gd name="T58" fmla="*/ 24 w 47"/>
                  <a:gd name="T59" fmla="*/ 35 h 44"/>
                  <a:gd name="T60" fmla="*/ 28 w 47"/>
                  <a:gd name="T61" fmla="*/ 35 h 44"/>
                  <a:gd name="T62" fmla="*/ 30 w 47"/>
                  <a:gd name="T63" fmla="*/ 35 h 44"/>
                  <a:gd name="T64" fmla="*/ 30 w 47"/>
                  <a:gd name="T65" fmla="*/ 33 h 44"/>
                  <a:gd name="T66" fmla="*/ 31 w 47"/>
                  <a:gd name="T67" fmla="*/ 30 h 44"/>
                  <a:gd name="T68" fmla="*/ 31 w 47"/>
                  <a:gd name="T69" fmla="*/ 28 h 44"/>
                  <a:gd name="T70" fmla="*/ 35 w 47"/>
                  <a:gd name="T71" fmla="*/ 27 h 44"/>
                  <a:gd name="T72" fmla="*/ 22 w 47"/>
                  <a:gd name="T73" fmla="*/ 13 h 44"/>
                  <a:gd name="T74" fmla="*/ 35 w 47"/>
                  <a:gd name="T75" fmla="*/ 9 h 44"/>
                  <a:gd name="T76" fmla="*/ 46 w 47"/>
                  <a:gd name="T77" fmla="*/ 3 h 44"/>
                  <a:gd name="T78" fmla="*/ 47 w 47"/>
                  <a:gd name="T79" fmla="*/ 3 h 44"/>
                  <a:gd name="T80" fmla="*/ 47 w 47"/>
                  <a:gd name="T81" fmla="*/ 3 h 44"/>
                  <a:gd name="T82" fmla="*/ 47 w 47"/>
                  <a:gd name="T83" fmla="*/ 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 h="44">
                    <a:moveTo>
                      <a:pt x="47" y="1"/>
                    </a:moveTo>
                    <a:lnTo>
                      <a:pt x="47" y="1"/>
                    </a:lnTo>
                    <a:lnTo>
                      <a:pt x="47" y="1"/>
                    </a:lnTo>
                    <a:lnTo>
                      <a:pt x="47" y="1"/>
                    </a:lnTo>
                    <a:lnTo>
                      <a:pt x="46" y="3"/>
                    </a:lnTo>
                    <a:lnTo>
                      <a:pt x="46" y="3"/>
                    </a:lnTo>
                    <a:lnTo>
                      <a:pt x="44" y="3"/>
                    </a:lnTo>
                    <a:lnTo>
                      <a:pt x="44" y="3"/>
                    </a:lnTo>
                    <a:lnTo>
                      <a:pt x="16" y="6"/>
                    </a:lnTo>
                    <a:lnTo>
                      <a:pt x="16" y="6"/>
                    </a:lnTo>
                    <a:lnTo>
                      <a:pt x="11" y="3"/>
                    </a:lnTo>
                    <a:lnTo>
                      <a:pt x="11" y="3"/>
                    </a:lnTo>
                    <a:lnTo>
                      <a:pt x="8" y="3"/>
                    </a:lnTo>
                    <a:lnTo>
                      <a:pt x="8" y="3"/>
                    </a:lnTo>
                    <a:lnTo>
                      <a:pt x="8" y="3"/>
                    </a:lnTo>
                    <a:lnTo>
                      <a:pt x="3" y="0"/>
                    </a:lnTo>
                    <a:lnTo>
                      <a:pt x="3" y="0"/>
                    </a:lnTo>
                    <a:lnTo>
                      <a:pt x="3" y="0"/>
                    </a:lnTo>
                    <a:lnTo>
                      <a:pt x="3" y="6"/>
                    </a:lnTo>
                    <a:lnTo>
                      <a:pt x="3" y="6"/>
                    </a:lnTo>
                    <a:lnTo>
                      <a:pt x="3" y="9"/>
                    </a:lnTo>
                    <a:lnTo>
                      <a:pt x="3" y="9"/>
                    </a:lnTo>
                    <a:lnTo>
                      <a:pt x="3" y="13"/>
                    </a:lnTo>
                    <a:lnTo>
                      <a:pt x="3" y="13"/>
                    </a:lnTo>
                    <a:lnTo>
                      <a:pt x="3" y="16"/>
                    </a:lnTo>
                    <a:lnTo>
                      <a:pt x="3" y="16"/>
                    </a:lnTo>
                    <a:lnTo>
                      <a:pt x="3" y="17"/>
                    </a:lnTo>
                    <a:lnTo>
                      <a:pt x="3" y="17"/>
                    </a:lnTo>
                    <a:lnTo>
                      <a:pt x="3" y="19"/>
                    </a:lnTo>
                    <a:lnTo>
                      <a:pt x="3" y="19"/>
                    </a:lnTo>
                    <a:lnTo>
                      <a:pt x="3" y="19"/>
                    </a:lnTo>
                    <a:lnTo>
                      <a:pt x="3" y="19"/>
                    </a:lnTo>
                    <a:lnTo>
                      <a:pt x="3" y="19"/>
                    </a:lnTo>
                    <a:lnTo>
                      <a:pt x="0" y="25"/>
                    </a:lnTo>
                    <a:lnTo>
                      <a:pt x="0" y="25"/>
                    </a:lnTo>
                    <a:lnTo>
                      <a:pt x="0" y="32"/>
                    </a:lnTo>
                    <a:lnTo>
                      <a:pt x="0" y="32"/>
                    </a:lnTo>
                    <a:lnTo>
                      <a:pt x="0" y="33"/>
                    </a:lnTo>
                    <a:lnTo>
                      <a:pt x="0" y="33"/>
                    </a:lnTo>
                    <a:lnTo>
                      <a:pt x="0" y="38"/>
                    </a:lnTo>
                    <a:lnTo>
                      <a:pt x="0" y="38"/>
                    </a:lnTo>
                    <a:lnTo>
                      <a:pt x="0" y="41"/>
                    </a:lnTo>
                    <a:lnTo>
                      <a:pt x="0" y="41"/>
                    </a:lnTo>
                    <a:lnTo>
                      <a:pt x="0" y="44"/>
                    </a:lnTo>
                    <a:lnTo>
                      <a:pt x="0" y="44"/>
                    </a:lnTo>
                    <a:lnTo>
                      <a:pt x="1" y="44"/>
                    </a:lnTo>
                    <a:lnTo>
                      <a:pt x="1" y="44"/>
                    </a:lnTo>
                    <a:lnTo>
                      <a:pt x="1" y="44"/>
                    </a:lnTo>
                    <a:lnTo>
                      <a:pt x="6" y="44"/>
                    </a:lnTo>
                    <a:lnTo>
                      <a:pt x="6" y="44"/>
                    </a:lnTo>
                    <a:lnTo>
                      <a:pt x="12" y="44"/>
                    </a:lnTo>
                    <a:lnTo>
                      <a:pt x="12" y="44"/>
                    </a:lnTo>
                    <a:lnTo>
                      <a:pt x="16" y="44"/>
                    </a:lnTo>
                    <a:lnTo>
                      <a:pt x="16" y="44"/>
                    </a:lnTo>
                    <a:lnTo>
                      <a:pt x="17" y="41"/>
                    </a:lnTo>
                    <a:lnTo>
                      <a:pt x="17" y="41"/>
                    </a:lnTo>
                    <a:lnTo>
                      <a:pt x="20" y="38"/>
                    </a:lnTo>
                    <a:lnTo>
                      <a:pt x="20" y="38"/>
                    </a:lnTo>
                    <a:lnTo>
                      <a:pt x="24" y="35"/>
                    </a:lnTo>
                    <a:lnTo>
                      <a:pt x="24" y="35"/>
                    </a:lnTo>
                    <a:lnTo>
                      <a:pt x="28" y="35"/>
                    </a:lnTo>
                    <a:lnTo>
                      <a:pt x="28" y="35"/>
                    </a:lnTo>
                    <a:lnTo>
                      <a:pt x="30" y="35"/>
                    </a:lnTo>
                    <a:lnTo>
                      <a:pt x="30" y="35"/>
                    </a:lnTo>
                    <a:lnTo>
                      <a:pt x="30" y="33"/>
                    </a:lnTo>
                    <a:lnTo>
                      <a:pt x="30" y="33"/>
                    </a:lnTo>
                    <a:lnTo>
                      <a:pt x="31" y="30"/>
                    </a:lnTo>
                    <a:lnTo>
                      <a:pt x="31" y="30"/>
                    </a:lnTo>
                    <a:lnTo>
                      <a:pt x="31" y="28"/>
                    </a:lnTo>
                    <a:lnTo>
                      <a:pt x="31" y="28"/>
                    </a:lnTo>
                    <a:lnTo>
                      <a:pt x="35" y="27"/>
                    </a:lnTo>
                    <a:lnTo>
                      <a:pt x="35" y="27"/>
                    </a:lnTo>
                    <a:lnTo>
                      <a:pt x="22" y="13"/>
                    </a:lnTo>
                    <a:lnTo>
                      <a:pt x="22" y="13"/>
                    </a:lnTo>
                    <a:lnTo>
                      <a:pt x="35" y="9"/>
                    </a:lnTo>
                    <a:lnTo>
                      <a:pt x="35" y="9"/>
                    </a:lnTo>
                    <a:lnTo>
                      <a:pt x="46" y="3"/>
                    </a:lnTo>
                    <a:lnTo>
                      <a:pt x="46" y="3"/>
                    </a:lnTo>
                    <a:lnTo>
                      <a:pt x="47" y="3"/>
                    </a:lnTo>
                    <a:lnTo>
                      <a:pt x="47" y="3"/>
                    </a:lnTo>
                    <a:lnTo>
                      <a:pt x="47" y="3"/>
                    </a:lnTo>
                    <a:lnTo>
                      <a:pt x="47" y="3"/>
                    </a:lnTo>
                    <a:lnTo>
                      <a:pt x="47" y="1"/>
                    </a:lnTo>
                    <a:lnTo>
                      <a:pt x="47" y="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77" name="Freeform 70">
                <a:extLst>
                  <a:ext uri="{FF2B5EF4-FFF2-40B4-BE49-F238E27FC236}">
                    <a16:creationId xmlns:a16="http://schemas.microsoft.com/office/drawing/2014/main" id="{EB665992-1C7C-B4D9-E952-E9E4BD7A544C}"/>
                  </a:ext>
                </a:extLst>
              </p:cNvPr>
              <p:cNvSpPr>
                <a:spLocks/>
              </p:cNvSpPr>
              <p:nvPr/>
            </p:nvSpPr>
            <p:spPr bwMode="auto">
              <a:xfrm>
                <a:off x="6735936" y="2977595"/>
                <a:ext cx="15702" cy="42619"/>
              </a:xfrm>
              <a:custGeom>
                <a:avLst/>
                <a:gdLst>
                  <a:gd name="T0" fmla="*/ 3 w 7"/>
                  <a:gd name="T1" fmla="*/ 0 h 19"/>
                  <a:gd name="T2" fmla="*/ 1 w 7"/>
                  <a:gd name="T3" fmla="*/ 1 h 19"/>
                  <a:gd name="T4" fmla="*/ 0 w 7"/>
                  <a:gd name="T5" fmla="*/ 4 h 19"/>
                  <a:gd name="T6" fmla="*/ 0 w 7"/>
                  <a:gd name="T7" fmla="*/ 8 h 19"/>
                  <a:gd name="T8" fmla="*/ 0 w 7"/>
                  <a:gd name="T9" fmla="*/ 11 h 19"/>
                  <a:gd name="T10" fmla="*/ 1 w 7"/>
                  <a:gd name="T11" fmla="*/ 11 h 19"/>
                  <a:gd name="T12" fmla="*/ 3 w 7"/>
                  <a:gd name="T13" fmla="*/ 11 h 19"/>
                  <a:gd name="T14" fmla="*/ 1 w 7"/>
                  <a:gd name="T15" fmla="*/ 12 h 19"/>
                  <a:gd name="T16" fmla="*/ 0 w 7"/>
                  <a:gd name="T17" fmla="*/ 16 h 19"/>
                  <a:gd name="T18" fmla="*/ 0 w 7"/>
                  <a:gd name="T19" fmla="*/ 16 h 19"/>
                  <a:gd name="T20" fmla="*/ 1 w 7"/>
                  <a:gd name="T21" fmla="*/ 19 h 19"/>
                  <a:gd name="T22" fmla="*/ 3 w 7"/>
                  <a:gd name="T23" fmla="*/ 16 h 19"/>
                  <a:gd name="T24" fmla="*/ 6 w 7"/>
                  <a:gd name="T25" fmla="*/ 16 h 19"/>
                  <a:gd name="T26" fmla="*/ 6 w 7"/>
                  <a:gd name="T27" fmla="*/ 16 h 19"/>
                  <a:gd name="T28" fmla="*/ 6 w 7"/>
                  <a:gd name="T29" fmla="*/ 16 h 19"/>
                  <a:gd name="T30" fmla="*/ 7 w 7"/>
                  <a:gd name="T31" fmla="*/ 12 h 19"/>
                  <a:gd name="T32" fmla="*/ 7 w 7"/>
                  <a:gd name="T33" fmla="*/ 9 h 19"/>
                  <a:gd name="T34" fmla="*/ 7 w 7"/>
                  <a:gd name="T35" fmla="*/ 9 h 19"/>
                  <a:gd name="T36" fmla="*/ 7 w 7"/>
                  <a:gd name="T37" fmla="*/ 3 h 19"/>
                  <a:gd name="T38" fmla="*/ 7 w 7"/>
                  <a:gd name="T39" fmla="*/ 3 h 19"/>
                  <a:gd name="T40" fmla="*/ 6 w 7"/>
                  <a:gd name="T41" fmla="*/ 1 h 19"/>
                  <a:gd name="T42" fmla="*/ 3 w 7"/>
                  <a:gd name="T43" fmla="*/ 0 h 19"/>
                  <a:gd name="T44" fmla="*/ 3 w 7"/>
                  <a:gd name="T45" fmla="*/ 0 h 19"/>
                  <a:gd name="T46" fmla="*/ 3 w 7"/>
                  <a:gd name="T47" fmla="*/ 0 h 19"/>
                  <a:gd name="T48" fmla="*/ 3 w 7"/>
                  <a:gd name="T49" fmla="*/ 0 h 19"/>
                  <a:gd name="T50" fmla="*/ 3 w 7"/>
                  <a:gd name="T51" fmla="*/ 0 h 19"/>
                  <a:gd name="T52" fmla="*/ 3 w 7"/>
                  <a:gd name="T53" fmla="*/ 0 h 19"/>
                  <a:gd name="T54" fmla="*/ 3 w 7"/>
                  <a:gd name="T55" fmla="*/ 0 h 19"/>
                  <a:gd name="T56" fmla="*/ 3 w 7"/>
                  <a:gd name="T57" fmla="*/ 0 h 19"/>
                  <a:gd name="T58" fmla="*/ 3 w 7"/>
                  <a:gd name="T5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 h="19">
                    <a:moveTo>
                      <a:pt x="3" y="0"/>
                    </a:moveTo>
                    <a:lnTo>
                      <a:pt x="1" y="1"/>
                    </a:lnTo>
                    <a:lnTo>
                      <a:pt x="0" y="4"/>
                    </a:lnTo>
                    <a:lnTo>
                      <a:pt x="0" y="8"/>
                    </a:lnTo>
                    <a:lnTo>
                      <a:pt x="0" y="11"/>
                    </a:lnTo>
                    <a:lnTo>
                      <a:pt x="1" y="11"/>
                    </a:lnTo>
                    <a:lnTo>
                      <a:pt x="3" y="11"/>
                    </a:lnTo>
                    <a:lnTo>
                      <a:pt x="1" y="12"/>
                    </a:lnTo>
                    <a:lnTo>
                      <a:pt x="0" y="16"/>
                    </a:lnTo>
                    <a:lnTo>
                      <a:pt x="0" y="16"/>
                    </a:lnTo>
                    <a:lnTo>
                      <a:pt x="1" y="19"/>
                    </a:lnTo>
                    <a:lnTo>
                      <a:pt x="3" y="16"/>
                    </a:lnTo>
                    <a:lnTo>
                      <a:pt x="6" y="16"/>
                    </a:lnTo>
                    <a:lnTo>
                      <a:pt x="6" y="16"/>
                    </a:lnTo>
                    <a:lnTo>
                      <a:pt x="6" y="16"/>
                    </a:lnTo>
                    <a:lnTo>
                      <a:pt x="7" y="12"/>
                    </a:lnTo>
                    <a:lnTo>
                      <a:pt x="7" y="9"/>
                    </a:lnTo>
                    <a:lnTo>
                      <a:pt x="7" y="9"/>
                    </a:lnTo>
                    <a:lnTo>
                      <a:pt x="7" y="3"/>
                    </a:lnTo>
                    <a:lnTo>
                      <a:pt x="7" y="3"/>
                    </a:lnTo>
                    <a:lnTo>
                      <a:pt x="6" y="1"/>
                    </a:lnTo>
                    <a:lnTo>
                      <a:pt x="3" y="0"/>
                    </a:lnTo>
                    <a:lnTo>
                      <a:pt x="3" y="0"/>
                    </a:lnTo>
                    <a:lnTo>
                      <a:pt x="3" y="0"/>
                    </a:lnTo>
                    <a:lnTo>
                      <a:pt x="3" y="0"/>
                    </a:lnTo>
                    <a:lnTo>
                      <a:pt x="3" y="0"/>
                    </a:lnTo>
                    <a:lnTo>
                      <a:pt x="3" y="0"/>
                    </a:lnTo>
                    <a:lnTo>
                      <a:pt x="3" y="0"/>
                    </a:lnTo>
                    <a:lnTo>
                      <a:pt x="3" y="0"/>
                    </a:lnTo>
                    <a:lnTo>
                      <a:pt x="3" y="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78" name="Freeform 69">
                <a:extLst>
                  <a:ext uri="{FF2B5EF4-FFF2-40B4-BE49-F238E27FC236}">
                    <a16:creationId xmlns:a16="http://schemas.microsoft.com/office/drawing/2014/main" id="{4868A56B-2913-0EF1-7994-23FDF0393FDD}"/>
                  </a:ext>
                </a:extLst>
              </p:cNvPr>
              <p:cNvSpPr>
                <a:spLocks/>
              </p:cNvSpPr>
              <p:nvPr/>
            </p:nvSpPr>
            <p:spPr bwMode="auto">
              <a:xfrm>
                <a:off x="6735936" y="2905817"/>
                <a:ext cx="33646" cy="56077"/>
              </a:xfrm>
              <a:custGeom>
                <a:avLst/>
                <a:gdLst>
                  <a:gd name="T0" fmla="*/ 12 w 15"/>
                  <a:gd name="T1" fmla="*/ 16 h 25"/>
                  <a:gd name="T2" fmla="*/ 9 w 15"/>
                  <a:gd name="T3" fmla="*/ 16 h 25"/>
                  <a:gd name="T4" fmla="*/ 9 w 15"/>
                  <a:gd name="T5" fmla="*/ 13 h 25"/>
                  <a:gd name="T6" fmla="*/ 14 w 15"/>
                  <a:gd name="T7" fmla="*/ 13 h 25"/>
                  <a:gd name="T8" fmla="*/ 14 w 15"/>
                  <a:gd name="T9" fmla="*/ 13 h 25"/>
                  <a:gd name="T10" fmla="*/ 14 w 15"/>
                  <a:gd name="T11" fmla="*/ 11 h 25"/>
                  <a:gd name="T12" fmla="*/ 15 w 15"/>
                  <a:gd name="T13" fmla="*/ 9 h 25"/>
                  <a:gd name="T14" fmla="*/ 15 w 15"/>
                  <a:gd name="T15" fmla="*/ 8 h 25"/>
                  <a:gd name="T16" fmla="*/ 14 w 15"/>
                  <a:gd name="T17" fmla="*/ 5 h 25"/>
                  <a:gd name="T18" fmla="*/ 12 w 15"/>
                  <a:gd name="T19" fmla="*/ 5 h 25"/>
                  <a:gd name="T20" fmla="*/ 12 w 15"/>
                  <a:gd name="T21" fmla="*/ 0 h 25"/>
                  <a:gd name="T22" fmla="*/ 12 w 15"/>
                  <a:gd name="T23" fmla="*/ 0 h 25"/>
                  <a:gd name="T24" fmla="*/ 9 w 15"/>
                  <a:gd name="T25" fmla="*/ 0 h 25"/>
                  <a:gd name="T26" fmla="*/ 9 w 15"/>
                  <a:gd name="T27" fmla="*/ 0 h 25"/>
                  <a:gd name="T28" fmla="*/ 9 w 15"/>
                  <a:gd name="T29" fmla="*/ 3 h 25"/>
                  <a:gd name="T30" fmla="*/ 9 w 15"/>
                  <a:gd name="T31" fmla="*/ 5 h 25"/>
                  <a:gd name="T32" fmla="*/ 6 w 15"/>
                  <a:gd name="T33" fmla="*/ 6 h 25"/>
                  <a:gd name="T34" fmla="*/ 6 w 15"/>
                  <a:gd name="T35" fmla="*/ 9 h 25"/>
                  <a:gd name="T36" fmla="*/ 3 w 15"/>
                  <a:gd name="T37" fmla="*/ 13 h 25"/>
                  <a:gd name="T38" fmla="*/ 3 w 15"/>
                  <a:gd name="T39" fmla="*/ 19 h 25"/>
                  <a:gd name="T40" fmla="*/ 1 w 15"/>
                  <a:gd name="T41" fmla="*/ 22 h 25"/>
                  <a:gd name="T42" fmla="*/ 0 w 15"/>
                  <a:gd name="T43" fmla="*/ 24 h 25"/>
                  <a:gd name="T44" fmla="*/ 1 w 15"/>
                  <a:gd name="T45" fmla="*/ 24 h 25"/>
                  <a:gd name="T46" fmla="*/ 1 w 15"/>
                  <a:gd name="T47" fmla="*/ 24 h 25"/>
                  <a:gd name="T48" fmla="*/ 6 w 15"/>
                  <a:gd name="T49" fmla="*/ 25 h 25"/>
                  <a:gd name="T50" fmla="*/ 9 w 15"/>
                  <a:gd name="T51" fmla="*/ 19 h 25"/>
                  <a:gd name="T52" fmla="*/ 12 w 15"/>
                  <a:gd name="T53" fmla="*/ 16 h 25"/>
                  <a:gd name="T54" fmla="*/ 12 w 15"/>
                  <a:gd name="T55" fmla="*/ 16 h 25"/>
                  <a:gd name="T56" fmla="*/ 12 w 15"/>
                  <a:gd name="T57" fmla="*/ 16 h 25"/>
                  <a:gd name="T58" fmla="*/ 12 w 15"/>
                  <a:gd name="T59" fmla="*/ 16 h 25"/>
                  <a:gd name="T60" fmla="*/ 12 w 15"/>
                  <a:gd name="T61" fmla="*/ 16 h 25"/>
                  <a:gd name="T62" fmla="*/ 12 w 15"/>
                  <a:gd name="T63" fmla="*/ 16 h 25"/>
                  <a:gd name="T64" fmla="*/ 12 w 15"/>
                  <a:gd name="T65" fmla="*/ 16 h 25"/>
                  <a:gd name="T66" fmla="*/ 12 w 15"/>
                  <a:gd name="T67" fmla="*/ 16 h 25"/>
                  <a:gd name="T68" fmla="*/ 12 w 15"/>
                  <a:gd name="T69"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 h="25">
                    <a:moveTo>
                      <a:pt x="12" y="16"/>
                    </a:moveTo>
                    <a:lnTo>
                      <a:pt x="9" y="16"/>
                    </a:lnTo>
                    <a:lnTo>
                      <a:pt x="9" y="13"/>
                    </a:lnTo>
                    <a:lnTo>
                      <a:pt x="14" y="13"/>
                    </a:lnTo>
                    <a:lnTo>
                      <a:pt x="14" y="13"/>
                    </a:lnTo>
                    <a:lnTo>
                      <a:pt x="14" y="11"/>
                    </a:lnTo>
                    <a:lnTo>
                      <a:pt x="15" y="9"/>
                    </a:lnTo>
                    <a:lnTo>
                      <a:pt x="15" y="8"/>
                    </a:lnTo>
                    <a:lnTo>
                      <a:pt x="14" y="5"/>
                    </a:lnTo>
                    <a:lnTo>
                      <a:pt x="12" y="5"/>
                    </a:lnTo>
                    <a:lnTo>
                      <a:pt x="12" y="0"/>
                    </a:lnTo>
                    <a:lnTo>
                      <a:pt x="12" y="0"/>
                    </a:lnTo>
                    <a:lnTo>
                      <a:pt x="9" y="0"/>
                    </a:lnTo>
                    <a:lnTo>
                      <a:pt x="9" y="0"/>
                    </a:lnTo>
                    <a:lnTo>
                      <a:pt x="9" y="3"/>
                    </a:lnTo>
                    <a:lnTo>
                      <a:pt x="9" y="5"/>
                    </a:lnTo>
                    <a:lnTo>
                      <a:pt x="6" y="6"/>
                    </a:lnTo>
                    <a:lnTo>
                      <a:pt x="6" y="9"/>
                    </a:lnTo>
                    <a:lnTo>
                      <a:pt x="3" y="13"/>
                    </a:lnTo>
                    <a:lnTo>
                      <a:pt x="3" y="19"/>
                    </a:lnTo>
                    <a:lnTo>
                      <a:pt x="1" y="22"/>
                    </a:lnTo>
                    <a:lnTo>
                      <a:pt x="0" y="24"/>
                    </a:lnTo>
                    <a:lnTo>
                      <a:pt x="1" y="24"/>
                    </a:lnTo>
                    <a:lnTo>
                      <a:pt x="1" y="24"/>
                    </a:lnTo>
                    <a:lnTo>
                      <a:pt x="6" y="25"/>
                    </a:lnTo>
                    <a:lnTo>
                      <a:pt x="9" y="19"/>
                    </a:lnTo>
                    <a:lnTo>
                      <a:pt x="12" y="16"/>
                    </a:lnTo>
                    <a:lnTo>
                      <a:pt x="12" y="16"/>
                    </a:lnTo>
                    <a:lnTo>
                      <a:pt x="12" y="16"/>
                    </a:lnTo>
                    <a:lnTo>
                      <a:pt x="12" y="16"/>
                    </a:lnTo>
                    <a:lnTo>
                      <a:pt x="12" y="16"/>
                    </a:lnTo>
                    <a:lnTo>
                      <a:pt x="12" y="16"/>
                    </a:lnTo>
                    <a:lnTo>
                      <a:pt x="12" y="16"/>
                    </a:lnTo>
                    <a:lnTo>
                      <a:pt x="12" y="16"/>
                    </a:lnTo>
                    <a:lnTo>
                      <a:pt x="12" y="16"/>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79" name="Freeform 317">
                <a:extLst>
                  <a:ext uri="{FF2B5EF4-FFF2-40B4-BE49-F238E27FC236}">
                    <a16:creationId xmlns:a16="http://schemas.microsoft.com/office/drawing/2014/main" id="{363FA15B-9F18-420C-C35D-0EFC30F1B48D}"/>
                  </a:ext>
                </a:extLst>
              </p:cNvPr>
              <p:cNvSpPr>
                <a:spLocks/>
              </p:cNvSpPr>
              <p:nvPr/>
            </p:nvSpPr>
            <p:spPr bwMode="auto">
              <a:xfrm>
                <a:off x="7063423" y="3058345"/>
                <a:ext cx="44861" cy="49347"/>
              </a:xfrm>
              <a:custGeom>
                <a:avLst/>
                <a:gdLst>
                  <a:gd name="T0" fmla="*/ 12 w 20"/>
                  <a:gd name="T1" fmla="*/ 0 h 22"/>
                  <a:gd name="T2" fmla="*/ 12 w 20"/>
                  <a:gd name="T3" fmla="*/ 0 h 22"/>
                  <a:gd name="T4" fmla="*/ 9 w 20"/>
                  <a:gd name="T5" fmla="*/ 0 h 22"/>
                  <a:gd name="T6" fmla="*/ 9 w 20"/>
                  <a:gd name="T7" fmla="*/ 0 h 22"/>
                  <a:gd name="T8" fmla="*/ 6 w 20"/>
                  <a:gd name="T9" fmla="*/ 0 h 22"/>
                  <a:gd name="T10" fmla="*/ 6 w 20"/>
                  <a:gd name="T11" fmla="*/ 0 h 22"/>
                  <a:gd name="T12" fmla="*/ 3 w 20"/>
                  <a:gd name="T13" fmla="*/ 0 h 22"/>
                  <a:gd name="T14" fmla="*/ 3 w 20"/>
                  <a:gd name="T15" fmla="*/ 0 h 22"/>
                  <a:gd name="T16" fmla="*/ 3 w 20"/>
                  <a:gd name="T17" fmla="*/ 10 h 22"/>
                  <a:gd name="T18" fmla="*/ 3 w 20"/>
                  <a:gd name="T19" fmla="*/ 10 h 22"/>
                  <a:gd name="T20" fmla="*/ 0 w 20"/>
                  <a:gd name="T21" fmla="*/ 13 h 22"/>
                  <a:gd name="T22" fmla="*/ 0 w 20"/>
                  <a:gd name="T23" fmla="*/ 13 h 22"/>
                  <a:gd name="T24" fmla="*/ 0 w 20"/>
                  <a:gd name="T25" fmla="*/ 13 h 22"/>
                  <a:gd name="T26" fmla="*/ 0 w 20"/>
                  <a:gd name="T27" fmla="*/ 13 h 22"/>
                  <a:gd name="T28" fmla="*/ 8 w 20"/>
                  <a:gd name="T29" fmla="*/ 14 h 22"/>
                  <a:gd name="T30" fmla="*/ 8 w 20"/>
                  <a:gd name="T31" fmla="*/ 14 h 22"/>
                  <a:gd name="T32" fmla="*/ 9 w 20"/>
                  <a:gd name="T33" fmla="*/ 14 h 22"/>
                  <a:gd name="T34" fmla="*/ 9 w 20"/>
                  <a:gd name="T35" fmla="*/ 14 h 22"/>
                  <a:gd name="T36" fmla="*/ 11 w 20"/>
                  <a:gd name="T37" fmla="*/ 16 h 22"/>
                  <a:gd name="T38" fmla="*/ 11 w 20"/>
                  <a:gd name="T39" fmla="*/ 16 h 22"/>
                  <a:gd name="T40" fmla="*/ 12 w 20"/>
                  <a:gd name="T41" fmla="*/ 21 h 22"/>
                  <a:gd name="T42" fmla="*/ 12 w 20"/>
                  <a:gd name="T43" fmla="*/ 21 h 22"/>
                  <a:gd name="T44" fmla="*/ 14 w 20"/>
                  <a:gd name="T45" fmla="*/ 22 h 22"/>
                  <a:gd name="T46" fmla="*/ 14 w 20"/>
                  <a:gd name="T47" fmla="*/ 22 h 22"/>
                  <a:gd name="T48" fmla="*/ 14 w 20"/>
                  <a:gd name="T49" fmla="*/ 22 h 22"/>
                  <a:gd name="T50" fmla="*/ 14 w 20"/>
                  <a:gd name="T51" fmla="*/ 22 h 22"/>
                  <a:gd name="T52" fmla="*/ 14 w 20"/>
                  <a:gd name="T53" fmla="*/ 22 h 22"/>
                  <a:gd name="T54" fmla="*/ 14 w 20"/>
                  <a:gd name="T55" fmla="*/ 22 h 22"/>
                  <a:gd name="T56" fmla="*/ 20 w 20"/>
                  <a:gd name="T57" fmla="*/ 21 h 22"/>
                  <a:gd name="T58" fmla="*/ 20 w 20"/>
                  <a:gd name="T59" fmla="*/ 21 h 22"/>
                  <a:gd name="T60" fmla="*/ 20 w 20"/>
                  <a:gd name="T61" fmla="*/ 22 h 22"/>
                  <a:gd name="T62" fmla="*/ 20 w 20"/>
                  <a:gd name="T63" fmla="*/ 22 h 22"/>
                  <a:gd name="T64" fmla="*/ 20 w 20"/>
                  <a:gd name="T65" fmla="*/ 18 h 22"/>
                  <a:gd name="T66" fmla="*/ 20 w 20"/>
                  <a:gd name="T67" fmla="*/ 18 h 22"/>
                  <a:gd name="T68" fmla="*/ 17 w 20"/>
                  <a:gd name="T69" fmla="*/ 13 h 22"/>
                  <a:gd name="T70" fmla="*/ 17 w 20"/>
                  <a:gd name="T71" fmla="*/ 13 h 22"/>
                  <a:gd name="T72" fmla="*/ 14 w 20"/>
                  <a:gd name="T73" fmla="*/ 10 h 22"/>
                  <a:gd name="T74" fmla="*/ 14 w 20"/>
                  <a:gd name="T75" fmla="*/ 10 h 22"/>
                  <a:gd name="T76" fmla="*/ 12 w 20"/>
                  <a:gd name="T77" fmla="*/ 10 h 22"/>
                  <a:gd name="T78" fmla="*/ 12 w 20"/>
                  <a:gd name="T79" fmla="*/ 10 h 22"/>
                  <a:gd name="T80" fmla="*/ 14 w 20"/>
                  <a:gd name="T81" fmla="*/ 7 h 22"/>
                  <a:gd name="T82" fmla="*/ 14 w 20"/>
                  <a:gd name="T83" fmla="*/ 7 h 22"/>
                  <a:gd name="T84" fmla="*/ 14 w 20"/>
                  <a:gd name="T85" fmla="*/ 7 h 22"/>
                  <a:gd name="T86" fmla="*/ 14 w 20"/>
                  <a:gd name="T87" fmla="*/ 7 h 22"/>
                  <a:gd name="T88" fmla="*/ 17 w 20"/>
                  <a:gd name="T89" fmla="*/ 7 h 22"/>
                  <a:gd name="T90" fmla="*/ 17 w 20"/>
                  <a:gd name="T91" fmla="*/ 7 h 22"/>
                  <a:gd name="T92" fmla="*/ 17 w 20"/>
                  <a:gd name="T93" fmla="*/ 3 h 22"/>
                  <a:gd name="T94" fmla="*/ 17 w 20"/>
                  <a:gd name="T95" fmla="*/ 3 h 22"/>
                  <a:gd name="T96" fmla="*/ 15 w 20"/>
                  <a:gd name="T97" fmla="*/ 0 h 22"/>
                  <a:gd name="T98" fmla="*/ 15 w 20"/>
                  <a:gd name="T99" fmla="*/ 0 h 22"/>
                  <a:gd name="T100" fmla="*/ 14 w 20"/>
                  <a:gd name="T101" fmla="*/ 0 h 22"/>
                  <a:gd name="T102" fmla="*/ 12 w 20"/>
                  <a:gd name="T103" fmla="*/ 0 h 22"/>
                  <a:gd name="T104" fmla="*/ 12 w 20"/>
                  <a:gd name="T105" fmla="*/ 0 h 22"/>
                  <a:gd name="T106" fmla="*/ 12 w 20"/>
                  <a:gd name="T10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 h="22">
                    <a:moveTo>
                      <a:pt x="12" y="0"/>
                    </a:moveTo>
                    <a:lnTo>
                      <a:pt x="12" y="0"/>
                    </a:lnTo>
                    <a:lnTo>
                      <a:pt x="9" y="0"/>
                    </a:lnTo>
                    <a:lnTo>
                      <a:pt x="9" y="0"/>
                    </a:lnTo>
                    <a:lnTo>
                      <a:pt x="6" y="0"/>
                    </a:lnTo>
                    <a:lnTo>
                      <a:pt x="6" y="0"/>
                    </a:lnTo>
                    <a:lnTo>
                      <a:pt x="3" y="0"/>
                    </a:lnTo>
                    <a:lnTo>
                      <a:pt x="3" y="0"/>
                    </a:lnTo>
                    <a:lnTo>
                      <a:pt x="3" y="10"/>
                    </a:lnTo>
                    <a:lnTo>
                      <a:pt x="3" y="10"/>
                    </a:lnTo>
                    <a:lnTo>
                      <a:pt x="0" y="13"/>
                    </a:lnTo>
                    <a:lnTo>
                      <a:pt x="0" y="13"/>
                    </a:lnTo>
                    <a:lnTo>
                      <a:pt x="0" y="13"/>
                    </a:lnTo>
                    <a:lnTo>
                      <a:pt x="0" y="13"/>
                    </a:lnTo>
                    <a:lnTo>
                      <a:pt x="8" y="14"/>
                    </a:lnTo>
                    <a:lnTo>
                      <a:pt x="8" y="14"/>
                    </a:lnTo>
                    <a:lnTo>
                      <a:pt x="9" y="14"/>
                    </a:lnTo>
                    <a:lnTo>
                      <a:pt x="9" y="14"/>
                    </a:lnTo>
                    <a:lnTo>
                      <a:pt x="11" y="16"/>
                    </a:lnTo>
                    <a:lnTo>
                      <a:pt x="11" y="16"/>
                    </a:lnTo>
                    <a:lnTo>
                      <a:pt x="12" y="21"/>
                    </a:lnTo>
                    <a:lnTo>
                      <a:pt x="12" y="21"/>
                    </a:lnTo>
                    <a:lnTo>
                      <a:pt x="14" y="22"/>
                    </a:lnTo>
                    <a:lnTo>
                      <a:pt x="14" y="22"/>
                    </a:lnTo>
                    <a:lnTo>
                      <a:pt x="14" y="22"/>
                    </a:lnTo>
                    <a:lnTo>
                      <a:pt x="14" y="22"/>
                    </a:lnTo>
                    <a:lnTo>
                      <a:pt x="14" y="22"/>
                    </a:lnTo>
                    <a:lnTo>
                      <a:pt x="14" y="22"/>
                    </a:lnTo>
                    <a:lnTo>
                      <a:pt x="20" y="21"/>
                    </a:lnTo>
                    <a:lnTo>
                      <a:pt x="20" y="21"/>
                    </a:lnTo>
                    <a:lnTo>
                      <a:pt x="20" y="22"/>
                    </a:lnTo>
                    <a:lnTo>
                      <a:pt x="20" y="22"/>
                    </a:lnTo>
                    <a:lnTo>
                      <a:pt x="20" y="18"/>
                    </a:lnTo>
                    <a:lnTo>
                      <a:pt x="20" y="18"/>
                    </a:lnTo>
                    <a:lnTo>
                      <a:pt x="17" y="13"/>
                    </a:lnTo>
                    <a:lnTo>
                      <a:pt x="17" y="13"/>
                    </a:lnTo>
                    <a:lnTo>
                      <a:pt x="14" y="10"/>
                    </a:lnTo>
                    <a:lnTo>
                      <a:pt x="14" y="10"/>
                    </a:lnTo>
                    <a:lnTo>
                      <a:pt x="12" y="10"/>
                    </a:lnTo>
                    <a:lnTo>
                      <a:pt x="12" y="10"/>
                    </a:lnTo>
                    <a:lnTo>
                      <a:pt x="14" y="7"/>
                    </a:lnTo>
                    <a:lnTo>
                      <a:pt x="14" y="7"/>
                    </a:lnTo>
                    <a:lnTo>
                      <a:pt x="14" y="7"/>
                    </a:lnTo>
                    <a:lnTo>
                      <a:pt x="14" y="7"/>
                    </a:lnTo>
                    <a:lnTo>
                      <a:pt x="17" y="7"/>
                    </a:lnTo>
                    <a:lnTo>
                      <a:pt x="17" y="7"/>
                    </a:lnTo>
                    <a:lnTo>
                      <a:pt x="17" y="3"/>
                    </a:lnTo>
                    <a:lnTo>
                      <a:pt x="17" y="3"/>
                    </a:lnTo>
                    <a:lnTo>
                      <a:pt x="15" y="0"/>
                    </a:lnTo>
                    <a:lnTo>
                      <a:pt x="15" y="0"/>
                    </a:lnTo>
                    <a:lnTo>
                      <a:pt x="14" y="0"/>
                    </a:lnTo>
                    <a:lnTo>
                      <a:pt x="12" y="0"/>
                    </a:lnTo>
                    <a:lnTo>
                      <a:pt x="12" y="0"/>
                    </a:lnTo>
                    <a:lnTo>
                      <a:pt x="12" y="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80" name="Freeform 261">
                <a:extLst>
                  <a:ext uri="{FF2B5EF4-FFF2-40B4-BE49-F238E27FC236}">
                    <a16:creationId xmlns:a16="http://schemas.microsoft.com/office/drawing/2014/main" id="{3C6654FA-5DC8-6C20-BB04-24092E5DCE8B}"/>
                  </a:ext>
                </a:extLst>
              </p:cNvPr>
              <p:cNvSpPr>
                <a:spLocks/>
              </p:cNvSpPr>
              <p:nvPr/>
            </p:nvSpPr>
            <p:spPr bwMode="auto">
              <a:xfrm>
                <a:off x="7186793" y="3186201"/>
                <a:ext cx="22431" cy="51592"/>
              </a:xfrm>
              <a:custGeom>
                <a:avLst/>
                <a:gdLst>
                  <a:gd name="T0" fmla="*/ 0 w 10"/>
                  <a:gd name="T1" fmla="*/ 13 h 23"/>
                  <a:gd name="T2" fmla="*/ 0 w 10"/>
                  <a:gd name="T3" fmla="*/ 13 h 23"/>
                  <a:gd name="T4" fmla="*/ 0 w 10"/>
                  <a:gd name="T5" fmla="*/ 10 h 23"/>
                  <a:gd name="T6" fmla="*/ 0 w 10"/>
                  <a:gd name="T7" fmla="*/ 8 h 23"/>
                  <a:gd name="T8" fmla="*/ 2 w 10"/>
                  <a:gd name="T9" fmla="*/ 10 h 23"/>
                  <a:gd name="T10" fmla="*/ 2 w 10"/>
                  <a:gd name="T11" fmla="*/ 10 h 23"/>
                  <a:gd name="T12" fmla="*/ 2 w 10"/>
                  <a:gd name="T13" fmla="*/ 7 h 23"/>
                  <a:gd name="T14" fmla="*/ 2 w 10"/>
                  <a:gd name="T15" fmla="*/ 7 h 23"/>
                  <a:gd name="T16" fmla="*/ 2 w 10"/>
                  <a:gd name="T17" fmla="*/ 8 h 23"/>
                  <a:gd name="T18" fmla="*/ 2 w 10"/>
                  <a:gd name="T19" fmla="*/ 8 h 23"/>
                  <a:gd name="T20" fmla="*/ 3 w 10"/>
                  <a:gd name="T21" fmla="*/ 2 h 23"/>
                  <a:gd name="T22" fmla="*/ 3 w 10"/>
                  <a:gd name="T23" fmla="*/ 0 h 23"/>
                  <a:gd name="T24" fmla="*/ 7 w 10"/>
                  <a:gd name="T25" fmla="*/ 2 h 23"/>
                  <a:gd name="T26" fmla="*/ 7 w 10"/>
                  <a:gd name="T27" fmla="*/ 2 h 23"/>
                  <a:gd name="T28" fmla="*/ 8 w 10"/>
                  <a:gd name="T29" fmla="*/ 4 h 23"/>
                  <a:gd name="T30" fmla="*/ 10 w 10"/>
                  <a:gd name="T31" fmla="*/ 5 h 23"/>
                  <a:gd name="T32" fmla="*/ 10 w 10"/>
                  <a:gd name="T33" fmla="*/ 5 h 23"/>
                  <a:gd name="T34" fmla="*/ 8 w 10"/>
                  <a:gd name="T35" fmla="*/ 8 h 23"/>
                  <a:gd name="T36" fmla="*/ 8 w 10"/>
                  <a:gd name="T37" fmla="*/ 8 h 23"/>
                  <a:gd name="T38" fmla="*/ 8 w 10"/>
                  <a:gd name="T39" fmla="*/ 10 h 23"/>
                  <a:gd name="T40" fmla="*/ 8 w 10"/>
                  <a:gd name="T41" fmla="*/ 10 h 23"/>
                  <a:gd name="T42" fmla="*/ 10 w 10"/>
                  <a:gd name="T43" fmla="*/ 13 h 23"/>
                  <a:gd name="T44" fmla="*/ 10 w 10"/>
                  <a:gd name="T45" fmla="*/ 13 h 23"/>
                  <a:gd name="T46" fmla="*/ 10 w 10"/>
                  <a:gd name="T47" fmla="*/ 16 h 23"/>
                  <a:gd name="T48" fmla="*/ 10 w 10"/>
                  <a:gd name="T49" fmla="*/ 16 h 23"/>
                  <a:gd name="T50" fmla="*/ 8 w 10"/>
                  <a:gd name="T51" fmla="*/ 19 h 23"/>
                  <a:gd name="T52" fmla="*/ 7 w 10"/>
                  <a:gd name="T53" fmla="*/ 23 h 23"/>
                  <a:gd name="T54" fmla="*/ 7 w 10"/>
                  <a:gd name="T55" fmla="*/ 23 h 23"/>
                  <a:gd name="T56" fmla="*/ 3 w 10"/>
                  <a:gd name="T57" fmla="*/ 23 h 23"/>
                  <a:gd name="T58" fmla="*/ 3 w 10"/>
                  <a:gd name="T59" fmla="*/ 23 h 23"/>
                  <a:gd name="T60" fmla="*/ 3 w 10"/>
                  <a:gd name="T61" fmla="*/ 19 h 23"/>
                  <a:gd name="T62" fmla="*/ 3 w 10"/>
                  <a:gd name="T63" fmla="*/ 19 h 23"/>
                  <a:gd name="T64" fmla="*/ 0 w 10"/>
                  <a:gd name="T65" fmla="*/ 13 h 23"/>
                  <a:gd name="T66" fmla="*/ 0 w 10"/>
                  <a:gd name="T67" fmla="*/ 13 h 23"/>
                  <a:gd name="T68" fmla="*/ 0 w 10"/>
                  <a:gd name="T69" fmla="*/ 13 h 23"/>
                  <a:gd name="T70" fmla="*/ 0 w 10"/>
                  <a:gd name="T71" fmla="*/ 13 h 23"/>
                  <a:gd name="T72" fmla="*/ 0 w 10"/>
                  <a:gd name="T73" fmla="*/ 13 h 23"/>
                  <a:gd name="T74" fmla="*/ 0 w 10"/>
                  <a:gd name="T75" fmla="*/ 13 h 23"/>
                  <a:gd name="T76" fmla="*/ 0 w 10"/>
                  <a:gd name="T77" fmla="*/ 13 h 23"/>
                  <a:gd name="T78" fmla="*/ 0 w 10"/>
                  <a:gd name="T79" fmla="*/ 13 h 23"/>
                  <a:gd name="T80" fmla="*/ 0 w 10"/>
                  <a:gd name="T81" fmla="*/ 13 h 23"/>
                  <a:gd name="T82" fmla="*/ 0 w 10"/>
                  <a:gd name="T83"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3">
                    <a:moveTo>
                      <a:pt x="0" y="13"/>
                    </a:moveTo>
                    <a:lnTo>
                      <a:pt x="0" y="13"/>
                    </a:lnTo>
                    <a:lnTo>
                      <a:pt x="0" y="10"/>
                    </a:lnTo>
                    <a:lnTo>
                      <a:pt x="0" y="8"/>
                    </a:lnTo>
                    <a:lnTo>
                      <a:pt x="2" y="10"/>
                    </a:lnTo>
                    <a:lnTo>
                      <a:pt x="2" y="10"/>
                    </a:lnTo>
                    <a:lnTo>
                      <a:pt x="2" y="7"/>
                    </a:lnTo>
                    <a:lnTo>
                      <a:pt x="2" y="7"/>
                    </a:lnTo>
                    <a:lnTo>
                      <a:pt x="2" y="8"/>
                    </a:lnTo>
                    <a:lnTo>
                      <a:pt x="2" y="8"/>
                    </a:lnTo>
                    <a:lnTo>
                      <a:pt x="3" y="2"/>
                    </a:lnTo>
                    <a:lnTo>
                      <a:pt x="3" y="0"/>
                    </a:lnTo>
                    <a:lnTo>
                      <a:pt x="7" y="2"/>
                    </a:lnTo>
                    <a:lnTo>
                      <a:pt x="7" y="2"/>
                    </a:lnTo>
                    <a:lnTo>
                      <a:pt x="8" y="4"/>
                    </a:lnTo>
                    <a:lnTo>
                      <a:pt x="10" y="5"/>
                    </a:lnTo>
                    <a:lnTo>
                      <a:pt x="10" y="5"/>
                    </a:lnTo>
                    <a:lnTo>
                      <a:pt x="8" y="8"/>
                    </a:lnTo>
                    <a:lnTo>
                      <a:pt x="8" y="8"/>
                    </a:lnTo>
                    <a:lnTo>
                      <a:pt x="8" y="10"/>
                    </a:lnTo>
                    <a:lnTo>
                      <a:pt x="8" y="10"/>
                    </a:lnTo>
                    <a:lnTo>
                      <a:pt x="10" y="13"/>
                    </a:lnTo>
                    <a:lnTo>
                      <a:pt x="10" y="13"/>
                    </a:lnTo>
                    <a:lnTo>
                      <a:pt x="10" y="16"/>
                    </a:lnTo>
                    <a:lnTo>
                      <a:pt x="10" y="16"/>
                    </a:lnTo>
                    <a:lnTo>
                      <a:pt x="8" y="19"/>
                    </a:lnTo>
                    <a:lnTo>
                      <a:pt x="7" y="23"/>
                    </a:lnTo>
                    <a:lnTo>
                      <a:pt x="7" y="23"/>
                    </a:lnTo>
                    <a:lnTo>
                      <a:pt x="3" y="23"/>
                    </a:lnTo>
                    <a:lnTo>
                      <a:pt x="3" y="23"/>
                    </a:lnTo>
                    <a:lnTo>
                      <a:pt x="3" y="19"/>
                    </a:lnTo>
                    <a:lnTo>
                      <a:pt x="3" y="19"/>
                    </a:lnTo>
                    <a:lnTo>
                      <a:pt x="0" y="13"/>
                    </a:lnTo>
                    <a:lnTo>
                      <a:pt x="0" y="13"/>
                    </a:lnTo>
                    <a:lnTo>
                      <a:pt x="0" y="13"/>
                    </a:lnTo>
                    <a:lnTo>
                      <a:pt x="0" y="13"/>
                    </a:lnTo>
                    <a:lnTo>
                      <a:pt x="0" y="13"/>
                    </a:lnTo>
                    <a:lnTo>
                      <a:pt x="0" y="13"/>
                    </a:lnTo>
                    <a:lnTo>
                      <a:pt x="0" y="13"/>
                    </a:lnTo>
                    <a:lnTo>
                      <a:pt x="0" y="13"/>
                    </a:lnTo>
                    <a:lnTo>
                      <a:pt x="0" y="13"/>
                    </a:lnTo>
                    <a:lnTo>
                      <a:pt x="0" y="13"/>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81" name="Freeform 72">
                <a:extLst>
                  <a:ext uri="{FF2B5EF4-FFF2-40B4-BE49-F238E27FC236}">
                    <a16:creationId xmlns:a16="http://schemas.microsoft.com/office/drawing/2014/main" id="{056E1FC2-3410-5C9B-0B53-ACFF428344A5}"/>
                  </a:ext>
                </a:extLst>
              </p:cNvPr>
              <p:cNvSpPr>
                <a:spLocks/>
              </p:cNvSpPr>
              <p:nvPr/>
            </p:nvSpPr>
            <p:spPr bwMode="auto">
              <a:xfrm>
                <a:off x="6717992" y="2959650"/>
                <a:ext cx="33646" cy="116639"/>
              </a:xfrm>
              <a:custGeom>
                <a:avLst/>
                <a:gdLst>
                  <a:gd name="T0" fmla="*/ 9 w 15"/>
                  <a:gd name="T1" fmla="*/ 0 h 52"/>
                  <a:gd name="T2" fmla="*/ 8 w 15"/>
                  <a:gd name="T3" fmla="*/ 0 h 52"/>
                  <a:gd name="T4" fmla="*/ 8 w 15"/>
                  <a:gd name="T5" fmla="*/ 1 h 52"/>
                  <a:gd name="T6" fmla="*/ 8 w 15"/>
                  <a:gd name="T7" fmla="*/ 3 h 52"/>
                  <a:gd name="T8" fmla="*/ 6 w 15"/>
                  <a:gd name="T9" fmla="*/ 6 h 52"/>
                  <a:gd name="T10" fmla="*/ 6 w 15"/>
                  <a:gd name="T11" fmla="*/ 8 h 52"/>
                  <a:gd name="T12" fmla="*/ 4 w 15"/>
                  <a:gd name="T13" fmla="*/ 16 h 52"/>
                  <a:gd name="T14" fmla="*/ 1 w 15"/>
                  <a:gd name="T15" fmla="*/ 20 h 52"/>
                  <a:gd name="T16" fmla="*/ 3 w 15"/>
                  <a:gd name="T17" fmla="*/ 22 h 52"/>
                  <a:gd name="T18" fmla="*/ 1 w 15"/>
                  <a:gd name="T19" fmla="*/ 24 h 52"/>
                  <a:gd name="T20" fmla="*/ 0 w 15"/>
                  <a:gd name="T21" fmla="*/ 25 h 52"/>
                  <a:gd name="T22" fmla="*/ 0 w 15"/>
                  <a:gd name="T23" fmla="*/ 28 h 52"/>
                  <a:gd name="T24" fmla="*/ 9 w 15"/>
                  <a:gd name="T25" fmla="*/ 52 h 52"/>
                  <a:gd name="T26" fmla="*/ 9 w 15"/>
                  <a:gd name="T27" fmla="*/ 51 h 52"/>
                  <a:gd name="T28" fmla="*/ 11 w 15"/>
                  <a:gd name="T29" fmla="*/ 52 h 52"/>
                  <a:gd name="T30" fmla="*/ 11 w 15"/>
                  <a:gd name="T31" fmla="*/ 47 h 52"/>
                  <a:gd name="T32" fmla="*/ 12 w 15"/>
                  <a:gd name="T33" fmla="*/ 44 h 52"/>
                  <a:gd name="T34" fmla="*/ 12 w 15"/>
                  <a:gd name="T35" fmla="*/ 43 h 52"/>
                  <a:gd name="T36" fmla="*/ 12 w 15"/>
                  <a:gd name="T37" fmla="*/ 36 h 52"/>
                  <a:gd name="T38" fmla="*/ 14 w 15"/>
                  <a:gd name="T39" fmla="*/ 30 h 52"/>
                  <a:gd name="T40" fmla="*/ 14 w 15"/>
                  <a:gd name="T41" fmla="*/ 30 h 52"/>
                  <a:gd name="T42" fmla="*/ 14 w 15"/>
                  <a:gd name="T43" fmla="*/ 28 h 52"/>
                  <a:gd name="T44" fmla="*/ 14 w 15"/>
                  <a:gd name="T45" fmla="*/ 28 h 52"/>
                  <a:gd name="T46" fmla="*/ 14 w 15"/>
                  <a:gd name="T47" fmla="*/ 25 h 52"/>
                  <a:gd name="T48" fmla="*/ 14 w 15"/>
                  <a:gd name="T49" fmla="*/ 22 h 52"/>
                  <a:gd name="T50" fmla="*/ 14 w 15"/>
                  <a:gd name="T51" fmla="*/ 22 h 52"/>
                  <a:gd name="T52" fmla="*/ 11 w 15"/>
                  <a:gd name="T53" fmla="*/ 24 h 52"/>
                  <a:gd name="T54" fmla="*/ 9 w 15"/>
                  <a:gd name="T55" fmla="*/ 25 h 52"/>
                  <a:gd name="T56" fmla="*/ 8 w 15"/>
                  <a:gd name="T57" fmla="*/ 24 h 52"/>
                  <a:gd name="T58" fmla="*/ 8 w 15"/>
                  <a:gd name="T59" fmla="*/ 22 h 52"/>
                  <a:gd name="T60" fmla="*/ 9 w 15"/>
                  <a:gd name="T61" fmla="*/ 19 h 52"/>
                  <a:gd name="T62" fmla="*/ 11 w 15"/>
                  <a:gd name="T63" fmla="*/ 19 h 52"/>
                  <a:gd name="T64" fmla="*/ 9 w 15"/>
                  <a:gd name="T65" fmla="*/ 19 h 52"/>
                  <a:gd name="T66" fmla="*/ 8 w 15"/>
                  <a:gd name="T67" fmla="*/ 19 h 52"/>
                  <a:gd name="T68" fmla="*/ 8 w 15"/>
                  <a:gd name="T69" fmla="*/ 16 h 52"/>
                  <a:gd name="T70" fmla="*/ 8 w 15"/>
                  <a:gd name="T71" fmla="*/ 12 h 52"/>
                  <a:gd name="T72" fmla="*/ 9 w 15"/>
                  <a:gd name="T73" fmla="*/ 9 h 52"/>
                  <a:gd name="T74" fmla="*/ 11 w 15"/>
                  <a:gd name="T75" fmla="*/ 8 h 52"/>
                  <a:gd name="T76" fmla="*/ 12 w 15"/>
                  <a:gd name="T77" fmla="*/ 9 h 52"/>
                  <a:gd name="T78" fmla="*/ 15 w 15"/>
                  <a:gd name="T79" fmla="*/ 9 h 52"/>
                  <a:gd name="T80" fmla="*/ 15 w 15"/>
                  <a:gd name="T81" fmla="*/ 8 h 52"/>
                  <a:gd name="T82" fmla="*/ 15 w 15"/>
                  <a:gd name="T83" fmla="*/ 3 h 52"/>
                  <a:gd name="T84" fmla="*/ 15 w 15"/>
                  <a:gd name="T85" fmla="*/ 1 h 52"/>
                  <a:gd name="T86" fmla="*/ 9 w 15"/>
                  <a:gd name="T8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 h="52">
                    <a:moveTo>
                      <a:pt x="9" y="0"/>
                    </a:moveTo>
                    <a:lnTo>
                      <a:pt x="9" y="0"/>
                    </a:lnTo>
                    <a:lnTo>
                      <a:pt x="9" y="0"/>
                    </a:lnTo>
                    <a:lnTo>
                      <a:pt x="8" y="0"/>
                    </a:lnTo>
                    <a:lnTo>
                      <a:pt x="8" y="0"/>
                    </a:lnTo>
                    <a:lnTo>
                      <a:pt x="8" y="1"/>
                    </a:lnTo>
                    <a:lnTo>
                      <a:pt x="8" y="1"/>
                    </a:lnTo>
                    <a:lnTo>
                      <a:pt x="8" y="3"/>
                    </a:lnTo>
                    <a:lnTo>
                      <a:pt x="8" y="3"/>
                    </a:lnTo>
                    <a:lnTo>
                      <a:pt x="6" y="6"/>
                    </a:lnTo>
                    <a:lnTo>
                      <a:pt x="6" y="6"/>
                    </a:lnTo>
                    <a:lnTo>
                      <a:pt x="6" y="8"/>
                    </a:lnTo>
                    <a:lnTo>
                      <a:pt x="6" y="8"/>
                    </a:lnTo>
                    <a:lnTo>
                      <a:pt x="4" y="16"/>
                    </a:lnTo>
                    <a:lnTo>
                      <a:pt x="4" y="16"/>
                    </a:lnTo>
                    <a:lnTo>
                      <a:pt x="1" y="20"/>
                    </a:lnTo>
                    <a:lnTo>
                      <a:pt x="1" y="20"/>
                    </a:lnTo>
                    <a:lnTo>
                      <a:pt x="3" y="22"/>
                    </a:lnTo>
                    <a:lnTo>
                      <a:pt x="3" y="22"/>
                    </a:lnTo>
                    <a:lnTo>
                      <a:pt x="1" y="24"/>
                    </a:lnTo>
                    <a:lnTo>
                      <a:pt x="1" y="24"/>
                    </a:lnTo>
                    <a:lnTo>
                      <a:pt x="0" y="25"/>
                    </a:lnTo>
                    <a:lnTo>
                      <a:pt x="0" y="25"/>
                    </a:lnTo>
                    <a:lnTo>
                      <a:pt x="0" y="28"/>
                    </a:lnTo>
                    <a:lnTo>
                      <a:pt x="0" y="28"/>
                    </a:lnTo>
                    <a:lnTo>
                      <a:pt x="9" y="52"/>
                    </a:lnTo>
                    <a:lnTo>
                      <a:pt x="9" y="52"/>
                    </a:lnTo>
                    <a:lnTo>
                      <a:pt x="9" y="51"/>
                    </a:lnTo>
                    <a:lnTo>
                      <a:pt x="9" y="51"/>
                    </a:lnTo>
                    <a:lnTo>
                      <a:pt x="11" y="52"/>
                    </a:lnTo>
                    <a:lnTo>
                      <a:pt x="11" y="52"/>
                    </a:lnTo>
                    <a:lnTo>
                      <a:pt x="11" y="47"/>
                    </a:lnTo>
                    <a:lnTo>
                      <a:pt x="11" y="47"/>
                    </a:lnTo>
                    <a:lnTo>
                      <a:pt x="12" y="44"/>
                    </a:lnTo>
                    <a:lnTo>
                      <a:pt x="12" y="44"/>
                    </a:lnTo>
                    <a:lnTo>
                      <a:pt x="12" y="43"/>
                    </a:lnTo>
                    <a:lnTo>
                      <a:pt x="12" y="43"/>
                    </a:lnTo>
                    <a:lnTo>
                      <a:pt x="12" y="36"/>
                    </a:lnTo>
                    <a:lnTo>
                      <a:pt x="12" y="36"/>
                    </a:lnTo>
                    <a:lnTo>
                      <a:pt x="14" y="30"/>
                    </a:lnTo>
                    <a:lnTo>
                      <a:pt x="14" y="30"/>
                    </a:lnTo>
                    <a:lnTo>
                      <a:pt x="14" y="30"/>
                    </a:lnTo>
                    <a:lnTo>
                      <a:pt x="14" y="28"/>
                    </a:lnTo>
                    <a:lnTo>
                      <a:pt x="14" y="28"/>
                    </a:lnTo>
                    <a:lnTo>
                      <a:pt x="14" y="28"/>
                    </a:lnTo>
                    <a:lnTo>
                      <a:pt x="14" y="28"/>
                    </a:lnTo>
                    <a:lnTo>
                      <a:pt x="14" y="28"/>
                    </a:lnTo>
                    <a:lnTo>
                      <a:pt x="14" y="25"/>
                    </a:lnTo>
                    <a:lnTo>
                      <a:pt x="14" y="25"/>
                    </a:lnTo>
                    <a:lnTo>
                      <a:pt x="14" y="22"/>
                    </a:lnTo>
                    <a:lnTo>
                      <a:pt x="14" y="22"/>
                    </a:lnTo>
                    <a:lnTo>
                      <a:pt x="14" y="22"/>
                    </a:lnTo>
                    <a:lnTo>
                      <a:pt x="14" y="22"/>
                    </a:lnTo>
                    <a:lnTo>
                      <a:pt x="11" y="24"/>
                    </a:lnTo>
                    <a:lnTo>
                      <a:pt x="11" y="24"/>
                    </a:lnTo>
                    <a:lnTo>
                      <a:pt x="9" y="25"/>
                    </a:lnTo>
                    <a:lnTo>
                      <a:pt x="9" y="25"/>
                    </a:lnTo>
                    <a:lnTo>
                      <a:pt x="8" y="24"/>
                    </a:lnTo>
                    <a:lnTo>
                      <a:pt x="8" y="24"/>
                    </a:lnTo>
                    <a:lnTo>
                      <a:pt x="8" y="22"/>
                    </a:lnTo>
                    <a:lnTo>
                      <a:pt x="8" y="22"/>
                    </a:lnTo>
                    <a:lnTo>
                      <a:pt x="9" y="19"/>
                    </a:lnTo>
                    <a:lnTo>
                      <a:pt x="9" y="19"/>
                    </a:lnTo>
                    <a:lnTo>
                      <a:pt x="11" y="19"/>
                    </a:lnTo>
                    <a:lnTo>
                      <a:pt x="11" y="19"/>
                    </a:lnTo>
                    <a:lnTo>
                      <a:pt x="9" y="19"/>
                    </a:lnTo>
                    <a:lnTo>
                      <a:pt x="9" y="19"/>
                    </a:lnTo>
                    <a:lnTo>
                      <a:pt x="8" y="19"/>
                    </a:lnTo>
                    <a:lnTo>
                      <a:pt x="8" y="19"/>
                    </a:lnTo>
                    <a:lnTo>
                      <a:pt x="8" y="16"/>
                    </a:lnTo>
                    <a:lnTo>
                      <a:pt x="8" y="16"/>
                    </a:lnTo>
                    <a:lnTo>
                      <a:pt x="8" y="12"/>
                    </a:lnTo>
                    <a:lnTo>
                      <a:pt x="8" y="12"/>
                    </a:lnTo>
                    <a:lnTo>
                      <a:pt x="9" y="9"/>
                    </a:lnTo>
                    <a:lnTo>
                      <a:pt x="9" y="9"/>
                    </a:lnTo>
                    <a:lnTo>
                      <a:pt x="11" y="8"/>
                    </a:lnTo>
                    <a:lnTo>
                      <a:pt x="11" y="8"/>
                    </a:lnTo>
                    <a:lnTo>
                      <a:pt x="12" y="9"/>
                    </a:lnTo>
                    <a:lnTo>
                      <a:pt x="12" y="9"/>
                    </a:lnTo>
                    <a:lnTo>
                      <a:pt x="15" y="9"/>
                    </a:lnTo>
                    <a:lnTo>
                      <a:pt x="15" y="9"/>
                    </a:lnTo>
                    <a:lnTo>
                      <a:pt x="15" y="8"/>
                    </a:lnTo>
                    <a:lnTo>
                      <a:pt x="15" y="8"/>
                    </a:lnTo>
                    <a:lnTo>
                      <a:pt x="15" y="3"/>
                    </a:lnTo>
                    <a:lnTo>
                      <a:pt x="15" y="3"/>
                    </a:lnTo>
                    <a:lnTo>
                      <a:pt x="15" y="1"/>
                    </a:lnTo>
                    <a:lnTo>
                      <a:pt x="9" y="0"/>
                    </a:lnTo>
                    <a:lnTo>
                      <a:pt x="9" y="0"/>
                    </a:lnTo>
                    <a:lnTo>
                      <a:pt x="9" y="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82" name="Freeform 92">
                <a:extLst>
                  <a:ext uri="{FF2B5EF4-FFF2-40B4-BE49-F238E27FC236}">
                    <a16:creationId xmlns:a16="http://schemas.microsoft.com/office/drawing/2014/main" id="{93AD430B-4127-223E-65BE-0E69FFAEF932}"/>
                  </a:ext>
                </a:extLst>
              </p:cNvPr>
              <p:cNvSpPr>
                <a:spLocks/>
              </p:cNvSpPr>
              <p:nvPr/>
            </p:nvSpPr>
            <p:spPr bwMode="auto">
              <a:xfrm>
                <a:off x="6460039" y="3004512"/>
                <a:ext cx="309544" cy="320759"/>
              </a:xfrm>
              <a:custGeom>
                <a:avLst/>
                <a:gdLst>
                  <a:gd name="T0" fmla="*/ 2 w 138"/>
                  <a:gd name="T1" fmla="*/ 13 h 143"/>
                  <a:gd name="T2" fmla="*/ 0 w 138"/>
                  <a:gd name="T3" fmla="*/ 23 h 143"/>
                  <a:gd name="T4" fmla="*/ 5 w 138"/>
                  <a:gd name="T5" fmla="*/ 43 h 143"/>
                  <a:gd name="T6" fmla="*/ 72 w 138"/>
                  <a:gd name="T7" fmla="*/ 140 h 143"/>
                  <a:gd name="T8" fmla="*/ 84 w 138"/>
                  <a:gd name="T9" fmla="*/ 139 h 143"/>
                  <a:gd name="T10" fmla="*/ 86 w 138"/>
                  <a:gd name="T11" fmla="*/ 140 h 143"/>
                  <a:gd name="T12" fmla="*/ 110 w 138"/>
                  <a:gd name="T13" fmla="*/ 142 h 143"/>
                  <a:gd name="T14" fmla="*/ 118 w 138"/>
                  <a:gd name="T15" fmla="*/ 143 h 143"/>
                  <a:gd name="T16" fmla="*/ 123 w 138"/>
                  <a:gd name="T17" fmla="*/ 137 h 143"/>
                  <a:gd name="T18" fmla="*/ 129 w 138"/>
                  <a:gd name="T19" fmla="*/ 132 h 143"/>
                  <a:gd name="T20" fmla="*/ 132 w 138"/>
                  <a:gd name="T21" fmla="*/ 129 h 143"/>
                  <a:gd name="T22" fmla="*/ 137 w 138"/>
                  <a:gd name="T23" fmla="*/ 124 h 143"/>
                  <a:gd name="T24" fmla="*/ 135 w 138"/>
                  <a:gd name="T25" fmla="*/ 112 h 143"/>
                  <a:gd name="T26" fmla="*/ 135 w 138"/>
                  <a:gd name="T27" fmla="*/ 107 h 143"/>
                  <a:gd name="T28" fmla="*/ 116 w 138"/>
                  <a:gd name="T29" fmla="*/ 75 h 143"/>
                  <a:gd name="T30" fmla="*/ 115 w 138"/>
                  <a:gd name="T31" fmla="*/ 69 h 143"/>
                  <a:gd name="T32" fmla="*/ 108 w 138"/>
                  <a:gd name="T33" fmla="*/ 59 h 143"/>
                  <a:gd name="T34" fmla="*/ 107 w 138"/>
                  <a:gd name="T35" fmla="*/ 54 h 143"/>
                  <a:gd name="T36" fmla="*/ 97 w 138"/>
                  <a:gd name="T37" fmla="*/ 37 h 143"/>
                  <a:gd name="T38" fmla="*/ 94 w 138"/>
                  <a:gd name="T39" fmla="*/ 27 h 143"/>
                  <a:gd name="T40" fmla="*/ 100 w 138"/>
                  <a:gd name="T41" fmla="*/ 35 h 143"/>
                  <a:gd name="T42" fmla="*/ 103 w 138"/>
                  <a:gd name="T43" fmla="*/ 43 h 143"/>
                  <a:gd name="T44" fmla="*/ 108 w 138"/>
                  <a:gd name="T45" fmla="*/ 50 h 143"/>
                  <a:gd name="T46" fmla="*/ 118 w 138"/>
                  <a:gd name="T47" fmla="*/ 54 h 143"/>
                  <a:gd name="T48" fmla="*/ 121 w 138"/>
                  <a:gd name="T49" fmla="*/ 45 h 143"/>
                  <a:gd name="T50" fmla="*/ 124 w 138"/>
                  <a:gd name="T51" fmla="*/ 34 h 143"/>
                  <a:gd name="T52" fmla="*/ 103 w 138"/>
                  <a:gd name="T53" fmla="*/ 10 h 143"/>
                  <a:gd name="T54" fmla="*/ 100 w 138"/>
                  <a:gd name="T55" fmla="*/ 10 h 143"/>
                  <a:gd name="T56" fmla="*/ 94 w 138"/>
                  <a:gd name="T57" fmla="*/ 10 h 143"/>
                  <a:gd name="T58" fmla="*/ 91 w 138"/>
                  <a:gd name="T59" fmla="*/ 10 h 143"/>
                  <a:gd name="T60" fmla="*/ 86 w 138"/>
                  <a:gd name="T61" fmla="*/ 7 h 143"/>
                  <a:gd name="T62" fmla="*/ 84 w 138"/>
                  <a:gd name="T63" fmla="*/ 4 h 143"/>
                  <a:gd name="T64" fmla="*/ 78 w 138"/>
                  <a:gd name="T65" fmla="*/ 4 h 143"/>
                  <a:gd name="T66" fmla="*/ 75 w 138"/>
                  <a:gd name="T67" fmla="*/ 4 h 143"/>
                  <a:gd name="T68" fmla="*/ 69 w 138"/>
                  <a:gd name="T69" fmla="*/ 4 h 143"/>
                  <a:gd name="T70" fmla="*/ 64 w 138"/>
                  <a:gd name="T71" fmla="*/ 7 h 143"/>
                  <a:gd name="T72" fmla="*/ 53 w 138"/>
                  <a:gd name="T73" fmla="*/ 13 h 143"/>
                  <a:gd name="T74" fmla="*/ 38 w 138"/>
                  <a:gd name="T75" fmla="*/ 10 h 143"/>
                  <a:gd name="T76" fmla="*/ 29 w 138"/>
                  <a:gd name="T77" fmla="*/ 4 h 143"/>
                  <a:gd name="T78" fmla="*/ 10 w 138"/>
                  <a:gd name="T79" fmla="*/ 4 h 143"/>
                  <a:gd name="T80" fmla="*/ 3 w 138"/>
                  <a:gd name="T81" fmla="*/ 0 h 143"/>
                  <a:gd name="T82" fmla="*/ 0 w 138"/>
                  <a:gd name="T83" fmla="*/ 7 h 143"/>
                  <a:gd name="T84" fmla="*/ 0 w 138"/>
                  <a:gd name="T85" fmla="*/ 7 h 143"/>
                  <a:gd name="T86" fmla="*/ 0 w 138"/>
                  <a:gd name="T87" fmla="*/ 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 h="143">
                    <a:moveTo>
                      <a:pt x="0" y="7"/>
                    </a:moveTo>
                    <a:lnTo>
                      <a:pt x="2" y="10"/>
                    </a:lnTo>
                    <a:lnTo>
                      <a:pt x="2" y="13"/>
                    </a:lnTo>
                    <a:lnTo>
                      <a:pt x="2" y="16"/>
                    </a:lnTo>
                    <a:lnTo>
                      <a:pt x="0" y="21"/>
                    </a:lnTo>
                    <a:lnTo>
                      <a:pt x="0" y="23"/>
                    </a:lnTo>
                    <a:lnTo>
                      <a:pt x="0" y="24"/>
                    </a:lnTo>
                    <a:lnTo>
                      <a:pt x="2" y="31"/>
                    </a:lnTo>
                    <a:lnTo>
                      <a:pt x="5" y="43"/>
                    </a:lnTo>
                    <a:lnTo>
                      <a:pt x="8" y="140"/>
                    </a:lnTo>
                    <a:lnTo>
                      <a:pt x="38" y="140"/>
                    </a:lnTo>
                    <a:lnTo>
                      <a:pt x="72" y="140"/>
                    </a:lnTo>
                    <a:lnTo>
                      <a:pt x="78" y="140"/>
                    </a:lnTo>
                    <a:lnTo>
                      <a:pt x="83" y="140"/>
                    </a:lnTo>
                    <a:lnTo>
                      <a:pt x="84" y="139"/>
                    </a:lnTo>
                    <a:lnTo>
                      <a:pt x="86" y="137"/>
                    </a:lnTo>
                    <a:lnTo>
                      <a:pt x="88" y="137"/>
                    </a:lnTo>
                    <a:lnTo>
                      <a:pt x="86" y="140"/>
                    </a:lnTo>
                    <a:lnTo>
                      <a:pt x="94" y="140"/>
                    </a:lnTo>
                    <a:lnTo>
                      <a:pt x="105" y="140"/>
                    </a:lnTo>
                    <a:lnTo>
                      <a:pt x="110" y="142"/>
                    </a:lnTo>
                    <a:lnTo>
                      <a:pt x="113" y="143"/>
                    </a:lnTo>
                    <a:lnTo>
                      <a:pt x="116" y="143"/>
                    </a:lnTo>
                    <a:lnTo>
                      <a:pt x="118" y="143"/>
                    </a:lnTo>
                    <a:lnTo>
                      <a:pt x="119" y="142"/>
                    </a:lnTo>
                    <a:lnTo>
                      <a:pt x="121" y="139"/>
                    </a:lnTo>
                    <a:lnTo>
                      <a:pt x="123" y="137"/>
                    </a:lnTo>
                    <a:lnTo>
                      <a:pt x="126" y="135"/>
                    </a:lnTo>
                    <a:lnTo>
                      <a:pt x="126" y="135"/>
                    </a:lnTo>
                    <a:lnTo>
                      <a:pt x="129" y="132"/>
                    </a:lnTo>
                    <a:lnTo>
                      <a:pt x="129" y="129"/>
                    </a:lnTo>
                    <a:lnTo>
                      <a:pt x="132" y="129"/>
                    </a:lnTo>
                    <a:lnTo>
                      <a:pt x="132" y="129"/>
                    </a:lnTo>
                    <a:lnTo>
                      <a:pt x="132" y="129"/>
                    </a:lnTo>
                    <a:lnTo>
                      <a:pt x="135" y="126"/>
                    </a:lnTo>
                    <a:lnTo>
                      <a:pt x="137" y="124"/>
                    </a:lnTo>
                    <a:lnTo>
                      <a:pt x="137" y="123"/>
                    </a:lnTo>
                    <a:lnTo>
                      <a:pt x="135" y="118"/>
                    </a:lnTo>
                    <a:lnTo>
                      <a:pt x="135" y="112"/>
                    </a:lnTo>
                    <a:lnTo>
                      <a:pt x="138" y="113"/>
                    </a:lnTo>
                    <a:lnTo>
                      <a:pt x="137" y="110"/>
                    </a:lnTo>
                    <a:lnTo>
                      <a:pt x="135" y="107"/>
                    </a:lnTo>
                    <a:lnTo>
                      <a:pt x="129" y="100"/>
                    </a:lnTo>
                    <a:lnTo>
                      <a:pt x="119" y="81"/>
                    </a:lnTo>
                    <a:lnTo>
                      <a:pt x="116" y="75"/>
                    </a:lnTo>
                    <a:lnTo>
                      <a:pt x="115" y="72"/>
                    </a:lnTo>
                    <a:lnTo>
                      <a:pt x="115" y="70"/>
                    </a:lnTo>
                    <a:lnTo>
                      <a:pt x="115" y="69"/>
                    </a:lnTo>
                    <a:lnTo>
                      <a:pt x="113" y="65"/>
                    </a:lnTo>
                    <a:lnTo>
                      <a:pt x="110" y="62"/>
                    </a:lnTo>
                    <a:lnTo>
                      <a:pt x="108" y="59"/>
                    </a:lnTo>
                    <a:lnTo>
                      <a:pt x="108" y="58"/>
                    </a:lnTo>
                    <a:lnTo>
                      <a:pt x="108" y="56"/>
                    </a:lnTo>
                    <a:lnTo>
                      <a:pt x="107" y="54"/>
                    </a:lnTo>
                    <a:lnTo>
                      <a:pt x="103" y="51"/>
                    </a:lnTo>
                    <a:lnTo>
                      <a:pt x="97" y="42"/>
                    </a:lnTo>
                    <a:lnTo>
                      <a:pt x="97" y="37"/>
                    </a:lnTo>
                    <a:lnTo>
                      <a:pt x="94" y="31"/>
                    </a:lnTo>
                    <a:lnTo>
                      <a:pt x="94" y="31"/>
                    </a:lnTo>
                    <a:lnTo>
                      <a:pt x="94" y="27"/>
                    </a:lnTo>
                    <a:lnTo>
                      <a:pt x="94" y="24"/>
                    </a:lnTo>
                    <a:lnTo>
                      <a:pt x="97" y="31"/>
                    </a:lnTo>
                    <a:lnTo>
                      <a:pt x="100" y="35"/>
                    </a:lnTo>
                    <a:lnTo>
                      <a:pt x="102" y="38"/>
                    </a:lnTo>
                    <a:lnTo>
                      <a:pt x="103" y="40"/>
                    </a:lnTo>
                    <a:lnTo>
                      <a:pt x="103" y="43"/>
                    </a:lnTo>
                    <a:lnTo>
                      <a:pt x="103" y="45"/>
                    </a:lnTo>
                    <a:lnTo>
                      <a:pt x="105" y="46"/>
                    </a:lnTo>
                    <a:lnTo>
                      <a:pt x="108" y="50"/>
                    </a:lnTo>
                    <a:lnTo>
                      <a:pt x="113" y="54"/>
                    </a:lnTo>
                    <a:lnTo>
                      <a:pt x="118" y="58"/>
                    </a:lnTo>
                    <a:lnTo>
                      <a:pt x="118" y="54"/>
                    </a:lnTo>
                    <a:lnTo>
                      <a:pt x="119" y="51"/>
                    </a:lnTo>
                    <a:lnTo>
                      <a:pt x="119" y="48"/>
                    </a:lnTo>
                    <a:lnTo>
                      <a:pt x="121" y="45"/>
                    </a:lnTo>
                    <a:lnTo>
                      <a:pt x="123" y="38"/>
                    </a:lnTo>
                    <a:lnTo>
                      <a:pt x="123" y="34"/>
                    </a:lnTo>
                    <a:lnTo>
                      <a:pt x="124" y="34"/>
                    </a:lnTo>
                    <a:lnTo>
                      <a:pt x="113" y="7"/>
                    </a:lnTo>
                    <a:lnTo>
                      <a:pt x="108" y="10"/>
                    </a:lnTo>
                    <a:lnTo>
                      <a:pt x="103" y="10"/>
                    </a:lnTo>
                    <a:lnTo>
                      <a:pt x="100" y="10"/>
                    </a:lnTo>
                    <a:lnTo>
                      <a:pt x="100" y="10"/>
                    </a:lnTo>
                    <a:lnTo>
                      <a:pt x="100" y="10"/>
                    </a:lnTo>
                    <a:lnTo>
                      <a:pt x="97" y="10"/>
                    </a:lnTo>
                    <a:lnTo>
                      <a:pt x="94" y="10"/>
                    </a:lnTo>
                    <a:lnTo>
                      <a:pt x="94" y="10"/>
                    </a:lnTo>
                    <a:lnTo>
                      <a:pt x="89" y="7"/>
                    </a:lnTo>
                    <a:lnTo>
                      <a:pt x="91" y="7"/>
                    </a:lnTo>
                    <a:lnTo>
                      <a:pt x="91" y="10"/>
                    </a:lnTo>
                    <a:lnTo>
                      <a:pt x="89" y="10"/>
                    </a:lnTo>
                    <a:lnTo>
                      <a:pt x="88" y="10"/>
                    </a:lnTo>
                    <a:lnTo>
                      <a:pt x="86" y="7"/>
                    </a:lnTo>
                    <a:lnTo>
                      <a:pt x="84" y="7"/>
                    </a:lnTo>
                    <a:lnTo>
                      <a:pt x="84" y="7"/>
                    </a:lnTo>
                    <a:lnTo>
                      <a:pt x="84" y="4"/>
                    </a:lnTo>
                    <a:lnTo>
                      <a:pt x="81" y="4"/>
                    </a:lnTo>
                    <a:lnTo>
                      <a:pt x="80" y="4"/>
                    </a:lnTo>
                    <a:lnTo>
                      <a:pt x="78" y="4"/>
                    </a:lnTo>
                    <a:lnTo>
                      <a:pt x="76" y="0"/>
                    </a:lnTo>
                    <a:lnTo>
                      <a:pt x="73" y="0"/>
                    </a:lnTo>
                    <a:lnTo>
                      <a:pt x="75" y="4"/>
                    </a:lnTo>
                    <a:lnTo>
                      <a:pt x="73" y="4"/>
                    </a:lnTo>
                    <a:lnTo>
                      <a:pt x="70" y="4"/>
                    </a:lnTo>
                    <a:lnTo>
                      <a:pt x="69" y="4"/>
                    </a:lnTo>
                    <a:lnTo>
                      <a:pt x="67" y="7"/>
                    </a:lnTo>
                    <a:lnTo>
                      <a:pt x="65" y="7"/>
                    </a:lnTo>
                    <a:lnTo>
                      <a:pt x="64" y="7"/>
                    </a:lnTo>
                    <a:lnTo>
                      <a:pt x="61" y="10"/>
                    </a:lnTo>
                    <a:lnTo>
                      <a:pt x="56" y="11"/>
                    </a:lnTo>
                    <a:lnTo>
                      <a:pt x="53" y="13"/>
                    </a:lnTo>
                    <a:lnTo>
                      <a:pt x="46" y="10"/>
                    </a:lnTo>
                    <a:lnTo>
                      <a:pt x="43" y="10"/>
                    </a:lnTo>
                    <a:lnTo>
                      <a:pt x="38" y="10"/>
                    </a:lnTo>
                    <a:lnTo>
                      <a:pt x="37" y="7"/>
                    </a:lnTo>
                    <a:lnTo>
                      <a:pt x="32" y="7"/>
                    </a:lnTo>
                    <a:lnTo>
                      <a:pt x="29" y="4"/>
                    </a:lnTo>
                    <a:lnTo>
                      <a:pt x="18" y="4"/>
                    </a:lnTo>
                    <a:lnTo>
                      <a:pt x="15" y="4"/>
                    </a:lnTo>
                    <a:lnTo>
                      <a:pt x="10" y="4"/>
                    </a:lnTo>
                    <a:lnTo>
                      <a:pt x="7" y="4"/>
                    </a:lnTo>
                    <a:lnTo>
                      <a:pt x="5" y="4"/>
                    </a:lnTo>
                    <a:lnTo>
                      <a:pt x="3" y="0"/>
                    </a:lnTo>
                    <a:lnTo>
                      <a:pt x="2" y="4"/>
                    </a:lnTo>
                    <a:lnTo>
                      <a:pt x="0" y="7"/>
                    </a:lnTo>
                    <a:lnTo>
                      <a:pt x="0" y="7"/>
                    </a:lnTo>
                    <a:lnTo>
                      <a:pt x="0" y="7"/>
                    </a:lnTo>
                    <a:lnTo>
                      <a:pt x="0" y="7"/>
                    </a:lnTo>
                    <a:lnTo>
                      <a:pt x="0" y="7"/>
                    </a:lnTo>
                    <a:lnTo>
                      <a:pt x="0" y="7"/>
                    </a:lnTo>
                    <a:lnTo>
                      <a:pt x="0" y="7"/>
                    </a:lnTo>
                    <a:lnTo>
                      <a:pt x="0" y="7"/>
                    </a:lnTo>
                    <a:lnTo>
                      <a:pt x="0" y="7"/>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83" name="Freeform 311">
                <a:extLst>
                  <a:ext uri="{FF2B5EF4-FFF2-40B4-BE49-F238E27FC236}">
                    <a16:creationId xmlns:a16="http://schemas.microsoft.com/office/drawing/2014/main" id="{8E54CCD6-0B84-C845-878E-A7FB25CC7EC6}"/>
                  </a:ext>
                </a:extLst>
              </p:cNvPr>
              <p:cNvSpPr>
                <a:spLocks/>
              </p:cNvSpPr>
              <p:nvPr/>
            </p:nvSpPr>
            <p:spPr bwMode="auto">
              <a:xfrm>
                <a:off x="6827902" y="2625433"/>
                <a:ext cx="192904" cy="80750"/>
              </a:xfrm>
              <a:custGeom>
                <a:avLst/>
                <a:gdLst>
                  <a:gd name="T0" fmla="*/ 55 w 86"/>
                  <a:gd name="T1" fmla="*/ 33 h 36"/>
                  <a:gd name="T2" fmla="*/ 57 w 86"/>
                  <a:gd name="T3" fmla="*/ 33 h 36"/>
                  <a:gd name="T4" fmla="*/ 63 w 86"/>
                  <a:gd name="T5" fmla="*/ 31 h 36"/>
                  <a:gd name="T6" fmla="*/ 66 w 86"/>
                  <a:gd name="T7" fmla="*/ 30 h 36"/>
                  <a:gd name="T8" fmla="*/ 68 w 86"/>
                  <a:gd name="T9" fmla="*/ 30 h 36"/>
                  <a:gd name="T10" fmla="*/ 68 w 86"/>
                  <a:gd name="T11" fmla="*/ 30 h 36"/>
                  <a:gd name="T12" fmla="*/ 74 w 86"/>
                  <a:gd name="T13" fmla="*/ 33 h 36"/>
                  <a:gd name="T14" fmla="*/ 78 w 86"/>
                  <a:gd name="T15" fmla="*/ 33 h 36"/>
                  <a:gd name="T16" fmla="*/ 82 w 86"/>
                  <a:gd name="T17" fmla="*/ 34 h 36"/>
                  <a:gd name="T18" fmla="*/ 82 w 86"/>
                  <a:gd name="T19" fmla="*/ 33 h 36"/>
                  <a:gd name="T20" fmla="*/ 78 w 86"/>
                  <a:gd name="T21" fmla="*/ 28 h 36"/>
                  <a:gd name="T22" fmla="*/ 76 w 86"/>
                  <a:gd name="T23" fmla="*/ 26 h 36"/>
                  <a:gd name="T24" fmla="*/ 78 w 86"/>
                  <a:gd name="T25" fmla="*/ 23 h 36"/>
                  <a:gd name="T26" fmla="*/ 78 w 86"/>
                  <a:gd name="T27" fmla="*/ 22 h 36"/>
                  <a:gd name="T28" fmla="*/ 86 w 86"/>
                  <a:gd name="T29" fmla="*/ 26 h 36"/>
                  <a:gd name="T30" fmla="*/ 84 w 86"/>
                  <a:gd name="T31" fmla="*/ 25 h 36"/>
                  <a:gd name="T32" fmla="*/ 73 w 86"/>
                  <a:gd name="T33" fmla="*/ 22 h 36"/>
                  <a:gd name="T34" fmla="*/ 70 w 86"/>
                  <a:gd name="T35" fmla="*/ 19 h 36"/>
                  <a:gd name="T36" fmla="*/ 70 w 86"/>
                  <a:gd name="T37" fmla="*/ 15 h 36"/>
                  <a:gd name="T38" fmla="*/ 70 w 86"/>
                  <a:gd name="T39" fmla="*/ 15 h 36"/>
                  <a:gd name="T40" fmla="*/ 63 w 86"/>
                  <a:gd name="T41" fmla="*/ 12 h 36"/>
                  <a:gd name="T42" fmla="*/ 60 w 86"/>
                  <a:gd name="T43" fmla="*/ 12 h 36"/>
                  <a:gd name="T44" fmla="*/ 59 w 86"/>
                  <a:gd name="T45" fmla="*/ 12 h 36"/>
                  <a:gd name="T46" fmla="*/ 57 w 86"/>
                  <a:gd name="T47" fmla="*/ 12 h 36"/>
                  <a:gd name="T48" fmla="*/ 52 w 86"/>
                  <a:gd name="T49" fmla="*/ 12 h 36"/>
                  <a:gd name="T50" fmla="*/ 49 w 86"/>
                  <a:gd name="T51" fmla="*/ 12 h 36"/>
                  <a:gd name="T52" fmla="*/ 44 w 86"/>
                  <a:gd name="T53" fmla="*/ 11 h 36"/>
                  <a:gd name="T54" fmla="*/ 41 w 86"/>
                  <a:gd name="T55" fmla="*/ 9 h 36"/>
                  <a:gd name="T56" fmla="*/ 32 w 86"/>
                  <a:gd name="T57" fmla="*/ 6 h 36"/>
                  <a:gd name="T58" fmla="*/ 28 w 86"/>
                  <a:gd name="T59" fmla="*/ 4 h 36"/>
                  <a:gd name="T60" fmla="*/ 16 w 86"/>
                  <a:gd name="T61" fmla="*/ 3 h 36"/>
                  <a:gd name="T62" fmla="*/ 6 w 86"/>
                  <a:gd name="T63" fmla="*/ 0 h 36"/>
                  <a:gd name="T64" fmla="*/ 0 w 86"/>
                  <a:gd name="T65" fmla="*/ 0 h 36"/>
                  <a:gd name="T66" fmla="*/ 0 w 86"/>
                  <a:gd name="T67" fmla="*/ 3 h 36"/>
                  <a:gd name="T68" fmla="*/ 3 w 86"/>
                  <a:gd name="T69" fmla="*/ 4 h 36"/>
                  <a:gd name="T70" fmla="*/ 6 w 86"/>
                  <a:gd name="T71" fmla="*/ 6 h 36"/>
                  <a:gd name="T72" fmla="*/ 14 w 86"/>
                  <a:gd name="T73" fmla="*/ 9 h 36"/>
                  <a:gd name="T74" fmla="*/ 16 w 86"/>
                  <a:gd name="T75" fmla="*/ 11 h 36"/>
                  <a:gd name="T76" fmla="*/ 24 w 86"/>
                  <a:gd name="T77" fmla="*/ 22 h 36"/>
                  <a:gd name="T78" fmla="*/ 24 w 86"/>
                  <a:gd name="T79" fmla="*/ 23 h 36"/>
                  <a:gd name="T80" fmla="*/ 22 w 86"/>
                  <a:gd name="T81" fmla="*/ 28 h 36"/>
                  <a:gd name="T82" fmla="*/ 25 w 86"/>
                  <a:gd name="T83" fmla="*/ 30 h 36"/>
                  <a:gd name="T84" fmla="*/ 27 w 86"/>
                  <a:gd name="T85" fmla="*/ 31 h 36"/>
                  <a:gd name="T86" fmla="*/ 36 w 86"/>
                  <a:gd name="T87" fmla="*/ 36 h 36"/>
                  <a:gd name="T88" fmla="*/ 41 w 86"/>
                  <a:gd name="T89" fmla="*/ 33 h 36"/>
                  <a:gd name="T90" fmla="*/ 43 w 86"/>
                  <a:gd name="T91" fmla="*/ 33 h 36"/>
                  <a:gd name="T92" fmla="*/ 47 w 86"/>
                  <a:gd name="T93" fmla="*/ 34 h 36"/>
                  <a:gd name="T94" fmla="*/ 49 w 86"/>
                  <a:gd name="T95" fmla="*/ 3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 h="36">
                    <a:moveTo>
                      <a:pt x="49" y="34"/>
                    </a:moveTo>
                    <a:lnTo>
                      <a:pt x="49" y="34"/>
                    </a:lnTo>
                    <a:lnTo>
                      <a:pt x="55" y="33"/>
                    </a:lnTo>
                    <a:lnTo>
                      <a:pt x="55" y="33"/>
                    </a:lnTo>
                    <a:lnTo>
                      <a:pt x="57" y="33"/>
                    </a:lnTo>
                    <a:lnTo>
                      <a:pt x="57" y="33"/>
                    </a:lnTo>
                    <a:lnTo>
                      <a:pt x="62" y="33"/>
                    </a:lnTo>
                    <a:lnTo>
                      <a:pt x="62" y="33"/>
                    </a:lnTo>
                    <a:lnTo>
                      <a:pt x="63" y="31"/>
                    </a:lnTo>
                    <a:lnTo>
                      <a:pt x="63" y="31"/>
                    </a:lnTo>
                    <a:lnTo>
                      <a:pt x="66" y="30"/>
                    </a:lnTo>
                    <a:lnTo>
                      <a:pt x="66" y="30"/>
                    </a:lnTo>
                    <a:lnTo>
                      <a:pt x="66" y="30"/>
                    </a:lnTo>
                    <a:lnTo>
                      <a:pt x="66" y="30"/>
                    </a:lnTo>
                    <a:lnTo>
                      <a:pt x="68" y="30"/>
                    </a:lnTo>
                    <a:lnTo>
                      <a:pt x="68" y="30"/>
                    </a:lnTo>
                    <a:lnTo>
                      <a:pt x="68" y="30"/>
                    </a:lnTo>
                    <a:lnTo>
                      <a:pt x="68" y="30"/>
                    </a:lnTo>
                    <a:lnTo>
                      <a:pt x="73" y="31"/>
                    </a:lnTo>
                    <a:lnTo>
                      <a:pt x="73" y="31"/>
                    </a:lnTo>
                    <a:lnTo>
                      <a:pt x="74" y="33"/>
                    </a:lnTo>
                    <a:lnTo>
                      <a:pt x="74" y="33"/>
                    </a:lnTo>
                    <a:lnTo>
                      <a:pt x="78" y="33"/>
                    </a:lnTo>
                    <a:lnTo>
                      <a:pt x="78" y="33"/>
                    </a:lnTo>
                    <a:lnTo>
                      <a:pt x="79" y="34"/>
                    </a:lnTo>
                    <a:lnTo>
                      <a:pt x="79" y="34"/>
                    </a:lnTo>
                    <a:lnTo>
                      <a:pt x="82" y="34"/>
                    </a:lnTo>
                    <a:lnTo>
                      <a:pt x="82" y="34"/>
                    </a:lnTo>
                    <a:lnTo>
                      <a:pt x="82" y="33"/>
                    </a:lnTo>
                    <a:lnTo>
                      <a:pt x="82" y="33"/>
                    </a:lnTo>
                    <a:lnTo>
                      <a:pt x="82" y="31"/>
                    </a:lnTo>
                    <a:lnTo>
                      <a:pt x="82" y="31"/>
                    </a:lnTo>
                    <a:lnTo>
                      <a:pt x="78" y="28"/>
                    </a:lnTo>
                    <a:lnTo>
                      <a:pt x="78" y="28"/>
                    </a:lnTo>
                    <a:lnTo>
                      <a:pt x="76" y="26"/>
                    </a:lnTo>
                    <a:lnTo>
                      <a:pt x="76" y="26"/>
                    </a:lnTo>
                    <a:lnTo>
                      <a:pt x="76" y="25"/>
                    </a:lnTo>
                    <a:lnTo>
                      <a:pt x="76" y="25"/>
                    </a:lnTo>
                    <a:lnTo>
                      <a:pt x="78" y="23"/>
                    </a:lnTo>
                    <a:lnTo>
                      <a:pt x="78" y="23"/>
                    </a:lnTo>
                    <a:lnTo>
                      <a:pt x="78" y="22"/>
                    </a:lnTo>
                    <a:lnTo>
                      <a:pt x="78" y="22"/>
                    </a:lnTo>
                    <a:lnTo>
                      <a:pt x="81" y="23"/>
                    </a:lnTo>
                    <a:lnTo>
                      <a:pt x="81" y="23"/>
                    </a:lnTo>
                    <a:lnTo>
                      <a:pt x="86" y="26"/>
                    </a:lnTo>
                    <a:lnTo>
                      <a:pt x="86" y="26"/>
                    </a:lnTo>
                    <a:lnTo>
                      <a:pt x="84" y="25"/>
                    </a:lnTo>
                    <a:lnTo>
                      <a:pt x="84" y="25"/>
                    </a:lnTo>
                    <a:lnTo>
                      <a:pt x="79" y="22"/>
                    </a:lnTo>
                    <a:lnTo>
                      <a:pt x="79" y="22"/>
                    </a:lnTo>
                    <a:lnTo>
                      <a:pt x="73" y="22"/>
                    </a:lnTo>
                    <a:lnTo>
                      <a:pt x="73" y="22"/>
                    </a:lnTo>
                    <a:lnTo>
                      <a:pt x="70" y="19"/>
                    </a:lnTo>
                    <a:lnTo>
                      <a:pt x="70" y="19"/>
                    </a:lnTo>
                    <a:lnTo>
                      <a:pt x="70" y="19"/>
                    </a:lnTo>
                    <a:lnTo>
                      <a:pt x="70" y="19"/>
                    </a:lnTo>
                    <a:lnTo>
                      <a:pt x="70" y="15"/>
                    </a:lnTo>
                    <a:lnTo>
                      <a:pt x="70" y="15"/>
                    </a:lnTo>
                    <a:lnTo>
                      <a:pt x="70" y="15"/>
                    </a:lnTo>
                    <a:lnTo>
                      <a:pt x="70" y="15"/>
                    </a:lnTo>
                    <a:lnTo>
                      <a:pt x="66" y="12"/>
                    </a:lnTo>
                    <a:lnTo>
                      <a:pt x="66" y="12"/>
                    </a:lnTo>
                    <a:lnTo>
                      <a:pt x="63" y="12"/>
                    </a:lnTo>
                    <a:lnTo>
                      <a:pt x="63" y="12"/>
                    </a:lnTo>
                    <a:lnTo>
                      <a:pt x="60" y="12"/>
                    </a:lnTo>
                    <a:lnTo>
                      <a:pt x="60" y="12"/>
                    </a:lnTo>
                    <a:lnTo>
                      <a:pt x="59" y="12"/>
                    </a:lnTo>
                    <a:lnTo>
                      <a:pt x="59" y="12"/>
                    </a:lnTo>
                    <a:lnTo>
                      <a:pt x="59" y="12"/>
                    </a:lnTo>
                    <a:lnTo>
                      <a:pt x="59" y="12"/>
                    </a:lnTo>
                    <a:lnTo>
                      <a:pt x="57" y="12"/>
                    </a:lnTo>
                    <a:lnTo>
                      <a:pt x="57" y="12"/>
                    </a:lnTo>
                    <a:lnTo>
                      <a:pt x="55" y="12"/>
                    </a:lnTo>
                    <a:lnTo>
                      <a:pt x="55" y="12"/>
                    </a:lnTo>
                    <a:lnTo>
                      <a:pt x="52" y="12"/>
                    </a:lnTo>
                    <a:lnTo>
                      <a:pt x="52" y="12"/>
                    </a:lnTo>
                    <a:lnTo>
                      <a:pt x="49" y="12"/>
                    </a:lnTo>
                    <a:lnTo>
                      <a:pt x="49" y="12"/>
                    </a:lnTo>
                    <a:lnTo>
                      <a:pt x="46" y="12"/>
                    </a:lnTo>
                    <a:lnTo>
                      <a:pt x="46" y="12"/>
                    </a:lnTo>
                    <a:lnTo>
                      <a:pt x="44" y="11"/>
                    </a:lnTo>
                    <a:lnTo>
                      <a:pt x="44" y="11"/>
                    </a:lnTo>
                    <a:lnTo>
                      <a:pt x="41" y="9"/>
                    </a:lnTo>
                    <a:lnTo>
                      <a:pt x="41" y="9"/>
                    </a:lnTo>
                    <a:lnTo>
                      <a:pt x="35" y="6"/>
                    </a:lnTo>
                    <a:lnTo>
                      <a:pt x="35" y="6"/>
                    </a:lnTo>
                    <a:lnTo>
                      <a:pt x="32" y="6"/>
                    </a:lnTo>
                    <a:lnTo>
                      <a:pt x="32" y="6"/>
                    </a:lnTo>
                    <a:lnTo>
                      <a:pt x="28" y="4"/>
                    </a:lnTo>
                    <a:lnTo>
                      <a:pt x="28" y="4"/>
                    </a:lnTo>
                    <a:lnTo>
                      <a:pt x="22" y="4"/>
                    </a:lnTo>
                    <a:lnTo>
                      <a:pt x="22" y="4"/>
                    </a:lnTo>
                    <a:lnTo>
                      <a:pt x="16" y="3"/>
                    </a:lnTo>
                    <a:lnTo>
                      <a:pt x="16" y="3"/>
                    </a:lnTo>
                    <a:lnTo>
                      <a:pt x="6" y="0"/>
                    </a:lnTo>
                    <a:lnTo>
                      <a:pt x="6" y="0"/>
                    </a:lnTo>
                    <a:lnTo>
                      <a:pt x="3" y="0"/>
                    </a:lnTo>
                    <a:lnTo>
                      <a:pt x="3" y="0"/>
                    </a:lnTo>
                    <a:lnTo>
                      <a:pt x="0" y="0"/>
                    </a:lnTo>
                    <a:lnTo>
                      <a:pt x="0" y="0"/>
                    </a:lnTo>
                    <a:lnTo>
                      <a:pt x="0" y="3"/>
                    </a:lnTo>
                    <a:lnTo>
                      <a:pt x="0" y="3"/>
                    </a:lnTo>
                    <a:lnTo>
                      <a:pt x="0" y="3"/>
                    </a:lnTo>
                    <a:lnTo>
                      <a:pt x="0" y="3"/>
                    </a:lnTo>
                    <a:lnTo>
                      <a:pt x="3" y="4"/>
                    </a:lnTo>
                    <a:lnTo>
                      <a:pt x="3" y="4"/>
                    </a:lnTo>
                    <a:lnTo>
                      <a:pt x="6" y="6"/>
                    </a:lnTo>
                    <a:lnTo>
                      <a:pt x="6" y="6"/>
                    </a:lnTo>
                    <a:lnTo>
                      <a:pt x="11" y="7"/>
                    </a:lnTo>
                    <a:lnTo>
                      <a:pt x="11" y="7"/>
                    </a:lnTo>
                    <a:lnTo>
                      <a:pt x="14" y="9"/>
                    </a:lnTo>
                    <a:lnTo>
                      <a:pt x="14" y="9"/>
                    </a:lnTo>
                    <a:lnTo>
                      <a:pt x="16" y="11"/>
                    </a:lnTo>
                    <a:lnTo>
                      <a:pt x="16" y="11"/>
                    </a:lnTo>
                    <a:lnTo>
                      <a:pt x="19" y="12"/>
                    </a:lnTo>
                    <a:lnTo>
                      <a:pt x="19" y="12"/>
                    </a:lnTo>
                    <a:lnTo>
                      <a:pt x="24" y="22"/>
                    </a:lnTo>
                    <a:lnTo>
                      <a:pt x="24" y="22"/>
                    </a:lnTo>
                    <a:lnTo>
                      <a:pt x="24" y="23"/>
                    </a:lnTo>
                    <a:lnTo>
                      <a:pt x="24" y="23"/>
                    </a:lnTo>
                    <a:lnTo>
                      <a:pt x="24" y="26"/>
                    </a:lnTo>
                    <a:lnTo>
                      <a:pt x="24" y="26"/>
                    </a:lnTo>
                    <a:lnTo>
                      <a:pt x="22" y="28"/>
                    </a:lnTo>
                    <a:lnTo>
                      <a:pt x="22" y="28"/>
                    </a:lnTo>
                    <a:lnTo>
                      <a:pt x="25" y="30"/>
                    </a:lnTo>
                    <a:lnTo>
                      <a:pt x="25" y="30"/>
                    </a:lnTo>
                    <a:lnTo>
                      <a:pt x="27" y="30"/>
                    </a:lnTo>
                    <a:lnTo>
                      <a:pt x="27" y="30"/>
                    </a:lnTo>
                    <a:lnTo>
                      <a:pt x="27" y="31"/>
                    </a:lnTo>
                    <a:lnTo>
                      <a:pt x="27" y="31"/>
                    </a:lnTo>
                    <a:lnTo>
                      <a:pt x="36" y="36"/>
                    </a:lnTo>
                    <a:lnTo>
                      <a:pt x="36" y="36"/>
                    </a:lnTo>
                    <a:lnTo>
                      <a:pt x="41" y="31"/>
                    </a:lnTo>
                    <a:lnTo>
                      <a:pt x="41" y="31"/>
                    </a:lnTo>
                    <a:lnTo>
                      <a:pt x="41" y="33"/>
                    </a:lnTo>
                    <a:lnTo>
                      <a:pt x="41" y="33"/>
                    </a:lnTo>
                    <a:lnTo>
                      <a:pt x="43" y="33"/>
                    </a:lnTo>
                    <a:lnTo>
                      <a:pt x="43" y="33"/>
                    </a:lnTo>
                    <a:lnTo>
                      <a:pt x="44" y="33"/>
                    </a:lnTo>
                    <a:lnTo>
                      <a:pt x="44" y="33"/>
                    </a:lnTo>
                    <a:lnTo>
                      <a:pt x="47" y="34"/>
                    </a:lnTo>
                    <a:lnTo>
                      <a:pt x="49" y="34"/>
                    </a:lnTo>
                    <a:lnTo>
                      <a:pt x="49" y="34"/>
                    </a:lnTo>
                    <a:lnTo>
                      <a:pt x="49" y="3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84" name="Freeform 319">
                <a:extLst>
                  <a:ext uri="{FF2B5EF4-FFF2-40B4-BE49-F238E27FC236}">
                    <a16:creationId xmlns:a16="http://schemas.microsoft.com/office/drawing/2014/main" id="{234FB682-210C-F5E3-2696-C2E2F9941A4D}"/>
                  </a:ext>
                </a:extLst>
              </p:cNvPr>
              <p:cNvSpPr>
                <a:spLocks/>
              </p:cNvSpPr>
              <p:nvPr/>
            </p:nvSpPr>
            <p:spPr bwMode="auto">
              <a:xfrm>
                <a:off x="6969215" y="2674781"/>
                <a:ext cx="145800" cy="109911"/>
              </a:xfrm>
              <a:custGeom>
                <a:avLst/>
                <a:gdLst>
                  <a:gd name="T0" fmla="*/ 2 w 65"/>
                  <a:gd name="T1" fmla="*/ 12 h 49"/>
                  <a:gd name="T2" fmla="*/ 8 w 65"/>
                  <a:gd name="T3" fmla="*/ 16 h 49"/>
                  <a:gd name="T4" fmla="*/ 7 w 65"/>
                  <a:gd name="T5" fmla="*/ 19 h 49"/>
                  <a:gd name="T6" fmla="*/ 11 w 65"/>
                  <a:gd name="T7" fmla="*/ 22 h 49"/>
                  <a:gd name="T8" fmla="*/ 15 w 65"/>
                  <a:gd name="T9" fmla="*/ 25 h 49"/>
                  <a:gd name="T10" fmla="*/ 11 w 65"/>
                  <a:gd name="T11" fmla="*/ 28 h 49"/>
                  <a:gd name="T12" fmla="*/ 18 w 65"/>
                  <a:gd name="T13" fmla="*/ 35 h 49"/>
                  <a:gd name="T14" fmla="*/ 21 w 65"/>
                  <a:gd name="T15" fmla="*/ 35 h 49"/>
                  <a:gd name="T16" fmla="*/ 21 w 65"/>
                  <a:gd name="T17" fmla="*/ 36 h 49"/>
                  <a:gd name="T18" fmla="*/ 24 w 65"/>
                  <a:gd name="T19" fmla="*/ 39 h 49"/>
                  <a:gd name="T20" fmla="*/ 24 w 65"/>
                  <a:gd name="T21" fmla="*/ 41 h 49"/>
                  <a:gd name="T22" fmla="*/ 29 w 65"/>
                  <a:gd name="T23" fmla="*/ 39 h 49"/>
                  <a:gd name="T24" fmla="*/ 32 w 65"/>
                  <a:gd name="T25" fmla="*/ 36 h 49"/>
                  <a:gd name="T26" fmla="*/ 37 w 65"/>
                  <a:gd name="T27" fmla="*/ 31 h 49"/>
                  <a:gd name="T28" fmla="*/ 43 w 65"/>
                  <a:gd name="T29" fmla="*/ 36 h 49"/>
                  <a:gd name="T30" fmla="*/ 42 w 65"/>
                  <a:gd name="T31" fmla="*/ 41 h 49"/>
                  <a:gd name="T32" fmla="*/ 42 w 65"/>
                  <a:gd name="T33" fmla="*/ 43 h 49"/>
                  <a:gd name="T34" fmla="*/ 42 w 65"/>
                  <a:gd name="T35" fmla="*/ 46 h 49"/>
                  <a:gd name="T36" fmla="*/ 50 w 65"/>
                  <a:gd name="T37" fmla="*/ 49 h 49"/>
                  <a:gd name="T38" fmla="*/ 51 w 65"/>
                  <a:gd name="T39" fmla="*/ 46 h 49"/>
                  <a:gd name="T40" fmla="*/ 53 w 65"/>
                  <a:gd name="T41" fmla="*/ 41 h 49"/>
                  <a:gd name="T42" fmla="*/ 54 w 65"/>
                  <a:gd name="T43" fmla="*/ 43 h 49"/>
                  <a:gd name="T44" fmla="*/ 56 w 65"/>
                  <a:gd name="T45" fmla="*/ 36 h 49"/>
                  <a:gd name="T46" fmla="*/ 54 w 65"/>
                  <a:gd name="T47" fmla="*/ 31 h 49"/>
                  <a:gd name="T48" fmla="*/ 59 w 65"/>
                  <a:gd name="T49" fmla="*/ 22 h 49"/>
                  <a:gd name="T50" fmla="*/ 65 w 65"/>
                  <a:gd name="T51" fmla="*/ 25 h 49"/>
                  <a:gd name="T52" fmla="*/ 59 w 65"/>
                  <a:gd name="T53" fmla="*/ 20 h 49"/>
                  <a:gd name="T54" fmla="*/ 54 w 65"/>
                  <a:gd name="T55" fmla="*/ 19 h 49"/>
                  <a:gd name="T56" fmla="*/ 53 w 65"/>
                  <a:gd name="T57" fmla="*/ 17 h 49"/>
                  <a:gd name="T58" fmla="*/ 43 w 65"/>
                  <a:gd name="T59" fmla="*/ 4 h 49"/>
                  <a:gd name="T60" fmla="*/ 38 w 65"/>
                  <a:gd name="T61" fmla="*/ 3 h 49"/>
                  <a:gd name="T62" fmla="*/ 35 w 65"/>
                  <a:gd name="T63" fmla="*/ 8 h 49"/>
                  <a:gd name="T64" fmla="*/ 34 w 65"/>
                  <a:gd name="T65" fmla="*/ 9 h 49"/>
                  <a:gd name="T66" fmla="*/ 29 w 65"/>
                  <a:gd name="T67" fmla="*/ 9 h 49"/>
                  <a:gd name="T68" fmla="*/ 27 w 65"/>
                  <a:gd name="T69" fmla="*/ 9 h 49"/>
                  <a:gd name="T70" fmla="*/ 24 w 65"/>
                  <a:gd name="T71" fmla="*/ 4 h 49"/>
                  <a:gd name="T72" fmla="*/ 15 w 65"/>
                  <a:gd name="T73" fmla="*/ 0 h 49"/>
                  <a:gd name="T74" fmla="*/ 15 w 65"/>
                  <a:gd name="T75" fmla="*/ 3 h 49"/>
                  <a:gd name="T76" fmla="*/ 15 w 65"/>
                  <a:gd name="T77" fmla="*/ 6 h 49"/>
                  <a:gd name="T78" fmla="*/ 21 w 65"/>
                  <a:gd name="T79" fmla="*/ 11 h 49"/>
                  <a:gd name="T80" fmla="*/ 18 w 65"/>
                  <a:gd name="T81" fmla="*/ 12 h 49"/>
                  <a:gd name="T82" fmla="*/ 11 w 65"/>
                  <a:gd name="T83" fmla="*/ 11 h 49"/>
                  <a:gd name="T84" fmla="*/ 5 w 65"/>
                  <a:gd name="T85" fmla="*/ 8 h 49"/>
                  <a:gd name="T86" fmla="*/ 5 w 65"/>
                  <a:gd name="T87" fmla="*/ 8 h 49"/>
                  <a:gd name="T88" fmla="*/ 0 w 65"/>
                  <a:gd name="T89" fmla="*/ 9 h 49"/>
                  <a:gd name="T90" fmla="*/ 3 w 65"/>
                  <a:gd name="T91" fmla="*/ 12 h 49"/>
                  <a:gd name="T92" fmla="*/ 3 w 65"/>
                  <a:gd name="T93" fmla="*/ 12 h 49"/>
                  <a:gd name="T94" fmla="*/ 3 w 65"/>
                  <a:gd name="T95" fmla="*/ 12 h 49"/>
                  <a:gd name="T96" fmla="*/ 3 w 65"/>
                  <a:gd name="T97" fmla="*/ 12 h 49"/>
                  <a:gd name="T98" fmla="*/ 3 w 65"/>
                  <a:gd name="T99"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 h="49">
                    <a:moveTo>
                      <a:pt x="3" y="12"/>
                    </a:moveTo>
                    <a:lnTo>
                      <a:pt x="2" y="12"/>
                    </a:lnTo>
                    <a:lnTo>
                      <a:pt x="7" y="14"/>
                    </a:lnTo>
                    <a:lnTo>
                      <a:pt x="8" y="16"/>
                    </a:lnTo>
                    <a:lnTo>
                      <a:pt x="10" y="17"/>
                    </a:lnTo>
                    <a:lnTo>
                      <a:pt x="7" y="19"/>
                    </a:lnTo>
                    <a:lnTo>
                      <a:pt x="8" y="20"/>
                    </a:lnTo>
                    <a:lnTo>
                      <a:pt x="11" y="22"/>
                    </a:lnTo>
                    <a:lnTo>
                      <a:pt x="15" y="25"/>
                    </a:lnTo>
                    <a:lnTo>
                      <a:pt x="15" y="25"/>
                    </a:lnTo>
                    <a:lnTo>
                      <a:pt x="11" y="28"/>
                    </a:lnTo>
                    <a:lnTo>
                      <a:pt x="11" y="28"/>
                    </a:lnTo>
                    <a:lnTo>
                      <a:pt x="15" y="31"/>
                    </a:lnTo>
                    <a:lnTo>
                      <a:pt x="18" y="35"/>
                    </a:lnTo>
                    <a:lnTo>
                      <a:pt x="18" y="35"/>
                    </a:lnTo>
                    <a:lnTo>
                      <a:pt x="21" y="35"/>
                    </a:lnTo>
                    <a:lnTo>
                      <a:pt x="21" y="35"/>
                    </a:lnTo>
                    <a:lnTo>
                      <a:pt x="21" y="36"/>
                    </a:lnTo>
                    <a:lnTo>
                      <a:pt x="24" y="38"/>
                    </a:lnTo>
                    <a:lnTo>
                      <a:pt x="24" y="39"/>
                    </a:lnTo>
                    <a:lnTo>
                      <a:pt x="24" y="39"/>
                    </a:lnTo>
                    <a:lnTo>
                      <a:pt x="24" y="41"/>
                    </a:lnTo>
                    <a:lnTo>
                      <a:pt x="24" y="43"/>
                    </a:lnTo>
                    <a:lnTo>
                      <a:pt x="29" y="39"/>
                    </a:lnTo>
                    <a:lnTo>
                      <a:pt x="30" y="38"/>
                    </a:lnTo>
                    <a:lnTo>
                      <a:pt x="32" y="36"/>
                    </a:lnTo>
                    <a:lnTo>
                      <a:pt x="35" y="35"/>
                    </a:lnTo>
                    <a:lnTo>
                      <a:pt x="37" y="31"/>
                    </a:lnTo>
                    <a:lnTo>
                      <a:pt x="40" y="35"/>
                    </a:lnTo>
                    <a:lnTo>
                      <a:pt x="43" y="36"/>
                    </a:lnTo>
                    <a:lnTo>
                      <a:pt x="42" y="38"/>
                    </a:lnTo>
                    <a:lnTo>
                      <a:pt x="42" y="41"/>
                    </a:lnTo>
                    <a:lnTo>
                      <a:pt x="43" y="43"/>
                    </a:lnTo>
                    <a:lnTo>
                      <a:pt x="42" y="43"/>
                    </a:lnTo>
                    <a:lnTo>
                      <a:pt x="40" y="44"/>
                    </a:lnTo>
                    <a:lnTo>
                      <a:pt x="42" y="46"/>
                    </a:lnTo>
                    <a:lnTo>
                      <a:pt x="45" y="46"/>
                    </a:lnTo>
                    <a:lnTo>
                      <a:pt x="50" y="49"/>
                    </a:lnTo>
                    <a:lnTo>
                      <a:pt x="51" y="49"/>
                    </a:lnTo>
                    <a:lnTo>
                      <a:pt x="51" y="46"/>
                    </a:lnTo>
                    <a:lnTo>
                      <a:pt x="51" y="41"/>
                    </a:lnTo>
                    <a:lnTo>
                      <a:pt x="53" y="41"/>
                    </a:lnTo>
                    <a:lnTo>
                      <a:pt x="53" y="43"/>
                    </a:lnTo>
                    <a:lnTo>
                      <a:pt x="54" y="43"/>
                    </a:lnTo>
                    <a:lnTo>
                      <a:pt x="54" y="39"/>
                    </a:lnTo>
                    <a:lnTo>
                      <a:pt x="56" y="36"/>
                    </a:lnTo>
                    <a:lnTo>
                      <a:pt x="54" y="35"/>
                    </a:lnTo>
                    <a:lnTo>
                      <a:pt x="54" y="31"/>
                    </a:lnTo>
                    <a:lnTo>
                      <a:pt x="56" y="25"/>
                    </a:lnTo>
                    <a:lnTo>
                      <a:pt x="59" y="22"/>
                    </a:lnTo>
                    <a:lnTo>
                      <a:pt x="62" y="22"/>
                    </a:lnTo>
                    <a:lnTo>
                      <a:pt x="65" y="25"/>
                    </a:lnTo>
                    <a:lnTo>
                      <a:pt x="62" y="22"/>
                    </a:lnTo>
                    <a:lnTo>
                      <a:pt x="59" y="20"/>
                    </a:lnTo>
                    <a:lnTo>
                      <a:pt x="56" y="20"/>
                    </a:lnTo>
                    <a:lnTo>
                      <a:pt x="54" y="19"/>
                    </a:lnTo>
                    <a:lnTo>
                      <a:pt x="54" y="17"/>
                    </a:lnTo>
                    <a:lnTo>
                      <a:pt x="53" y="17"/>
                    </a:lnTo>
                    <a:lnTo>
                      <a:pt x="46" y="8"/>
                    </a:lnTo>
                    <a:lnTo>
                      <a:pt x="43" y="4"/>
                    </a:lnTo>
                    <a:lnTo>
                      <a:pt x="40" y="1"/>
                    </a:lnTo>
                    <a:lnTo>
                      <a:pt x="38" y="3"/>
                    </a:lnTo>
                    <a:lnTo>
                      <a:pt x="37" y="4"/>
                    </a:lnTo>
                    <a:lnTo>
                      <a:pt x="35" y="8"/>
                    </a:lnTo>
                    <a:lnTo>
                      <a:pt x="35" y="8"/>
                    </a:lnTo>
                    <a:lnTo>
                      <a:pt x="34" y="9"/>
                    </a:lnTo>
                    <a:lnTo>
                      <a:pt x="34" y="11"/>
                    </a:lnTo>
                    <a:lnTo>
                      <a:pt x="29" y="9"/>
                    </a:lnTo>
                    <a:lnTo>
                      <a:pt x="27" y="9"/>
                    </a:lnTo>
                    <a:lnTo>
                      <a:pt x="27" y="9"/>
                    </a:lnTo>
                    <a:lnTo>
                      <a:pt x="26" y="6"/>
                    </a:lnTo>
                    <a:lnTo>
                      <a:pt x="24" y="4"/>
                    </a:lnTo>
                    <a:lnTo>
                      <a:pt x="18" y="1"/>
                    </a:lnTo>
                    <a:lnTo>
                      <a:pt x="15" y="0"/>
                    </a:lnTo>
                    <a:lnTo>
                      <a:pt x="15" y="1"/>
                    </a:lnTo>
                    <a:lnTo>
                      <a:pt x="15" y="3"/>
                    </a:lnTo>
                    <a:lnTo>
                      <a:pt x="15" y="4"/>
                    </a:lnTo>
                    <a:lnTo>
                      <a:pt x="15" y="6"/>
                    </a:lnTo>
                    <a:lnTo>
                      <a:pt x="21" y="9"/>
                    </a:lnTo>
                    <a:lnTo>
                      <a:pt x="21" y="11"/>
                    </a:lnTo>
                    <a:lnTo>
                      <a:pt x="21" y="12"/>
                    </a:lnTo>
                    <a:lnTo>
                      <a:pt x="18" y="12"/>
                    </a:lnTo>
                    <a:lnTo>
                      <a:pt x="15" y="11"/>
                    </a:lnTo>
                    <a:lnTo>
                      <a:pt x="11" y="11"/>
                    </a:lnTo>
                    <a:lnTo>
                      <a:pt x="10" y="9"/>
                    </a:lnTo>
                    <a:lnTo>
                      <a:pt x="5" y="8"/>
                    </a:lnTo>
                    <a:lnTo>
                      <a:pt x="5" y="8"/>
                    </a:lnTo>
                    <a:lnTo>
                      <a:pt x="5" y="8"/>
                    </a:lnTo>
                    <a:lnTo>
                      <a:pt x="3" y="8"/>
                    </a:lnTo>
                    <a:lnTo>
                      <a:pt x="0" y="9"/>
                    </a:lnTo>
                    <a:lnTo>
                      <a:pt x="3" y="11"/>
                    </a:lnTo>
                    <a:lnTo>
                      <a:pt x="3" y="12"/>
                    </a:lnTo>
                    <a:lnTo>
                      <a:pt x="3" y="12"/>
                    </a:lnTo>
                    <a:lnTo>
                      <a:pt x="3" y="12"/>
                    </a:lnTo>
                    <a:lnTo>
                      <a:pt x="3" y="12"/>
                    </a:lnTo>
                    <a:lnTo>
                      <a:pt x="3" y="12"/>
                    </a:lnTo>
                    <a:lnTo>
                      <a:pt x="3" y="12"/>
                    </a:lnTo>
                    <a:lnTo>
                      <a:pt x="3" y="12"/>
                    </a:lnTo>
                    <a:lnTo>
                      <a:pt x="3" y="12"/>
                    </a:lnTo>
                    <a:lnTo>
                      <a:pt x="3" y="12"/>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85" name="Freeform 321">
                <a:extLst>
                  <a:ext uri="{FF2B5EF4-FFF2-40B4-BE49-F238E27FC236}">
                    <a16:creationId xmlns:a16="http://schemas.microsoft.com/office/drawing/2014/main" id="{B26008C9-B023-90B4-A659-6822A917FBFD}"/>
                  </a:ext>
                </a:extLst>
              </p:cNvPr>
              <p:cNvSpPr>
                <a:spLocks/>
              </p:cNvSpPr>
              <p:nvPr/>
            </p:nvSpPr>
            <p:spPr bwMode="auto">
              <a:xfrm>
                <a:off x="6482469" y="2674781"/>
                <a:ext cx="502448" cy="195148"/>
              </a:xfrm>
              <a:custGeom>
                <a:avLst/>
                <a:gdLst>
                  <a:gd name="T0" fmla="*/ 220 w 224"/>
                  <a:gd name="T1" fmla="*/ 63 h 87"/>
                  <a:gd name="T2" fmla="*/ 216 w 224"/>
                  <a:gd name="T3" fmla="*/ 55 h 87"/>
                  <a:gd name="T4" fmla="*/ 214 w 224"/>
                  <a:gd name="T5" fmla="*/ 46 h 87"/>
                  <a:gd name="T6" fmla="*/ 214 w 224"/>
                  <a:gd name="T7" fmla="*/ 35 h 87"/>
                  <a:gd name="T8" fmla="*/ 216 w 224"/>
                  <a:gd name="T9" fmla="*/ 28 h 87"/>
                  <a:gd name="T10" fmla="*/ 203 w 224"/>
                  <a:gd name="T11" fmla="*/ 25 h 87"/>
                  <a:gd name="T12" fmla="*/ 203 w 224"/>
                  <a:gd name="T13" fmla="*/ 20 h 87"/>
                  <a:gd name="T14" fmla="*/ 198 w 224"/>
                  <a:gd name="T15" fmla="*/ 11 h 87"/>
                  <a:gd name="T16" fmla="*/ 190 w 224"/>
                  <a:gd name="T17" fmla="*/ 14 h 87"/>
                  <a:gd name="T18" fmla="*/ 176 w 224"/>
                  <a:gd name="T19" fmla="*/ 6 h 87"/>
                  <a:gd name="T20" fmla="*/ 152 w 224"/>
                  <a:gd name="T21" fmla="*/ 12 h 87"/>
                  <a:gd name="T22" fmla="*/ 136 w 224"/>
                  <a:gd name="T23" fmla="*/ 16 h 87"/>
                  <a:gd name="T24" fmla="*/ 130 w 224"/>
                  <a:gd name="T25" fmla="*/ 14 h 87"/>
                  <a:gd name="T26" fmla="*/ 119 w 224"/>
                  <a:gd name="T27" fmla="*/ 9 h 87"/>
                  <a:gd name="T28" fmla="*/ 113 w 224"/>
                  <a:gd name="T29" fmla="*/ 3 h 87"/>
                  <a:gd name="T30" fmla="*/ 105 w 224"/>
                  <a:gd name="T31" fmla="*/ 3 h 87"/>
                  <a:gd name="T32" fmla="*/ 98 w 224"/>
                  <a:gd name="T33" fmla="*/ 0 h 87"/>
                  <a:gd name="T34" fmla="*/ 84 w 224"/>
                  <a:gd name="T35" fmla="*/ 0 h 87"/>
                  <a:gd name="T36" fmla="*/ 60 w 224"/>
                  <a:gd name="T37" fmla="*/ 8 h 87"/>
                  <a:gd name="T38" fmla="*/ 51 w 224"/>
                  <a:gd name="T39" fmla="*/ 12 h 87"/>
                  <a:gd name="T40" fmla="*/ 32 w 224"/>
                  <a:gd name="T41" fmla="*/ 12 h 87"/>
                  <a:gd name="T42" fmla="*/ 36 w 224"/>
                  <a:gd name="T43" fmla="*/ 17 h 87"/>
                  <a:gd name="T44" fmla="*/ 28 w 224"/>
                  <a:gd name="T45" fmla="*/ 22 h 87"/>
                  <a:gd name="T46" fmla="*/ 28 w 224"/>
                  <a:gd name="T47" fmla="*/ 22 h 87"/>
                  <a:gd name="T48" fmla="*/ 20 w 224"/>
                  <a:gd name="T49" fmla="*/ 22 h 87"/>
                  <a:gd name="T50" fmla="*/ 11 w 224"/>
                  <a:gd name="T51" fmla="*/ 22 h 87"/>
                  <a:gd name="T52" fmla="*/ 1 w 224"/>
                  <a:gd name="T53" fmla="*/ 25 h 87"/>
                  <a:gd name="T54" fmla="*/ 0 w 224"/>
                  <a:gd name="T55" fmla="*/ 36 h 87"/>
                  <a:gd name="T56" fmla="*/ 5 w 224"/>
                  <a:gd name="T57" fmla="*/ 38 h 87"/>
                  <a:gd name="T58" fmla="*/ 9 w 224"/>
                  <a:gd name="T59" fmla="*/ 44 h 87"/>
                  <a:gd name="T60" fmla="*/ 11 w 224"/>
                  <a:gd name="T61" fmla="*/ 51 h 87"/>
                  <a:gd name="T62" fmla="*/ 6 w 224"/>
                  <a:gd name="T63" fmla="*/ 54 h 87"/>
                  <a:gd name="T64" fmla="*/ 14 w 224"/>
                  <a:gd name="T65" fmla="*/ 57 h 87"/>
                  <a:gd name="T66" fmla="*/ 13 w 224"/>
                  <a:gd name="T67" fmla="*/ 63 h 87"/>
                  <a:gd name="T68" fmla="*/ 17 w 224"/>
                  <a:gd name="T69" fmla="*/ 66 h 87"/>
                  <a:gd name="T70" fmla="*/ 16 w 224"/>
                  <a:gd name="T71" fmla="*/ 71 h 87"/>
                  <a:gd name="T72" fmla="*/ 25 w 224"/>
                  <a:gd name="T73" fmla="*/ 73 h 87"/>
                  <a:gd name="T74" fmla="*/ 17 w 224"/>
                  <a:gd name="T75" fmla="*/ 76 h 87"/>
                  <a:gd name="T76" fmla="*/ 25 w 224"/>
                  <a:gd name="T77" fmla="*/ 76 h 87"/>
                  <a:gd name="T78" fmla="*/ 32 w 224"/>
                  <a:gd name="T79" fmla="*/ 74 h 87"/>
                  <a:gd name="T80" fmla="*/ 36 w 224"/>
                  <a:gd name="T81" fmla="*/ 78 h 87"/>
                  <a:gd name="T82" fmla="*/ 46 w 224"/>
                  <a:gd name="T83" fmla="*/ 84 h 87"/>
                  <a:gd name="T84" fmla="*/ 54 w 224"/>
                  <a:gd name="T85" fmla="*/ 81 h 87"/>
                  <a:gd name="T86" fmla="*/ 57 w 224"/>
                  <a:gd name="T87" fmla="*/ 73 h 87"/>
                  <a:gd name="T88" fmla="*/ 74 w 224"/>
                  <a:gd name="T89" fmla="*/ 81 h 87"/>
                  <a:gd name="T90" fmla="*/ 89 w 224"/>
                  <a:gd name="T91" fmla="*/ 84 h 87"/>
                  <a:gd name="T92" fmla="*/ 95 w 224"/>
                  <a:gd name="T93" fmla="*/ 81 h 87"/>
                  <a:gd name="T94" fmla="*/ 113 w 224"/>
                  <a:gd name="T95" fmla="*/ 78 h 87"/>
                  <a:gd name="T96" fmla="*/ 120 w 224"/>
                  <a:gd name="T97" fmla="*/ 73 h 87"/>
                  <a:gd name="T98" fmla="*/ 119 w 224"/>
                  <a:gd name="T99" fmla="*/ 81 h 87"/>
                  <a:gd name="T100" fmla="*/ 120 w 224"/>
                  <a:gd name="T101" fmla="*/ 87 h 87"/>
                  <a:gd name="T102" fmla="*/ 125 w 224"/>
                  <a:gd name="T103" fmla="*/ 81 h 87"/>
                  <a:gd name="T104" fmla="*/ 127 w 224"/>
                  <a:gd name="T105" fmla="*/ 74 h 87"/>
                  <a:gd name="T106" fmla="*/ 140 w 224"/>
                  <a:gd name="T107" fmla="*/ 74 h 87"/>
                  <a:gd name="T108" fmla="*/ 152 w 224"/>
                  <a:gd name="T109" fmla="*/ 76 h 87"/>
                  <a:gd name="T110" fmla="*/ 173 w 224"/>
                  <a:gd name="T111" fmla="*/ 70 h 87"/>
                  <a:gd name="T112" fmla="*/ 189 w 224"/>
                  <a:gd name="T113" fmla="*/ 70 h 87"/>
                  <a:gd name="T114" fmla="*/ 195 w 224"/>
                  <a:gd name="T115" fmla="*/ 70 h 87"/>
                  <a:gd name="T116" fmla="*/ 198 w 224"/>
                  <a:gd name="T117" fmla="*/ 66 h 87"/>
                  <a:gd name="T118" fmla="*/ 213 w 224"/>
                  <a:gd name="T119" fmla="*/ 68 h 87"/>
                  <a:gd name="T120" fmla="*/ 217 w 224"/>
                  <a:gd name="T121" fmla="*/ 70 h 87"/>
                  <a:gd name="T122" fmla="*/ 224 w 224"/>
                  <a:gd name="T123" fmla="*/ 7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4" h="87">
                    <a:moveTo>
                      <a:pt x="224" y="68"/>
                    </a:moveTo>
                    <a:lnTo>
                      <a:pt x="224" y="68"/>
                    </a:lnTo>
                    <a:lnTo>
                      <a:pt x="224" y="66"/>
                    </a:lnTo>
                    <a:lnTo>
                      <a:pt x="224" y="66"/>
                    </a:lnTo>
                    <a:lnTo>
                      <a:pt x="220" y="65"/>
                    </a:lnTo>
                    <a:lnTo>
                      <a:pt x="220" y="65"/>
                    </a:lnTo>
                    <a:lnTo>
                      <a:pt x="220" y="63"/>
                    </a:lnTo>
                    <a:lnTo>
                      <a:pt x="220" y="63"/>
                    </a:lnTo>
                    <a:lnTo>
                      <a:pt x="217" y="60"/>
                    </a:lnTo>
                    <a:lnTo>
                      <a:pt x="217" y="60"/>
                    </a:lnTo>
                    <a:lnTo>
                      <a:pt x="217" y="60"/>
                    </a:lnTo>
                    <a:lnTo>
                      <a:pt x="217" y="60"/>
                    </a:lnTo>
                    <a:lnTo>
                      <a:pt x="216" y="57"/>
                    </a:lnTo>
                    <a:lnTo>
                      <a:pt x="216" y="57"/>
                    </a:lnTo>
                    <a:lnTo>
                      <a:pt x="216" y="55"/>
                    </a:lnTo>
                    <a:lnTo>
                      <a:pt x="216" y="55"/>
                    </a:lnTo>
                    <a:lnTo>
                      <a:pt x="217" y="52"/>
                    </a:lnTo>
                    <a:lnTo>
                      <a:pt x="217" y="52"/>
                    </a:lnTo>
                    <a:lnTo>
                      <a:pt x="216" y="52"/>
                    </a:lnTo>
                    <a:lnTo>
                      <a:pt x="216" y="52"/>
                    </a:lnTo>
                    <a:lnTo>
                      <a:pt x="216" y="49"/>
                    </a:lnTo>
                    <a:lnTo>
                      <a:pt x="216" y="49"/>
                    </a:lnTo>
                    <a:lnTo>
                      <a:pt x="214" y="46"/>
                    </a:lnTo>
                    <a:lnTo>
                      <a:pt x="214" y="46"/>
                    </a:lnTo>
                    <a:lnTo>
                      <a:pt x="213" y="41"/>
                    </a:lnTo>
                    <a:lnTo>
                      <a:pt x="213" y="41"/>
                    </a:lnTo>
                    <a:lnTo>
                      <a:pt x="209" y="36"/>
                    </a:lnTo>
                    <a:lnTo>
                      <a:pt x="209" y="36"/>
                    </a:lnTo>
                    <a:lnTo>
                      <a:pt x="214" y="36"/>
                    </a:lnTo>
                    <a:lnTo>
                      <a:pt x="214" y="36"/>
                    </a:lnTo>
                    <a:lnTo>
                      <a:pt x="214" y="35"/>
                    </a:lnTo>
                    <a:lnTo>
                      <a:pt x="214" y="35"/>
                    </a:lnTo>
                    <a:lnTo>
                      <a:pt x="216" y="31"/>
                    </a:lnTo>
                    <a:lnTo>
                      <a:pt x="216" y="31"/>
                    </a:lnTo>
                    <a:lnTo>
                      <a:pt x="217" y="33"/>
                    </a:lnTo>
                    <a:lnTo>
                      <a:pt x="217" y="33"/>
                    </a:lnTo>
                    <a:lnTo>
                      <a:pt x="217" y="31"/>
                    </a:lnTo>
                    <a:lnTo>
                      <a:pt x="217" y="31"/>
                    </a:lnTo>
                    <a:lnTo>
                      <a:pt x="216" y="28"/>
                    </a:lnTo>
                    <a:lnTo>
                      <a:pt x="216" y="28"/>
                    </a:lnTo>
                    <a:lnTo>
                      <a:pt x="214" y="28"/>
                    </a:lnTo>
                    <a:lnTo>
                      <a:pt x="214" y="28"/>
                    </a:lnTo>
                    <a:lnTo>
                      <a:pt x="211" y="28"/>
                    </a:lnTo>
                    <a:lnTo>
                      <a:pt x="211" y="28"/>
                    </a:lnTo>
                    <a:lnTo>
                      <a:pt x="208" y="28"/>
                    </a:lnTo>
                    <a:lnTo>
                      <a:pt x="208" y="28"/>
                    </a:lnTo>
                    <a:lnTo>
                      <a:pt x="203" y="25"/>
                    </a:lnTo>
                    <a:lnTo>
                      <a:pt x="203" y="25"/>
                    </a:lnTo>
                    <a:lnTo>
                      <a:pt x="205" y="25"/>
                    </a:lnTo>
                    <a:lnTo>
                      <a:pt x="205" y="25"/>
                    </a:lnTo>
                    <a:lnTo>
                      <a:pt x="203" y="22"/>
                    </a:lnTo>
                    <a:lnTo>
                      <a:pt x="203" y="22"/>
                    </a:lnTo>
                    <a:lnTo>
                      <a:pt x="203" y="22"/>
                    </a:lnTo>
                    <a:lnTo>
                      <a:pt x="203" y="22"/>
                    </a:lnTo>
                    <a:lnTo>
                      <a:pt x="203" y="20"/>
                    </a:lnTo>
                    <a:lnTo>
                      <a:pt x="203" y="20"/>
                    </a:lnTo>
                    <a:lnTo>
                      <a:pt x="203" y="19"/>
                    </a:lnTo>
                    <a:lnTo>
                      <a:pt x="203" y="19"/>
                    </a:lnTo>
                    <a:lnTo>
                      <a:pt x="201" y="17"/>
                    </a:lnTo>
                    <a:lnTo>
                      <a:pt x="201" y="17"/>
                    </a:lnTo>
                    <a:lnTo>
                      <a:pt x="200" y="14"/>
                    </a:lnTo>
                    <a:lnTo>
                      <a:pt x="200" y="14"/>
                    </a:lnTo>
                    <a:lnTo>
                      <a:pt x="198" y="11"/>
                    </a:lnTo>
                    <a:lnTo>
                      <a:pt x="198" y="11"/>
                    </a:lnTo>
                    <a:lnTo>
                      <a:pt x="197" y="11"/>
                    </a:lnTo>
                    <a:lnTo>
                      <a:pt x="197" y="11"/>
                    </a:lnTo>
                    <a:lnTo>
                      <a:pt x="195" y="11"/>
                    </a:lnTo>
                    <a:lnTo>
                      <a:pt x="195" y="11"/>
                    </a:lnTo>
                    <a:lnTo>
                      <a:pt x="195" y="9"/>
                    </a:lnTo>
                    <a:lnTo>
                      <a:pt x="195" y="9"/>
                    </a:lnTo>
                    <a:lnTo>
                      <a:pt x="190" y="14"/>
                    </a:lnTo>
                    <a:lnTo>
                      <a:pt x="190" y="14"/>
                    </a:lnTo>
                    <a:lnTo>
                      <a:pt x="181" y="9"/>
                    </a:lnTo>
                    <a:lnTo>
                      <a:pt x="181" y="9"/>
                    </a:lnTo>
                    <a:lnTo>
                      <a:pt x="181" y="8"/>
                    </a:lnTo>
                    <a:lnTo>
                      <a:pt x="181" y="8"/>
                    </a:lnTo>
                    <a:lnTo>
                      <a:pt x="179" y="8"/>
                    </a:lnTo>
                    <a:lnTo>
                      <a:pt x="179" y="8"/>
                    </a:lnTo>
                    <a:lnTo>
                      <a:pt x="176" y="6"/>
                    </a:lnTo>
                    <a:lnTo>
                      <a:pt x="176" y="6"/>
                    </a:lnTo>
                    <a:lnTo>
                      <a:pt x="165" y="14"/>
                    </a:lnTo>
                    <a:lnTo>
                      <a:pt x="165" y="14"/>
                    </a:lnTo>
                    <a:lnTo>
                      <a:pt x="160" y="16"/>
                    </a:lnTo>
                    <a:lnTo>
                      <a:pt x="160" y="16"/>
                    </a:lnTo>
                    <a:lnTo>
                      <a:pt x="155" y="14"/>
                    </a:lnTo>
                    <a:lnTo>
                      <a:pt x="155" y="14"/>
                    </a:lnTo>
                    <a:lnTo>
                      <a:pt x="152" y="12"/>
                    </a:lnTo>
                    <a:lnTo>
                      <a:pt x="152" y="12"/>
                    </a:lnTo>
                    <a:lnTo>
                      <a:pt x="149" y="12"/>
                    </a:lnTo>
                    <a:lnTo>
                      <a:pt x="149" y="12"/>
                    </a:lnTo>
                    <a:lnTo>
                      <a:pt x="144" y="14"/>
                    </a:lnTo>
                    <a:lnTo>
                      <a:pt x="144" y="14"/>
                    </a:lnTo>
                    <a:lnTo>
                      <a:pt x="141" y="16"/>
                    </a:lnTo>
                    <a:lnTo>
                      <a:pt x="141" y="16"/>
                    </a:lnTo>
                    <a:lnTo>
                      <a:pt x="136" y="16"/>
                    </a:lnTo>
                    <a:lnTo>
                      <a:pt x="136" y="16"/>
                    </a:lnTo>
                    <a:lnTo>
                      <a:pt x="133" y="14"/>
                    </a:lnTo>
                    <a:lnTo>
                      <a:pt x="133" y="14"/>
                    </a:lnTo>
                    <a:lnTo>
                      <a:pt x="133" y="12"/>
                    </a:lnTo>
                    <a:lnTo>
                      <a:pt x="133" y="12"/>
                    </a:lnTo>
                    <a:lnTo>
                      <a:pt x="133" y="12"/>
                    </a:lnTo>
                    <a:lnTo>
                      <a:pt x="133" y="12"/>
                    </a:lnTo>
                    <a:lnTo>
                      <a:pt x="130" y="14"/>
                    </a:lnTo>
                    <a:lnTo>
                      <a:pt x="130" y="14"/>
                    </a:lnTo>
                    <a:lnTo>
                      <a:pt x="127" y="12"/>
                    </a:lnTo>
                    <a:lnTo>
                      <a:pt x="127" y="12"/>
                    </a:lnTo>
                    <a:lnTo>
                      <a:pt x="124" y="9"/>
                    </a:lnTo>
                    <a:lnTo>
                      <a:pt x="124" y="9"/>
                    </a:lnTo>
                    <a:lnTo>
                      <a:pt x="120" y="9"/>
                    </a:lnTo>
                    <a:lnTo>
                      <a:pt x="120" y="9"/>
                    </a:lnTo>
                    <a:lnTo>
                      <a:pt x="119" y="9"/>
                    </a:lnTo>
                    <a:lnTo>
                      <a:pt x="119" y="9"/>
                    </a:lnTo>
                    <a:lnTo>
                      <a:pt x="117" y="11"/>
                    </a:lnTo>
                    <a:lnTo>
                      <a:pt x="117" y="11"/>
                    </a:lnTo>
                    <a:lnTo>
                      <a:pt x="116" y="9"/>
                    </a:lnTo>
                    <a:lnTo>
                      <a:pt x="116" y="9"/>
                    </a:lnTo>
                    <a:lnTo>
                      <a:pt x="114" y="6"/>
                    </a:lnTo>
                    <a:lnTo>
                      <a:pt x="114" y="6"/>
                    </a:lnTo>
                    <a:lnTo>
                      <a:pt x="113" y="3"/>
                    </a:lnTo>
                    <a:lnTo>
                      <a:pt x="113" y="3"/>
                    </a:lnTo>
                    <a:lnTo>
                      <a:pt x="111" y="3"/>
                    </a:lnTo>
                    <a:lnTo>
                      <a:pt x="111" y="3"/>
                    </a:lnTo>
                    <a:lnTo>
                      <a:pt x="109" y="3"/>
                    </a:lnTo>
                    <a:lnTo>
                      <a:pt x="109" y="3"/>
                    </a:lnTo>
                    <a:lnTo>
                      <a:pt x="108" y="4"/>
                    </a:lnTo>
                    <a:lnTo>
                      <a:pt x="108" y="4"/>
                    </a:lnTo>
                    <a:lnTo>
                      <a:pt x="105" y="3"/>
                    </a:lnTo>
                    <a:lnTo>
                      <a:pt x="105" y="3"/>
                    </a:lnTo>
                    <a:lnTo>
                      <a:pt x="101" y="1"/>
                    </a:lnTo>
                    <a:lnTo>
                      <a:pt x="101" y="1"/>
                    </a:lnTo>
                    <a:lnTo>
                      <a:pt x="101" y="0"/>
                    </a:lnTo>
                    <a:lnTo>
                      <a:pt x="101" y="0"/>
                    </a:lnTo>
                    <a:lnTo>
                      <a:pt x="101" y="0"/>
                    </a:lnTo>
                    <a:lnTo>
                      <a:pt x="101" y="0"/>
                    </a:lnTo>
                    <a:lnTo>
                      <a:pt x="98" y="0"/>
                    </a:lnTo>
                    <a:lnTo>
                      <a:pt x="98" y="0"/>
                    </a:lnTo>
                    <a:lnTo>
                      <a:pt x="98" y="0"/>
                    </a:lnTo>
                    <a:lnTo>
                      <a:pt x="98" y="0"/>
                    </a:lnTo>
                    <a:lnTo>
                      <a:pt x="92" y="0"/>
                    </a:lnTo>
                    <a:lnTo>
                      <a:pt x="92" y="0"/>
                    </a:lnTo>
                    <a:lnTo>
                      <a:pt x="90" y="0"/>
                    </a:lnTo>
                    <a:lnTo>
                      <a:pt x="90" y="0"/>
                    </a:lnTo>
                    <a:lnTo>
                      <a:pt x="84" y="0"/>
                    </a:lnTo>
                    <a:lnTo>
                      <a:pt x="84" y="0"/>
                    </a:lnTo>
                    <a:lnTo>
                      <a:pt x="76" y="0"/>
                    </a:lnTo>
                    <a:lnTo>
                      <a:pt x="76" y="0"/>
                    </a:lnTo>
                    <a:lnTo>
                      <a:pt x="70" y="3"/>
                    </a:lnTo>
                    <a:lnTo>
                      <a:pt x="70" y="3"/>
                    </a:lnTo>
                    <a:lnTo>
                      <a:pt x="63" y="6"/>
                    </a:lnTo>
                    <a:lnTo>
                      <a:pt x="63" y="6"/>
                    </a:lnTo>
                    <a:lnTo>
                      <a:pt x="60" y="8"/>
                    </a:lnTo>
                    <a:lnTo>
                      <a:pt x="60" y="8"/>
                    </a:lnTo>
                    <a:lnTo>
                      <a:pt x="59" y="9"/>
                    </a:lnTo>
                    <a:lnTo>
                      <a:pt x="59" y="9"/>
                    </a:lnTo>
                    <a:lnTo>
                      <a:pt x="59" y="12"/>
                    </a:lnTo>
                    <a:lnTo>
                      <a:pt x="59" y="12"/>
                    </a:lnTo>
                    <a:lnTo>
                      <a:pt x="55" y="12"/>
                    </a:lnTo>
                    <a:lnTo>
                      <a:pt x="55" y="12"/>
                    </a:lnTo>
                    <a:lnTo>
                      <a:pt x="51" y="12"/>
                    </a:lnTo>
                    <a:lnTo>
                      <a:pt x="51" y="12"/>
                    </a:lnTo>
                    <a:lnTo>
                      <a:pt x="44" y="12"/>
                    </a:lnTo>
                    <a:lnTo>
                      <a:pt x="44" y="12"/>
                    </a:lnTo>
                    <a:lnTo>
                      <a:pt x="40" y="12"/>
                    </a:lnTo>
                    <a:lnTo>
                      <a:pt x="40" y="12"/>
                    </a:lnTo>
                    <a:lnTo>
                      <a:pt x="35" y="11"/>
                    </a:lnTo>
                    <a:lnTo>
                      <a:pt x="35" y="11"/>
                    </a:lnTo>
                    <a:lnTo>
                      <a:pt x="32" y="12"/>
                    </a:lnTo>
                    <a:lnTo>
                      <a:pt x="32" y="12"/>
                    </a:lnTo>
                    <a:lnTo>
                      <a:pt x="32" y="14"/>
                    </a:lnTo>
                    <a:lnTo>
                      <a:pt x="32" y="14"/>
                    </a:lnTo>
                    <a:lnTo>
                      <a:pt x="32" y="16"/>
                    </a:lnTo>
                    <a:lnTo>
                      <a:pt x="32" y="16"/>
                    </a:lnTo>
                    <a:lnTo>
                      <a:pt x="35" y="17"/>
                    </a:lnTo>
                    <a:lnTo>
                      <a:pt x="35" y="17"/>
                    </a:lnTo>
                    <a:lnTo>
                      <a:pt x="36" y="17"/>
                    </a:lnTo>
                    <a:lnTo>
                      <a:pt x="36" y="17"/>
                    </a:lnTo>
                    <a:lnTo>
                      <a:pt x="41" y="19"/>
                    </a:lnTo>
                    <a:lnTo>
                      <a:pt x="41" y="19"/>
                    </a:lnTo>
                    <a:lnTo>
                      <a:pt x="35" y="19"/>
                    </a:lnTo>
                    <a:lnTo>
                      <a:pt x="35" y="19"/>
                    </a:lnTo>
                    <a:lnTo>
                      <a:pt x="32" y="19"/>
                    </a:lnTo>
                    <a:lnTo>
                      <a:pt x="32" y="19"/>
                    </a:lnTo>
                    <a:lnTo>
                      <a:pt x="28" y="22"/>
                    </a:lnTo>
                    <a:lnTo>
                      <a:pt x="28" y="22"/>
                    </a:lnTo>
                    <a:lnTo>
                      <a:pt x="32" y="22"/>
                    </a:lnTo>
                    <a:lnTo>
                      <a:pt x="32" y="22"/>
                    </a:lnTo>
                    <a:lnTo>
                      <a:pt x="35" y="22"/>
                    </a:lnTo>
                    <a:lnTo>
                      <a:pt x="35" y="22"/>
                    </a:lnTo>
                    <a:lnTo>
                      <a:pt x="32" y="22"/>
                    </a:lnTo>
                    <a:lnTo>
                      <a:pt x="32" y="22"/>
                    </a:lnTo>
                    <a:lnTo>
                      <a:pt x="28" y="22"/>
                    </a:lnTo>
                    <a:lnTo>
                      <a:pt x="28" y="22"/>
                    </a:lnTo>
                    <a:lnTo>
                      <a:pt x="25" y="22"/>
                    </a:lnTo>
                    <a:lnTo>
                      <a:pt x="25" y="22"/>
                    </a:lnTo>
                    <a:lnTo>
                      <a:pt x="22" y="22"/>
                    </a:lnTo>
                    <a:lnTo>
                      <a:pt x="22" y="22"/>
                    </a:lnTo>
                    <a:lnTo>
                      <a:pt x="19" y="22"/>
                    </a:lnTo>
                    <a:lnTo>
                      <a:pt x="19" y="22"/>
                    </a:lnTo>
                    <a:lnTo>
                      <a:pt x="20" y="22"/>
                    </a:lnTo>
                    <a:lnTo>
                      <a:pt x="20" y="22"/>
                    </a:lnTo>
                    <a:lnTo>
                      <a:pt x="16" y="22"/>
                    </a:lnTo>
                    <a:lnTo>
                      <a:pt x="16" y="22"/>
                    </a:lnTo>
                    <a:lnTo>
                      <a:pt x="17" y="22"/>
                    </a:lnTo>
                    <a:lnTo>
                      <a:pt x="17" y="22"/>
                    </a:lnTo>
                    <a:lnTo>
                      <a:pt x="13" y="22"/>
                    </a:lnTo>
                    <a:lnTo>
                      <a:pt x="13" y="22"/>
                    </a:lnTo>
                    <a:lnTo>
                      <a:pt x="11" y="22"/>
                    </a:lnTo>
                    <a:lnTo>
                      <a:pt x="11" y="22"/>
                    </a:lnTo>
                    <a:lnTo>
                      <a:pt x="9" y="22"/>
                    </a:lnTo>
                    <a:lnTo>
                      <a:pt x="9" y="22"/>
                    </a:lnTo>
                    <a:lnTo>
                      <a:pt x="6" y="22"/>
                    </a:lnTo>
                    <a:lnTo>
                      <a:pt x="6" y="22"/>
                    </a:lnTo>
                    <a:lnTo>
                      <a:pt x="5" y="22"/>
                    </a:lnTo>
                    <a:lnTo>
                      <a:pt x="5" y="22"/>
                    </a:lnTo>
                    <a:lnTo>
                      <a:pt x="1" y="25"/>
                    </a:lnTo>
                    <a:lnTo>
                      <a:pt x="1" y="25"/>
                    </a:lnTo>
                    <a:lnTo>
                      <a:pt x="0" y="28"/>
                    </a:lnTo>
                    <a:lnTo>
                      <a:pt x="0" y="28"/>
                    </a:lnTo>
                    <a:lnTo>
                      <a:pt x="0" y="31"/>
                    </a:lnTo>
                    <a:lnTo>
                      <a:pt x="0" y="31"/>
                    </a:lnTo>
                    <a:lnTo>
                      <a:pt x="0" y="35"/>
                    </a:lnTo>
                    <a:lnTo>
                      <a:pt x="0" y="35"/>
                    </a:lnTo>
                    <a:lnTo>
                      <a:pt x="0" y="36"/>
                    </a:lnTo>
                    <a:lnTo>
                      <a:pt x="0" y="36"/>
                    </a:lnTo>
                    <a:lnTo>
                      <a:pt x="3" y="35"/>
                    </a:lnTo>
                    <a:lnTo>
                      <a:pt x="3" y="35"/>
                    </a:lnTo>
                    <a:lnTo>
                      <a:pt x="6" y="35"/>
                    </a:lnTo>
                    <a:lnTo>
                      <a:pt x="6" y="35"/>
                    </a:lnTo>
                    <a:lnTo>
                      <a:pt x="8" y="35"/>
                    </a:lnTo>
                    <a:lnTo>
                      <a:pt x="8" y="35"/>
                    </a:lnTo>
                    <a:lnTo>
                      <a:pt x="5" y="38"/>
                    </a:lnTo>
                    <a:lnTo>
                      <a:pt x="5" y="38"/>
                    </a:lnTo>
                    <a:lnTo>
                      <a:pt x="6" y="39"/>
                    </a:lnTo>
                    <a:lnTo>
                      <a:pt x="6" y="39"/>
                    </a:lnTo>
                    <a:lnTo>
                      <a:pt x="8" y="43"/>
                    </a:lnTo>
                    <a:lnTo>
                      <a:pt x="8" y="43"/>
                    </a:lnTo>
                    <a:lnTo>
                      <a:pt x="8" y="44"/>
                    </a:lnTo>
                    <a:lnTo>
                      <a:pt x="8" y="44"/>
                    </a:lnTo>
                    <a:lnTo>
                      <a:pt x="9" y="44"/>
                    </a:lnTo>
                    <a:lnTo>
                      <a:pt x="9" y="44"/>
                    </a:lnTo>
                    <a:lnTo>
                      <a:pt x="8" y="46"/>
                    </a:lnTo>
                    <a:lnTo>
                      <a:pt x="8" y="46"/>
                    </a:lnTo>
                    <a:lnTo>
                      <a:pt x="6" y="47"/>
                    </a:lnTo>
                    <a:lnTo>
                      <a:pt x="6" y="47"/>
                    </a:lnTo>
                    <a:lnTo>
                      <a:pt x="9" y="49"/>
                    </a:lnTo>
                    <a:lnTo>
                      <a:pt x="9" y="49"/>
                    </a:lnTo>
                    <a:lnTo>
                      <a:pt x="11" y="51"/>
                    </a:lnTo>
                    <a:lnTo>
                      <a:pt x="11" y="51"/>
                    </a:lnTo>
                    <a:lnTo>
                      <a:pt x="11" y="52"/>
                    </a:lnTo>
                    <a:lnTo>
                      <a:pt x="11" y="52"/>
                    </a:lnTo>
                    <a:lnTo>
                      <a:pt x="8" y="52"/>
                    </a:lnTo>
                    <a:lnTo>
                      <a:pt x="8" y="52"/>
                    </a:lnTo>
                    <a:lnTo>
                      <a:pt x="6" y="52"/>
                    </a:lnTo>
                    <a:lnTo>
                      <a:pt x="6" y="52"/>
                    </a:lnTo>
                    <a:lnTo>
                      <a:pt x="6" y="54"/>
                    </a:lnTo>
                    <a:lnTo>
                      <a:pt x="6" y="54"/>
                    </a:lnTo>
                    <a:lnTo>
                      <a:pt x="8" y="55"/>
                    </a:lnTo>
                    <a:lnTo>
                      <a:pt x="8" y="55"/>
                    </a:lnTo>
                    <a:lnTo>
                      <a:pt x="8" y="57"/>
                    </a:lnTo>
                    <a:lnTo>
                      <a:pt x="8" y="57"/>
                    </a:lnTo>
                    <a:lnTo>
                      <a:pt x="11" y="57"/>
                    </a:lnTo>
                    <a:lnTo>
                      <a:pt x="11" y="57"/>
                    </a:lnTo>
                    <a:lnTo>
                      <a:pt x="14" y="57"/>
                    </a:lnTo>
                    <a:lnTo>
                      <a:pt x="14" y="57"/>
                    </a:lnTo>
                    <a:lnTo>
                      <a:pt x="14" y="60"/>
                    </a:lnTo>
                    <a:lnTo>
                      <a:pt x="14" y="60"/>
                    </a:lnTo>
                    <a:lnTo>
                      <a:pt x="14" y="60"/>
                    </a:lnTo>
                    <a:lnTo>
                      <a:pt x="14" y="60"/>
                    </a:lnTo>
                    <a:lnTo>
                      <a:pt x="11" y="63"/>
                    </a:lnTo>
                    <a:lnTo>
                      <a:pt x="11" y="63"/>
                    </a:lnTo>
                    <a:lnTo>
                      <a:pt x="13" y="63"/>
                    </a:lnTo>
                    <a:lnTo>
                      <a:pt x="13" y="63"/>
                    </a:lnTo>
                    <a:lnTo>
                      <a:pt x="14" y="65"/>
                    </a:lnTo>
                    <a:lnTo>
                      <a:pt x="14" y="65"/>
                    </a:lnTo>
                    <a:lnTo>
                      <a:pt x="14" y="66"/>
                    </a:lnTo>
                    <a:lnTo>
                      <a:pt x="14" y="66"/>
                    </a:lnTo>
                    <a:lnTo>
                      <a:pt x="16" y="65"/>
                    </a:lnTo>
                    <a:lnTo>
                      <a:pt x="16" y="65"/>
                    </a:lnTo>
                    <a:lnTo>
                      <a:pt x="17" y="66"/>
                    </a:lnTo>
                    <a:lnTo>
                      <a:pt x="17" y="66"/>
                    </a:lnTo>
                    <a:lnTo>
                      <a:pt x="17" y="70"/>
                    </a:lnTo>
                    <a:lnTo>
                      <a:pt x="17" y="70"/>
                    </a:lnTo>
                    <a:lnTo>
                      <a:pt x="16" y="70"/>
                    </a:lnTo>
                    <a:lnTo>
                      <a:pt x="16" y="70"/>
                    </a:lnTo>
                    <a:lnTo>
                      <a:pt x="14" y="70"/>
                    </a:lnTo>
                    <a:lnTo>
                      <a:pt x="14" y="70"/>
                    </a:lnTo>
                    <a:lnTo>
                      <a:pt x="16" y="71"/>
                    </a:lnTo>
                    <a:lnTo>
                      <a:pt x="16" y="71"/>
                    </a:lnTo>
                    <a:lnTo>
                      <a:pt x="17" y="71"/>
                    </a:lnTo>
                    <a:lnTo>
                      <a:pt x="17" y="71"/>
                    </a:lnTo>
                    <a:lnTo>
                      <a:pt x="20" y="70"/>
                    </a:lnTo>
                    <a:lnTo>
                      <a:pt x="20" y="70"/>
                    </a:lnTo>
                    <a:lnTo>
                      <a:pt x="25" y="71"/>
                    </a:lnTo>
                    <a:lnTo>
                      <a:pt x="25" y="71"/>
                    </a:lnTo>
                    <a:lnTo>
                      <a:pt x="25" y="73"/>
                    </a:lnTo>
                    <a:lnTo>
                      <a:pt x="25" y="73"/>
                    </a:lnTo>
                    <a:lnTo>
                      <a:pt x="24" y="74"/>
                    </a:lnTo>
                    <a:lnTo>
                      <a:pt x="24" y="74"/>
                    </a:lnTo>
                    <a:lnTo>
                      <a:pt x="22" y="74"/>
                    </a:lnTo>
                    <a:lnTo>
                      <a:pt x="22" y="74"/>
                    </a:lnTo>
                    <a:lnTo>
                      <a:pt x="19" y="74"/>
                    </a:lnTo>
                    <a:lnTo>
                      <a:pt x="19" y="74"/>
                    </a:lnTo>
                    <a:lnTo>
                      <a:pt x="17" y="76"/>
                    </a:lnTo>
                    <a:lnTo>
                      <a:pt x="17" y="76"/>
                    </a:lnTo>
                    <a:lnTo>
                      <a:pt x="20" y="76"/>
                    </a:lnTo>
                    <a:lnTo>
                      <a:pt x="20" y="76"/>
                    </a:lnTo>
                    <a:lnTo>
                      <a:pt x="25" y="74"/>
                    </a:lnTo>
                    <a:lnTo>
                      <a:pt x="25" y="74"/>
                    </a:lnTo>
                    <a:lnTo>
                      <a:pt x="24" y="76"/>
                    </a:lnTo>
                    <a:lnTo>
                      <a:pt x="24" y="76"/>
                    </a:lnTo>
                    <a:lnTo>
                      <a:pt x="25" y="76"/>
                    </a:lnTo>
                    <a:lnTo>
                      <a:pt x="25" y="76"/>
                    </a:lnTo>
                    <a:lnTo>
                      <a:pt x="25" y="78"/>
                    </a:lnTo>
                    <a:lnTo>
                      <a:pt x="25" y="78"/>
                    </a:lnTo>
                    <a:lnTo>
                      <a:pt x="25" y="76"/>
                    </a:lnTo>
                    <a:lnTo>
                      <a:pt x="25" y="76"/>
                    </a:lnTo>
                    <a:lnTo>
                      <a:pt x="28" y="73"/>
                    </a:lnTo>
                    <a:lnTo>
                      <a:pt x="28" y="73"/>
                    </a:lnTo>
                    <a:lnTo>
                      <a:pt x="32" y="74"/>
                    </a:lnTo>
                    <a:lnTo>
                      <a:pt x="32" y="74"/>
                    </a:lnTo>
                    <a:lnTo>
                      <a:pt x="35" y="76"/>
                    </a:lnTo>
                    <a:lnTo>
                      <a:pt x="35" y="76"/>
                    </a:lnTo>
                    <a:lnTo>
                      <a:pt x="35" y="76"/>
                    </a:lnTo>
                    <a:lnTo>
                      <a:pt x="35" y="76"/>
                    </a:lnTo>
                    <a:lnTo>
                      <a:pt x="36" y="76"/>
                    </a:lnTo>
                    <a:lnTo>
                      <a:pt x="36" y="76"/>
                    </a:lnTo>
                    <a:lnTo>
                      <a:pt x="36" y="78"/>
                    </a:lnTo>
                    <a:lnTo>
                      <a:pt x="36" y="78"/>
                    </a:lnTo>
                    <a:lnTo>
                      <a:pt x="38" y="79"/>
                    </a:lnTo>
                    <a:lnTo>
                      <a:pt x="38" y="79"/>
                    </a:lnTo>
                    <a:lnTo>
                      <a:pt x="40" y="81"/>
                    </a:lnTo>
                    <a:lnTo>
                      <a:pt x="40" y="81"/>
                    </a:lnTo>
                    <a:lnTo>
                      <a:pt x="43" y="84"/>
                    </a:lnTo>
                    <a:lnTo>
                      <a:pt x="43" y="84"/>
                    </a:lnTo>
                    <a:lnTo>
                      <a:pt x="46" y="84"/>
                    </a:lnTo>
                    <a:lnTo>
                      <a:pt x="46" y="84"/>
                    </a:lnTo>
                    <a:lnTo>
                      <a:pt x="49" y="81"/>
                    </a:lnTo>
                    <a:lnTo>
                      <a:pt x="49" y="81"/>
                    </a:lnTo>
                    <a:lnTo>
                      <a:pt x="51" y="81"/>
                    </a:lnTo>
                    <a:lnTo>
                      <a:pt x="51" y="81"/>
                    </a:lnTo>
                    <a:lnTo>
                      <a:pt x="52" y="81"/>
                    </a:lnTo>
                    <a:lnTo>
                      <a:pt x="52" y="81"/>
                    </a:lnTo>
                    <a:lnTo>
                      <a:pt x="54" y="81"/>
                    </a:lnTo>
                    <a:lnTo>
                      <a:pt x="54" y="81"/>
                    </a:lnTo>
                    <a:lnTo>
                      <a:pt x="55" y="79"/>
                    </a:lnTo>
                    <a:lnTo>
                      <a:pt x="55" y="79"/>
                    </a:lnTo>
                    <a:lnTo>
                      <a:pt x="55" y="76"/>
                    </a:lnTo>
                    <a:lnTo>
                      <a:pt x="55" y="76"/>
                    </a:lnTo>
                    <a:lnTo>
                      <a:pt x="55" y="74"/>
                    </a:lnTo>
                    <a:lnTo>
                      <a:pt x="55" y="74"/>
                    </a:lnTo>
                    <a:lnTo>
                      <a:pt x="57" y="73"/>
                    </a:lnTo>
                    <a:lnTo>
                      <a:pt x="57" y="73"/>
                    </a:lnTo>
                    <a:lnTo>
                      <a:pt x="60" y="73"/>
                    </a:lnTo>
                    <a:lnTo>
                      <a:pt x="60" y="73"/>
                    </a:lnTo>
                    <a:lnTo>
                      <a:pt x="66" y="76"/>
                    </a:lnTo>
                    <a:lnTo>
                      <a:pt x="66" y="76"/>
                    </a:lnTo>
                    <a:lnTo>
                      <a:pt x="71" y="78"/>
                    </a:lnTo>
                    <a:lnTo>
                      <a:pt x="71" y="78"/>
                    </a:lnTo>
                    <a:lnTo>
                      <a:pt x="74" y="81"/>
                    </a:lnTo>
                    <a:lnTo>
                      <a:pt x="74" y="81"/>
                    </a:lnTo>
                    <a:lnTo>
                      <a:pt x="79" y="84"/>
                    </a:lnTo>
                    <a:lnTo>
                      <a:pt x="79" y="84"/>
                    </a:lnTo>
                    <a:lnTo>
                      <a:pt x="82" y="84"/>
                    </a:lnTo>
                    <a:lnTo>
                      <a:pt x="82" y="84"/>
                    </a:lnTo>
                    <a:lnTo>
                      <a:pt x="86" y="84"/>
                    </a:lnTo>
                    <a:lnTo>
                      <a:pt x="86" y="84"/>
                    </a:lnTo>
                    <a:lnTo>
                      <a:pt x="89" y="84"/>
                    </a:lnTo>
                    <a:lnTo>
                      <a:pt x="89" y="84"/>
                    </a:lnTo>
                    <a:lnTo>
                      <a:pt x="92" y="84"/>
                    </a:lnTo>
                    <a:lnTo>
                      <a:pt x="92" y="84"/>
                    </a:lnTo>
                    <a:lnTo>
                      <a:pt x="92" y="84"/>
                    </a:lnTo>
                    <a:lnTo>
                      <a:pt x="92" y="84"/>
                    </a:lnTo>
                    <a:lnTo>
                      <a:pt x="95" y="81"/>
                    </a:lnTo>
                    <a:lnTo>
                      <a:pt x="95" y="81"/>
                    </a:lnTo>
                    <a:lnTo>
                      <a:pt x="95" y="81"/>
                    </a:lnTo>
                    <a:lnTo>
                      <a:pt x="95" y="81"/>
                    </a:lnTo>
                    <a:lnTo>
                      <a:pt x="98" y="76"/>
                    </a:lnTo>
                    <a:lnTo>
                      <a:pt x="98" y="76"/>
                    </a:lnTo>
                    <a:lnTo>
                      <a:pt x="101" y="74"/>
                    </a:lnTo>
                    <a:lnTo>
                      <a:pt x="101" y="74"/>
                    </a:lnTo>
                    <a:lnTo>
                      <a:pt x="105" y="74"/>
                    </a:lnTo>
                    <a:lnTo>
                      <a:pt x="105" y="74"/>
                    </a:lnTo>
                    <a:lnTo>
                      <a:pt x="113" y="78"/>
                    </a:lnTo>
                    <a:lnTo>
                      <a:pt x="113" y="78"/>
                    </a:lnTo>
                    <a:lnTo>
                      <a:pt x="114" y="76"/>
                    </a:lnTo>
                    <a:lnTo>
                      <a:pt x="114" y="76"/>
                    </a:lnTo>
                    <a:lnTo>
                      <a:pt x="116" y="74"/>
                    </a:lnTo>
                    <a:lnTo>
                      <a:pt x="116" y="74"/>
                    </a:lnTo>
                    <a:lnTo>
                      <a:pt x="119" y="73"/>
                    </a:lnTo>
                    <a:lnTo>
                      <a:pt x="119" y="73"/>
                    </a:lnTo>
                    <a:lnTo>
                      <a:pt x="120" y="73"/>
                    </a:lnTo>
                    <a:lnTo>
                      <a:pt x="120" y="73"/>
                    </a:lnTo>
                    <a:lnTo>
                      <a:pt x="122" y="74"/>
                    </a:lnTo>
                    <a:lnTo>
                      <a:pt x="122" y="74"/>
                    </a:lnTo>
                    <a:lnTo>
                      <a:pt x="122" y="76"/>
                    </a:lnTo>
                    <a:lnTo>
                      <a:pt x="122" y="76"/>
                    </a:lnTo>
                    <a:lnTo>
                      <a:pt x="120" y="79"/>
                    </a:lnTo>
                    <a:lnTo>
                      <a:pt x="120" y="79"/>
                    </a:lnTo>
                    <a:lnTo>
                      <a:pt x="119" y="81"/>
                    </a:lnTo>
                    <a:lnTo>
                      <a:pt x="119" y="81"/>
                    </a:lnTo>
                    <a:lnTo>
                      <a:pt x="117" y="81"/>
                    </a:lnTo>
                    <a:lnTo>
                      <a:pt x="117" y="81"/>
                    </a:lnTo>
                    <a:lnTo>
                      <a:pt x="119" y="81"/>
                    </a:lnTo>
                    <a:lnTo>
                      <a:pt x="119" y="81"/>
                    </a:lnTo>
                    <a:lnTo>
                      <a:pt x="120" y="84"/>
                    </a:lnTo>
                    <a:lnTo>
                      <a:pt x="120" y="84"/>
                    </a:lnTo>
                    <a:lnTo>
                      <a:pt x="120" y="87"/>
                    </a:lnTo>
                    <a:lnTo>
                      <a:pt x="120" y="87"/>
                    </a:lnTo>
                    <a:lnTo>
                      <a:pt x="122" y="87"/>
                    </a:lnTo>
                    <a:lnTo>
                      <a:pt x="122" y="87"/>
                    </a:lnTo>
                    <a:lnTo>
                      <a:pt x="124" y="85"/>
                    </a:lnTo>
                    <a:lnTo>
                      <a:pt x="124" y="85"/>
                    </a:lnTo>
                    <a:lnTo>
                      <a:pt x="124" y="85"/>
                    </a:lnTo>
                    <a:lnTo>
                      <a:pt x="125" y="84"/>
                    </a:lnTo>
                    <a:lnTo>
                      <a:pt x="125" y="84"/>
                    </a:lnTo>
                    <a:lnTo>
                      <a:pt x="125" y="81"/>
                    </a:lnTo>
                    <a:lnTo>
                      <a:pt x="125" y="81"/>
                    </a:lnTo>
                    <a:lnTo>
                      <a:pt x="127" y="81"/>
                    </a:lnTo>
                    <a:lnTo>
                      <a:pt x="127" y="81"/>
                    </a:lnTo>
                    <a:lnTo>
                      <a:pt x="127" y="78"/>
                    </a:lnTo>
                    <a:lnTo>
                      <a:pt x="127" y="78"/>
                    </a:lnTo>
                    <a:lnTo>
                      <a:pt x="127" y="76"/>
                    </a:lnTo>
                    <a:lnTo>
                      <a:pt x="127" y="76"/>
                    </a:lnTo>
                    <a:lnTo>
                      <a:pt x="127" y="74"/>
                    </a:lnTo>
                    <a:lnTo>
                      <a:pt x="127" y="74"/>
                    </a:lnTo>
                    <a:lnTo>
                      <a:pt x="130" y="74"/>
                    </a:lnTo>
                    <a:lnTo>
                      <a:pt x="130" y="74"/>
                    </a:lnTo>
                    <a:lnTo>
                      <a:pt x="133" y="76"/>
                    </a:lnTo>
                    <a:lnTo>
                      <a:pt x="133" y="76"/>
                    </a:lnTo>
                    <a:lnTo>
                      <a:pt x="133" y="76"/>
                    </a:lnTo>
                    <a:lnTo>
                      <a:pt x="133" y="76"/>
                    </a:lnTo>
                    <a:lnTo>
                      <a:pt x="140" y="74"/>
                    </a:lnTo>
                    <a:lnTo>
                      <a:pt x="140" y="74"/>
                    </a:lnTo>
                    <a:lnTo>
                      <a:pt x="144" y="73"/>
                    </a:lnTo>
                    <a:lnTo>
                      <a:pt x="144" y="73"/>
                    </a:lnTo>
                    <a:lnTo>
                      <a:pt x="147" y="73"/>
                    </a:lnTo>
                    <a:lnTo>
                      <a:pt x="147" y="73"/>
                    </a:lnTo>
                    <a:lnTo>
                      <a:pt x="151" y="74"/>
                    </a:lnTo>
                    <a:lnTo>
                      <a:pt x="151" y="74"/>
                    </a:lnTo>
                    <a:lnTo>
                      <a:pt x="152" y="76"/>
                    </a:lnTo>
                    <a:lnTo>
                      <a:pt x="152" y="76"/>
                    </a:lnTo>
                    <a:lnTo>
                      <a:pt x="157" y="76"/>
                    </a:lnTo>
                    <a:lnTo>
                      <a:pt x="157" y="76"/>
                    </a:lnTo>
                    <a:lnTo>
                      <a:pt x="160" y="76"/>
                    </a:lnTo>
                    <a:lnTo>
                      <a:pt x="160" y="76"/>
                    </a:lnTo>
                    <a:lnTo>
                      <a:pt x="168" y="73"/>
                    </a:lnTo>
                    <a:lnTo>
                      <a:pt x="168" y="73"/>
                    </a:lnTo>
                    <a:lnTo>
                      <a:pt x="173" y="70"/>
                    </a:lnTo>
                    <a:lnTo>
                      <a:pt x="173" y="70"/>
                    </a:lnTo>
                    <a:lnTo>
                      <a:pt x="176" y="70"/>
                    </a:lnTo>
                    <a:lnTo>
                      <a:pt x="176" y="70"/>
                    </a:lnTo>
                    <a:lnTo>
                      <a:pt x="181" y="70"/>
                    </a:lnTo>
                    <a:lnTo>
                      <a:pt x="181" y="70"/>
                    </a:lnTo>
                    <a:lnTo>
                      <a:pt x="182" y="70"/>
                    </a:lnTo>
                    <a:lnTo>
                      <a:pt x="182" y="70"/>
                    </a:lnTo>
                    <a:lnTo>
                      <a:pt x="189" y="70"/>
                    </a:lnTo>
                    <a:lnTo>
                      <a:pt x="189" y="70"/>
                    </a:lnTo>
                    <a:lnTo>
                      <a:pt x="192" y="66"/>
                    </a:lnTo>
                    <a:lnTo>
                      <a:pt x="192" y="66"/>
                    </a:lnTo>
                    <a:lnTo>
                      <a:pt x="195" y="66"/>
                    </a:lnTo>
                    <a:lnTo>
                      <a:pt x="195" y="66"/>
                    </a:lnTo>
                    <a:lnTo>
                      <a:pt x="195" y="68"/>
                    </a:lnTo>
                    <a:lnTo>
                      <a:pt x="195" y="68"/>
                    </a:lnTo>
                    <a:lnTo>
                      <a:pt x="195" y="70"/>
                    </a:lnTo>
                    <a:lnTo>
                      <a:pt x="195" y="70"/>
                    </a:lnTo>
                    <a:lnTo>
                      <a:pt x="195" y="70"/>
                    </a:lnTo>
                    <a:lnTo>
                      <a:pt x="195" y="70"/>
                    </a:lnTo>
                    <a:lnTo>
                      <a:pt x="195" y="70"/>
                    </a:lnTo>
                    <a:lnTo>
                      <a:pt x="197" y="68"/>
                    </a:lnTo>
                    <a:lnTo>
                      <a:pt x="197" y="68"/>
                    </a:lnTo>
                    <a:lnTo>
                      <a:pt x="198" y="66"/>
                    </a:lnTo>
                    <a:lnTo>
                      <a:pt x="198" y="66"/>
                    </a:lnTo>
                    <a:lnTo>
                      <a:pt x="201" y="65"/>
                    </a:lnTo>
                    <a:lnTo>
                      <a:pt x="201" y="65"/>
                    </a:lnTo>
                    <a:lnTo>
                      <a:pt x="206" y="66"/>
                    </a:lnTo>
                    <a:lnTo>
                      <a:pt x="206" y="66"/>
                    </a:lnTo>
                    <a:lnTo>
                      <a:pt x="209" y="68"/>
                    </a:lnTo>
                    <a:lnTo>
                      <a:pt x="209" y="68"/>
                    </a:lnTo>
                    <a:lnTo>
                      <a:pt x="213" y="68"/>
                    </a:lnTo>
                    <a:lnTo>
                      <a:pt x="213" y="68"/>
                    </a:lnTo>
                    <a:lnTo>
                      <a:pt x="214" y="66"/>
                    </a:lnTo>
                    <a:lnTo>
                      <a:pt x="214" y="66"/>
                    </a:lnTo>
                    <a:lnTo>
                      <a:pt x="216" y="66"/>
                    </a:lnTo>
                    <a:lnTo>
                      <a:pt x="216" y="66"/>
                    </a:lnTo>
                    <a:lnTo>
                      <a:pt x="217" y="68"/>
                    </a:lnTo>
                    <a:lnTo>
                      <a:pt x="217" y="68"/>
                    </a:lnTo>
                    <a:lnTo>
                      <a:pt x="217" y="70"/>
                    </a:lnTo>
                    <a:lnTo>
                      <a:pt x="217" y="70"/>
                    </a:lnTo>
                    <a:lnTo>
                      <a:pt x="217" y="71"/>
                    </a:lnTo>
                    <a:lnTo>
                      <a:pt x="217" y="71"/>
                    </a:lnTo>
                    <a:lnTo>
                      <a:pt x="220" y="70"/>
                    </a:lnTo>
                    <a:lnTo>
                      <a:pt x="220" y="70"/>
                    </a:lnTo>
                    <a:lnTo>
                      <a:pt x="220" y="68"/>
                    </a:lnTo>
                    <a:lnTo>
                      <a:pt x="220" y="68"/>
                    </a:lnTo>
                    <a:lnTo>
                      <a:pt x="224" y="70"/>
                    </a:lnTo>
                    <a:lnTo>
                      <a:pt x="224" y="70"/>
                    </a:lnTo>
                    <a:lnTo>
                      <a:pt x="224" y="71"/>
                    </a:lnTo>
                    <a:lnTo>
                      <a:pt x="224" y="68"/>
                    </a:lnTo>
                    <a:lnTo>
                      <a:pt x="224" y="68"/>
                    </a:lnTo>
                    <a:lnTo>
                      <a:pt x="224" y="6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86" name="Freeform 323">
                <a:extLst>
                  <a:ext uri="{FF2B5EF4-FFF2-40B4-BE49-F238E27FC236}">
                    <a16:creationId xmlns:a16="http://schemas.microsoft.com/office/drawing/2014/main" id="{4622980A-966E-E786-AA63-0A1690A48DFD}"/>
                  </a:ext>
                </a:extLst>
              </p:cNvPr>
              <p:cNvSpPr>
                <a:spLocks/>
              </p:cNvSpPr>
              <p:nvPr/>
            </p:nvSpPr>
            <p:spPr bwMode="auto">
              <a:xfrm>
                <a:off x="6931083" y="2694968"/>
                <a:ext cx="91967" cy="78508"/>
              </a:xfrm>
              <a:custGeom>
                <a:avLst/>
                <a:gdLst>
                  <a:gd name="T0" fmla="*/ 22 w 41"/>
                  <a:gd name="T1" fmla="*/ 27 h 35"/>
                  <a:gd name="T2" fmla="*/ 25 w 41"/>
                  <a:gd name="T3" fmla="*/ 30 h 35"/>
                  <a:gd name="T4" fmla="*/ 27 w 41"/>
                  <a:gd name="T5" fmla="*/ 32 h 35"/>
                  <a:gd name="T6" fmla="*/ 28 w 41"/>
                  <a:gd name="T7" fmla="*/ 34 h 35"/>
                  <a:gd name="T8" fmla="*/ 32 w 41"/>
                  <a:gd name="T9" fmla="*/ 35 h 35"/>
                  <a:gd name="T10" fmla="*/ 36 w 41"/>
                  <a:gd name="T11" fmla="*/ 35 h 35"/>
                  <a:gd name="T12" fmla="*/ 38 w 41"/>
                  <a:gd name="T13" fmla="*/ 35 h 35"/>
                  <a:gd name="T14" fmla="*/ 40 w 41"/>
                  <a:gd name="T15" fmla="*/ 35 h 35"/>
                  <a:gd name="T16" fmla="*/ 41 w 41"/>
                  <a:gd name="T17" fmla="*/ 34 h 35"/>
                  <a:gd name="T18" fmla="*/ 40 w 41"/>
                  <a:gd name="T19" fmla="*/ 32 h 35"/>
                  <a:gd name="T20" fmla="*/ 40 w 41"/>
                  <a:gd name="T21" fmla="*/ 30 h 35"/>
                  <a:gd name="T22" fmla="*/ 41 w 41"/>
                  <a:gd name="T23" fmla="*/ 30 h 35"/>
                  <a:gd name="T24" fmla="*/ 38 w 41"/>
                  <a:gd name="T25" fmla="*/ 27 h 35"/>
                  <a:gd name="T26" fmla="*/ 38 w 41"/>
                  <a:gd name="T27" fmla="*/ 26 h 35"/>
                  <a:gd name="T28" fmla="*/ 36 w 41"/>
                  <a:gd name="T29" fmla="*/ 26 h 35"/>
                  <a:gd name="T30" fmla="*/ 33 w 41"/>
                  <a:gd name="T31" fmla="*/ 26 h 35"/>
                  <a:gd name="T32" fmla="*/ 32 w 41"/>
                  <a:gd name="T33" fmla="*/ 22 h 35"/>
                  <a:gd name="T34" fmla="*/ 28 w 41"/>
                  <a:gd name="T35" fmla="*/ 19 h 35"/>
                  <a:gd name="T36" fmla="*/ 28 w 41"/>
                  <a:gd name="T37" fmla="*/ 19 h 35"/>
                  <a:gd name="T38" fmla="*/ 32 w 41"/>
                  <a:gd name="T39" fmla="*/ 16 h 35"/>
                  <a:gd name="T40" fmla="*/ 32 w 41"/>
                  <a:gd name="T41" fmla="*/ 16 h 35"/>
                  <a:gd name="T42" fmla="*/ 28 w 41"/>
                  <a:gd name="T43" fmla="*/ 13 h 35"/>
                  <a:gd name="T44" fmla="*/ 25 w 41"/>
                  <a:gd name="T45" fmla="*/ 11 h 35"/>
                  <a:gd name="T46" fmla="*/ 24 w 41"/>
                  <a:gd name="T47" fmla="*/ 8 h 35"/>
                  <a:gd name="T48" fmla="*/ 27 w 41"/>
                  <a:gd name="T49" fmla="*/ 7 h 35"/>
                  <a:gd name="T50" fmla="*/ 24 w 41"/>
                  <a:gd name="T51" fmla="*/ 3 h 35"/>
                  <a:gd name="T52" fmla="*/ 19 w 41"/>
                  <a:gd name="T53" fmla="*/ 2 h 35"/>
                  <a:gd name="T54" fmla="*/ 20 w 41"/>
                  <a:gd name="T55" fmla="*/ 2 h 35"/>
                  <a:gd name="T56" fmla="*/ 20 w 41"/>
                  <a:gd name="T57" fmla="*/ 0 h 35"/>
                  <a:gd name="T58" fmla="*/ 17 w 41"/>
                  <a:gd name="T59" fmla="*/ 0 h 35"/>
                  <a:gd name="T60" fmla="*/ 16 w 41"/>
                  <a:gd name="T61" fmla="*/ 0 h 35"/>
                  <a:gd name="T62" fmla="*/ 9 w 41"/>
                  <a:gd name="T63" fmla="*/ 0 h 35"/>
                  <a:gd name="T64" fmla="*/ 3 w 41"/>
                  <a:gd name="T65" fmla="*/ 2 h 35"/>
                  <a:gd name="T66" fmla="*/ 3 w 41"/>
                  <a:gd name="T67" fmla="*/ 2 h 35"/>
                  <a:gd name="T68" fmla="*/ 0 w 41"/>
                  <a:gd name="T69" fmla="*/ 0 h 35"/>
                  <a:gd name="T70" fmla="*/ 0 w 41"/>
                  <a:gd name="T71" fmla="*/ 3 h 35"/>
                  <a:gd name="T72" fmla="*/ 3 w 41"/>
                  <a:gd name="T73" fmla="*/ 7 h 35"/>
                  <a:gd name="T74" fmla="*/ 3 w 41"/>
                  <a:gd name="T75" fmla="*/ 8 h 35"/>
                  <a:gd name="T76" fmla="*/ 3 w 41"/>
                  <a:gd name="T77" fmla="*/ 11 h 35"/>
                  <a:gd name="T78" fmla="*/ 3 w 41"/>
                  <a:gd name="T79" fmla="*/ 13 h 35"/>
                  <a:gd name="T80" fmla="*/ 3 w 41"/>
                  <a:gd name="T81" fmla="*/ 13 h 35"/>
                  <a:gd name="T82" fmla="*/ 6 w 41"/>
                  <a:gd name="T83" fmla="*/ 16 h 35"/>
                  <a:gd name="T84" fmla="*/ 3 w 41"/>
                  <a:gd name="T85" fmla="*/ 16 h 35"/>
                  <a:gd name="T86" fmla="*/ 8 w 41"/>
                  <a:gd name="T87" fmla="*/ 19 h 35"/>
                  <a:gd name="T88" fmla="*/ 11 w 41"/>
                  <a:gd name="T89" fmla="*/ 19 h 35"/>
                  <a:gd name="T90" fmla="*/ 14 w 41"/>
                  <a:gd name="T91" fmla="*/ 19 h 35"/>
                  <a:gd name="T92" fmla="*/ 16 w 41"/>
                  <a:gd name="T93" fmla="*/ 19 h 35"/>
                  <a:gd name="T94" fmla="*/ 17 w 41"/>
                  <a:gd name="T95" fmla="*/ 22 h 35"/>
                  <a:gd name="T96" fmla="*/ 17 w 41"/>
                  <a:gd name="T97" fmla="*/ 24 h 35"/>
                  <a:gd name="T98" fmla="*/ 19 w 41"/>
                  <a:gd name="T99" fmla="*/ 26 h 35"/>
                  <a:gd name="T100" fmla="*/ 22 w 41"/>
                  <a:gd name="T101" fmla="*/ 27 h 35"/>
                  <a:gd name="T102" fmla="*/ 22 w 41"/>
                  <a:gd name="T103" fmla="*/ 27 h 35"/>
                  <a:gd name="T104" fmla="*/ 22 w 41"/>
                  <a:gd name="T105" fmla="*/ 27 h 35"/>
                  <a:gd name="T106" fmla="*/ 22 w 41"/>
                  <a:gd name="T107" fmla="*/ 27 h 35"/>
                  <a:gd name="T108" fmla="*/ 22 w 41"/>
                  <a:gd name="T109" fmla="*/ 27 h 35"/>
                  <a:gd name="T110" fmla="*/ 22 w 41"/>
                  <a:gd name="T111" fmla="*/ 27 h 35"/>
                  <a:gd name="T112" fmla="*/ 22 w 41"/>
                  <a:gd name="T113" fmla="*/ 27 h 35"/>
                  <a:gd name="T114" fmla="*/ 22 w 41"/>
                  <a:gd name="T115" fmla="*/ 27 h 35"/>
                  <a:gd name="T116" fmla="*/ 22 w 41"/>
                  <a:gd name="T117"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 h="35">
                    <a:moveTo>
                      <a:pt x="22" y="27"/>
                    </a:moveTo>
                    <a:lnTo>
                      <a:pt x="25" y="30"/>
                    </a:lnTo>
                    <a:lnTo>
                      <a:pt x="27" y="32"/>
                    </a:lnTo>
                    <a:lnTo>
                      <a:pt x="28" y="34"/>
                    </a:lnTo>
                    <a:lnTo>
                      <a:pt x="32" y="35"/>
                    </a:lnTo>
                    <a:lnTo>
                      <a:pt x="36" y="35"/>
                    </a:lnTo>
                    <a:lnTo>
                      <a:pt x="38" y="35"/>
                    </a:lnTo>
                    <a:lnTo>
                      <a:pt x="40" y="35"/>
                    </a:lnTo>
                    <a:lnTo>
                      <a:pt x="41" y="34"/>
                    </a:lnTo>
                    <a:lnTo>
                      <a:pt x="40" y="32"/>
                    </a:lnTo>
                    <a:lnTo>
                      <a:pt x="40" y="30"/>
                    </a:lnTo>
                    <a:lnTo>
                      <a:pt x="41" y="30"/>
                    </a:lnTo>
                    <a:lnTo>
                      <a:pt x="38" y="27"/>
                    </a:lnTo>
                    <a:lnTo>
                      <a:pt x="38" y="26"/>
                    </a:lnTo>
                    <a:lnTo>
                      <a:pt x="36" y="26"/>
                    </a:lnTo>
                    <a:lnTo>
                      <a:pt x="33" y="26"/>
                    </a:lnTo>
                    <a:lnTo>
                      <a:pt x="32" y="22"/>
                    </a:lnTo>
                    <a:lnTo>
                      <a:pt x="28" y="19"/>
                    </a:lnTo>
                    <a:lnTo>
                      <a:pt x="28" y="19"/>
                    </a:lnTo>
                    <a:lnTo>
                      <a:pt x="32" y="16"/>
                    </a:lnTo>
                    <a:lnTo>
                      <a:pt x="32" y="16"/>
                    </a:lnTo>
                    <a:lnTo>
                      <a:pt x="28" y="13"/>
                    </a:lnTo>
                    <a:lnTo>
                      <a:pt x="25" y="11"/>
                    </a:lnTo>
                    <a:lnTo>
                      <a:pt x="24" y="8"/>
                    </a:lnTo>
                    <a:lnTo>
                      <a:pt x="27" y="7"/>
                    </a:lnTo>
                    <a:lnTo>
                      <a:pt x="24" y="3"/>
                    </a:lnTo>
                    <a:lnTo>
                      <a:pt x="19" y="2"/>
                    </a:lnTo>
                    <a:lnTo>
                      <a:pt x="20" y="2"/>
                    </a:lnTo>
                    <a:lnTo>
                      <a:pt x="20" y="0"/>
                    </a:lnTo>
                    <a:lnTo>
                      <a:pt x="17" y="0"/>
                    </a:lnTo>
                    <a:lnTo>
                      <a:pt x="16" y="0"/>
                    </a:lnTo>
                    <a:lnTo>
                      <a:pt x="9" y="0"/>
                    </a:lnTo>
                    <a:lnTo>
                      <a:pt x="3" y="2"/>
                    </a:lnTo>
                    <a:lnTo>
                      <a:pt x="3" y="2"/>
                    </a:lnTo>
                    <a:lnTo>
                      <a:pt x="0" y="0"/>
                    </a:lnTo>
                    <a:lnTo>
                      <a:pt x="0" y="3"/>
                    </a:lnTo>
                    <a:lnTo>
                      <a:pt x="3" y="7"/>
                    </a:lnTo>
                    <a:lnTo>
                      <a:pt x="3" y="8"/>
                    </a:lnTo>
                    <a:lnTo>
                      <a:pt x="3" y="11"/>
                    </a:lnTo>
                    <a:lnTo>
                      <a:pt x="3" y="13"/>
                    </a:lnTo>
                    <a:lnTo>
                      <a:pt x="3" y="13"/>
                    </a:lnTo>
                    <a:lnTo>
                      <a:pt x="6" y="16"/>
                    </a:lnTo>
                    <a:lnTo>
                      <a:pt x="3" y="16"/>
                    </a:lnTo>
                    <a:lnTo>
                      <a:pt x="8" y="19"/>
                    </a:lnTo>
                    <a:lnTo>
                      <a:pt x="11" y="19"/>
                    </a:lnTo>
                    <a:lnTo>
                      <a:pt x="14" y="19"/>
                    </a:lnTo>
                    <a:lnTo>
                      <a:pt x="16" y="19"/>
                    </a:lnTo>
                    <a:lnTo>
                      <a:pt x="17" y="22"/>
                    </a:lnTo>
                    <a:lnTo>
                      <a:pt x="17" y="24"/>
                    </a:lnTo>
                    <a:lnTo>
                      <a:pt x="19" y="26"/>
                    </a:lnTo>
                    <a:lnTo>
                      <a:pt x="22" y="27"/>
                    </a:lnTo>
                    <a:lnTo>
                      <a:pt x="22" y="27"/>
                    </a:lnTo>
                    <a:lnTo>
                      <a:pt x="22" y="27"/>
                    </a:lnTo>
                    <a:lnTo>
                      <a:pt x="22" y="27"/>
                    </a:lnTo>
                    <a:lnTo>
                      <a:pt x="22" y="27"/>
                    </a:lnTo>
                    <a:lnTo>
                      <a:pt x="22" y="27"/>
                    </a:lnTo>
                    <a:lnTo>
                      <a:pt x="22" y="27"/>
                    </a:lnTo>
                    <a:lnTo>
                      <a:pt x="22" y="27"/>
                    </a:lnTo>
                    <a:lnTo>
                      <a:pt x="22" y="27"/>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87" name="Freeform 325">
                <a:extLst>
                  <a:ext uri="{FF2B5EF4-FFF2-40B4-BE49-F238E27FC236}">
                    <a16:creationId xmlns:a16="http://schemas.microsoft.com/office/drawing/2014/main" id="{2357139C-8240-23BA-D814-3FEABF8348A1}"/>
                  </a:ext>
                </a:extLst>
              </p:cNvPr>
              <p:cNvSpPr>
                <a:spLocks/>
              </p:cNvSpPr>
              <p:nvPr/>
            </p:nvSpPr>
            <p:spPr bwMode="auto">
              <a:xfrm>
                <a:off x="6839116" y="2820579"/>
                <a:ext cx="269169" cy="269169"/>
              </a:xfrm>
              <a:custGeom>
                <a:avLst/>
                <a:gdLst>
                  <a:gd name="T0" fmla="*/ 117 w 120"/>
                  <a:gd name="T1" fmla="*/ 101 h 120"/>
                  <a:gd name="T2" fmla="*/ 114 w 120"/>
                  <a:gd name="T3" fmla="*/ 97 h 120"/>
                  <a:gd name="T4" fmla="*/ 114 w 120"/>
                  <a:gd name="T5" fmla="*/ 92 h 120"/>
                  <a:gd name="T6" fmla="*/ 109 w 120"/>
                  <a:gd name="T7" fmla="*/ 92 h 120"/>
                  <a:gd name="T8" fmla="*/ 109 w 120"/>
                  <a:gd name="T9" fmla="*/ 82 h 120"/>
                  <a:gd name="T10" fmla="*/ 106 w 120"/>
                  <a:gd name="T11" fmla="*/ 76 h 120"/>
                  <a:gd name="T12" fmla="*/ 100 w 120"/>
                  <a:gd name="T13" fmla="*/ 71 h 120"/>
                  <a:gd name="T14" fmla="*/ 95 w 120"/>
                  <a:gd name="T15" fmla="*/ 67 h 120"/>
                  <a:gd name="T16" fmla="*/ 87 w 120"/>
                  <a:gd name="T17" fmla="*/ 62 h 120"/>
                  <a:gd name="T18" fmla="*/ 82 w 120"/>
                  <a:gd name="T19" fmla="*/ 54 h 120"/>
                  <a:gd name="T20" fmla="*/ 79 w 120"/>
                  <a:gd name="T21" fmla="*/ 49 h 120"/>
                  <a:gd name="T22" fmla="*/ 79 w 120"/>
                  <a:gd name="T23" fmla="*/ 44 h 120"/>
                  <a:gd name="T24" fmla="*/ 82 w 120"/>
                  <a:gd name="T25" fmla="*/ 41 h 120"/>
                  <a:gd name="T26" fmla="*/ 82 w 120"/>
                  <a:gd name="T27" fmla="*/ 36 h 120"/>
                  <a:gd name="T28" fmla="*/ 84 w 120"/>
                  <a:gd name="T29" fmla="*/ 33 h 120"/>
                  <a:gd name="T30" fmla="*/ 82 w 120"/>
                  <a:gd name="T31" fmla="*/ 27 h 120"/>
                  <a:gd name="T32" fmla="*/ 85 w 120"/>
                  <a:gd name="T33" fmla="*/ 22 h 120"/>
                  <a:gd name="T34" fmla="*/ 79 w 120"/>
                  <a:gd name="T35" fmla="*/ 22 h 120"/>
                  <a:gd name="T36" fmla="*/ 73 w 120"/>
                  <a:gd name="T37" fmla="*/ 19 h 120"/>
                  <a:gd name="T38" fmla="*/ 69 w 120"/>
                  <a:gd name="T39" fmla="*/ 13 h 120"/>
                  <a:gd name="T40" fmla="*/ 66 w 120"/>
                  <a:gd name="T41" fmla="*/ 6 h 120"/>
                  <a:gd name="T42" fmla="*/ 61 w 120"/>
                  <a:gd name="T43" fmla="*/ 5 h 120"/>
                  <a:gd name="T44" fmla="*/ 58 w 120"/>
                  <a:gd name="T45" fmla="*/ 3 h 120"/>
                  <a:gd name="T46" fmla="*/ 54 w 120"/>
                  <a:gd name="T47" fmla="*/ 3 h 120"/>
                  <a:gd name="T48" fmla="*/ 44 w 120"/>
                  <a:gd name="T49" fmla="*/ 0 h 120"/>
                  <a:gd name="T50" fmla="*/ 38 w 120"/>
                  <a:gd name="T51" fmla="*/ 5 h 120"/>
                  <a:gd name="T52" fmla="*/ 36 w 120"/>
                  <a:gd name="T53" fmla="*/ 6 h 120"/>
                  <a:gd name="T54" fmla="*/ 28 w 120"/>
                  <a:gd name="T55" fmla="*/ 13 h 120"/>
                  <a:gd name="T56" fmla="*/ 25 w 120"/>
                  <a:gd name="T57" fmla="*/ 19 h 120"/>
                  <a:gd name="T58" fmla="*/ 25 w 120"/>
                  <a:gd name="T59" fmla="*/ 32 h 120"/>
                  <a:gd name="T60" fmla="*/ 23 w 120"/>
                  <a:gd name="T61" fmla="*/ 43 h 120"/>
                  <a:gd name="T62" fmla="*/ 3 w 120"/>
                  <a:gd name="T63" fmla="*/ 55 h 120"/>
                  <a:gd name="T64" fmla="*/ 3 w 120"/>
                  <a:gd name="T65" fmla="*/ 70 h 120"/>
                  <a:gd name="T66" fmla="*/ 6 w 120"/>
                  <a:gd name="T67" fmla="*/ 74 h 120"/>
                  <a:gd name="T68" fmla="*/ 12 w 120"/>
                  <a:gd name="T69" fmla="*/ 78 h 120"/>
                  <a:gd name="T70" fmla="*/ 33 w 120"/>
                  <a:gd name="T71" fmla="*/ 86 h 120"/>
                  <a:gd name="T72" fmla="*/ 68 w 120"/>
                  <a:gd name="T73" fmla="*/ 109 h 120"/>
                  <a:gd name="T74" fmla="*/ 76 w 120"/>
                  <a:gd name="T75" fmla="*/ 117 h 120"/>
                  <a:gd name="T76" fmla="*/ 98 w 120"/>
                  <a:gd name="T77" fmla="*/ 119 h 120"/>
                  <a:gd name="T78" fmla="*/ 106 w 120"/>
                  <a:gd name="T79" fmla="*/ 106 h 120"/>
                  <a:gd name="T80" fmla="*/ 114 w 120"/>
                  <a:gd name="T81" fmla="*/ 106 h 120"/>
                  <a:gd name="T82" fmla="*/ 120 w 120"/>
                  <a:gd name="T83" fmla="*/ 106 h 120"/>
                  <a:gd name="T84" fmla="*/ 120 w 120"/>
                  <a:gd name="T85" fmla="*/ 106 h 120"/>
                  <a:gd name="T86" fmla="*/ 120 w 120"/>
                  <a:gd name="T87" fmla="*/ 106 h 120"/>
                  <a:gd name="T88" fmla="*/ 120 w 120"/>
                  <a:gd name="T89" fmla="*/ 10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20">
                    <a:moveTo>
                      <a:pt x="120" y="106"/>
                    </a:moveTo>
                    <a:lnTo>
                      <a:pt x="117" y="105"/>
                    </a:lnTo>
                    <a:lnTo>
                      <a:pt x="117" y="101"/>
                    </a:lnTo>
                    <a:lnTo>
                      <a:pt x="114" y="100"/>
                    </a:lnTo>
                    <a:lnTo>
                      <a:pt x="114" y="98"/>
                    </a:lnTo>
                    <a:lnTo>
                      <a:pt x="114" y="97"/>
                    </a:lnTo>
                    <a:lnTo>
                      <a:pt x="114" y="95"/>
                    </a:lnTo>
                    <a:lnTo>
                      <a:pt x="114" y="93"/>
                    </a:lnTo>
                    <a:lnTo>
                      <a:pt x="114" y="92"/>
                    </a:lnTo>
                    <a:lnTo>
                      <a:pt x="112" y="92"/>
                    </a:lnTo>
                    <a:lnTo>
                      <a:pt x="111" y="92"/>
                    </a:lnTo>
                    <a:lnTo>
                      <a:pt x="109" y="92"/>
                    </a:lnTo>
                    <a:lnTo>
                      <a:pt x="109" y="89"/>
                    </a:lnTo>
                    <a:lnTo>
                      <a:pt x="109" y="86"/>
                    </a:lnTo>
                    <a:lnTo>
                      <a:pt x="109" y="82"/>
                    </a:lnTo>
                    <a:lnTo>
                      <a:pt x="109" y="82"/>
                    </a:lnTo>
                    <a:lnTo>
                      <a:pt x="109" y="81"/>
                    </a:lnTo>
                    <a:lnTo>
                      <a:pt x="106" y="76"/>
                    </a:lnTo>
                    <a:lnTo>
                      <a:pt x="104" y="73"/>
                    </a:lnTo>
                    <a:lnTo>
                      <a:pt x="103" y="73"/>
                    </a:lnTo>
                    <a:lnTo>
                      <a:pt x="100" y="71"/>
                    </a:lnTo>
                    <a:lnTo>
                      <a:pt x="98" y="71"/>
                    </a:lnTo>
                    <a:lnTo>
                      <a:pt x="96" y="70"/>
                    </a:lnTo>
                    <a:lnTo>
                      <a:pt x="95" y="67"/>
                    </a:lnTo>
                    <a:lnTo>
                      <a:pt x="92" y="65"/>
                    </a:lnTo>
                    <a:lnTo>
                      <a:pt x="88" y="63"/>
                    </a:lnTo>
                    <a:lnTo>
                      <a:pt x="87" y="62"/>
                    </a:lnTo>
                    <a:lnTo>
                      <a:pt x="88" y="60"/>
                    </a:lnTo>
                    <a:lnTo>
                      <a:pt x="85" y="57"/>
                    </a:lnTo>
                    <a:lnTo>
                      <a:pt x="82" y="54"/>
                    </a:lnTo>
                    <a:lnTo>
                      <a:pt x="82" y="54"/>
                    </a:lnTo>
                    <a:lnTo>
                      <a:pt x="79" y="51"/>
                    </a:lnTo>
                    <a:lnTo>
                      <a:pt x="79" y="49"/>
                    </a:lnTo>
                    <a:lnTo>
                      <a:pt x="79" y="47"/>
                    </a:lnTo>
                    <a:lnTo>
                      <a:pt x="79" y="46"/>
                    </a:lnTo>
                    <a:lnTo>
                      <a:pt x="79" y="44"/>
                    </a:lnTo>
                    <a:lnTo>
                      <a:pt x="79" y="43"/>
                    </a:lnTo>
                    <a:lnTo>
                      <a:pt x="79" y="41"/>
                    </a:lnTo>
                    <a:lnTo>
                      <a:pt x="82" y="41"/>
                    </a:lnTo>
                    <a:lnTo>
                      <a:pt x="79" y="40"/>
                    </a:lnTo>
                    <a:lnTo>
                      <a:pt x="79" y="38"/>
                    </a:lnTo>
                    <a:lnTo>
                      <a:pt x="82" y="36"/>
                    </a:lnTo>
                    <a:lnTo>
                      <a:pt x="82" y="35"/>
                    </a:lnTo>
                    <a:lnTo>
                      <a:pt x="82" y="33"/>
                    </a:lnTo>
                    <a:lnTo>
                      <a:pt x="84" y="33"/>
                    </a:lnTo>
                    <a:lnTo>
                      <a:pt x="84" y="32"/>
                    </a:lnTo>
                    <a:lnTo>
                      <a:pt x="82" y="28"/>
                    </a:lnTo>
                    <a:lnTo>
                      <a:pt x="82" y="27"/>
                    </a:lnTo>
                    <a:lnTo>
                      <a:pt x="82" y="25"/>
                    </a:lnTo>
                    <a:lnTo>
                      <a:pt x="84" y="25"/>
                    </a:lnTo>
                    <a:lnTo>
                      <a:pt x="85" y="22"/>
                    </a:lnTo>
                    <a:lnTo>
                      <a:pt x="82" y="22"/>
                    </a:lnTo>
                    <a:lnTo>
                      <a:pt x="82" y="22"/>
                    </a:lnTo>
                    <a:lnTo>
                      <a:pt x="79" y="22"/>
                    </a:lnTo>
                    <a:lnTo>
                      <a:pt x="76" y="22"/>
                    </a:lnTo>
                    <a:lnTo>
                      <a:pt x="73" y="19"/>
                    </a:lnTo>
                    <a:lnTo>
                      <a:pt x="73" y="19"/>
                    </a:lnTo>
                    <a:lnTo>
                      <a:pt x="73" y="16"/>
                    </a:lnTo>
                    <a:lnTo>
                      <a:pt x="69" y="14"/>
                    </a:lnTo>
                    <a:lnTo>
                      <a:pt x="69" y="13"/>
                    </a:lnTo>
                    <a:lnTo>
                      <a:pt x="69" y="11"/>
                    </a:lnTo>
                    <a:lnTo>
                      <a:pt x="68" y="9"/>
                    </a:lnTo>
                    <a:lnTo>
                      <a:pt x="66" y="6"/>
                    </a:lnTo>
                    <a:lnTo>
                      <a:pt x="65" y="5"/>
                    </a:lnTo>
                    <a:lnTo>
                      <a:pt x="63" y="3"/>
                    </a:lnTo>
                    <a:lnTo>
                      <a:pt x="61" y="5"/>
                    </a:lnTo>
                    <a:lnTo>
                      <a:pt x="58" y="6"/>
                    </a:lnTo>
                    <a:lnTo>
                      <a:pt x="58" y="5"/>
                    </a:lnTo>
                    <a:lnTo>
                      <a:pt x="58" y="3"/>
                    </a:lnTo>
                    <a:lnTo>
                      <a:pt x="57" y="1"/>
                    </a:lnTo>
                    <a:lnTo>
                      <a:pt x="55" y="1"/>
                    </a:lnTo>
                    <a:lnTo>
                      <a:pt x="54" y="3"/>
                    </a:lnTo>
                    <a:lnTo>
                      <a:pt x="50" y="3"/>
                    </a:lnTo>
                    <a:lnTo>
                      <a:pt x="47" y="1"/>
                    </a:lnTo>
                    <a:lnTo>
                      <a:pt x="44" y="0"/>
                    </a:lnTo>
                    <a:lnTo>
                      <a:pt x="41" y="1"/>
                    </a:lnTo>
                    <a:lnTo>
                      <a:pt x="38" y="3"/>
                    </a:lnTo>
                    <a:lnTo>
                      <a:pt x="38" y="5"/>
                    </a:lnTo>
                    <a:lnTo>
                      <a:pt x="38" y="5"/>
                    </a:lnTo>
                    <a:lnTo>
                      <a:pt x="36" y="5"/>
                    </a:lnTo>
                    <a:lnTo>
                      <a:pt x="36" y="6"/>
                    </a:lnTo>
                    <a:lnTo>
                      <a:pt x="35" y="8"/>
                    </a:lnTo>
                    <a:lnTo>
                      <a:pt x="31" y="11"/>
                    </a:lnTo>
                    <a:lnTo>
                      <a:pt x="28" y="13"/>
                    </a:lnTo>
                    <a:lnTo>
                      <a:pt x="27" y="14"/>
                    </a:lnTo>
                    <a:lnTo>
                      <a:pt x="23" y="16"/>
                    </a:lnTo>
                    <a:lnTo>
                      <a:pt x="25" y="19"/>
                    </a:lnTo>
                    <a:lnTo>
                      <a:pt x="27" y="25"/>
                    </a:lnTo>
                    <a:lnTo>
                      <a:pt x="27" y="27"/>
                    </a:lnTo>
                    <a:lnTo>
                      <a:pt x="25" y="32"/>
                    </a:lnTo>
                    <a:lnTo>
                      <a:pt x="25" y="36"/>
                    </a:lnTo>
                    <a:lnTo>
                      <a:pt x="25" y="40"/>
                    </a:lnTo>
                    <a:lnTo>
                      <a:pt x="23" y="43"/>
                    </a:lnTo>
                    <a:lnTo>
                      <a:pt x="19" y="47"/>
                    </a:lnTo>
                    <a:lnTo>
                      <a:pt x="9" y="54"/>
                    </a:lnTo>
                    <a:lnTo>
                      <a:pt x="3" y="55"/>
                    </a:lnTo>
                    <a:lnTo>
                      <a:pt x="0" y="59"/>
                    </a:lnTo>
                    <a:lnTo>
                      <a:pt x="3" y="68"/>
                    </a:lnTo>
                    <a:lnTo>
                      <a:pt x="3" y="70"/>
                    </a:lnTo>
                    <a:lnTo>
                      <a:pt x="3" y="71"/>
                    </a:lnTo>
                    <a:lnTo>
                      <a:pt x="3" y="73"/>
                    </a:lnTo>
                    <a:lnTo>
                      <a:pt x="6" y="74"/>
                    </a:lnTo>
                    <a:lnTo>
                      <a:pt x="6" y="74"/>
                    </a:lnTo>
                    <a:lnTo>
                      <a:pt x="3" y="76"/>
                    </a:lnTo>
                    <a:lnTo>
                      <a:pt x="12" y="78"/>
                    </a:lnTo>
                    <a:lnTo>
                      <a:pt x="20" y="79"/>
                    </a:lnTo>
                    <a:lnTo>
                      <a:pt x="20" y="81"/>
                    </a:lnTo>
                    <a:lnTo>
                      <a:pt x="33" y="86"/>
                    </a:lnTo>
                    <a:lnTo>
                      <a:pt x="44" y="93"/>
                    </a:lnTo>
                    <a:lnTo>
                      <a:pt x="50" y="98"/>
                    </a:lnTo>
                    <a:lnTo>
                      <a:pt x="68" y="109"/>
                    </a:lnTo>
                    <a:lnTo>
                      <a:pt x="73" y="116"/>
                    </a:lnTo>
                    <a:lnTo>
                      <a:pt x="76" y="117"/>
                    </a:lnTo>
                    <a:lnTo>
                      <a:pt x="76" y="117"/>
                    </a:lnTo>
                    <a:lnTo>
                      <a:pt x="79" y="117"/>
                    </a:lnTo>
                    <a:lnTo>
                      <a:pt x="96" y="120"/>
                    </a:lnTo>
                    <a:lnTo>
                      <a:pt x="98" y="119"/>
                    </a:lnTo>
                    <a:lnTo>
                      <a:pt x="101" y="116"/>
                    </a:lnTo>
                    <a:lnTo>
                      <a:pt x="103" y="106"/>
                    </a:lnTo>
                    <a:lnTo>
                      <a:pt x="106" y="106"/>
                    </a:lnTo>
                    <a:lnTo>
                      <a:pt x="109" y="106"/>
                    </a:lnTo>
                    <a:lnTo>
                      <a:pt x="112" y="106"/>
                    </a:lnTo>
                    <a:lnTo>
                      <a:pt x="114" y="106"/>
                    </a:lnTo>
                    <a:lnTo>
                      <a:pt x="115" y="106"/>
                    </a:lnTo>
                    <a:lnTo>
                      <a:pt x="117" y="106"/>
                    </a:lnTo>
                    <a:lnTo>
                      <a:pt x="120" y="106"/>
                    </a:lnTo>
                    <a:lnTo>
                      <a:pt x="120" y="106"/>
                    </a:lnTo>
                    <a:lnTo>
                      <a:pt x="120" y="106"/>
                    </a:lnTo>
                    <a:lnTo>
                      <a:pt x="120" y="106"/>
                    </a:lnTo>
                    <a:lnTo>
                      <a:pt x="120" y="106"/>
                    </a:lnTo>
                    <a:lnTo>
                      <a:pt x="120" y="106"/>
                    </a:lnTo>
                    <a:lnTo>
                      <a:pt x="120" y="106"/>
                    </a:lnTo>
                    <a:lnTo>
                      <a:pt x="120" y="106"/>
                    </a:lnTo>
                    <a:lnTo>
                      <a:pt x="120" y="106"/>
                    </a:lnTo>
                    <a:lnTo>
                      <a:pt x="120" y="106"/>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88" name="Freeform 327">
                <a:extLst>
                  <a:ext uri="{FF2B5EF4-FFF2-40B4-BE49-F238E27FC236}">
                    <a16:creationId xmlns:a16="http://schemas.microsoft.com/office/drawing/2014/main" id="{F5D21B38-C96A-EA1E-493E-11FE1B73D51D}"/>
                  </a:ext>
                </a:extLst>
              </p:cNvPr>
              <p:cNvSpPr>
                <a:spLocks/>
              </p:cNvSpPr>
              <p:nvPr/>
            </p:nvSpPr>
            <p:spPr bwMode="auto">
              <a:xfrm>
                <a:off x="6735935" y="2991053"/>
                <a:ext cx="594415" cy="513664"/>
              </a:xfrm>
              <a:custGeom>
                <a:avLst/>
                <a:gdLst>
                  <a:gd name="T0" fmla="*/ 260 w 265"/>
                  <a:gd name="T1" fmla="*/ 137 h 229"/>
                  <a:gd name="T2" fmla="*/ 225 w 265"/>
                  <a:gd name="T3" fmla="*/ 132 h 229"/>
                  <a:gd name="T4" fmla="*/ 212 w 265"/>
                  <a:gd name="T5" fmla="*/ 113 h 229"/>
                  <a:gd name="T6" fmla="*/ 209 w 265"/>
                  <a:gd name="T7" fmla="*/ 110 h 229"/>
                  <a:gd name="T8" fmla="*/ 204 w 265"/>
                  <a:gd name="T9" fmla="*/ 110 h 229"/>
                  <a:gd name="T10" fmla="*/ 195 w 265"/>
                  <a:gd name="T11" fmla="*/ 95 h 229"/>
                  <a:gd name="T12" fmla="*/ 190 w 265"/>
                  <a:gd name="T13" fmla="*/ 87 h 229"/>
                  <a:gd name="T14" fmla="*/ 193 w 265"/>
                  <a:gd name="T15" fmla="*/ 83 h 229"/>
                  <a:gd name="T16" fmla="*/ 184 w 265"/>
                  <a:gd name="T17" fmla="*/ 75 h 229"/>
                  <a:gd name="T18" fmla="*/ 179 w 265"/>
                  <a:gd name="T19" fmla="*/ 68 h 229"/>
                  <a:gd name="T20" fmla="*/ 173 w 265"/>
                  <a:gd name="T21" fmla="*/ 64 h 229"/>
                  <a:gd name="T22" fmla="*/ 169 w 265"/>
                  <a:gd name="T23" fmla="*/ 52 h 229"/>
                  <a:gd name="T24" fmla="*/ 160 w 265"/>
                  <a:gd name="T25" fmla="*/ 52 h 229"/>
                  <a:gd name="T26" fmla="*/ 155 w 265"/>
                  <a:gd name="T27" fmla="*/ 44 h 229"/>
                  <a:gd name="T28" fmla="*/ 141 w 265"/>
                  <a:gd name="T29" fmla="*/ 44 h 229"/>
                  <a:gd name="T30" fmla="*/ 117 w 265"/>
                  <a:gd name="T31" fmla="*/ 40 h 229"/>
                  <a:gd name="T32" fmla="*/ 79 w 265"/>
                  <a:gd name="T33" fmla="*/ 10 h 229"/>
                  <a:gd name="T34" fmla="*/ 50 w 265"/>
                  <a:gd name="T35" fmla="*/ 0 h 229"/>
                  <a:gd name="T36" fmla="*/ 38 w 265"/>
                  <a:gd name="T37" fmla="*/ 24 h 229"/>
                  <a:gd name="T38" fmla="*/ 33 w 265"/>
                  <a:gd name="T39" fmla="*/ 30 h 229"/>
                  <a:gd name="T40" fmla="*/ 20 w 265"/>
                  <a:gd name="T41" fmla="*/ 37 h 229"/>
                  <a:gd name="T42" fmla="*/ 4 w 265"/>
                  <a:gd name="T43" fmla="*/ 40 h 229"/>
                  <a:gd name="T44" fmla="*/ 1 w 265"/>
                  <a:gd name="T45" fmla="*/ 52 h 229"/>
                  <a:gd name="T46" fmla="*/ 1 w 265"/>
                  <a:gd name="T47" fmla="*/ 59 h 229"/>
                  <a:gd name="T48" fmla="*/ 9 w 265"/>
                  <a:gd name="T49" fmla="*/ 65 h 229"/>
                  <a:gd name="T50" fmla="*/ 27 w 265"/>
                  <a:gd name="T51" fmla="*/ 89 h 229"/>
                  <a:gd name="T52" fmla="*/ 34 w 265"/>
                  <a:gd name="T53" fmla="*/ 100 h 229"/>
                  <a:gd name="T54" fmla="*/ 36 w 265"/>
                  <a:gd name="T55" fmla="*/ 110 h 229"/>
                  <a:gd name="T56" fmla="*/ 44 w 265"/>
                  <a:gd name="T57" fmla="*/ 116 h 229"/>
                  <a:gd name="T58" fmla="*/ 55 w 265"/>
                  <a:gd name="T59" fmla="*/ 132 h 229"/>
                  <a:gd name="T60" fmla="*/ 58 w 265"/>
                  <a:gd name="T61" fmla="*/ 138 h 229"/>
                  <a:gd name="T62" fmla="*/ 60 w 265"/>
                  <a:gd name="T63" fmla="*/ 156 h 229"/>
                  <a:gd name="T64" fmla="*/ 73 w 265"/>
                  <a:gd name="T65" fmla="*/ 170 h 229"/>
                  <a:gd name="T66" fmla="*/ 82 w 265"/>
                  <a:gd name="T67" fmla="*/ 181 h 229"/>
                  <a:gd name="T68" fmla="*/ 88 w 265"/>
                  <a:gd name="T69" fmla="*/ 194 h 229"/>
                  <a:gd name="T70" fmla="*/ 100 w 265"/>
                  <a:gd name="T71" fmla="*/ 210 h 229"/>
                  <a:gd name="T72" fmla="*/ 104 w 265"/>
                  <a:gd name="T73" fmla="*/ 218 h 229"/>
                  <a:gd name="T74" fmla="*/ 107 w 265"/>
                  <a:gd name="T75" fmla="*/ 229 h 229"/>
                  <a:gd name="T76" fmla="*/ 114 w 265"/>
                  <a:gd name="T77" fmla="*/ 221 h 229"/>
                  <a:gd name="T78" fmla="*/ 117 w 265"/>
                  <a:gd name="T79" fmla="*/ 211 h 229"/>
                  <a:gd name="T80" fmla="*/ 131 w 265"/>
                  <a:gd name="T81" fmla="*/ 211 h 229"/>
                  <a:gd name="T82" fmla="*/ 157 w 265"/>
                  <a:gd name="T83" fmla="*/ 213 h 229"/>
                  <a:gd name="T84" fmla="*/ 163 w 265"/>
                  <a:gd name="T85" fmla="*/ 218 h 229"/>
                  <a:gd name="T86" fmla="*/ 173 w 265"/>
                  <a:gd name="T87" fmla="*/ 203 h 229"/>
                  <a:gd name="T88" fmla="*/ 192 w 265"/>
                  <a:gd name="T89" fmla="*/ 194 h 229"/>
                  <a:gd name="T90" fmla="*/ 260 w 265"/>
                  <a:gd name="T91" fmla="*/ 175 h 229"/>
                  <a:gd name="T92" fmla="*/ 265 w 265"/>
                  <a:gd name="T93" fmla="*/ 149 h 229"/>
                  <a:gd name="T94" fmla="*/ 263 w 265"/>
                  <a:gd name="T95" fmla="*/ 143 h 229"/>
                  <a:gd name="T96" fmla="*/ 263 w 265"/>
                  <a:gd name="T97" fmla="*/ 1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5" h="229">
                    <a:moveTo>
                      <a:pt x="263" y="143"/>
                    </a:moveTo>
                    <a:lnTo>
                      <a:pt x="260" y="140"/>
                    </a:lnTo>
                    <a:lnTo>
                      <a:pt x="260" y="137"/>
                    </a:lnTo>
                    <a:lnTo>
                      <a:pt x="260" y="137"/>
                    </a:lnTo>
                    <a:lnTo>
                      <a:pt x="257" y="135"/>
                    </a:lnTo>
                    <a:lnTo>
                      <a:pt x="257" y="137"/>
                    </a:lnTo>
                    <a:lnTo>
                      <a:pt x="244" y="135"/>
                    </a:lnTo>
                    <a:lnTo>
                      <a:pt x="225" y="132"/>
                    </a:lnTo>
                    <a:lnTo>
                      <a:pt x="222" y="127"/>
                    </a:lnTo>
                    <a:lnTo>
                      <a:pt x="214" y="118"/>
                    </a:lnTo>
                    <a:lnTo>
                      <a:pt x="214" y="114"/>
                    </a:lnTo>
                    <a:lnTo>
                      <a:pt x="212" y="113"/>
                    </a:lnTo>
                    <a:lnTo>
                      <a:pt x="209" y="113"/>
                    </a:lnTo>
                    <a:lnTo>
                      <a:pt x="209" y="111"/>
                    </a:lnTo>
                    <a:lnTo>
                      <a:pt x="211" y="110"/>
                    </a:lnTo>
                    <a:lnTo>
                      <a:pt x="209" y="110"/>
                    </a:lnTo>
                    <a:lnTo>
                      <a:pt x="208" y="110"/>
                    </a:lnTo>
                    <a:lnTo>
                      <a:pt x="208" y="110"/>
                    </a:lnTo>
                    <a:lnTo>
                      <a:pt x="208" y="110"/>
                    </a:lnTo>
                    <a:lnTo>
                      <a:pt x="204" y="110"/>
                    </a:lnTo>
                    <a:lnTo>
                      <a:pt x="201" y="106"/>
                    </a:lnTo>
                    <a:lnTo>
                      <a:pt x="201" y="103"/>
                    </a:lnTo>
                    <a:lnTo>
                      <a:pt x="198" y="97"/>
                    </a:lnTo>
                    <a:lnTo>
                      <a:pt x="195" y="95"/>
                    </a:lnTo>
                    <a:lnTo>
                      <a:pt x="193" y="92"/>
                    </a:lnTo>
                    <a:lnTo>
                      <a:pt x="195" y="94"/>
                    </a:lnTo>
                    <a:lnTo>
                      <a:pt x="192" y="89"/>
                    </a:lnTo>
                    <a:lnTo>
                      <a:pt x="190" y="87"/>
                    </a:lnTo>
                    <a:lnTo>
                      <a:pt x="190" y="86"/>
                    </a:lnTo>
                    <a:lnTo>
                      <a:pt x="192" y="87"/>
                    </a:lnTo>
                    <a:lnTo>
                      <a:pt x="193" y="86"/>
                    </a:lnTo>
                    <a:lnTo>
                      <a:pt x="193" y="83"/>
                    </a:lnTo>
                    <a:lnTo>
                      <a:pt x="192" y="81"/>
                    </a:lnTo>
                    <a:lnTo>
                      <a:pt x="190" y="78"/>
                    </a:lnTo>
                    <a:lnTo>
                      <a:pt x="187" y="75"/>
                    </a:lnTo>
                    <a:lnTo>
                      <a:pt x="184" y="75"/>
                    </a:lnTo>
                    <a:lnTo>
                      <a:pt x="184" y="71"/>
                    </a:lnTo>
                    <a:lnTo>
                      <a:pt x="182" y="71"/>
                    </a:lnTo>
                    <a:lnTo>
                      <a:pt x="181" y="71"/>
                    </a:lnTo>
                    <a:lnTo>
                      <a:pt x="179" y="68"/>
                    </a:lnTo>
                    <a:lnTo>
                      <a:pt x="179" y="65"/>
                    </a:lnTo>
                    <a:lnTo>
                      <a:pt x="177" y="65"/>
                    </a:lnTo>
                    <a:lnTo>
                      <a:pt x="174" y="65"/>
                    </a:lnTo>
                    <a:lnTo>
                      <a:pt x="173" y="64"/>
                    </a:lnTo>
                    <a:lnTo>
                      <a:pt x="173" y="62"/>
                    </a:lnTo>
                    <a:lnTo>
                      <a:pt x="173" y="59"/>
                    </a:lnTo>
                    <a:lnTo>
                      <a:pt x="169" y="56"/>
                    </a:lnTo>
                    <a:lnTo>
                      <a:pt x="169" y="52"/>
                    </a:lnTo>
                    <a:lnTo>
                      <a:pt x="166" y="52"/>
                    </a:lnTo>
                    <a:lnTo>
                      <a:pt x="166" y="51"/>
                    </a:lnTo>
                    <a:lnTo>
                      <a:pt x="160" y="52"/>
                    </a:lnTo>
                    <a:lnTo>
                      <a:pt x="160" y="52"/>
                    </a:lnTo>
                    <a:lnTo>
                      <a:pt x="160" y="52"/>
                    </a:lnTo>
                    <a:lnTo>
                      <a:pt x="158" y="51"/>
                    </a:lnTo>
                    <a:lnTo>
                      <a:pt x="157" y="46"/>
                    </a:lnTo>
                    <a:lnTo>
                      <a:pt x="155" y="44"/>
                    </a:lnTo>
                    <a:lnTo>
                      <a:pt x="154" y="44"/>
                    </a:lnTo>
                    <a:lnTo>
                      <a:pt x="146" y="43"/>
                    </a:lnTo>
                    <a:lnTo>
                      <a:pt x="144" y="43"/>
                    </a:lnTo>
                    <a:lnTo>
                      <a:pt x="141" y="44"/>
                    </a:lnTo>
                    <a:lnTo>
                      <a:pt x="123" y="41"/>
                    </a:lnTo>
                    <a:lnTo>
                      <a:pt x="122" y="41"/>
                    </a:lnTo>
                    <a:lnTo>
                      <a:pt x="120" y="41"/>
                    </a:lnTo>
                    <a:lnTo>
                      <a:pt x="117" y="40"/>
                    </a:lnTo>
                    <a:lnTo>
                      <a:pt x="112" y="33"/>
                    </a:lnTo>
                    <a:lnTo>
                      <a:pt x="96" y="22"/>
                    </a:lnTo>
                    <a:lnTo>
                      <a:pt x="90" y="17"/>
                    </a:lnTo>
                    <a:lnTo>
                      <a:pt x="79" y="10"/>
                    </a:lnTo>
                    <a:lnTo>
                      <a:pt x="66" y="5"/>
                    </a:lnTo>
                    <a:lnTo>
                      <a:pt x="66" y="3"/>
                    </a:lnTo>
                    <a:lnTo>
                      <a:pt x="58" y="2"/>
                    </a:lnTo>
                    <a:lnTo>
                      <a:pt x="50" y="0"/>
                    </a:lnTo>
                    <a:lnTo>
                      <a:pt x="49" y="0"/>
                    </a:lnTo>
                    <a:lnTo>
                      <a:pt x="38" y="6"/>
                    </a:lnTo>
                    <a:lnTo>
                      <a:pt x="25" y="10"/>
                    </a:lnTo>
                    <a:lnTo>
                      <a:pt x="38" y="24"/>
                    </a:lnTo>
                    <a:lnTo>
                      <a:pt x="34" y="25"/>
                    </a:lnTo>
                    <a:lnTo>
                      <a:pt x="34" y="27"/>
                    </a:lnTo>
                    <a:lnTo>
                      <a:pt x="33" y="30"/>
                    </a:lnTo>
                    <a:lnTo>
                      <a:pt x="33" y="30"/>
                    </a:lnTo>
                    <a:lnTo>
                      <a:pt x="31" y="30"/>
                    </a:lnTo>
                    <a:lnTo>
                      <a:pt x="27" y="30"/>
                    </a:lnTo>
                    <a:lnTo>
                      <a:pt x="23" y="33"/>
                    </a:lnTo>
                    <a:lnTo>
                      <a:pt x="20" y="37"/>
                    </a:lnTo>
                    <a:lnTo>
                      <a:pt x="19" y="40"/>
                    </a:lnTo>
                    <a:lnTo>
                      <a:pt x="15" y="41"/>
                    </a:lnTo>
                    <a:lnTo>
                      <a:pt x="9" y="41"/>
                    </a:lnTo>
                    <a:lnTo>
                      <a:pt x="4" y="40"/>
                    </a:lnTo>
                    <a:lnTo>
                      <a:pt x="3" y="40"/>
                    </a:lnTo>
                    <a:lnTo>
                      <a:pt x="1" y="43"/>
                    </a:lnTo>
                    <a:lnTo>
                      <a:pt x="1" y="48"/>
                    </a:lnTo>
                    <a:lnTo>
                      <a:pt x="1" y="52"/>
                    </a:lnTo>
                    <a:lnTo>
                      <a:pt x="0" y="56"/>
                    </a:lnTo>
                    <a:lnTo>
                      <a:pt x="0" y="57"/>
                    </a:lnTo>
                    <a:lnTo>
                      <a:pt x="0" y="59"/>
                    </a:lnTo>
                    <a:lnTo>
                      <a:pt x="1" y="59"/>
                    </a:lnTo>
                    <a:lnTo>
                      <a:pt x="3" y="57"/>
                    </a:lnTo>
                    <a:lnTo>
                      <a:pt x="6" y="59"/>
                    </a:lnTo>
                    <a:lnTo>
                      <a:pt x="9" y="60"/>
                    </a:lnTo>
                    <a:lnTo>
                      <a:pt x="9" y="65"/>
                    </a:lnTo>
                    <a:lnTo>
                      <a:pt x="15" y="75"/>
                    </a:lnTo>
                    <a:lnTo>
                      <a:pt x="22" y="84"/>
                    </a:lnTo>
                    <a:lnTo>
                      <a:pt x="25" y="87"/>
                    </a:lnTo>
                    <a:lnTo>
                      <a:pt x="27" y="89"/>
                    </a:lnTo>
                    <a:lnTo>
                      <a:pt x="27" y="91"/>
                    </a:lnTo>
                    <a:lnTo>
                      <a:pt x="28" y="92"/>
                    </a:lnTo>
                    <a:lnTo>
                      <a:pt x="30" y="95"/>
                    </a:lnTo>
                    <a:lnTo>
                      <a:pt x="34" y="100"/>
                    </a:lnTo>
                    <a:lnTo>
                      <a:pt x="34" y="103"/>
                    </a:lnTo>
                    <a:lnTo>
                      <a:pt x="34" y="103"/>
                    </a:lnTo>
                    <a:lnTo>
                      <a:pt x="33" y="106"/>
                    </a:lnTo>
                    <a:lnTo>
                      <a:pt x="36" y="110"/>
                    </a:lnTo>
                    <a:lnTo>
                      <a:pt x="38" y="111"/>
                    </a:lnTo>
                    <a:lnTo>
                      <a:pt x="38" y="113"/>
                    </a:lnTo>
                    <a:lnTo>
                      <a:pt x="41" y="114"/>
                    </a:lnTo>
                    <a:lnTo>
                      <a:pt x="44" y="116"/>
                    </a:lnTo>
                    <a:lnTo>
                      <a:pt x="49" y="121"/>
                    </a:lnTo>
                    <a:lnTo>
                      <a:pt x="52" y="125"/>
                    </a:lnTo>
                    <a:lnTo>
                      <a:pt x="54" y="130"/>
                    </a:lnTo>
                    <a:lnTo>
                      <a:pt x="55" y="132"/>
                    </a:lnTo>
                    <a:lnTo>
                      <a:pt x="57" y="132"/>
                    </a:lnTo>
                    <a:lnTo>
                      <a:pt x="55" y="132"/>
                    </a:lnTo>
                    <a:lnTo>
                      <a:pt x="57" y="135"/>
                    </a:lnTo>
                    <a:lnTo>
                      <a:pt x="58" y="138"/>
                    </a:lnTo>
                    <a:lnTo>
                      <a:pt x="58" y="143"/>
                    </a:lnTo>
                    <a:lnTo>
                      <a:pt x="58" y="148"/>
                    </a:lnTo>
                    <a:lnTo>
                      <a:pt x="60" y="154"/>
                    </a:lnTo>
                    <a:lnTo>
                      <a:pt x="60" y="156"/>
                    </a:lnTo>
                    <a:lnTo>
                      <a:pt x="61" y="159"/>
                    </a:lnTo>
                    <a:lnTo>
                      <a:pt x="65" y="165"/>
                    </a:lnTo>
                    <a:lnTo>
                      <a:pt x="69" y="168"/>
                    </a:lnTo>
                    <a:lnTo>
                      <a:pt x="73" y="170"/>
                    </a:lnTo>
                    <a:lnTo>
                      <a:pt x="76" y="171"/>
                    </a:lnTo>
                    <a:lnTo>
                      <a:pt x="79" y="176"/>
                    </a:lnTo>
                    <a:lnTo>
                      <a:pt x="82" y="178"/>
                    </a:lnTo>
                    <a:lnTo>
                      <a:pt x="82" y="181"/>
                    </a:lnTo>
                    <a:lnTo>
                      <a:pt x="84" y="183"/>
                    </a:lnTo>
                    <a:lnTo>
                      <a:pt x="85" y="186"/>
                    </a:lnTo>
                    <a:lnTo>
                      <a:pt x="87" y="191"/>
                    </a:lnTo>
                    <a:lnTo>
                      <a:pt x="88" y="194"/>
                    </a:lnTo>
                    <a:lnTo>
                      <a:pt x="90" y="197"/>
                    </a:lnTo>
                    <a:lnTo>
                      <a:pt x="92" y="200"/>
                    </a:lnTo>
                    <a:lnTo>
                      <a:pt x="93" y="205"/>
                    </a:lnTo>
                    <a:lnTo>
                      <a:pt x="100" y="210"/>
                    </a:lnTo>
                    <a:lnTo>
                      <a:pt x="103" y="213"/>
                    </a:lnTo>
                    <a:lnTo>
                      <a:pt x="103" y="216"/>
                    </a:lnTo>
                    <a:lnTo>
                      <a:pt x="103" y="216"/>
                    </a:lnTo>
                    <a:lnTo>
                      <a:pt x="104" y="218"/>
                    </a:lnTo>
                    <a:lnTo>
                      <a:pt x="106" y="221"/>
                    </a:lnTo>
                    <a:lnTo>
                      <a:pt x="107" y="222"/>
                    </a:lnTo>
                    <a:lnTo>
                      <a:pt x="107" y="225"/>
                    </a:lnTo>
                    <a:lnTo>
                      <a:pt x="107" y="229"/>
                    </a:lnTo>
                    <a:lnTo>
                      <a:pt x="109" y="225"/>
                    </a:lnTo>
                    <a:lnTo>
                      <a:pt x="111" y="225"/>
                    </a:lnTo>
                    <a:lnTo>
                      <a:pt x="114" y="222"/>
                    </a:lnTo>
                    <a:lnTo>
                      <a:pt x="114" y="221"/>
                    </a:lnTo>
                    <a:lnTo>
                      <a:pt x="112" y="219"/>
                    </a:lnTo>
                    <a:lnTo>
                      <a:pt x="112" y="213"/>
                    </a:lnTo>
                    <a:lnTo>
                      <a:pt x="114" y="211"/>
                    </a:lnTo>
                    <a:lnTo>
                      <a:pt x="117" y="211"/>
                    </a:lnTo>
                    <a:lnTo>
                      <a:pt x="119" y="211"/>
                    </a:lnTo>
                    <a:lnTo>
                      <a:pt x="122" y="213"/>
                    </a:lnTo>
                    <a:lnTo>
                      <a:pt x="127" y="213"/>
                    </a:lnTo>
                    <a:lnTo>
                      <a:pt x="131" y="211"/>
                    </a:lnTo>
                    <a:lnTo>
                      <a:pt x="138" y="211"/>
                    </a:lnTo>
                    <a:lnTo>
                      <a:pt x="141" y="211"/>
                    </a:lnTo>
                    <a:lnTo>
                      <a:pt x="144" y="213"/>
                    </a:lnTo>
                    <a:lnTo>
                      <a:pt x="157" y="213"/>
                    </a:lnTo>
                    <a:lnTo>
                      <a:pt x="158" y="214"/>
                    </a:lnTo>
                    <a:lnTo>
                      <a:pt x="160" y="216"/>
                    </a:lnTo>
                    <a:lnTo>
                      <a:pt x="160" y="218"/>
                    </a:lnTo>
                    <a:lnTo>
                      <a:pt x="163" y="218"/>
                    </a:lnTo>
                    <a:lnTo>
                      <a:pt x="166" y="218"/>
                    </a:lnTo>
                    <a:lnTo>
                      <a:pt x="166" y="214"/>
                    </a:lnTo>
                    <a:lnTo>
                      <a:pt x="169" y="208"/>
                    </a:lnTo>
                    <a:lnTo>
                      <a:pt x="173" y="203"/>
                    </a:lnTo>
                    <a:lnTo>
                      <a:pt x="176" y="200"/>
                    </a:lnTo>
                    <a:lnTo>
                      <a:pt x="181" y="197"/>
                    </a:lnTo>
                    <a:lnTo>
                      <a:pt x="187" y="194"/>
                    </a:lnTo>
                    <a:lnTo>
                      <a:pt x="192" y="194"/>
                    </a:lnTo>
                    <a:lnTo>
                      <a:pt x="222" y="187"/>
                    </a:lnTo>
                    <a:lnTo>
                      <a:pt x="222" y="187"/>
                    </a:lnTo>
                    <a:lnTo>
                      <a:pt x="244" y="181"/>
                    </a:lnTo>
                    <a:lnTo>
                      <a:pt x="260" y="175"/>
                    </a:lnTo>
                    <a:lnTo>
                      <a:pt x="260" y="173"/>
                    </a:lnTo>
                    <a:lnTo>
                      <a:pt x="260" y="171"/>
                    </a:lnTo>
                    <a:lnTo>
                      <a:pt x="263" y="156"/>
                    </a:lnTo>
                    <a:lnTo>
                      <a:pt x="265" y="149"/>
                    </a:lnTo>
                    <a:lnTo>
                      <a:pt x="265" y="146"/>
                    </a:lnTo>
                    <a:lnTo>
                      <a:pt x="263" y="143"/>
                    </a:lnTo>
                    <a:lnTo>
                      <a:pt x="263" y="143"/>
                    </a:lnTo>
                    <a:lnTo>
                      <a:pt x="263" y="143"/>
                    </a:lnTo>
                    <a:lnTo>
                      <a:pt x="263" y="143"/>
                    </a:lnTo>
                    <a:lnTo>
                      <a:pt x="263" y="143"/>
                    </a:lnTo>
                    <a:lnTo>
                      <a:pt x="263" y="143"/>
                    </a:lnTo>
                    <a:lnTo>
                      <a:pt x="263" y="143"/>
                    </a:lnTo>
                    <a:lnTo>
                      <a:pt x="263" y="143"/>
                    </a:lnTo>
                    <a:lnTo>
                      <a:pt x="263" y="143"/>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89" name="Freeform 329">
                <a:extLst>
                  <a:ext uri="{FF2B5EF4-FFF2-40B4-BE49-F238E27FC236}">
                    <a16:creationId xmlns:a16="http://schemas.microsoft.com/office/drawing/2014/main" id="{1316278C-CBCF-35FF-EFA7-83FAD5CB0D25}"/>
                  </a:ext>
                </a:extLst>
              </p:cNvPr>
              <p:cNvSpPr>
                <a:spLocks noEditPoints="1"/>
              </p:cNvSpPr>
              <p:nvPr/>
            </p:nvSpPr>
            <p:spPr bwMode="auto">
              <a:xfrm>
                <a:off x="6975944" y="3410508"/>
                <a:ext cx="338705" cy="217578"/>
              </a:xfrm>
              <a:custGeom>
                <a:avLst/>
                <a:gdLst>
                  <a:gd name="T0" fmla="*/ 143 w 151"/>
                  <a:gd name="T1" fmla="*/ 94 h 97"/>
                  <a:gd name="T2" fmla="*/ 137 w 151"/>
                  <a:gd name="T3" fmla="*/ 97 h 97"/>
                  <a:gd name="T4" fmla="*/ 150 w 151"/>
                  <a:gd name="T5" fmla="*/ 97 h 97"/>
                  <a:gd name="T6" fmla="*/ 148 w 151"/>
                  <a:gd name="T7" fmla="*/ 94 h 97"/>
                  <a:gd name="T8" fmla="*/ 148 w 151"/>
                  <a:gd name="T9" fmla="*/ 94 h 97"/>
                  <a:gd name="T10" fmla="*/ 148 w 151"/>
                  <a:gd name="T11" fmla="*/ 94 h 97"/>
                  <a:gd name="T12" fmla="*/ 129 w 151"/>
                  <a:gd name="T13" fmla="*/ 32 h 97"/>
                  <a:gd name="T14" fmla="*/ 128 w 151"/>
                  <a:gd name="T15" fmla="*/ 24 h 97"/>
                  <a:gd name="T16" fmla="*/ 124 w 151"/>
                  <a:gd name="T17" fmla="*/ 18 h 97"/>
                  <a:gd name="T18" fmla="*/ 116 w 151"/>
                  <a:gd name="T19" fmla="*/ 2 h 97"/>
                  <a:gd name="T20" fmla="*/ 85 w 151"/>
                  <a:gd name="T21" fmla="*/ 7 h 97"/>
                  <a:gd name="T22" fmla="*/ 70 w 151"/>
                  <a:gd name="T23" fmla="*/ 13 h 97"/>
                  <a:gd name="T24" fmla="*/ 61 w 151"/>
                  <a:gd name="T25" fmla="*/ 27 h 97"/>
                  <a:gd name="T26" fmla="*/ 53 w 151"/>
                  <a:gd name="T27" fmla="*/ 31 h 97"/>
                  <a:gd name="T28" fmla="*/ 50 w 151"/>
                  <a:gd name="T29" fmla="*/ 26 h 97"/>
                  <a:gd name="T30" fmla="*/ 31 w 151"/>
                  <a:gd name="T31" fmla="*/ 24 h 97"/>
                  <a:gd name="T32" fmla="*/ 15 w 151"/>
                  <a:gd name="T33" fmla="*/ 26 h 97"/>
                  <a:gd name="T34" fmla="*/ 8 w 151"/>
                  <a:gd name="T35" fmla="*/ 24 h 97"/>
                  <a:gd name="T36" fmla="*/ 8 w 151"/>
                  <a:gd name="T37" fmla="*/ 34 h 97"/>
                  <a:gd name="T38" fmla="*/ 4 w 151"/>
                  <a:gd name="T39" fmla="*/ 38 h 97"/>
                  <a:gd name="T40" fmla="*/ 4 w 151"/>
                  <a:gd name="T41" fmla="*/ 45 h 97"/>
                  <a:gd name="T42" fmla="*/ 4 w 151"/>
                  <a:gd name="T43" fmla="*/ 56 h 97"/>
                  <a:gd name="T44" fmla="*/ 4 w 151"/>
                  <a:gd name="T45" fmla="*/ 58 h 97"/>
                  <a:gd name="T46" fmla="*/ 8 w 151"/>
                  <a:gd name="T47" fmla="*/ 77 h 97"/>
                  <a:gd name="T48" fmla="*/ 12 w 151"/>
                  <a:gd name="T49" fmla="*/ 86 h 97"/>
                  <a:gd name="T50" fmla="*/ 12 w 151"/>
                  <a:gd name="T51" fmla="*/ 92 h 97"/>
                  <a:gd name="T52" fmla="*/ 18 w 151"/>
                  <a:gd name="T53" fmla="*/ 94 h 97"/>
                  <a:gd name="T54" fmla="*/ 27 w 151"/>
                  <a:gd name="T55" fmla="*/ 92 h 97"/>
                  <a:gd name="T56" fmla="*/ 32 w 151"/>
                  <a:gd name="T57" fmla="*/ 92 h 97"/>
                  <a:gd name="T58" fmla="*/ 37 w 151"/>
                  <a:gd name="T59" fmla="*/ 88 h 97"/>
                  <a:gd name="T60" fmla="*/ 53 w 151"/>
                  <a:gd name="T61" fmla="*/ 81 h 97"/>
                  <a:gd name="T62" fmla="*/ 64 w 151"/>
                  <a:gd name="T63" fmla="*/ 77 h 97"/>
                  <a:gd name="T64" fmla="*/ 70 w 151"/>
                  <a:gd name="T65" fmla="*/ 73 h 97"/>
                  <a:gd name="T66" fmla="*/ 80 w 151"/>
                  <a:gd name="T67" fmla="*/ 69 h 97"/>
                  <a:gd name="T68" fmla="*/ 94 w 151"/>
                  <a:gd name="T69" fmla="*/ 62 h 97"/>
                  <a:gd name="T70" fmla="*/ 112 w 151"/>
                  <a:gd name="T71" fmla="*/ 56 h 97"/>
                  <a:gd name="T72" fmla="*/ 118 w 151"/>
                  <a:gd name="T73" fmla="*/ 51 h 97"/>
                  <a:gd name="T74" fmla="*/ 121 w 151"/>
                  <a:gd name="T75" fmla="*/ 48 h 97"/>
                  <a:gd name="T76" fmla="*/ 126 w 151"/>
                  <a:gd name="T77" fmla="*/ 38 h 97"/>
                  <a:gd name="T78" fmla="*/ 131 w 151"/>
                  <a:gd name="T79" fmla="*/ 34 h 97"/>
                  <a:gd name="T80" fmla="*/ 131 w 151"/>
                  <a:gd name="T81" fmla="*/ 34 h 97"/>
                  <a:gd name="T82" fmla="*/ 131 w 151"/>
                  <a:gd name="T83" fmla="*/ 3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1" h="97">
                    <a:moveTo>
                      <a:pt x="148" y="94"/>
                    </a:moveTo>
                    <a:lnTo>
                      <a:pt x="147" y="92"/>
                    </a:lnTo>
                    <a:lnTo>
                      <a:pt x="143" y="94"/>
                    </a:lnTo>
                    <a:lnTo>
                      <a:pt x="140" y="92"/>
                    </a:lnTo>
                    <a:lnTo>
                      <a:pt x="137" y="94"/>
                    </a:lnTo>
                    <a:lnTo>
                      <a:pt x="137" y="97"/>
                    </a:lnTo>
                    <a:lnTo>
                      <a:pt x="143" y="97"/>
                    </a:lnTo>
                    <a:lnTo>
                      <a:pt x="148" y="97"/>
                    </a:lnTo>
                    <a:lnTo>
                      <a:pt x="150" y="97"/>
                    </a:lnTo>
                    <a:lnTo>
                      <a:pt x="151" y="94"/>
                    </a:lnTo>
                    <a:lnTo>
                      <a:pt x="148" y="94"/>
                    </a:lnTo>
                    <a:lnTo>
                      <a:pt x="148" y="94"/>
                    </a:lnTo>
                    <a:lnTo>
                      <a:pt x="148" y="94"/>
                    </a:lnTo>
                    <a:lnTo>
                      <a:pt x="148" y="94"/>
                    </a:lnTo>
                    <a:lnTo>
                      <a:pt x="148" y="94"/>
                    </a:lnTo>
                    <a:lnTo>
                      <a:pt x="148" y="94"/>
                    </a:lnTo>
                    <a:lnTo>
                      <a:pt x="148" y="94"/>
                    </a:lnTo>
                    <a:lnTo>
                      <a:pt x="148" y="94"/>
                    </a:lnTo>
                    <a:lnTo>
                      <a:pt x="148" y="94"/>
                    </a:lnTo>
                    <a:close/>
                    <a:moveTo>
                      <a:pt x="131" y="34"/>
                    </a:moveTo>
                    <a:lnTo>
                      <a:pt x="129" y="32"/>
                    </a:lnTo>
                    <a:lnTo>
                      <a:pt x="129" y="29"/>
                    </a:lnTo>
                    <a:lnTo>
                      <a:pt x="128" y="27"/>
                    </a:lnTo>
                    <a:lnTo>
                      <a:pt x="128" y="24"/>
                    </a:lnTo>
                    <a:lnTo>
                      <a:pt x="126" y="23"/>
                    </a:lnTo>
                    <a:lnTo>
                      <a:pt x="124" y="21"/>
                    </a:lnTo>
                    <a:lnTo>
                      <a:pt x="124" y="18"/>
                    </a:lnTo>
                    <a:lnTo>
                      <a:pt x="121" y="13"/>
                    </a:lnTo>
                    <a:lnTo>
                      <a:pt x="121" y="13"/>
                    </a:lnTo>
                    <a:lnTo>
                      <a:pt x="116" y="2"/>
                    </a:lnTo>
                    <a:lnTo>
                      <a:pt x="115" y="0"/>
                    </a:lnTo>
                    <a:lnTo>
                      <a:pt x="116" y="0"/>
                    </a:lnTo>
                    <a:lnTo>
                      <a:pt x="85" y="7"/>
                    </a:lnTo>
                    <a:lnTo>
                      <a:pt x="80" y="7"/>
                    </a:lnTo>
                    <a:lnTo>
                      <a:pt x="74" y="10"/>
                    </a:lnTo>
                    <a:lnTo>
                      <a:pt x="70" y="13"/>
                    </a:lnTo>
                    <a:lnTo>
                      <a:pt x="66" y="16"/>
                    </a:lnTo>
                    <a:lnTo>
                      <a:pt x="64" y="21"/>
                    </a:lnTo>
                    <a:lnTo>
                      <a:pt x="61" y="27"/>
                    </a:lnTo>
                    <a:lnTo>
                      <a:pt x="59" y="31"/>
                    </a:lnTo>
                    <a:lnTo>
                      <a:pt x="56" y="31"/>
                    </a:lnTo>
                    <a:lnTo>
                      <a:pt x="53" y="31"/>
                    </a:lnTo>
                    <a:lnTo>
                      <a:pt x="53" y="29"/>
                    </a:lnTo>
                    <a:lnTo>
                      <a:pt x="51" y="27"/>
                    </a:lnTo>
                    <a:lnTo>
                      <a:pt x="50" y="26"/>
                    </a:lnTo>
                    <a:lnTo>
                      <a:pt x="39" y="26"/>
                    </a:lnTo>
                    <a:lnTo>
                      <a:pt x="35" y="24"/>
                    </a:lnTo>
                    <a:lnTo>
                      <a:pt x="31" y="24"/>
                    </a:lnTo>
                    <a:lnTo>
                      <a:pt x="24" y="24"/>
                    </a:lnTo>
                    <a:lnTo>
                      <a:pt x="21" y="26"/>
                    </a:lnTo>
                    <a:lnTo>
                      <a:pt x="15" y="26"/>
                    </a:lnTo>
                    <a:lnTo>
                      <a:pt x="12" y="24"/>
                    </a:lnTo>
                    <a:lnTo>
                      <a:pt x="12" y="24"/>
                    </a:lnTo>
                    <a:lnTo>
                      <a:pt x="8" y="24"/>
                    </a:lnTo>
                    <a:lnTo>
                      <a:pt x="7" y="26"/>
                    </a:lnTo>
                    <a:lnTo>
                      <a:pt x="7" y="32"/>
                    </a:lnTo>
                    <a:lnTo>
                      <a:pt x="8" y="34"/>
                    </a:lnTo>
                    <a:lnTo>
                      <a:pt x="8" y="35"/>
                    </a:lnTo>
                    <a:lnTo>
                      <a:pt x="5" y="38"/>
                    </a:lnTo>
                    <a:lnTo>
                      <a:pt x="4" y="38"/>
                    </a:lnTo>
                    <a:lnTo>
                      <a:pt x="2" y="42"/>
                    </a:lnTo>
                    <a:lnTo>
                      <a:pt x="4" y="42"/>
                    </a:lnTo>
                    <a:lnTo>
                      <a:pt x="4" y="45"/>
                    </a:lnTo>
                    <a:lnTo>
                      <a:pt x="2" y="50"/>
                    </a:lnTo>
                    <a:lnTo>
                      <a:pt x="2" y="53"/>
                    </a:lnTo>
                    <a:lnTo>
                      <a:pt x="4" y="56"/>
                    </a:lnTo>
                    <a:lnTo>
                      <a:pt x="2" y="56"/>
                    </a:lnTo>
                    <a:lnTo>
                      <a:pt x="0" y="56"/>
                    </a:lnTo>
                    <a:lnTo>
                      <a:pt x="4" y="58"/>
                    </a:lnTo>
                    <a:lnTo>
                      <a:pt x="5" y="62"/>
                    </a:lnTo>
                    <a:lnTo>
                      <a:pt x="8" y="73"/>
                    </a:lnTo>
                    <a:lnTo>
                      <a:pt x="8" y="77"/>
                    </a:lnTo>
                    <a:lnTo>
                      <a:pt x="8" y="80"/>
                    </a:lnTo>
                    <a:lnTo>
                      <a:pt x="8" y="83"/>
                    </a:lnTo>
                    <a:lnTo>
                      <a:pt x="12" y="86"/>
                    </a:lnTo>
                    <a:lnTo>
                      <a:pt x="12" y="88"/>
                    </a:lnTo>
                    <a:lnTo>
                      <a:pt x="12" y="91"/>
                    </a:lnTo>
                    <a:lnTo>
                      <a:pt x="12" y="92"/>
                    </a:lnTo>
                    <a:lnTo>
                      <a:pt x="15" y="92"/>
                    </a:lnTo>
                    <a:lnTo>
                      <a:pt x="18" y="92"/>
                    </a:lnTo>
                    <a:lnTo>
                      <a:pt x="18" y="94"/>
                    </a:lnTo>
                    <a:lnTo>
                      <a:pt x="21" y="94"/>
                    </a:lnTo>
                    <a:lnTo>
                      <a:pt x="26" y="92"/>
                    </a:lnTo>
                    <a:lnTo>
                      <a:pt x="27" y="92"/>
                    </a:lnTo>
                    <a:lnTo>
                      <a:pt x="31" y="92"/>
                    </a:lnTo>
                    <a:lnTo>
                      <a:pt x="31" y="91"/>
                    </a:lnTo>
                    <a:lnTo>
                      <a:pt x="32" y="92"/>
                    </a:lnTo>
                    <a:lnTo>
                      <a:pt x="34" y="89"/>
                    </a:lnTo>
                    <a:lnTo>
                      <a:pt x="35" y="88"/>
                    </a:lnTo>
                    <a:lnTo>
                      <a:pt x="37" y="88"/>
                    </a:lnTo>
                    <a:lnTo>
                      <a:pt x="40" y="85"/>
                    </a:lnTo>
                    <a:lnTo>
                      <a:pt x="42" y="83"/>
                    </a:lnTo>
                    <a:lnTo>
                      <a:pt x="53" y="81"/>
                    </a:lnTo>
                    <a:lnTo>
                      <a:pt x="56" y="81"/>
                    </a:lnTo>
                    <a:lnTo>
                      <a:pt x="59" y="80"/>
                    </a:lnTo>
                    <a:lnTo>
                      <a:pt x="64" y="77"/>
                    </a:lnTo>
                    <a:lnTo>
                      <a:pt x="67" y="75"/>
                    </a:lnTo>
                    <a:lnTo>
                      <a:pt x="70" y="73"/>
                    </a:lnTo>
                    <a:lnTo>
                      <a:pt x="70" y="73"/>
                    </a:lnTo>
                    <a:lnTo>
                      <a:pt x="74" y="73"/>
                    </a:lnTo>
                    <a:lnTo>
                      <a:pt x="78" y="72"/>
                    </a:lnTo>
                    <a:lnTo>
                      <a:pt x="80" y="69"/>
                    </a:lnTo>
                    <a:lnTo>
                      <a:pt x="83" y="65"/>
                    </a:lnTo>
                    <a:lnTo>
                      <a:pt x="88" y="64"/>
                    </a:lnTo>
                    <a:lnTo>
                      <a:pt x="94" y="62"/>
                    </a:lnTo>
                    <a:lnTo>
                      <a:pt x="101" y="61"/>
                    </a:lnTo>
                    <a:lnTo>
                      <a:pt x="105" y="59"/>
                    </a:lnTo>
                    <a:lnTo>
                      <a:pt x="112" y="56"/>
                    </a:lnTo>
                    <a:lnTo>
                      <a:pt x="113" y="54"/>
                    </a:lnTo>
                    <a:lnTo>
                      <a:pt x="115" y="53"/>
                    </a:lnTo>
                    <a:lnTo>
                      <a:pt x="118" y="51"/>
                    </a:lnTo>
                    <a:lnTo>
                      <a:pt x="120" y="51"/>
                    </a:lnTo>
                    <a:lnTo>
                      <a:pt x="121" y="50"/>
                    </a:lnTo>
                    <a:lnTo>
                      <a:pt x="121" y="48"/>
                    </a:lnTo>
                    <a:lnTo>
                      <a:pt x="121" y="42"/>
                    </a:lnTo>
                    <a:lnTo>
                      <a:pt x="123" y="42"/>
                    </a:lnTo>
                    <a:lnTo>
                      <a:pt x="126" y="38"/>
                    </a:lnTo>
                    <a:lnTo>
                      <a:pt x="132" y="35"/>
                    </a:lnTo>
                    <a:lnTo>
                      <a:pt x="131" y="35"/>
                    </a:lnTo>
                    <a:lnTo>
                      <a:pt x="131" y="34"/>
                    </a:lnTo>
                    <a:lnTo>
                      <a:pt x="131" y="34"/>
                    </a:lnTo>
                    <a:lnTo>
                      <a:pt x="131" y="34"/>
                    </a:lnTo>
                    <a:lnTo>
                      <a:pt x="131" y="34"/>
                    </a:lnTo>
                    <a:lnTo>
                      <a:pt x="131" y="34"/>
                    </a:lnTo>
                    <a:lnTo>
                      <a:pt x="131" y="34"/>
                    </a:lnTo>
                    <a:lnTo>
                      <a:pt x="131" y="34"/>
                    </a:lnTo>
                    <a:lnTo>
                      <a:pt x="131" y="34"/>
                    </a:lnTo>
                    <a:lnTo>
                      <a:pt x="131" y="3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90" name="Freeform 331">
                <a:extLst>
                  <a:ext uri="{FF2B5EF4-FFF2-40B4-BE49-F238E27FC236}">
                    <a16:creationId xmlns:a16="http://schemas.microsoft.com/office/drawing/2014/main" id="{36ECB3A9-1A36-122E-0369-3CE28AA17F70}"/>
                  </a:ext>
                </a:extLst>
              </p:cNvPr>
              <p:cNvSpPr>
                <a:spLocks/>
              </p:cNvSpPr>
              <p:nvPr/>
            </p:nvSpPr>
            <p:spPr bwMode="auto">
              <a:xfrm>
                <a:off x="7233897" y="3222090"/>
                <a:ext cx="213092" cy="266926"/>
              </a:xfrm>
              <a:custGeom>
                <a:avLst/>
                <a:gdLst>
                  <a:gd name="T0" fmla="*/ 90 w 95"/>
                  <a:gd name="T1" fmla="*/ 34 h 119"/>
                  <a:gd name="T2" fmla="*/ 84 w 95"/>
                  <a:gd name="T3" fmla="*/ 27 h 119"/>
                  <a:gd name="T4" fmla="*/ 81 w 95"/>
                  <a:gd name="T5" fmla="*/ 21 h 119"/>
                  <a:gd name="T6" fmla="*/ 70 w 95"/>
                  <a:gd name="T7" fmla="*/ 18 h 119"/>
                  <a:gd name="T8" fmla="*/ 60 w 95"/>
                  <a:gd name="T9" fmla="*/ 15 h 119"/>
                  <a:gd name="T10" fmla="*/ 51 w 95"/>
                  <a:gd name="T11" fmla="*/ 3 h 119"/>
                  <a:gd name="T12" fmla="*/ 49 w 95"/>
                  <a:gd name="T13" fmla="*/ 0 h 119"/>
                  <a:gd name="T14" fmla="*/ 44 w 95"/>
                  <a:gd name="T15" fmla="*/ 0 h 119"/>
                  <a:gd name="T16" fmla="*/ 43 w 95"/>
                  <a:gd name="T17" fmla="*/ 3 h 119"/>
                  <a:gd name="T18" fmla="*/ 44 w 95"/>
                  <a:gd name="T19" fmla="*/ 11 h 119"/>
                  <a:gd name="T20" fmla="*/ 46 w 95"/>
                  <a:gd name="T21" fmla="*/ 13 h 119"/>
                  <a:gd name="T22" fmla="*/ 40 w 95"/>
                  <a:gd name="T23" fmla="*/ 15 h 119"/>
                  <a:gd name="T24" fmla="*/ 41 w 95"/>
                  <a:gd name="T25" fmla="*/ 18 h 119"/>
                  <a:gd name="T26" fmla="*/ 38 w 95"/>
                  <a:gd name="T27" fmla="*/ 29 h 119"/>
                  <a:gd name="T28" fmla="*/ 38 w 95"/>
                  <a:gd name="T29" fmla="*/ 34 h 119"/>
                  <a:gd name="T30" fmla="*/ 40 w 95"/>
                  <a:gd name="T31" fmla="*/ 37 h 119"/>
                  <a:gd name="T32" fmla="*/ 44 w 95"/>
                  <a:gd name="T33" fmla="*/ 43 h 119"/>
                  <a:gd name="T34" fmla="*/ 43 w 95"/>
                  <a:gd name="T35" fmla="*/ 53 h 119"/>
                  <a:gd name="T36" fmla="*/ 38 w 95"/>
                  <a:gd name="T37" fmla="*/ 70 h 119"/>
                  <a:gd name="T38" fmla="*/ 22 w 95"/>
                  <a:gd name="T39" fmla="*/ 78 h 119"/>
                  <a:gd name="T40" fmla="*/ 0 w 95"/>
                  <a:gd name="T41" fmla="*/ 84 h 119"/>
                  <a:gd name="T42" fmla="*/ 6 w 95"/>
                  <a:gd name="T43" fmla="*/ 97 h 119"/>
                  <a:gd name="T44" fmla="*/ 9 w 95"/>
                  <a:gd name="T45" fmla="*/ 102 h 119"/>
                  <a:gd name="T46" fmla="*/ 11 w 95"/>
                  <a:gd name="T47" fmla="*/ 107 h 119"/>
                  <a:gd name="T48" fmla="*/ 13 w 95"/>
                  <a:gd name="T49" fmla="*/ 111 h 119"/>
                  <a:gd name="T50" fmla="*/ 14 w 95"/>
                  <a:gd name="T51" fmla="*/ 116 h 119"/>
                  <a:gd name="T52" fmla="*/ 16 w 95"/>
                  <a:gd name="T53" fmla="*/ 119 h 119"/>
                  <a:gd name="T54" fmla="*/ 22 w 95"/>
                  <a:gd name="T55" fmla="*/ 119 h 119"/>
                  <a:gd name="T56" fmla="*/ 28 w 95"/>
                  <a:gd name="T57" fmla="*/ 116 h 119"/>
                  <a:gd name="T58" fmla="*/ 35 w 95"/>
                  <a:gd name="T59" fmla="*/ 115 h 119"/>
                  <a:gd name="T60" fmla="*/ 38 w 95"/>
                  <a:gd name="T61" fmla="*/ 116 h 119"/>
                  <a:gd name="T62" fmla="*/ 43 w 95"/>
                  <a:gd name="T63" fmla="*/ 113 h 119"/>
                  <a:gd name="T64" fmla="*/ 43 w 95"/>
                  <a:gd name="T65" fmla="*/ 108 h 119"/>
                  <a:gd name="T66" fmla="*/ 47 w 95"/>
                  <a:gd name="T67" fmla="*/ 102 h 119"/>
                  <a:gd name="T68" fmla="*/ 54 w 95"/>
                  <a:gd name="T69" fmla="*/ 102 h 119"/>
                  <a:gd name="T70" fmla="*/ 60 w 95"/>
                  <a:gd name="T71" fmla="*/ 97 h 119"/>
                  <a:gd name="T72" fmla="*/ 60 w 95"/>
                  <a:gd name="T73" fmla="*/ 91 h 119"/>
                  <a:gd name="T74" fmla="*/ 71 w 95"/>
                  <a:gd name="T75" fmla="*/ 88 h 119"/>
                  <a:gd name="T76" fmla="*/ 73 w 95"/>
                  <a:gd name="T77" fmla="*/ 84 h 119"/>
                  <a:gd name="T78" fmla="*/ 71 w 95"/>
                  <a:gd name="T79" fmla="*/ 78 h 119"/>
                  <a:gd name="T80" fmla="*/ 73 w 95"/>
                  <a:gd name="T81" fmla="*/ 68 h 119"/>
                  <a:gd name="T82" fmla="*/ 76 w 95"/>
                  <a:gd name="T83" fmla="*/ 64 h 119"/>
                  <a:gd name="T84" fmla="*/ 78 w 95"/>
                  <a:gd name="T85" fmla="*/ 64 h 119"/>
                  <a:gd name="T86" fmla="*/ 81 w 95"/>
                  <a:gd name="T87" fmla="*/ 65 h 119"/>
                  <a:gd name="T88" fmla="*/ 81 w 95"/>
                  <a:gd name="T89" fmla="*/ 62 h 119"/>
                  <a:gd name="T90" fmla="*/ 87 w 95"/>
                  <a:gd name="T91" fmla="*/ 53 h 119"/>
                  <a:gd name="T92" fmla="*/ 90 w 95"/>
                  <a:gd name="T93" fmla="*/ 48 h 119"/>
                  <a:gd name="T94" fmla="*/ 95 w 95"/>
                  <a:gd name="T95" fmla="*/ 37 h 119"/>
                  <a:gd name="T96" fmla="*/ 93 w 95"/>
                  <a:gd name="T97" fmla="*/ 35 h 119"/>
                  <a:gd name="T98" fmla="*/ 93 w 95"/>
                  <a:gd name="T99" fmla="*/ 35 h 119"/>
                  <a:gd name="T100" fmla="*/ 93 w 95"/>
                  <a:gd name="T101" fmla="*/ 35 h 119"/>
                  <a:gd name="T102" fmla="*/ 93 w 95"/>
                  <a:gd name="T103" fmla="*/ 35 h 119"/>
                  <a:gd name="T104" fmla="*/ 93 w 95"/>
                  <a:gd name="T105" fmla="*/ 3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 h="119">
                    <a:moveTo>
                      <a:pt x="93" y="35"/>
                    </a:moveTo>
                    <a:lnTo>
                      <a:pt x="90" y="34"/>
                    </a:lnTo>
                    <a:lnTo>
                      <a:pt x="89" y="32"/>
                    </a:lnTo>
                    <a:lnTo>
                      <a:pt x="84" y="27"/>
                    </a:lnTo>
                    <a:lnTo>
                      <a:pt x="81" y="22"/>
                    </a:lnTo>
                    <a:lnTo>
                      <a:pt x="81" y="21"/>
                    </a:lnTo>
                    <a:lnTo>
                      <a:pt x="78" y="19"/>
                    </a:lnTo>
                    <a:lnTo>
                      <a:pt x="70" y="18"/>
                    </a:lnTo>
                    <a:lnTo>
                      <a:pt x="62" y="16"/>
                    </a:lnTo>
                    <a:lnTo>
                      <a:pt x="60" y="15"/>
                    </a:lnTo>
                    <a:lnTo>
                      <a:pt x="57" y="11"/>
                    </a:lnTo>
                    <a:lnTo>
                      <a:pt x="51" y="3"/>
                    </a:lnTo>
                    <a:lnTo>
                      <a:pt x="51" y="3"/>
                    </a:lnTo>
                    <a:lnTo>
                      <a:pt x="49" y="0"/>
                    </a:lnTo>
                    <a:lnTo>
                      <a:pt x="46" y="3"/>
                    </a:lnTo>
                    <a:lnTo>
                      <a:pt x="44" y="0"/>
                    </a:lnTo>
                    <a:lnTo>
                      <a:pt x="43" y="0"/>
                    </a:lnTo>
                    <a:lnTo>
                      <a:pt x="43" y="3"/>
                    </a:lnTo>
                    <a:lnTo>
                      <a:pt x="43" y="7"/>
                    </a:lnTo>
                    <a:lnTo>
                      <a:pt x="44" y="11"/>
                    </a:lnTo>
                    <a:lnTo>
                      <a:pt x="46" y="11"/>
                    </a:lnTo>
                    <a:lnTo>
                      <a:pt x="46" y="13"/>
                    </a:lnTo>
                    <a:lnTo>
                      <a:pt x="43" y="15"/>
                    </a:lnTo>
                    <a:lnTo>
                      <a:pt x="40" y="15"/>
                    </a:lnTo>
                    <a:lnTo>
                      <a:pt x="40" y="16"/>
                    </a:lnTo>
                    <a:lnTo>
                      <a:pt x="41" y="18"/>
                    </a:lnTo>
                    <a:lnTo>
                      <a:pt x="40" y="24"/>
                    </a:lnTo>
                    <a:lnTo>
                      <a:pt x="38" y="29"/>
                    </a:lnTo>
                    <a:lnTo>
                      <a:pt x="38" y="32"/>
                    </a:lnTo>
                    <a:lnTo>
                      <a:pt x="38" y="34"/>
                    </a:lnTo>
                    <a:lnTo>
                      <a:pt x="38" y="34"/>
                    </a:lnTo>
                    <a:lnTo>
                      <a:pt x="40" y="37"/>
                    </a:lnTo>
                    <a:lnTo>
                      <a:pt x="43" y="40"/>
                    </a:lnTo>
                    <a:lnTo>
                      <a:pt x="44" y="43"/>
                    </a:lnTo>
                    <a:lnTo>
                      <a:pt x="44" y="46"/>
                    </a:lnTo>
                    <a:lnTo>
                      <a:pt x="43" y="53"/>
                    </a:lnTo>
                    <a:lnTo>
                      <a:pt x="38" y="68"/>
                    </a:lnTo>
                    <a:lnTo>
                      <a:pt x="38" y="70"/>
                    </a:lnTo>
                    <a:lnTo>
                      <a:pt x="38" y="72"/>
                    </a:lnTo>
                    <a:lnTo>
                      <a:pt x="22" y="78"/>
                    </a:lnTo>
                    <a:lnTo>
                      <a:pt x="1" y="84"/>
                    </a:lnTo>
                    <a:lnTo>
                      <a:pt x="0" y="84"/>
                    </a:lnTo>
                    <a:lnTo>
                      <a:pt x="1" y="86"/>
                    </a:lnTo>
                    <a:lnTo>
                      <a:pt x="6" y="97"/>
                    </a:lnTo>
                    <a:lnTo>
                      <a:pt x="6" y="97"/>
                    </a:lnTo>
                    <a:lnTo>
                      <a:pt x="9" y="102"/>
                    </a:lnTo>
                    <a:lnTo>
                      <a:pt x="9" y="105"/>
                    </a:lnTo>
                    <a:lnTo>
                      <a:pt x="11" y="107"/>
                    </a:lnTo>
                    <a:lnTo>
                      <a:pt x="13" y="108"/>
                    </a:lnTo>
                    <a:lnTo>
                      <a:pt x="13" y="111"/>
                    </a:lnTo>
                    <a:lnTo>
                      <a:pt x="14" y="113"/>
                    </a:lnTo>
                    <a:lnTo>
                      <a:pt x="14" y="116"/>
                    </a:lnTo>
                    <a:lnTo>
                      <a:pt x="16" y="118"/>
                    </a:lnTo>
                    <a:lnTo>
                      <a:pt x="16" y="119"/>
                    </a:lnTo>
                    <a:lnTo>
                      <a:pt x="17" y="119"/>
                    </a:lnTo>
                    <a:lnTo>
                      <a:pt x="22" y="119"/>
                    </a:lnTo>
                    <a:lnTo>
                      <a:pt x="25" y="118"/>
                    </a:lnTo>
                    <a:lnTo>
                      <a:pt x="28" y="116"/>
                    </a:lnTo>
                    <a:lnTo>
                      <a:pt x="32" y="115"/>
                    </a:lnTo>
                    <a:lnTo>
                      <a:pt x="35" y="115"/>
                    </a:lnTo>
                    <a:lnTo>
                      <a:pt x="36" y="116"/>
                    </a:lnTo>
                    <a:lnTo>
                      <a:pt x="38" y="116"/>
                    </a:lnTo>
                    <a:lnTo>
                      <a:pt x="40" y="116"/>
                    </a:lnTo>
                    <a:lnTo>
                      <a:pt x="43" y="113"/>
                    </a:lnTo>
                    <a:lnTo>
                      <a:pt x="44" y="111"/>
                    </a:lnTo>
                    <a:lnTo>
                      <a:pt x="43" y="108"/>
                    </a:lnTo>
                    <a:lnTo>
                      <a:pt x="44" y="105"/>
                    </a:lnTo>
                    <a:lnTo>
                      <a:pt x="47" y="102"/>
                    </a:lnTo>
                    <a:lnTo>
                      <a:pt x="51" y="102"/>
                    </a:lnTo>
                    <a:lnTo>
                      <a:pt x="54" y="102"/>
                    </a:lnTo>
                    <a:lnTo>
                      <a:pt x="57" y="99"/>
                    </a:lnTo>
                    <a:lnTo>
                      <a:pt x="60" y="97"/>
                    </a:lnTo>
                    <a:lnTo>
                      <a:pt x="60" y="94"/>
                    </a:lnTo>
                    <a:lnTo>
                      <a:pt x="60" y="91"/>
                    </a:lnTo>
                    <a:lnTo>
                      <a:pt x="63" y="88"/>
                    </a:lnTo>
                    <a:lnTo>
                      <a:pt x="71" y="88"/>
                    </a:lnTo>
                    <a:lnTo>
                      <a:pt x="73" y="88"/>
                    </a:lnTo>
                    <a:lnTo>
                      <a:pt x="73" y="84"/>
                    </a:lnTo>
                    <a:lnTo>
                      <a:pt x="73" y="83"/>
                    </a:lnTo>
                    <a:lnTo>
                      <a:pt x="71" y="78"/>
                    </a:lnTo>
                    <a:lnTo>
                      <a:pt x="73" y="73"/>
                    </a:lnTo>
                    <a:lnTo>
                      <a:pt x="73" y="68"/>
                    </a:lnTo>
                    <a:lnTo>
                      <a:pt x="74" y="65"/>
                    </a:lnTo>
                    <a:lnTo>
                      <a:pt x="76" y="64"/>
                    </a:lnTo>
                    <a:lnTo>
                      <a:pt x="78" y="62"/>
                    </a:lnTo>
                    <a:lnTo>
                      <a:pt x="78" y="64"/>
                    </a:lnTo>
                    <a:lnTo>
                      <a:pt x="78" y="65"/>
                    </a:lnTo>
                    <a:lnTo>
                      <a:pt x="81" y="65"/>
                    </a:lnTo>
                    <a:lnTo>
                      <a:pt x="81" y="64"/>
                    </a:lnTo>
                    <a:lnTo>
                      <a:pt x="81" y="62"/>
                    </a:lnTo>
                    <a:lnTo>
                      <a:pt x="84" y="56"/>
                    </a:lnTo>
                    <a:lnTo>
                      <a:pt x="87" y="53"/>
                    </a:lnTo>
                    <a:lnTo>
                      <a:pt x="89" y="51"/>
                    </a:lnTo>
                    <a:lnTo>
                      <a:pt x="90" y="48"/>
                    </a:lnTo>
                    <a:lnTo>
                      <a:pt x="95" y="40"/>
                    </a:lnTo>
                    <a:lnTo>
                      <a:pt x="95" y="37"/>
                    </a:lnTo>
                    <a:lnTo>
                      <a:pt x="95" y="35"/>
                    </a:lnTo>
                    <a:lnTo>
                      <a:pt x="93" y="35"/>
                    </a:lnTo>
                    <a:lnTo>
                      <a:pt x="93" y="35"/>
                    </a:lnTo>
                    <a:lnTo>
                      <a:pt x="93" y="35"/>
                    </a:lnTo>
                    <a:lnTo>
                      <a:pt x="93" y="35"/>
                    </a:lnTo>
                    <a:lnTo>
                      <a:pt x="93" y="35"/>
                    </a:lnTo>
                    <a:lnTo>
                      <a:pt x="93" y="35"/>
                    </a:lnTo>
                    <a:lnTo>
                      <a:pt x="93" y="35"/>
                    </a:lnTo>
                    <a:lnTo>
                      <a:pt x="93" y="35"/>
                    </a:lnTo>
                    <a:lnTo>
                      <a:pt x="93" y="35"/>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91" name="Freeform 333">
                <a:extLst>
                  <a:ext uri="{FF2B5EF4-FFF2-40B4-BE49-F238E27FC236}">
                    <a16:creationId xmlns:a16="http://schemas.microsoft.com/office/drawing/2014/main" id="{A1434209-9E4B-62F5-EAC5-81884B58DE90}"/>
                  </a:ext>
                </a:extLst>
              </p:cNvPr>
              <p:cNvSpPr>
                <a:spLocks/>
              </p:cNvSpPr>
              <p:nvPr/>
            </p:nvSpPr>
            <p:spPr bwMode="auto">
              <a:xfrm>
                <a:off x="6749393" y="2822824"/>
                <a:ext cx="170474" cy="174960"/>
              </a:xfrm>
              <a:custGeom>
                <a:avLst/>
                <a:gdLst>
                  <a:gd name="T0" fmla="*/ 70 w 76"/>
                  <a:gd name="T1" fmla="*/ 4 h 78"/>
                  <a:gd name="T2" fmla="*/ 65 w 76"/>
                  <a:gd name="T3" fmla="*/ 4 h 78"/>
                  <a:gd name="T4" fmla="*/ 57 w 76"/>
                  <a:gd name="T5" fmla="*/ 4 h 78"/>
                  <a:gd name="T6" fmla="*/ 54 w 76"/>
                  <a:gd name="T7" fmla="*/ 4 h 78"/>
                  <a:gd name="T8" fmla="*/ 41 w 76"/>
                  <a:gd name="T9" fmla="*/ 10 h 78"/>
                  <a:gd name="T10" fmla="*/ 38 w 76"/>
                  <a:gd name="T11" fmla="*/ 10 h 78"/>
                  <a:gd name="T12" fmla="*/ 32 w 76"/>
                  <a:gd name="T13" fmla="*/ 8 h 78"/>
                  <a:gd name="T14" fmla="*/ 28 w 76"/>
                  <a:gd name="T15" fmla="*/ 7 h 78"/>
                  <a:gd name="T16" fmla="*/ 22 w 76"/>
                  <a:gd name="T17" fmla="*/ 8 h 78"/>
                  <a:gd name="T18" fmla="*/ 16 w 76"/>
                  <a:gd name="T19" fmla="*/ 10 h 78"/>
                  <a:gd name="T20" fmla="*/ 13 w 76"/>
                  <a:gd name="T21" fmla="*/ 8 h 78"/>
                  <a:gd name="T22" fmla="*/ 9 w 76"/>
                  <a:gd name="T23" fmla="*/ 8 h 78"/>
                  <a:gd name="T24" fmla="*/ 8 w 76"/>
                  <a:gd name="T25" fmla="*/ 12 h 78"/>
                  <a:gd name="T26" fmla="*/ 9 w 76"/>
                  <a:gd name="T27" fmla="*/ 15 h 78"/>
                  <a:gd name="T28" fmla="*/ 6 w 76"/>
                  <a:gd name="T29" fmla="*/ 18 h 78"/>
                  <a:gd name="T30" fmla="*/ 6 w 76"/>
                  <a:gd name="T31" fmla="*/ 19 h 78"/>
                  <a:gd name="T32" fmla="*/ 3 w 76"/>
                  <a:gd name="T33" fmla="*/ 21 h 78"/>
                  <a:gd name="T34" fmla="*/ 1 w 76"/>
                  <a:gd name="T35" fmla="*/ 21 h 78"/>
                  <a:gd name="T36" fmla="*/ 0 w 76"/>
                  <a:gd name="T37" fmla="*/ 24 h 78"/>
                  <a:gd name="T38" fmla="*/ 1 w 76"/>
                  <a:gd name="T39" fmla="*/ 27 h 78"/>
                  <a:gd name="T40" fmla="*/ 1 w 76"/>
                  <a:gd name="T41" fmla="*/ 31 h 78"/>
                  <a:gd name="T42" fmla="*/ 1 w 76"/>
                  <a:gd name="T43" fmla="*/ 35 h 78"/>
                  <a:gd name="T44" fmla="*/ 5 w 76"/>
                  <a:gd name="T45" fmla="*/ 39 h 78"/>
                  <a:gd name="T46" fmla="*/ 6 w 76"/>
                  <a:gd name="T47" fmla="*/ 39 h 78"/>
                  <a:gd name="T48" fmla="*/ 8 w 76"/>
                  <a:gd name="T49" fmla="*/ 42 h 78"/>
                  <a:gd name="T50" fmla="*/ 9 w 76"/>
                  <a:gd name="T51" fmla="*/ 42 h 78"/>
                  <a:gd name="T52" fmla="*/ 11 w 76"/>
                  <a:gd name="T53" fmla="*/ 46 h 78"/>
                  <a:gd name="T54" fmla="*/ 9 w 76"/>
                  <a:gd name="T55" fmla="*/ 48 h 78"/>
                  <a:gd name="T56" fmla="*/ 9 w 76"/>
                  <a:gd name="T57" fmla="*/ 50 h 78"/>
                  <a:gd name="T58" fmla="*/ 5 w 76"/>
                  <a:gd name="T59" fmla="*/ 50 h 78"/>
                  <a:gd name="T60" fmla="*/ 6 w 76"/>
                  <a:gd name="T61" fmla="*/ 54 h 78"/>
                  <a:gd name="T62" fmla="*/ 3 w 76"/>
                  <a:gd name="T63" fmla="*/ 58 h 78"/>
                  <a:gd name="T64" fmla="*/ 1 w 76"/>
                  <a:gd name="T65" fmla="*/ 64 h 78"/>
                  <a:gd name="T66" fmla="*/ 1 w 76"/>
                  <a:gd name="T67" fmla="*/ 69 h 78"/>
                  <a:gd name="T68" fmla="*/ 1 w 76"/>
                  <a:gd name="T69" fmla="*/ 72 h 78"/>
                  <a:gd name="T70" fmla="*/ 14 w 76"/>
                  <a:gd name="T71" fmla="*/ 78 h 78"/>
                  <a:gd name="T72" fmla="*/ 41 w 76"/>
                  <a:gd name="T73" fmla="*/ 75 h 78"/>
                  <a:gd name="T74" fmla="*/ 44 w 76"/>
                  <a:gd name="T75" fmla="*/ 73 h 78"/>
                  <a:gd name="T76" fmla="*/ 43 w 76"/>
                  <a:gd name="T77" fmla="*/ 72 h 78"/>
                  <a:gd name="T78" fmla="*/ 43 w 76"/>
                  <a:gd name="T79" fmla="*/ 70 h 78"/>
                  <a:gd name="T80" fmla="*/ 43 w 76"/>
                  <a:gd name="T81" fmla="*/ 67 h 78"/>
                  <a:gd name="T82" fmla="*/ 40 w 76"/>
                  <a:gd name="T83" fmla="*/ 58 h 78"/>
                  <a:gd name="T84" fmla="*/ 49 w 76"/>
                  <a:gd name="T85" fmla="*/ 53 h 78"/>
                  <a:gd name="T86" fmla="*/ 60 w 76"/>
                  <a:gd name="T87" fmla="*/ 46 h 78"/>
                  <a:gd name="T88" fmla="*/ 65 w 76"/>
                  <a:gd name="T89" fmla="*/ 39 h 78"/>
                  <a:gd name="T90" fmla="*/ 65 w 76"/>
                  <a:gd name="T91" fmla="*/ 35 h 78"/>
                  <a:gd name="T92" fmla="*/ 67 w 76"/>
                  <a:gd name="T93" fmla="*/ 26 h 78"/>
                  <a:gd name="T94" fmla="*/ 67 w 76"/>
                  <a:gd name="T95" fmla="*/ 24 h 78"/>
                  <a:gd name="T96" fmla="*/ 63 w 76"/>
                  <a:gd name="T97" fmla="*/ 15 h 78"/>
                  <a:gd name="T98" fmla="*/ 67 w 76"/>
                  <a:gd name="T99" fmla="*/ 13 h 78"/>
                  <a:gd name="T100" fmla="*/ 71 w 76"/>
                  <a:gd name="T101" fmla="*/ 10 h 78"/>
                  <a:gd name="T102" fmla="*/ 75 w 76"/>
                  <a:gd name="T103" fmla="*/ 7 h 78"/>
                  <a:gd name="T104" fmla="*/ 76 w 76"/>
                  <a:gd name="T105" fmla="*/ 4 h 78"/>
                  <a:gd name="T106" fmla="*/ 76 w 76"/>
                  <a:gd name="T107" fmla="*/ 2 h 78"/>
                  <a:gd name="T108" fmla="*/ 75 w 76"/>
                  <a:gd name="T10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 h="78">
                    <a:moveTo>
                      <a:pt x="75" y="0"/>
                    </a:moveTo>
                    <a:lnTo>
                      <a:pt x="75" y="0"/>
                    </a:lnTo>
                    <a:lnTo>
                      <a:pt x="70" y="4"/>
                    </a:lnTo>
                    <a:lnTo>
                      <a:pt x="70" y="4"/>
                    </a:lnTo>
                    <a:lnTo>
                      <a:pt x="65" y="4"/>
                    </a:lnTo>
                    <a:lnTo>
                      <a:pt x="65" y="4"/>
                    </a:lnTo>
                    <a:lnTo>
                      <a:pt x="63" y="4"/>
                    </a:lnTo>
                    <a:lnTo>
                      <a:pt x="63" y="4"/>
                    </a:lnTo>
                    <a:lnTo>
                      <a:pt x="57" y="4"/>
                    </a:lnTo>
                    <a:lnTo>
                      <a:pt x="57" y="4"/>
                    </a:lnTo>
                    <a:lnTo>
                      <a:pt x="54" y="4"/>
                    </a:lnTo>
                    <a:lnTo>
                      <a:pt x="54" y="4"/>
                    </a:lnTo>
                    <a:lnTo>
                      <a:pt x="49" y="7"/>
                    </a:lnTo>
                    <a:lnTo>
                      <a:pt x="49" y="7"/>
                    </a:lnTo>
                    <a:lnTo>
                      <a:pt x="41" y="10"/>
                    </a:lnTo>
                    <a:lnTo>
                      <a:pt x="41" y="10"/>
                    </a:lnTo>
                    <a:lnTo>
                      <a:pt x="38" y="10"/>
                    </a:lnTo>
                    <a:lnTo>
                      <a:pt x="38" y="10"/>
                    </a:lnTo>
                    <a:lnTo>
                      <a:pt x="33" y="10"/>
                    </a:lnTo>
                    <a:lnTo>
                      <a:pt x="33" y="10"/>
                    </a:lnTo>
                    <a:lnTo>
                      <a:pt x="32" y="8"/>
                    </a:lnTo>
                    <a:lnTo>
                      <a:pt x="32" y="8"/>
                    </a:lnTo>
                    <a:lnTo>
                      <a:pt x="28" y="7"/>
                    </a:lnTo>
                    <a:lnTo>
                      <a:pt x="28" y="7"/>
                    </a:lnTo>
                    <a:lnTo>
                      <a:pt x="25" y="7"/>
                    </a:lnTo>
                    <a:lnTo>
                      <a:pt x="25" y="7"/>
                    </a:lnTo>
                    <a:lnTo>
                      <a:pt x="22" y="8"/>
                    </a:lnTo>
                    <a:lnTo>
                      <a:pt x="22" y="8"/>
                    </a:lnTo>
                    <a:lnTo>
                      <a:pt x="16" y="10"/>
                    </a:lnTo>
                    <a:lnTo>
                      <a:pt x="16" y="10"/>
                    </a:lnTo>
                    <a:lnTo>
                      <a:pt x="14" y="10"/>
                    </a:lnTo>
                    <a:lnTo>
                      <a:pt x="14" y="10"/>
                    </a:lnTo>
                    <a:lnTo>
                      <a:pt x="13" y="8"/>
                    </a:lnTo>
                    <a:lnTo>
                      <a:pt x="13" y="8"/>
                    </a:lnTo>
                    <a:lnTo>
                      <a:pt x="9" y="8"/>
                    </a:lnTo>
                    <a:lnTo>
                      <a:pt x="9" y="8"/>
                    </a:lnTo>
                    <a:lnTo>
                      <a:pt x="8" y="10"/>
                    </a:lnTo>
                    <a:lnTo>
                      <a:pt x="8" y="10"/>
                    </a:lnTo>
                    <a:lnTo>
                      <a:pt x="8" y="12"/>
                    </a:lnTo>
                    <a:lnTo>
                      <a:pt x="8" y="12"/>
                    </a:lnTo>
                    <a:lnTo>
                      <a:pt x="9" y="15"/>
                    </a:lnTo>
                    <a:lnTo>
                      <a:pt x="9" y="15"/>
                    </a:lnTo>
                    <a:lnTo>
                      <a:pt x="6" y="15"/>
                    </a:lnTo>
                    <a:lnTo>
                      <a:pt x="6" y="15"/>
                    </a:lnTo>
                    <a:lnTo>
                      <a:pt x="6" y="18"/>
                    </a:lnTo>
                    <a:lnTo>
                      <a:pt x="6" y="18"/>
                    </a:lnTo>
                    <a:lnTo>
                      <a:pt x="6" y="19"/>
                    </a:lnTo>
                    <a:lnTo>
                      <a:pt x="6" y="19"/>
                    </a:lnTo>
                    <a:lnTo>
                      <a:pt x="5" y="21"/>
                    </a:lnTo>
                    <a:lnTo>
                      <a:pt x="5" y="21"/>
                    </a:lnTo>
                    <a:lnTo>
                      <a:pt x="3" y="21"/>
                    </a:lnTo>
                    <a:lnTo>
                      <a:pt x="3" y="21"/>
                    </a:lnTo>
                    <a:lnTo>
                      <a:pt x="1" y="21"/>
                    </a:lnTo>
                    <a:lnTo>
                      <a:pt x="1" y="21"/>
                    </a:lnTo>
                    <a:lnTo>
                      <a:pt x="0" y="21"/>
                    </a:lnTo>
                    <a:lnTo>
                      <a:pt x="0" y="21"/>
                    </a:lnTo>
                    <a:lnTo>
                      <a:pt x="0" y="24"/>
                    </a:lnTo>
                    <a:lnTo>
                      <a:pt x="0" y="24"/>
                    </a:lnTo>
                    <a:lnTo>
                      <a:pt x="1" y="27"/>
                    </a:lnTo>
                    <a:lnTo>
                      <a:pt x="1" y="27"/>
                    </a:lnTo>
                    <a:lnTo>
                      <a:pt x="1" y="29"/>
                    </a:lnTo>
                    <a:lnTo>
                      <a:pt x="1" y="29"/>
                    </a:lnTo>
                    <a:lnTo>
                      <a:pt x="1" y="31"/>
                    </a:lnTo>
                    <a:lnTo>
                      <a:pt x="1" y="31"/>
                    </a:lnTo>
                    <a:lnTo>
                      <a:pt x="1" y="35"/>
                    </a:lnTo>
                    <a:lnTo>
                      <a:pt x="1" y="35"/>
                    </a:lnTo>
                    <a:lnTo>
                      <a:pt x="3" y="39"/>
                    </a:lnTo>
                    <a:lnTo>
                      <a:pt x="3" y="39"/>
                    </a:lnTo>
                    <a:lnTo>
                      <a:pt x="5" y="39"/>
                    </a:lnTo>
                    <a:lnTo>
                      <a:pt x="5" y="39"/>
                    </a:lnTo>
                    <a:lnTo>
                      <a:pt x="6" y="39"/>
                    </a:lnTo>
                    <a:lnTo>
                      <a:pt x="6" y="39"/>
                    </a:lnTo>
                    <a:lnTo>
                      <a:pt x="8" y="39"/>
                    </a:lnTo>
                    <a:lnTo>
                      <a:pt x="8" y="39"/>
                    </a:lnTo>
                    <a:lnTo>
                      <a:pt x="8" y="42"/>
                    </a:lnTo>
                    <a:lnTo>
                      <a:pt x="8" y="42"/>
                    </a:lnTo>
                    <a:lnTo>
                      <a:pt x="9" y="42"/>
                    </a:lnTo>
                    <a:lnTo>
                      <a:pt x="9" y="42"/>
                    </a:lnTo>
                    <a:lnTo>
                      <a:pt x="11" y="45"/>
                    </a:lnTo>
                    <a:lnTo>
                      <a:pt x="11" y="45"/>
                    </a:lnTo>
                    <a:lnTo>
                      <a:pt x="11" y="46"/>
                    </a:lnTo>
                    <a:lnTo>
                      <a:pt x="11" y="46"/>
                    </a:lnTo>
                    <a:lnTo>
                      <a:pt x="9" y="48"/>
                    </a:lnTo>
                    <a:lnTo>
                      <a:pt x="9" y="48"/>
                    </a:lnTo>
                    <a:lnTo>
                      <a:pt x="9" y="50"/>
                    </a:lnTo>
                    <a:lnTo>
                      <a:pt x="9" y="50"/>
                    </a:lnTo>
                    <a:lnTo>
                      <a:pt x="9" y="50"/>
                    </a:lnTo>
                    <a:lnTo>
                      <a:pt x="9" y="50"/>
                    </a:lnTo>
                    <a:lnTo>
                      <a:pt x="5" y="50"/>
                    </a:lnTo>
                    <a:lnTo>
                      <a:pt x="5" y="50"/>
                    </a:lnTo>
                    <a:lnTo>
                      <a:pt x="5" y="53"/>
                    </a:lnTo>
                    <a:lnTo>
                      <a:pt x="5" y="53"/>
                    </a:lnTo>
                    <a:lnTo>
                      <a:pt x="6" y="54"/>
                    </a:lnTo>
                    <a:lnTo>
                      <a:pt x="6" y="54"/>
                    </a:lnTo>
                    <a:lnTo>
                      <a:pt x="3" y="58"/>
                    </a:lnTo>
                    <a:lnTo>
                      <a:pt x="3" y="58"/>
                    </a:lnTo>
                    <a:lnTo>
                      <a:pt x="1" y="62"/>
                    </a:lnTo>
                    <a:lnTo>
                      <a:pt x="1" y="62"/>
                    </a:lnTo>
                    <a:lnTo>
                      <a:pt x="1" y="64"/>
                    </a:lnTo>
                    <a:lnTo>
                      <a:pt x="1" y="64"/>
                    </a:lnTo>
                    <a:lnTo>
                      <a:pt x="1" y="69"/>
                    </a:lnTo>
                    <a:lnTo>
                      <a:pt x="1" y="69"/>
                    </a:lnTo>
                    <a:lnTo>
                      <a:pt x="1" y="72"/>
                    </a:lnTo>
                    <a:lnTo>
                      <a:pt x="1" y="72"/>
                    </a:lnTo>
                    <a:lnTo>
                      <a:pt x="1" y="72"/>
                    </a:lnTo>
                    <a:lnTo>
                      <a:pt x="6" y="75"/>
                    </a:lnTo>
                    <a:lnTo>
                      <a:pt x="6" y="75"/>
                    </a:lnTo>
                    <a:lnTo>
                      <a:pt x="14" y="78"/>
                    </a:lnTo>
                    <a:lnTo>
                      <a:pt x="14" y="78"/>
                    </a:lnTo>
                    <a:lnTo>
                      <a:pt x="41" y="75"/>
                    </a:lnTo>
                    <a:lnTo>
                      <a:pt x="41" y="75"/>
                    </a:lnTo>
                    <a:lnTo>
                      <a:pt x="44" y="75"/>
                    </a:lnTo>
                    <a:lnTo>
                      <a:pt x="44" y="75"/>
                    </a:lnTo>
                    <a:lnTo>
                      <a:pt x="44" y="73"/>
                    </a:lnTo>
                    <a:lnTo>
                      <a:pt x="46" y="73"/>
                    </a:lnTo>
                    <a:lnTo>
                      <a:pt x="46" y="73"/>
                    </a:lnTo>
                    <a:lnTo>
                      <a:pt x="43" y="72"/>
                    </a:lnTo>
                    <a:lnTo>
                      <a:pt x="43" y="72"/>
                    </a:lnTo>
                    <a:lnTo>
                      <a:pt x="43" y="70"/>
                    </a:lnTo>
                    <a:lnTo>
                      <a:pt x="43" y="70"/>
                    </a:lnTo>
                    <a:lnTo>
                      <a:pt x="43" y="70"/>
                    </a:lnTo>
                    <a:lnTo>
                      <a:pt x="43" y="70"/>
                    </a:lnTo>
                    <a:lnTo>
                      <a:pt x="43" y="67"/>
                    </a:lnTo>
                    <a:lnTo>
                      <a:pt x="43" y="67"/>
                    </a:lnTo>
                    <a:lnTo>
                      <a:pt x="40" y="58"/>
                    </a:lnTo>
                    <a:lnTo>
                      <a:pt x="40" y="58"/>
                    </a:lnTo>
                    <a:lnTo>
                      <a:pt x="44" y="54"/>
                    </a:lnTo>
                    <a:lnTo>
                      <a:pt x="44" y="54"/>
                    </a:lnTo>
                    <a:lnTo>
                      <a:pt x="49" y="53"/>
                    </a:lnTo>
                    <a:lnTo>
                      <a:pt x="49" y="53"/>
                    </a:lnTo>
                    <a:lnTo>
                      <a:pt x="60" y="46"/>
                    </a:lnTo>
                    <a:lnTo>
                      <a:pt x="60" y="46"/>
                    </a:lnTo>
                    <a:lnTo>
                      <a:pt x="63" y="42"/>
                    </a:lnTo>
                    <a:lnTo>
                      <a:pt x="63" y="42"/>
                    </a:lnTo>
                    <a:lnTo>
                      <a:pt x="65" y="39"/>
                    </a:lnTo>
                    <a:lnTo>
                      <a:pt x="65" y="39"/>
                    </a:lnTo>
                    <a:lnTo>
                      <a:pt x="65" y="35"/>
                    </a:lnTo>
                    <a:lnTo>
                      <a:pt x="65" y="35"/>
                    </a:lnTo>
                    <a:lnTo>
                      <a:pt x="65" y="31"/>
                    </a:lnTo>
                    <a:lnTo>
                      <a:pt x="65" y="31"/>
                    </a:lnTo>
                    <a:lnTo>
                      <a:pt x="67" y="26"/>
                    </a:lnTo>
                    <a:lnTo>
                      <a:pt x="67" y="26"/>
                    </a:lnTo>
                    <a:lnTo>
                      <a:pt x="67" y="24"/>
                    </a:lnTo>
                    <a:lnTo>
                      <a:pt x="67" y="24"/>
                    </a:lnTo>
                    <a:lnTo>
                      <a:pt x="65" y="18"/>
                    </a:lnTo>
                    <a:lnTo>
                      <a:pt x="65" y="18"/>
                    </a:lnTo>
                    <a:lnTo>
                      <a:pt x="63" y="15"/>
                    </a:lnTo>
                    <a:lnTo>
                      <a:pt x="63" y="15"/>
                    </a:lnTo>
                    <a:lnTo>
                      <a:pt x="67" y="13"/>
                    </a:lnTo>
                    <a:lnTo>
                      <a:pt x="67" y="13"/>
                    </a:lnTo>
                    <a:lnTo>
                      <a:pt x="68" y="12"/>
                    </a:lnTo>
                    <a:lnTo>
                      <a:pt x="68" y="12"/>
                    </a:lnTo>
                    <a:lnTo>
                      <a:pt x="71" y="10"/>
                    </a:lnTo>
                    <a:lnTo>
                      <a:pt x="71" y="10"/>
                    </a:lnTo>
                    <a:lnTo>
                      <a:pt x="75" y="7"/>
                    </a:lnTo>
                    <a:lnTo>
                      <a:pt x="75" y="7"/>
                    </a:lnTo>
                    <a:lnTo>
                      <a:pt x="76" y="5"/>
                    </a:lnTo>
                    <a:lnTo>
                      <a:pt x="76" y="5"/>
                    </a:lnTo>
                    <a:lnTo>
                      <a:pt x="76" y="4"/>
                    </a:lnTo>
                    <a:lnTo>
                      <a:pt x="76" y="4"/>
                    </a:lnTo>
                    <a:lnTo>
                      <a:pt x="76" y="2"/>
                    </a:lnTo>
                    <a:lnTo>
                      <a:pt x="76" y="2"/>
                    </a:lnTo>
                    <a:lnTo>
                      <a:pt x="76" y="0"/>
                    </a:lnTo>
                    <a:lnTo>
                      <a:pt x="75" y="0"/>
                    </a:lnTo>
                    <a:lnTo>
                      <a:pt x="75" y="0"/>
                    </a:lnTo>
                    <a:lnTo>
                      <a:pt x="75" y="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92" name="Freeform 375">
                <a:extLst>
                  <a:ext uri="{FF2B5EF4-FFF2-40B4-BE49-F238E27FC236}">
                    <a16:creationId xmlns:a16="http://schemas.microsoft.com/office/drawing/2014/main" id="{CA577508-5410-11F2-DCC6-CB3CBFE2025C}"/>
                  </a:ext>
                </a:extLst>
              </p:cNvPr>
              <p:cNvSpPr>
                <a:spLocks noEditPoints="1"/>
              </p:cNvSpPr>
              <p:nvPr/>
            </p:nvSpPr>
            <p:spPr bwMode="auto">
              <a:xfrm>
                <a:off x="6951270" y="2744315"/>
                <a:ext cx="578712" cy="471045"/>
              </a:xfrm>
              <a:custGeom>
                <a:avLst/>
                <a:gdLst>
                  <a:gd name="T0" fmla="*/ 246 w 258"/>
                  <a:gd name="T1" fmla="*/ 166 h 210"/>
                  <a:gd name="T2" fmla="*/ 224 w 258"/>
                  <a:gd name="T3" fmla="*/ 147 h 210"/>
                  <a:gd name="T4" fmla="*/ 231 w 258"/>
                  <a:gd name="T5" fmla="*/ 126 h 210"/>
                  <a:gd name="T6" fmla="*/ 218 w 258"/>
                  <a:gd name="T7" fmla="*/ 116 h 210"/>
                  <a:gd name="T8" fmla="*/ 212 w 258"/>
                  <a:gd name="T9" fmla="*/ 94 h 210"/>
                  <a:gd name="T10" fmla="*/ 208 w 258"/>
                  <a:gd name="T11" fmla="*/ 85 h 210"/>
                  <a:gd name="T12" fmla="*/ 212 w 258"/>
                  <a:gd name="T13" fmla="*/ 74 h 210"/>
                  <a:gd name="T14" fmla="*/ 215 w 258"/>
                  <a:gd name="T15" fmla="*/ 61 h 210"/>
                  <a:gd name="T16" fmla="*/ 212 w 258"/>
                  <a:gd name="T17" fmla="*/ 51 h 210"/>
                  <a:gd name="T18" fmla="*/ 202 w 258"/>
                  <a:gd name="T19" fmla="*/ 45 h 210"/>
                  <a:gd name="T20" fmla="*/ 189 w 258"/>
                  <a:gd name="T21" fmla="*/ 37 h 210"/>
                  <a:gd name="T22" fmla="*/ 172 w 258"/>
                  <a:gd name="T23" fmla="*/ 29 h 210"/>
                  <a:gd name="T24" fmla="*/ 150 w 258"/>
                  <a:gd name="T25" fmla="*/ 23 h 210"/>
                  <a:gd name="T26" fmla="*/ 137 w 258"/>
                  <a:gd name="T27" fmla="*/ 26 h 210"/>
                  <a:gd name="T28" fmla="*/ 131 w 258"/>
                  <a:gd name="T29" fmla="*/ 35 h 210"/>
                  <a:gd name="T30" fmla="*/ 123 w 258"/>
                  <a:gd name="T31" fmla="*/ 43 h 210"/>
                  <a:gd name="T32" fmla="*/ 89 w 258"/>
                  <a:gd name="T33" fmla="*/ 43 h 210"/>
                  <a:gd name="T34" fmla="*/ 62 w 258"/>
                  <a:gd name="T35" fmla="*/ 29 h 210"/>
                  <a:gd name="T36" fmla="*/ 50 w 258"/>
                  <a:gd name="T37" fmla="*/ 12 h 210"/>
                  <a:gd name="T38" fmla="*/ 45 w 258"/>
                  <a:gd name="T39" fmla="*/ 0 h 210"/>
                  <a:gd name="T40" fmla="*/ 29 w 258"/>
                  <a:gd name="T41" fmla="*/ 13 h 210"/>
                  <a:gd name="T42" fmla="*/ 11 w 258"/>
                  <a:gd name="T43" fmla="*/ 5 h 210"/>
                  <a:gd name="T44" fmla="*/ 4 w 258"/>
                  <a:gd name="T45" fmla="*/ 10 h 210"/>
                  <a:gd name="T46" fmla="*/ 7 w 258"/>
                  <a:gd name="T47" fmla="*/ 26 h 210"/>
                  <a:gd name="T48" fmla="*/ 15 w 258"/>
                  <a:gd name="T49" fmla="*/ 40 h 210"/>
                  <a:gd name="T50" fmla="*/ 23 w 258"/>
                  <a:gd name="T51" fmla="*/ 53 h 210"/>
                  <a:gd name="T52" fmla="*/ 32 w 258"/>
                  <a:gd name="T53" fmla="*/ 59 h 210"/>
                  <a:gd name="T54" fmla="*/ 32 w 258"/>
                  <a:gd name="T55" fmla="*/ 67 h 210"/>
                  <a:gd name="T56" fmla="*/ 27 w 258"/>
                  <a:gd name="T57" fmla="*/ 77 h 210"/>
                  <a:gd name="T58" fmla="*/ 31 w 258"/>
                  <a:gd name="T59" fmla="*/ 88 h 210"/>
                  <a:gd name="T60" fmla="*/ 43 w 258"/>
                  <a:gd name="T61" fmla="*/ 101 h 210"/>
                  <a:gd name="T62" fmla="*/ 56 w 258"/>
                  <a:gd name="T63" fmla="*/ 110 h 210"/>
                  <a:gd name="T64" fmla="*/ 61 w 258"/>
                  <a:gd name="T65" fmla="*/ 126 h 210"/>
                  <a:gd name="T66" fmla="*/ 64 w 258"/>
                  <a:gd name="T67" fmla="*/ 132 h 210"/>
                  <a:gd name="T68" fmla="*/ 73 w 258"/>
                  <a:gd name="T69" fmla="*/ 140 h 210"/>
                  <a:gd name="T70" fmla="*/ 78 w 258"/>
                  <a:gd name="T71" fmla="*/ 135 h 210"/>
                  <a:gd name="T72" fmla="*/ 83 w 258"/>
                  <a:gd name="T73" fmla="*/ 140 h 210"/>
                  <a:gd name="T74" fmla="*/ 92 w 258"/>
                  <a:gd name="T75" fmla="*/ 147 h 210"/>
                  <a:gd name="T76" fmla="*/ 99 w 258"/>
                  <a:gd name="T77" fmla="*/ 154 h 210"/>
                  <a:gd name="T78" fmla="*/ 92 w 258"/>
                  <a:gd name="T79" fmla="*/ 159 h 210"/>
                  <a:gd name="T80" fmla="*/ 99 w 258"/>
                  <a:gd name="T81" fmla="*/ 174 h 210"/>
                  <a:gd name="T82" fmla="*/ 105 w 258"/>
                  <a:gd name="T83" fmla="*/ 178 h 210"/>
                  <a:gd name="T84" fmla="*/ 112 w 258"/>
                  <a:gd name="T85" fmla="*/ 172 h 210"/>
                  <a:gd name="T86" fmla="*/ 124 w 258"/>
                  <a:gd name="T87" fmla="*/ 178 h 210"/>
                  <a:gd name="T88" fmla="*/ 150 w 258"/>
                  <a:gd name="T89" fmla="*/ 189 h 210"/>
                  <a:gd name="T90" fmla="*/ 162 w 258"/>
                  <a:gd name="T91" fmla="*/ 186 h 210"/>
                  <a:gd name="T92" fmla="*/ 178 w 258"/>
                  <a:gd name="T93" fmla="*/ 181 h 210"/>
                  <a:gd name="T94" fmla="*/ 189 w 258"/>
                  <a:gd name="T95" fmla="*/ 202 h 210"/>
                  <a:gd name="T96" fmla="*/ 199 w 258"/>
                  <a:gd name="T97" fmla="*/ 205 h 210"/>
                  <a:gd name="T98" fmla="*/ 218 w 258"/>
                  <a:gd name="T99" fmla="*/ 207 h 210"/>
                  <a:gd name="T100" fmla="*/ 237 w 258"/>
                  <a:gd name="T101" fmla="*/ 210 h 210"/>
                  <a:gd name="T102" fmla="*/ 243 w 258"/>
                  <a:gd name="T103" fmla="*/ 193 h 210"/>
                  <a:gd name="T104" fmla="*/ 258 w 258"/>
                  <a:gd name="T105" fmla="*/ 188 h 210"/>
                  <a:gd name="T106" fmla="*/ 86 w 258"/>
                  <a:gd name="T107" fmla="*/ 158 h 210"/>
                  <a:gd name="T108" fmla="*/ 142 w 258"/>
                  <a:gd name="T109" fmla="*/ 194 h 210"/>
                  <a:gd name="T110" fmla="*/ 126 w 258"/>
                  <a:gd name="T111" fmla="*/ 193 h 210"/>
                  <a:gd name="T112" fmla="*/ 119 w 258"/>
                  <a:gd name="T113" fmla="*/ 189 h 210"/>
                  <a:gd name="T114" fmla="*/ 129 w 258"/>
                  <a:gd name="T115" fmla="*/ 197 h 210"/>
                  <a:gd name="T116" fmla="*/ 143 w 258"/>
                  <a:gd name="T117" fmla="*/ 19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8" h="210">
                    <a:moveTo>
                      <a:pt x="256" y="181"/>
                    </a:moveTo>
                    <a:lnTo>
                      <a:pt x="256" y="181"/>
                    </a:lnTo>
                    <a:lnTo>
                      <a:pt x="251" y="181"/>
                    </a:lnTo>
                    <a:lnTo>
                      <a:pt x="251" y="181"/>
                    </a:lnTo>
                    <a:lnTo>
                      <a:pt x="251" y="178"/>
                    </a:lnTo>
                    <a:lnTo>
                      <a:pt x="251" y="178"/>
                    </a:lnTo>
                    <a:lnTo>
                      <a:pt x="251" y="175"/>
                    </a:lnTo>
                    <a:lnTo>
                      <a:pt x="251" y="175"/>
                    </a:lnTo>
                    <a:lnTo>
                      <a:pt x="250" y="170"/>
                    </a:lnTo>
                    <a:lnTo>
                      <a:pt x="250" y="170"/>
                    </a:lnTo>
                    <a:lnTo>
                      <a:pt x="248" y="167"/>
                    </a:lnTo>
                    <a:lnTo>
                      <a:pt x="248" y="167"/>
                    </a:lnTo>
                    <a:lnTo>
                      <a:pt x="246" y="166"/>
                    </a:lnTo>
                    <a:lnTo>
                      <a:pt x="246" y="166"/>
                    </a:lnTo>
                    <a:lnTo>
                      <a:pt x="242" y="164"/>
                    </a:lnTo>
                    <a:lnTo>
                      <a:pt x="242" y="164"/>
                    </a:lnTo>
                    <a:lnTo>
                      <a:pt x="237" y="161"/>
                    </a:lnTo>
                    <a:lnTo>
                      <a:pt x="237" y="161"/>
                    </a:lnTo>
                    <a:lnTo>
                      <a:pt x="234" y="158"/>
                    </a:lnTo>
                    <a:lnTo>
                      <a:pt x="234" y="158"/>
                    </a:lnTo>
                    <a:lnTo>
                      <a:pt x="231" y="154"/>
                    </a:lnTo>
                    <a:lnTo>
                      <a:pt x="231" y="154"/>
                    </a:lnTo>
                    <a:lnTo>
                      <a:pt x="227" y="151"/>
                    </a:lnTo>
                    <a:lnTo>
                      <a:pt x="227" y="151"/>
                    </a:lnTo>
                    <a:lnTo>
                      <a:pt x="224" y="147"/>
                    </a:lnTo>
                    <a:lnTo>
                      <a:pt x="224" y="147"/>
                    </a:lnTo>
                    <a:lnTo>
                      <a:pt x="223" y="143"/>
                    </a:lnTo>
                    <a:lnTo>
                      <a:pt x="223" y="143"/>
                    </a:lnTo>
                    <a:lnTo>
                      <a:pt x="224" y="142"/>
                    </a:lnTo>
                    <a:lnTo>
                      <a:pt x="224" y="142"/>
                    </a:lnTo>
                    <a:lnTo>
                      <a:pt x="227" y="135"/>
                    </a:lnTo>
                    <a:lnTo>
                      <a:pt x="227" y="135"/>
                    </a:lnTo>
                    <a:lnTo>
                      <a:pt x="227" y="132"/>
                    </a:lnTo>
                    <a:lnTo>
                      <a:pt x="227" y="132"/>
                    </a:lnTo>
                    <a:lnTo>
                      <a:pt x="231" y="129"/>
                    </a:lnTo>
                    <a:lnTo>
                      <a:pt x="231" y="129"/>
                    </a:lnTo>
                    <a:lnTo>
                      <a:pt x="231" y="126"/>
                    </a:lnTo>
                    <a:lnTo>
                      <a:pt x="231" y="126"/>
                    </a:lnTo>
                    <a:lnTo>
                      <a:pt x="231" y="126"/>
                    </a:lnTo>
                    <a:lnTo>
                      <a:pt x="231" y="126"/>
                    </a:lnTo>
                    <a:lnTo>
                      <a:pt x="231" y="123"/>
                    </a:lnTo>
                    <a:lnTo>
                      <a:pt x="231" y="123"/>
                    </a:lnTo>
                    <a:lnTo>
                      <a:pt x="227" y="120"/>
                    </a:lnTo>
                    <a:lnTo>
                      <a:pt x="227" y="120"/>
                    </a:lnTo>
                    <a:lnTo>
                      <a:pt x="224" y="120"/>
                    </a:lnTo>
                    <a:lnTo>
                      <a:pt x="224" y="120"/>
                    </a:lnTo>
                    <a:lnTo>
                      <a:pt x="223" y="120"/>
                    </a:lnTo>
                    <a:lnTo>
                      <a:pt x="223" y="120"/>
                    </a:lnTo>
                    <a:lnTo>
                      <a:pt x="219" y="120"/>
                    </a:lnTo>
                    <a:lnTo>
                      <a:pt x="219" y="120"/>
                    </a:lnTo>
                    <a:lnTo>
                      <a:pt x="218" y="116"/>
                    </a:lnTo>
                    <a:lnTo>
                      <a:pt x="218" y="116"/>
                    </a:lnTo>
                    <a:lnTo>
                      <a:pt x="218" y="115"/>
                    </a:lnTo>
                    <a:lnTo>
                      <a:pt x="218" y="115"/>
                    </a:lnTo>
                    <a:lnTo>
                      <a:pt x="216" y="108"/>
                    </a:lnTo>
                    <a:lnTo>
                      <a:pt x="216" y="108"/>
                    </a:lnTo>
                    <a:lnTo>
                      <a:pt x="215" y="107"/>
                    </a:lnTo>
                    <a:lnTo>
                      <a:pt x="215" y="107"/>
                    </a:lnTo>
                    <a:lnTo>
                      <a:pt x="213" y="102"/>
                    </a:lnTo>
                    <a:lnTo>
                      <a:pt x="213" y="102"/>
                    </a:lnTo>
                    <a:lnTo>
                      <a:pt x="212" y="97"/>
                    </a:lnTo>
                    <a:lnTo>
                      <a:pt x="212" y="97"/>
                    </a:lnTo>
                    <a:lnTo>
                      <a:pt x="212" y="96"/>
                    </a:lnTo>
                    <a:lnTo>
                      <a:pt x="212" y="96"/>
                    </a:lnTo>
                    <a:lnTo>
                      <a:pt x="212" y="94"/>
                    </a:lnTo>
                    <a:lnTo>
                      <a:pt x="212" y="94"/>
                    </a:lnTo>
                    <a:lnTo>
                      <a:pt x="213" y="94"/>
                    </a:lnTo>
                    <a:lnTo>
                      <a:pt x="213" y="94"/>
                    </a:lnTo>
                    <a:lnTo>
                      <a:pt x="215" y="91"/>
                    </a:lnTo>
                    <a:lnTo>
                      <a:pt x="215" y="91"/>
                    </a:lnTo>
                    <a:lnTo>
                      <a:pt x="215" y="91"/>
                    </a:lnTo>
                    <a:lnTo>
                      <a:pt x="215" y="91"/>
                    </a:lnTo>
                    <a:lnTo>
                      <a:pt x="212" y="91"/>
                    </a:lnTo>
                    <a:lnTo>
                      <a:pt x="212" y="91"/>
                    </a:lnTo>
                    <a:lnTo>
                      <a:pt x="210" y="88"/>
                    </a:lnTo>
                    <a:lnTo>
                      <a:pt x="210" y="88"/>
                    </a:lnTo>
                    <a:lnTo>
                      <a:pt x="208" y="85"/>
                    </a:lnTo>
                    <a:lnTo>
                      <a:pt x="208" y="85"/>
                    </a:lnTo>
                    <a:lnTo>
                      <a:pt x="208" y="83"/>
                    </a:lnTo>
                    <a:lnTo>
                      <a:pt x="208" y="83"/>
                    </a:lnTo>
                    <a:lnTo>
                      <a:pt x="208" y="81"/>
                    </a:lnTo>
                    <a:lnTo>
                      <a:pt x="208" y="81"/>
                    </a:lnTo>
                    <a:lnTo>
                      <a:pt x="210" y="80"/>
                    </a:lnTo>
                    <a:lnTo>
                      <a:pt x="210" y="80"/>
                    </a:lnTo>
                    <a:lnTo>
                      <a:pt x="212" y="78"/>
                    </a:lnTo>
                    <a:lnTo>
                      <a:pt x="212" y="78"/>
                    </a:lnTo>
                    <a:lnTo>
                      <a:pt x="212" y="77"/>
                    </a:lnTo>
                    <a:lnTo>
                      <a:pt x="212" y="77"/>
                    </a:lnTo>
                    <a:lnTo>
                      <a:pt x="210" y="75"/>
                    </a:lnTo>
                    <a:lnTo>
                      <a:pt x="210" y="75"/>
                    </a:lnTo>
                    <a:lnTo>
                      <a:pt x="212" y="74"/>
                    </a:lnTo>
                    <a:lnTo>
                      <a:pt x="212" y="74"/>
                    </a:lnTo>
                    <a:lnTo>
                      <a:pt x="213" y="72"/>
                    </a:lnTo>
                    <a:lnTo>
                      <a:pt x="213" y="72"/>
                    </a:lnTo>
                    <a:lnTo>
                      <a:pt x="213" y="69"/>
                    </a:lnTo>
                    <a:lnTo>
                      <a:pt x="213" y="69"/>
                    </a:lnTo>
                    <a:lnTo>
                      <a:pt x="213" y="67"/>
                    </a:lnTo>
                    <a:lnTo>
                      <a:pt x="213" y="67"/>
                    </a:lnTo>
                    <a:lnTo>
                      <a:pt x="213" y="64"/>
                    </a:lnTo>
                    <a:lnTo>
                      <a:pt x="213" y="64"/>
                    </a:lnTo>
                    <a:lnTo>
                      <a:pt x="213" y="64"/>
                    </a:lnTo>
                    <a:lnTo>
                      <a:pt x="213" y="64"/>
                    </a:lnTo>
                    <a:lnTo>
                      <a:pt x="215" y="61"/>
                    </a:lnTo>
                    <a:lnTo>
                      <a:pt x="215" y="61"/>
                    </a:lnTo>
                    <a:lnTo>
                      <a:pt x="215" y="61"/>
                    </a:lnTo>
                    <a:lnTo>
                      <a:pt x="215" y="61"/>
                    </a:lnTo>
                    <a:lnTo>
                      <a:pt x="213" y="61"/>
                    </a:lnTo>
                    <a:lnTo>
                      <a:pt x="213" y="61"/>
                    </a:lnTo>
                    <a:lnTo>
                      <a:pt x="213" y="59"/>
                    </a:lnTo>
                    <a:lnTo>
                      <a:pt x="213" y="59"/>
                    </a:lnTo>
                    <a:lnTo>
                      <a:pt x="212" y="56"/>
                    </a:lnTo>
                    <a:lnTo>
                      <a:pt x="212" y="56"/>
                    </a:lnTo>
                    <a:lnTo>
                      <a:pt x="212" y="54"/>
                    </a:lnTo>
                    <a:lnTo>
                      <a:pt x="212" y="54"/>
                    </a:lnTo>
                    <a:lnTo>
                      <a:pt x="212" y="53"/>
                    </a:lnTo>
                    <a:lnTo>
                      <a:pt x="212" y="53"/>
                    </a:lnTo>
                    <a:lnTo>
                      <a:pt x="212" y="51"/>
                    </a:lnTo>
                    <a:lnTo>
                      <a:pt x="212" y="51"/>
                    </a:lnTo>
                    <a:lnTo>
                      <a:pt x="212" y="50"/>
                    </a:lnTo>
                    <a:lnTo>
                      <a:pt x="212" y="50"/>
                    </a:lnTo>
                    <a:lnTo>
                      <a:pt x="210" y="45"/>
                    </a:lnTo>
                    <a:lnTo>
                      <a:pt x="210" y="45"/>
                    </a:lnTo>
                    <a:lnTo>
                      <a:pt x="208" y="45"/>
                    </a:lnTo>
                    <a:lnTo>
                      <a:pt x="208" y="45"/>
                    </a:lnTo>
                    <a:lnTo>
                      <a:pt x="207" y="45"/>
                    </a:lnTo>
                    <a:lnTo>
                      <a:pt x="207" y="45"/>
                    </a:lnTo>
                    <a:lnTo>
                      <a:pt x="205" y="45"/>
                    </a:lnTo>
                    <a:lnTo>
                      <a:pt x="205" y="45"/>
                    </a:lnTo>
                    <a:lnTo>
                      <a:pt x="202" y="45"/>
                    </a:lnTo>
                    <a:lnTo>
                      <a:pt x="202" y="45"/>
                    </a:lnTo>
                    <a:lnTo>
                      <a:pt x="202" y="45"/>
                    </a:lnTo>
                    <a:lnTo>
                      <a:pt x="202" y="45"/>
                    </a:lnTo>
                    <a:lnTo>
                      <a:pt x="199" y="45"/>
                    </a:lnTo>
                    <a:lnTo>
                      <a:pt x="199" y="45"/>
                    </a:lnTo>
                    <a:lnTo>
                      <a:pt x="199" y="45"/>
                    </a:lnTo>
                    <a:lnTo>
                      <a:pt x="199" y="45"/>
                    </a:lnTo>
                    <a:lnTo>
                      <a:pt x="199" y="42"/>
                    </a:lnTo>
                    <a:lnTo>
                      <a:pt x="199" y="42"/>
                    </a:lnTo>
                    <a:lnTo>
                      <a:pt x="196" y="40"/>
                    </a:lnTo>
                    <a:lnTo>
                      <a:pt x="196" y="40"/>
                    </a:lnTo>
                    <a:lnTo>
                      <a:pt x="192" y="39"/>
                    </a:lnTo>
                    <a:lnTo>
                      <a:pt x="192" y="39"/>
                    </a:lnTo>
                    <a:lnTo>
                      <a:pt x="189" y="37"/>
                    </a:lnTo>
                    <a:lnTo>
                      <a:pt x="189" y="37"/>
                    </a:lnTo>
                    <a:lnTo>
                      <a:pt x="188" y="35"/>
                    </a:lnTo>
                    <a:lnTo>
                      <a:pt x="188" y="35"/>
                    </a:lnTo>
                    <a:lnTo>
                      <a:pt x="186" y="32"/>
                    </a:lnTo>
                    <a:lnTo>
                      <a:pt x="186" y="32"/>
                    </a:lnTo>
                    <a:lnTo>
                      <a:pt x="183" y="32"/>
                    </a:lnTo>
                    <a:lnTo>
                      <a:pt x="183" y="32"/>
                    </a:lnTo>
                    <a:lnTo>
                      <a:pt x="178" y="32"/>
                    </a:lnTo>
                    <a:lnTo>
                      <a:pt x="178" y="32"/>
                    </a:lnTo>
                    <a:lnTo>
                      <a:pt x="175" y="32"/>
                    </a:lnTo>
                    <a:lnTo>
                      <a:pt x="175" y="32"/>
                    </a:lnTo>
                    <a:lnTo>
                      <a:pt x="172" y="29"/>
                    </a:lnTo>
                    <a:lnTo>
                      <a:pt x="172" y="29"/>
                    </a:lnTo>
                    <a:lnTo>
                      <a:pt x="169" y="29"/>
                    </a:lnTo>
                    <a:lnTo>
                      <a:pt x="169" y="29"/>
                    </a:lnTo>
                    <a:lnTo>
                      <a:pt x="166" y="26"/>
                    </a:lnTo>
                    <a:lnTo>
                      <a:pt x="166" y="26"/>
                    </a:lnTo>
                    <a:lnTo>
                      <a:pt x="162" y="26"/>
                    </a:lnTo>
                    <a:lnTo>
                      <a:pt x="162" y="26"/>
                    </a:lnTo>
                    <a:lnTo>
                      <a:pt x="161" y="23"/>
                    </a:lnTo>
                    <a:lnTo>
                      <a:pt x="161" y="23"/>
                    </a:lnTo>
                    <a:lnTo>
                      <a:pt x="158" y="23"/>
                    </a:lnTo>
                    <a:lnTo>
                      <a:pt x="158" y="23"/>
                    </a:lnTo>
                    <a:lnTo>
                      <a:pt x="151" y="23"/>
                    </a:lnTo>
                    <a:lnTo>
                      <a:pt x="151" y="23"/>
                    </a:lnTo>
                    <a:lnTo>
                      <a:pt x="150" y="23"/>
                    </a:lnTo>
                    <a:lnTo>
                      <a:pt x="150" y="23"/>
                    </a:lnTo>
                    <a:lnTo>
                      <a:pt x="148" y="24"/>
                    </a:lnTo>
                    <a:lnTo>
                      <a:pt x="148" y="24"/>
                    </a:lnTo>
                    <a:lnTo>
                      <a:pt x="148" y="26"/>
                    </a:lnTo>
                    <a:lnTo>
                      <a:pt x="148" y="26"/>
                    </a:lnTo>
                    <a:lnTo>
                      <a:pt x="143" y="24"/>
                    </a:lnTo>
                    <a:lnTo>
                      <a:pt x="143" y="24"/>
                    </a:lnTo>
                    <a:lnTo>
                      <a:pt x="142" y="24"/>
                    </a:lnTo>
                    <a:lnTo>
                      <a:pt x="142" y="24"/>
                    </a:lnTo>
                    <a:lnTo>
                      <a:pt x="140" y="26"/>
                    </a:lnTo>
                    <a:lnTo>
                      <a:pt x="140" y="26"/>
                    </a:lnTo>
                    <a:lnTo>
                      <a:pt x="137" y="26"/>
                    </a:lnTo>
                    <a:lnTo>
                      <a:pt x="137" y="26"/>
                    </a:lnTo>
                    <a:lnTo>
                      <a:pt x="134" y="26"/>
                    </a:lnTo>
                    <a:lnTo>
                      <a:pt x="134" y="26"/>
                    </a:lnTo>
                    <a:lnTo>
                      <a:pt x="132" y="29"/>
                    </a:lnTo>
                    <a:lnTo>
                      <a:pt x="132" y="29"/>
                    </a:lnTo>
                    <a:lnTo>
                      <a:pt x="132" y="32"/>
                    </a:lnTo>
                    <a:lnTo>
                      <a:pt x="132" y="32"/>
                    </a:lnTo>
                    <a:lnTo>
                      <a:pt x="132" y="32"/>
                    </a:lnTo>
                    <a:lnTo>
                      <a:pt x="132" y="32"/>
                    </a:lnTo>
                    <a:lnTo>
                      <a:pt x="131" y="32"/>
                    </a:lnTo>
                    <a:lnTo>
                      <a:pt x="131" y="32"/>
                    </a:lnTo>
                    <a:lnTo>
                      <a:pt x="131" y="34"/>
                    </a:lnTo>
                    <a:lnTo>
                      <a:pt x="131" y="34"/>
                    </a:lnTo>
                    <a:lnTo>
                      <a:pt x="131" y="35"/>
                    </a:lnTo>
                    <a:lnTo>
                      <a:pt x="131" y="35"/>
                    </a:lnTo>
                    <a:lnTo>
                      <a:pt x="126" y="35"/>
                    </a:lnTo>
                    <a:lnTo>
                      <a:pt x="126" y="35"/>
                    </a:lnTo>
                    <a:lnTo>
                      <a:pt x="121" y="35"/>
                    </a:lnTo>
                    <a:lnTo>
                      <a:pt x="121" y="35"/>
                    </a:lnTo>
                    <a:lnTo>
                      <a:pt x="123" y="39"/>
                    </a:lnTo>
                    <a:lnTo>
                      <a:pt x="123" y="39"/>
                    </a:lnTo>
                    <a:lnTo>
                      <a:pt x="124" y="42"/>
                    </a:lnTo>
                    <a:lnTo>
                      <a:pt x="124" y="42"/>
                    </a:lnTo>
                    <a:lnTo>
                      <a:pt x="124" y="43"/>
                    </a:lnTo>
                    <a:lnTo>
                      <a:pt x="124" y="43"/>
                    </a:lnTo>
                    <a:lnTo>
                      <a:pt x="123" y="43"/>
                    </a:lnTo>
                    <a:lnTo>
                      <a:pt x="123" y="43"/>
                    </a:lnTo>
                    <a:lnTo>
                      <a:pt x="119" y="42"/>
                    </a:lnTo>
                    <a:lnTo>
                      <a:pt x="119" y="42"/>
                    </a:lnTo>
                    <a:lnTo>
                      <a:pt x="118" y="42"/>
                    </a:lnTo>
                    <a:lnTo>
                      <a:pt x="118" y="42"/>
                    </a:lnTo>
                    <a:lnTo>
                      <a:pt x="113" y="42"/>
                    </a:lnTo>
                    <a:lnTo>
                      <a:pt x="113" y="42"/>
                    </a:lnTo>
                    <a:lnTo>
                      <a:pt x="105" y="45"/>
                    </a:lnTo>
                    <a:lnTo>
                      <a:pt x="105" y="45"/>
                    </a:lnTo>
                    <a:lnTo>
                      <a:pt x="99" y="47"/>
                    </a:lnTo>
                    <a:lnTo>
                      <a:pt x="99" y="47"/>
                    </a:lnTo>
                    <a:lnTo>
                      <a:pt x="97" y="45"/>
                    </a:lnTo>
                    <a:lnTo>
                      <a:pt x="97" y="45"/>
                    </a:lnTo>
                    <a:lnTo>
                      <a:pt x="89" y="43"/>
                    </a:lnTo>
                    <a:lnTo>
                      <a:pt x="89" y="43"/>
                    </a:lnTo>
                    <a:lnTo>
                      <a:pt x="81" y="39"/>
                    </a:lnTo>
                    <a:lnTo>
                      <a:pt x="81" y="39"/>
                    </a:lnTo>
                    <a:lnTo>
                      <a:pt x="78" y="37"/>
                    </a:lnTo>
                    <a:lnTo>
                      <a:pt x="78" y="37"/>
                    </a:lnTo>
                    <a:lnTo>
                      <a:pt x="77" y="35"/>
                    </a:lnTo>
                    <a:lnTo>
                      <a:pt x="77" y="35"/>
                    </a:lnTo>
                    <a:lnTo>
                      <a:pt x="70" y="32"/>
                    </a:lnTo>
                    <a:lnTo>
                      <a:pt x="70" y="32"/>
                    </a:lnTo>
                    <a:lnTo>
                      <a:pt x="64" y="32"/>
                    </a:lnTo>
                    <a:lnTo>
                      <a:pt x="64" y="32"/>
                    </a:lnTo>
                    <a:lnTo>
                      <a:pt x="62" y="29"/>
                    </a:lnTo>
                    <a:lnTo>
                      <a:pt x="62" y="29"/>
                    </a:lnTo>
                    <a:lnTo>
                      <a:pt x="62" y="26"/>
                    </a:lnTo>
                    <a:lnTo>
                      <a:pt x="62" y="26"/>
                    </a:lnTo>
                    <a:lnTo>
                      <a:pt x="59" y="21"/>
                    </a:lnTo>
                    <a:lnTo>
                      <a:pt x="59" y="21"/>
                    </a:lnTo>
                    <a:lnTo>
                      <a:pt x="58" y="20"/>
                    </a:lnTo>
                    <a:lnTo>
                      <a:pt x="58" y="20"/>
                    </a:lnTo>
                    <a:lnTo>
                      <a:pt x="53" y="16"/>
                    </a:lnTo>
                    <a:lnTo>
                      <a:pt x="53" y="16"/>
                    </a:lnTo>
                    <a:lnTo>
                      <a:pt x="50" y="15"/>
                    </a:lnTo>
                    <a:lnTo>
                      <a:pt x="50" y="15"/>
                    </a:lnTo>
                    <a:lnTo>
                      <a:pt x="48" y="13"/>
                    </a:lnTo>
                    <a:lnTo>
                      <a:pt x="48" y="13"/>
                    </a:lnTo>
                    <a:lnTo>
                      <a:pt x="50" y="12"/>
                    </a:lnTo>
                    <a:lnTo>
                      <a:pt x="50" y="12"/>
                    </a:lnTo>
                    <a:lnTo>
                      <a:pt x="51" y="12"/>
                    </a:lnTo>
                    <a:lnTo>
                      <a:pt x="51" y="12"/>
                    </a:lnTo>
                    <a:lnTo>
                      <a:pt x="50" y="10"/>
                    </a:lnTo>
                    <a:lnTo>
                      <a:pt x="50" y="10"/>
                    </a:lnTo>
                    <a:lnTo>
                      <a:pt x="50" y="7"/>
                    </a:lnTo>
                    <a:lnTo>
                      <a:pt x="50" y="7"/>
                    </a:lnTo>
                    <a:lnTo>
                      <a:pt x="51" y="5"/>
                    </a:lnTo>
                    <a:lnTo>
                      <a:pt x="51" y="5"/>
                    </a:lnTo>
                    <a:lnTo>
                      <a:pt x="48" y="4"/>
                    </a:lnTo>
                    <a:lnTo>
                      <a:pt x="48" y="4"/>
                    </a:lnTo>
                    <a:lnTo>
                      <a:pt x="45" y="0"/>
                    </a:lnTo>
                    <a:lnTo>
                      <a:pt x="45" y="0"/>
                    </a:lnTo>
                    <a:lnTo>
                      <a:pt x="43" y="4"/>
                    </a:lnTo>
                    <a:lnTo>
                      <a:pt x="43" y="4"/>
                    </a:lnTo>
                    <a:lnTo>
                      <a:pt x="38" y="5"/>
                    </a:lnTo>
                    <a:lnTo>
                      <a:pt x="38" y="5"/>
                    </a:lnTo>
                    <a:lnTo>
                      <a:pt x="38" y="7"/>
                    </a:lnTo>
                    <a:lnTo>
                      <a:pt x="38" y="7"/>
                    </a:lnTo>
                    <a:lnTo>
                      <a:pt x="35" y="8"/>
                    </a:lnTo>
                    <a:lnTo>
                      <a:pt x="35" y="8"/>
                    </a:lnTo>
                    <a:lnTo>
                      <a:pt x="32" y="13"/>
                    </a:lnTo>
                    <a:lnTo>
                      <a:pt x="32" y="13"/>
                    </a:lnTo>
                    <a:lnTo>
                      <a:pt x="31" y="13"/>
                    </a:lnTo>
                    <a:lnTo>
                      <a:pt x="31" y="13"/>
                    </a:lnTo>
                    <a:lnTo>
                      <a:pt x="29" y="13"/>
                    </a:lnTo>
                    <a:lnTo>
                      <a:pt x="29" y="13"/>
                    </a:lnTo>
                    <a:lnTo>
                      <a:pt x="27" y="13"/>
                    </a:lnTo>
                    <a:lnTo>
                      <a:pt x="27" y="13"/>
                    </a:lnTo>
                    <a:lnTo>
                      <a:pt x="23" y="13"/>
                    </a:lnTo>
                    <a:lnTo>
                      <a:pt x="23" y="13"/>
                    </a:lnTo>
                    <a:lnTo>
                      <a:pt x="19" y="12"/>
                    </a:lnTo>
                    <a:lnTo>
                      <a:pt x="19" y="12"/>
                    </a:lnTo>
                    <a:lnTo>
                      <a:pt x="16" y="10"/>
                    </a:lnTo>
                    <a:lnTo>
                      <a:pt x="16" y="10"/>
                    </a:lnTo>
                    <a:lnTo>
                      <a:pt x="15" y="8"/>
                    </a:lnTo>
                    <a:lnTo>
                      <a:pt x="15" y="8"/>
                    </a:lnTo>
                    <a:lnTo>
                      <a:pt x="11" y="5"/>
                    </a:lnTo>
                    <a:lnTo>
                      <a:pt x="11" y="5"/>
                    </a:lnTo>
                    <a:lnTo>
                      <a:pt x="8" y="4"/>
                    </a:lnTo>
                    <a:lnTo>
                      <a:pt x="8" y="4"/>
                    </a:lnTo>
                    <a:lnTo>
                      <a:pt x="7" y="2"/>
                    </a:lnTo>
                    <a:lnTo>
                      <a:pt x="7" y="2"/>
                    </a:lnTo>
                    <a:lnTo>
                      <a:pt x="7" y="0"/>
                    </a:lnTo>
                    <a:lnTo>
                      <a:pt x="7" y="0"/>
                    </a:lnTo>
                    <a:lnTo>
                      <a:pt x="4" y="4"/>
                    </a:lnTo>
                    <a:lnTo>
                      <a:pt x="4" y="4"/>
                    </a:lnTo>
                    <a:lnTo>
                      <a:pt x="4" y="5"/>
                    </a:lnTo>
                    <a:lnTo>
                      <a:pt x="4" y="5"/>
                    </a:lnTo>
                    <a:lnTo>
                      <a:pt x="0" y="5"/>
                    </a:lnTo>
                    <a:lnTo>
                      <a:pt x="0" y="5"/>
                    </a:lnTo>
                    <a:lnTo>
                      <a:pt x="4" y="10"/>
                    </a:lnTo>
                    <a:lnTo>
                      <a:pt x="4" y="10"/>
                    </a:lnTo>
                    <a:lnTo>
                      <a:pt x="4" y="15"/>
                    </a:lnTo>
                    <a:lnTo>
                      <a:pt x="4" y="15"/>
                    </a:lnTo>
                    <a:lnTo>
                      <a:pt x="7" y="18"/>
                    </a:lnTo>
                    <a:lnTo>
                      <a:pt x="7" y="18"/>
                    </a:lnTo>
                    <a:lnTo>
                      <a:pt x="7" y="21"/>
                    </a:lnTo>
                    <a:lnTo>
                      <a:pt x="7" y="21"/>
                    </a:lnTo>
                    <a:lnTo>
                      <a:pt x="7" y="21"/>
                    </a:lnTo>
                    <a:lnTo>
                      <a:pt x="7" y="21"/>
                    </a:lnTo>
                    <a:lnTo>
                      <a:pt x="7" y="24"/>
                    </a:lnTo>
                    <a:lnTo>
                      <a:pt x="7" y="24"/>
                    </a:lnTo>
                    <a:lnTo>
                      <a:pt x="7" y="26"/>
                    </a:lnTo>
                    <a:lnTo>
                      <a:pt x="7" y="26"/>
                    </a:lnTo>
                    <a:lnTo>
                      <a:pt x="7" y="29"/>
                    </a:lnTo>
                    <a:lnTo>
                      <a:pt x="7" y="29"/>
                    </a:lnTo>
                    <a:lnTo>
                      <a:pt x="8" y="29"/>
                    </a:lnTo>
                    <a:lnTo>
                      <a:pt x="8" y="29"/>
                    </a:lnTo>
                    <a:lnTo>
                      <a:pt x="10" y="32"/>
                    </a:lnTo>
                    <a:lnTo>
                      <a:pt x="10" y="32"/>
                    </a:lnTo>
                    <a:lnTo>
                      <a:pt x="10" y="35"/>
                    </a:lnTo>
                    <a:lnTo>
                      <a:pt x="10" y="35"/>
                    </a:lnTo>
                    <a:lnTo>
                      <a:pt x="13" y="35"/>
                    </a:lnTo>
                    <a:lnTo>
                      <a:pt x="13" y="35"/>
                    </a:lnTo>
                    <a:lnTo>
                      <a:pt x="13" y="37"/>
                    </a:lnTo>
                    <a:lnTo>
                      <a:pt x="13" y="37"/>
                    </a:lnTo>
                    <a:lnTo>
                      <a:pt x="15" y="40"/>
                    </a:lnTo>
                    <a:lnTo>
                      <a:pt x="15" y="40"/>
                    </a:lnTo>
                    <a:lnTo>
                      <a:pt x="16" y="43"/>
                    </a:lnTo>
                    <a:lnTo>
                      <a:pt x="16" y="43"/>
                    </a:lnTo>
                    <a:lnTo>
                      <a:pt x="18" y="45"/>
                    </a:lnTo>
                    <a:lnTo>
                      <a:pt x="18" y="45"/>
                    </a:lnTo>
                    <a:lnTo>
                      <a:pt x="18" y="47"/>
                    </a:lnTo>
                    <a:lnTo>
                      <a:pt x="18" y="47"/>
                    </a:lnTo>
                    <a:lnTo>
                      <a:pt x="18" y="48"/>
                    </a:lnTo>
                    <a:lnTo>
                      <a:pt x="18" y="48"/>
                    </a:lnTo>
                    <a:lnTo>
                      <a:pt x="21" y="51"/>
                    </a:lnTo>
                    <a:lnTo>
                      <a:pt x="21" y="51"/>
                    </a:lnTo>
                    <a:lnTo>
                      <a:pt x="23" y="53"/>
                    </a:lnTo>
                    <a:lnTo>
                      <a:pt x="23" y="53"/>
                    </a:lnTo>
                    <a:lnTo>
                      <a:pt x="23" y="54"/>
                    </a:lnTo>
                    <a:lnTo>
                      <a:pt x="23" y="54"/>
                    </a:lnTo>
                    <a:lnTo>
                      <a:pt x="26" y="56"/>
                    </a:lnTo>
                    <a:lnTo>
                      <a:pt x="26" y="56"/>
                    </a:lnTo>
                    <a:lnTo>
                      <a:pt x="27" y="58"/>
                    </a:lnTo>
                    <a:lnTo>
                      <a:pt x="27" y="58"/>
                    </a:lnTo>
                    <a:lnTo>
                      <a:pt x="31" y="58"/>
                    </a:lnTo>
                    <a:lnTo>
                      <a:pt x="31" y="58"/>
                    </a:lnTo>
                    <a:lnTo>
                      <a:pt x="32" y="58"/>
                    </a:lnTo>
                    <a:lnTo>
                      <a:pt x="32" y="58"/>
                    </a:lnTo>
                    <a:lnTo>
                      <a:pt x="35" y="58"/>
                    </a:lnTo>
                    <a:lnTo>
                      <a:pt x="35" y="58"/>
                    </a:lnTo>
                    <a:lnTo>
                      <a:pt x="32" y="59"/>
                    </a:lnTo>
                    <a:lnTo>
                      <a:pt x="32" y="59"/>
                    </a:lnTo>
                    <a:lnTo>
                      <a:pt x="32" y="61"/>
                    </a:lnTo>
                    <a:lnTo>
                      <a:pt x="32" y="61"/>
                    </a:lnTo>
                    <a:lnTo>
                      <a:pt x="32" y="61"/>
                    </a:lnTo>
                    <a:lnTo>
                      <a:pt x="32" y="61"/>
                    </a:lnTo>
                    <a:lnTo>
                      <a:pt x="32" y="64"/>
                    </a:lnTo>
                    <a:lnTo>
                      <a:pt x="32" y="64"/>
                    </a:lnTo>
                    <a:lnTo>
                      <a:pt x="32" y="67"/>
                    </a:lnTo>
                    <a:lnTo>
                      <a:pt x="32" y="67"/>
                    </a:lnTo>
                    <a:lnTo>
                      <a:pt x="32" y="67"/>
                    </a:lnTo>
                    <a:lnTo>
                      <a:pt x="32" y="67"/>
                    </a:lnTo>
                    <a:lnTo>
                      <a:pt x="32" y="67"/>
                    </a:lnTo>
                    <a:lnTo>
                      <a:pt x="32" y="67"/>
                    </a:lnTo>
                    <a:lnTo>
                      <a:pt x="31" y="69"/>
                    </a:lnTo>
                    <a:lnTo>
                      <a:pt x="31" y="69"/>
                    </a:lnTo>
                    <a:lnTo>
                      <a:pt x="31" y="70"/>
                    </a:lnTo>
                    <a:lnTo>
                      <a:pt x="31" y="70"/>
                    </a:lnTo>
                    <a:lnTo>
                      <a:pt x="29" y="72"/>
                    </a:lnTo>
                    <a:lnTo>
                      <a:pt x="29" y="72"/>
                    </a:lnTo>
                    <a:lnTo>
                      <a:pt x="29" y="74"/>
                    </a:lnTo>
                    <a:lnTo>
                      <a:pt x="29" y="74"/>
                    </a:lnTo>
                    <a:lnTo>
                      <a:pt x="31" y="75"/>
                    </a:lnTo>
                    <a:lnTo>
                      <a:pt x="31" y="75"/>
                    </a:lnTo>
                    <a:lnTo>
                      <a:pt x="27" y="75"/>
                    </a:lnTo>
                    <a:lnTo>
                      <a:pt x="27" y="75"/>
                    </a:lnTo>
                    <a:lnTo>
                      <a:pt x="27" y="77"/>
                    </a:lnTo>
                    <a:lnTo>
                      <a:pt x="27" y="77"/>
                    </a:lnTo>
                    <a:lnTo>
                      <a:pt x="27" y="78"/>
                    </a:lnTo>
                    <a:lnTo>
                      <a:pt x="27" y="78"/>
                    </a:lnTo>
                    <a:lnTo>
                      <a:pt x="29" y="80"/>
                    </a:lnTo>
                    <a:lnTo>
                      <a:pt x="29" y="80"/>
                    </a:lnTo>
                    <a:lnTo>
                      <a:pt x="29" y="81"/>
                    </a:lnTo>
                    <a:lnTo>
                      <a:pt x="29" y="81"/>
                    </a:lnTo>
                    <a:lnTo>
                      <a:pt x="27" y="83"/>
                    </a:lnTo>
                    <a:lnTo>
                      <a:pt x="27" y="83"/>
                    </a:lnTo>
                    <a:lnTo>
                      <a:pt x="27" y="85"/>
                    </a:lnTo>
                    <a:lnTo>
                      <a:pt x="27" y="85"/>
                    </a:lnTo>
                    <a:lnTo>
                      <a:pt x="31" y="88"/>
                    </a:lnTo>
                    <a:lnTo>
                      <a:pt x="31" y="88"/>
                    </a:lnTo>
                    <a:lnTo>
                      <a:pt x="32" y="88"/>
                    </a:lnTo>
                    <a:lnTo>
                      <a:pt x="32" y="88"/>
                    </a:lnTo>
                    <a:lnTo>
                      <a:pt x="35" y="91"/>
                    </a:lnTo>
                    <a:lnTo>
                      <a:pt x="35" y="91"/>
                    </a:lnTo>
                    <a:lnTo>
                      <a:pt x="38" y="94"/>
                    </a:lnTo>
                    <a:lnTo>
                      <a:pt x="38" y="94"/>
                    </a:lnTo>
                    <a:lnTo>
                      <a:pt x="35" y="96"/>
                    </a:lnTo>
                    <a:lnTo>
                      <a:pt x="35" y="96"/>
                    </a:lnTo>
                    <a:lnTo>
                      <a:pt x="38" y="97"/>
                    </a:lnTo>
                    <a:lnTo>
                      <a:pt x="38" y="97"/>
                    </a:lnTo>
                    <a:lnTo>
                      <a:pt x="42" y="99"/>
                    </a:lnTo>
                    <a:lnTo>
                      <a:pt x="42" y="99"/>
                    </a:lnTo>
                    <a:lnTo>
                      <a:pt x="43" y="101"/>
                    </a:lnTo>
                    <a:lnTo>
                      <a:pt x="43" y="101"/>
                    </a:lnTo>
                    <a:lnTo>
                      <a:pt x="46" y="104"/>
                    </a:lnTo>
                    <a:lnTo>
                      <a:pt x="46" y="104"/>
                    </a:lnTo>
                    <a:lnTo>
                      <a:pt x="48" y="105"/>
                    </a:lnTo>
                    <a:lnTo>
                      <a:pt x="48" y="105"/>
                    </a:lnTo>
                    <a:lnTo>
                      <a:pt x="50" y="105"/>
                    </a:lnTo>
                    <a:lnTo>
                      <a:pt x="50" y="105"/>
                    </a:lnTo>
                    <a:lnTo>
                      <a:pt x="53" y="107"/>
                    </a:lnTo>
                    <a:lnTo>
                      <a:pt x="53" y="107"/>
                    </a:lnTo>
                    <a:lnTo>
                      <a:pt x="54" y="107"/>
                    </a:lnTo>
                    <a:lnTo>
                      <a:pt x="54" y="107"/>
                    </a:lnTo>
                    <a:lnTo>
                      <a:pt x="56" y="110"/>
                    </a:lnTo>
                    <a:lnTo>
                      <a:pt x="56" y="110"/>
                    </a:lnTo>
                    <a:lnTo>
                      <a:pt x="59" y="115"/>
                    </a:lnTo>
                    <a:lnTo>
                      <a:pt x="59" y="115"/>
                    </a:lnTo>
                    <a:lnTo>
                      <a:pt x="59" y="116"/>
                    </a:lnTo>
                    <a:lnTo>
                      <a:pt x="59" y="116"/>
                    </a:lnTo>
                    <a:lnTo>
                      <a:pt x="59" y="116"/>
                    </a:lnTo>
                    <a:lnTo>
                      <a:pt x="59" y="116"/>
                    </a:lnTo>
                    <a:lnTo>
                      <a:pt x="59" y="120"/>
                    </a:lnTo>
                    <a:lnTo>
                      <a:pt x="59" y="120"/>
                    </a:lnTo>
                    <a:lnTo>
                      <a:pt x="59" y="123"/>
                    </a:lnTo>
                    <a:lnTo>
                      <a:pt x="59" y="123"/>
                    </a:lnTo>
                    <a:lnTo>
                      <a:pt x="59" y="126"/>
                    </a:lnTo>
                    <a:lnTo>
                      <a:pt x="59" y="126"/>
                    </a:lnTo>
                    <a:lnTo>
                      <a:pt x="61" y="126"/>
                    </a:lnTo>
                    <a:lnTo>
                      <a:pt x="61" y="126"/>
                    </a:lnTo>
                    <a:lnTo>
                      <a:pt x="62" y="126"/>
                    </a:lnTo>
                    <a:lnTo>
                      <a:pt x="62" y="126"/>
                    </a:lnTo>
                    <a:lnTo>
                      <a:pt x="64" y="126"/>
                    </a:lnTo>
                    <a:lnTo>
                      <a:pt x="64" y="126"/>
                    </a:lnTo>
                    <a:lnTo>
                      <a:pt x="64" y="129"/>
                    </a:lnTo>
                    <a:lnTo>
                      <a:pt x="64" y="129"/>
                    </a:lnTo>
                    <a:lnTo>
                      <a:pt x="64" y="129"/>
                    </a:lnTo>
                    <a:lnTo>
                      <a:pt x="64" y="129"/>
                    </a:lnTo>
                    <a:lnTo>
                      <a:pt x="64" y="131"/>
                    </a:lnTo>
                    <a:lnTo>
                      <a:pt x="64" y="131"/>
                    </a:lnTo>
                    <a:lnTo>
                      <a:pt x="64" y="132"/>
                    </a:lnTo>
                    <a:lnTo>
                      <a:pt x="64" y="132"/>
                    </a:lnTo>
                    <a:lnTo>
                      <a:pt x="64" y="134"/>
                    </a:lnTo>
                    <a:lnTo>
                      <a:pt x="64" y="134"/>
                    </a:lnTo>
                    <a:lnTo>
                      <a:pt x="67" y="135"/>
                    </a:lnTo>
                    <a:lnTo>
                      <a:pt x="67" y="135"/>
                    </a:lnTo>
                    <a:lnTo>
                      <a:pt x="67" y="139"/>
                    </a:lnTo>
                    <a:lnTo>
                      <a:pt x="67" y="139"/>
                    </a:lnTo>
                    <a:lnTo>
                      <a:pt x="70" y="140"/>
                    </a:lnTo>
                    <a:lnTo>
                      <a:pt x="70" y="140"/>
                    </a:lnTo>
                    <a:lnTo>
                      <a:pt x="70" y="142"/>
                    </a:lnTo>
                    <a:lnTo>
                      <a:pt x="70" y="142"/>
                    </a:lnTo>
                    <a:lnTo>
                      <a:pt x="73" y="142"/>
                    </a:lnTo>
                    <a:lnTo>
                      <a:pt x="73" y="142"/>
                    </a:lnTo>
                    <a:lnTo>
                      <a:pt x="73" y="140"/>
                    </a:lnTo>
                    <a:lnTo>
                      <a:pt x="73" y="140"/>
                    </a:lnTo>
                    <a:lnTo>
                      <a:pt x="77" y="140"/>
                    </a:lnTo>
                    <a:lnTo>
                      <a:pt x="77" y="140"/>
                    </a:lnTo>
                    <a:lnTo>
                      <a:pt x="77" y="139"/>
                    </a:lnTo>
                    <a:lnTo>
                      <a:pt x="77" y="139"/>
                    </a:lnTo>
                    <a:lnTo>
                      <a:pt x="77" y="135"/>
                    </a:lnTo>
                    <a:lnTo>
                      <a:pt x="77" y="135"/>
                    </a:lnTo>
                    <a:lnTo>
                      <a:pt x="77" y="134"/>
                    </a:lnTo>
                    <a:lnTo>
                      <a:pt x="77" y="134"/>
                    </a:lnTo>
                    <a:lnTo>
                      <a:pt x="77" y="134"/>
                    </a:lnTo>
                    <a:lnTo>
                      <a:pt x="77" y="134"/>
                    </a:lnTo>
                    <a:lnTo>
                      <a:pt x="78" y="135"/>
                    </a:lnTo>
                    <a:lnTo>
                      <a:pt x="78" y="135"/>
                    </a:lnTo>
                    <a:lnTo>
                      <a:pt x="77" y="135"/>
                    </a:lnTo>
                    <a:lnTo>
                      <a:pt x="77" y="135"/>
                    </a:lnTo>
                    <a:lnTo>
                      <a:pt x="77" y="137"/>
                    </a:lnTo>
                    <a:lnTo>
                      <a:pt x="77" y="137"/>
                    </a:lnTo>
                    <a:lnTo>
                      <a:pt x="78" y="139"/>
                    </a:lnTo>
                    <a:lnTo>
                      <a:pt x="78" y="139"/>
                    </a:lnTo>
                    <a:lnTo>
                      <a:pt x="80" y="140"/>
                    </a:lnTo>
                    <a:lnTo>
                      <a:pt x="80" y="140"/>
                    </a:lnTo>
                    <a:lnTo>
                      <a:pt x="80" y="140"/>
                    </a:lnTo>
                    <a:lnTo>
                      <a:pt x="80" y="140"/>
                    </a:lnTo>
                    <a:lnTo>
                      <a:pt x="81" y="139"/>
                    </a:lnTo>
                    <a:lnTo>
                      <a:pt x="81" y="139"/>
                    </a:lnTo>
                    <a:lnTo>
                      <a:pt x="83" y="140"/>
                    </a:lnTo>
                    <a:lnTo>
                      <a:pt x="83" y="140"/>
                    </a:lnTo>
                    <a:lnTo>
                      <a:pt x="85" y="140"/>
                    </a:lnTo>
                    <a:lnTo>
                      <a:pt x="85" y="140"/>
                    </a:lnTo>
                    <a:lnTo>
                      <a:pt x="86" y="142"/>
                    </a:lnTo>
                    <a:lnTo>
                      <a:pt x="86" y="142"/>
                    </a:lnTo>
                    <a:lnTo>
                      <a:pt x="88" y="145"/>
                    </a:lnTo>
                    <a:lnTo>
                      <a:pt x="88" y="145"/>
                    </a:lnTo>
                    <a:lnTo>
                      <a:pt x="89" y="145"/>
                    </a:lnTo>
                    <a:lnTo>
                      <a:pt x="89" y="145"/>
                    </a:lnTo>
                    <a:lnTo>
                      <a:pt x="91" y="145"/>
                    </a:lnTo>
                    <a:lnTo>
                      <a:pt x="91" y="145"/>
                    </a:lnTo>
                    <a:lnTo>
                      <a:pt x="92" y="147"/>
                    </a:lnTo>
                    <a:lnTo>
                      <a:pt x="92" y="147"/>
                    </a:lnTo>
                    <a:lnTo>
                      <a:pt x="89" y="148"/>
                    </a:lnTo>
                    <a:lnTo>
                      <a:pt x="89" y="148"/>
                    </a:lnTo>
                    <a:lnTo>
                      <a:pt x="88" y="147"/>
                    </a:lnTo>
                    <a:lnTo>
                      <a:pt x="88" y="147"/>
                    </a:lnTo>
                    <a:lnTo>
                      <a:pt x="92" y="154"/>
                    </a:lnTo>
                    <a:lnTo>
                      <a:pt x="92" y="154"/>
                    </a:lnTo>
                    <a:lnTo>
                      <a:pt x="92" y="154"/>
                    </a:lnTo>
                    <a:lnTo>
                      <a:pt x="92" y="154"/>
                    </a:lnTo>
                    <a:lnTo>
                      <a:pt x="94" y="153"/>
                    </a:lnTo>
                    <a:lnTo>
                      <a:pt x="94" y="153"/>
                    </a:lnTo>
                    <a:lnTo>
                      <a:pt x="97" y="154"/>
                    </a:lnTo>
                    <a:lnTo>
                      <a:pt x="97" y="154"/>
                    </a:lnTo>
                    <a:lnTo>
                      <a:pt x="99" y="154"/>
                    </a:lnTo>
                    <a:lnTo>
                      <a:pt x="99" y="154"/>
                    </a:lnTo>
                    <a:lnTo>
                      <a:pt x="99" y="154"/>
                    </a:lnTo>
                    <a:lnTo>
                      <a:pt x="99" y="154"/>
                    </a:lnTo>
                    <a:lnTo>
                      <a:pt x="102" y="154"/>
                    </a:lnTo>
                    <a:lnTo>
                      <a:pt x="102" y="154"/>
                    </a:lnTo>
                    <a:lnTo>
                      <a:pt x="99" y="154"/>
                    </a:lnTo>
                    <a:lnTo>
                      <a:pt x="99" y="154"/>
                    </a:lnTo>
                    <a:lnTo>
                      <a:pt x="97" y="156"/>
                    </a:lnTo>
                    <a:lnTo>
                      <a:pt x="97" y="156"/>
                    </a:lnTo>
                    <a:lnTo>
                      <a:pt x="96" y="156"/>
                    </a:lnTo>
                    <a:lnTo>
                      <a:pt x="96" y="156"/>
                    </a:lnTo>
                    <a:lnTo>
                      <a:pt x="92" y="159"/>
                    </a:lnTo>
                    <a:lnTo>
                      <a:pt x="92" y="159"/>
                    </a:lnTo>
                    <a:lnTo>
                      <a:pt x="92" y="161"/>
                    </a:lnTo>
                    <a:lnTo>
                      <a:pt x="92" y="161"/>
                    </a:lnTo>
                    <a:lnTo>
                      <a:pt x="94" y="164"/>
                    </a:lnTo>
                    <a:lnTo>
                      <a:pt x="94" y="164"/>
                    </a:lnTo>
                    <a:lnTo>
                      <a:pt x="97" y="166"/>
                    </a:lnTo>
                    <a:lnTo>
                      <a:pt x="97" y="166"/>
                    </a:lnTo>
                    <a:lnTo>
                      <a:pt x="99" y="167"/>
                    </a:lnTo>
                    <a:lnTo>
                      <a:pt x="99" y="167"/>
                    </a:lnTo>
                    <a:lnTo>
                      <a:pt x="97" y="170"/>
                    </a:lnTo>
                    <a:lnTo>
                      <a:pt x="97" y="170"/>
                    </a:lnTo>
                    <a:lnTo>
                      <a:pt x="97" y="172"/>
                    </a:lnTo>
                    <a:lnTo>
                      <a:pt x="97" y="172"/>
                    </a:lnTo>
                    <a:lnTo>
                      <a:pt x="99" y="174"/>
                    </a:lnTo>
                    <a:lnTo>
                      <a:pt x="99" y="174"/>
                    </a:lnTo>
                    <a:lnTo>
                      <a:pt x="100" y="175"/>
                    </a:lnTo>
                    <a:lnTo>
                      <a:pt x="100" y="175"/>
                    </a:lnTo>
                    <a:lnTo>
                      <a:pt x="102" y="172"/>
                    </a:lnTo>
                    <a:lnTo>
                      <a:pt x="102" y="172"/>
                    </a:lnTo>
                    <a:lnTo>
                      <a:pt x="102" y="172"/>
                    </a:lnTo>
                    <a:lnTo>
                      <a:pt x="102" y="172"/>
                    </a:lnTo>
                    <a:lnTo>
                      <a:pt x="102" y="172"/>
                    </a:lnTo>
                    <a:lnTo>
                      <a:pt x="102" y="172"/>
                    </a:lnTo>
                    <a:lnTo>
                      <a:pt x="105" y="174"/>
                    </a:lnTo>
                    <a:lnTo>
                      <a:pt x="105" y="174"/>
                    </a:lnTo>
                    <a:lnTo>
                      <a:pt x="105" y="178"/>
                    </a:lnTo>
                    <a:lnTo>
                      <a:pt x="105" y="178"/>
                    </a:lnTo>
                    <a:lnTo>
                      <a:pt x="107" y="178"/>
                    </a:lnTo>
                    <a:lnTo>
                      <a:pt x="107" y="178"/>
                    </a:lnTo>
                    <a:lnTo>
                      <a:pt x="108" y="175"/>
                    </a:lnTo>
                    <a:lnTo>
                      <a:pt x="108" y="175"/>
                    </a:lnTo>
                    <a:lnTo>
                      <a:pt x="108" y="175"/>
                    </a:lnTo>
                    <a:lnTo>
                      <a:pt x="108" y="175"/>
                    </a:lnTo>
                    <a:lnTo>
                      <a:pt x="110" y="175"/>
                    </a:lnTo>
                    <a:lnTo>
                      <a:pt x="110" y="175"/>
                    </a:lnTo>
                    <a:lnTo>
                      <a:pt x="112" y="178"/>
                    </a:lnTo>
                    <a:lnTo>
                      <a:pt x="112" y="178"/>
                    </a:lnTo>
                    <a:lnTo>
                      <a:pt x="113" y="178"/>
                    </a:lnTo>
                    <a:lnTo>
                      <a:pt x="113" y="178"/>
                    </a:lnTo>
                    <a:lnTo>
                      <a:pt x="112" y="172"/>
                    </a:lnTo>
                    <a:lnTo>
                      <a:pt x="112" y="172"/>
                    </a:lnTo>
                    <a:lnTo>
                      <a:pt x="113" y="172"/>
                    </a:lnTo>
                    <a:lnTo>
                      <a:pt x="113" y="172"/>
                    </a:lnTo>
                    <a:lnTo>
                      <a:pt x="116" y="172"/>
                    </a:lnTo>
                    <a:lnTo>
                      <a:pt x="116" y="172"/>
                    </a:lnTo>
                    <a:lnTo>
                      <a:pt x="119" y="175"/>
                    </a:lnTo>
                    <a:lnTo>
                      <a:pt x="119" y="175"/>
                    </a:lnTo>
                    <a:lnTo>
                      <a:pt x="124" y="175"/>
                    </a:lnTo>
                    <a:lnTo>
                      <a:pt x="124" y="175"/>
                    </a:lnTo>
                    <a:lnTo>
                      <a:pt x="126" y="178"/>
                    </a:lnTo>
                    <a:lnTo>
                      <a:pt x="126" y="178"/>
                    </a:lnTo>
                    <a:lnTo>
                      <a:pt x="124" y="178"/>
                    </a:lnTo>
                    <a:lnTo>
                      <a:pt x="124" y="178"/>
                    </a:lnTo>
                    <a:lnTo>
                      <a:pt x="132" y="181"/>
                    </a:lnTo>
                    <a:lnTo>
                      <a:pt x="132" y="181"/>
                    </a:lnTo>
                    <a:lnTo>
                      <a:pt x="134" y="185"/>
                    </a:lnTo>
                    <a:lnTo>
                      <a:pt x="134" y="185"/>
                    </a:lnTo>
                    <a:lnTo>
                      <a:pt x="137" y="185"/>
                    </a:lnTo>
                    <a:lnTo>
                      <a:pt x="137" y="185"/>
                    </a:lnTo>
                    <a:lnTo>
                      <a:pt x="140" y="186"/>
                    </a:lnTo>
                    <a:lnTo>
                      <a:pt x="140" y="186"/>
                    </a:lnTo>
                    <a:lnTo>
                      <a:pt x="140" y="188"/>
                    </a:lnTo>
                    <a:lnTo>
                      <a:pt x="140" y="188"/>
                    </a:lnTo>
                    <a:lnTo>
                      <a:pt x="145" y="188"/>
                    </a:lnTo>
                    <a:lnTo>
                      <a:pt x="145" y="188"/>
                    </a:lnTo>
                    <a:lnTo>
                      <a:pt x="150" y="189"/>
                    </a:lnTo>
                    <a:lnTo>
                      <a:pt x="150" y="189"/>
                    </a:lnTo>
                    <a:lnTo>
                      <a:pt x="151" y="191"/>
                    </a:lnTo>
                    <a:lnTo>
                      <a:pt x="151" y="191"/>
                    </a:lnTo>
                    <a:lnTo>
                      <a:pt x="154" y="191"/>
                    </a:lnTo>
                    <a:lnTo>
                      <a:pt x="154" y="191"/>
                    </a:lnTo>
                    <a:lnTo>
                      <a:pt x="156" y="188"/>
                    </a:lnTo>
                    <a:lnTo>
                      <a:pt x="156" y="188"/>
                    </a:lnTo>
                    <a:lnTo>
                      <a:pt x="159" y="186"/>
                    </a:lnTo>
                    <a:lnTo>
                      <a:pt x="159" y="186"/>
                    </a:lnTo>
                    <a:lnTo>
                      <a:pt x="161" y="186"/>
                    </a:lnTo>
                    <a:lnTo>
                      <a:pt x="161" y="186"/>
                    </a:lnTo>
                    <a:lnTo>
                      <a:pt x="162" y="186"/>
                    </a:lnTo>
                    <a:lnTo>
                      <a:pt x="162" y="186"/>
                    </a:lnTo>
                    <a:lnTo>
                      <a:pt x="162" y="185"/>
                    </a:lnTo>
                    <a:lnTo>
                      <a:pt x="162" y="185"/>
                    </a:lnTo>
                    <a:lnTo>
                      <a:pt x="164" y="185"/>
                    </a:lnTo>
                    <a:lnTo>
                      <a:pt x="164" y="185"/>
                    </a:lnTo>
                    <a:lnTo>
                      <a:pt x="166" y="185"/>
                    </a:lnTo>
                    <a:lnTo>
                      <a:pt x="166" y="185"/>
                    </a:lnTo>
                    <a:lnTo>
                      <a:pt x="169" y="181"/>
                    </a:lnTo>
                    <a:lnTo>
                      <a:pt x="169" y="181"/>
                    </a:lnTo>
                    <a:lnTo>
                      <a:pt x="172" y="181"/>
                    </a:lnTo>
                    <a:lnTo>
                      <a:pt x="172" y="181"/>
                    </a:lnTo>
                    <a:lnTo>
                      <a:pt x="175" y="181"/>
                    </a:lnTo>
                    <a:lnTo>
                      <a:pt x="175" y="181"/>
                    </a:lnTo>
                    <a:lnTo>
                      <a:pt x="178" y="181"/>
                    </a:lnTo>
                    <a:lnTo>
                      <a:pt x="178" y="181"/>
                    </a:lnTo>
                    <a:lnTo>
                      <a:pt x="180" y="185"/>
                    </a:lnTo>
                    <a:lnTo>
                      <a:pt x="180" y="185"/>
                    </a:lnTo>
                    <a:lnTo>
                      <a:pt x="180" y="188"/>
                    </a:lnTo>
                    <a:lnTo>
                      <a:pt x="180" y="188"/>
                    </a:lnTo>
                    <a:lnTo>
                      <a:pt x="181" y="194"/>
                    </a:lnTo>
                    <a:lnTo>
                      <a:pt x="181" y="194"/>
                    </a:lnTo>
                    <a:lnTo>
                      <a:pt x="183" y="199"/>
                    </a:lnTo>
                    <a:lnTo>
                      <a:pt x="183" y="199"/>
                    </a:lnTo>
                    <a:lnTo>
                      <a:pt x="185" y="201"/>
                    </a:lnTo>
                    <a:lnTo>
                      <a:pt x="185" y="201"/>
                    </a:lnTo>
                    <a:lnTo>
                      <a:pt x="189" y="202"/>
                    </a:lnTo>
                    <a:lnTo>
                      <a:pt x="189" y="202"/>
                    </a:lnTo>
                    <a:lnTo>
                      <a:pt x="191" y="202"/>
                    </a:lnTo>
                    <a:lnTo>
                      <a:pt x="191" y="202"/>
                    </a:lnTo>
                    <a:lnTo>
                      <a:pt x="191" y="204"/>
                    </a:lnTo>
                    <a:lnTo>
                      <a:pt x="191" y="204"/>
                    </a:lnTo>
                    <a:lnTo>
                      <a:pt x="192" y="204"/>
                    </a:lnTo>
                    <a:lnTo>
                      <a:pt x="192" y="204"/>
                    </a:lnTo>
                    <a:lnTo>
                      <a:pt x="192" y="204"/>
                    </a:lnTo>
                    <a:lnTo>
                      <a:pt x="192" y="204"/>
                    </a:lnTo>
                    <a:lnTo>
                      <a:pt x="196" y="205"/>
                    </a:lnTo>
                    <a:lnTo>
                      <a:pt x="196" y="205"/>
                    </a:lnTo>
                    <a:lnTo>
                      <a:pt x="196" y="205"/>
                    </a:lnTo>
                    <a:lnTo>
                      <a:pt x="196" y="205"/>
                    </a:lnTo>
                    <a:lnTo>
                      <a:pt x="199" y="205"/>
                    </a:lnTo>
                    <a:lnTo>
                      <a:pt x="199" y="205"/>
                    </a:lnTo>
                    <a:lnTo>
                      <a:pt x="202" y="205"/>
                    </a:lnTo>
                    <a:lnTo>
                      <a:pt x="202" y="205"/>
                    </a:lnTo>
                    <a:lnTo>
                      <a:pt x="204" y="205"/>
                    </a:lnTo>
                    <a:lnTo>
                      <a:pt x="204" y="205"/>
                    </a:lnTo>
                    <a:lnTo>
                      <a:pt x="207" y="207"/>
                    </a:lnTo>
                    <a:lnTo>
                      <a:pt x="207" y="207"/>
                    </a:lnTo>
                    <a:lnTo>
                      <a:pt x="208" y="207"/>
                    </a:lnTo>
                    <a:lnTo>
                      <a:pt x="208" y="207"/>
                    </a:lnTo>
                    <a:lnTo>
                      <a:pt x="213" y="207"/>
                    </a:lnTo>
                    <a:lnTo>
                      <a:pt x="213" y="207"/>
                    </a:lnTo>
                    <a:lnTo>
                      <a:pt x="218" y="207"/>
                    </a:lnTo>
                    <a:lnTo>
                      <a:pt x="218" y="207"/>
                    </a:lnTo>
                    <a:lnTo>
                      <a:pt x="224" y="207"/>
                    </a:lnTo>
                    <a:lnTo>
                      <a:pt x="224" y="207"/>
                    </a:lnTo>
                    <a:lnTo>
                      <a:pt x="224" y="207"/>
                    </a:lnTo>
                    <a:lnTo>
                      <a:pt x="224" y="207"/>
                    </a:lnTo>
                    <a:lnTo>
                      <a:pt x="227" y="207"/>
                    </a:lnTo>
                    <a:lnTo>
                      <a:pt x="227" y="207"/>
                    </a:lnTo>
                    <a:lnTo>
                      <a:pt x="227" y="210"/>
                    </a:lnTo>
                    <a:lnTo>
                      <a:pt x="227" y="210"/>
                    </a:lnTo>
                    <a:lnTo>
                      <a:pt x="231" y="210"/>
                    </a:lnTo>
                    <a:lnTo>
                      <a:pt x="231" y="210"/>
                    </a:lnTo>
                    <a:lnTo>
                      <a:pt x="234" y="210"/>
                    </a:lnTo>
                    <a:lnTo>
                      <a:pt x="234" y="210"/>
                    </a:lnTo>
                    <a:lnTo>
                      <a:pt x="237" y="210"/>
                    </a:lnTo>
                    <a:lnTo>
                      <a:pt x="237" y="210"/>
                    </a:lnTo>
                    <a:lnTo>
                      <a:pt x="237" y="210"/>
                    </a:lnTo>
                    <a:lnTo>
                      <a:pt x="237" y="210"/>
                    </a:lnTo>
                    <a:lnTo>
                      <a:pt x="239" y="210"/>
                    </a:lnTo>
                    <a:lnTo>
                      <a:pt x="239" y="210"/>
                    </a:lnTo>
                    <a:lnTo>
                      <a:pt x="239" y="207"/>
                    </a:lnTo>
                    <a:lnTo>
                      <a:pt x="239" y="207"/>
                    </a:lnTo>
                    <a:lnTo>
                      <a:pt x="240" y="201"/>
                    </a:lnTo>
                    <a:lnTo>
                      <a:pt x="240" y="201"/>
                    </a:lnTo>
                    <a:lnTo>
                      <a:pt x="242" y="194"/>
                    </a:lnTo>
                    <a:lnTo>
                      <a:pt x="242" y="194"/>
                    </a:lnTo>
                    <a:lnTo>
                      <a:pt x="243" y="193"/>
                    </a:lnTo>
                    <a:lnTo>
                      <a:pt x="243" y="193"/>
                    </a:lnTo>
                    <a:lnTo>
                      <a:pt x="245" y="193"/>
                    </a:lnTo>
                    <a:lnTo>
                      <a:pt x="245" y="193"/>
                    </a:lnTo>
                    <a:lnTo>
                      <a:pt x="245" y="191"/>
                    </a:lnTo>
                    <a:lnTo>
                      <a:pt x="245" y="191"/>
                    </a:lnTo>
                    <a:lnTo>
                      <a:pt x="246" y="191"/>
                    </a:lnTo>
                    <a:lnTo>
                      <a:pt x="246" y="191"/>
                    </a:lnTo>
                    <a:lnTo>
                      <a:pt x="250" y="189"/>
                    </a:lnTo>
                    <a:lnTo>
                      <a:pt x="250" y="189"/>
                    </a:lnTo>
                    <a:lnTo>
                      <a:pt x="254" y="189"/>
                    </a:lnTo>
                    <a:lnTo>
                      <a:pt x="254" y="189"/>
                    </a:lnTo>
                    <a:lnTo>
                      <a:pt x="256" y="188"/>
                    </a:lnTo>
                    <a:lnTo>
                      <a:pt x="256" y="188"/>
                    </a:lnTo>
                    <a:lnTo>
                      <a:pt x="258" y="188"/>
                    </a:lnTo>
                    <a:lnTo>
                      <a:pt x="258" y="188"/>
                    </a:lnTo>
                    <a:lnTo>
                      <a:pt x="258" y="185"/>
                    </a:lnTo>
                    <a:lnTo>
                      <a:pt x="258" y="185"/>
                    </a:lnTo>
                    <a:lnTo>
                      <a:pt x="258" y="181"/>
                    </a:lnTo>
                    <a:lnTo>
                      <a:pt x="256" y="181"/>
                    </a:lnTo>
                    <a:lnTo>
                      <a:pt x="256" y="181"/>
                    </a:lnTo>
                    <a:lnTo>
                      <a:pt x="256" y="181"/>
                    </a:lnTo>
                    <a:close/>
                    <a:moveTo>
                      <a:pt x="85" y="154"/>
                    </a:moveTo>
                    <a:lnTo>
                      <a:pt x="85" y="154"/>
                    </a:lnTo>
                    <a:lnTo>
                      <a:pt x="86" y="158"/>
                    </a:lnTo>
                    <a:lnTo>
                      <a:pt x="86" y="158"/>
                    </a:lnTo>
                    <a:lnTo>
                      <a:pt x="86" y="158"/>
                    </a:lnTo>
                    <a:lnTo>
                      <a:pt x="86" y="158"/>
                    </a:lnTo>
                    <a:lnTo>
                      <a:pt x="88" y="158"/>
                    </a:lnTo>
                    <a:lnTo>
                      <a:pt x="88" y="158"/>
                    </a:lnTo>
                    <a:lnTo>
                      <a:pt x="88" y="156"/>
                    </a:lnTo>
                    <a:lnTo>
                      <a:pt x="88" y="156"/>
                    </a:lnTo>
                    <a:lnTo>
                      <a:pt x="88" y="154"/>
                    </a:lnTo>
                    <a:lnTo>
                      <a:pt x="88" y="154"/>
                    </a:lnTo>
                    <a:lnTo>
                      <a:pt x="86" y="153"/>
                    </a:lnTo>
                    <a:lnTo>
                      <a:pt x="86" y="153"/>
                    </a:lnTo>
                    <a:lnTo>
                      <a:pt x="85" y="154"/>
                    </a:lnTo>
                    <a:lnTo>
                      <a:pt x="85" y="154"/>
                    </a:lnTo>
                    <a:close/>
                    <a:moveTo>
                      <a:pt x="143" y="196"/>
                    </a:moveTo>
                    <a:lnTo>
                      <a:pt x="143" y="196"/>
                    </a:lnTo>
                    <a:lnTo>
                      <a:pt x="142" y="194"/>
                    </a:lnTo>
                    <a:lnTo>
                      <a:pt x="142" y="194"/>
                    </a:lnTo>
                    <a:lnTo>
                      <a:pt x="140" y="194"/>
                    </a:lnTo>
                    <a:lnTo>
                      <a:pt x="140" y="194"/>
                    </a:lnTo>
                    <a:lnTo>
                      <a:pt x="135" y="194"/>
                    </a:lnTo>
                    <a:lnTo>
                      <a:pt x="135" y="194"/>
                    </a:lnTo>
                    <a:lnTo>
                      <a:pt x="134" y="194"/>
                    </a:lnTo>
                    <a:lnTo>
                      <a:pt x="134" y="194"/>
                    </a:lnTo>
                    <a:lnTo>
                      <a:pt x="134" y="193"/>
                    </a:lnTo>
                    <a:lnTo>
                      <a:pt x="134" y="193"/>
                    </a:lnTo>
                    <a:lnTo>
                      <a:pt x="132" y="191"/>
                    </a:lnTo>
                    <a:lnTo>
                      <a:pt x="132" y="191"/>
                    </a:lnTo>
                    <a:lnTo>
                      <a:pt x="126" y="193"/>
                    </a:lnTo>
                    <a:lnTo>
                      <a:pt x="126" y="193"/>
                    </a:lnTo>
                    <a:lnTo>
                      <a:pt x="124" y="191"/>
                    </a:lnTo>
                    <a:lnTo>
                      <a:pt x="124" y="191"/>
                    </a:lnTo>
                    <a:lnTo>
                      <a:pt x="124" y="191"/>
                    </a:lnTo>
                    <a:lnTo>
                      <a:pt x="124" y="191"/>
                    </a:lnTo>
                    <a:lnTo>
                      <a:pt x="124" y="191"/>
                    </a:lnTo>
                    <a:lnTo>
                      <a:pt x="124" y="191"/>
                    </a:lnTo>
                    <a:lnTo>
                      <a:pt x="124" y="189"/>
                    </a:lnTo>
                    <a:lnTo>
                      <a:pt x="124" y="189"/>
                    </a:lnTo>
                    <a:lnTo>
                      <a:pt x="123" y="191"/>
                    </a:lnTo>
                    <a:lnTo>
                      <a:pt x="123" y="191"/>
                    </a:lnTo>
                    <a:lnTo>
                      <a:pt x="121" y="189"/>
                    </a:lnTo>
                    <a:lnTo>
                      <a:pt x="121" y="189"/>
                    </a:lnTo>
                    <a:lnTo>
                      <a:pt x="119" y="189"/>
                    </a:lnTo>
                    <a:lnTo>
                      <a:pt x="119" y="189"/>
                    </a:lnTo>
                    <a:lnTo>
                      <a:pt x="119" y="191"/>
                    </a:lnTo>
                    <a:lnTo>
                      <a:pt x="119" y="191"/>
                    </a:lnTo>
                    <a:lnTo>
                      <a:pt x="118" y="191"/>
                    </a:lnTo>
                    <a:lnTo>
                      <a:pt x="118" y="191"/>
                    </a:lnTo>
                    <a:lnTo>
                      <a:pt x="118" y="194"/>
                    </a:lnTo>
                    <a:lnTo>
                      <a:pt x="118" y="194"/>
                    </a:lnTo>
                    <a:lnTo>
                      <a:pt x="124" y="194"/>
                    </a:lnTo>
                    <a:lnTo>
                      <a:pt x="124" y="194"/>
                    </a:lnTo>
                    <a:lnTo>
                      <a:pt x="127" y="196"/>
                    </a:lnTo>
                    <a:lnTo>
                      <a:pt x="127" y="196"/>
                    </a:lnTo>
                    <a:lnTo>
                      <a:pt x="129" y="197"/>
                    </a:lnTo>
                    <a:lnTo>
                      <a:pt x="129" y="197"/>
                    </a:lnTo>
                    <a:lnTo>
                      <a:pt x="131" y="197"/>
                    </a:lnTo>
                    <a:lnTo>
                      <a:pt x="131" y="197"/>
                    </a:lnTo>
                    <a:lnTo>
                      <a:pt x="131" y="199"/>
                    </a:lnTo>
                    <a:lnTo>
                      <a:pt x="131" y="199"/>
                    </a:lnTo>
                    <a:lnTo>
                      <a:pt x="143" y="197"/>
                    </a:lnTo>
                    <a:lnTo>
                      <a:pt x="143" y="197"/>
                    </a:lnTo>
                    <a:lnTo>
                      <a:pt x="146" y="197"/>
                    </a:lnTo>
                    <a:lnTo>
                      <a:pt x="146" y="197"/>
                    </a:lnTo>
                    <a:lnTo>
                      <a:pt x="148" y="196"/>
                    </a:lnTo>
                    <a:lnTo>
                      <a:pt x="148" y="196"/>
                    </a:lnTo>
                    <a:lnTo>
                      <a:pt x="146" y="194"/>
                    </a:lnTo>
                    <a:lnTo>
                      <a:pt x="146" y="194"/>
                    </a:lnTo>
                    <a:lnTo>
                      <a:pt x="143" y="196"/>
                    </a:lnTo>
                    <a:lnTo>
                      <a:pt x="143" y="196"/>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93" name="Freeform 377">
                <a:extLst>
                  <a:ext uri="{FF2B5EF4-FFF2-40B4-BE49-F238E27FC236}">
                    <a16:creationId xmlns:a16="http://schemas.microsoft.com/office/drawing/2014/main" id="{E66157D3-963B-F8C4-B914-71C34D4667FF}"/>
                  </a:ext>
                </a:extLst>
              </p:cNvPr>
              <p:cNvSpPr>
                <a:spLocks/>
              </p:cNvSpPr>
              <p:nvPr/>
            </p:nvSpPr>
            <p:spPr bwMode="auto">
              <a:xfrm>
                <a:off x="7215952" y="3190687"/>
                <a:ext cx="139071" cy="107667"/>
              </a:xfrm>
              <a:custGeom>
                <a:avLst/>
                <a:gdLst>
                  <a:gd name="T0" fmla="*/ 59 w 62"/>
                  <a:gd name="T1" fmla="*/ 11 h 48"/>
                  <a:gd name="T2" fmla="*/ 57 w 62"/>
                  <a:gd name="T3" fmla="*/ 6 h 48"/>
                  <a:gd name="T4" fmla="*/ 55 w 62"/>
                  <a:gd name="T5" fmla="*/ 6 h 48"/>
                  <a:gd name="T6" fmla="*/ 55 w 62"/>
                  <a:gd name="T7" fmla="*/ 6 h 48"/>
                  <a:gd name="T8" fmla="*/ 52 w 62"/>
                  <a:gd name="T9" fmla="*/ 6 h 48"/>
                  <a:gd name="T10" fmla="*/ 52 w 62"/>
                  <a:gd name="T11" fmla="*/ 5 h 48"/>
                  <a:gd name="T12" fmla="*/ 51 w 62"/>
                  <a:gd name="T13" fmla="*/ 5 h 48"/>
                  <a:gd name="T14" fmla="*/ 52 w 62"/>
                  <a:gd name="T15" fmla="*/ 5 h 48"/>
                  <a:gd name="T16" fmla="*/ 52 w 62"/>
                  <a:gd name="T17" fmla="*/ 3 h 48"/>
                  <a:gd name="T18" fmla="*/ 52 w 62"/>
                  <a:gd name="T19" fmla="*/ 3 h 48"/>
                  <a:gd name="T20" fmla="*/ 52 w 62"/>
                  <a:gd name="T21" fmla="*/ 2 h 48"/>
                  <a:gd name="T22" fmla="*/ 52 w 62"/>
                  <a:gd name="T23" fmla="*/ 0 h 48"/>
                  <a:gd name="T24" fmla="*/ 52 w 62"/>
                  <a:gd name="T25" fmla="*/ 0 h 48"/>
                  <a:gd name="T26" fmla="*/ 51 w 62"/>
                  <a:gd name="T27" fmla="*/ 3 h 48"/>
                  <a:gd name="T28" fmla="*/ 46 w 62"/>
                  <a:gd name="T29" fmla="*/ 6 h 48"/>
                  <a:gd name="T30" fmla="*/ 43 w 62"/>
                  <a:gd name="T31" fmla="*/ 9 h 48"/>
                  <a:gd name="T32" fmla="*/ 40 w 62"/>
                  <a:gd name="T33" fmla="*/ 14 h 48"/>
                  <a:gd name="T34" fmla="*/ 36 w 62"/>
                  <a:gd name="T35" fmla="*/ 17 h 48"/>
                  <a:gd name="T36" fmla="*/ 36 w 62"/>
                  <a:gd name="T37" fmla="*/ 22 h 48"/>
                  <a:gd name="T38" fmla="*/ 33 w 62"/>
                  <a:gd name="T39" fmla="*/ 24 h 48"/>
                  <a:gd name="T40" fmla="*/ 33 w 62"/>
                  <a:gd name="T41" fmla="*/ 25 h 48"/>
                  <a:gd name="T42" fmla="*/ 30 w 62"/>
                  <a:gd name="T43" fmla="*/ 24 h 48"/>
                  <a:gd name="T44" fmla="*/ 30 w 62"/>
                  <a:gd name="T45" fmla="*/ 24 h 48"/>
                  <a:gd name="T46" fmla="*/ 30 w 62"/>
                  <a:gd name="T47" fmla="*/ 25 h 48"/>
                  <a:gd name="T48" fmla="*/ 27 w 62"/>
                  <a:gd name="T49" fmla="*/ 27 h 48"/>
                  <a:gd name="T50" fmla="*/ 25 w 62"/>
                  <a:gd name="T51" fmla="*/ 27 h 48"/>
                  <a:gd name="T52" fmla="*/ 19 w 62"/>
                  <a:gd name="T53" fmla="*/ 27 h 48"/>
                  <a:gd name="T54" fmla="*/ 14 w 62"/>
                  <a:gd name="T55" fmla="*/ 27 h 48"/>
                  <a:gd name="T56" fmla="*/ 11 w 62"/>
                  <a:gd name="T57" fmla="*/ 25 h 48"/>
                  <a:gd name="T58" fmla="*/ 9 w 62"/>
                  <a:gd name="T59" fmla="*/ 27 h 48"/>
                  <a:gd name="T60" fmla="*/ 5 w 62"/>
                  <a:gd name="T61" fmla="*/ 29 h 48"/>
                  <a:gd name="T62" fmla="*/ 3 w 62"/>
                  <a:gd name="T63" fmla="*/ 29 h 48"/>
                  <a:gd name="T64" fmla="*/ 1 w 62"/>
                  <a:gd name="T65" fmla="*/ 29 h 48"/>
                  <a:gd name="T66" fmla="*/ 0 w 62"/>
                  <a:gd name="T67" fmla="*/ 24 h 48"/>
                  <a:gd name="T68" fmla="*/ 0 w 62"/>
                  <a:gd name="T69" fmla="*/ 25 h 48"/>
                  <a:gd name="T70" fmla="*/ 0 w 62"/>
                  <a:gd name="T71" fmla="*/ 29 h 48"/>
                  <a:gd name="T72" fmla="*/ 8 w 62"/>
                  <a:gd name="T73" fmla="*/ 38 h 48"/>
                  <a:gd name="T74" fmla="*/ 13 w 62"/>
                  <a:gd name="T75" fmla="*/ 43 h 48"/>
                  <a:gd name="T76" fmla="*/ 30 w 62"/>
                  <a:gd name="T77" fmla="*/ 44 h 48"/>
                  <a:gd name="T78" fmla="*/ 43 w 62"/>
                  <a:gd name="T79" fmla="*/ 48 h 48"/>
                  <a:gd name="T80" fmla="*/ 44 w 62"/>
                  <a:gd name="T81" fmla="*/ 46 h 48"/>
                  <a:gd name="T82" fmla="*/ 46 w 62"/>
                  <a:gd name="T83" fmla="*/ 48 h 48"/>
                  <a:gd name="T84" fmla="*/ 46 w 62"/>
                  <a:gd name="T85" fmla="*/ 46 h 48"/>
                  <a:gd name="T86" fmla="*/ 46 w 62"/>
                  <a:gd name="T87" fmla="*/ 41 h 48"/>
                  <a:gd name="T88" fmla="*/ 48 w 62"/>
                  <a:gd name="T89" fmla="*/ 38 h 48"/>
                  <a:gd name="T90" fmla="*/ 49 w 62"/>
                  <a:gd name="T91" fmla="*/ 32 h 48"/>
                  <a:gd name="T92" fmla="*/ 48 w 62"/>
                  <a:gd name="T93" fmla="*/ 30 h 48"/>
                  <a:gd name="T94" fmla="*/ 48 w 62"/>
                  <a:gd name="T95" fmla="*/ 29 h 48"/>
                  <a:gd name="T96" fmla="*/ 51 w 62"/>
                  <a:gd name="T97" fmla="*/ 29 h 48"/>
                  <a:gd name="T98" fmla="*/ 54 w 62"/>
                  <a:gd name="T99" fmla="*/ 27 h 48"/>
                  <a:gd name="T100" fmla="*/ 54 w 62"/>
                  <a:gd name="T101" fmla="*/ 25 h 48"/>
                  <a:gd name="T102" fmla="*/ 52 w 62"/>
                  <a:gd name="T103" fmla="*/ 25 h 48"/>
                  <a:gd name="T104" fmla="*/ 51 w 62"/>
                  <a:gd name="T105" fmla="*/ 19 h 48"/>
                  <a:gd name="T106" fmla="*/ 51 w 62"/>
                  <a:gd name="T107" fmla="*/ 16 h 48"/>
                  <a:gd name="T108" fmla="*/ 51 w 62"/>
                  <a:gd name="T109" fmla="*/ 14 h 48"/>
                  <a:gd name="T110" fmla="*/ 52 w 62"/>
                  <a:gd name="T111" fmla="*/ 14 h 48"/>
                  <a:gd name="T112" fmla="*/ 54 w 62"/>
                  <a:gd name="T113" fmla="*/ 16 h 48"/>
                  <a:gd name="T114" fmla="*/ 57 w 62"/>
                  <a:gd name="T115" fmla="*/ 14 h 48"/>
                  <a:gd name="T116" fmla="*/ 59 w 62"/>
                  <a:gd name="T117" fmla="*/ 16 h 48"/>
                  <a:gd name="T118" fmla="*/ 62 w 62"/>
                  <a:gd name="T119" fmla="*/ 13 h 48"/>
                  <a:gd name="T120" fmla="*/ 59 w 62"/>
                  <a:gd name="T121"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 h="48">
                    <a:moveTo>
                      <a:pt x="59" y="11"/>
                    </a:moveTo>
                    <a:lnTo>
                      <a:pt x="59" y="11"/>
                    </a:lnTo>
                    <a:lnTo>
                      <a:pt x="57" y="6"/>
                    </a:lnTo>
                    <a:lnTo>
                      <a:pt x="57" y="6"/>
                    </a:lnTo>
                    <a:lnTo>
                      <a:pt x="55" y="6"/>
                    </a:lnTo>
                    <a:lnTo>
                      <a:pt x="55" y="6"/>
                    </a:lnTo>
                    <a:lnTo>
                      <a:pt x="55" y="6"/>
                    </a:lnTo>
                    <a:lnTo>
                      <a:pt x="55" y="6"/>
                    </a:lnTo>
                    <a:lnTo>
                      <a:pt x="54" y="6"/>
                    </a:lnTo>
                    <a:lnTo>
                      <a:pt x="52" y="6"/>
                    </a:lnTo>
                    <a:lnTo>
                      <a:pt x="52" y="6"/>
                    </a:lnTo>
                    <a:lnTo>
                      <a:pt x="52" y="5"/>
                    </a:lnTo>
                    <a:lnTo>
                      <a:pt x="52" y="5"/>
                    </a:lnTo>
                    <a:lnTo>
                      <a:pt x="51" y="5"/>
                    </a:lnTo>
                    <a:lnTo>
                      <a:pt x="52" y="5"/>
                    </a:lnTo>
                    <a:lnTo>
                      <a:pt x="52" y="5"/>
                    </a:lnTo>
                    <a:lnTo>
                      <a:pt x="52" y="3"/>
                    </a:lnTo>
                    <a:lnTo>
                      <a:pt x="52" y="3"/>
                    </a:lnTo>
                    <a:lnTo>
                      <a:pt x="52" y="3"/>
                    </a:lnTo>
                    <a:lnTo>
                      <a:pt x="52" y="3"/>
                    </a:lnTo>
                    <a:lnTo>
                      <a:pt x="52" y="3"/>
                    </a:lnTo>
                    <a:lnTo>
                      <a:pt x="52" y="2"/>
                    </a:lnTo>
                    <a:lnTo>
                      <a:pt x="52" y="2"/>
                    </a:lnTo>
                    <a:lnTo>
                      <a:pt x="52" y="0"/>
                    </a:lnTo>
                    <a:lnTo>
                      <a:pt x="52" y="0"/>
                    </a:lnTo>
                    <a:lnTo>
                      <a:pt x="52" y="0"/>
                    </a:lnTo>
                    <a:lnTo>
                      <a:pt x="52" y="0"/>
                    </a:lnTo>
                    <a:lnTo>
                      <a:pt x="51" y="3"/>
                    </a:lnTo>
                    <a:lnTo>
                      <a:pt x="51" y="3"/>
                    </a:lnTo>
                    <a:lnTo>
                      <a:pt x="46" y="6"/>
                    </a:lnTo>
                    <a:lnTo>
                      <a:pt x="46" y="6"/>
                    </a:lnTo>
                    <a:lnTo>
                      <a:pt x="43" y="9"/>
                    </a:lnTo>
                    <a:lnTo>
                      <a:pt x="43" y="9"/>
                    </a:lnTo>
                    <a:lnTo>
                      <a:pt x="40" y="14"/>
                    </a:lnTo>
                    <a:lnTo>
                      <a:pt x="40" y="14"/>
                    </a:lnTo>
                    <a:lnTo>
                      <a:pt x="36" y="17"/>
                    </a:lnTo>
                    <a:lnTo>
                      <a:pt x="36" y="17"/>
                    </a:lnTo>
                    <a:lnTo>
                      <a:pt x="36" y="22"/>
                    </a:lnTo>
                    <a:lnTo>
                      <a:pt x="36" y="22"/>
                    </a:lnTo>
                    <a:lnTo>
                      <a:pt x="33" y="24"/>
                    </a:lnTo>
                    <a:lnTo>
                      <a:pt x="33" y="24"/>
                    </a:lnTo>
                    <a:lnTo>
                      <a:pt x="33" y="25"/>
                    </a:lnTo>
                    <a:lnTo>
                      <a:pt x="33" y="25"/>
                    </a:lnTo>
                    <a:lnTo>
                      <a:pt x="30" y="24"/>
                    </a:lnTo>
                    <a:lnTo>
                      <a:pt x="30" y="24"/>
                    </a:lnTo>
                    <a:lnTo>
                      <a:pt x="30" y="24"/>
                    </a:lnTo>
                    <a:lnTo>
                      <a:pt x="30" y="24"/>
                    </a:lnTo>
                    <a:lnTo>
                      <a:pt x="30" y="25"/>
                    </a:lnTo>
                    <a:lnTo>
                      <a:pt x="30" y="25"/>
                    </a:lnTo>
                    <a:lnTo>
                      <a:pt x="27" y="27"/>
                    </a:lnTo>
                    <a:lnTo>
                      <a:pt x="27" y="27"/>
                    </a:lnTo>
                    <a:lnTo>
                      <a:pt x="25" y="27"/>
                    </a:lnTo>
                    <a:lnTo>
                      <a:pt x="25" y="27"/>
                    </a:lnTo>
                    <a:lnTo>
                      <a:pt x="19" y="27"/>
                    </a:lnTo>
                    <a:lnTo>
                      <a:pt x="19" y="27"/>
                    </a:lnTo>
                    <a:lnTo>
                      <a:pt x="14" y="27"/>
                    </a:lnTo>
                    <a:lnTo>
                      <a:pt x="14" y="27"/>
                    </a:lnTo>
                    <a:lnTo>
                      <a:pt x="11" y="25"/>
                    </a:lnTo>
                    <a:lnTo>
                      <a:pt x="11" y="25"/>
                    </a:lnTo>
                    <a:lnTo>
                      <a:pt x="9" y="27"/>
                    </a:lnTo>
                    <a:lnTo>
                      <a:pt x="9" y="27"/>
                    </a:lnTo>
                    <a:lnTo>
                      <a:pt x="5" y="29"/>
                    </a:lnTo>
                    <a:lnTo>
                      <a:pt x="5" y="29"/>
                    </a:lnTo>
                    <a:lnTo>
                      <a:pt x="3" y="29"/>
                    </a:lnTo>
                    <a:lnTo>
                      <a:pt x="3" y="29"/>
                    </a:lnTo>
                    <a:lnTo>
                      <a:pt x="1" y="29"/>
                    </a:lnTo>
                    <a:lnTo>
                      <a:pt x="1" y="29"/>
                    </a:lnTo>
                    <a:lnTo>
                      <a:pt x="0" y="24"/>
                    </a:lnTo>
                    <a:lnTo>
                      <a:pt x="0" y="24"/>
                    </a:lnTo>
                    <a:lnTo>
                      <a:pt x="0" y="25"/>
                    </a:lnTo>
                    <a:lnTo>
                      <a:pt x="0" y="25"/>
                    </a:lnTo>
                    <a:lnTo>
                      <a:pt x="0" y="29"/>
                    </a:lnTo>
                    <a:lnTo>
                      <a:pt x="0" y="29"/>
                    </a:lnTo>
                    <a:lnTo>
                      <a:pt x="8" y="38"/>
                    </a:lnTo>
                    <a:lnTo>
                      <a:pt x="8" y="38"/>
                    </a:lnTo>
                    <a:lnTo>
                      <a:pt x="13" y="43"/>
                    </a:lnTo>
                    <a:lnTo>
                      <a:pt x="13" y="43"/>
                    </a:lnTo>
                    <a:lnTo>
                      <a:pt x="30" y="44"/>
                    </a:lnTo>
                    <a:lnTo>
                      <a:pt x="30" y="44"/>
                    </a:lnTo>
                    <a:lnTo>
                      <a:pt x="43" y="48"/>
                    </a:lnTo>
                    <a:lnTo>
                      <a:pt x="43" y="48"/>
                    </a:lnTo>
                    <a:lnTo>
                      <a:pt x="44" y="46"/>
                    </a:lnTo>
                    <a:lnTo>
                      <a:pt x="44" y="46"/>
                    </a:lnTo>
                    <a:lnTo>
                      <a:pt x="46" y="48"/>
                    </a:lnTo>
                    <a:lnTo>
                      <a:pt x="46" y="48"/>
                    </a:lnTo>
                    <a:lnTo>
                      <a:pt x="46" y="46"/>
                    </a:lnTo>
                    <a:lnTo>
                      <a:pt x="46" y="46"/>
                    </a:lnTo>
                    <a:lnTo>
                      <a:pt x="46" y="41"/>
                    </a:lnTo>
                    <a:lnTo>
                      <a:pt x="46" y="41"/>
                    </a:lnTo>
                    <a:lnTo>
                      <a:pt x="48" y="38"/>
                    </a:lnTo>
                    <a:lnTo>
                      <a:pt x="48" y="38"/>
                    </a:lnTo>
                    <a:lnTo>
                      <a:pt x="49" y="32"/>
                    </a:lnTo>
                    <a:lnTo>
                      <a:pt x="49" y="32"/>
                    </a:lnTo>
                    <a:lnTo>
                      <a:pt x="48" y="30"/>
                    </a:lnTo>
                    <a:lnTo>
                      <a:pt x="48" y="30"/>
                    </a:lnTo>
                    <a:lnTo>
                      <a:pt x="48" y="29"/>
                    </a:lnTo>
                    <a:lnTo>
                      <a:pt x="48" y="29"/>
                    </a:lnTo>
                    <a:lnTo>
                      <a:pt x="51" y="29"/>
                    </a:lnTo>
                    <a:lnTo>
                      <a:pt x="51" y="29"/>
                    </a:lnTo>
                    <a:lnTo>
                      <a:pt x="54" y="27"/>
                    </a:lnTo>
                    <a:lnTo>
                      <a:pt x="54" y="27"/>
                    </a:lnTo>
                    <a:lnTo>
                      <a:pt x="54" y="25"/>
                    </a:lnTo>
                    <a:lnTo>
                      <a:pt x="54" y="25"/>
                    </a:lnTo>
                    <a:lnTo>
                      <a:pt x="52" y="25"/>
                    </a:lnTo>
                    <a:lnTo>
                      <a:pt x="52" y="25"/>
                    </a:lnTo>
                    <a:lnTo>
                      <a:pt x="51" y="19"/>
                    </a:lnTo>
                    <a:lnTo>
                      <a:pt x="51" y="19"/>
                    </a:lnTo>
                    <a:lnTo>
                      <a:pt x="51" y="16"/>
                    </a:lnTo>
                    <a:lnTo>
                      <a:pt x="51" y="16"/>
                    </a:lnTo>
                    <a:lnTo>
                      <a:pt x="51" y="14"/>
                    </a:lnTo>
                    <a:lnTo>
                      <a:pt x="51" y="14"/>
                    </a:lnTo>
                    <a:lnTo>
                      <a:pt x="52" y="14"/>
                    </a:lnTo>
                    <a:lnTo>
                      <a:pt x="52" y="14"/>
                    </a:lnTo>
                    <a:lnTo>
                      <a:pt x="54" y="16"/>
                    </a:lnTo>
                    <a:lnTo>
                      <a:pt x="54" y="16"/>
                    </a:lnTo>
                    <a:lnTo>
                      <a:pt x="57" y="14"/>
                    </a:lnTo>
                    <a:lnTo>
                      <a:pt x="57" y="14"/>
                    </a:lnTo>
                    <a:lnTo>
                      <a:pt x="59" y="16"/>
                    </a:lnTo>
                    <a:lnTo>
                      <a:pt x="59" y="16"/>
                    </a:lnTo>
                    <a:lnTo>
                      <a:pt x="62" y="13"/>
                    </a:lnTo>
                    <a:lnTo>
                      <a:pt x="62" y="13"/>
                    </a:lnTo>
                    <a:lnTo>
                      <a:pt x="59" y="11"/>
                    </a:lnTo>
                    <a:lnTo>
                      <a:pt x="59" y="1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94" name="Freeform 380">
                <a:extLst>
                  <a:ext uri="{FF2B5EF4-FFF2-40B4-BE49-F238E27FC236}">
                    <a16:creationId xmlns:a16="http://schemas.microsoft.com/office/drawing/2014/main" id="{B5F797BC-372F-0388-489F-4AA6C1295371}"/>
                  </a:ext>
                </a:extLst>
              </p:cNvPr>
              <p:cNvSpPr>
                <a:spLocks/>
              </p:cNvSpPr>
              <p:nvPr/>
            </p:nvSpPr>
            <p:spPr bwMode="auto">
              <a:xfrm>
                <a:off x="7330350" y="3186201"/>
                <a:ext cx="8972" cy="17945"/>
              </a:xfrm>
              <a:custGeom>
                <a:avLst/>
                <a:gdLst>
                  <a:gd name="T0" fmla="*/ 0 w 4"/>
                  <a:gd name="T1" fmla="*/ 4 h 8"/>
                  <a:gd name="T2" fmla="*/ 0 w 4"/>
                  <a:gd name="T3" fmla="*/ 4 h 8"/>
                  <a:gd name="T4" fmla="*/ 0 w 4"/>
                  <a:gd name="T5" fmla="*/ 4 h 8"/>
                  <a:gd name="T6" fmla="*/ 0 w 4"/>
                  <a:gd name="T7" fmla="*/ 4 h 8"/>
                  <a:gd name="T8" fmla="*/ 1 w 4"/>
                  <a:gd name="T9" fmla="*/ 5 h 8"/>
                  <a:gd name="T10" fmla="*/ 1 w 4"/>
                  <a:gd name="T11" fmla="*/ 5 h 8"/>
                  <a:gd name="T12" fmla="*/ 1 w 4"/>
                  <a:gd name="T13" fmla="*/ 5 h 8"/>
                  <a:gd name="T14" fmla="*/ 1 w 4"/>
                  <a:gd name="T15" fmla="*/ 7 h 8"/>
                  <a:gd name="T16" fmla="*/ 1 w 4"/>
                  <a:gd name="T17" fmla="*/ 7 h 8"/>
                  <a:gd name="T18" fmla="*/ 0 w 4"/>
                  <a:gd name="T19" fmla="*/ 7 h 8"/>
                  <a:gd name="T20" fmla="*/ 0 w 4"/>
                  <a:gd name="T21" fmla="*/ 7 h 8"/>
                  <a:gd name="T22" fmla="*/ 0 w 4"/>
                  <a:gd name="T23" fmla="*/ 7 h 8"/>
                  <a:gd name="T24" fmla="*/ 0 w 4"/>
                  <a:gd name="T25" fmla="*/ 7 h 8"/>
                  <a:gd name="T26" fmla="*/ 0 w 4"/>
                  <a:gd name="T27" fmla="*/ 7 h 8"/>
                  <a:gd name="T28" fmla="*/ 1 w 4"/>
                  <a:gd name="T29" fmla="*/ 8 h 8"/>
                  <a:gd name="T30" fmla="*/ 1 w 4"/>
                  <a:gd name="T31" fmla="*/ 8 h 8"/>
                  <a:gd name="T32" fmla="*/ 1 w 4"/>
                  <a:gd name="T33" fmla="*/ 8 h 8"/>
                  <a:gd name="T34" fmla="*/ 3 w 4"/>
                  <a:gd name="T35" fmla="*/ 8 h 8"/>
                  <a:gd name="T36" fmla="*/ 3 w 4"/>
                  <a:gd name="T37" fmla="*/ 8 h 8"/>
                  <a:gd name="T38" fmla="*/ 4 w 4"/>
                  <a:gd name="T39" fmla="*/ 8 h 8"/>
                  <a:gd name="T40" fmla="*/ 4 w 4"/>
                  <a:gd name="T41" fmla="*/ 8 h 8"/>
                  <a:gd name="T42" fmla="*/ 3 w 4"/>
                  <a:gd name="T43" fmla="*/ 8 h 8"/>
                  <a:gd name="T44" fmla="*/ 3 w 4"/>
                  <a:gd name="T45" fmla="*/ 8 h 8"/>
                  <a:gd name="T46" fmla="*/ 3 w 4"/>
                  <a:gd name="T47" fmla="*/ 7 h 8"/>
                  <a:gd name="T48" fmla="*/ 3 w 4"/>
                  <a:gd name="T49" fmla="*/ 7 h 8"/>
                  <a:gd name="T50" fmla="*/ 1 w 4"/>
                  <a:gd name="T51" fmla="*/ 7 h 8"/>
                  <a:gd name="T52" fmla="*/ 1 w 4"/>
                  <a:gd name="T53" fmla="*/ 7 h 8"/>
                  <a:gd name="T54" fmla="*/ 1 w 4"/>
                  <a:gd name="T55" fmla="*/ 5 h 8"/>
                  <a:gd name="T56" fmla="*/ 1 w 4"/>
                  <a:gd name="T57" fmla="*/ 5 h 8"/>
                  <a:gd name="T58" fmla="*/ 1 w 4"/>
                  <a:gd name="T59" fmla="*/ 2 h 8"/>
                  <a:gd name="T60" fmla="*/ 1 w 4"/>
                  <a:gd name="T61" fmla="*/ 2 h 8"/>
                  <a:gd name="T62" fmla="*/ 1 w 4"/>
                  <a:gd name="T63" fmla="*/ 0 h 8"/>
                  <a:gd name="T64" fmla="*/ 1 w 4"/>
                  <a:gd name="T65" fmla="*/ 0 h 8"/>
                  <a:gd name="T66" fmla="*/ 0 w 4"/>
                  <a:gd name="T67" fmla="*/ 0 h 8"/>
                  <a:gd name="T68" fmla="*/ 0 w 4"/>
                  <a:gd name="T69" fmla="*/ 0 h 8"/>
                  <a:gd name="T70" fmla="*/ 0 w 4"/>
                  <a:gd name="T71" fmla="*/ 2 h 8"/>
                  <a:gd name="T72" fmla="*/ 0 w 4"/>
                  <a:gd name="T73" fmla="*/ 2 h 8"/>
                  <a:gd name="T74" fmla="*/ 0 w 4"/>
                  <a:gd name="T75" fmla="*/ 4 h 8"/>
                  <a:gd name="T76" fmla="*/ 0 w 4"/>
                  <a:gd name="T7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 h="8">
                    <a:moveTo>
                      <a:pt x="0" y="4"/>
                    </a:moveTo>
                    <a:lnTo>
                      <a:pt x="0" y="4"/>
                    </a:lnTo>
                    <a:lnTo>
                      <a:pt x="0" y="4"/>
                    </a:lnTo>
                    <a:lnTo>
                      <a:pt x="0" y="4"/>
                    </a:lnTo>
                    <a:lnTo>
                      <a:pt x="1" y="5"/>
                    </a:lnTo>
                    <a:lnTo>
                      <a:pt x="1" y="5"/>
                    </a:lnTo>
                    <a:lnTo>
                      <a:pt x="1" y="5"/>
                    </a:lnTo>
                    <a:lnTo>
                      <a:pt x="1" y="7"/>
                    </a:lnTo>
                    <a:lnTo>
                      <a:pt x="1" y="7"/>
                    </a:lnTo>
                    <a:lnTo>
                      <a:pt x="0" y="7"/>
                    </a:lnTo>
                    <a:lnTo>
                      <a:pt x="0" y="7"/>
                    </a:lnTo>
                    <a:lnTo>
                      <a:pt x="0" y="7"/>
                    </a:lnTo>
                    <a:lnTo>
                      <a:pt x="0" y="7"/>
                    </a:lnTo>
                    <a:lnTo>
                      <a:pt x="0" y="7"/>
                    </a:lnTo>
                    <a:lnTo>
                      <a:pt x="1" y="8"/>
                    </a:lnTo>
                    <a:lnTo>
                      <a:pt x="1" y="8"/>
                    </a:lnTo>
                    <a:lnTo>
                      <a:pt x="1" y="8"/>
                    </a:lnTo>
                    <a:lnTo>
                      <a:pt x="3" y="8"/>
                    </a:lnTo>
                    <a:lnTo>
                      <a:pt x="3" y="8"/>
                    </a:lnTo>
                    <a:lnTo>
                      <a:pt x="4" y="8"/>
                    </a:lnTo>
                    <a:lnTo>
                      <a:pt x="4" y="8"/>
                    </a:lnTo>
                    <a:lnTo>
                      <a:pt x="3" y="8"/>
                    </a:lnTo>
                    <a:lnTo>
                      <a:pt x="3" y="8"/>
                    </a:lnTo>
                    <a:lnTo>
                      <a:pt x="3" y="7"/>
                    </a:lnTo>
                    <a:lnTo>
                      <a:pt x="3" y="7"/>
                    </a:lnTo>
                    <a:lnTo>
                      <a:pt x="1" y="7"/>
                    </a:lnTo>
                    <a:lnTo>
                      <a:pt x="1" y="7"/>
                    </a:lnTo>
                    <a:lnTo>
                      <a:pt x="1" y="5"/>
                    </a:lnTo>
                    <a:lnTo>
                      <a:pt x="1" y="5"/>
                    </a:lnTo>
                    <a:lnTo>
                      <a:pt x="1" y="2"/>
                    </a:lnTo>
                    <a:lnTo>
                      <a:pt x="1" y="2"/>
                    </a:lnTo>
                    <a:lnTo>
                      <a:pt x="1" y="0"/>
                    </a:lnTo>
                    <a:lnTo>
                      <a:pt x="1" y="0"/>
                    </a:lnTo>
                    <a:lnTo>
                      <a:pt x="0" y="0"/>
                    </a:lnTo>
                    <a:lnTo>
                      <a:pt x="0" y="0"/>
                    </a:lnTo>
                    <a:lnTo>
                      <a:pt x="0" y="2"/>
                    </a:lnTo>
                    <a:lnTo>
                      <a:pt x="0" y="2"/>
                    </a:lnTo>
                    <a:lnTo>
                      <a:pt x="0" y="4"/>
                    </a:lnTo>
                    <a:lnTo>
                      <a:pt x="0" y="4"/>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95" name="Freeform 220">
                <a:extLst>
                  <a:ext uri="{FF2B5EF4-FFF2-40B4-BE49-F238E27FC236}">
                    <a16:creationId xmlns:a16="http://schemas.microsoft.com/office/drawing/2014/main" id="{BE9DD242-C074-A538-954E-6E40C848A6C2}"/>
                  </a:ext>
                </a:extLst>
              </p:cNvPr>
              <p:cNvSpPr>
                <a:spLocks noEditPoints="1"/>
              </p:cNvSpPr>
              <p:nvPr/>
            </p:nvSpPr>
            <p:spPr bwMode="auto">
              <a:xfrm>
                <a:off x="9878479" y="3614627"/>
                <a:ext cx="26917" cy="165988"/>
              </a:xfrm>
              <a:custGeom>
                <a:avLst/>
                <a:gdLst>
                  <a:gd name="T0" fmla="*/ 5 w 12"/>
                  <a:gd name="T1" fmla="*/ 0 h 74"/>
                  <a:gd name="T2" fmla="*/ 7 w 12"/>
                  <a:gd name="T3" fmla="*/ 0 h 74"/>
                  <a:gd name="T4" fmla="*/ 5 w 12"/>
                  <a:gd name="T5" fmla="*/ 0 h 74"/>
                  <a:gd name="T6" fmla="*/ 5 w 12"/>
                  <a:gd name="T7" fmla="*/ 0 h 74"/>
                  <a:gd name="T8" fmla="*/ 5 w 12"/>
                  <a:gd name="T9" fmla="*/ 0 h 74"/>
                  <a:gd name="T10" fmla="*/ 5 w 12"/>
                  <a:gd name="T11" fmla="*/ 0 h 74"/>
                  <a:gd name="T12" fmla="*/ 5 w 12"/>
                  <a:gd name="T13" fmla="*/ 0 h 74"/>
                  <a:gd name="T14" fmla="*/ 12 w 12"/>
                  <a:gd name="T15" fmla="*/ 19 h 74"/>
                  <a:gd name="T16" fmla="*/ 12 w 12"/>
                  <a:gd name="T17" fmla="*/ 21 h 74"/>
                  <a:gd name="T18" fmla="*/ 12 w 12"/>
                  <a:gd name="T19" fmla="*/ 21 h 74"/>
                  <a:gd name="T20" fmla="*/ 12 w 12"/>
                  <a:gd name="T21" fmla="*/ 19 h 74"/>
                  <a:gd name="T22" fmla="*/ 12 w 12"/>
                  <a:gd name="T23" fmla="*/ 19 h 74"/>
                  <a:gd name="T24" fmla="*/ 12 w 12"/>
                  <a:gd name="T25" fmla="*/ 19 h 74"/>
                  <a:gd name="T26" fmla="*/ 12 w 12"/>
                  <a:gd name="T27" fmla="*/ 19 h 74"/>
                  <a:gd name="T28" fmla="*/ 12 w 12"/>
                  <a:gd name="T29" fmla="*/ 19 h 74"/>
                  <a:gd name="T30" fmla="*/ 12 w 12"/>
                  <a:gd name="T31" fmla="*/ 54 h 74"/>
                  <a:gd name="T32" fmla="*/ 12 w 12"/>
                  <a:gd name="T33" fmla="*/ 54 h 74"/>
                  <a:gd name="T34" fmla="*/ 12 w 12"/>
                  <a:gd name="T35" fmla="*/ 55 h 74"/>
                  <a:gd name="T36" fmla="*/ 12 w 12"/>
                  <a:gd name="T37" fmla="*/ 54 h 74"/>
                  <a:gd name="T38" fmla="*/ 12 w 12"/>
                  <a:gd name="T39" fmla="*/ 54 h 74"/>
                  <a:gd name="T40" fmla="*/ 12 w 12"/>
                  <a:gd name="T41" fmla="*/ 54 h 74"/>
                  <a:gd name="T42" fmla="*/ 12 w 12"/>
                  <a:gd name="T43" fmla="*/ 54 h 74"/>
                  <a:gd name="T44" fmla="*/ 12 w 12"/>
                  <a:gd name="T45" fmla="*/ 54 h 74"/>
                  <a:gd name="T46" fmla="*/ 12 w 12"/>
                  <a:gd name="T47" fmla="*/ 54 h 74"/>
                  <a:gd name="T48" fmla="*/ 0 w 12"/>
                  <a:gd name="T49" fmla="*/ 73 h 74"/>
                  <a:gd name="T50" fmla="*/ 0 w 12"/>
                  <a:gd name="T51" fmla="*/ 74 h 74"/>
                  <a:gd name="T52" fmla="*/ 2 w 12"/>
                  <a:gd name="T53" fmla="*/ 73 h 74"/>
                  <a:gd name="T54" fmla="*/ 2 w 12"/>
                  <a:gd name="T55" fmla="*/ 71 h 74"/>
                  <a:gd name="T56" fmla="*/ 0 w 12"/>
                  <a:gd name="T57" fmla="*/ 73 h 74"/>
                  <a:gd name="T58" fmla="*/ 0 w 12"/>
                  <a:gd name="T59" fmla="*/ 73 h 74"/>
                  <a:gd name="T60" fmla="*/ 0 w 12"/>
                  <a:gd name="T61" fmla="*/ 73 h 74"/>
                  <a:gd name="T62" fmla="*/ 0 w 12"/>
                  <a:gd name="T63" fmla="*/ 73 h 74"/>
                  <a:gd name="T64" fmla="*/ 0 w 12"/>
                  <a:gd name="T65" fmla="*/ 7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74">
                    <a:moveTo>
                      <a:pt x="5" y="0"/>
                    </a:moveTo>
                    <a:lnTo>
                      <a:pt x="5" y="0"/>
                    </a:lnTo>
                    <a:lnTo>
                      <a:pt x="7" y="0"/>
                    </a:lnTo>
                    <a:lnTo>
                      <a:pt x="7" y="0"/>
                    </a:lnTo>
                    <a:lnTo>
                      <a:pt x="5" y="0"/>
                    </a:lnTo>
                    <a:lnTo>
                      <a:pt x="5" y="0"/>
                    </a:lnTo>
                    <a:lnTo>
                      <a:pt x="5" y="0"/>
                    </a:lnTo>
                    <a:lnTo>
                      <a:pt x="5" y="0"/>
                    </a:lnTo>
                    <a:lnTo>
                      <a:pt x="5" y="0"/>
                    </a:lnTo>
                    <a:lnTo>
                      <a:pt x="5" y="0"/>
                    </a:lnTo>
                    <a:lnTo>
                      <a:pt x="5" y="0"/>
                    </a:lnTo>
                    <a:lnTo>
                      <a:pt x="5" y="0"/>
                    </a:lnTo>
                    <a:lnTo>
                      <a:pt x="5" y="0"/>
                    </a:lnTo>
                    <a:lnTo>
                      <a:pt x="5" y="0"/>
                    </a:lnTo>
                    <a:lnTo>
                      <a:pt x="5" y="0"/>
                    </a:lnTo>
                    <a:close/>
                    <a:moveTo>
                      <a:pt x="12" y="19"/>
                    </a:moveTo>
                    <a:lnTo>
                      <a:pt x="12" y="21"/>
                    </a:lnTo>
                    <a:lnTo>
                      <a:pt x="12" y="21"/>
                    </a:lnTo>
                    <a:lnTo>
                      <a:pt x="12" y="21"/>
                    </a:lnTo>
                    <a:lnTo>
                      <a:pt x="12" y="21"/>
                    </a:lnTo>
                    <a:lnTo>
                      <a:pt x="12" y="19"/>
                    </a:lnTo>
                    <a:lnTo>
                      <a:pt x="12" y="19"/>
                    </a:lnTo>
                    <a:lnTo>
                      <a:pt x="12" y="19"/>
                    </a:lnTo>
                    <a:lnTo>
                      <a:pt x="12" y="19"/>
                    </a:lnTo>
                    <a:lnTo>
                      <a:pt x="12" y="19"/>
                    </a:lnTo>
                    <a:lnTo>
                      <a:pt x="12" y="19"/>
                    </a:lnTo>
                    <a:lnTo>
                      <a:pt x="12" y="19"/>
                    </a:lnTo>
                    <a:lnTo>
                      <a:pt x="12" y="19"/>
                    </a:lnTo>
                    <a:lnTo>
                      <a:pt x="12" y="19"/>
                    </a:lnTo>
                    <a:lnTo>
                      <a:pt x="12" y="19"/>
                    </a:lnTo>
                    <a:lnTo>
                      <a:pt x="12" y="19"/>
                    </a:lnTo>
                    <a:close/>
                    <a:moveTo>
                      <a:pt x="12" y="54"/>
                    </a:moveTo>
                    <a:lnTo>
                      <a:pt x="12" y="54"/>
                    </a:lnTo>
                    <a:lnTo>
                      <a:pt x="12" y="54"/>
                    </a:lnTo>
                    <a:lnTo>
                      <a:pt x="12" y="55"/>
                    </a:lnTo>
                    <a:lnTo>
                      <a:pt x="12" y="55"/>
                    </a:lnTo>
                    <a:lnTo>
                      <a:pt x="12" y="54"/>
                    </a:lnTo>
                    <a:lnTo>
                      <a:pt x="12" y="54"/>
                    </a:lnTo>
                    <a:lnTo>
                      <a:pt x="12" y="54"/>
                    </a:lnTo>
                    <a:lnTo>
                      <a:pt x="12" y="54"/>
                    </a:lnTo>
                    <a:lnTo>
                      <a:pt x="12" y="54"/>
                    </a:lnTo>
                    <a:lnTo>
                      <a:pt x="12" y="54"/>
                    </a:lnTo>
                    <a:lnTo>
                      <a:pt x="12" y="54"/>
                    </a:lnTo>
                    <a:lnTo>
                      <a:pt x="12" y="54"/>
                    </a:lnTo>
                    <a:lnTo>
                      <a:pt x="12" y="54"/>
                    </a:lnTo>
                    <a:lnTo>
                      <a:pt x="12" y="54"/>
                    </a:lnTo>
                    <a:lnTo>
                      <a:pt x="12" y="54"/>
                    </a:lnTo>
                    <a:lnTo>
                      <a:pt x="12" y="54"/>
                    </a:lnTo>
                    <a:close/>
                    <a:moveTo>
                      <a:pt x="0" y="73"/>
                    </a:moveTo>
                    <a:lnTo>
                      <a:pt x="0" y="73"/>
                    </a:lnTo>
                    <a:lnTo>
                      <a:pt x="0" y="73"/>
                    </a:lnTo>
                    <a:lnTo>
                      <a:pt x="0" y="74"/>
                    </a:lnTo>
                    <a:lnTo>
                      <a:pt x="2" y="74"/>
                    </a:lnTo>
                    <a:lnTo>
                      <a:pt x="2" y="73"/>
                    </a:lnTo>
                    <a:lnTo>
                      <a:pt x="2" y="73"/>
                    </a:lnTo>
                    <a:lnTo>
                      <a:pt x="2" y="71"/>
                    </a:lnTo>
                    <a:lnTo>
                      <a:pt x="2" y="71"/>
                    </a:lnTo>
                    <a:lnTo>
                      <a:pt x="0" y="73"/>
                    </a:lnTo>
                    <a:lnTo>
                      <a:pt x="0" y="73"/>
                    </a:lnTo>
                    <a:lnTo>
                      <a:pt x="0" y="73"/>
                    </a:lnTo>
                    <a:lnTo>
                      <a:pt x="0" y="73"/>
                    </a:lnTo>
                    <a:lnTo>
                      <a:pt x="0" y="73"/>
                    </a:lnTo>
                    <a:lnTo>
                      <a:pt x="0" y="73"/>
                    </a:lnTo>
                    <a:lnTo>
                      <a:pt x="0" y="73"/>
                    </a:lnTo>
                    <a:lnTo>
                      <a:pt x="0" y="73"/>
                    </a:lnTo>
                    <a:lnTo>
                      <a:pt x="0" y="73"/>
                    </a:lnTo>
                    <a:lnTo>
                      <a:pt x="0" y="73"/>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96" name="Freeform 223">
                <a:extLst>
                  <a:ext uri="{FF2B5EF4-FFF2-40B4-BE49-F238E27FC236}">
                    <a16:creationId xmlns:a16="http://schemas.microsoft.com/office/drawing/2014/main" id="{36AE2B6C-C4C9-2FA8-EFBB-F205C668CF3C}"/>
                  </a:ext>
                </a:extLst>
              </p:cNvPr>
              <p:cNvSpPr>
                <a:spLocks/>
              </p:cNvSpPr>
              <p:nvPr/>
            </p:nvSpPr>
            <p:spPr bwMode="auto">
              <a:xfrm>
                <a:off x="8622358" y="3814260"/>
                <a:ext cx="121125" cy="174960"/>
              </a:xfrm>
              <a:custGeom>
                <a:avLst/>
                <a:gdLst>
                  <a:gd name="T0" fmla="*/ 22 w 54"/>
                  <a:gd name="T1" fmla="*/ 11 h 78"/>
                  <a:gd name="T2" fmla="*/ 19 w 54"/>
                  <a:gd name="T3" fmla="*/ 11 h 78"/>
                  <a:gd name="T4" fmla="*/ 16 w 54"/>
                  <a:gd name="T5" fmla="*/ 11 h 78"/>
                  <a:gd name="T6" fmla="*/ 13 w 54"/>
                  <a:gd name="T7" fmla="*/ 14 h 78"/>
                  <a:gd name="T8" fmla="*/ 11 w 54"/>
                  <a:gd name="T9" fmla="*/ 11 h 78"/>
                  <a:gd name="T10" fmla="*/ 13 w 54"/>
                  <a:gd name="T11" fmla="*/ 8 h 78"/>
                  <a:gd name="T12" fmla="*/ 8 w 54"/>
                  <a:gd name="T13" fmla="*/ 5 h 78"/>
                  <a:gd name="T14" fmla="*/ 6 w 54"/>
                  <a:gd name="T15" fmla="*/ 3 h 78"/>
                  <a:gd name="T16" fmla="*/ 2 w 54"/>
                  <a:gd name="T17" fmla="*/ 0 h 78"/>
                  <a:gd name="T18" fmla="*/ 0 w 54"/>
                  <a:gd name="T19" fmla="*/ 3 h 78"/>
                  <a:gd name="T20" fmla="*/ 3 w 54"/>
                  <a:gd name="T21" fmla="*/ 14 h 78"/>
                  <a:gd name="T22" fmla="*/ 5 w 54"/>
                  <a:gd name="T23" fmla="*/ 24 h 78"/>
                  <a:gd name="T24" fmla="*/ 6 w 54"/>
                  <a:gd name="T25" fmla="*/ 32 h 78"/>
                  <a:gd name="T26" fmla="*/ 10 w 54"/>
                  <a:gd name="T27" fmla="*/ 36 h 78"/>
                  <a:gd name="T28" fmla="*/ 10 w 54"/>
                  <a:gd name="T29" fmla="*/ 39 h 78"/>
                  <a:gd name="T30" fmla="*/ 13 w 54"/>
                  <a:gd name="T31" fmla="*/ 46 h 78"/>
                  <a:gd name="T32" fmla="*/ 16 w 54"/>
                  <a:gd name="T33" fmla="*/ 51 h 78"/>
                  <a:gd name="T34" fmla="*/ 16 w 54"/>
                  <a:gd name="T35" fmla="*/ 54 h 78"/>
                  <a:gd name="T36" fmla="*/ 19 w 54"/>
                  <a:gd name="T37" fmla="*/ 57 h 78"/>
                  <a:gd name="T38" fmla="*/ 22 w 54"/>
                  <a:gd name="T39" fmla="*/ 59 h 78"/>
                  <a:gd name="T40" fmla="*/ 32 w 54"/>
                  <a:gd name="T41" fmla="*/ 66 h 78"/>
                  <a:gd name="T42" fmla="*/ 40 w 54"/>
                  <a:gd name="T43" fmla="*/ 71 h 78"/>
                  <a:gd name="T44" fmla="*/ 43 w 54"/>
                  <a:gd name="T45" fmla="*/ 78 h 78"/>
                  <a:gd name="T46" fmla="*/ 49 w 54"/>
                  <a:gd name="T47" fmla="*/ 74 h 78"/>
                  <a:gd name="T48" fmla="*/ 52 w 54"/>
                  <a:gd name="T49" fmla="*/ 74 h 78"/>
                  <a:gd name="T50" fmla="*/ 54 w 54"/>
                  <a:gd name="T51" fmla="*/ 71 h 78"/>
                  <a:gd name="T52" fmla="*/ 46 w 54"/>
                  <a:gd name="T53" fmla="*/ 59 h 78"/>
                  <a:gd name="T54" fmla="*/ 43 w 54"/>
                  <a:gd name="T55" fmla="*/ 52 h 78"/>
                  <a:gd name="T56" fmla="*/ 43 w 54"/>
                  <a:gd name="T57" fmla="*/ 46 h 78"/>
                  <a:gd name="T58" fmla="*/ 43 w 54"/>
                  <a:gd name="T59" fmla="*/ 39 h 78"/>
                  <a:gd name="T60" fmla="*/ 43 w 54"/>
                  <a:gd name="T61" fmla="*/ 27 h 78"/>
                  <a:gd name="T62" fmla="*/ 37 w 54"/>
                  <a:gd name="T63" fmla="*/ 16 h 78"/>
                  <a:gd name="T64" fmla="*/ 29 w 54"/>
                  <a:gd name="T65" fmla="*/ 8 h 78"/>
                  <a:gd name="T66" fmla="*/ 25 w 54"/>
                  <a:gd name="T67" fmla="*/ 5 h 78"/>
                  <a:gd name="T68" fmla="*/ 25 w 54"/>
                  <a:gd name="T69" fmla="*/ 8 h 78"/>
                  <a:gd name="T70" fmla="*/ 25 w 54"/>
                  <a:gd name="T71" fmla="*/ 8 h 78"/>
                  <a:gd name="T72" fmla="*/ 25 w 54"/>
                  <a:gd name="T73" fmla="*/ 8 h 78"/>
                  <a:gd name="T74" fmla="*/ 25 w 54"/>
                  <a:gd name="T75" fmla="*/ 8 h 78"/>
                  <a:gd name="T76" fmla="*/ 25 w 54"/>
                  <a:gd name="T77" fmla="*/ 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78">
                    <a:moveTo>
                      <a:pt x="25" y="8"/>
                    </a:moveTo>
                    <a:lnTo>
                      <a:pt x="22" y="11"/>
                    </a:lnTo>
                    <a:lnTo>
                      <a:pt x="22" y="14"/>
                    </a:lnTo>
                    <a:lnTo>
                      <a:pt x="19" y="11"/>
                    </a:lnTo>
                    <a:lnTo>
                      <a:pt x="19" y="11"/>
                    </a:lnTo>
                    <a:lnTo>
                      <a:pt x="16" y="11"/>
                    </a:lnTo>
                    <a:lnTo>
                      <a:pt x="16" y="11"/>
                    </a:lnTo>
                    <a:lnTo>
                      <a:pt x="13" y="14"/>
                    </a:lnTo>
                    <a:lnTo>
                      <a:pt x="13" y="14"/>
                    </a:lnTo>
                    <a:lnTo>
                      <a:pt x="11" y="11"/>
                    </a:lnTo>
                    <a:lnTo>
                      <a:pt x="13" y="8"/>
                    </a:lnTo>
                    <a:lnTo>
                      <a:pt x="13" y="8"/>
                    </a:lnTo>
                    <a:lnTo>
                      <a:pt x="10" y="5"/>
                    </a:lnTo>
                    <a:lnTo>
                      <a:pt x="8" y="5"/>
                    </a:lnTo>
                    <a:lnTo>
                      <a:pt x="8" y="3"/>
                    </a:lnTo>
                    <a:lnTo>
                      <a:pt x="6" y="3"/>
                    </a:lnTo>
                    <a:lnTo>
                      <a:pt x="3" y="1"/>
                    </a:lnTo>
                    <a:lnTo>
                      <a:pt x="2" y="0"/>
                    </a:lnTo>
                    <a:lnTo>
                      <a:pt x="0" y="0"/>
                    </a:lnTo>
                    <a:lnTo>
                      <a:pt x="0" y="3"/>
                    </a:lnTo>
                    <a:lnTo>
                      <a:pt x="2" y="8"/>
                    </a:lnTo>
                    <a:lnTo>
                      <a:pt x="3" y="14"/>
                    </a:lnTo>
                    <a:lnTo>
                      <a:pt x="3" y="17"/>
                    </a:lnTo>
                    <a:lnTo>
                      <a:pt x="5" y="24"/>
                    </a:lnTo>
                    <a:lnTo>
                      <a:pt x="6" y="27"/>
                    </a:lnTo>
                    <a:lnTo>
                      <a:pt x="6" y="32"/>
                    </a:lnTo>
                    <a:lnTo>
                      <a:pt x="8" y="36"/>
                    </a:lnTo>
                    <a:lnTo>
                      <a:pt x="10" y="36"/>
                    </a:lnTo>
                    <a:lnTo>
                      <a:pt x="11" y="36"/>
                    </a:lnTo>
                    <a:lnTo>
                      <a:pt x="10" y="39"/>
                    </a:lnTo>
                    <a:lnTo>
                      <a:pt x="11" y="39"/>
                    </a:lnTo>
                    <a:lnTo>
                      <a:pt x="13" y="46"/>
                    </a:lnTo>
                    <a:lnTo>
                      <a:pt x="16" y="49"/>
                    </a:lnTo>
                    <a:lnTo>
                      <a:pt x="16" y="51"/>
                    </a:lnTo>
                    <a:lnTo>
                      <a:pt x="16" y="52"/>
                    </a:lnTo>
                    <a:lnTo>
                      <a:pt x="16" y="54"/>
                    </a:lnTo>
                    <a:lnTo>
                      <a:pt x="16" y="55"/>
                    </a:lnTo>
                    <a:lnTo>
                      <a:pt x="19" y="57"/>
                    </a:lnTo>
                    <a:lnTo>
                      <a:pt x="22" y="57"/>
                    </a:lnTo>
                    <a:lnTo>
                      <a:pt x="22" y="59"/>
                    </a:lnTo>
                    <a:lnTo>
                      <a:pt x="27" y="63"/>
                    </a:lnTo>
                    <a:lnTo>
                      <a:pt x="32" y="66"/>
                    </a:lnTo>
                    <a:lnTo>
                      <a:pt x="35" y="68"/>
                    </a:lnTo>
                    <a:lnTo>
                      <a:pt x="40" y="71"/>
                    </a:lnTo>
                    <a:lnTo>
                      <a:pt x="43" y="74"/>
                    </a:lnTo>
                    <a:lnTo>
                      <a:pt x="43" y="78"/>
                    </a:lnTo>
                    <a:lnTo>
                      <a:pt x="46" y="74"/>
                    </a:lnTo>
                    <a:lnTo>
                      <a:pt x="49" y="74"/>
                    </a:lnTo>
                    <a:lnTo>
                      <a:pt x="51" y="74"/>
                    </a:lnTo>
                    <a:lnTo>
                      <a:pt x="52" y="74"/>
                    </a:lnTo>
                    <a:lnTo>
                      <a:pt x="54" y="74"/>
                    </a:lnTo>
                    <a:lnTo>
                      <a:pt x="54" y="71"/>
                    </a:lnTo>
                    <a:lnTo>
                      <a:pt x="49" y="62"/>
                    </a:lnTo>
                    <a:lnTo>
                      <a:pt x="46" y="59"/>
                    </a:lnTo>
                    <a:lnTo>
                      <a:pt x="43" y="55"/>
                    </a:lnTo>
                    <a:lnTo>
                      <a:pt x="43" y="52"/>
                    </a:lnTo>
                    <a:lnTo>
                      <a:pt x="43" y="49"/>
                    </a:lnTo>
                    <a:lnTo>
                      <a:pt x="43" y="46"/>
                    </a:lnTo>
                    <a:lnTo>
                      <a:pt x="43" y="43"/>
                    </a:lnTo>
                    <a:lnTo>
                      <a:pt x="43" y="39"/>
                    </a:lnTo>
                    <a:lnTo>
                      <a:pt x="43" y="35"/>
                    </a:lnTo>
                    <a:lnTo>
                      <a:pt x="43" y="27"/>
                    </a:lnTo>
                    <a:lnTo>
                      <a:pt x="40" y="20"/>
                    </a:lnTo>
                    <a:lnTo>
                      <a:pt x="37" y="16"/>
                    </a:lnTo>
                    <a:lnTo>
                      <a:pt x="32" y="11"/>
                    </a:lnTo>
                    <a:lnTo>
                      <a:pt x="29" y="8"/>
                    </a:lnTo>
                    <a:lnTo>
                      <a:pt x="25" y="5"/>
                    </a:lnTo>
                    <a:lnTo>
                      <a:pt x="25" y="5"/>
                    </a:lnTo>
                    <a:lnTo>
                      <a:pt x="25" y="8"/>
                    </a:lnTo>
                    <a:lnTo>
                      <a:pt x="25" y="8"/>
                    </a:lnTo>
                    <a:lnTo>
                      <a:pt x="25" y="8"/>
                    </a:lnTo>
                    <a:lnTo>
                      <a:pt x="25" y="8"/>
                    </a:lnTo>
                    <a:lnTo>
                      <a:pt x="25" y="8"/>
                    </a:lnTo>
                    <a:lnTo>
                      <a:pt x="25" y="8"/>
                    </a:lnTo>
                    <a:lnTo>
                      <a:pt x="25" y="8"/>
                    </a:lnTo>
                    <a:lnTo>
                      <a:pt x="25" y="8"/>
                    </a:lnTo>
                    <a:lnTo>
                      <a:pt x="25" y="8"/>
                    </a:lnTo>
                    <a:lnTo>
                      <a:pt x="25" y="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97" name="Freeform 226">
                <a:extLst>
                  <a:ext uri="{FF2B5EF4-FFF2-40B4-BE49-F238E27FC236}">
                    <a16:creationId xmlns:a16="http://schemas.microsoft.com/office/drawing/2014/main" id="{CC784FDB-72D8-471A-4BF8-8E7AC827A07A}"/>
                  </a:ext>
                </a:extLst>
              </p:cNvPr>
              <p:cNvSpPr>
                <a:spLocks/>
              </p:cNvSpPr>
              <p:nvPr/>
            </p:nvSpPr>
            <p:spPr bwMode="auto">
              <a:xfrm>
                <a:off x="8743485" y="3989220"/>
                <a:ext cx="11216" cy="8972"/>
              </a:xfrm>
              <a:custGeom>
                <a:avLst/>
                <a:gdLst>
                  <a:gd name="T0" fmla="*/ 5 w 5"/>
                  <a:gd name="T1" fmla="*/ 3 h 4"/>
                  <a:gd name="T2" fmla="*/ 5 w 5"/>
                  <a:gd name="T3" fmla="*/ 3 h 4"/>
                  <a:gd name="T4" fmla="*/ 3 w 5"/>
                  <a:gd name="T5" fmla="*/ 0 h 4"/>
                  <a:gd name="T6" fmla="*/ 2 w 5"/>
                  <a:gd name="T7" fmla="*/ 3 h 4"/>
                  <a:gd name="T8" fmla="*/ 0 w 5"/>
                  <a:gd name="T9" fmla="*/ 3 h 4"/>
                  <a:gd name="T10" fmla="*/ 0 w 5"/>
                  <a:gd name="T11" fmla="*/ 3 h 4"/>
                  <a:gd name="T12" fmla="*/ 0 w 5"/>
                  <a:gd name="T13" fmla="*/ 3 h 4"/>
                  <a:gd name="T14" fmla="*/ 2 w 5"/>
                  <a:gd name="T15" fmla="*/ 3 h 4"/>
                  <a:gd name="T16" fmla="*/ 3 w 5"/>
                  <a:gd name="T17" fmla="*/ 4 h 4"/>
                  <a:gd name="T18" fmla="*/ 3 w 5"/>
                  <a:gd name="T19" fmla="*/ 4 h 4"/>
                  <a:gd name="T20" fmla="*/ 3 w 5"/>
                  <a:gd name="T21" fmla="*/ 4 h 4"/>
                  <a:gd name="T22" fmla="*/ 5 w 5"/>
                  <a:gd name="T23" fmla="*/ 4 h 4"/>
                  <a:gd name="T24" fmla="*/ 5 w 5"/>
                  <a:gd name="T25" fmla="*/ 3 h 4"/>
                  <a:gd name="T26" fmla="*/ 5 w 5"/>
                  <a:gd name="T27" fmla="*/ 3 h 4"/>
                  <a:gd name="T28" fmla="*/ 5 w 5"/>
                  <a:gd name="T29" fmla="*/ 3 h 4"/>
                  <a:gd name="T30" fmla="*/ 5 w 5"/>
                  <a:gd name="T31" fmla="*/ 3 h 4"/>
                  <a:gd name="T32" fmla="*/ 5 w 5"/>
                  <a:gd name="T33" fmla="*/ 3 h 4"/>
                  <a:gd name="T34" fmla="*/ 5 w 5"/>
                  <a:gd name="T35" fmla="*/ 3 h 4"/>
                  <a:gd name="T36" fmla="*/ 5 w 5"/>
                  <a:gd name="T37" fmla="*/ 3 h 4"/>
                  <a:gd name="T38" fmla="*/ 5 w 5"/>
                  <a:gd name="T39" fmla="*/ 3 h 4"/>
                  <a:gd name="T40" fmla="*/ 5 w 5"/>
                  <a:gd name="T41" fmla="*/ 3 h 4"/>
                  <a:gd name="T42" fmla="*/ 5 w 5"/>
                  <a:gd name="T4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4">
                    <a:moveTo>
                      <a:pt x="5" y="3"/>
                    </a:moveTo>
                    <a:lnTo>
                      <a:pt x="5" y="3"/>
                    </a:lnTo>
                    <a:lnTo>
                      <a:pt x="3" y="0"/>
                    </a:lnTo>
                    <a:lnTo>
                      <a:pt x="2" y="3"/>
                    </a:lnTo>
                    <a:lnTo>
                      <a:pt x="0" y="3"/>
                    </a:lnTo>
                    <a:lnTo>
                      <a:pt x="0" y="3"/>
                    </a:lnTo>
                    <a:lnTo>
                      <a:pt x="0" y="3"/>
                    </a:lnTo>
                    <a:lnTo>
                      <a:pt x="2" y="3"/>
                    </a:lnTo>
                    <a:lnTo>
                      <a:pt x="3" y="4"/>
                    </a:lnTo>
                    <a:lnTo>
                      <a:pt x="3" y="4"/>
                    </a:lnTo>
                    <a:lnTo>
                      <a:pt x="3" y="4"/>
                    </a:lnTo>
                    <a:lnTo>
                      <a:pt x="5" y="4"/>
                    </a:lnTo>
                    <a:lnTo>
                      <a:pt x="5" y="3"/>
                    </a:lnTo>
                    <a:lnTo>
                      <a:pt x="5" y="3"/>
                    </a:lnTo>
                    <a:lnTo>
                      <a:pt x="5" y="3"/>
                    </a:lnTo>
                    <a:lnTo>
                      <a:pt x="5" y="3"/>
                    </a:lnTo>
                    <a:lnTo>
                      <a:pt x="5" y="3"/>
                    </a:lnTo>
                    <a:lnTo>
                      <a:pt x="5" y="3"/>
                    </a:lnTo>
                    <a:lnTo>
                      <a:pt x="5" y="3"/>
                    </a:lnTo>
                    <a:lnTo>
                      <a:pt x="5" y="3"/>
                    </a:lnTo>
                    <a:lnTo>
                      <a:pt x="5" y="3"/>
                    </a:lnTo>
                    <a:lnTo>
                      <a:pt x="5" y="3"/>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98" name="Freeform 243">
                <a:extLst>
                  <a:ext uri="{FF2B5EF4-FFF2-40B4-BE49-F238E27FC236}">
                    <a16:creationId xmlns:a16="http://schemas.microsoft.com/office/drawing/2014/main" id="{D3A72DE4-8F26-7441-61F8-140BAF7EC140}"/>
                  </a:ext>
                </a:extLst>
              </p:cNvPr>
              <p:cNvSpPr>
                <a:spLocks/>
              </p:cNvSpPr>
              <p:nvPr/>
            </p:nvSpPr>
            <p:spPr bwMode="auto">
              <a:xfrm>
                <a:off x="8039160" y="3713321"/>
                <a:ext cx="62806" cy="125612"/>
              </a:xfrm>
              <a:custGeom>
                <a:avLst/>
                <a:gdLst>
                  <a:gd name="T0" fmla="*/ 1 w 28"/>
                  <a:gd name="T1" fmla="*/ 32 h 56"/>
                  <a:gd name="T2" fmla="*/ 4 w 28"/>
                  <a:gd name="T3" fmla="*/ 46 h 56"/>
                  <a:gd name="T4" fmla="*/ 8 w 28"/>
                  <a:gd name="T5" fmla="*/ 53 h 56"/>
                  <a:gd name="T6" fmla="*/ 12 w 28"/>
                  <a:gd name="T7" fmla="*/ 56 h 56"/>
                  <a:gd name="T8" fmla="*/ 20 w 28"/>
                  <a:gd name="T9" fmla="*/ 53 h 56"/>
                  <a:gd name="T10" fmla="*/ 25 w 28"/>
                  <a:gd name="T11" fmla="*/ 46 h 56"/>
                  <a:gd name="T12" fmla="*/ 28 w 28"/>
                  <a:gd name="T13" fmla="*/ 40 h 56"/>
                  <a:gd name="T14" fmla="*/ 25 w 28"/>
                  <a:gd name="T15" fmla="*/ 32 h 56"/>
                  <a:gd name="T16" fmla="*/ 25 w 28"/>
                  <a:gd name="T17" fmla="*/ 29 h 56"/>
                  <a:gd name="T18" fmla="*/ 25 w 28"/>
                  <a:gd name="T19" fmla="*/ 29 h 56"/>
                  <a:gd name="T20" fmla="*/ 23 w 28"/>
                  <a:gd name="T21" fmla="*/ 26 h 56"/>
                  <a:gd name="T22" fmla="*/ 20 w 28"/>
                  <a:gd name="T23" fmla="*/ 18 h 56"/>
                  <a:gd name="T24" fmla="*/ 19 w 28"/>
                  <a:gd name="T25" fmla="*/ 19 h 56"/>
                  <a:gd name="T26" fmla="*/ 17 w 28"/>
                  <a:gd name="T27" fmla="*/ 18 h 56"/>
                  <a:gd name="T28" fmla="*/ 19 w 28"/>
                  <a:gd name="T29" fmla="*/ 16 h 56"/>
                  <a:gd name="T30" fmla="*/ 14 w 28"/>
                  <a:gd name="T31" fmla="*/ 8 h 56"/>
                  <a:gd name="T32" fmla="*/ 11 w 28"/>
                  <a:gd name="T33" fmla="*/ 3 h 56"/>
                  <a:gd name="T34" fmla="*/ 4 w 28"/>
                  <a:gd name="T35" fmla="*/ 0 h 56"/>
                  <a:gd name="T36" fmla="*/ 8 w 28"/>
                  <a:gd name="T37" fmla="*/ 0 h 56"/>
                  <a:gd name="T38" fmla="*/ 8 w 28"/>
                  <a:gd name="T39" fmla="*/ 3 h 56"/>
                  <a:gd name="T40" fmla="*/ 4 w 28"/>
                  <a:gd name="T41" fmla="*/ 0 h 56"/>
                  <a:gd name="T42" fmla="*/ 1 w 28"/>
                  <a:gd name="T43" fmla="*/ 0 h 56"/>
                  <a:gd name="T44" fmla="*/ 4 w 28"/>
                  <a:gd name="T45" fmla="*/ 3 h 56"/>
                  <a:gd name="T46" fmla="*/ 4 w 28"/>
                  <a:gd name="T47" fmla="*/ 3 h 56"/>
                  <a:gd name="T48" fmla="*/ 11 w 28"/>
                  <a:gd name="T49" fmla="*/ 3 h 56"/>
                  <a:gd name="T50" fmla="*/ 4 w 28"/>
                  <a:gd name="T51" fmla="*/ 3 h 56"/>
                  <a:gd name="T52" fmla="*/ 4 w 28"/>
                  <a:gd name="T53" fmla="*/ 3 h 56"/>
                  <a:gd name="T54" fmla="*/ 4 w 28"/>
                  <a:gd name="T55" fmla="*/ 5 h 56"/>
                  <a:gd name="T56" fmla="*/ 4 w 28"/>
                  <a:gd name="T57" fmla="*/ 10 h 56"/>
                  <a:gd name="T58" fmla="*/ 1 w 28"/>
                  <a:gd name="T59" fmla="*/ 13 h 56"/>
                  <a:gd name="T60" fmla="*/ 1 w 28"/>
                  <a:gd name="T61" fmla="*/ 26 h 56"/>
                  <a:gd name="T62" fmla="*/ 1 w 28"/>
                  <a:gd name="T63" fmla="*/ 26 h 56"/>
                  <a:gd name="T64" fmla="*/ 1 w 28"/>
                  <a:gd name="T65" fmla="*/ 21 h 56"/>
                  <a:gd name="T66" fmla="*/ 0 w 28"/>
                  <a:gd name="T67" fmla="*/ 24 h 56"/>
                  <a:gd name="T68" fmla="*/ 1 w 28"/>
                  <a:gd name="T69" fmla="*/ 32 h 56"/>
                  <a:gd name="T70" fmla="*/ 1 w 28"/>
                  <a:gd name="T71" fmla="*/ 32 h 56"/>
                  <a:gd name="T72" fmla="*/ 1 w 28"/>
                  <a:gd name="T73" fmla="*/ 32 h 56"/>
                  <a:gd name="T74" fmla="*/ 1 w 28"/>
                  <a:gd name="T75" fmla="*/ 32 h 56"/>
                  <a:gd name="T76" fmla="*/ 1 w 28"/>
                  <a:gd name="T77"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 h="56">
                    <a:moveTo>
                      <a:pt x="1" y="32"/>
                    </a:moveTo>
                    <a:lnTo>
                      <a:pt x="1" y="32"/>
                    </a:lnTo>
                    <a:lnTo>
                      <a:pt x="1" y="37"/>
                    </a:lnTo>
                    <a:lnTo>
                      <a:pt x="4" y="46"/>
                    </a:lnTo>
                    <a:lnTo>
                      <a:pt x="4" y="50"/>
                    </a:lnTo>
                    <a:lnTo>
                      <a:pt x="8" y="53"/>
                    </a:lnTo>
                    <a:lnTo>
                      <a:pt x="11" y="56"/>
                    </a:lnTo>
                    <a:lnTo>
                      <a:pt x="12" y="56"/>
                    </a:lnTo>
                    <a:lnTo>
                      <a:pt x="12" y="56"/>
                    </a:lnTo>
                    <a:lnTo>
                      <a:pt x="20" y="53"/>
                    </a:lnTo>
                    <a:lnTo>
                      <a:pt x="25" y="50"/>
                    </a:lnTo>
                    <a:lnTo>
                      <a:pt x="25" y="46"/>
                    </a:lnTo>
                    <a:lnTo>
                      <a:pt x="25" y="46"/>
                    </a:lnTo>
                    <a:lnTo>
                      <a:pt x="28" y="40"/>
                    </a:lnTo>
                    <a:lnTo>
                      <a:pt x="28" y="35"/>
                    </a:lnTo>
                    <a:lnTo>
                      <a:pt x="25" y="32"/>
                    </a:lnTo>
                    <a:lnTo>
                      <a:pt x="25" y="32"/>
                    </a:lnTo>
                    <a:lnTo>
                      <a:pt x="25" y="29"/>
                    </a:lnTo>
                    <a:lnTo>
                      <a:pt x="25" y="29"/>
                    </a:lnTo>
                    <a:lnTo>
                      <a:pt x="25" y="29"/>
                    </a:lnTo>
                    <a:lnTo>
                      <a:pt x="25" y="29"/>
                    </a:lnTo>
                    <a:lnTo>
                      <a:pt x="23" y="26"/>
                    </a:lnTo>
                    <a:lnTo>
                      <a:pt x="23" y="26"/>
                    </a:lnTo>
                    <a:lnTo>
                      <a:pt x="20" y="18"/>
                    </a:lnTo>
                    <a:lnTo>
                      <a:pt x="20" y="18"/>
                    </a:lnTo>
                    <a:lnTo>
                      <a:pt x="19" y="19"/>
                    </a:lnTo>
                    <a:lnTo>
                      <a:pt x="17" y="18"/>
                    </a:lnTo>
                    <a:lnTo>
                      <a:pt x="17" y="18"/>
                    </a:lnTo>
                    <a:lnTo>
                      <a:pt x="19" y="18"/>
                    </a:lnTo>
                    <a:lnTo>
                      <a:pt x="19" y="16"/>
                    </a:lnTo>
                    <a:lnTo>
                      <a:pt x="17" y="13"/>
                    </a:lnTo>
                    <a:lnTo>
                      <a:pt x="14" y="8"/>
                    </a:lnTo>
                    <a:lnTo>
                      <a:pt x="14" y="8"/>
                    </a:lnTo>
                    <a:lnTo>
                      <a:pt x="11" y="3"/>
                    </a:lnTo>
                    <a:lnTo>
                      <a:pt x="8" y="0"/>
                    </a:lnTo>
                    <a:lnTo>
                      <a:pt x="4" y="0"/>
                    </a:lnTo>
                    <a:lnTo>
                      <a:pt x="4" y="0"/>
                    </a:lnTo>
                    <a:lnTo>
                      <a:pt x="8" y="0"/>
                    </a:lnTo>
                    <a:lnTo>
                      <a:pt x="8" y="3"/>
                    </a:lnTo>
                    <a:lnTo>
                      <a:pt x="8" y="3"/>
                    </a:lnTo>
                    <a:lnTo>
                      <a:pt x="4" y="0"/>
                    </a:lnTo>
                    <a:lnTo>
                      <a:pt x="4" y="0"/>
                    </a:lnTo>
                    <a:lnTo>
                      <a:pt x="1" y="0"/>
                    </a:lnTo>
                    <a:lnTo>
                      <a:pt x="1" y="0"/>
                    </a:lnTo>
                    <a:lnTo>
                      <a:pt x="4" y="0"/>
                    </a:lnTo>
                    <a:lnTo>
                      <a:pt x="4" y="3"/>
                    </a:lnTo>
                    <a:lnTo>
                      <a:pt x="4" y="3"/>
                    </a:lnTo>
                    <a:lnTo>
                      <a:pt x="4" y="3"/>
                    </a:lnTo>
                    <a:lnTo>
                      <a:pt x="8" y="3"/>
                    </a:lnTo>
                    <a:lnTo>
                      <a:pt x="11" y="3"/>
                    </a:lnTo>
                    <a:lnTo>
                      <a:pt x="11" y="3"/>
                    </a:lnTo>
                    <a:lnTo>
                      <a:pt x="4" y="3"/>
                    </a:lnTo>
                    <a:lnTo>
                      <a:pt x="4" y="3"/>
                    </a:lnTo>
                    <a:lnTo>
                      <a:pt x="4" y="3"/>
                    </a:lnTo>
                    <a:lnTo>
                      <a:pt x="4" y="5"/>
                    </a:lnTo>
                    <a:lnTo>
                      <a:pt x="4" y="5"/>
                    </a:lnTo>
                    <a:lnTo>
                      <a:pt x="4" y="7"/>
                    </a:lnTo>
                    <a:lnTo>
                      <a:pt x="4" y="10"/>
                    </a:lnTo>
                    <a:lnTo>
                      <a:pt x="4" y="10"/>
                    </a:lnTo>
                    <a:lnTo>
                      <a:pt x="1" y="13"/>
                    </a:lnTo>
                    <a:lnTo>
                      <a:pt x="1" y="18"/>
                    </a:lnTo>
                    <a:lnTo>
                      <a:pt x="1" y="26"/>
                    </a:lnTo>
                    <a:lnTo>
                      <a:pt x="1" y="26"/>
                    </a:lnTo>
                    <a:lnTo>
                      <a:pt x="1" y="26"/>
                    </a:lnTo>
                    <a:lnTo>
                      <a:pt x="1" y="24"/>
                    </a:lnTo>
                    <a:lnTo>
                      <a:pt x="1" y="21"/>
                    </a:lnTo>
                    <a:lnTo>
                      <a:pt x="1" y="21"/>
                    </a:lnTo>
                    <a:lnTo>
                      <a:pt x="0" y="24"/>
                    </a:lnTo>
                    <a:lnTo>
                      <a:pt x="1" y="26"/>
                    </a:lnTo>
                    <a:lnTo>
                      <a:pt x="1" y="32"/>
                    </a:lnTo>
                    <a:lnTo>
                      <a:pt x="1" y="32"/>
                    </a:lnTo>
                    <a:lnTo>
                      <a:pt x="1" y="32"/>
                    </a:lnTo>
                    <a:lnTo>
                      <a:pt x="1" y="32"/>
                    </a:lnTo>
                    <a:lnTo>
                      <a:pt x="1" y="32"/>
                    </a:lnTo>
                    <a:lnTo>
                      <a:pt x="1" y="32"/>
                    </a:lnTo>
                    <a:lnTo>
                      <a:pt x="1" y="32"/>
                    </a:lnTo>
                    <a:lnTo>
                      <a:pt x="1" y="32"/>
                    </a:lnTo>
                    <a:lnTo>
                      <a:pt x="1" y="32"/>
                    </a:lnTo>
                    <a:lnTo>
                      <a:pt x="1" y="32"/>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099" name="Freeform 257">
                <a:extLst>
                  <a:ext uri="{FF2B5EF4-FFF2-40B4-BE49-F238E27FC236}">
                    <a16:creationId xmlns:a16="http://schemas.microsoft.com/office/drawing/2014/main" id="{E0D76070-6983-7CDB-A9FE-5B0A0AFF8ACB}"/>
                  </a:ext>
                </a:extLst>
              </p:cNvPr>
              <p:cNvSpPr>
                <a:spLocks/>
              </p:cNvSpPr>
              <p:nvPr/>
            </p:nvSpPr>
            <p:spPr bwMode="auto">
              <a:xfrm>
                <a:off x="9324439" y="4298764"/>
                <a:ext cx="62806" cy="35889"/>
              </a:xfrm>
              <a:custGeom>
                <a:avLst/>
                <a:gdLst>
                  <a:gd name="T0" fmla="*/ 27 w 28"/>
                  <a:gd name="T1" fmla="*/ 0 h 16"/>
                  <a:gd name="T2" fmla="*/ 24 w 28"/>
                  <a:gd name="T3" fmla="*/ 0 h 16"/>
                  <a:gd name="T4" fmla="*/ 16 w 28"/>
                  <a:gd name="T5" fmla="*/ 1 h 16"/>
                  <a:gd name="T6" fmla="*/ 6 w 28"/>
                  <a:gd name="T7" fmla="*/ 3 h 16"/>
                  <a:gd name="T8" fmla="*/ 3 w 28"/>
                  <a:gd name="T9" fmla="*/ 4 h 16"/>
                  <a:gd name="T10" fmla="*/ 0 w 28"/>
                  <a:gd name="T11" fmla="*/ 8 h 16"/>
                  <a:gd name="T12" fmla="*/ 3 w 28"/>
                  <a:gd name="T13" fmla="*/ 11 h 16"/>
                  <a:gd name="T14" fmla="*/ 0 w 28"/>
                  <a:gd name="T15" fmla="*/ 12 h 16"/>
                  <a:gd name="T16" fmla="*/ 3 w 28"/>
                  <a:gd name="T17" fmla="*/ 16 h 16"/>
                  <a:gd name="T18" fmla="*/ 6 w 28"/>
                  <a:gd name="T19" fmla="*/ 14 h 16"/>
                  <a:gd name="T20" fmla="*/ 12 w 28"/>
                  <a:gd name="T21" fmla="*/ 9 h 16"/>
                  <a:gd name="T22" fmla="*/ 22 w 28"/>
                  <a:gd name="T23" fmla="*/ 6 h 16"/>
                  <a:gd name="T24" fmla="*/ 25 w 28"/>
                  <a:gd name="T25" fmla="*/ 4 h 16"/>
                  <a:gd name="T26" fmla="*/ 28 w 28"/>
                  <a:gd name="T27" fmla="*/ 1 h 16"/>
                  <a:gd name="T28" fmla="*/ 28 w 28"/>
                  <a:gd name="T29" fmla="*/ 0 h 16"/>
                  <a:gd name="T30" fmla="*/ 27 w 28"/>
                  <a:gd name="T31" fmla="*/ 0 h 16"/>
                  <a:gd name="T32" fmla="*/ 27 w 28"/>
                  <a:gd name="T33" fmla="*/ 0 h 16"/>
                  <a:gd name="T34" fmla="*/ 27 w 28"/>
                  <a:gd name="T35" fmla="*/ 0 h 16"/>
                  <a:gd name="T36" fmla="*/ 27 w 28"/>
                  <a:gd name="T37" fmla="*/ 0 h 16"/>
                  <a:gd name="T38" fmla="*/ 27 w 28"/>
                  <a:gd name="T39" fmla="*/ 0 h 16"/>
                  <a:gd name="T40" fmla="*/ 27 w 28"/>
                  <a:gd name="T41" fmla="*/ 0 h 16"/>
                  <a:gd name="T42" fmla="*/ 27 w 28"/>
                  <a:gd name="T43" fmla="*/ 0 h 16"/>
                  <a:gd name="T44" fmla="*/ 27 w 28"/>
                  <a:gd name="T45" fmla="*/ 0 h 16"/>
                  <a:gd name="T46" fmla="*/ 27 w 28"/>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16">
                    <a:moveTo>
                      <a:pt x="27" y="0"/>
                    </a:moveTo>
                    <a:lnTo>
                      <a:pt x="24" y="0"/>
                    </a:lnTo>
                    <a:lnTo>
                      <a:pt x="16" y="1"/>
                    </a:lnTo>
                    <a:lnTo>
                      <a:pt x="6" y="3"/>
                    </a:lnTo>
                    <a:lnTo>
                      <a:pt x="3" y="4"/>
                    </a:lnTo>
                    <a:lnTo>
                      <a:pt x="0" y="8"/>
                    </a:lnTo>
                    <a:lnTo>
                      <a:pt x="3" y="11"/>
                    </a:lnTo>
                    <a:lnTo>
                      <a:pt x="0" y="12"/>
                    </a:lnTo>
                    <a:lnTo>
                      <a:pt x="3" y="16"/>
                    </a:lnTo>
                    <a:lnTo>
                      <a:pt x="6" y="14"/>
                    </a:lnTo>
                    <a:lnTo>
                      <a:pt x="12" y="9"/>
                    </a:lnTo>
                    <a:lnTo>
                      <a:pt x="22" y="6"/>
                    </a:lnTo>
                    <a:lnTo>
                      <a:pt x="25" y="4"/>
                    </a:lnTo>
                    <a:lnTo>
                      <a:pt x="28" y="1"/>
                    </a:lnTo>
                    <a:lnTo>
                      <a:pt x="28" y="0"/>
                    </a:lnTo>
                    <a:lnTo>
                      <a:pt x="27" y="0"/>
                    </a:lnTo>
                    <a:lnTo>
                      <a:pt x="27" y="0"/>
                    </a:lnTo>
                    <a:lnTo>
                      <a:pt x="27" y="0"/>
                    </a:lnTo>
                    <a:lnTo>
                      <a:pt x="27" y="0"/>
                    </a:lnTo>
                    <a:lnTo>
                      <a:pt x="27" y="0"/>
                    </a:lnTo>
                    <a:lnTo>
                      <a:pt x="27" y="0"/>
                    </a:lnTo>
                    <a:lnTo>
                      <a:pt x="27" y="0"/>
                    </a:lnTo>
                    <a:lnTo>
                      <a:pt x="27" y="0"/>
                    </a:lnTo>
                    <a:lnTo>
                      <a:pt x="27" y="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00" name="Freeform 267">
                <a:extLst>
                  <a:ext uri="{FF2B5EF4-FFF2-40B4-BE49-F238E27FC236}">
                    <a16:creationId xmlns:a16="http://schemas.microsoft.com/office/drawing/2014/main" id="{B9FE00A7-C993-4EFC-4F07-1C159EAB6B9D}"/>
                  </a:ext>
                </a:extLst>
              </p:cNvPr>
              <p:cNvSpPr>
                <a:spLocks noEditPoints="1"/>
              </p:cNvSpPr>
              <p:nvPr/>
            </p:nvSpPr>
            <p:spPr bwMode="auto">
              <a:xfrm>
                <a:off x="10434760" y="3832205"/>
                <a:ext cx="150286" cy="244495"/>
              </a:xfrm>
              <a:custGeom>
                <a:avLst/>
                <a:gdLst>
                  <a:gd name="T0" fmla="*/ 6 w 67"/>
                  <a:gd name="T1" fmla="*/ 22 h 109"/>
                  <a:gd name="T2" fmla="*/ 6 w 67"/>
                  <a:gd name="T3" fmla="*/ 24 h 109"/>
                  <a:gd name="T4" fmla="*/ 3 w 67"/>
                  <a:gd name="T5" fmla="*/ 24 h 109"/>
                  <a:gd name="T6" fmla="*/ 2 w 67"/>
                  <a:gd name="T7" fmla="*/ 24 h 109"/>
                  <a:gd name="T8" fmla="*/ 3 w 67"/>
                  <a:gd name="T9" fmla="*/ 25 h 109"/>
                  <a:gd name="T10" fmla="*/ 10 w 67"/>
                  <a:gd name="T11" fmla="*/ 28 h 109"/>
                  <a:gd name="T12" fmla="*/ 11 w 67"/>
                  <a:gd name="T13" fmla="*/ 30 h 109"/>
                  <a:gd name="T14" fmla="*/ 11 w 67"/>
                  <a:gd name="T15" fmla="*/ 27 h 109"/>
                  <a:gd name="T16" fmla="*/ 10 w 67"/>
                  <a:gd name="T17" fmla="*/ 24 h 109"/>
                  <a:gd name="T18" fmla="*/ 10 w 67"/>
                  <a:gd name="T19" fmla="*/ 24 h 109"/>
                  <a:gd name="T20" fmla="*/ 10 w 67"/>
                  <a:gd name="T21" fmla="*/ 24 h 109"/>
                  <a:gd name="T22" fmla="*/ 10 w 67"/>
                  <a:gd name="T23" fmla="*/ 24 h 109"/>
                  <a:gd name="T24" fmla="*/ 10 w 67"/>
                  <a:gd name="T25" fmla="*/ 24 h 109"/>
                  <a:gd name="T26" fmla="*/ 3 w 67"/>
                  <a:gd name="T27" fmla="*/ 3 h 109"/>
                  <a:gd name="T28" fmla="*/ 3 w 67"/>
                  <a:gd name="T29" fmla="*/ 0 h 109"/>
                  <a:gd name="T30" fmla="*/ 2 w 67"/>
                  <a:gd name="T31" fmla="*/ 1 h 109"/>
                  <a:gd name="T32" fmla="*/ 0 w 67"/>
                  <a:gd name="T33" fmla="*/ 3 h 109"/>
                  <a:gd name="T34" fmla="*/ 0 w 67"/>
                  <a:gd name="T35" fmla="*/ 4 h 109"/>
                  <a:gd name="T36" fmla="*/ 2 w 67"/>
                  <a:gd name="T37" fmla="*/ 6 h 109"/>
                  <a:gd name="T38" fmla="*/ 3 w 67"/>
                  <a:gd name="T39" fmla="*/ 3 h 109"/>
                  <a:gd name="T40" fmla="*/ 3 w 67"/>
                  <a:gd name="T41" fmla="*/ 3 h 109"/>
                  <a:gd name="T42" fmla="*/ 3 w 67"/>
                  <a:gd name="T43" fmla="*/ 3 h 109"/>
                  <a:gd name="T44" fmla="*/ 3 w 67"/>
                  <a:gd name="T45" fmla="*/ 3 h 109"/>
                  <a:gd name="T46" fmla="*/ 3 w 67"/>
                  <a:gd name="T47" fmla="*/ 3 h 109"/>
                  <a:gd name="T48" fmla="*/ 45 w 67"/>
                  <a:gd name="T49" fmla="*/ 30 h 109"/>
                  <a:gd name="T50" fmla="*/ 43 w 67"/>
                  <a:gd name="T51" fmla="*/ 30 h 109"/>
                  <a:gd name="T52" fmla="*/ 45 w 67"/>
                  <a:gd name="T53" fmla="*/ 31 h 109"/>
                  <a:gd name="T54" fmla="*/ 46 w 67"/>
                  <a:gd name="T55" fmla="*/ 33 h 109"/>
                  <a:gd name="T56" fmla="*/ 48 w 67"/>
                  <a:gd name="T57" fmla="*/ 31 h 109"/>
                  <a:gd name="T58" fmla="*/ 45 w 67"/>
                  <a:gd name="T59" fmla="*/ 30 h 109"/>
                  <a:gd name="T60" fmla="*/ 45 w 67"/>
                  <a:gd name="T61" fmla="*/ 30 h 109"/>
                  <a:gd name="T62" fmla="*/ 45 w 67"/>
                  <a:gd name="T63" fmla="*/ 30 h 109"/>
                  <a:gd name="T64" fmla="*/ 45 w 67"/>
                  <a:gd name="T65" fmla="*/ 30 h 109"/>
                  <a:gd name="T66" fmla="*/ 45 w 67"/>
                  <a:gd name="T67" fmla="*/ 30 h 109"/>
                  <a:gd name="T68" fmla="*/ 67 w 67"/>
                  <a:gd name="T69" fmla="*/ 108 h 109"/>
                  <a:gd name="T70" fmla="*/ 67 w 67"/>
                  <a:gd name="T71" fmla="*/ 104 h 109"/>
                  <a:gd name="T72" fmla="*/ 67 w 67"/>
                  <a:gd name="T73" fmla="*/ 109 h 109"/>
                  <a:gd name="T74" fmla="*/ 67 w 67"/>
                  <a:gd name="T75" fmla="*/ 109 h 109"/>
                  <a:gd name="T76" fmla="*/ 67 w 67"/>
                  <a:gd name="T77" fmla="*/ 108 h 109"/>
                  <a:gd name="T78" fmla="*/ 67 w 67"/>
                  <a:gd name="T79" fmla="*/ 108 h 109"/>
                  <a:gd name="T80" fmla="*/ 67 w 67"/>
                  <a:gd name="T81" fmla="*/ 108 h 109"/>
                  <a:gd name="T82" fmla="*/ 67 w 67"/>
                  <a:gd name="T83" fmla="*/ 108 h 109"/>
                  <a:gd name="T84" fmla="*/ 67 w 67"/>
                  <a:gd name="T8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 h="109">
                    <a:moveTo>
                      <a:pt x="10" y="24"/>
                    </a:moveTo>
                    <a:lnTo>
                      <a:pt x="6" y="22"/>
                    </a:lnTo>
                    <a:lnTo>
                      <a:pt x="6" y="24"/>
                    </a:lnTo>
                    <a:lnTo>
                      <a:pt x="6" y="24"/>
                    </a:lnTo>
                    <a:lnTo>
                      <a:pt x="3" y="24"/>
                    </a:lnTo>
                    <a:lnTo>
                      <a:pt x="3" y="24"/>
                    </a:lnTo>
                    <a:lnTo>
                      <a:pt x="2" y="24"/>
                    </a:lnTo>
                    <a:lnTo>
                      <a:pt x="2" y="24"/>
                    </a:lnTo>
                    <a:lnTo>
                      <a:pt x="2" y="24"/>
                    </a:lnTo>
                    <a:lnTo>
                      <a:pt x="3" y="25"/>
                    </a:lnTo>
                    <a:lnTo>
                      <a:pt x="6" y="25"/>
                    </a:lnTo>
                    <a:lnTo>
                      <a:pt x="10" y="28"/>
                    </a:lnTo>
                    <a:lnTo>
                      <a:pt x="10" y="30"/>
                    </a:lnTo>
                    <a:lnTo>
                      <a:pt x="11" y="30"/>
                    </a:lnTo>
                    <a:lnTo>
                      <a:pt x="11" y="28"/>
                    </a:lnTo>
                    <a:lnTo>
                      <a:pt x="11" y="27"/>
                    </a:lnTo>
                    <a:lnTo>
                      <a:pt x="10" y="24"/>
                    </a:lnTo>
                    <a:lnTo>
                      <a:pt x="10" y="24"/>
                    </a:lnTo>
                    <a:lnTo>
                      <a:pt x="10" y="24"/>
                    </a:lnTo>
                    <a:lnTo>
                      <a:pt x="10" y="24"/>
                    </a:lnTo>
                    <a:lnTo>
                      <a:pt x="10" y="24"/>
                    </a:lnTo>
                    <a:lnTo>
                      <a:pt x="10" y="24"/>
                    </a:lnTo>
                    <a:lnTo>
                      <a:pt x="10" y="24"/>
                    </a:lnTo>
                    <a:lnTo>
                      <a:pt x="10" y="24"/>
                    </a:lnTo>
                    <a:lnTo>
                      <a:pt x="10" y="24"/>
                    </a:lnTo>
                    <a:lnTo>
                      <a:pt x="10" y="24"/>
                    </a:lnTo>
                    <a:close/>
                    <a:moveTo>
                      <a:pt x="3" y="3"/>
                    </a:moveTo>
                    <a:lnTo>
                      <a:pt x="3" y="3"/>
                    </a:lnTo>
                    <a:lnTo>
                      <a:pt x="3" y="1"/>
                    </a:lnTo>
                    <a:lnTo>
                      <a:pt x="3" y="0"/>
                    </a:lnTo>
                    <a:lnTo>
                      <a:pt x="3" y="1"/>
                    </a:lnTo>
                    <a:lnTo>
                      <a:pt x="2" y="1"/>
                    </a:lnTo>
                    <a:lnTo>
                      <a:pt x="0" y="1"/>
                    </a:lnTo>
                    <a:lnTo>
                      <a:pt x="0" y="3"/>
                    </a:lnTo>
                    <a:lnTo>
                      <a:pt x="0" y="3"/>
                    </a:lnTo>
                    <a:lnTo>
                      <a:pt x="0" y="4"/>
                    </a:lnTo>
                    <a:lnTo>
                      <a:pt x="0" y="4"/>
                    </a:lnTo>
                    <a:lnTo>
                      <a:pt x="2" y="6"/>
                    </a:lnTo>
                    <a:lnTo>
                      <a:pt x="3" y="3"/>
                    </a:lnTo>
                    <a:lnTo>
                      <a:pt x="3" y="3"/>
                    </a:lnTo>
                    <a:lnTo>
                      <a:pt x="3" y="3"/>
                    </a:lnTo>
                    <a:lnTo>
                      <a:pt x="3" y="3"/>
                    </a:lnTo>
                    <a:lnTo>
                      <a:pt x="3" y="3"/>
                    </a:lnTo>
                    <a:lnTo>
                      <a:pt x="3" y="3"/>
                    </a:lnTo>
                    <a:lnTo>
                      <a:pt x="3" y="3"/>
                    </a:lnTo>
                    <a:lnTo>
                      <a:pt x="3" y="3"/>
                    </a:lnTo>
                    <a:lnTo>
                      <a:pt x="3" y="3"/>
                    </a:lnTo>
                    <a:lnTo>
                      <a:pt x="3" y="3"/>
                    </a:lnTo>
                    <a:close/>
                    <a:moveTo>
                      <a:pt x="45" y="30"/>
                    </a:moveTo>
                    <a:lnTo>
                      <a:pt x="45" y="30"/>
                    </a:lnTo>
                    <a:lnTo>
                      <a:pt x="43" y="28"/>
                    </a:lnTo>
                    <a:lnTo>
                      <a:pt x="43" y="30"/>
                    </a:lnTo>
                    <a:lnTo>
                      <a:pt x="43" y="30"/>
                    </a:lnTo>
                    <a:lnTo>
                      <a:pt x="45" y="31"/>
                    </a:lnTo>
                    <a:lnTo>
                      <a:pt x="46" y="33"/>
                    </a:lnTo>
                    <a:lnTo>
                      <a:pt x="46" y="33"/>
                    </a:lnTo>
                    <a:lnTo>
                      <a:pt x="48" y="31"/>
                    </a:lnTo>
                    <a:lnTo>
                      <a:pt x="48" y="31"/>
                    </a:lnTo>
                    <a:lnTo>
                      <a:pt x="45" y="30"/>
                    </a:lnTo>
                    <a:lnTo>
                      <a:pt x="45" y="30"/>
                    </a:lnTo>
                    <a:lnTo>
                      <a:pt x="45" y="30"/>
                    </a:lnTo>
                    <a:lnTo>
                      <a:pt x="45" y="30"/>
                    </a:lnTo>
                    <a:lnTo>
                      <a:pt x="45" y="30"/>
                    </a:lnTo>
                    <a:lnTo>
                      <a:pt x="45" y="30"/>
                    </a:lnTo>
                    <a:lnTo>
                      <a:pt x="45" y="30"/>
                    </a:lnTo>
                    <a:lnTo>
                      <a:pt x="45" y="30"/>
                    </a:lnTo>
                    <a:lnTo>
                      <a:pt x="45" y="30"/>
                    </a:lnTo>
                    <a:lnTo>
                      <a:pt x="45" y="30"/>
                    </a:lnTo>
                    <a:lnTo>
                      <a:pt x="45" y="30"/>
                    </a:lnTo>
                    <a:close/>
                    <a:moveTo>
                      <a:pt x="67" y="108"/>
                    </a:moveTo>
                    <a:lnTo>
                      <a:pt x="67" y="104"/>
                    </a:lnTo>
                    <a:lnTo>
                      <a:pt x="67" y="104"/>
                    </a:lnTo>
                    <a:lnTo>
                      <a:pt x="67" y="104"/>
                    </a:lnTo>
                    <a:lnTo>
                      <a:pt x="67" y="109"/>
                    </a:lnTo>
                    <a:lnTo>
                      <a:pt x="67" y="109"/>
                    </a:lnTo>
                    <a:lnTo>
                      <a:pt x="67" y="109"/>
                    </a:lnTo>
                    <a:lnTo>
                      <a:pt x="67" y="109"/>
                    </a:lnTo>
                    <a:lnTo>
                      <a:pt x="67" y="108"/>
                    </a:lnTo>
                    <a:lnTo>
                      <a:pt x="67" y="108"/>
                    </a:lnTo>
                    <a:lnTo>
                      <a:pt x="67" y="108"/>
                    </a:lnTo>
                    <a:lnTo>
                      <a:pt x="67" y="108"/>
                    </a:lnTo>
                    <a:lnTo>
                      <a:pt x="67" y="108"/>
                    </a:lnTo>
                    <a:lnTo>
                      <a:pt x="67" y="108"/>
                    </a:lnTo>
                    <a:lnTo>
                      <a:pt x="67" y="108"/>
                    </a:lnTo>
                    <a:lnTo>
                      <a:pt x="67" y="108"/>
                    </a:lnTo>
                    <a:lnTo>
                      <a:pt x="67" y="108"/>
                    </a:lnTo>
                    <a:lnTo>
                      <a:pt x="67" y="10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01" name="Freeform 268">
                <a:extLst>
                  <a:ext uri="{FF2B5EF4-FFF2-40B4-BE49-F238E27FC236}">
                    <a16:creationId xmlns:a16="http://schemas.microsoft.com/office/drawing/2014/main" id="{94040593-30DA-9417-7935-5032B6BFEDE3}"/>
                  </a:ext>
                </a:extLst>
              </p:cNvPr>
              <p:cNvSpPr>
                <a:spLocks noEditPoints="1"/>
              </p:cNvSpPr>
              <p:nvPr/>
            </p:nvSpPr>
            <p:spPr bwMode="auto">
              <a:xfrm>
                <a:off x="10434760" y="3832205"/>
                <a:ext cx="150286" cy="244495"/>
              </a:xfrm>
              <a:custGeom>
                <a:avLst/>
                <a:gdLst>
                  <a:gd name="T0" fmla="*/ 6 w 67"/>
                  <a:gd name="T1" fmla="*/ 22 h 109"/>
                  <a:gd name="T2" fmla="*/ 6 w 67"/>
                  <a:gd name="T3" fmla="*/ 24 h 109"/>
                  <a:gd name="T4" fmla="*/ 3 w 67"/>
                  <a:gd name="T5" fmla="*/ 24 h 109"/>
                  <a:gd name="T6" fmla="*/ 2 w 67"/>
                  <a:gd name="T7" fmla="*/ 24 h 109"/>
                  <a:gd name="T8" fmla="*/ 3 w 67"/>
                  <a:gd name="T9" fmla="*/ 25 h 109"/>
                  <a:gd name="T10" fmla="*/ 10 w 67"/>
                  <a:gd name="T11" fmla="*/ 28 h 109"/>
                  <a:gd name="T12" fmla="*/ 11 w 67"/>
                  <a:gd name="T13" fmla="*/ 30 h 109"/>
                  <a:gd name="T14" fmla="*/ 11 w 67"/>
                  <a:gd name="T15" fmla="*/ 27 h 109"/>
                  <a:gd name="T16" fmla="*/ 10 w 67"/>
                  <a:gd name="T17" fmla="*/ 24 h 109"/>
                  <a:gd name="T18" fmla="*/ 10 w 67"/>
                  <a:gd name="T19" fmla="*/ 24 h 109"/>
                  <a:gd name="T20" fmla="*/ 10 w 67"/>
                  <a:gd name="T21" fmla="*/ 24 h 109"/>
                  <a:gd name="T22" fmla="*/ 10 w 67"/>
                  <a:gd name="T23" fmla="*/ 24 h 109"/>
                  <a:gd name="T24" fmla="*/ 10 w 67"/>
                  <a:gd name="T25" fmla="*/ 24 h 109"/>
                  <a:gd name="T26" fmla="*/ 3 w 67"/>
                  <a:gd name="T27" fmla="*/ 3 h 109"/>
                  <a:gd name="T28" fmla="*/ 3 w 67"/>
                  <a:gd name="T29" fmla="*/ 0 h 109"/>
                  <a:gd name="T30" fmla="*/ 2 w 67"/>
                  <a:gd name="T31" fmla="*/ 1 h 109"/>
                  <a:gd name="T32" fmla="*/ 0 w 67"/>
                  <a:gd name="T33" fmla="*/ 3 h 109"/>
                  <a:gd name="T34" fmla="*/ 0 w 67"/>
                  <a:gd name="T35" fmla="*/ 4 h 109"/>
                  <a:gd name="T36" fmla="*/ 2 w 67"/>
                  <a:gd name="T37" fmla="*/ 6 h 109"/>
                  <a:gd name="T38" fmla="*/ 3 w 67"/>
                  <a:gd name="T39" fmla="*/ 3 h 109"/>
                  <a:gd name="T40" fmla="*/ 3 w 67"/>
                  <a:gd name="T41" fmla="*/ 3 h 109"/>
                  <a:gd name="T42" fmla="*/ 3 w 67"/>
                  <a:gd name="T43" fmla="*/ 3 h 109"/>
                  <a:gd name="T44" fmla="*/ 3 w 67"/>
                  <a:gd name="T45" fmla="*/ 3 h 109"/>
                  <a:gd name="T46" fmla="*/ 3 w 67"/>
                  <a:gd name="T47" fmla="*/ 3 h 109"/>
                  <a:gd name="T48" fmla="*/ 45 w 67"/>
                  <a:gd name="T49" fmla="*/ 30 h 109"/>
                  <a:gd name="T50" fmla="*/ 43 w 67"/>
                  <a:gd name="T51" fmla="*/ 30 h 109"/>
                  <a:gd name="T52" fmla="*/ 45 w 67"/>
                  <a:gd name="T53" fmla="*/ 31 h 109"/>
                  <a:gd name="T54" fmla="*/ 46 w 67"/>
                  <a:gd name="T55" fmla="*/ 33 h 109"/>
                  <a:gd name="T56" fmla="*/ 48 w 67"/>
                  <a:gd name="T57" fmla="*/ 31 h 109"/>
                  <a:gd name="T58" fmla="*/ 45 w 67"/>
                  <a:gd name="T59" fmla="*/ 30 h 109"/>
                  <a:gd name="T60" fmla="*/ 45 w 67"/>
                  <a:gd name="T61" fmla="*/ 30 h 109"/>
                  <a:gd name="T62" fmla="*/ 45 w 67"/>
                  <a:gd name="T63" fmla="*/ 30 h 109"/>
                  <a:gd name="T64" fmla="*/ 45 w 67"/>
                  <a:gd name="T65" fmla="*/ 30 h 109"/>
                  <a:gd name="T66" fmla="*/ 45 w 67"/>
                  <a:gd name="T67" fmla="*/ 30 h 109"/>
                  <a:gd name="T68" fmla="*/ 67 w 67"/>
                  <a:gd name="T69" fmla="*/ 108 h 109"/>
                  <a:gd name="T70" fmla="*/ 67 w 67"/>
                  <a:gd name="T71" fmla="*/ 104 h 109"/>
                  <a:gd name="T72" fmla="*/ 67 w 67"/>
                  <a:gd name="T73" fmla="*/ 109 h 109"/>
                  <a:gd name="T74" fmla="*/ 67 w 67"/>
                  <a:gd name="T75" fmla="*/ 109 h 109"/>
                  <a:gd name="T76" fmla="*/ 67 w 67"/>
                  <a:gd name="T77" fmla="*/ 108 h 109"/>
                  <a:gd name="T78" fmla="*/ 67 w 67"/>
                  <a:gd name="T79" fmla="*/ 108 h 109"/>
                  <a:gd name="T80" fmla="*/ 67 w 67"/>
                  <a:gd name="T81" fmla="*/ 108 h 109"/>
                  <a:gd name="T82" fmla="*/ 67 w 67"/>
                  <a:gd name="T83" fmla="*/ 108 h 109"/>
                  <a:gd name="T84" fmla="*/ 67 w 67"/>
                  <a:gd name="T8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 h="109">
                    <a:moveTo>
                      <a:pt x="10" y="24"/>
                    </a:moveTo>
                    <a:lnTo>
                      <a:pt x="6" y="22"/>
                    </a:lnTo>
                    <a:lnTo>
                      <a:pt x="6" y="24"/>
                    </a:lnTo>
                    <a:lnTo>
                      <a:pt x="6" y="24"/>
                    </a:lnTo>
                    <a:lnTo>
                      <a:pt x="3" y="24"/>
                    </a:lnTo>
                    <a:lnTo>
                      <a:pt x="3" y="24"/>
                    </a:lnTo>
                    <a:lnTo>
                      <a:pt x="2" y="24"/>
                    </a:lnTo>
                    <a:lnTo>
                      <a:pt x="2" y="24"/>
                    </a:lnTo>
                    <a:lnTo>
                      <a:pt x="2" y="24"/>
                    </a:lnTo>
                    <a:lnTo>
                      <a:pt x="3" y="25"/>
                    </a:lnTo>
                    <a:lnTo>
                      <a:pt x="6" y="25"/>
                    </a:lnTo>
                    <a:lnTo>
                      <a:pt x="10" y="28"/>
                    </a:lnTo>
                    <a:lnTo>
                      <a:pt x="10" y="30"/>
                    </a:lnTo>
                    <a:lnTo>
                      <a:pt x="11" y="30"/>
                    </a:lnTo>
                    <a:lnTo>
                      <a:pt x="11" y="28"/>
                    </a:lnTo>
                    <a:lnTo>
                      <a:pt x="11" y="27"/>
                    </a:lnTo>
                    <a:lnTo>
                      <a:pt x="10" y="24"/>
                    </a:lnTo>
                    <a:lnTo>
                      <a:pt x="10" y="24"/>
                    </a:lnTo>
                    <a:lnTo>
                      <a:pt x="10" y="24"/>
                    </a:lnTo>
                    <a:lnTo>
                      <a:pt x="10" y="24"/>
                    </a:lnTo>
                    <a:lnTo>
                      <a:pt x="10" y="24"/>
                    </a:lnTo>
                    <a:lnTo>
                      <a:pt x="10" y="24"/>
                    </a:lnTo>
                    <a:lnTo>
                      <a:pt x="10" y="24"/>
                    </a:lnTo>
                    <a:lnTo>
                      <a:pt x="10" y="24"/>
                    </a:lnTo>
                    <a:lnTo>
                      <a:pt x="10" y="24"/>
                    </a:lnTo>
                    <a:lnTo>
                      <a:pt x="10" y="24"/>
                    </a:lnTo>
                    <a:close/>
                    <a:moveTo>
                      <a:pt x="3" y="3"/>
                    </a:moveTo>
                    <a:lnTo>
                      <a:pt x="3" y="3"/>
                    </a:lnTo>
                    <a:lnTo>
                      <a:pt x="3" y="1"/>
                    </a:lnTo>
                    <a:lnTo>
                      <a:pt x="3" y="0"/>
                    </a:lnTo>
                    <a:lnTo>
                      <a:pt x="3" y="1"/>
                    </a:lnTo>
                    <a:lnTo>
                      <a:pt x="2" y="1"/>
                    </a:lnTo>
                    <a:lnTo>
                      <a:pt x="0" y="1"/>
                    </a:lnTo>
                    <a:lnTo>
                      <a:pt x="0" y="3"/>
                    </a:lnTo>
                    <a:lnTo>
                      <a:pt x="0" y="3"/>
                    </a:lnTo>
                    <a:lnTo>
                      <a:pt x="0" y="4"/>
                    </a:lnTo>
                    <a:lnTo>
                      <a:pt x="0" y="4"/>
                    </a:lnTo>
                    <a:lnTo>
                      <a:pt x="2" y="6"/>
                    </a:lnTo>
                    <a:lnTo>
                      <a:pt x="3" y="3"/>
                    </a:lnTo>
                    <a:lnTo>
                      <a:pt x="3" y="3"/>
                    </a:lnTo>
                    <a:lnTo>
                      <a:pt x="3" y="3"/>
                    </a:lnTo>
                    <a:lnTo>
                      <a:pt x="3" y="3"/>
                    </a:lnTo>
                    <a:lnTo>
                      <a:pt x="3" y="3"/>
                    </a:lnTo>
                    <a:lnTo>
                      <a:pt x="3" y="3"/>
                    </a:lnTo>
                    <a:lnTo>
                      <a:pt x="3" y="3"/>
                    </a:lnTo>
                    <a:lnTo>
                      <a:pt x="3" y="3"/>
                    </a:lnTo>
                    <a:lnTo>
                      <a:pt x="3" y="3"/>
                    </a:lnTo>
                    <a:lnTo>
                      <a:pt x="3" y="3"/>
                    </a:lnTo>
                    <a:close/>
                    <a:moveTo>
                      <a:pt x="45" y="30"/>
                    </a:moveTo>
                    <a:lnTo>
                      <a:pt x="45" y="30"/>
                    </a:lnTo>
                    <a:lnTo>
                      <a:pt x="43" y="28"/>
                    </a:lnTo>
                    <a:lnTo>
                      <a:pt x="43" y="30"/>
                    </a:lnTo>
                    <a:lnTo>
                      <a:pt x="43" y="30"/>
                    </a:lnTo>
                    <a:lnTo>
                      <a:pt x="45" y="31"/>
                    </a:lnTo>
                    <a:lnTo>
                      <a:pt x="46" y="33"/>
                    </a:lnTo>
                    <a:lnTo>
                      <a:pt x="46" y="33"/>
                    </a:lnTo>
                    <a:lnTo>
                      <a:pt x="48" y="31"/>
                    </a:lnTo>
                    <a:lnTo>
                      <a:pt x="48" y="31"/>
                    </a:lnTo>
                    <a:lnTo>
                      <a:pt x="45" y="30"/>
                    </a:lnTo>
                    <a:lnTo>
                      <a:pt x="45" y="30"/>
                    </a:lnTo>
                    <a:lnTo>
                      <a:pt x="45" y="30"/>
                    </a:lnTo>
                    <a:lnTo>
                      <a:pt x="45" y="30"/>
                    </a:lnTo>
                    <a:lnTo>
                      <a:pt x="45" y="30"/>
                    </a:lnTo>
                    <a:lnTo>
                      <a:pt x="45" y="30"/>
                    </a:lnTo>
                    <a:lnTo>
                      <a:pt x="45" y="30"/>
                    </a:lnTo>
                    <a:lnTo>
                      <a:pt x="45" y="30"/>
                    </a:lnTo>
                    <a:lnTo>
                      <a:pt x="45" y="30"/>
                    </a:lnTo>
                    <a:lnTo>
                      <a:pt x="45" y="30"/>
                    </a:lnTo>
                    <a:lnTo>
                      <a:pt x="45" y="30"/>
                    </a:lnTo>
                    <a:close/>
                    <a:moveTo>
                      <a:pt x="67" y="108"/>
                    </a:moveTo>
                    <a:lnTo>
                      <a:pt x="67" y="104"/>
                    </a:lnTo>
                    <a:lnTo>
                      <a:pt x="67" y="104"/>
                    </a:lnTo>
                    <a:lnTo>
                      <a:pt x="67" y="104"/>
                    </a:lnTo>
                    <a:lnTo>
                      <a:pt x="67" y="109"/>
                    </a:lnTo>
                    <a:lnTo>
                      <a:pt x="67" y="109"/>
                    </a:lnTo>
                    <a:lnTo>
                      <a:pt x="67" y="109"/>
                    </a:lnTo>
                    <a:lnTo>
                      <a:pt x="67" y="109"/>
                    </a:lnTo>
                    <a:lnTo>
                      <a:pt x="67" y="108"/>
                    </a:lnTo>
                    <a:lnTo>
                      <a:pt x="67" y="108"/>
                    </a:lnTo>
                    <a:lnTo>
                      <a:pt x="67" y="108"/>
                    </a:lnTo>
                    <a:lnTo>
                      <a:pt x="67" y="108"/>
                    </a:lnTo>
                    <a:lnTo>
                      <a:pt x="67" y="108"/>
                    </a:lnTo>
                    <a:lnTo>
                      <a:pt x="67" y="108"/>
                    </a:lnTo>
                    <a:lnTo>
                      <a:pt x="67" y="108"/>
                    </a:lnTo>
                    <a:lnTo>
                      <a:pt x="67" y="108"/>
                    </a:lnTo>
                    <a:lnTo>
                      <a:pt x="67" y="108"/>
                    </a:lnTo>
                    <a:lnTo>
                      <a:pt x="67" y="108"/>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02" name="Freeform 247">
                <a:extLst>
                  <a:ext uri="{FF2B5EF4-FFF2-40B4-BE49-F238E27FC236}">
                    <a16:creationId xmlns:a16="http://schemas.microsoft.com/office/drawing/2014/main" id="{AD2C505E-52A7-E13A-6B5D-D5666908B592}"/>
                  </a:ext>
                </a:extLst>
              </p:cNvPr>
              <p:cNvSpPr>
                <a:spLocks noEditPoints="1"/>
              </p:cNvSpPr>
              <p:nvPr/>
            </p:nvSpPr>
            <p:spPr bwMode="auto">
              <a:xfrm>
                <a:off x="10033250" y="5137672"/>
                <a:ext cx="502448" cy="392538"/>
              </a:xfrm>
              <a:custGeom>
                <a:avLst/>
                <a:gdLst>
                  <a:gd name="T0" fmla="*/ 143 w 224"/>
                  <a:gd name="T1" fmla="*/ 97 h 175"/>
                  <a:gd name="T2" fmla="*/ 139 w 224"/>
                  <a:gd name="T3" fmla="*/ 97 h 175"/>
                  <a:gd name="T4" fmla="*/ 139 w 224"/>
                  <a:gd name="T5" fmla="*/ 97 h 175"/>
                  <a:gd name="T6" fmla="*/ 139 w 224"/>
                  <a:gd name="T7" fmla="*/ 94 h 175"/>
                  <a:gd name="T8" fmla="*/ 128 w 224"/>
                  <a:gd name="T9" fmla="*/ 96 h 175"/>
                  <a:gd name="T10" fmla="*/ 127 w 224"/>
                  <a:gd name="T11" fmla="*/ 91 h 175"/>
                  <a:gd name="T12" fmla="*/ 119 w 224"/>
                  <a:gd name="T13" fmla="*/ 92 h 175"/>
                  <a:gd name="T14" fmla="*/ 100 w 224"/>
                  <a:gd name="T15" fmla="*/ 108 h 175"/>
                  <a:gd name="T16" fmla="*/ 71 w 224"/>
                  <a:gd name="T17" fmla="*/ 127 h 175"/>
                  <a:gd name="T18" fmla="*/ 31 w 224"/>
                  <a:gd name="T19" fmla="*/ 145 h 175"/>
                  <a:gd name="T20" fmla="*/ 20 w 224"/>
                  <a:gd name="T21" fmla="*/ 151 h 175"/>
                  <a:gd name="T22" fmla="*/ 14 w 224"/>
                  <a:gd name="T23" fmla="*/ 154 h 175"/>
                  <a:gd name="T24" fmla="*/ 11 w 224"/>
                  <a:gd name="T25" fmla="*/ 158 h 175"/>
                  <a:gd name="T26" fmla="*/ 3 w 224"/>
                  <a:gd name="T27" fmla="*/ 164 h 175"/>
                  <a:gd name="T28" fmla="*/ 1 w 224"/>
                  <a:gd name="T29" fmla="*/ 167 h 175"/>
                  <a:gd name="T30" fmla="*/ 11 w 224"/>
                  <a:gd name="T31" fmla="*/ 173 h 175"/>
                  <a:gd name="T32" fmla="*/ 20 w 224"/>
                  <a:gd name="T33" fmla="*/ 175 h 175"/>
                  <a:gd name="T34" fmla="*/ 43 w 224"/>
                  <a:gd name="T35" fmla="*/ 167 h 175"/>
                  <a:gd name="T36" fmla="*/ 65 w 224"/>
                  <a:gd name="T37" fmla="*/ 151 h 175"/>
                  <a:gd name="T38" fmla="*/ 92 w 224"/>
                  <a:gd name="T39" fmla="*/ 135 h 175"/>
                  <a:gd name="T40" fmla="*/ 98 w 224"/>
                  <a:gd name="T41" fmla="*/ 135 h 175"/>
                  <a:gd name="T42" fmla="*/ 104 w 224"/>
                  <a:gd name="T43" fmla="*/ 126 h 175"/>
                  <a:gd name="T44" fmla="*/ 130 w 224"/>
                  <a:gd name="T45" fmla="*/ 108 h 175"/>
                  <a:gd name="T46" fmla="*/ 139 w 224"/>
                  <a:gd name="T47" fmla="*/ 99 h 175"/>
                  <a:gd name="T48" fmla="*/ 135 w 224"/>
                  <a:gd name="T49" fmla="*/ 99 h 175"/>
                  <a:gd name="T50" fmla="*/ 135 w 224"/>
                  <a:gd name="T51" fmla="*/ 99 h 175"/>
                  <a:gd name="T52" fmla="*/ 192 w 224"/>
                  <a:gd name="T53" fmla="*/ 29 h 175"/>
                  <a:gd name="T54" fmla="*/ 192 w 224"/>
                  <a:gd name="T55" fmla="*/ 19 h 175"/>
                  <a:gd name="T56" fmla="*/ 192 w 224"/>
                  <a:gd name="T57" fmla="*/ 13 h 175"/>
                  <a:gd name="T58" fmla="*/ 190 w 224"/>
                  <a:gd name="T59" fmla="*/ 10 h 175"/>
                  <a:gd name="T60" fmla="*/ 185 w 224"/>
                  <a:gd name="T61" fmla="*/ 7 h 175"/>
                  <a:gd name="T62" fmla="*/ 181 w 224"/>
                  <a:gd name="T63" fmla="*/ 2 h 175"/>
                  <a:gd name="T64" fmla="*/ 181 w 224"/>
                  <a:gd name="T65" fmla="*/ 16 h 175"/>
                  <a:gd name="T66" fmla="*/ 182 w 224"/>
                  <a:gd name="T67" fmla="*/ 15 h 175"/>
                  <a:gd name="T68" fmla="*/ 184 w 224"/>
                  <a:gd name="T69" fmla="*/ 29 h 175"/>
                  <a:gd name="T70" fmla="*/ 187 w 224"/>
                  <a:gd name="T71" fmla="*/ 26 h 175"/>
                  <a:gd name="T72" fmla="*/ 184 w 224"/>
                  <a:gd name="T73" fmla="*/ 32 h 175"/>
                  <a:gd name="T74" fmla="*/ 184 w 224"/>
                  <a:gd name="T75" fmla="*/ 38 h 175"/>
                  <a:gd name="T76" fmla="*/ 185 w 224"/>
                  <a:gd name="T77" fmla="*/ 37 h 175"/>
                  <a:gd name="T78" fmla="*/ 222 w 224"/>
                  <a:gd name="T79" fmla="*/ 45 h 175"/>
                  <a:gd name="T80" fmla="*/ 203 w 224"/>
                  <a:gd name="T81" fmla="*/ 51 h 175"/>
                  <a:gd name="T82" fmla="*/ 198 w 224"/>
                  <a:gd name="T83" fmla="*/ 35 h 175"/>
                  <a:gd name="T84" fmla="*/ 197 w 224"/>
                  <a:gd name="T85" fmla="*/ 34 h 175"/>
                  <a:gd name="T86" fmla="*/ 190 w 224"/>
                  <a:gd name="T87" fmla="*/ 42 h 175"/>
                  <a:gd name="T88" fmla="*/ 185 w 224"/>
                  <a:gd name="T89" fmla="*/ 37 h 175"/>
                  <a:gd name="T90" fmla="*/ 181 w 224"/>
                  <a:gd name="T91" fmla="*/ 42 h 175"/>
                  <a:gd name="T92" fmla="*/ 181 w 224"/>
                  <a:gd name="T93" fmla="*/ 48 h 175"/>
                  <a:gd name="T94" fmla="*/ 168 w 224"/>
                  <a:gd name="T95" fmla="*/ 61 h 175"/>
                  <a:gd name="T96" fmla="*/ 152 w 224"/>
                  <a:gd name="T97" fmla="*/ 73 h 175"/>
                  <a:gd name="T98" fmla="*/ 162 w 224"/>
                  <a:gd name="T99" fmla="*/ 80 h 175"/>
                  <a:gd name="T100" fmla="*/ 147 w 224"/>
                  <a:gd name="T101" fmla="*/ 97 h 175"/>
                  <a:gd name="T102" fmla="*/ 146 w 224"/>
                  <a:gd name="T103" fmla="*/ 102 h 175"/>
                  <a:gd name="T104" fmla="*/ 157 w 224"/>
                  <a:gd name="T105" fmla="*/ 100 h 175"/>
                  <a:gd name="T106" fmla="*/ 178 w 224"/>
                  <a:gd name="T107" fmla="*/ 84 h 175"/>
                  <a:gd name="T108" fmla="*/ 193 w 224"/>
                  <a:gd name="T109" fmla="*/ 70 h 175"/>
                  <a:gd name="T110" fmla="*/ 203 w 224"/>
                  <a:gd name="T111" fmla="*/ 69 h 175"/>
                  <a:gd name="T112" fmla="*/ 214 w 224"/>
                  <a:gd name="T113" fmla="*/ 59 h 175"/>
                  <a:gd name="T114" fmla="*/ 222 w 224"/>
                  <a:gd name="T115" fmla="*/ 45 h 175"/>
                  <a:gd name="T116" fmla="*/ 222 w 224"/>
                  <a:gd name="T117" fmla="*/ 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175">
                    <a:moveTo>
                      <a:pt x="139" y="97"/>
                    </a:moveTo>
                    <a:lnTo>
                      <a:pt x="136" y="97"/>
                    </a:lnTo>
                    <a:lnTo>
                      <a:pt x="138" y="99"/>
                    </a:lnTo>
                    <a:lnTo>
                      <a:pt x="139" y="97"/>
                    </a:lnTo>
                    <a:lnTo>
                      <a:pt x="143" y="97"/>
                    </a:lnTo>
                    <a:lnTo>
                      <a:pt x="143" y="96"/>
                    </a:lnTo>
                    <a:lnTo>
                      <a:pt x="139" y="96"/>
                    </a:lnTo>
                    <a:lnTo>
                      <a:pt x="139" y="97"/>
                    </a:lnTo>
                    <a:lnTo>
                      <a:pt x="139" y="97"/>
                    </a:lnTo>
                    <a:lnTo>
                      <a:pt x="139" y="97"/>
                    </a:lnTo>
                    <a:lnTo>
                      <a:pt x="139" y="97"/>
                    </a:lnTo>
                    <a:lnTo>
                      <a:pt x="139" y="97"/>
                    </a:lnTo>
                    <a:lnTo>
                      <a:pt x="139" y="97"/>
                    </a:lnTo>
                    <a:lnTo>
                      <a:pt x="139" y="97"/>
                    </a:lnTo>
                    <a:lnTo>
                      <a:pt x="139" y="97"/>
                    </a:lnTo>
                    <a:lnTo>
                      <a:pt x="139" y="97"/>
                    </a:lnTo>
                    <a:close/>
                    <a:moveTo>
                      <a:pt x="135" y="99"/>
                    </a:moveTo>
                    <a:lnTo>
                      <a:pt x="136" y="97"/>
                    </a:lnTo>
                    <a:lnTo>
                      <a:pt x="136" y="96"/>
                    </a:lnTo>
                    <a:lnTo>
                      <a:pt x="139" y="94"/>
                    </a:lnTo>
                    <a:lnTo>
                      <a:pt x="133" y="97"/>
                    </a:lnTo>
                    <a:lnTo>
                      <a:pt x="130" y="99"/>
                    </a:lnTo>
                    <a:lnTo>
                      <a:pt x="128" y="99"/>
                    </a:lnTo>
                    <a:lnTo>
                      <a:pt x="127" y="99"/>
                    </a:lnTo>
                    <a:lnTo>
                      <a:pt x="128" y="96"/>
                    </a:lnTo>
                    <a:lnTo>
                      <a:pt x="130" y="94"/>
                    </a:lnTo>
                    <a:lnTo>
                      <a:pt x="130" y="92"/>
                    </a:lnTo>
                    <a:lnTo>
                      <a:pt x="128" y="92"/>
                    </a:lnTo>
                    <a:lnTo>
                      <a:pt x="127" y="92"/>
                    </a:lnTo>
                    <a:lnTo>
                      <a:pt x="127" y="91"/>
                    </a:lnTo>
                    <a:lnTo>
                      <a:pt x="130" y="89"/>
                    </a:lnTo>
                    <a:lnTo>
                      <a:pt x="133" y="88"/>
                    </a:lnTo>
                    <a:lnTo>
                      <a:pt x="130" y="88"/>
                    </a:lnTo>
                    <a:lnTo>
                      <a:pt x="125" y="89"/>
                    </a:lnTo>
                    <a:lnTo>
                      <a:pt x="119" y="92"/>
                    </a:lnTo>
                    <a:lnTo>
                      <a:pt x="116" y="97"/>
                    </a:lnTo>
                    <a:lnTo>
                      <a:pt x="111" y="104"/>
                    </a:lnTo>
                    <a:lnTo>
                      <a:pt x="108" y="105"/>
                    </a:lnTo>
                    <a:lnTo>
                      <a:pt x="101" y="107"/>
                    </a:lnTo>
                    <a:lnTo>
                      <a:pt x="100" y="108"/>
                    </a:lnTo>
                    <a:lnTo>
                      <a:pt x="98" y="111"/>
                    </a:lnTo>
                    <a:lnTo>
                      <a:pt x="92" y="116"/>
                    </a:lnTo>
                    <a:lnTo>
                      <a:pt x="84" y="121"/>
                    </a:lnTo>
                    <a:lnTo>
                      <a:pt x="78" y="124"/>
                    </a:lnTo>
                    <a:lnTo>
                      <a:pt x="71" y="127"/>
                    </a:lnTo>
                    <a:lnTo>
                      <a:pt x="55" y="135"/>
                    </a:lnTo>
                    <a:lnTo>
                      <a:pt x="46" y="138"/>
                    </a:lnTo>
                    <a:lnTo>
                      <a:pt x="39" y="140"/>
                    </a:lnTo>
                    <a:lnTo>
                      <a:pt x="33" y="143"/>
                    </a:lnTo>
                    <a:lnTo>
                      <a:pt x="31" y="145"/>
                    </a:lnTo>
                    <a:lnTo>
                      <a:pt x="30" y="148"/>
                    </a:lnTo>
                    <a:lnTo>
                      <a:pt x="30" y="146"/>
                    </a:lnTo>
                    <a:lnTo>
                      <a:pt x="27" y="146"/>
                    </a:lnTo>
                    <a:lnTo>
                      <a:pt x="24" y="150"/>
                    </a:lnTo>
                    <a:lnTo>
                      <a:pt x="20" y="151"/>
                    </a:lnTo>
                    <a:lnTo>
                      <a:pt x="20" y="151"/>
                    </a:lnTo>
                    <a:lnTo>
                      <a:pt x="20" y="153"/>
                    </a:lnTo>
                    <a:lnTo>
                      <a:pt x="17" y="153"/>
                    </a:lnTo>
                    <a:lnTo>
                      <a:pt x="14" y="154"/>
                    </a:lnTo>
                    <a:lnTo>
                      <a:pt x="14" y="154"/>
                    </a:lnTo>
                    <a:lnTo>
                      <a:pt x="14" y="156"/>
                    </a:lnTo>
                    <a:lnTo>
                      <a:pt x="14" y="156"/>
                    </a:lnTo>
                    <a:lnTo>
                      <a:pt x="14" y="158"/>
                    </a:lnTo>
                    <a:lnTo>
                      <a:pt x="11" y="158"/>
                    </a:lnTo>
                    <a:lnTo>
                      <a:pt x="11" y="158"/>
                    </a:lnTo>
                    <a:lnTo>
                      <a:pt x="9" y="159"/>
                    </a:lnTo>
                    <a:lnTo>
                      <a:pt x="8" y="161"/>
                    </a:lnTo>
                    <a:lnTo>
                      <a:pt x="9" y="161"/>
                    </a:lnTo>
                    <a:lnTo>
                      <a:pt x="8" y="162"/>
                    </a:lnTo>
                    <a:lnTo>
                      <a:pt x="3" y="164"/>
                    </a:lnTo>
                    <a:lnTo>
                      <a:pt x="1" y="164"/>
                    </a:lnTo>
                    <a:lnTo>
                      <a:pt x="0" y="167"/>
                    </a:lnTo>
                    <a:lnTo>
                      <a:pt x="3" y="164"/>
                    </a:lnTo>
                    <a:lnTo>
                      <a:pt x="3" y="167"/>
                    </a:lnTo>
                    <a:lnTo>
                      <a:pt x="1" y="167"/>
                    </a:lnTo>
                    <a:lnTo>
                      <a:pt x="0" y="170"/>
                    </a:lnTo>
                    <a:lnTo>
                      <a:pt x="3" y="170"/>
                    </a:lnTo>
                    <a:lnTo>
                      <a:pt x="8" y="170"/>
                    </a:lnTo>
                    <a:lnTo>
                      <a:pt x="11" y="170"/>
                    </a:lnTo>
                    <a:lnTo>
                      <a:pt x="11" y="173"/>
                    </a:lnTo>
                    <a:lnTo>
                      <a:pt x="14" y="170"/>
                    </a:lnTo>
                    <a:lnTo>
                      <a:pt x="14" y="173"/>
                    </a:lnTo>
                    <a:lnTo>
                      <a:pt x="14" y="175"/>
                    </a:lnTo>
                    <a:lnTo>
                      <a:pt x="17" y="173"/>
                    </a:lnTo>
                    <a:lnTo>
                      <a:pt x="20" y="175"/>
                    </a:lnTo>
                    <a:lnTo>
                      <a:pt x="25" y="173"/>
                    </a:lnTo>
                    <a:lnTo>
                      <a:pt x="31" y="173"/>
                    </a:lnTo>
                    <a:lnTo>
                      <a:pt x="35" y="170"/>
                    </a:lnTo>
                    <a:lnTo>
                      <a:pt x="41" y="167"/>
                    </a:lnTo>
                    <a:lnTo>
                      <a:pt x="43" y="167"/>
                    </a:lnTo>
                    <a:lnTo>
                      <a:pt x="46" y="164"/>
                    </a:lnTo>
                    <a:lnTo>
                      <a:pt x="46" y="164"/>
                    </a:lnTo>
                    <a:lnTo>
                      <a:pt x="52" y="161"/>
                    </a:lnTo>
                    <a:lnTo>
                      <a:pt x="58" y="154"/>
                    </a:lnTo>
                    <a:lnTo>
                      <a:pt x="65" y="151"/>
                    </a:lnTo>
                    <a:lnTo>
                      <a:pt x="70" y="145"/>
                    </a:lnTo>
                    <a:lnTo>
                      <a:pt x="76" y="140"/>
                    </a:lnTo>
                    <a:lnTo>
                      <a:pt x="82" y="138"/>
                    </a:lnTo>
                    <a:lnTo>
                      <a:pt x="89" y="135"/>
                    </a:lnTo>
                    <a:lnTo>
                      <a:pt x="92" y="135"/>
                    </a:lnTo>
                    <a:lnTo>
                      <a:pt x="93" y="135"/>
                    </a:lnTo>
                    <a:lnTo>
                      <a:pt x="95" y="135"/>
                    </a:lnTo>
                    <a:lnTo>
                      <a:pt x="92" y="135"/>
                    </a:lnTo>
                    <a:lnTo>
                      <a:pt x="95" y="135"/>
                    </a:lnTo>
                    <a:lnTo>
                      <a:pt x="98" y="135"/>
                    </a:lnTo>
                    <a:lnTo>
                      <a:pt x="100" y="135"/>
                    </a:lnTo>
                    <a:lnTo>
                      <a:pt x="97" y="132"/>
                    </a:lnTo>
                    <a:lnTo>
                      <a:pt x="100" y="129"/>
                    </a:lnTo>
                    <a:lnTo>
                      <a:pt x="101" y="127"/>
                    </a:lnTo>
                    <a:lnTo>
                      <a:pt x="104" y="126"/>
                    </a:lnTo>
                    <a:lnTo>
                      <a:pt x="111" y="123"/>
                    </a:lnTo>
                    <a:lnTo>
                      <a:pt x="117" y="118"/>
                    </a:lnTo>
                    <a:lnTo>
                      <a:pt x="124" y="113"/>
                    </a:lnTo>
                    <a:lnTo>
                      <a:pt x="127" y="111"/>
                    </a:lnTo>
                    <a:lnTo>
                      <a:pt x="130" y="108"/>
                    </a:lnTo>
                    <a:lnTo>
                      <a:pt x="133" y="108"/>
                    </a:lnTo>
                    <a:lnTo>
                      <a:pt x="135" y="105"/>
                    </a:lnTo>
                    <a:lnTo>
                      <a:pt x="136" y="100"/>
                    </a:lnTo>
                    <a:lnTo>
                      <a:pt x="139" y="99"/>
                    </a:lnTo>
                    <a:lnTo>
                      <a:pt x="139" y="99"/>
                    </a:lnTo>
                    <a:lnTo>
                      <a:pt x="138" y="99"/>
                    </a:lnTo>
                    <a:lnTo>
                      <a:pt x="136" y="99"/>
                    </a:lnTo>
                    <a:lnTo>
                      <a:pt x="135" y="99"/>
                    </a:lnTo>
                    <a:lnTo>
                      <a:pt x="135" y="99"/>
                    </a:lnTo>
                    <a:lnTo>
                      <a:pt x="135" y="99"/>
                    </a:lnTo>
                    <a:lnTo>
                      <a:pt x="135" y="99"/>
                    </a:lnTo>
                    <a:lnTo>
                      <a:pt x="135" y="99"/>
                    </a:lnTo>
                    <a:lnTo>
                      <a:pt x="135" y="99"/>
                    </a:lnTo>
                    <a:lnTo>
                      <a:pt x="135" y="99"/>
                    </a:lnTo>
                    <a:lnTo>
                      <a:pt x="135" y="99"/>
                    </a:lnTo>
                    <a:lnTo>
                      <a:pt x="135" y="99"/>
                    </a:lnTo>
                    <a:close/>
                    <a:moveTo>
                      <a:pt x="185" y="37"/>
                    </a:moveTo>
                    <a:lnTo>
                      <a:pt x="189" y="34"/>
                    </a:lnTo>
                    <a:lnTo>
                      <a:pt x="190" y="31"/>
                    </a:lnTo>
                    <a:lnTo>
                      <a:pt x="192" y="29"/>
                    </a:lnTo>
                    <a:lnTo>
                      <a:pt x="192" y="27"/>
                    </a:lnTo>
                    <a:lnTo>
                      <a:pt x="192" y="24"/>
                    </a:lnTo>
                    <a:lnTo>
                      <a:pt x="192" y="21"/>
                    </a:lnTo>
                    <a:lnTo>
                      <a:pt x="190" y="21"/>
                    </a:lnTo>
                    <a:lnTo>
                      <a:pt x="192" y="19"/>
                    </a:lnTo>
                    <a:lnTo>
                      <a:pt x="193" y="21"/>
                    </a:lnTo>
                    <a:lnTo>
                      <a:pt x="195" y="13"/>
                    </a:lnTo>
                    <a:lnTo>
                      <a:pt x="193" y="13"/>
                    </a:lnTo>
                    <a:lnTo>
                      <a:pt x="193" y="13"/>
                    </a:lnTo>
                    <a:lnTo>
                      <a:pt x="192" y="13"/>
                    </a:lnTo>
                    <a:lnTo>
                      <a:pt x="192" y="13"/>
                    </a:lnTo>
                    <a:lnTo>
                      <a:pt x="193" y="13"/>
                    </a:lnTo>
                    <a:lnTo>
                      <a:pt x="192" y="10"/>
                    </a:lnTo>
                    <a:lnTo>
                      <a:pt x="190" y="10"/>
                    </a:lnTo>
                    <a:lnTo>
                      <a:pt x="190" y="10"/>
                    </a:lnTo>
                    <a:lnTo>
                      <a:pt x="189" y="10"/>
                    </a:lnTo>
                    <a:lnTo>
                      <a:pt x="187" y="7"/>
                    </a:lnTo>
                    <a:lnTo>
                      <a:pt x="185" y="7"/>
                    </a:lnTo>
                    <a:lnTo>
                      <a:pt x="184" y="10"/>
                    </a:lnTo>
                    <a:lnTo>
                      <a:pt x="185" y="7"/>
                    </a:lnTo>
                    <a:lnTo>
                      <a:pt x="184" y="2"/>
                    </a:lnTo>
                    <a:lnTo>
                      <a:pt x="185" y="2"/>
                    </a:lnTo>
                    <a:lnTo>
                      <a:pt x="185" y="0"/>
                    </a:lnTo>
                    <a:lnTo>
                      <a:pt x="184" y="0"/>
                    </a:lnTo>
                    <a:lnTo>
                      <a:pt x="181" y="2"/>
                    </a:lnTo>
                    <a:lnTo>
                      <a:pt x="182" y="4"/>
                    </a:lnTo>
                    <a:lnTo>
                      <a:pt x="182" y="10"/>
                    </a:lnTo>
                    <a:lnTo>
                      <a:pt x="182" y="10"/>
                    </a:lnTo>
                    <a:lnTo>
                      <a:pt x="181" y="13"/>
                    </a:lnTo>
                    <a:lnTo>
                      <a:pt x="181" y="16"/>
                    </a:lnTo>
                    <a:lnTo>
                      <a:pt x="182" y="15"/>
                    </a:lnTo>
                    <a:lnTo>
                      <a:pt x="184" y="13"/>
                    </a:lnTo>
                    <a:lnTo>
                      <a:pt x="185" y="13"/>
                    </a:lnTo>
                    <a:lnTo>
                      <a:pt x="184" y="15"/>
                    </a:lnTo>
                    <a:lnTo>
                      <a:pt x="182" y="15"/>
                    </a:lnTo>
                    <a:lnTo>
                      <a:pt x="182" y="16"/>
                    </a:lnTo>
                    <a:lnTo>
                      <a:pt x="181" y="18"/>
                    </a:lnTo>
                    <a:lnTo>
                      <a:pt x="182" y="23"/>
                    </a:lnTo>
                    <a:lnTo>
                      <a:pt x="182" y="29"/>
                    </a:lnTo>
                    <a:lnTo>
                      <a:pt x="184" y="29"/>
                    </a:lnTo>
                    <a:lnTo>
                      <a:pt x="184" y="27"/>
                    </a:lnTo>
                    <a:lnTo>
                      <a:pt x="184" y="26"/>
                    </a:lnTo>
                    <a:lnTo>
                      <a:pt x="185" y="27"/>
                    </a:lnTo>
                    <a:lnTo>
                      <a:pt x="185" y="26"/>
                    </a:lnTo>
                    <a:lnTo>
                      <a:pt x="187" y="26"/>
                    </a:lnTo>
                    <a:lnTo>
                      <a:pt x="189" y="27"/>
                    </a:lnTo>
                    <a:lnTo>
                      <a:pt x="185" y="27"/>
                    </a:lnTo>
                    <a:lnTo>
                      <a:pt x="185" y="29"/>
                    </a:lnTo>
                    <a:lnTo>
                      <a:pt x="187" y="29"/>
                    </a:lnTo>
                    <a:lnTo>
                      <a:pt x="184" y="32"/>
                    </a:lnTo>
                    <a:lnTo>
                      <a:pt x="184" y="31"/>
                    </a:lnTo>
                    <a:lnTo>
                      <a:pt x="182" y="32"/>
                    </a:lnTo>
                    <a:lnTo>
                      <a:pt x="182" y="34"/>
                    </a:lnTo>
                    <a:lnTo>
                      <a:pt x="182" y="38"/>
                    </a:lnTo>
                    <a:lnTo>
                      <a:pt x="184" y="38"/>
                    </a:lnTo>
                    <a:lnTo>
                      <a:pt x="185" y="37"/>
                    </a:lnTo>
                    <a:lnTo>
                      <a:pt x="185" y="37"/>
                    </a:lnTo>
                    <a:lnTo>
                      <a:pt x="185" y="37"/>
                    </a:lnTo>
                    <a:lnTo>
                      <a:pt x="185" y="37"/>
                    </a:lnTo>
                    <a:lnTo>
                      <a:pt x="185" y="37"/>
                    </a:lnTo>
                    <a:lnTo>
                      <a:pt x="185" y="37"/>
                    </a:lnTo>
                    <a:lnTo>
                      <a:pt x="185" y="37"/>
                    </a:lnTo>
                    <a:lnTo>
                      <a:pt x="185" y="37"/>
                    </a:lnTo>
                    <a:lnTo>
                      <a:pt x="185" y="37"/>
                    </a:lnTo>
                    <a:close/>
                    <a:moveTo>
                      <a:pt x="222" y="45"/>
                    </a:moveTo>
                    <a:lnTo>
                      <a:pt x="219" y="45"/>
                    </a:lnTo>
                    <a:lnTo>
                      <a:pt x="216" y="48"/>
                    </a:lnTo>
                    <a:lnTo>
                      <a:pt x="209" y="51"/>
                    </a:lnTo>
                    <a:lnTo>
                      <a:pt x="206" y="51"/>
                    </a:lnTo>
                    <a:lnTo>
                      <a:pt x="203" y="51"/>
                    </a:lnTo>
                    <a:lnTo>
                      <a:pt x="200" y="48"/>
                    </a:lnTo>
                    <a:lnTo>
                      <a:pt x="195" y="48"/>
                    </a:lnTo>
                    <a:lnTo>
                      <a:pt x="198" y="42"/>
                    </a:lnTo>
                    <a:lnTo>
                      <a:pt x="200" y="37"/>
                    </a:lnTo>
                    <a:lnTo>
                      <a:pt x="198" y="35"/>
                    </a:lnTo>
                    <a:lnTo>
                      <a:pt x="198" y="32"/>
                    </a:lnTo>
                    <a:lnTo>
                      <a:pt x="198" y="31"/>
                    </a:lnTo>
                    <a:lnTo>
                      <a:pt x="197" y="31"/>
                    </a:lnTo>
                    <a:lnTo>
                      <a:pt x="197" y="32"/>
                    </a:lnTo>
                    <a:lnTo>
                      <a:pt x="197" y="34"/>
                    </a:lnTo>
                    <a:lnTo>
                      <a:pt x="195" y="35"/>
                    </a:lnTo>
                    <a:lnTo>
                      <a:pt x="195" y="38"/>
                    </a:lnTo>
                    <a:lnTo>
                      <a:pt x="193" y="38"/>
                    </a:lnTo>
                    <a:lnTo>
                      <a:pt x="192" y="42"/>
                    </a:lnTo>
                    <a:lnTo>
                      <a:pt x="190" y="42"/>
                    </a:lnTo>
                    <a:lnTo>
                      <a:pt x="192" y="38"/>
                    </a:lnTo>
                    <a:lnTo>
                      <a:pt x="192" y="38"/>
                    </a:lnTo>
                    <a:lnTo>
                      <a:pt x="190" y="37"/>
                    </a:lnTo>
                    <a:lnTo>
                      <a:pt x="189" y="37"/>
                    </a:lnTo>
                    <a:lnTo>
                      <a:pt x="185" y="37"/>
                    </a:lnTo>
                    <a:lnTo>
                      <a:pt x="185" y="38"/>
                    </a:lnTo>
                    <a:lnTo>
                      <a:pt x="185" y="38"/>
                    </a:lnTo>
                    <a:lnTo>
                      <a:pt x="184" y="38"/>
                    </a:lnTo>
                    <a:lnTo>
                      <a:pt x="182" y="38"/>
                    </a:lnTo>
                    <a:lnTo>
                      <a:pt x="181" y="42"/>
                    </a:lnTo>
                    <a:lnTo>
                      <a:pt x="181" y="42"/>
                    </a:lnTo>
                    <a:lnTo>
                      <a:pt x="182" y="42"/>
                    </a:lnTo>
                    <a:lnTo>
                      <a:pt x="181" y="45"/>
                    </a:lnTo>
                    <a:lnTo>
                      <a:pt x="181" y="45"/>
                    </a:lnTo>
                    <a:lnTo>
                      <a:pt x="181" y="48"/>
                    </a:lnTo>
                    <a:lnTo>
                      <a:pt x="178" y="50"/>
                    </a:lnTo>
                    <a:lnTo>
                      <a:pt x="178" y="54"/>
                    </a:lnTo>
                    <a:lnTo>
                      <a:pt x="174" y="54"/>
                    </a:lnTo>
                    <a:lnTo>
                      <a:pt x="171" y="56"/>
                    </a:lnTo>
                    <a:lnTo>
                      <a:pt x="168" y="61"/>
                    </a:lnTo>
                    <a:lnTo>
                      <a:pt x="166" y="65"/>
                    </a:lnTo>
                    <a:lnTo>
                      <a:pt x="160" y="67"/>
                    </a:lnTo>
                    <a:lnTo>
                      <a:pt x="155" y="69"/>
                    </a:lnTo>
                    <a:lnTo>
                      <a:pt x="154" y="70"/>
                    </a:lnTo>
                    <a:lnTo>
                      <a:pt x="152" y="73"/>
                    </a:lnTo>
                    <a:lnTo>
                      <a:pt x="154" y="73"/>
                    </a:lnTo>
                    <a:lnTo>
                      <a:pt x="155" y="77"/>
                    </a:lnTo>
                    <a:lnTo>
                      <a:pt x="157" y="77"/>
                    </a:lnTo>
                    <a:lnTo>
                      <a:pt x="160" y="80"/>
                    </a:lnTo>
                    <a:lnTo>
                      <a:pt x="162" y="80"/>
                    </a:lnTo>
                    <a:lnTo>
                      <a:pt x="162" y="83"/>
                    </a:lnTo>
                    <a:lnTo>
                      <a:pt x="157" y="89"/>
                    </a:lnTo>
                    <a:lnTo>
                      <a:pt x="152" y="94"/>
                    </a:lnTo>
                    <a:lnTo>
                      <a:pt x="151" y="96"/>
                    </a:lnTo>
                    <a:lnTo>
                      <a:pt x="147" y="97"/>
                    </a:lnTo>
                    <a:lnTo>
                      <a:pt x="146" y="99"/>
                    </a:lnTo>
                    <a:lnTo>
                      <a:pt x="143" y="100"/>
                    </a:lnTo>
                    <a:lnTo>
                      <a:pt x="146" y="100"/>
                    </a:lnTo>
                    <a:lnTo>
                      <a:pt x="146" y="99"/>
                    </a:lnTo>
                    <a:lnTo>
                      <a:pt x="146" y="102"/>
                    </a:lnTo>
                    <a:lnTo>
                      <a:pt x="149" y="100"/>
                    </a:lnTo>
                    <a:lnTo>
                      <a:pt x="147" y="104"/>
                    </a:lnTo>
                    <a:lnTo>
                      <a:pt x="149" y="104"/>
                    </a:lnTo>
                    <a:lnTo>
                      <a:pt x="152" y="104"/>
                    </a:lnTo>
                    <a:lnTo>
                      <a:pt x="157" y="100"/>
                    </a:lnTo>
                    <a:lnTo>
                      <a:pt x="168" y="92"/>
                    </a:lnTo>
                    <a:lnTo>
                      <a:pt x="171" y="89"/>
                    </a:lnTo>
                    <a:lnTo>
                      <a:pt x="174" y="88"/>
                    </a:lnTo>
                    <a:lnTo>
                      <a:pt x="178" y="86"/>
                    </a:lnTo>
                    <a:lnTo>
                      <a:pt x="178" y="84"/>
                    </a:lnTo>
                    <a:lnTo>
                      <a:pt x="182" y="83"/>
                    </a:lnTo>
                    <a:lnTo>
                      <a:pt x="189" y="77"/>
                    </a:lnTo>
                    <a:lnTo>
                      <a:pt x="187" y="73"/>
                    </a:lnTo>
                    <a:lnTo>
                      <a:pt x="189" y="73"/>
                    </a:lnTo>
                    <a:lnTo>
                      <a:pt x="193" y="70"/>
                    </a:lnTo>
                    <a:lnTo>
                      <a:pt x="200" y="67"/>
                    </a:lnTo>
                    <a:lnTo>
                      <a:pt x="201" y="69"/>
                    </a:lnTo>
                    <a:lnTo>
                      <a:pt x="203" y="69"/>
                    </a:lnTo>
                    <a:lnTo>
                      <a:pt x="203" y="70"/>
                    </a:lnTo>
                    <a:lnTo>
                      <a:pt x="203" y="69"/>
                    </a:lnTo>
                    <a:lnTo>
                      <a:pt x="206" y="67"/>
                    </a:lnTo>
                    <a:lnTo>
                      <a:pt x="206" y="64"/>
                    </a:lnTo>
                    <a:lnTo>
                      <a:pt x="209" y="62"/>
                    </a:lnTo>
                    <a:lnTo>
                      <a:pt x="212" y="61"/>
                    </a:lnTo>
                    <a:lnTo>
                      <a:pt x="214" y="59"/>
                    </a:lnTo>
                    <a:lnTo>
                      <a:pt x="216" y="56"/>
                    </a:lnTo>
                    <a:lnTo>
                      <a:pt x="219" y="53"/>
                    </a:lnTo>
                    <a:lnTo>
                      <a:pt x="224" y="48"/>
                    </a:lnTo>
                    <a:lnTo>
                      <a:pt x="224" y="48"/>
                    </a:lnTo>
                    <a:lnTo>
                      <a:pt x="222" y="45"/>
                    </a:lnTo>
                    <a:lnTo>
                      <a:pt x="222" y="45"/>
                    </a:lnTo>
                    <a:lnTo>
                      <a:pt x="222" y="45"/>
                    </a:lnTo>
                    <a:lnTo>
                      <a:pt x="222" y="45"/>
                    </a:lnTo>
                    <a:lnTo>
                      <a:pt x="222" y="45"/>
                    </a:lnTo>
                    <a:lnTo>
                      <a:pt x="222" y="45"/>
                    </a:lnTo>
                    <a:lnTo>
                      <a:pt x="222" y="45"/>
                    </a:lnTo>
                    <a:lnTo>
                      <a:pt x="222" y="45"/>
                    </a:lnTo>
                    <a:lnTo>
                      <a:pt x="222" y="45"/>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03" name="Freeform 249">
                <a:extLst>
                  <a:ext uri="{FF2B5EF4-FFF2-40B4-BE49-F238E27FC236}">
                    <a16:creationId xmlns:a16="http://schemas.microsoft.com/office/drawing/2014/main" id="{EB327B0C-3E4E-8BA0-9FAA-F28D591E701B}"/>
                  </a:ext>
                </a:extLst>
              </p:cNvPr>
              <p:cNvSpPr>
                <a:spLocks noEditPoints="1"/>
              </p:cNvSpPr>
              <p:nvPr/>
            </p:nvSpPr>
            <p:spPr bwMode="auto">
              <a:xfrm>
                <a:off x="8884797" y="4377271"/>
                <a:ext cx="1137238" cy="1056487"/>
              </a:xfrm>
              <a:custGeom>
                <a:avLst/>
                <a:gdLst>
                  <a:gd name="T0" fmla="*/ 275 w 507"/>
                  <a:gd name="T1" fmla="*/ 11 h 471"/>
                  <a:gd name="T2" fmla="*/ 266 w 507"/>
                  <a:gd name="T3" fmla="*/ 14 h 471"/>
                  <a:gd name="T4" fmla="*/ 164 w 507"/>
                  <a:gd name="T5" fmla="*/ 82 h 471"/>
                  <a:gd name="T6" fmla="*/ 313 w 507"/>
                  <a:gd name="T7" fmla="*/ 431 h 471"/>
                  <a:gd name="T8" fmla="*/ 307 w 507"/>
                  <a:gd name="T9" fmla="*/ 468 h 471"/>
                  <a:gd name="T10" fmla="*/ 324 w 507"/>
                  <a:gd name="T11" fmla="*/ 463 h 471"/>
                  <a:gd name="T12" fmla="*/ 334 w 507"/>
                  <a:gd name="T13" fmla="*/ 455 h 471"/>
                  <a:gd name="T14" fmla="*/ 348 w 507"/>
                  <a:gd name="T15" fmla="*/ 431 h 471"/>
                  <a:gd name="T16" fmla="*/ 324 w 507"/>
                  <a:gd name="T17" fmla="*/ 462 h 471"/>
                  <a:gd name="T18" fmla="*/ 504 w 507"/>
                  <a:gd name="T19" fmla="*/ 214 h 471"/>
                  <a:gd name="T20" fmla="*/ 491 w 507"/>
                  <a:gd name="T21" fmla="*/ 185 h 471"/>
                  <a:gd name="T22" fmla="*/ 480 w 507"/>
                  <a:gd name="T23" fmla="*/ 171 h 471"/>
                  <a:gd name="T24" fmla="*/ 470 w 507"/>
                  <a:gd name="T25" fmla="*/ 138 h 471"/>
                  <a:gd name="T26" fmla="*/ 458 w 507"/>
                  <a:gd name="T27" fmla="*/ 123 h 471"/>
                  <a:gd name="T28" fmla="*/ 443 w 507"/>
                  <a:gd name="T29" fmla="*/ 108 h 471"/>
                  <a:gd name="T30" fmla="*/ 442 w 507"/>
                  <a:gd name="T31" fmla="*/ 63 h 471"/>
                  <a:gd name="T32" fmla="*/ 423 w 507"/>
                  <a:gd name="T33" fmla="*/ 42 h 471"/>
                  <a:gd name="T34" fmla="*/ 416 w 507"/>
                  <a:gd name="T35" fmla="*/ 1 h 471"/>
                  <a:gd name="T36" fmla="*/ 407 w 507"/>
                  <a:gd name="T37" fmla="*/ 28 h 471"/>
                  <a:gd name="T38" fmla="*/ 389 w 507"/>
                  <a:gd name="T39" fmla="*/ 77 h 471"/>
                  <a:gd name="T40" fmla="*/ 347 w 507"/>
                  <a:gd name="T41" fmla="*/ 82 h 471"/>
                  <a:gd name="T42" fmla="*/ 328 w 507"/>
                  <a:gd name="T43" fmla="*/ 42 h 471"/>
                  <a:gd name="T44" fmla="*/ 340 w 507"/>
                  <a:gd name="T45" fmla="*/ 22 h 471"/>
                  <a:gd name="T46" fmla="*/ 328 w 507"/>
                  <a:gd name="T47" fmla="*/ 22 h 471"/>
                  <a:gd name="T48" fmla="*/ 310 w 507"/>
                  <a:gd name="T49" fmla="*/ 17 h 471"/>
                  <a:gd name="T50" fmla="*/ 286 w 507"/>
                  <a:gd name="T51" fmla="*/ 4 h 471"/>
                  <a:gd name="T52" fmla="*/ 286 w 507"/>
                  <a:gd name="T53" fmla="*/ 19 h 471"/>
                  <a:gd name="T54" fmla="*/ 262 w 507"/>
                  <a:gd name="T55" fmla="*/ 22 h 471"/>
                  <a:gd name="T56" fmla="*/ 248 w 507"/>
                  <a:gd name="T57" fmla="*/ 46 h 471"/>
                  <a:gd name="T58" fmla="*/ 240 w 507"/>
                  <a:gd name="T59" fmla="*/ 58 h 471"/>
                  <a:gd name="T60" fmla="*/ 226 w 507"/>
                  <a:gd name="T61" fmla="*/ 66 h 471"/>
                  <a:gd name="T62" fmla="*/ 208 w 507"/>
                  <a:gd name="T63" fmla="*/ 49 h 471"/>
                  <a:gd name="T64" fmla="*/ 196 w 507"/>
                  <a:gd name="T65" fmla="*/ 52 h 471"/>
                  <a:gd name="T66" fmla="*/ 186 w 507"/>
                  <a:gd name="T67" fmla="*/ 65 h 471"/>
                  <a:gd name="T68" fmla="*/ 177 w 507"/>
                  <a:gd name="T69" fmla="*/ 77 h 471"/>
                  <a:gd name="T70" fmla="*/ 167 w 507"/>
                  <a:gd name="T71" fmla="*/ 81 h 471"/>
                  <a:gd name="T72" fmla="*/ 158 w 507"/>
                  <a:gd name="T73" fmla="*/ 84 h 471"/>
                  <a:gd name="T74" fmla="*/ 140 w 507"/>
                  <a:gd name="T75" fmla="*/ 109 h 471"/>
                  <a:gd name="T76" fmla="*/ 89 w 507"/>
                  <a:gd name="T77" fmla="*/ 138 h 471"/>
                  <a:gd name="T78" fmla="*/ 35 w 507"/>
                  <a:gd name="T79" fmla="*/ 162 h 471"/>
                  <a:gd name="T80" fmla="*/ 24 w 507"/>
                  <a:gd name="T81" fmla="*/ 209 h 471"/>
                  <a:gd name="T82" fmla="*/ 20 w 507"/>
                  <a:gd name="T83" fmla="*/ 227 h 471"/>
                  <a:gd name="T84" fmla="*/ 23 w 507"/>
                  <a:gd name="T85" fmla="*/ 271 h 471"/>
                  <a:gd name="T86" fmla="*/ 7 w 507"/>
                  <a:gd name="T87" fmla="*/ 328 h 471"/>
                  <a:gd name="T88" fmla="*/ 35 w 507"/>
                  <a:gd name="T89" fmla="*/ 349 h 471"/>
                  <a:gd name="T90" fmla="*/ 93 w 507"/>
                  <a:gd name="T91" fmla="*/ 333 h 471"/>
                  <a:gd name="T92" fmla="*/ 150 w 507"/>
                  <a:gd name="T93" fmla="*/ 309 h 471"/>
                  <a:gd name="T94" fmla="*/ 228 w 507"/>
                  <a:gd name="T95" fmla="*/ 304 h 471"/>
                  <a:gd name="T96" fmla="*/ 243 w 507"/>
                  <a:gd name="T97" fmla="*/ 322 h 471"/>
                  <a:gd name="T98" fmla="*/ 248 w 507"/>
                  <a:gd name="T99" fmla="*/ 346 h 471"/>
                  <a:gd name="T100" fmla="*/ 283 w 507"/>
                  <a:gd name="T101" fmla="*/ 317 h 471"/>
                  <a:gd name="T102" fmla="*/ 264 w 507"/>
                  <a:gd name="T103" fmla="*/ 346 h 471"/>
                  <a:gd name="T104" fmla="*/ 270 w 507"/>
                  <a:gd name="T105" fmla="*/ 357 h 471"/>
                  <a:gd name="T106" fmla="*/ 286 w 507"/>
                  <a:gd name="T107" fmla="*/ 368 h 471"/>
                  <a:gd name="T108" fmla="*/ 304 w 507"/>
                  <a:gd name="T109" fmla="*/ 397 h 471"/>
                  <a:gd name="T110" fmla="*/ 331 w 507"/>
                  <a:gd name="T111" fmla="*/ 397 h 471"/>
                  <a:gd name="T112" fmla="*/ 347 w 507"/>
                  <a:gd name="T113" fmla="*/ 403 h 471"/>
                  <a:gd name="T114" fmla="*/ 401 w 507"/>
                  <a:gd name="T115" fmla="*/ 377 h 471"/>
                  <a:gd name="T116" fmla="*/ 442 w 507"/>
                  <a:gd name="T117" fmla="*/ 333 h 471"/>
                  <a:gd name="T118" fmla="*/ 472 w 507"/>
                  <a:gd name="T119" fmla="*/ 301 h 471"/>
                  <a:gd name="T120" fmla="*/ 504 w 507"/>
                  <a:gd name="T121" fmla="*/ 220 h 471"/>
                  <a:gd name="T122" fmla="*/ 283 w 507"/>
                  <a:gd name="T123" fmla="*/ 358 h 471"/>
                  <a:gd name="T124" fmla="*/ 328 w 507"/>
                  <a:gd name="T125" fmla="*/ 14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7" h="471">
                    <a:moveTo>
                      <a:pt x="281" y="355"/>
                    </a:moveTo>
                    <a:lnTo>
                      <a:pt x="285" y="362"/>
                    </a:lnTo>
                    <a:lnTo>
                      <a:pt x="283" y="360"/>
                    </a:lnTo>
                    <a:lnTo>
                      <a:pt x="281" y="355"/>
                    </a:lnTo>
                    <a:lnTo>
                      <a:pt x="281" y="355"/>
                    </a:lnTo>
                    <a:lnTo>
                      <a:pt x="281" y="355"/>
                    </a:lnTo>
                    <a:lnTo>
                      <a:pt x="281" y="355"/>
                    </a:lnTo>
                    <a:lnTo>
                      <a:pt x="281" y="355"/>
                    </a:lnTo>
                    <a:lnTo>
                      <a:pt x="281" y="355"/>
                    </a:lnTo>
                    <a:lnTo>
                      <a:pt x="281" y="355"/>
                    </a:lnTo>
                    <a:lnTo>
                      <a:pt x="281" y="355"/>
                    </a:lnTo>
                    <a:lnTo>
                      <a:pt x="281" y="355"/>
                    </a:lnTo>
                    <a:close/>
                    <a:moveTo>
                      <a:pt x="266" y="14"/>
                    </a:moveTo>
                    <a:lnTo>
                      <a:pt x="267" y="15"/>
                    </a:lnTo>
                    <a:lnTo>
                      <a:pt x="272" y="14"/>
                    </a:lnTo>
                    <a:lnTo>
                      <a:pt x="275" y="11"/>
                    </a:lnTo>
                    <a:lnTo>
                      <a:pt x="275" y="8"/>
                    </a:lnTo>
                    <a:lnTo>
                      <a:pt x="275" y="8"/>
                    </a:lnTo>
                    <a:lnTo>
                      <a:pt x="274" y="8"/>
                    </a:lnTo>
                    <a:lnTo>
                      <a:pt x="272" y="8"/>
                    </a:lnTo>
                    <a:lnTo>
                      <a:pt x="272" y="8"/>
                    </a:lnTo>
                    <a:lnTo>
                      <a:pt x="270" y="8"/>
                    </a:lnTo>
                    <a:lnTo>
                      <a:pt x="269" y="8"/>
                    </a:lnTo>
                    <a:lnTo>
                      <a:pt x="267" y="8"/>
                    </a:lnTo>
                    <a:lnTo>
                      <a:pt x="264" y="8"/>
                    </a:lnTo>
                    <a:lnTo>
                      <a:pt x="262" y="8"/>
                    </a:lnTo>
                    <a:lnTo>
                      <a:pt x="261" y="8"/>
                    </a:lnTo>
                    <a:lnTo>
                      <a:pt x="261" y="11"/>
                    </a:lnTo>
                    <a:lnTo>
                      <a:pt x="262" y="14"/>
                    </a:lnTo>
                    <a:lnTo>
                      <a:pt x="266" y="14"/>
                    </a:lnTo>
                    <a:lnTo>
                      <a:pt x="266" y="14"/>
                    </a:lnTo>
                    <a:lnTo>
                      <a:pt x="266" y="14"/>
                    </a:lnTo>
                    <a:lnTo>
                      <a:pt x="266" y="14"/>
                    </a:lnTo>
                    <a:lnTo>
                      <a:pt x="266" y="14"/>
                    </a:lnTo>
                    <a:lnTo>
                      <a:pt x="266" y="14"/>
                    </a:lnTo>
                    <a:lnTo>
                      <a:pt x="266" y="14"/>
                    </a:lnTo>
                    <a:lnTo>
                      <a:pt x="266" y="14"/>
                    </a:lnTo>
                    <a:lnTo>
                      <a:pt x="266" y="14"/>
                    </a:lnTo>
                    <a:close/>
                    <a:moveTo>
                      <a:pt x="164" y="82"/>
                    </a:moveTo>
                    <a:lnTo>
                      <a:pt x="167" y="82"/>
                    </a:lnTo>
                    <a:lnTo>
                      <a:pt x="164" y="81"/>
                    </a:lnTo>
                    <a:lnTo>
                      <a:pt x="164" y="82"/>
                    </a:lnTo>
                    <a:lnTo>
                      <a:pt x="164" y="82"/>
                    </a:lnTo>
                    <a:lnTo>
                      <a:pt x="164" y="82"/>
                    </a:lnTo>
                    <a:lnTo>
                      <a:pt x="164" y="82"/>
                    </a:lnTo>
                    <a:lnTo>
                      <a:pt x="164" y="82"/>
                    </a:lnTo>
                    <a:lnTo>
                      <a:pt x="164" y="82"/>
                    </a:lnTo>
                    <a:lnTo>
                      <a:pt x="164" y="82"/>
                    </a:lnTo>
                    <a:lnTo>
                      <a:pt x="164" y="82"/>
                    </a:lnTo>
                    <a:lnTo>
                      <a:pt x="164" y="82"/>
                    </a:lnTo>
                    <a:close/>
                    <a:moveTo>
                      <a:pt x="348" y="431"/>
                    </a:moveTo>
                    <a:lnTo>
                      <a:pt x="347" y="433"/>
                    </a:lnTo>
                    <a:lnTo>
                      <a:pt x="343" y="433"/>
                    </a:lnTo>
                    <a:lnTo>
                      <a:pt x="342" y="435"/>
                    </a:lnTo>
                    <a:lnTo>
                      <a:pt x="337" y="435"/>
                    </a:lnTo>
                    <a:lnTo>
                      <a:pt x="334" y="435"/>
                    </a:lnTo>
                    <a:lnTo>
                      <a:pt x="334" y="436"/>
                    </a:lnTo>
                    <a:lnTo>
                      <a:pt x="328" y="436"/>
                    </a:lnTo>
                    <a:lnTo>
                      <a:pt x="326" y="436"/>
                    </a:lnTo>
                    <a:lnTo>
                      <a:pt x="324" y="436"/>
                    </a:lnTo>
                    <a:lnTo>
                      <a:pt x="321" y="433"/>
                    </a:lnTo>
                    <a:lnTo>
                      <a:pt x="318" y="431"/>
                    </a:lnTo>
                    <a:lnTo>
                      <a:pt x="316" y="431"/>
                    </a:lnTo>
                    <a:lnTo>
                      <a:pt x="313" y="431"/>
                    </a:lnTo>
                    <a:lnTo>
                      <a:pt x="313" y="430"/>
                    </a:lnTo>
                    <a:lnTo>
                      <a:pt x="310" y="435"/>
                    </a:lnTo>
                    <a:lnTo>
                      <a:pt x="307" y="441"/>
                    </a:lnTo>
                    <a:lnTo>
                      <a:pt x="307" y="444"/>
                    </a:lnTo>
                    <a:lnTo>
                      <a:pt x="307" y="447"/>
                    </a:lnTo>
                    <a:lnTo>
                      <a:pt x="307" y="450"/>
                    </a:lnTo>
                    <a:lnTo>
                      <a:pt x="305" y="450"/>
                    </a:lnTo>
                    <a:lnTo>
                      <a:pt x="307" y="450"/>
                    </a:lnTo>
                    <a:lnTo>
                      <a:pt x="307" y="454"/>
                    </a:lnTo>
                    <a:lnTo>
                      <a:pt x="305" y="452"/>
                    </a:lnTo>
                    <a:lnTo>
                      <a:pt x="304" y="455"/>
                    </a:lnTo>
                    <a:lnTo>
                      <a:pt x="304" y="458"/>
                    </a:lnTo>
                    <a:lnTo>
                      <a:pt x="304" y="466"/>
                    </a:lnTo>
                    <a:lnTo>
                      <a:pt x="305" y="466"/>
                    </a:lnTo>
                    <a:lnTo>
                      <a:pt x="307" y="466"/>
                    </a:lnTo>
                    <a:lnTo>
                      <a:pt x="307" y="468"/>
                    </a:lnTo>
                    <a:lnTo>
                      <a:pt x="307" y="468"/>
                    </a:lnTo>
                    <a:lnTo>
                      <a:pt x="305" y="468"/>
                    </a:lnTo>
                    <a:lnTo>
                      <a:pt x="304" y="471"/>
                    </a:lnTo>
                    <a:lnTo>
                      <a:pt x="307" y="471"/>
                    </a:lnTo>
                    <a:lnTo>
                      <a:pt x="310" y="468"/>
                    </a:lnTo>
                    <a:lnTo>
                      <a:pt x="310" y="471"/>
                    </a:lnTo>
                    <a:lnTo>
                      <a:pt x="313" y="471"/>
                    </a:lnTo>
                    <a:lnTo>
                      <a:pt x="316" y="468"/>
                    </a:lnTo>
                    <a:lnTo>
                      <a:pt x="316" y="468"/>
                    </a:lnTo>
                    <a:lnTo>
                      <a:pt x="316" y="466"/>
                    </a:lnTo>
                    <a:lnTo>
                      <a:pt x="318" y="465"/>
                    </a:lnTo>
                    <a:lnTo>
                      <a:pt x="318" y="466"/>
                    </a:lnTo>
                    <a:lnTo>
                      <a:pt x="320" y="466"/>
                    </a:lnTo>
                    <a:lnTo>
                      <a:pt x="323" y="465"/>
                    </a:lnTo>
                    <a:lnTo>
                      <a:pt x="323" y="463"/>
                    </a:lnTo>
                    <a:lnTo>
                      <a:pt x="324" y="463"/>
                    </a:lnTo>
                    <a:lnTo>
                      <a:pt x="326" y="462"/>
                    </a:lnTo>
                    <a:lnTo>
                      <a:pt x="326" y="460"/>
                    </a:lnTo>
                    <a:lnTo>
                      <a:pt x="328" y="460"/>
                    </a:lnTo>
                    <a:lnTo>
                      <a:pt x="328" y="462"/>
                    </a:lnTo>
                    <a:lnTo>
                      <a:pt x="328" y="463"/>
                    </a:lnTo>
                    <a:lnTo>
                      <a:pt x="328" y="463"/>
                    </a:lnTo>
                    <a:lnTo>
                      <a:pt x="326" y="465"/>
                    </a:lnTo>
                    <a:lnTo>
                      <a:pt x="326" y="466"/>
                    </a:lnTo>
                    <a:lnTo>
                      <a:pt x="328" y="465"/>
                    </a:lnTo>
                    <a:lnTo>
                      <a:pt x="328" y="466"/>
                    </a:lnTo>
                    <a:lnTo>
                      <a:pt x="328" y="465"/>
                    </a:lnTo>
                    <a:lnTo>
                      <a:pt x="331" y="462"/>
                    </a:lnTo>
                    <a:lnTo>
                      <a:pt x="331" y="462"/>
                    </a:lnTo>
                    <a:lnTo>
                      <a:pt x="331" y="460"/>
                    </a:lnTo>
                    <a:lnTo>
                      <a:pt x="331" y="458"/>
                    </a:lnTo>
                    <a:lnTo>
                      <a:pt x="334" y="455"/>
                    </a:lnTo>
                    <a:lnTo>
                      <a:pt x="337" y="450"/>
                    </a:lnTo>
                    <a:lnTo>
                      <a:pt x="339" y="450"/>
                    </a:lnTo>
                    <a:lnTo>
                      <a:pt x="340" y="447"/>
                    </a:lnTo>
                    <a:lnTo>
                      <a:pt x="340" y="450"/>
                    </a:lnTo>
                    <a:lnTo>
                      <a:pt x="340" y="452"/>
                    </a:lnTo>
                    <a:lnTo>
                      <a:pt x="342" y="450"/>
                    </a:lnTo>
                    <a:lnTo>
                      <a:pt x="343" y="447"/>
                    </a:lnTo>
                    <a:lnTo>
                      <a:pt x="347" y="443"/>
                    </a:lnTo>
                    <a:lnTo>
                      <a:pt x="350" y="436"/>
                    </a:lnTo>
                    <a:lnTo>
                      <a:pt x="351" y="435"/>
                    </a:lnTo>
                    <a:lnTo>
                      <a:pt x="350" y="431"/>
                    </a:lnTo>
                    <a:lnTo>
                      <a:pt x="348" y="431"/>
                    </a:lnTo>
                    <a:lnTo>
                      <a:pt x="348" y="431"/>
                    </a:lnTo>
                    <a:lnTo>
                      <a:pt x="348" y="431"/>
                    </a:lnTo>
                    <a:lnTo>
                      <a:pt x="348" y="431"/>
                    </a:lnTo>
                    <a:lnTo>
                      <a:pt x="348" y="431"/>
                    </a:lnTo>
                    <a:lnTo>
                      <a:pt x="348" y="431"/>
                    </a:lnTo>
                    <a:lnTo>
                      <a:pt x="348" y="431"/>
                    </a:lnTo>
                    <a:lnTo>
                      <a:pt x="348" y="431"/>
                    </a:lnTo>
                    <a:lnTo>
                      <a:pt x="348" y="431"/>
                    </a:lnTo>
                    <a:close/>
                    <a:moveTo>
                      <a:pt x="324" y="462"/>
                    </a:moveTo>
                    <a:lnTo>
                      <a:pt x="323" y="462"/>
                    </a:lnTo>
                    <a:lnTo>
                      <a:pt x="324" y="460"/>
                    </a:lnTo>
                    <a:lnTo>
                      <a:pt x="324" y="462"/>
                    </a:lnTo>
                    <a:lnTo>
                      <a:pt x="324" y="462"/>
                    </a:lnTo>
                    <a:lnTo>
                      <a:pt x="324" y="462"/>
                    </a:lnTo>
                    <a:lnTo>
                      <a:pt x="324" y="462"/>
                    </a:lnTo>
                    <a:lnTo>
                      <a:pt x="324" y="462"/>
                    </a:lnTo>
                    <a:lnTo>
                      <a:pt x="324" y="462"/>
                    </a:lnTo>
                    <a:lnTo>
                      <a:pt x="324" y="462"/>
                    </a:lnTo>
                    <a:lnTo>
                      <a:pt x="324" y="462"/>
                    </a:lnTo>
                    <a:lnTo>
                      <a:pt x="324" y="462"/>
                    </a:lnTo>
                    <a:close/>
                    <a:moveTo>
                      <a:pt x="202" y="46"/>
                    </a:moveTo>
                    <a:lnTo>
                      <a:pt x="202" y="46"/>
                    </a:lnTo>
                    <a:lnTo>
                      <a:pt x="204" y="46"/>
                    </a:lnTo>
                    <a:lnTo>
                      <a:pt x="202" y="46"/>
                    </a:lnTo>
                    <a:lnTo>
                      <a:pt x="202" y="46"/>
                    </a:lnTo>
                    <a:lnTo>
                      <a:pt x="202" y="46"/>
                    </a:lnTo>
                    <a:lnTo>
                      <a:pt x="202" y="46"/>
                    </a:lnTo>
                    <a:lnTo>
                      <a:pt x="202" y="46"/>
                    </a:lnTo>
                    <a:lnTo>
                      <a:pt x="202" y="46"/>
                    </a:lnTo>
                    <a:lnTo>
                      <a:pt x="202" y="46"/>
                    </a:lnTo>
                    <a:lnTo>
                      <a:pt x="202" y="46"/>
                    </a:lnTo>
                    <a:lnTo>
                      <a:pt x="202" y="46"/>
                    </a:lnTo>
                    <a:close/>
                    <a:moveTo>
                      <a:pt x="505" y="217"/>
                    </a:moveTo>
                    <a:lnTo>
                      <a:pt x="504" y="217"/>
                    </a:lnTo>
                    <a:lnTo>
                      <a:pt x="504" y="216"/>
                    </a:lnTo>
                    <a:lnTo>
                      <a:pt x="504" y="214"/>
                    </a:lnTo>
                    <a:lnTo>
                      <a:pt x="505" y="211"/>
                    </a:lnTo>
                    <a:lnTo>
                      <a:pt x="505" y="209"/>
                    </a:lnTo>
                    <a:lnTo>
                      <a:pt x="504" y="208"/>
                    </a:lnTo>
                    <a:lnTo>
                      <a:pt x="502" y="206"/>
                    </a:lnTo>
                    <a:lnTo>
                      <a:pt x="502" y="206"/>
                    </a:lnTo>
                    <a:lnTo>
                      <a:pt x="502" y="203"/>
                    </a:lnTo>
                    <a:lnTo>
                      <a:pt x="501" y="200"/>
                    </a:lnTo>
                    <a:lnTo>
                      <a:pt x="497" y="196"/>
                    </a:lnTo>
                    <a:lnTo>
                      <a:pt x="497" y="195"/>
                    </a:lnTo>
                    <a:lnTo>
                      <a:pt x="497" y="192"/>
                    </a:lnTo>
                    <a:lnTo>
                      <a:pt x="494" y="190"/>
                    </a:lnTo>
                    <a:lnTo>
                      <a:pt x="494" y="192"/>
                    </a:lnTo>
                    <a:lnTo>
                      <a:pt x="491" y="190"/>
                    </a:lnTo>
                    <a:lnTo>
                      <a:pt x="488" y="185"/>
                    </a:lnTo>
                    <a:lnTo>
                      <a:pt x="491" y="187"/>
                    </a:lnTo>
                    <a:lnTo>
                      <a:pt x="491" y="185"/>
                    </a:lnTo>
                    <a:lnTo>
                      <a:pt x="491" y="184"/>
                    </a:lnTo>
                    <a:lnTo>
                      <a:pt x="488" y="182"/>
                    </a:lnTo>
                    <a:lnTo>
                      <a:pt x="488" y="184"/>
                    </a:lnTo>
                    <a:lnTo>
                      <a:pt x="488" y="184"/>
                    </a:lnTo>
                    <a:lnTo>
                      <a:pt x="486" y="182"/>
                    </a:lnTo>
                    <a:lnTo>
                      <a:pt x="488" y="181"/>
                    </a:lnTo>
                    <a:lnTo>
                      <a:pt x="488" y="176"/>
                    </a:lnTo>
                    <a:lnTo>
                      <a:pt x="488" y="171"/>
                    </a:lnTo>
                    <a:lnTo>
                      <a:pt x="488" y="168"/>
                    </a:lnTo>
                    <a:lnTo>
                      <a:pt x="488" y="168"/>
                    </a:lnTo>
                    <a:lnTo>
                      <a:pt x="486" y="168"/>
                    </a:lnTo>
                    <a:lnTo>
                      <a:pt x="486" y="168"/>
                    </a:lnTo>
                    <a:lnTo>
                      <a:pt x="483" y="168"/>
                    </a:lnTo>
                    <a:lnTo>
                      <a:pt x="482" y="165"/>
                    </a:lnTo>
                    <a:lnTo>
                      <a:pt x="480" y="168"/>
                    </a:lnTo>
                    <a:lnTo>
                      <a:pt x="480" y="171"/>
                    </a:lnTo>
                    <a:lnTo>
                      <a:pt x="478" y="168"/>
                    </a:lnTo>
                    <a:lnTo>
                      <a:pt x="475" y="168"/>
                    </a:lnTo>
                    <a:lnTo>
                      <a:pt x="477" y="168"/>
                    </a:lnTo>
                    <a:lnTo>
                      <a:pt x="475" y="165"/>
                    </a:lnTo>
                    <a:lnTo>
                      <a:pt x="475" y="162"/>
                    </a:lnTo>
                    <a:lnTo>
                      <a:pt x="475" y="158"/>
                    </a:lnTo>
                    <a:lnTo>
                      <a:pt x="477" y="155"/>
                    </a:lnTo>
                    <a:lnTo>
                      <a:pt x="475" y="154"/>
                    </a:lnTo>
                    <a:lnTo>
                      <a:pt x="474" y="154"/>
                    </a:lnTo>
                    <a:lnTo>
                      <a:pt x="474" y="149"/>
                    </a:lnTo>
                    <a:lnTo>
                      <a:pt x="474" y="146"/>
                    </a:lnTo>
                    <a:lnTo>
                      <a:pt x="472" y="144"/>
                    </a:lnTo>
                    <a:lnTo>
                      <a:pt x="470" y="146"/>
                    </a:lnTo>
                    <a:lnTo>
                      <a:pt x="469" y="142"/>
                    </a:lnTo>
                    <a:lnTo>
                      <a:pt x="469" y="139"/>
                    </a:lnTo>
                    <a:lnTo>
                      <a:pt x="470" y="138"/>
                    </a:lnTo>
                    <a:lnTo>
                      <a:pt x="472" y="139"/>
                    </a:lnTo>
                    <a:lnTo>
                      <a:pt x="470" y="136"/>
                    </a:lnTo>
                    <a:lnTo>
                      <a:pt x="470" y="136"/>
                    </a:lnTo>
                    <a:lnTo>
                      <a:pt x="469" y="136"/>
                    </a:lnTo>
                    <a:lnTo>
                      <a:pt x="469" y="133"/>
                    </a:lnTo>
                    <a:lnTo>
                      <a:pt x="467" y="133"/>
                    </a:lnTo>
                    <a:lnTo>
                      <a:pt x="467" y="133"/>
                    </a:lnTo>
                    <a:lnTo>
                      <a:pt x="466" y="133"/>
                    </a:lnTo>
                    <a:lnTo>
                      <a:pt x="464" y="133"/>
                    </a:lnTo>
                    <a:lnTo>
                      <a:pt x="462" y="130"/>
                    </a:lnTo>
                    <a:lnTo>
                      <a:pt x="462" y="130"/>
                    </a:lnTo>
                    <a:lnTo>
                      <a:pt x="462" y="127"/>
                    </a:lnTo>
                    <a:lnTo>
                      <a:pt x="459" y="130"/>
                    </a:lnTo>
                    <a:lnTo>
                      <a:pt x="459" y="130"/>
                    </a:lnTo>
                    <a:lnTo>
                      <a:pt x="458" y="127"/>
                    </a:lnTo>
                    <a:lnTo>
                      <a:pt x="458" y="123"/>
                    </a:lnTo>
                    <a:lnTo>
                      <a:pt x="456" y="123"/>
                    </a:lnTo>
                    <a:lnTo>
                      <a:pt x="453" y="123"/>
                    </a:lnTo>
                    <a:lnTo>
                      <a:pt x="453" y="122"/>
                    </a:lnTo>
                    <a:lnTo>
                      <a:pt x="451" y="122"/>
                    </a:lnTo>
                    <a:lnTo>
                      <a:pt x="448" y="120"/>
                    </a:lnTo>
                    <a:lnTo>
                      <a:pt x="447" y="119"/>
                    </a:lnTo>
                    <a:lnTo>
                      <a:pt x="445" y="117"/>
                    </a:lnTo>
                    <a:lnTo>
                      <a:pt x="445" y="114"/>
                    </a:lnTo>
                    <a:lnTo>
                      <a:pt x="447" y="112"/>
                    </a:lnTo>
                    <a:lnTo>
                      <a:pt x="447" y="111"/>
                    </a:lnTo>
                    <a:lnTo>
                      <a:pt x="445" y="111"/>
                    </a:lnTo>
                    <a:lnTo>
                      <a:pt x="447" y="109"/>
                    </a:lnTo>
                    <a:lnTo>
                      <a:pt x="445" y="106"/>
                    </a:lnTo>
                    <a:lnTo>
                      <a:pt x="445" y="108"/>
                    </a:lnTo>
                    <a:lnTo>
                      <a:pt x="445" y="109"/>
                    </a:lnTo>
                    <a:lnTo>
                      <a:pt x="443" y="108"/>
                    </a:lnTo>
                    <a:lnTo>
                      <a:pt x="443" y="106"/>
                    </a:lnTo>
                    <a:lnTo>
                      <a:pt x="443" y="104"/>
                    </a:lnTo>
                    <a:lnTo>
                      <a:pt x="445" y="100"/>
                    </a:lnTo>
                    <a:lnTo>
                      <a:pt x="445" y="93"/>
                    </a:lnTo>
                    <a:lnTo>
                      <a:pt x="445" y="90"/>
                    </a:lnTo>
                    <a:lnTo>
                      <a:pt x="445" y="87"/>
                    </a:lnTo>
                    <a:lnTo>
                      <a:pt x="443" y="89"/>
                    </a:lnTo>
                    <a:lnTo>
                      <a:pt x="443" y="85"/>
                    </a:lnTo>
                    <a:lnTo>
                      <a:pt x="442" y="84"/>
                    </a:lnTo>
                    <a:lnTo>
                      <a:pt x="442" y="81"/>
                    </a:lnTo>
                    <a:lnTo>
                      <a:pt x="442" y="77"/>
                    </a:lnTo>
                    <a:lnTo>
                      <a:pt x="442" y="74"/>
                    </a:lnTo>
                    <a:lnTo>
                      <a:pt x="442" y="71"/>
                    </a:lnTo>
                    <a:lnTo>
                      <a:pt x="442" y="68"/>
                    </a:lnTo>
                    <a:lnTo>
                      <a:pt x="442" y="65"/>
                    </a:lnTo>
                    <a:lnTo>
                      <a:pt x="442" y="63"/>
                    </a:lnTo>
                    <a:lnTo>
                      <a:pt x="442" y="62"/>
                    </a:lnTo>
                    <a:lnTo>
                      <a:pt x="443" y="60"/>
                    </a:lnTo>
                    <a:lnTo>
                      <a:pt x="439" y="57"/>
                    </a:lnTo>
                    <a:lnTo>
                      <a:pt x="435" y="55"/>
                    </a:lnTo>
                    <a:lnTo>
                      <a:pt x="435" y="52"/>
                    </a:lnTo>
                    <a:lnTo>
                      <a:pt x="432" y="49"/>
                    </a:lnTo>
                    <a:lnTo>
                      <a:pt x="432" y="50"/>
                    </a:lnTo>
                    <a:lnTo>
                      <a:pt x="431" y="49"/>
                    </a:lnTo>
                    <a:lnTo>
                      <a:pt x="429" y="52"/>
                    </a:lnTo>
                    <a:lnTo>
                      <a:pt x="428" y="52"/>
                    </a:lnTo>
                    <a:lnTo>
                      <a:pt x="426" y="52"/>
                    </a:lnTo>
                    <a:lnTo>
                      <a:pt x="424" y="50"/>
                    </a:lnTo>
                    <a:lnTo>
                      <a:pt x="424" y="49"/>
                    </a:lnTo>
                    <a:lnTo>
                      <a:pt x="424" y="46"/>
                    </a:lnTo>
                    <a:lnTo>
                      <a:pt x="423" y="42"/>
                    </a:lnTo>
                    <a:lnTo>
                      <a:pt x="423" y="42"/>
                    </a:lnTo>
                    <a:lnTo>
                      <a:pt x="424" y="35"/>
                    </a:lnTo>
                    <a:lnTo>
                      <a:pt x="424" y="31"/>
                    </a:lnTo>
                    <a:lnTo>
                      <a:pt x="423" y="30"/>
                    </a:lnTo>
                    <a:lnTo>
                      <a:pt x="423" y="25"/>
                    </a:lnTo>
                    <a:lnTo>
                      <a:pt x="421" y="22"/>
                    </a:lnTo>
                    <a:lnTo>
                      <a:pt x="420" y="19"/>
                    </a:lnTo>
                    <a:lnTo>
                      <a:pt x="423" y="17"/>
                    </a:lnTo>
                    <a:lnTo>
                      <a:pt x="420" y="15"/>
                    </a:lnTo>
                    <a:lnTo>
                      <a:pt x="418" y="15"/>
                    </a:lnTo>
                    <a:lnTo>
                      <a:pt x="418" y="14"/>
                    </a:lnTo>
                    <a:lnTo>
                      <a:pt x="418" y="11"/>
                    </a:lnTo>
                    <a:lnTo>
                      <a:pt x="418" y="8"/>
                    </a:lnTo>
                    <a:lnTo>
                      <a:pt x="418" y="8"/>
                    </a:lnTo>
                    <a:lnTo>
                      <a:pt x="418" y="4"/>
                    </a:lnTo>
                    <a:lnTo>
                      <a:pt x="418" y="1"/>
                    </a:lnTo>
                    <a:lnTo>
                      <a:pt x="416" y="1"/>
                    </a:lnTo>
                    <a:lnTo>
                      <a:pt x="415" y="1"/>
                    </a:lnTo>
                    <a:lnTo>
                      <a:pt x="416" y="0"/>
                    </a:lnTo>
                    <a:lnTo>
                      <a:pt x="415" y="0"/>
                    </a:lnTo>
                    <a:lnTo>
                      <a:pt x="413" y="0"/>
                    </a:lnTo>
                    <a:lnTo>
                      <a:pt x="412" y="1"/>
                    </a:lnTo>
                    <a:lnTo>
                      <a:pt x="410" y="1"/>
                    </a:lnTo>
                    <a:lnTo>
                      <a:pt x="410" y="4"/>
                    </a:lnTo>
                    <a:lnTo>
                      <a:pt x="407" y="11"/>
                    </a:lnTo>
                    <a:lnTo>
                      <a:pt x="407" y="17"/>
                    </a:lnTo>
                    <a:lnTo>
                      <a:pt x="404" y="17"/>
                    </a:lnTo>
                    <a:lnTo>
                      <a:pt x="404" y="19"/>
                    </a:lnTo>
                    <a:lnTo>
                      <a:pt x="404" y="20"/>
                    </a:lnTo>
                    <a:lnTo>
                      <a:pt x="404" y="20"/>
                    </a:lnTo>
                    <a:lnTo>
                      <a:pt x="401" y="23"/>
                    </a:lnTo>
                    <a:lnTo>
                      <a:pt x="401" y="25"/>
                    </a:lnTo>
                    <a:lnTo>
                      <a:pt x="407" y="28"/>
                    </a:lnTo>
                    <a:lnTo>
                      <a:pt x="404" y="30"/>
                    </a:lnTo>
                    <a:lnTo>
                      <a:pt x="404" y="27"/>
                    </a:lnTo>
                    <a:lnTo>
                      <a:pt x="401" y="30"/>
                    </a:lnTo>
                    <a:lnTo>
                      <a:pt x="401" y="31"/>
                    </a:lnTo>
                    <a:lnTo>
                      <a:pt x="401" y="35"/>
                    </a:lnTo>
                    <a:lnTo>
                      <a:pt x="401" y="36"/>
                    </a:lnTo>
                    <a:lnTo>
                      <a:pt x="401" y="36"/>
                    </a:lnTo>
                    <a:lnTo>
                      <a:pt x="397" y="42"/>
                    </a:lnTo>
                    <a:lnTo>
                      <a:pt x="397" y="42"/>
                    </a:lnTo>
                    <a:lnTo>
                      <a:pt x="397" y="46"/>
                    </a:lnTo>
                    <a:lnTo>
                      <a:pt x="397" y="49"/>
                    </a:lnTo>
                    <a:lnTo>
                      <a:pt x="397" y="54"/>
                    </a:lnTo>
                    <a:lnTo>
                      <a:pt x="396" y="57"/>
                    </a:lnTo>
                    <a:lnTo>
                      <a:pt x="396" y="63"/>
                    </a:lnTo>
                    <a:lnTo>
                      <a:pt x="394" y="68"/>
                    </a:lnTo>
                    <a:lnTo>
                      <a:pt x="389" y="77"/>
                    </a:lnTo>
                    <a:lnTo>
                      <a:pt x="386" y="87"/>
                    </a:lnTo>
                    <a:lnTo>
                      <a:pt x="380" y="95"/>
                    </a:lnTo>
                    <a:lnTo>
                      <a:pt x="378" y="98"/>
                    </a:lnTo>
                    <a:lnTo>
                      <a:pt x="374" y="100"/>
                    </a:lnTo>
                    <a:lnTo>
                      <a:pt x="372" y="100"/>
                    </a:lnTo>
                    <a:lnTo>
                      <a:pt x="369" y="98"/>
                    </a:lnTo>
                    <a:lnTo>
                      <a:pt x="362" y="96"/>
                    </a:lnTo>
                    <a:lnTo>
                      <a:pt x="361" y="95"/>
                    </a:lnTo>
                    <a:lnTo>
                      <a:pt x="361" y="93"/>
                    </a:lnTo>
                    <a:lnTo>
                      <a:pt x="359" y="92"/>
                    </a:lnTo>
                    <a:lnTo>
                      <a:pt x="359" y="90"/>
                    </a:lnTo>
                    <a:lnTo>
                      <a:pt x="359" y="89"/>
                    </a:lnTo>
                    <a:lnTo>
                      <a:pt x="356" y="87"/>
                    </a:lnTo>
                    <a:lnTo>
                      <a:pt x="353" y="85"/>
                    </a:lnTo>
                    <a:lnTo>
                      <a:pt x="350" y="85"/>
                    </a:lnTo>
                    <a:lnTo>
                      <a:pt x="347" y="82"/>
                    </a:lnTo>
                    <a:lnTo>
                      <a:pt x="343" y="81"/>
                    </a:lnTo>
                    <a:lnTo>
                      <a:pt x="340" y="77"/>
                    </a:lnTo>
                    <a:lnTo>
                      <a:pt x="337" y="74"/>
                    </a:lnTo>
                    <a:lnTo>
                      <a:pt x="337" y="74"/>
                    </a:lnTo>
                    <a:lnTo>
                      <a:pt x="334" y="74"/>
                    </a:lnTo>
                    <a:lnTo>
                      <a:pt x="331" y="74"/>
                    </a:lnTo>
                    <a:lnTo>
                      <a:pt x="331" y="71"/>
                    </a:lnTo>
                    <a:lnTo>
                      <a:pt x="331" y="71"/>
                    </a:lnTo>
                    <a:lnTo>
                      <a:pt x="326" y="66"/>
                    </a:lnTo>
                    <a:lnTo>
                      <a:pt x="323" y="63"/>
                    </a:lnTo>
                    <a:lnTo>
                      <a:pt x="318" y="58"/>
                    </a:lnTo>
                    <a:lnTo>
                      <a:pt x="318" y="57"/>
                    </a:lnTo>
                    <a:lnTo>
                      <a:pt x="320" y="55"/>
                    </a:lnTo>
                    <a:lnTo>
                      <a:pt x="323" y="50"/>
                    </a:lnTo>
                    <a:lnTo>
                      <a:pt x="328" y="42"/>
                    </a:lnTo>
                    <a:lnTo>
                      <a:pt x="328" y="42"/>
                    </a:lnTo>
                    <a:lnTo>
                      <a:pt x="326" y="39"/>
                    </a:lnTo>
                    <a:lnTo>
                      <a:pt x="326" y="39"/>
                    </a:lnTo>
                    <a:lnTo>
                      <a:pt x="328" y="39"/>
                    </a:lnTo>
                    <a:lnTo>
                      <a:pt x="328" y="36"/>
                    </a:lnTo>
                    <a:lnTo>
                      <a:pt x="328" y="36"/>
                    </a:lnTo>
                    <a:lnTo>
                      <a:pt x="328" y="36"/>
                    </a:lnTo>
                    <a:lnTo>
                      <a:pt x="331" y="35"/>
                    </a:lnTo>
                    <a:lnTo>
                      <a:pt x="331" y="36"/>
                    </a:lnTo>
                    <a:lnTo>
                      <a:pt x="334" y="33"/>
                    </a:lnTo>
                    <a:lnTo>
                      <a:pt x="334" y="36"/>
                    </a:lnTo>
                    <a:lnTo>
                      <a:pt x="334" y="35"/>
                    </a:lnTo>
                    <a:lnTo>
                      <a:pt x="337" y="31"/>
                    </a:lnTo>
                    <a:lnTo>
                      <a:pt x="337" y="33"/>
                    </a:lnTo>
                    <a:lnTo>
                      <a:pt x="334" y="30"/>
                    </a:lnTo>
                    <a:lnTo>
                      <a:pt x="339" y="27"/>
                    </a:lnTo>
                    <a:lnTo>
                      <a:pt x="340" y="22"/>
                    </a:lnTo>
                    <a:lnTo>
                      <a:pt x="340" y="20"/>
                    </a:lnTo>
                    <a:lnTo>
                      <a:pt x="339" y="19"/>
                    </a:lnTo>
                    <a:lnTo>
                      <a:pt x="339" y="20"/>
                    </a:lnTo>
                    <a:lnTo>
                      <a:pt x="337" y="19"/>
                    </a:lnTo>
                    <a:lnTo>
                      <a:pt x="337" y="17"/>
                    </a:lnTo>
                    <a:lnTo>
                      <a:pt x="337" y="15"/>
                    </a:lnTo>
                    <a:lnTo>
                      <a:pt x="334" y="19"/>
                    </a:lnTo>
                    <a:lnTo>
                      <a:pt x="334" y="20"/>
                    </a:lnTo>
                    <a:lnTo>
                      <a:pt x="334" y="20"/>
                    </a:lnTo>
                    <a:lnTo>
                      <a:pt x="334" y="22"/>
                    </a:lnTo>
                    <a:lnTo>
                      <a:pt x="331" y="23"/>
                    </a:lnTo>
                    <a:lnTo>
                      <a:pt x="331" y="22"/>
                    </a:lnTo>
                    <a:lnTo>
                      <a:pt x="331" y="20"/>
                    </a:lnTo>
                    <a:lnTo>
                      <a:pt x="331" y="19"/>
                    </a:lnTo>
                    <a:lnTo>
                      <a:pt x="328" y="20"/>
                    </a:lnTo>
                    <a:lnTo>
                      <a:pt x="328" y="22"/>
                    </a:lnTo>
                    <a:lnTo>
                      <a:pt x="326" y="20"/>
                    </a:lnTo>
                    <a:lnTo>
                      <a:pt x="328" y="19"/>
                    </a:lnTo>
                    <a:lnTo>
                      <a:pt x="328" y="17"/>
                    </a:lnTo>
                    <a:lnTo>
                      <a:pt x="328" y="17"/>
                    </a:lnTo>
                    <a:lnTo>
                      <a:pt x="328" y="15"/>
                    </a:lnTo>
                    <a:lnTo>
                      <a:pt x="326" y="15"/>
                    </a:lnTo>
                    <a:lnTo>
                      <a:pt x="326" y="17"/>
                    </a:lnTo>
                    <a:lnTo>
                      <a:pt x="324" y="19"/>
                    </a:lnTo>
                    <a:lnTo>
                      <a:pt x="323" y="19"/>
                    </a:lnTo>
                    <a:lnTo>
                      <a:pt x="321" y="20"/>
                    </a:lnTo>
                    <a:lnTo>
                      <a:pt x="318" y="20"/>
                    </a:lnTo>
                    <a:lnTo>
                      <a:pt x="316" y="19"/>
                    </a:lnTo>
                    <a:lnTo>
                      <a:pt x="316" y="15"/>
                    </a:lnTo>
                    <a:lnTo>
                      <a:pt x="313" y="17"/>
                    </a:lnTo>
                    <a:lnTo>
                      <a:pt x="310" y="17"/>
                    </a:lnTo>
                    <a:lnTo>
                      <a:pt x="310" y="17"/>
                    </a:lnTo>
                    <a:lnTo>
                      <a:pt x="307" y="19"/>
                    </a:lnTo>
                    <a:lnTo>
                      <a:pt x="307" y="15"/>
                    </a:lnTo>
                    <a:lnTo>
                      <a:pt x="307" y="15"/>
                    </a:lnTo>
                    <a:lnTo>
                      <a:pt x="305" y="14"/>
                    </a:lnTo>
                    <a:lnTo>
                      <a:pt x="305" y="14"/>
                    </a:lnTo>
                    <a:lnTo>
                      <a:pt x="302" y="14"/>
                    </a:lnTo>
                    <a:lnTo>
                      <a:pt x="301" y="14"/>
                    </a:lnTo>
                    <a:lnTo>
                      <a:pt x="299" y="14"/>
                    </a:lnTo>
                    <a:lnTo>
                      <a:pt x="296" y="14"/>
                    </a:lnTo>
                    <a:lnTo>
                      <a:pt x="294" y="11"/>
                    </a:lnTo>
                    <a:lnTo>
                      <a:pt x="293" y="8"/>
                    </a:lnTo>
                    <a:lnTo>
                      <a:pt x="293" y="8"/>
                    </a:lnTo>
                    <a:lnTo>
                      <a:pt x="293" y="11"/>
                    </a:lnTo>
                    <a:lnTo>
                      <a:pt x="289" y="11"/>
                    </a:lnTo>
                    <a:lnTo>
                      <a:pt x="289" y="8"/>
                    </a:lnTo>
                    <a:lnTo>
                      <a:pt x="286" y="4"/>
                    </a:lnTo>
                    <a:lnTo>
                      <a:pt x="283" y="4"/>
                    </a:lnTo>
                    <a:lnTo>
                      <a:pt x="283" y="8"/>
                    </a:lnTo>
                    <a:lnTo>
                      <a:pt x="283" y="8"/>
                    </a:lnTo>
                    <a:lnTo>
                      <a:pt x="283" y="8"/>
                    </a:lnTo>
                    <a:lnTo>
                      <a:pt x="283" y="4"/>
                    </a:lnTo>
                    <a:lnTo>
                      <a:pt x="281" y="4"/>
                    </a:lnTo>
                    <a:lnTo>
                      <a:pt x="280" y="8"/>
                    </a:lnTo>
                    <a:lnTo>
                      <a:pt x="281" y="8"/>
                    </a:lnTo>
                    <a:lnTo>
                      <a:pt x="283" y="11"/>
                    </a:lnTo>
                    <a:lnTo>
                      <a:pt x="286" y="11"/>
                    </a:lnTo>
                    <a:lnTo>
                      <a:pt x="289" y="11"/>
                    </a:lnTo>
                    <a:lnTo>
                      <a:pt x="289" y="11"/>
                    </a:lnTo>
                    <a:lnTo>
                      <a:pt x="289" y="15"/>
                    </a:lnTo>
                    <a:lnTo>
                      <a:pt x="289" y="17"/>
                    </a:lnTo>
                    <a:lnTo>
                      <a:pt x="289" y="19"/>
                    </a:lnTo>
                    <a:lnTo>
                      <a:pt x="286" y="19"/>
                    </a:lnTo>
                    <a:lnTo>
                      <a:pt x="286" y="22"/>
                    </a:lnTo>
                    <a:lnTo>
                      <a:pt x="286" y="20"/>
                    </a:lnTo>
                    <a:lnTo>
                      <a:pt x="283" y="20"/>
                    </a:lnTo>
                    <a:lnTo>
                      <a:pt x="280" y="20"/>
                    </a:lnTo>
                    <a:lnTo>
                      <a:pt x="275" y="20"/>
                    </a:lnTo>
                    <a:lnTo>
                      <a:pt x="272" y="20"/>
                    </a:lnTo>
                    <a:lnTo>
                      <a:pt x="272" y="19"/>
                    </a:lnTo>
                    <a:lnTo>
                      <a:pt x="270" y="20"/>
                    </a:lnTo>
                    <a:lnTo>
                      <a:pt x="269" y="19"/>
                    </a:lnTo>
                    <a:lnTo>
                      <a:pt x="267" y="20"/>
                    </a:lnTo>
                    <a:lnTo>
                      <a:pt x="267" y="22"/>
                    </a:lnTo>
                    <a:lnTo>
                      <a:pt x="266" y="22"/>
                    </a:lnTo>
                    <a:lnTo>
                      <a:pt x="266" y="23"/>
                    </a:lnTo>
                    <a:lnTo>
                      <a:pt x="267" y="27"/>
                    </a:lnTo>
                    <a:lnTo>
                      <a:pt x="264" y="23"/>
                    </a:lnTo>
                    <a:lnTo>
                      <a:pt x="262" y="22"/>
                    </a:lnTo>
                    <a:lnTo>
                      <a:pt x="261" y="25"/>
                    </a:lnTo>
                    <a:lnTo>
                      <a:pt x="262" y="28"/>
                    </a:lnTo>
                    <a:lnTo>
                      <a:pt x="261" y="27"/>
                    </a:lnTo>
                    <a:lnTo>
                      <a:pt x="261" y="27"/>
                    </a:lnTo>
                    <a:lnTo>
                      <a:pt x="258" y="28"/>
                    </a:lnTo>
                    <a:lnTo>
                      <a:pt x="258" y="30"/>
                    </a:lnTo>
                    <a:lnTo>
                      <a:pt x="258" y="31"/>
                    </a:lnTo>
                    <a:lnTo>
                      <a:pt x="256" y="33"/>
                    </a:lnTo>
                    <a:lnTo>
                      <a:pt x="256" y="35"/>
                    </a:lnTo>
                    <a:lnTo>
                      <a:pt x="258" y="36"/>
                    </a:lnTo>
                    <a:lnTo>
                      <a:pt x="256" y="36"/>
                    </a:lnTo>
                    <a:lnTo>
                      <a:pt x="255" y="39"/>
                    </a:lnTo>
                    <a:lnTo>
                      <a:pt x="253" y="39"/>
                    </a:lnTo>
                    <a:lnTo>
                      <a:pt x="251" y="39"/>
                    </a:lnTo>
                    <a:lnTo>
                      <a:pt x="250" y="46"/>
                    </a:lnTo>
                    <a:lnTo>
                      <a:pt x="248" y="46"/>
                    </a:lnTo>
                    <a:lnTo>
                      <a:pt x="247" y="47"/>
                    </a:lnTo>
                    <a:lnTo>
                      <a:pt x="243" y="50"/>
                    </a:lnTo>
                    <a:lnTo>
                      <a:pt x="243" y="52"/>
                    </a:lnTo>
                    <a:lnTo>
                      <a:pt x="245" y="54"/>
                    </a:lnTo>
                    <a:lnTo>
                      <a:pt x="248" y="54"/>
                    </a:lnTo>
                    <a:lnTo>
                      <a:pt x="247" y="55"/>
                    </a:lnTo>
                    <a:lnTo>
                      <a:pt x="248" y="57"/>
                    </a:lnTo>
                    <a:lnTo>
                      <a:pt x="250" y="57"/>
                    </a:lnTo>
                    <a:lnTo>
                      <a:pt x="248" y="58"/>
                    </a:lnTo>
                    <a:lnTo>
                      <a:pt x="247" y="58"/>
                    </a:lnTo>
                    <a:lnTo>
                      <a:pt x="245" y="62"/>
                    </a:lnTo>
                    <a:lnTo>
                      <a:pt x="247" y="63"/>
                    </a:lnTo>
                    <a:lnTo>
                      <a:pt x="245" y="63"/>
                    </a:lnTo>
                    <a:lnTo>
                      <a:pt x="243" y="62"/>
                    </a:lnTo>
                    <a:lnTo>
                      <a:pt x="242" y="60"/>
                    </a:lnTo>
                    <a:lnTo>
                      <a:pt x="240" y="58"/>
                    </a:lnTo>
                    <a:lnTo>
                      <a:pt x="240" y="62"/>
                    </a:lnTo>
                    <a:lnTo>
                      <a:pt x="239" y="63"/>
                    </a:lnTo>
                    <a:lnTo>
                      <a:pt x="239" y="62"/>
                    </a:lnTo>
                    <a:lnTo>
                      <a:pt x="239" y="60"/>
                    </a:lnTo>
                    <a:lnTo>
                      <a:pt x="237" y="58"/>
                    </a:lnTo>
                    <a:lnTo>
                      <a:pt x="231" y="58"/>
                    </a:lnTo>
                    <a:lnTo>
                      <a:pt x="231" y="60"/>
                    </a:lnTo>
                    <a:lnTo>
                      <a:pt x="231" y="62"/>
                    </a:lnTo>
                    <a:lnTo>
                      <a:pt x="228" y="62"/>
                    </a:lnTo>
                    <a:lnTo>
                      <a:pt x="228" y="60"/>
                    </a:lnTo>
                    <a:lnTo>
                      <a:pt x="228" y="62"/>
                    </a:lnTo>
                    <a:lnTo>
                      <a:pt x="228" y="65"/>
                    </a:lnTo>
                    <a:lnTo>
                      <a:pt x="228" y="66"/>
                    </a:lnTo>
                    <a:lnTo>
                      <a:pt x="228" y="65"/>
                    </a:lnTo>
                    <a:lnTo>
                      <a:pt x="226" y="65"/>
                    </a:lnTo>
                    <a:lnTo>
                      <a:pt x="226" y="66"/>
                    </a:lnTo>
                    <a:lnTo>
                      <a:pt x="224" y="68"/>
                    </a:lnTo>
                    <a:lnTo>
                      <a:pt x="226" y="65"/>
                    </a:lnTo>
                    <a:lnTo>
                      <a:pt x="226" y="63"/>
                    </a:lnTo>
                    <a:lnTo>
                      <a:pt x="228" y="57"/>
                    </a:lnTo>
                    <a:lnTo>
                      <a:pt x="228" y="55"/>
                    </a:lnTo>
                    <a:lnTo>
                      <a:pt x="226" y="54"/>
                    </a:lnTo>
                    <a:lnTo>
                      <a:pt x="221" y="47"/>
                    </a:lnTo>
                    <a:lnTo>
                      <a:pt x="220" y="46"/>
                    </a:lnTo>
                    <a:lnTo>
                      <a:pt x="218" y="46"/>
                    </a:lnTo>
                    <a:lnTo>
                      <a:pt x="216" y="46"/>
                    </a:lnTo>
                    <a:lnTo>
                      <a:pt x="215" y="42"/>
                    </a:lnTo>
                    <a:lnTo>
                      <a:pt x="213" y="42"/>
                    </a:lnTo>
                    <a:lnTo>
                      <a:pt x="213" y="42"/>
                    </a:lnTo>
                    <a:lnTo>
                      <a:pt x="213" y="46"/>
                    </a:lnTo>
                    <a:lnTo>
                      <a:pt x="210" y="47"/>
                    </a:lnTo>
                    <a:lnTo>
                      <a:pt x="208" y="49"/>
                    </a:lnTo>
                    <a:lnTo>
                      <a:pt x="207" y="47"/>
                    </a:lnTo>
                    <a:lnTo>
                      <a:pt x="207" y="46"/>
                    </a:lnTo>
                    <a:lnTo>
                      <a:pt x="205" y="46"/>
                    </a:lnTo>
                    <a:lnTo>
                      <a:pt x="205" y="49"/>
                    </a:lnTo>
                    <a:lnTo>
                      <a:pt x="204" y="47"/>
                    </a:lnTo>
                    <a:lnTo>
                      <a:pt x="204" y="46"/>
                    </a:lnTo>
                    <a:lnTo>
                      <a:pt x="202" y="46"/>
                    </a:lnTo>
                    <a:lnTo>
                      <a:pt x="202" y="46"/>
                    </a:lnTo>
                    <a:lnTo>
                      <a:pt x="202" y="47"/>
                    </a:lnTo>
                    <a:lnTo>
                      <a:pt x="202" y="49"/>
                    </a:lnTo>
                    <a:lnTo>
                      <a:pt x="202" y="52"/>
                    </a:lnTo>
                    <a:lnTo>
                      <a:pt x="199" y="54"/>
                    </a:lnTo>
                    <a:lnTo>
                      <a:pt x="199" y="55"/>
                    </a:lnTo>
                    <a:lnTo>
                      <a:pt x="199" y="52"/>
                    </a:lnTo>
                    <a:lnTo>
                      <a:pt x="196" y="55"/>
                    </a:lnTo>
                    <a:lnTo>
                      <a:pt x="196" y="52"/>
                    </a:lnTo>
                    <a:lnTo>
                      <a:pt x="196" y="50"/>
                    </a:lnTo>
                    <a:lnTo>
                      <a:pt x="196" y="49"/>
                    </a:lnTo>
                    <a:lnTo>
                      <a:pt x="196" y="54"/>
                    </a:lnTo>
                    <a:lnTo>
                      <a:pt x="193" y="54"/>
                    </a:lnTo>
                    <a:lnTo>
                      <a:pt x="193" y="54"/>
                    </a:lnTo>
                    <a:lnTo>
                      <a:pt x="191" y="57"/>
                    </a:lnTo>
                    <a:lnTo>
                      <a:pt x="191" y="58"/>
                    </a:lnTo>
                    <a:lnTo>
                      <a:pt x="193" y="58"/>
                    </a:lnTo>
                    <a:lnTo>
                      <a:pt x="193" y="62"/>
                    </a:lnTo>
                    <a:lnTo>
                      <a:pt x="193" y="63"/>
                    </a:lnTo>
                    <a:lnTo>
                      <a:pt x="191" y="62"/>
                    </a:lnTo>
                    <a:lnTo>
                      <a:pt x="189" y="62"/>
                    </a:lnTo>
                    <a:lnTo>
                      <a:pt x="188" y="62"/>
                    </a:lnTo>
                    <a:lnTo>
                      <a:pt x="185" y="65"/>
                    </a:lnTo>
                    <a:lnTo>
                      <a:pt x="188" y="63"/>
                    </a:lnTo>
                    <a:lnTo>
                      <a:pt x="186" y="65"/>
                    </a:lnTo>
                    <a:lnTo>
                      <a:pt x="188" y="65"/>
                    </a:lnTo>
                    <a:lnTo>
                      <a:pt x="188" y="66"/>
                    </a:lnTo>
                    <a:lnTo>
                      <a:pt x="189" y="68"/>
                    </a:lnTo>
                    <a:lnTo>
                      <a:pt x="186" y="68"/>
                    </a:lnTo>
                    <a:lnTo>
                      <a:pt x="186" y="66"/>
                    </a:lnTo>
                    <a:lnTo>
                      <a:pt x="183" y="65"/>
                    </a:lnTo>
                    <a:lnTo>
                      <a:pt x="183" y="66"/>
                    </a:lnTo>
                    <a:lnTo>
                      <a:pt x="180" y="68"/>
                    </a:lnTo>
                    <a:lnTo>
                      <a:pt x="178" y="69"/>
                    </a:lnTo>
                    <a:lnTo>
                      <a:pt x="178" y="71"/>
                    </a:lnTo>
                    <a:lnTo>
                      <a:pt x="180" y="74"/>
                    </a:lnTo>
                    <a:lnTo>
                      <a:pt x="180" y="71"/>
                    </a:lnTo>
                    <a:lnTo>
                      <a:pt x="181" y="71"/>
                    </a:lnTo>
                    <a:lnTo>
                      <a:pt x="180" y="74"/>
                    </a:lnTo>
                    <a:lnTo>
                      <a:pt x="178" y="77"/>
                    </a:lnTo>
                    <a:lnTo>
                      <a:pt x="177" y="77"/>
                    </a:lnTo>
                    <a:lnTo>
                      <a:pt x="177" y="81"/>
                    </a:lnTo>
                    <a:lnTo>
                      <a:pt x="178" y="81"/>
                    </a:lnTo>
                    <a:lnTo>
                      <a:pt x="180" y="81"/>
                    </a:lnTo>
                    <a:lnTo>
                      <a:pt x="181" y="81"/>
                    </a:lnTo>
                    <a:lnTo>
                      <a:pt x="180" y="81"/>
                    </a:lnTo>
                    <a:lnTo>
                      <a:pt x="178" y="81"/>
                    </a:lnTo>
                    <a:lnTo>
                      <a:pt x="177" y="81"/>
                    </a:lnTo>
                    <a:lnTo>
                      <a:pt x="175" y="81"/>
                    </a:lnTo>
                    <a:lnTo>
                      <a:pt x="174" y="81"/>
                    </a:lnTo>
                    <a:lnTo>
                      <a:pt x="172" y="77"/>
                    </a:lnTo>
                    <a:lnTo>
                      <a:pt x="170" y="81"/>
                    </a:lnTo>
                    <a:lnTo>
                      <a:pt x="170" y="81"/>
                    </a:lnTo>
                    <a:lnTo>
                      <a:pt x="170" y="81"/>
                    </a:lnTo>
                    <a:lnTo>
                      <a:pt x="170" y="77"/>
                    </a:lnTo>
                    <a:lnTo>
                      <a:pt x="167" y="77"/>
                    </a:lnTo>
                    <a:lnTo>
                      <a:pt x="167" y="81"/>
                    </a:lnTo>
                    <a:lnTo>
                      <a:pt x="167" y="81"/>
                    </a:lnTo>
                    <a:lnTo>
                      <a:pt x="167" y="82"/>
                    </a:lnTo>
                    <a:lnTo>
                      <a:pt x="167" y="84"/>
                    </a:lnTo>
                    <a:lnTo>
                      <a:pt x="167" y="85"/>
                    </a:lnTo>
                    <a:lnTo>
                      <a:pt x="170" y="87"/>
                    </a:lnTo>
                    <a:lnTo>
                      <a:pt x="167" y="90"/>
                    </a:lnTo>
                    <a:lnTo>
                      <a:pt x="167" y="92"/>
                    </a:lnTo>
                    <a:lnTo>
                      <a:pt x="167" y="89"/>
                    </a:lnTo>
                    <a:lnTo>
                      <a:pt x="164" y="93"/>
                    </a:lnTo>
                    <a:lnTo>
                      <a:pt x="164" y="96"/>
                    </a:lnTo>
                    <a:lnTo>
                      <a:pt x="164" y="98"/>
                    </a:lnTo>
                    <a:lnTo>
                      <a:pt x="164" y="95"/>
                    </a:lnTo>
                    <a:lnTo>
                      <a:pt x="161" y="92"/>
                    </a:lnTo>
                    <a:lnTo>
                      <a:pt x="161" y="87"/>
                    </a:lnTo>
                    <a:lnTo>
                      <a:pt x="161" y="85"/>
                    </a:lnTo>
                    <a:lnTo>
                      <a:pt x="158" y="84"/>
                    </a:lnTo>
                    <a:lnTo>
                      <a:pt x="158" y="82"/>
                    </a:lnTo>
                    <a:lnTo>
                      <a:pt x="158" y="81"/>
                    </a:lnTo>
                    <a:lnTo>
                      <a:pt x="158" y="84"/>
                    </a:lnTo>
                    <a:lnTo>
                      <a:pt x="154" y="85"/>
                    </a:lnTo>
                    <a:lnTo>
                      <a:pt x="153" y="87"/>
                    </a:lnTo>
                    <a:lnTo>
                      <a:pt x="153" y="89"/>
                    </a:lnTo>
                    <a:lnTo>
                      <a:pt x="151" y="89"/>
                    </a:lnTo>
                    <a:lnTo>
                      <a:pt x="150" y="90"/>
                    </a:lnTo>
                    <a:lnTo>
                      <a:pt x="147" y="93"/>
                    </a:lnTo>
                    <a:lnTo>
                      <a:pt x="145" y="98"/>
                    </a:lnTo>
                    <a:lnTo>
                      <a:pt x="145" y="101"/>
                    </a:lnTo>
                    <a:lnTo>
                      <a:pt x="147" y="104"/>
                    </a:lnTo>
                    <a:lnTo>
                      <a:pt x="147" y="104"/>
                    </a:lnTo>
                    <a:lnTo>
                      <a:pt x="147" y="106"/>
                    </a:lnTo>
                    <a:lnTo>
                      <a:pt x="142" y="109"/>
                    </a:lnTo>
                    <a:lnTo>
                      <a:pt x="140" y="109"/>
                    </a:lnTo>
                    <a:lnTo>
                      <a:pt x="139" y="112"/>
                    </a:lnTo>
                    <a:lnTo>
                      <a:pt x="137" y="114"/>
                    </a:lnTo>
                    <a:lnTo>
                      <a:pt x="135" y="114"/>
                    </a:lnTo>
                    <a:lnTo>
                      <a:pt x="137" y="116"/>
                    </a:lnTo>
                    <a:lnTo>
                      <a:pt x="135" y="117"/>
                    </a:lnTo>
                    <a:lnTo>
                      <a:pt x="132" y="122"/>
                    </a:lnTo>
                    <a:lnTo>
                      <a:pt x="124" y="127"/>
                    </a:lnTo>
                    <a:lnTo>
                      <a:pt x="118" y="130"/>
                    </a:lnTo>
                    <a:lnTo>
                      <a:pt x="112" y="133"/>
                    </a:lnTo>
                    <a:lnTo>
                      <a:pt x="108" y="133"/>
                    </a:lnTo>
                    <a:lnTo>
                      <a:pt x="102" y="133"/>
                    </a:lnTo>
                    <a:lnTo>
                      <a:pt x="101" y="133"/>
                    </a:lnTo>
                    <a:lnTo>
                      <a:pt x="99" y="136"/>
                    </a:lnTo>
                    <a:lnTo>
                      <a:pt x="97" y="136"/>
                    </a:lnTo>
                    <a:lnTo>
                      <a:pt x="94" y="136"/>
                    </a:lnTo>
                    <a:lnTo>
                      <a:pt x="89" y="138"/>
                    </a:lnTo>
                    <a:lnTo>
                      <a:pt x="85" y="141"/>
                    </a:lnTo>
                    <a:lnTo>
                      <a:pt x="80" y="142"/>
                    </a:lnTo>
                    <a:lnTo>
                      <a:pt x="77" y="141"/>
                    </a:lnTo>
                    <a:lnTo>
                      <a:pt x="74" y="142"/>
                    </a:lnTo>
                    <a:lnTo>
                      <a:pt x="70" y="141"/>
                    </a:lnTo>
                    <a:lnTo>
                      <a:pt x="67" y="142"/>
                    </a:lnTo>
                    <a:lnTo>
                      <a:pt x="66" y="144"/>
                    </a:lnTo>
                    <a:lnTo>
                      <a:pt x="62" y="146"/>
                    </a:lnTo>
                    <a:lnTo>
                      <a:pt x="61" y="147"/>
                    </a:lnTo>
                    <a:lnTo>
                      <a:pt x="54" y="152"/>
                    </a:lnTo>
                    <a:lnTo>
                      <a:pt x="48" y="157"/>
                    </a:lnTo>
                    <a:lnTo>
                      <a:pt x="45" y="158"/>
                    </a:lnTo>
                    <a:lnTo>
                      <a:pt x="39" y="162"/>
                    </a:lnTo>
                    <a:lnTo>
                      <a:pt x="39" y="165"/>
                    </a:lnTo>
                    <a:lnTo>
                      <a:pt x="32" y="168"/>
                    </a:lnTo>
                    <a:lnTo>
                      <a:pt x="35" y="162"/>
                    </a:lnTo>
                    <a:lnTo>
                      <a:pt x="35" y="162"/>
                    </a:lnTo>
                    <a:lnTo>
                      <a:pt x="35" y="158"/>
                    </a:lnTo>
                    <a:lnTo>
                      <a:pt x="32" y="160"/>
                    </a:lnTo>
                    <a:lnTo>
                      <a:pt x="32" y="162"/>
                    </a:lnTo>
                    <a:lnTo>
                      <a:pt x="31" y="165"/>
                    </a:lnTo>
                    <a:lnTo>
                      <a:pt x="29" y="168"/>
                    </a:lnTo>
                    <a:lnTo>
                      <a:pt x="29" y="171"/>
                    </a:lnTo>
                    <a:lnTo>
                      <a:pt x="29" y="173"/>
                    </a:lnTo>
                    <a:lnTo>
                      <a:pt x="29" y="176"/>
                    </a:lnTo>
                    <a:lnTo>
                      <a:pt x="27" y="181"/>
                    </a:lnTo>
                    <a:lnTo>
                      <a:pt x="24" y="185"/>
                    </a:lnTo>
                    <a:lnTo>
                      <a:pt x="21" y="192"/>
                    </a:lnTo>
                    <a:lnTo>
                      <a:pt x="21" y="196"/>
                    </a:lnTo>
                    <a:lnTo>
                      <a:pt x="23" y="203"/>
                    </a:lnTo>
                    <a:lnTo>
                      <a:pt x="23" y="206"/>
                    </a:lnTo>
                    <a:lnTo>
                      <a:pt x="24" y="209"/>
                    </a:lnTo>
                    <a:lnTo>
                      <a:pt x="26" y="214"/>
                    </a:lnTo>
                    <a:lnTo>
                      <a:pt x="26" y="217"/>
                    </a:lnTo>
                    <a:lnTo>
                      <a:pt x="24" y="223"/>
                    </a:lnTo>
                    <a:lnTo>
                      <a:pt x="24" y="223"/>
                    </a:lnTo>
                    <a:lnTo>
                      <a:pt x="23" y="223"/>
                    </a:lnTo>
                    <a:lnTo>
                      <a:pt x="21" y="220"/>
                    </a:lnTo>
                    <a:lnTo>
                      <a:pt x="21" y="220"/>
                    </a:lnTo>
                    <a:lnTo>
                      <a:pt x="20" y="220"/>
                    </a:lnTo>
                    <a:lnTo>
                      <a:pt x="20" y="217"/>
                    </a:lnTo>
                    <a:lnTo>
                      <a:pt x="20" y="217"/>
                    </a:lnTo>
                    <a:lnTo>
                      <a:pt x="18" y="212"/>
                    </a:lnTo>
                    <a:lnTo>
                      <a:pt x="16" y="214"/>
                    </a:lnTo>
                    <a:lnTo>
                      <a:pt x="16" y="217"/>
                    </a:lnTo>
                    <a:lnTo>
                      <a:pt x="18" y="220"/>
                    </a:lnTo>
                    <a:lnTo>
                      <a:pt x="20" y="223"/>
                    </a:lnTo>
                    <a:lnTo>
                      <a:pt x="20" y="227"/>
                    </a:lnTo>
                    <a:lnTo>
                      <a:pt x="16" y="227"/>
                    </a:lnTo>
                    <a:lnTo>
                      <a:pt x="16" y="227"/>
                    </a:lnTo>
                    <a:lnTo>
                      <a:pt x="15" y="227"/>
                    </a:lnTo>
                    <a:lnTo>
                      <a:pt x="16" y="223"/>
                    </a:lnTo>
                    <a:lnTo>
                      <a:pt x="15" y="223"/>
                    </a:lnTo>
                    <a:lnTo>
                      <a:pt x="15" y="220"/>
                    </a:lnTo>
                    <a:lnTo>
                      <a:pt x="13" y="223"/>
                    </a:lnTo>
                    <a:lnTo>
                      <a:pt x="15" y="230"/>
                    </a:lnTo>
                    <a:lnTo>
                      <a:pt x="18" y="235"/>
                    </a:lnTo>
                    <a:lnTo>
                      <a:pt x="20" y="241"/>
                    </a:lnTo>
                    <a:lnTo>
                      <a:pt x="18" y="249"/>
                    </a:lnTo>
                    <a:lnTo>
                      <a:pt x="20" y="250"/>
                    </a:lnTo>
                    <a:lnTo>
                      <a:pt x="21" y="252"/>
                    </a:lnTo>
                    <a:lnTo>
                      <a:pt x="21" y="258"/>
                    </a:lnTo>
                    <a:lnTo>
                      <a:pt x="23" y="263"/>
                    </a:lnTo>
                    <a:lnTo>
                      <a:pt x="23" y="271"/>
                    </a:lnTo>
                    <a:lnTo>
                      <a:pt x="20" y="279"/>
                    </a:lnTo>
                    <a:lnTo>
                      <a:pt x="20" y="287"/>
                    </a:lnTo>
                    <a:lnTo>
                      <a:pt x="21" y="293"/>
                    </a:lnTo>
                    <a:lnTo>
                      <a:pt x="23" y="300"/>
                    </a:lnTo>
                    <a:lnTo>
                      <a:pt x="21" y="308"/>
                    </a:lnTo>
                    <a:lnTo>
                      <a:pt x="20" y="311"/>
                    </a:lnTo>
                    <a:lnTo>
                      <a:pt x="20" y="314"/>
                    </a:lnTo>
                    <a:lnTo>
                      <a:pt x="18" y="316"/>
                    </a:lnTo>
                    <a:lnTo>
                      <a:pt x="18" y="314"/>
                    </a:lnTo>
                    <a:lnTo>
                      <a:pt x="16" y="316"/>
                    </a:lnTo>
                    <a:lnTo>
                      <a:pt x="16" y="319"/>
                    </a:lnTo>
                    <a:lnTo>
                      <a:pt x="15" y="322"/>
                    </a:lnTo>
                    <a:lnTo>
                      <a:pt x="12" y="328"/>
                    </a:lnTo>
                    <a:lnTo>
                      <a:pt x="10" y="328"/>
                    </a:lnTo>
                    <a:lnTo>
                      <a:pt x="7" y="328"/>
                    </a:lnTo>
                    <a:lnTo>
                      <a:pt x="7" y="328"/>
                    </a:lnTo>
                    <a:lnTo>
                      <a:pt x="4" y="328"/>
                    </a:lnTo>
                    <a:lnTo>
                      <a:pt x="4" y="331"/>
                    </a:lnTo>
                    <a:lnTo>
                      <a:pt x="0" y="336"/>
                    </a:lnTo>
                    <a:lnTo>
                      <a:pt x="4" y="339"/>
                    </a:lnTo>
                    <a:lnTo>
                      <a:pt x="4" y="338"/>
                    </a:lnTo>
                    <a:lnTo>
                      <a:pt x="7" y="339"/>
                    </a:lnTo>
                    <a:lnTo>
                      <a:pt x="10" y="343"/>
                    </a:lnTo>
                    <a:lnTo>
                      <a:pt x="12" y="346"/>
                    </a:lnTo>
                    <a:lnTo>
                      <a:pt x="13" y="346"/>
                    </a:lnTo>
                    <a:lnTo>
                      <a:pt x="16" y="346"/>
                    </a:lnTo>
                    <a:lnTo>
                      <a:pt x="15" y="349"/>
                    </a:lnTo>
                    <a:lnTo>
                      <a:pt x="27" y="349"/>
                    </a:lnTo>
                    <a:lnTo>
                      <a:pt x="32" y="349"/>
                    </a:lnTo>
                    <a:lnTo>
                      <a:pt x="32" y="349"/>
                    </a:lnTo>
                    <a:lnTo>
                      <a:pt x="32" y="349"/>
                    </a:lnTo>
                    <a:lnTo>
                      <a:pt x="35" y="349"/>
                    </a:lnTo>
                    <a:lnTo>
                      <a:pt x="39" y="346"/>
                    </a:lnTo>
                    <a:lnTo>
                      <a:pt x="42" y="343"/>
                    </a:lnTo>
                    <a:lnTo>
                      <a:pt x="45" y="343"/>
                    </a:lnTo>
                    <a:lnTo>
                      <a:pt x="48" y="341"/>
                    </a:lnTo>
                    <a:lnTo>
                      <a:pt x="50" y="341"/>
                    </a:lnTo>
                    <a:lnTo>
                      <a:pt x="51" y="341"/>
                    </a:lnTo>
                    <a:lnTo>
                      <a:pt x="56" y="339"/>
                    </a:lnTo>
                    <a:lnTo>
                      <a:pt x="56" y="336"/>
                    </a:lnTo>
                    <a:lnTo>
                      <a:pt x="59" y="335"/>
                    </a:lnTo>
                    <a:lnTo>
                      <a:pt x="66" y="333"/>
                    </a:lnTo>
                    <a:lnTo>
                      <a:pt x="70" y="333"/>
                    </a:lnTo>
                    <a:lnTo>
                      <a:pt x="77" y="331"/>
                    </a:lnTo>
                    <a:lnTo>
                      <a:pt x="81" y="331"/>
                    </a:lnTo>
                    <a:lnTo>
                      <a:pt x="89" y="331"/>
                    </a:lnTo>
                    <a:lnTo>
                      <a:pt x="91" y="333"/>
                    </a:lnTo>
                    <a:lnTo>
                      <a:pt x="93" y="333"/>
                    </a:lnTo>
                    <a:lnTo>
                      <a:pt x="99" y="331"/>
                    </a:lnTo>
                    <a:lnTo>
                      <a:pt x="102" y="333"/>
                    </a:lnTo>
                    <a:lnTo>
                      <a:pt x="102" y="335"/>
                    </a:lnTo>
                    <a:lnTo>
                      <a:pt x="105" y="333"/>
                    </a:lnTo>
                    <a:lnTo>
                      <a:pt x="105" y="333"/>
                    </a:lnTo>
                    <a:lnTo>
                      <a:pt x="108" y="331"/>
                    </a:lnTo>
                    <a:lnTo>
                      <a:pt x="108" y="331"/>
                    </a:lnTo>
                    <a:lnTo>
                      <a:pt x="113" y="328"/>
                    </a:lnTo>
                    <a:lnTo>
                      <a:pt x="116" y="322"/>
                    </a:lnTo>
                    <a:lnTo>
                      <a:pt x="121" y="320"/>
                    </a:lnTo>
                    <a:lnTo>
                      <a:pt x="126" y="319"/>
                    </a:lnTo>
                    <a:lnTo>
                      <a:pt x="132" y="316"/>
                    </a:lnTo>
                    <a:lnTo>
                      <a:pt x="137" y="314"/>
                    </a:lnTo>
                    <a:lnTo>
                      <a:pt x="143" y="311"/>
                    </a:lnTo>
                    <a:lnTo>
                      <a:pt x="147" y="309"/>
                    </a:lnTo>
                    <a:lnTo>
                      <a:pt x="150" y="309"/>
                    </a:lnTo>
                    <a:lnTo>
                      <a:pt x="156" y="309"/>
                    </a:lnTo>
                    <a:lnTo>
                      <a:pt x="161" y="309"/>
                    </a:lnTo>
                    <a:lnTo>
                      <a:pt x="174" y="304"/>
                    </a:lnTo>
                    <a:lnTo>
                      <a:pt x="186" y="300"/>
                    </a:lnTo>
                    <a:lnTo>
                      <a:pt x="193" y="298"/>
                    </a:lnTo>
                    <a:lnTo>
                      <a:pt x="202" y="298"/>
                    </a:lnTo>
                    <a:lnTo>
                      <a:pt x="204" y="300"/>
                    </a:lnTo>
                    <a:lnTo>
                      <a:pt x="207" y="298"/>
                    </a:lnTo>
                    <a:lnTo>
                      <a:pt x="208" y="298"/>
                    </a:lnTo>
                    <a:lnTo>
                      <a:pt x="212" y="298"/>
                    </a:lnTo>
                    <a:lnTo>
                      <a:pt x="215" y="298"/>
                    </a:lnTo>
                    <a:lnTo>
                      <a:pt x="218" y="301"/>
                    </a:lnTo>
                    <a:lnTo>
                      <a:pt x="221" y="304"/>
                    </a:lnTo>
                    <a:lnTo>
                      <a:pt x="224" y="306"/>
                    </a:lnTo>
                    <a:lnTo>
                      <a:pt x="226" y="304"/>
                    </a:lnTo>
                    <a:lnTo>
                      <a:pt x="228" y="304"/>
                    </a:lnTo>
                    <a:lnTo>
                      <a:pt x="228" y="304"/>
                    </a:lnTo>
                    <a:lnTo>
                      <a:pt x="231" y="306"/>
                    </a:lnTo>
                    <a:lnTo>
                      <a:pt x="234" y="308"/>
                    </a:lnTo>
                    <a:lnTo>
                      <a:pt x="239" y="308"/>
                    </a:lnTo>
                    <a:lnTo>
                      <a:pt x="240" y="311"/>
                    </a:lnTo>
                    <a:lnTo>
                      <a:pt x="239" y="312"/>
                    </a:lnTo>
                    <a:lnTo>
                      <a:pt x="240" y="312"/>
                    </a:lnTo>
                    <a:lnTo>
                      <a:pt x="243" y="312"/>
                    </a:lnTo>
                    <a:lnTo>
                      <a:pt x="243" y="316"/>
                    </a:lnTo>
                    <a:lnTo>
                      <a:pt x="242" y="317"/>
                    </a:lnTo>
                    <a:lnTo>
                      <a:pt x="242" y="316"/>
                    </a:lnTo>
                    <a:lnTo>
                      <a:pt x="240" y="316"/>
                    </a:lnTo>
                    <a:lnTo>
                      <a:pt x="239" y="319"/>
                    </a:lnTo>
                    <a:lnTo>
                      <a:pt x="240" y="322"/>
                    </a:lnTo>
                    <a:lnTo>
                      <a:pt x="242" y="322"/>
                    </a:lnTo>
                    <a:lnTo>
                      <a:pt x="243" y="322"/>
                    </a:lnTo>
                    <a:lnTo>
                      <a:pt x="245" y="322"/>
                    </a:lnTo>
                    <a:lnTo>
                      <a:pt x="245" y="322"/>
                    </a:lnTo>
                    <a:lnTo>
                      <a:pt x="245" y="325"/>
                    </a:lnTo>
                    <a:lnTo>
                      <a:pt x="245" y="325"/>
                    </a:lnTo>
                    <a:lnTo>
                      <a:pt x="245" y="328"/>
                    </a:lnTo>
                    <a:lnTo>
                      <a:pt x="245" y="328"/>
                    </a:lnTo>
                    <a:lnTo>
                      <a:pt x="245" y="331"/>
                    </a:lnTo>
                    <a:lnTo>
                      <a:pt x="247" y="333"/>
                    </a:lnTo>
                    <a:lnTo>
                      <a:pt x="247" y="341"/>
                    </a:lnTo>
                    <a:lnTo>
                      <a:pt x="245" y="343"/>
                    </a:lnTo>
                    <a:lnTo>
                      <a:pt x="243" y="341"/>
                    </a:lnTo>
                    <a:lnTo>
                      <a:pt x="242" y="343"/>
                    </a:lnTo>
                    <a:lnTo>
                      <a:pt x="243" y="343"/>
                    </a:lnTo>
                    <a:lnTo>
                      <a:pt x="245" y="343"/>
                    </a:lnTo>
                    <a:lnTo>
                      <a:pt x="245" y="346"/>
                    </a:lnTo>
                    <a:lnTo>
                      <a:pt x="248" y="346"/>
                    </a:lnTo>
                    <a:lnTo>
                      <a:pt x="250" y="349"/>
                    </a:lnTo>
                    <a:lnTo>
                      <a:pt x="253" y="346"/>
                    </a:lnTo>
                    <a:lnTo>
                      <a:pt x="250" y="346"/>
                    </a:lnTo>
                    <a:lnTo>
                      <a:pt x="251" y="343"/>
                    </a:lnTo>
                    <a:lnTo>
                      <a:pt x="253" y="343"/>
                    </a:lnTo>
                    <a:lnTo>
                      <a:pt x="255" y="341"/>
                    </a:lnTo>
                    <a:lnTo>
                      <a:pt x="256" y="339"/>
                    </a:lnTo>
                    <a:lnTo>
                      <a:pt x="258" y="338"/>
                    </a:lnTo>
                    <a:lnTo>
                      <a:pt x="261" y="335"/>
                    </a:lnTo>
                    <a:lnTo>
                      <a:pt x="264" y="333"/>
                    </a:lnTo>
                    <a:lnTo>
                      <a:pt x="269" y="328"/>
                    </a:lnTo>
                    <a:lnTo>
                      <a:pt x="272" y="331"/>
                    </a:lnTo>
                    <a:lnTo>
                      <a:pt x="274" y="328"/>
                    </a:lnTo>
                    <a:lnTo>
                      <a:pt x="278" y="322"/>
                    </a:lnTo>
                    <a:lnTo>
                      <a:pt x="281" y="320"/>
                    </a:lnTo>
                    <a:lnTo>
                      <a:pt x="283" y="317"/>
                    </a:lnTo>
                    <a:lnTo>
                      <a:pt x="286" y="314"/>
                    </a:lnTo>
                    <a:lnTo>
                      <a:pt x="286" y="316"/>
                    </a:lnTo>
                    <a:lnTo>
                      <a:pt x="286" y="319"/>
                    </a:lnTo>
                    <a:lnTo>
                      <a:pt x="286" y="322"/>
                    </a:lnTo>
                    <a:lnTo>
                      <a:pt x="283" y="322"/>
                    </a:lnTo>
                    <a:lnTo>
                      <a:pt x="283" y="322"/>
                    </a:lnTo>
                    <a:lnTo>
                      <a:pt x="283" y="328"/>
                    </a:lnTo>
                    <a:lnTo>
                      <a:pt x="281" y="328"/>
                    </a:lnTo>
                    <a:lnTo>
                      <a:pt x="280" y="328"/>
                    </a:lnTo>
                    <a:lnTo>
                      <a:pt x="275" y="335"/>
                    </a:lnTo>
                    <a:lnTo>
                      <a:pt x="274" y="338"/>
                    </a:lnTo>
                    <a:lnTo>
                      <a:pt x="272" y="341"/>
                    </a:lnTo>
                    <a:lnTo>
                      <a:pt x="270" y="343"/>
                    </a:lnTo>
                    <a:lnTo>
                      <a:pt x="269" y="346"/>
                    </a:lnTo>
                    <a:lnTo>
                      <a:pt x="267" y="346"/>
                    </a:lnTo>
                    <a:lnTo>
                      <a:pt x="264" y="346"/>
                    </a:lnTo>
                    <a:lnTo>
                      <a:pt x="262" y="346"/>
                    </a:lnTo>
                    <a:lnTo>
                      <a:pt x="261" y="349"/>
                    </a:lnTo>
                    <a:lnTo>
                      <a:pt x="258" y="352"/>
                    </a:lnTo>
                    <a:lnTo>
                      <a:pt x="262" y="352"/>
                    </a:lnTo>
                    <a:lnTo>
                      <a:pt x="266" y="349"/>
                    </a:lnTo>
                    <a:lnTo>
                      <a:pt x="269" y="349"/>
                    </a:lnTo>
                    <a:lnTo>
                      <a:pt x="270" y="349"/>
                    </a:lnTo>
                    <a:lnTo>
                      <a:pt x="275" y="341"/>
                    </a:lnTo>
                    <a:lnTo>
                      <a:pt x="278" y="338"/>
                    </a:lnTo>
                    <a:lnTo>
                      <a:pt x="281" y="336"/>
                    </a:lnTo>
                    <a:lnTo>
                      <a:pt x="281" y="343"/>
                    </a:lnTo>
                    <a:lnTo>
                      <a:pt x="280" y="349"/>
                    </a:lnTo>
                    <a:lnTo>
                      <a:pt x="278" y="352"/>
                    </a:lnTo>
                    <a:lnTo>
                      <a:pt x="277" y="352"/>
                    </a:lnTo>
                    <a:lnTo>
                      <a:pt x="274" y="355"/>
                    </a:lnTo>
                    <a:lnTo>
                      <a:pt x="270" y="357"/>
                    </a:lnTo>
                    <a:lnTo>
                      <a:pt x="274" y="357"/>
                    </a:lnTo>
                    <a:lnTo>
                      <a:pt x="277" y="357"/>
                    </a:lnTo>
                    <a:lnTo>
                      <a:pt x="281" y="355"/>
                    </a:lnTo>
                    <a:lnTo>
                      <a:pt x="283" y="355"/>
                    </a:lnTo>
                    <a:lnTo>
                      <a:pt x="283" y="354"/>
                    </a:lnTo>
                    <a:lnTo>
                      <a:pt x="283" y="352"/>
                    </a:lnTo>
                    <a:lnTo>
                      <a:pt x="286" y="352"/>
                    </a:lnTo>
                    <a:lnTo>
                      <a:pt x="286" y="354"/>
                    </a:lnTo>
                    <a:lnTo>
                      <a:pt x="286" y="355"/>
                    </a:lnTo>
                    <a:lnTo>
                      <a:pt x="286" y="357"/>
                    </a:lnTo>
                    <a:lnTo>
                      <a:pt x="283" y="358"/>
                    </a:lnTo>
                    <a:lnTo>
                      <a:pt x="286" y="362"/>
                    </a:lnTo>
                    <a:lnTo>
                      <a:pt x="286" y="363"/>
                    </a:lnTo>
                    <a:lnTo>
                      <a:pt x="285" y="362"/>
                    </a:lnTo>
                    <a:lnTo>
                      <a:pt x="286" y="366"/>
                    </a:lnTo>
                    <a:lnTo>
                      <a:pt x="286" y="368"/>
                    </a:lnTo>
                    <a:lnTo>
                      <a:pt x="286" y="371"/>
                    </a:lnTo>
                    <a:lnTo>
                      <a:pt x="283" y="376"/>
                    </a:lnTo>
                    <a:lnTo>
                      <a:pt x="281" y="377"/>
                    </a:lnTo>
                    <a:lnTo>
                      <a:pt x="281" y="381"/>
                    </a:lnTo>
                    <a:lnTo>
                      <a:pt x="281" y="384"/>
                    </a:lnTo>
                    <a:lnTo>
                      <a:pt x="283" y="384"/>
                    </a:lnTo>
                    <a:lnTo>
                      <a:pt x="283" y="387"/>
                    </a:lnTo>
                    <a:lnTo>
                      <a:pt x="283" y="390"/>
                    </a:lnTo>
                    <a:lnTo>
                      <a:pt x="289" y="393"/>
                    </a:lnTo>
                    <a:lnTo>
                      <a:pt x="293" y="395"/>
                    </a:lnTo>
                    <a:lnTo>
                      <a:pt x="293" y="397"/>
                    </a:lnTo>
                    <a:lnTo>
                      <a:pt x="293" y="397"/>
                    </a:lnTo>
                    <a:lnTo>
                      <a:pt x="296" y="395"/>
                    </a:lnTo>
                    <a:lnTo>
                      <a:pt x="299" y="397"/>
                    </a:lnTo>
                    <a:lnTo>
                      <a:pt x="301" y="397"/>
                    </a:lnTo>
                    <a:lnTo>
                      <a:pt x="304" y="397"/>
                    </a:lnTo>
                    <a:lnTo>
                      <a:pt x="307" y="398"/>
                    </a:lnTo>
                    <a:lnTo>
                      <a:pt x="310" y="401"/>
                    </a:lnTo>
                    <a:lnTo>
                      <a:pt x="313" y="403"/>
                    </a:lnTo>
                    <a:lnTo>
                      <a:pt x="313" y="403"/>
                    </a:lnTo>
                    <a:lnTo>
                      <a:pt x="320" y="400"/>
                    </a:lnTo>
                    <a:lnTo>
                      <a:pt x="326" y="397"/>
                    </a:lnTo>
                    <a:lnTo>
                      <a:pt x="328" y="395"/>
                    </a:lnTo>
                    <a:lnTo>
                      <a:pt x="331" y="393"/>
                    </a:lnTo>
                    <a:lnTo>
                      <a:pt x="331" y="393"/>
                    </a:lnTo>
                    <a:lnTo>
                      <a:pt x="328" y="393"/>
                    </a:lnTo>
                    <a:lnTo>
                      <a:pt x="331" y="390"/>
                    </a:lnTo>
                    <a:lnTo>
                      <a:pt x="337" y="389"/>
                    </a:lnTo>
                    <a:lnTo>
                      <a:pt x="337" y="392"/>
                    </a:lnTo>
                    <a:lnTo>
                      <a:pt x="334" y="395"/>
                    </a:lnTo>
                    <a:lnTo>
                      <a:pt x="334" y="397"/>
                    </a:lnTo>
                    <a:lnTo>
                      <a:pt x="331" y="397"/>
                    </a:lnTo>
                    <a:lnTo>
                      <a:pt x="331" y="397"/>
                    </a:lnTo>
                    <a:lnTo>
                      <a:pt x="331" y="398"/>
                    </a:lnTo>
                    <a:lnTo>
                      <a:pt x="334" y="397"/>
                    </a:lnTo>
                    <a:lnTo>
                      <a:pt x="337" y="395"/>
                    </a:lnTo>
                    <a:lnTo>
                      <a:pt x="339" y="395"/>
                    </a:lnTo>
                    <a:lnTo>
                      <a:pt x="337" y="398"/>
                    </a:lnTo>
                    <a:lnTo>
                      <a:pt x="337" y="400"/>
                    </a:lnTo>
                    <a:lnTo>
                      <a:pt x="339" y="401"/>
                    </a:lnTo>
                    <a:lnTo>
                      <a:pt x="340" y="401"/>
                    </a:lnTo>
                    <a:lnTo>
                      <a:pt x="340" y="404"/>
                    </a:lnTo>
                    <a:lnTo>
                      <a:pt x="342" y="404"/>
                    </a:lnTo>
                    <a:lnTo>
                      <a:pt x="343" y="404"/>
                    </a:lnTo>
                    <a:lnTo>
                      <a:pt x="343" y="406"/>
                    </a:lnTo>
                    <a:lnTo>
                      <a:pt x="343" y="408"/>
                    </a:lnTo>
                    <a:lnTo>
                      <a:pt x="345" y="406"/>
                    </a:lnTo>
                    <a:lnTo>
                      <a:pt x="347" y="403"/>
                    </a:lnTo>
                    <a:lnTo>
                      <a:pt x="345" y="404"/>
                    </a:lnTo>
                    <a:lnTo>
                      <a:pt x="345" y="403"/>
                    </a:lnTo>
                    <a:lnTo>
                      <a:pt x="348" y="401"/>
                    </a:lnTo>
                    <a:lnTo>
                      <a:pt x="353" y="401"/>
                    </a:lnTo>
                    <a:lnTo>
                      <a:pt x="358" y="398"/>
                    </a:lnTo>
                    <a:lnTo>
                      <a:pt x="366" y="392"/>
                    </a:lnTo>
                    <a:lnTo>
                      <a:pt x="372" y="390"/>
                    </a:lnTo>
                    <a:lnTo>
                      <a:pt x="377" y="389"/>
                    </a:lnTo>
                    <a:lnTo>
                      <a:pt x="388" y="389"/>
                    </a:lnTo>
                    <a:lnTo>
                      <a:pt x="393" y="387"/>
                    </a:lnTo>
                    <a:lnTo>
                      <a:pt x="396" y="384"/>
                    </a:lnTo>
                    <a:lnTo>
                      <a:pt x="397" y="384"/>
                    </a:lnTo>
                    <a:lnTo>
                      <a:pt x="397" y="384"/>
                    </a:lnTo>
                    <a:lnTo>
                      <a:pt x="401" y="384"/>
                    </a:lnTo>
                    <a:lnTo>
                      <a:pt x="401" y="381"/>
                    </a:lnTo>
                    <a:lnTo>
                      <a:pt x="401" y="377"/>
                    </a:lnTo>
                    <a:lnTo>
                      <a:pt x="404" y="376"/>
                    </a:lnTo>
                    <a:lnTo>
                      <a:pt x="407" y="373"/>
                    </a:lnTo>
                    <a:lnTo>
                      <a:pt x="412" y="362"/>
                    </a:lnTo>
                    <a:lnTo>
                      <a:pt x="421" y="352"/>
                    </a:lnTo>
                    <a:lnTo>
                      <a:pt x="424" y="352"/>
                    </a:lnTo>
                    <a:lnTo>
                      <a:pt x="426" y="349"/>
                    </a:lnTo>
                    <a:lnTo>
                      <a:pt x="426" y="349"/>
                    </a:lnTo>
                    <a:lnTo>
                      <a:pt x="428" y="349"/>
                    </a:lnTo>
                    <a:lnTo>
                      <a:pt x="428" y="349"/>
                    </a:lnTo>
                    <a:lnTo>
                      <a:pt x="428" y="346"/>
                    </a:lnTo>
                    <a:lnTo>
                      <a:pt x="431" y="343"/>
                    </a:lnTo>
                    <a:lnTo>
                      <a:pt x="431" y="341"/>
                    </a:lnTo>
                    <a:lnTo>
                      <a:pt x="432" y="341"/>
                    </a:lnTo>
                    <a:lnTo>
                      <a:pt x="435" y="338"/>
                    </a:lnTo>
                    <a:lnTo>
                      <a:pt x="439" y="335"/>
                    </a:lnTo>
                    <a:lnTo>
                      <a:pt x="442" y="333"/>
                    </a:lnTo>
                    <a:lnTo>
                      <a:pt x="442" y="328"/>
                    </a:lnTo>
                    <a:lnTo>
                      <a:pt x="442" y="328"/>
                    </a:lnTo>
                    <a:lnTo>
                      <a:pt x="443" y="328"/>
                    </a:lnTo>
                    <a:lnTo>
                      <a:pt x="445" y="325"/>
                    </a:lnTo>
                    <a:lnTo>
                      <a:pt x="450" y="322"/>
                    </a:lnTo>
                    <a:lnTo>
                      <a:pt x="451" y="320"/>
                    </a:lnTo>
                    <a:lnTo>
                      <a:pt x="455" y="317"/>
                    </a:lnTo>
                    <a:lnTo>
                      <a:pt x="458" y="317"/>
                    </a:lnTo>
                    <a:lnTo>
                      <a:pt x="459" y="316"/>
                    </a:lnTo>
                    <a:lnTo>
                      <a:pt x="458" y="316"/>
                    </a:lnTo>
                    <a:lnTo>
                      <a:pt x="459" y="314"/>
                    </a:lnTo>
                    <a:lnTo>
                      <a:pt x="462" y="312"/>
                    </a:lnTo>
                    <a:lnTo>
                      <a:pt x="464" y="312"/>
                    </a:lnTo>
                    <a:lnTo>
                      <a:pt x="466" y="306"/>
                    </a:lnTo>
                    <a:lnTo>
                      <a:pt x="469" y="303"/>
                    </a:lnTo>
                    <a:lnTo>
                      <a:pt x="472" y="301"/>
                    </a:lnTo>
                    <a:lnTo>
                      <a:pt x="477" y="296"/>
                    </a:lnTo>
                    <a:lnTo>
                      <a:pt x="480" y="287"/>
                    </a:lnTo>
                    <a:lnTo>
                      <a:pt x="485" y="282"/>
                    </a:lnTo>
                    <a:lnTo>
                      <a:pt x="488" y="274"/>
                    </a:lnTo>
                    <a:lnTo>
                      <a:pt x="494" y="265"/>
                    </a:lnTo>
                    <a:lnTo>
                      <a:pt x="497" y="258"/>
                    </a:lnTo>
                    <a:lnTo>
                      <a:pt x="501" y="252"/>
                    </a:lnTo>
                    <a:lnTo>
                      <a:pt x="499" y="249"/>
                    </a:lnTo>
                    <a:lnTo>
                      <a:pt x="501" y="246"/>
                    </a:lnTo>
                    <a:lnTo>
                      <a:pt x="501" y="243"/>
                    </a:lnTo>
                    <a:lnTo>
                      <a:pt x="499" y="239"/>
                    </a:lnTo>
                    <a:lnTo>
                      <a:pt x="499" y="236"/>
                    </a:lnTo>
                    <a:lnTo>
                      <a:pt x="501" y="235"/>
                    </a:lnTo>
                    <a:lnTo>
                      <a:pt x="502" y="231"/>
                    </a:lnTo>
                    <a:lnTo>
                      <a:pt x="502" y="230"/>
                    </a:lnTo>
                    <a:lnTo>
                      <a:pt x="504" y="220"/>
                    </a:lnTo>
                    <a:lnTo>
                      <a:pt x="505" y="220"/>
                    </a:lnTo>
                    <a:lnTo>
                      <a:pt x="507" y="217"/>
                    </a:lnTo>
                    <a:lnTo>
                      <a:pt x="505" y="217"/>
                    </a:lnTo>
                    <a:lnTo>
                      <a:pt x="505" y="217"/>
                    </a:lnTo>
                    <a:lnTo>
                      <a:pt x="505" y="217"/>
                    </a:lnTo>
                    <a:lnTo>
                      <a:pt x="505" y="217"/>
                    </a:lnTo>
                    <a:lnTo>
                      <a:pt x="505" y="217"/>
                    </a:lnTo>
                    <a:lnTo>
                      <a:pt x="505" y="217"/>
                    </a:lnTo>
                    <a:lnTo>
                      <a:pt x="505" y="217"/>
                    </a:lnTo>
                    <a:lnTo>
                      <a:pt x="505" y="217"/>
                    </a:lnTo>
                    <a:lnTo>
                      <a:pt x="505" y="217"/>
                    </a:lnTo>
                    <a:close/>
                    <a:moveTo>
                      <a:pt x="283" y="358"/>
                    </a:moveTo>
                    <a:lnTo>
                      <a:pt x="283" y="355"/>
                    </a:lnTo>
                    <a:lnTo>
                      <a:pt x="283" y="355"/>
                    </a:lnTo>
                    <a:lnTo>
                      <a:pt x="283" y="357"/>
                    </a:lnTo>
                    <a:lnTo>
                      <a:pt x="283" y="358"/>
                    </a:lnTo>
                    <a:lnTo>
                      <a:pt x="283" y="358"/>
                    </a:lnTo>
                    <a:lnTo>
                      <a:pt x="283" y="358"/>
                    </a:lnTo>
                    <a:lnTo>
                      <a:pt x="283" y="358"/>
                    </a:lnTo>
                    <a:lnTo>
                      <a:pt x="283" y="358"/>
                    </a:lnTo>
                    <a:lnTo>
                      <a:pt x="283" y="358"/>
                    </a:lnTo>
                    <a:lnTo>
                      <a:pt x="283" y="358"/>
                    </a:lnTo>
                    <a:lnTo>
                      <a:pt x="283" y="358"/>
                    </a:lnTo>
                    <a:lnTo>
                      <a:pt x="283" y="358"/>
                    </a:lnTo>
                    <a:close/>
                    <a:moveTo>
                      <a:pt x="328" y="14"/>
                    </a:moveTo>
                    <a:lnTo>
                      <a:pt x="328" y="15"/>
                    </a:lnTo>
                    <a:lnTo>
                      <a:pt x="331" y="14"/>
                    </a:lnTo>
                    <a:lnTo>
                      <a:pt x="328" y="14"/>
                    </a:lnTo>
                    <a:lnTo>
                      <a:pt x="328" y="14"/>
                    </a:lnTo>
                    <a:lnTo>
                      <a:pt x="328" y="14"/>
                    </a:lnTo>
                    <a:lnTo>
                      <a:pt x="328" y="14"/>
                    </a:lnTo>
                    <a:lnTo>
                      <a:pt x="328" y="14"/>
                    </a:lnTo>
                    <a:lnTo>
                      <a:pt x="328" y="14"/>
                    </a:lnTo>
                    <a:lnTo>
                      <a:pt x="328" y="14"/>
                    </a:lnTo>
                    <a:lnTo>
                      <a:pt x="328" y="14"/>
                    </a:lnTo>
                    <a:lnTo>
                      <a:pt x="328" y="1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04" name="Freeform 251">
                <a:extLst>
                  <a:ext uri="{FF2B5EF4-FFF2-40B4-BE49-F238E27FC236}">
                    <a16:creationId xmlns:a16="http://schemas.microsoft.com/office/drawing/2014/main" id="{D59320B6-90DB-6B51-768A-300499B8E444}"/>
                  </a:ext>
                </a:extLst>
              </p:cNvPr>
              <p:cNvSpPr>
                <a:spLocks noEditPoints="1"/>
              </p:cNvSpPr>
              <p:nvPr/>
            </p:nvSpPr>
            <p:spPr bwMode="auto">
              <a:xfrm>
                <a:off x="9775297" y="4092401"/>
                <a:ext cx="435156" cy="309544"/>
              </a:xfrm>
              <a:custGeom>
                <a:avLst/>
                <a:gdLst>
                  <a:gd name="T0" fmla="*/ 112 w 194"/>
                  <a:gd name="T1" fmla="*/ 111 h 138"/>
                  <a:gd name="T2" fmla="*/ 102 w 194"/>
                  <a:gd name="T3" fmla="*/ 103 h 138"/>
                  <a:gd name="T4" fmla="*/ 94 w 194"/>
                  <a:gd name="T5" fmla="*/ 87 h 138"/>
                  <a:gd name="T6" fmla="*/ 86 w 194"/>
                  <a:gd name="T7" fmla="*/ 69 h 138"/>
                  <a:gd name="T8" fmla="*/ 83 w 194"/>
                  <a:gd name="T9" fmla="*/ 57 h 138"/>
                  <a:gd name="T10" fmla="*/ 65 w 194"/>
                  <a:gd name="T11" fmla="*/ 44 h 138"/>
                  <a:gd name="T12" fmla="*/ 51 w 194"/>
                  <a:gd name="T13" fmla="*/ 28 h 138"/>
                  <a:gd name="T14" fmla="*/ 31 w 194"/>
                  <a:gd name="T15" fmla="*/ 19 h 138"/>
                  <a:gd name="T16" fmla="*/ 4 w 194"/>
                  <a:gd name="T17" fmla="*/ 71 h 138"/>
                  <a:gd name="T18" fmla="*/ 10 w 194"/>
                  <a:gd name="T19" fmla="*/ 104 h 138"/>
                  <a:gd name="T20" fmla="*/ 32 w 194"/>
                  <a:gd name="T21" fmla="*/ 98 h 138"/>
                  <a:gd name="T22" fmla="*/ 19 w 194"/>
                  <a:gd name="T23" fmla="*/ 90 h 138"/>
                  <a:gd name="T24" fmla="*/ 35 w 194"/>
                  <a:gd name="T25" fmla="*/ 89 h 138"/>
                  <a:gd name="T26" fmla="*/ 42 w 194"/>
                  <a:gd name="T27" fmla="*/ 87 h 138"/>
                  <a:gd name="T28" fmla="*/ 46 w 194"/>
                  <a:gd name="T29" fmla="*/ 82 h 138"/>
                  <a:gd name="T30" fmla="*/ 54 w 194"/>
                  <a:gd name="T31" fmla="*/ 84 h 138"/>
                  <a:gd name="T32" fmla="*/ 72 w 194"/>
                  <a:gd name="T33" fmla="*/ 98 h 138"/>
                  <a:gd name="T34" fmla="*/ 81 w 194"/>
                  <a:gd name="T35" fmla="*/ 108 h 138"/>
                  <a:gd name="T36" fmla="*/ 91 w 194"/>
                  <a:gd name="T37" fmla="*/ 117 h 138"/>
                  <a:gd name="T38" fmla="*/ 112 w 194"/>
                  <a:gd name="T39" fmla="*/ 120 h 138"/>
                  <a:gd name="T40" fmla="*/ 119 w 194"/>
                  <a:gd name="T41" fmla="*/ 125 h 138"/>
                  <a:gd name="T42" fmla="*/ 126 w 194"/>
                  <a:gd name="T43" fmla="*/ 119 h 138"/>
                  <a:gd name="T44" fmla="*/ 119 w 194"/>
                  <a:gd name="T45" fmla="*/ 117 h 138"/>
                  <a:gd name="T46" fmla="*/ 94 w 194"/>
                  <a:gd name="T47" fmla="*/ 50 h 138"/>
                  <a:gd name="T48" fmla="*/ 94 w 194"/>
                  <a:gd name="T49" fmla="*/ 55 h 138"/>
                  <a:gd name="T50" fmla="*/ 148 w 194"/>
                  <a:gd name="T51" fmla="*/ 44 h 138"/>
                  <a:gd name="T52" fmla="*/ 146 w 194"/>
                  <a:gd name="T53" fmla="*/ 33 h 138"/>
                  <a:gd name="T54" fmla="*/ 143 w 194"/>
                  <a:gd name="T55" fmla="*/ 41 h 138"/>
                  <a:gd name="T56" fmla="*/ 127 w 194"/>
                  <a:gd name="T57" fmla="*/ 50 h 138"/>
                  <a:gd name="T58" fmla="*/ 123 w 194"/>
                  <a:gd name="T59" fmla="*/ 44 h 138"/>
                  <a:gd name="T60" fmla="*/ 108 w 194"/>
                  <a:gd name="T61" fmla="*/ 50 h 138"/>
                  <a:gd name="T62" fmla="*/ 97 w 194"/>
                  <a:gd name="T63" fmla="*/ 54 h 138"/>
                  <a:gd name="T64" fmla="*/ 113 w 194"/>
                  <a:gd name="T65" fmla="*/ 62 h 138"/>
                  <a:gd name="T66" fmla="*/ 137 w 194"/>
                  <a:gd name="T67" fmla="*/ 54 h 138"/>
                  <a:gd name="T68" fmla="*/ 146 w 194"/>
                  <a:gd name="T69" fmla="*/ 44 h 138"/>
                  <a:gd name="T70" fmla="*/ 146 w 194"/>
                  <a:gd name="T71" fmla="*/ 44 h 138"/>
                  <a:gd name="T72" fmla="*/ 119 w 194"/>
                  <a:gd name="T73" fmla="*/ 108 h 138"/>
                  <a:gd name="T74" fmla="*/ 119 w 194"/>
                  <a:gd name="T75" fmla="*/ 106 h 138"/>
                  <a:gd name="T76" fmla="*/ 123 w 194"/>
                  <a:gd name="T77" fmla="*/ 111 h 138"/>
                  <a:gd name="T78" fmla="*/ 123 w 194"/>
                  <a:gd name="T79" fmla="*/ 108 h 138"/>
                  <a:gd name="T80" fmla="*/ 127 w 194"/>
                  <a:gd name="T81" fmla="*/ 9 h 138"/>
                  <a:gd name="T82" fmla="*/ 126 w 194"/>
                  <a:gd name="T83" fmla="*/ 9 h 138"/>
                  <a:gd name="T84" fmla="*/ 126 w 194"/>
                  <a:gd name="T85" fmla="*/ 9 h 138"/>
                  <a:gd name="T86" fmla="*/ 146 w 194"/>
                  <a:gd name="T87" fmla="*/ 17 h 138"/>
                  <a:gd name="T88" fmla="*/ 134 w 194"/>
                  <a:gd name="T89" fmla="*/ 9 h 138"/>
                  <a:gd name="T90" fmla="*/ 154 w 194"/>
                  <a:gd name="T91" fmla="*/ 31 h 138"/>
                  <a:gd name="T92" fmla="*/ 158 w 194"/>
                  <a:gd name="T93" fmla="*/ 28 h 138"/>
                  <a:gd name="T94" fmla="*/ 158 w 194"/>
                  <a:gd name="T95" fmla="*/ 27 h 138"/>
                  <a:gd name="T96" fmla="*/ 153 w 194"/>
                  <a:gd name="T97" fmla="*/ 104 h 138"/>
                  <a:gd name="T98" fmla="*/ 153 w 194"/>
                  <a:gd name="T99" fmla="*/ 103 h 138"/>
                  <a:gd name="T100" fmla="*/ 159 w 194"/>
                  <a:gd name="T101" fmla="*/ 138 h 138"/>
                  <a:gd name="T102" fmla="*/ 153 w 194"/>
                  <a:gd name="T103" fmla="*/ 135 h 138"/>
                  <a:gd name="T104" fmla="*/ 185 w 194"/>
                  <a:gd name="T105" fmla="*/ 54 h 138"/>
                  <a:gd name="T106" fmla="*/ 185 w 194"/>
                  <a:gd name="T107" fmla="*/ 62 h 138"/>
                  <a:gd name="T108" fmla="*/ 194 w 194"/>
                  <a:gd name="T109" fmla="*/ 68 h 138"/>
                  <a:gd name="T110" fmla="*/ 193 w 194"/>
                  <a:gd name="T111" fmla="*/ 63 h 138"/>
                  <a:gd name="T112" fmla="*/ 81 w 194"/>
                  <a:gd name="T113" fmla="*/ 0 h 138"/>
                  <a:gd name="T114" fmla="*/ 83 w 194"/>
                  <a:gd name="T115" fmla="*/ 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4" h="138">
                    <a:moveTo>
                      <a:pt x="119" y="117"/>
                    </a:moveTo>
                    <a:lnTo>
                      <a:pt x="113" y="115"/>
                    </a:lnTo>
                    <a:lnTo>
                      <a:pt x="112" y="112"/>
                    </a:lnTo>
                    <a:lnTo>
                      <a:pt x="113" y="112"/>
                    </a:lnTo>
                    <a:lnTo>
                      <a:pt x="116" y="111"/>
                    </a:lnTo>
                    <a:lnTo>
                      <a:pt x="113" y="111"/>
                    </a:lnTo>
                    <a:lnTo>
                      <a:pt x="112" y="111"/>
                    </a:lnTo>
                    <a:lnTo>
                      <a:pt x="108" y="111"/>
                    </a:lnTo>
                    <a:lnTo>
                      <a:pt x="105" y="108"/>
                    </a:lnTo>
                    <a:lnTo>
                      <a:pt x="105" y="108"/>
                    </a:lnTo>
                    <a:lnTo>
                      <a:pt x="105" y="104"/>
                    </a:lnTo>
                    <a:lnTo>
                      <a:pt x="108" y="103"/>
                    </a:lnTo>
                    <a:lnTo>
                      <a:pt x="105" y="101"/>
                    </a:lnTo>
                    <a:lnTo>
                      <a:pt x="102" y="103"/>
                    </a:lnTo>
                    <a:lnTo>
                      <a:pt x="100" y="103"/>
                    </a:lnTo>
                    <a:lnTo>
                      <a:pt x="97" y="103"/>
                    </a:lnTo>
                    <a:lnTo>
                      <a:pt x="97" y="100"/>
                    </a:lnTo>
                    <a:lnTo>
                      <a:pt x="97" y="98"/>
                    </a:lnTo>
                    <a:lnTo>
                      <a:pt x="94" y="96"/>
                    </a:lnTo>
                    <a:lnTo>
                      <a:pt x="94" y="95"/>
                    </a:lnTo>
                    <a:lnTo>
                      <a:pt x="94" y="87"/>
                    </a:lnTo>
                    <a:lnTo>
                      <a:pt x="91" y="87"/>
                    </a:lnTo>
                    <a:lnTo>
                      <a:pt x="88" y="84"/>
                    </a:lnTo>
                    <a:lnTo>
                      <a:pt x="83" y="79"/>
                    </a:lnTo>
                    <a:lnTo>
                      <a:pt x="80" y="73"/>
                    </a:lnTo>
                    <a:lnTo>
                      <a:pt x="80" y="69"/>
                    </a:lnTo>
                    <a:lnTo>
                      <a:pt x="81" y="68"/>
                    </a:lnTo>
                    <a:lnTo>
                      <a:pt x="86" y="69"/>
                    </a:lnTo>
                    <a:lnTo>
                      <a:pt x="89" y="69"/>
                    </a:lnTo>
                    <a:lnTo>
                      <a:pt x="91" y="68"/>
                    </a:lnTo>
                    <a:lnTo>
                      <a:pt x="91" y="65"/>
                    </a:lnTo>
                    <a:lnTo>
                      <a:pt x="91" y="62"/>
                    </a:lnTo>
                    <a:lnTo>
                      <a:pt x="88" y="58"/>
                    </a:lnTo>
                    <a:lnTo>
                      <a:pt x="86" y="57"/>
                    </a:lnTo>
                    <a:lnTo>
                      <a:pt x="83" y="57"/>
                    </a:lnTo>
                    <a:lnTo>
                      <a:pt x="80" y="55"/>
                    </a:lnTo>
                    <a:lnTo>
                      <a:pt x="73" y="52"/>
                    </a:lnTo>
                    <a:lnTo>
                      <a:pt x="69" y="50"/>
                    </a:lnTo>
                    <a:lnTo>
                      <a:pt x="65" y="50"/>
                    </a:lnTo>
                    <a:lnTo>
                      <a:pt x="65" y="47"/>
                    </a:lnTo>
                    <a:lnTo>
                      <a:pt x="65" y="47"/>
                    </a:lnTo>
                    <a:lnTo>
                      <a:pt x="65" y="44"/>
                    </a:lnTo>
                    <a:lnTo>
                      <a:pt x="65" y="38"/>
                    </a:lnTo>
                    <a:lnTo>
                      <a:pt x="62" y="36"/>
                    </a:lnTo>
                    <a:lnTo>
                      <a:pt x="61" y="36"/>
                    </a:lnTo>
                    <a:lnTo>
                      <a:pt x="58" y="35"/>
                    </a:lnTo>
                    <a:lnTo>
                      <a:pt x="56" y="31"/>
                    </a:lnTo>
                    <a:lnTo>
                      <a:pt x="53" y="30"/>
                    </a:lnTo>
                    <a:lnTo>
                      <a:pt x="51" y="28"/>
                    </a:lnTo>
                    <a:lnTo>
                      <a:pt x="50" y="27"/>
                    </a:lnTo>
                    <a:lnTo>
                      <a:pt x="46" y="27"/>
                    </a:lnTo>
                    <a:lnTo>
                      <a:pt x="45" y="27"/>
                    </a:lnTo>
                    <a:lnTo>
                      <a:pt x="42" y="23"/>
                    </a:lnTo>
                    <a:lnTo>
                      <a:pt x="38" y="20"/>
                    </a:lnTo>
                    <a:lnTo>
                      <a:pt x="34" y="19"/>
                    </a:lnTo>
                    <a:lnTo>
                      <a:pt x="31" y="19"/>
                    </a:lnTo>
                    <a:lnTo>
                      <a:pt x="23" y="15"/>
                    </a:lnTo>
                    <a:lnTo>
                      <a:pt x="15" y="12"/>
                    </a:lnTo>
                    <a:lnTo>
                      <a:pt x="7" y="9"/>
                    </a:lnTo>
                    <a:lnTo>
                      <a:pt x="7" y="9"/>
                    </a:lnTo>
                    <a:lnTo>
                      <a:pt x="4" y="62"/>
                    </a:lnTo>
                    <a:lnTo>
                      <a:pt x="4" y="68"/>
                    </a:lnTo>
                    <a:lnTo>
                      <a:pt x="4" y="71"/>
                    </a:lnTo>
                    <a:lnTo>
                      <a:pt x="4" y="73"/>
                    </a:lnTo>
                    <a:lnTo>
                      <a:pt x="0" y="103"/>
                    </a:lnTo>
                    <a:lnTo>
                      <a:pt x="4" y="104"/>
                    </a:lnTo>
                    <a:lnTo>
                      <a:pt x="4" y="104"/>
                    </a:lnTo>
                    <a:lnTo>
                      <a:pt x="7" y="104"/>
                    </a:lnTo>
                    <a:lnTo>
                      <a:pt x="7" y="104"/>
                    </a:lnTo>
                    <a:lnTo>
                      <a:pt x="10" y="104"/>
                    </a:lnTo>
                    <a:lnTo>
                      <a:pt x="15" y="104"/>
                    </a:lnTo>
                    <a:lnTo>
                      <a:pt x="18" y="106"/>
                    </a:lnTo>
                    <a:lnTo>
                      <a:pt x="23" y="106"/>
                    </a:lnTo>
                    <a:lnTo>
                      <a:pt x="26" y="104"/>
                    </a:lnTo>
                    <a:lnTo>
                      <a:pt x="29" y="103"/>
                    </a:lnTo>
                    <a:lnTo>
                      <a:pt x="32" y="100"/>
                    </a:lnTo>
                    <a:lnTo>
                      <a:pt x="32" y="98"/>
                    </a:lnTo>
                    <a:lnTo>
                      <a:pt x="31" y="95"/>
                    </a:lnTo>
                    <a:lnTo>
                      <a:pt x="27" y="93"/>
                    </a:lnTo>
                    <a:lnTo>
                      <a:pt x="26" y="92"/>
                    </a:lnTo>
                    <a:lnTo>
                      <a:pt x="23" y="92"/>
                    </a:lnTo>
                    <a:lnTo>
                      <a:pt x="21" y="92"/>
                    </a:lnTo>
                    <a:lnTo>
                      <a:pt x="19" y="92"/>
                    </a:lnTo>
                    <a:lnTo>
                      <a:pt x="19" y="90"/>
                    </a:lnTo>
                    <a:lnTo>
                      <a:pt x="21" y="92"/>
                    </a:lnTo>
                    <a:lnTo>
                      <a:pt x="23" y="90"/>
                    </a:lnTo>
                    <a:lnTo>
                      <a:pt x="26" y="92"/>
                    </a:lnTo>
                    <a:lnTo>
                      <a:pt x="29" y="92"/>
                    </a:lnTo>
                    <a:lnTo>
                      <a:pt x="31" y="90"/>
                    </a:lnTo>
                    <a:lnTo>
                      <a:pt x="35" y="90"/>
                    </a:lnTo>
                    <a:lnTo>
                      <a:pt x="35" y="89"/>
                    </a:lnTo>
                    <a:lnTo>
                      <a:pt x="35" y="87"/>
                    </a:lnTo>
                    <a:lnTo>
                      <a:pt x="34" y="85"/>
                    </a:lnTo>
                    <a:lnTo>
                      <a:pt x="35" y="87"/>
                    </a:lnTo>
                    <a:lnTo>
                      <a:pt x="38" y="89"/>
                    </a:lnTo>
                    <a:lnTo>
                      <a:pt x="38" y="87"/>
                    </a:lnTo>
                    <a:lnTo>
                      <a:pt x="38" y="85"/>
                    </a:lnTo>
                    <a:lnTo>
                      <a:pt x="42" y="87"/>
                    </a:lnTo>
                    <a:lnTo>
                      <a:pt x="38" y="82"/>
                    </a:lnTo>
                    <a:lnTo>
                      <a:pt x="35" y="79"/>
                    </a:lnTo>
                    <a:lnTo>
                      <a:pt x="42" y="82"/>
                    </a:lnTo>
                    <a:lnTo>
                      <a:pt x="45" y="84"/>
                    </a:lnTo>
                    <a:lnTo>
                      <a:pt x="45" y="82"/>
                    </a:lnTo>
                    <a:lnTo>
                      <a:pt x="45" y="82"/>
                    </a:lnTo>
                    <a:lnTo>
                      <a:pt x="46" y="82"/>
                    </a:lnTo>
                    <a:lnTo>
                      <a:pt x="46" y="82"/>
                    </a:lnTo>
                    <a:lnTo>
                      <a:pt x="48" y="79"/>
                    </a:lnTo>
                    <a:lnTo>
                      <a:pt x="48" y="82"/>
                    </a:lnTo>
                    <a:lnTo>
                      <a:pt x="50" y="82"/>
                    </a:lnTo>
                    <a:lnTo>
                      <a:pt x="51" y="82"/>
                    </a:lnTo>
                    <a:lnTo>
                      <a:pt x="53" y="82"/>
                    </a:lnTo>
                    <a:lnTo>
                      <a:pt x="54" y="84"/>
                    </a:lnTo>
                    <a:lnTo>
                      <a:pt x="61" y="85"/>
                    </a:lnTo>
                    <a:lnTo>
                      <a:pt x="62" y="85"/>
                    </a:lnTo>
                    <a:lnTo>
                      <a:pt x="62" y="85"/>
                    </a:lnTo>
                    <a:lnTo>
                      <a:pt x="65" y="87"/>
                    </a:lnTo>
                    <a:lnTo>
                      <a:pt x="67" y="89"/>
                    </a:lnTo>
                    <a:lnTo>
                      <a:pt x="69" y="92"/>
                    </a:lnTo>
                    <a:lnTo>
                      <a:pt x="72" y="98"/>
                    </a:lnTo>
                    <a:lnTo>
                      <a:pt x="72" y="101"/>
                    </a:lnTo>
                    <a:lnTo>
                      <a:pt x="73" y="103"/>
                    </a:lnTo>
                    <a:lnTo>
                      <a:pt x="77" y="103"/>
                    </a:lnTo>
                    <a:lnTo>
                      <a:pt x="77" y="106"/>
                    </a:lnTo>
                    <a:lnTo>
                      <a:pt x="77" y="108"/>
                    </a:lnTo>
                    <a:lnTo>
                      <a:pt x="80" y="108"/>
                    </a:lnTo>
                    <a:lnTo>
                      <a:pt x="81" y="108"/>
                    </a:lnTo>
                    <a:lnTo>
                      <a:pt x="83" y="112"/>
                    </a:lnTo>
                    <a:lnTo>
                      <a:pt x="83" y="114"/>
                    </a:lnTo>
                    <a:lnTo>
                      <a:pt x="85" y="117"/>
                    </a:lnTo>
                    <a:lnTo>
                      <a:pt x="86" y="115"/>
                    </a:lnTo>
                    <a:lnTo>
                      <a:pt x="88" y="117"/>
                    </a:lnTo>
                    <a:lnTo>
                      <a:pt x="89" y="117"/>
                    </a:lnTo>
                    <a:lnTo>
                      <a:pt x="91" y="117"/>
                    </a:lnTo>
                    <a:lnTo>
                      <a:pt x="91" y="117"/>
                    </a:lnTo>
                    <a:lnTo>
                      <a:pt x="94" y="119"/>
                    </a:lnTo>
                    <a:lnTo>
                      <a:pt x="97" y="117"/>
                    </a:lnTo>
                    <a:lnTo>
                      <a:pt x="97" y="119"/>
                    </a:lnTo>
                    <a:lnTo>
                      <a:pt x="102" y="119"/>
                    </a:lnTo>
                    <a:lnTo>
                      <a:pt x="108" y="120"/>
                    </a:lnTo>
                    <a:lnTo>
                      <a:pt x="112" y="120"/>
                    </a:lnTo>
                    <a:lnTo>
                      <a:pt x="113" y="120"/>
                    </a:lnTo>
                    <a:lnTo>
                      <a:pt x="113" y="122"/>
                    </a:lnTo>
                    <a:lnTo>
                      <a:pt x="116" y="122"/>
                    </a:lnTo>
                    <a:lnTo>
                      <a:pt x="113" y="123"/>
                    </a:lnTo>
                    <a:lnTo>
                      <a:pt x="113" y="125"/>
                    </a:lnTo>
                    <a:lnTo>
                      <a:pt x="116" y="125"/>
                    </a:lnTo>
                    <a:lnTo>
                      <a:pt x="119" y="125"/>
                    </a:lnTo>
                    <a:lnTo>
                      <a:pt x="123" y="123"/>
                    </a:lnTo>
                    <a:lnTo>
                      <a:pt x="123" y="122"/>
                    </a:lnTo>
                    <a:lnTo>
                      <a:pt x="119" y="122"/>
                    </a:lnTo>
                    <a:lnTo>
                      <a:pt x="119" y="120"/>
                    </a:lnTo>
                    <a:lnTo>
                      <a:pt x="123" y="120"/>
                    </a:lnTo>
                    <a:lnTo>
                      <a:pt x="123" y="120"/>
                    </a:lnTo>
                    <a:lnTo>
                      <a:pt x="126" y="119"/>
                    </a:lnTo>
                    <a:lnTo>
                      <a:pt x="123" y="119"/>
                    </a:lnTo>
                    <a:lnTo>
                      <a:pt x="119" y="117"/>
                    </a:lnTo>
                    <a:lnTo>
                      <a:pt x="119" y="117"/>
                    </a:lnTo>
                    <a:lnTo>
                      <a:pt x="119" y="117"/>
                    </a:lnTo>
                    <a:lnTo>
                      <a:pt x="119" y="117"/>
                    </a:lnTo>
                    <a:lnTo>
                      <a:pt x="119" y="117"/>
                    </a:lnTo>
                    <a:lnTo>
                      <a:pt x="119" y="117"/>
                    </a:lnTo>
                    <a:lnTo>
                      <a:pt x="119" y="117"/>
                    </a:lnTo>
                    <a:lnTo>
                      <a:pt x="119" y="117"/>
                    </a:lnTo>
                    <a:lnTo>
                      <a:pt x="119" y="117"/>
                    </a:lnTo>
                    <a:close/>
                    <a:moveTo>
                      <a:pt x="94" y="55"/>
                    </a:moveTo>
                    <a:lnTo>
                      <a:pt x="94" y="54"/>
                    </a:lnTo>
                    <a:lnTo>
                      <a:pt x="94" y="52"/>
                    </a:lnTo>
                    <a:lnTo>
                      <a:pt x="94" y="50"/>
                    </a:lnTo>
                    <a:lnTo>
                      <a:pt x="91" y="50"/>
                    </a:lnTo>
                    <a:lnTo>
                      <a:pt x="91" y="50"/>
                    </a:lnTo>
                    <a:lnTo>
                      <a:pt x="91" y="52"/>
                    </a:lnTo>
                    <a:lnTo>
                      <a:pt x="94" y="55"/>
                    </a:lnTo>
                    <a:lnTo>
                      <a:pt x="94" y="55"/>
                    </a:lnTo>
                    <a:lnTo>
                      <a:pt x="94" y="55"/>
                    </a:lnTo>
                    <a:lnTo>
                      <a:pt x="94" y="55"/>
                    </a:lnTo>
                    <a:lnTo>
                      <a:pt x="94" y="55"/>
                    </a:lnTo>
                    <a:lnTo>
                      <a:pt x="94" y="55"/>
                    </a:lnTo>
                    <a:lnTo>
                      <a:pt x="94" y="55"/>
                    </a:lnTo>
                    <a:lnTo>
                      <a:pt x="94" y="55"/>
                    </a:lnTo>
                    <a:lnTo>
                      <a:pt x="94" y="55"/>
                    </a:lnTo>
                    <a:close/>
                    <a:moveTo>
                      <a:pt x="146" y="44"/>
                    </a:moveTo>
                    <a:lnTo>
                      <a:pt x="148" y="44"/>
                    </a:lnTo>
                    <a:lnTo>
                      <a:pt x="150" y="41"/>
                    </a:lnTo>
                    <a:lnTo>
                      <a:pt x="151" y="38"/>
                    </a:lnTo>
                    <a:lnTo>
                      <a:pt x="151" y="36"/>
                    </a:lnTo>
                    <a:lnTo>
                      <a:pt x="150" y="35"/>
                    </a:lnTo>
                    <a:lnTo>
                      <a:pt x="148" y="33"/>
                    </a:lnTo>
                    <a:lnTo>
                      <a:pt x="150" y="31"/>
                    </a:lnTo>
                    <a:lnTo>
                      <a:pt x="146" y="33"/>
                    </a:lnTo>
                    <a:lnTo>
                      <a:pt x="146" y="35"/>
                    </a:lnTo>
                    <a:lnTo>
                      <a:pt x="143" y="33"/>
                    </a:lnTo>
                    <a:lnTo>
                      <a:pt x="143" y="31"/>
                    </a:lnTo>
                    <a:lnTo>
                      <a:pt x="140" y="33"/>
                    </a:lnTo>
                    <a:lnTo>
                      <a:pt x="140" y="35"/>
                    </a:lnTo>
                    <a:lnTo>
                      <a:pt x="140" y="38"/>
                    </a:lnTo>
                    <a:lnTo>
                      <a:pt x="143" y="41"/>
                    </a:lnTo>
                    <a:lnTo>
                      <a:pt x="140" y="41"/>
                    </a:lnTo>
                    <a:lnTo>
                      <a:pt x="140" y="44"/>
                    </a:lnTo>
                    <a:lnTo>
                      <a:pt x="137" y="44"/>
                    </a:lnTo>
                    <a:lnTo>
                      <a:pt x="134" y="47"/>
                    </a:lnTo>
                    <a:lnTo>
                      <a:pt x="132" y="50"/>
                    </a:lnTo>
                    <a:lnTo>
                      <a:pt x="129" y="50"/>
                    </a:lnTo>
                    <a:lnTo>
                      <a:pt x="127" y="50"/>
                    </a:lnTo>
                    <a:lnTo>
                      <a:pt x="126" y="50"/>
                    </a:lnTo>
                    <a:lnTo>
                      <a:pt x="126" y="50"/>
                    </a:lnTo>
                    <a:lnTo>
                      <a:pt x="123" y="50"/>
                    </a:lnTo>
                    <a:lnTo>
                      <a:pt x="123" y="50"/>
                    </a:lnTo>
                    <a:lnTo>
                      <a:pt x="123" y="47"/>
                    </a:lnTo>
                    <a:lnTo>
                      <a:pt x="123" y="47"/>
                    </a:lnTo>
                    <a:lnTo>
                      <a:pt x="123" y="44"/>
                    </a:lnTo>
                    <a:lnTo>
                      <a:pt x="123" y="44"/>
                    </a:lnTo>
                    <a:lnTo>
                      <a:pt x="119" y="47"/>
                    </a:lnTo>
                    <a:lnTo>
                      <a:pt x="119" y="50"/>
                    </a:lnTo>
                    <a:lnTo>
                      <a:pt x="119" y="50"/>
                    </a:lnTo>
                    <a:lnTo>
                      <a:pt x="116" y="50"/>
                    </a:lnTo>
                    <a:lnTo>
                      <a:pt x="112" y="52"/>
                    </a:lnTo>
                    <a:lnTo>
                      <a:pt x="108" y="50"/>
                    </a:lnTo>
                    <a:lnTo>
                      <a:pt x="105" y="50"/>
                    </a:lnTo>
                    <a:lnTo>
                      <a:pt x="104" y="50"/>
                    </a:lnTo>
                    <a:lnTo>
                      <a:pt x="102" y="50"/>
                    </a:lnTo>
                    <a:lnTo>
                      <a:pt x="100" y="50"/>
                    </a:lnTo>
                    <a:lnTo>
                      <a:pt x="97" y="50"/>
                    </a:lnTo>
                    <a:lnTo>
                      <a:pt x="97" y="52"/>
                    </a:lnTo>
                    <a:lnTo>
                      <a:pt x="97" y="54"/>
                    </a:lnTo>
                    <a:lnTo>
                      <a:pt x="100" y="55"/>
                    </a:lnTo>
                    <a:lnTo>
                      <a:pt x="102" y="55"/>
                    </a:lnTo>
                    <a:lnTo>
                      <a:pt x="104" y="57"/>
                    </a:lnTo>
                    <a:lnTo>
                      <a:pt x="108" y="60"/>
                    </a:lnTo>
                    <a:lnTo>
                      <a:pt x="112" y="58"/>
                    </a:lnTo>
                    <a:lnTo>
                      <a:pt x="113" y="60"/>
                    </a:lnTo>
                    <a:lnTo>
                      <a:pt x="113" y="62"/>
                    </a:lnTo>
                    <a:lnTo>
                      <a:pt x="116" y="62"/>
                    </a:lnTo>
                    <a:lnTo>
                      <a:pt x="126" y="62"/>
                    </a:lnTo>
                    <a:lnTo>
                      <a:pt x="127" y="60"/>
                    </a:lnTo>
                    <a:lnTo>
                      <a:pt x="132" y="58"/>
                    </a:lnTo>
                    <a:lnTo>
                      <a:pt x="135" y="57"/>
                    </a:lnTo>
                    <a:lnTo>
                      <a:pt x="137" y="55"/>
                    </a:lnTo>
                    <a:lnTo>
                      <a:pt x="137" y="54"/>
                    </a:lnTo>
                    <a:lnTo>
                      <a:pt x="137" y="50"/>
                    </a:lnTo>
                    <a:lnTo>
                      <a:pt x="143" y="50"/>
                    </a:lnTo>
                    <a:lnTo>
                      <a:pt x="146" y="50"/>
                    </a:lnTo>
                    <a:lnTo>
                      <a:pt x="146" y="47"/>
                    </a:lnTo>
                    <a:lnTo>
                      <a:pt x="146" y="44"/>
                    </a:lnTo>
                    <a:lnTo>
                      <a:pt x="146" y="44"/>
                    </a:lnTo>
                    <a:lnTo>
                      <a:pt x="146" y="44"/>
                    </a:lnTo>
                    <a:lnTo>
                      <a:pt x="146" y="44"/>
                    </a:lnTo>
                    <a:lnTo>
                      <a:pt x="146" y="44"/>
                    </a:lnTo>
                    <a:lnTo>
                      <a:pt x="146" y="44"/>
                    </a:lnTo>
                    <a:lnTo>
                      <a:pt x="146" y="44"/>
                    </a:lnTo>
                    <a:lnTo>
                      <a:pt x="146" y="44"/>
                    </a:lnTo>
                    <a:lnTo>
                      <a:pt x="146" y="44"/>
                    </a:lnTo>
                    <a:lnTo>
                      <a:pt x="146" y="44"/>
                    </a:lnTo>
                    <a:lnTo>
                      <a:pt x="146" y="44"/>
                    </a:lnTo>
                    <a:close/>
                    <a:moveTo>
                      <a:pt x="119" y="106"/>
                    </a:moveTo>
                    <a:lnTo>
                      <a:pt x="119" y="104"/>
                    </a:lnTo>
                    <a:lnTo>
                      <a:pt x="119" y="104"/>
                    </a:lnTo>
                    <a:lnTo>
                      <a:pt x="116" y="106"/>
                    </a:lnTo>
                    <a:lnTo>
                      <a:pt x="116" y="108"/>
                    </a:lnTo>
                    <a:lnTo>
                      <a:pt x="119" y="108"/>
                    </a:lnTo>
                    <a:lnTo>
                      <a:pt x="119" y="106"/>
                    </a:lnTo>
                    <a:lnTo>
                      <a:pt x="119" y="106"/>
                    </a:lnTo>
                    <a:lnTo>
                      <a:pt x="119" y="106"/>
                    </a:lnTo>
                    <a:lnTo>
                      <a:pt x="119" y="106"/>
                    </a:lnTo>
                    <a:lnTo>
                      <a:pt x="119" y="106"/>
                    </a:lnTo>
                    <a:lnTo>
                      <a:pt x="119" y="106"/>
                    </a:lnTo>
                    <a:lnTo>
                      <a:pt x="119" y="106"/>
                    </a:lnTo>
                    <a:lnTo>
                      <a:pt x="119" y="106"/>
                    </a:lnTo>
                    <a:lnTo>
                      <a:pt x="119" y="106"/>
                    </a:lnTo>
                    <a:close/>
                    <a:moveTo>
                      <a:pt x="123" y="108"/>
                    </a:moveTo>
                    <a:lnTo>
                      <a:pt x="123" y="108"/>
                    </a:lnTo>
                    <a:lnTo>
                      <a:pt x="123" y="108"/>
                    </a:lnTo>
                    <a:lnTo>
                      <a:pt x="123" y="111"/>
                    </a:lnTo>
                    <a:lnTo>
                      <a:pt x="123" y="111"/>
                    </a:lnTo>
                    <a:lnTo>
                      <a:pt x="126" y="111"/>
                    </a:lnTo>
                    <a:lnTo>
                      <a:pt x="127" y="111"/>
                    </a:lnTo>
                    <a:lnTo>
                      <a:pt x="126" y="108"/>
                    </a:lnTo>
                    <a:lnTo>
                      <a:pt x="123" y="108"/>
                    </a:lnTo>
                    <a:lnTo>
                      <a:pt x="123" y="108"/>
                    </a:lnTo>
                    <a:lnTo>
                      <a:pt x="123" y="108"/>
                    </a:lnTo>
                    <a:lnTo>
                      <a:pt x="123" y="108"/>
                    </a:lnTo>
                    <a:lnTo>
                      <a:pt x="123" y="108"/>
                    </a:lnTo>
                    <a:lnTo>
                      <a:pt x="123" y="108"/>
                    </a:lnTo>
                    <a:lnTo>
                      <a:pt x="123" y="108"/>
                    </a:lnTo>
                    <a:lnTo>
                      <a:pt x="123" y="108"/>
                    </a:lnTo>
                    <a:lnTo>
                      <a:pt x="123" y="108"/>
                    </a:lnTo>
                    <a:close/>
                    <a:moveTo>
                      <a:pt x="126" y="9"/>
                    </a:moveTo>
                    <a:lnTo>
                      <a:pt x="127" y="9"/>
                    </a:lnTo>
                    <a:lnTo>
                      <a:pt x="127" y="9"/>
                    </a:lnTo>
                    <a:lnTo>
                      <a:pt x="127" y="6"/>
                    </a:lnTo>
                    <a:lnTo>
                      <a:pt x="126" y="6"/>
                    </a:lnTo>
                    <a:lnTo>
                      <a:pt x="123" y="6"/>
                    </a:lnTo>
                    <a:lnTo>
                      <a:pt x="123" y="6"/>
                    </a:lnTo>
                    <a:lnTo>
                      <a:pt x="126" y="9"/>
                    </a:lnTo>
                    <a:lnTo>
                      <a:pt x="126" y="9"/>
                    </a:lnTo>
                    <a:lnTo>
                      <a:pt x="126" y="9"/>
                    </a:lnTo>
                    <a:lnTo>
                      <a:pt x="126" y="9"/>
                    </a:lnTo>
                    <a:lnTo>
                      <a:pt x="126" y="9"/>
                    </a:lnTo>
                    <a:lnTo>
                      <a:pt x="126" y="9"/>
                    </a:lnTo>
                    <a:lnTo>
                      <a:pt x="126" y="9"/>
                    </a:lnTo>
                    <a:lnTo>
                      <a:pt x="126" y="9"/>
                    </a:lnTo>
                    <a:lnTo>
                      <a:pt x="126" y="9"/>
                    </a:lnTo>
                    <a:lnTo>
                      <a:pt x="126" y="9"/>
                    </a:lnTo>
                    <a:close/>
                    <a:moveTo>
                      <a:pt x="158" y="27"/>
                    </a:moveTo>
                    <a:lnTo>
                      <a:pt x="154" y="27"/>
                    </a:lnTo>
                    <a:lnTo>
                      <a:pt x="153" y="25"/>
                    </a:lnTo>
                    <a:lnTo>
                      <a:pt x="151" y="22"/>
                    </a:lnTo>
                    <a:lnTo>
                      <a:pt x="148" y="19"/>
                    </a:lnTo>
                    <a:lnTo>
                      <a:pt x="146" y="17"/>
                    </a:lnTo>
                    <a:lnTo>
                      <a:pt x="143" y="15"/>
                    </a:lnTo>
                    <a:lnTo>
                      <a:pt x="140" y="12"/>
                    </a:lnTo>
                    <a:lnTo>
                      <a:pt x="137" y="12"/>
                    </a:lnTo>
                    <a:lnTo>
                      <a:pt x="137" y="12"/>
                    </a:lnTo>
                    <a:lnTo>
                      <a:pt x="135" y="9"/>
                    </a:lnTo>
                    <a:lnTo>
                      <a:pt x="134" y="9"/>
                    </a:lnTo>
                    <a:lnTo>
                      <a:pt x="134" y="9"/>
                    </a:lnTo>
                    <a:lnTo>
                      <a:pt x="132" y="9"/>
                    </a:lnTo>
                    <a:lnTo>
                      <a:pt x="137" y="12"/>
                    </a:lnTo>
                    <a:lnTo>
                      <a:pt x="140" y="15"/>
                    </a:lnTo>
                    <a:lnTo>
                      <a:pt x="146" y="20"/>
                    </a:lnTo>
                    <a:lnTo>
                      <a:pt x="150" y="22"/>
                    </a:lnTo>
                    <a:lnTo>
                      <a:pt x="153" y="27"/>
                    </a:lnTo>
                    <a:lnTo>
                      <a:pt x="154" y="31"/>
                    </a:lnTo>
                    <a:lnTo>
                      <a:pt x="154" y="33"/>
                    </a:lnTo>
                    <a:lnTo>
                      <a:pt x="154" y="36"/>
                    </a:lnTo>
                    <a:lnTo>
                      <a:pt x="156" y="38"/>
                    </a:lnTo>
                    <a:lnTo>
                      <a:pt x="158" y="41"/>
                    </a:lnTo>
                    <a:lnTo>
                      <a:pt x="159" y="38"/>
                    </a:lnTo>
                    <a:lnTo>
                      <a:pt x="161" y="33"/>
                    </a:lnTo>
                    <a:lnTo>
                      <a:pt x="158" y="28"/>
                    </a:lnTo>
                    <a:lnTo>
                      <a:pt x="158" y="27"/>
                    </a:lnTo>
                    <a:lnTo>
                      <a:pt x="158" y="27"/>
                    </a:lnTo>
                    <a:lnTo>
                      <a:pt x="158" y="27"/>
                    </a:lnTo>
                    <a:lnTo>
                      <a:pt x="158" y="27"/>
                    </a:lnTo>
                    <a:lnTo>
                      <a:pt x="158" y="27"/>
                    </a:lnTo>
                    <a:lnTo>
                      <a:pt x="158" y="27"/>
                    </a:lnTo>
                    <a:lnTo>
                      <a:pt x="158" y="27"/>
                    </a:lnTo>
                    <a:lnTo>
                      <a:pt x="158" y="27"/>
                    </a:lnTo>
                    <a:lnTo>
                      <a:pt x="158" y="27"/>
                    </a:lnTo>
                    <a:close/>
                    <a:moveTo>
                      <a:pt x="153" y="103"/>
                    </a:moveTo>
                    <a:lnTo>
                      <a:pt x="150" y="101"/>
                    </a:lnTo>
                    <a:lnTo>
                      <a:pt x="148" y="101"/>
                    </a:lnTo>
                    <a:lnTo>
                      <a:pt x="151" y="104"/>
                    </a:lnTo>
                    <a:lnTo>
                      <a:pt x="153" y="104"/>
                    </a:lnTo>
                    <a:lnTo>
                      <a:pt x="153" y="103"/>
                    </a:lnTo>
                    <a:lnTo>
                      <a:pt x="153" y="103"/>
                    </a:lnTo>
                    <a:lnTo>
                      <a:pt x="153" y="103"/>
                    </a:lnTo>
                    <a:lnTo>
                      <a:pt x="153" y="103"/>
                    </a:lnTo>
                    <a:lnTo>
                      <a:pt x="153" y="103"/>
                    </a:lnTo>
                    <a:lnTo>
                      <a:pt x="153" y="103"/>
                    </a:lnTo>
                    <a:lnTo>
                      <a:pt x="153" y="103"/>
                    </a:lnTo>
                    <a:lnTo>
                      <a:pt x="153" y="103"/>
                    </a:lnTo>
                    <a:lnTo>
                      <a:pt x="153" y="103"/>
                    </a:lnTo>
                    <a:close/>
                    <a:moveTo>
                      <a:pt x="153" y="135"/>
                    </a:moveTo>
                    <a:lnTo>
                      <a:pt x="154" y="138"/>
                    </a:lnTo>
                    <a:lnTo>
                      <a:pt x="156" y="138"/>
                    </a:lnTo>
                    <a:lnTo>
                      <a:pt x="158" y="138"/>
                    </a:lnTo>
                    <a:lnTo>
                      <a:pt x="159" y="138"/>
                    </a:lnTo>
                    <a:lnTo>
                      <a:pt x="156" y="135"/>
                    </a:lnTo>
                    <a:lnTo>
                      <a:pt x="153" y="135"/>
                    </a:lnTo>
                    <a:lnTo>
                      <a:pt x="153" y="135"/>
                    </a:lnTo>
                    <a:lnTo>
                      <a:pt x="153" y="135"/>
                    </a:lnTo>
                    <a:lnTo>
                      <a:pt x="153" y="135"/>
                    </a:lnTo>
                    <a:lnTo>
                      <a:pt x="153" y="135"/>
                    </a:lnTo>
                    <a:lnTo>
                      <a:pt x="153" y="135"/>
                    </a:lnTo>
                    <a:lnTo>
                      <a:pt x="153" y="135"/>
                    </a:lnTo>
                    <a:lnTo>
                      <a:pt x="153" y="135"/>
                    </a:lnTo>
                    <a:lnTo>
                      <a:pt x="153" y="135"/>
                    </a:lnTo>
                    <a:close/>
                    <a:moveTo>
                      <a:pt x="193" y="63"/>
                    </a:moveTo>
                    <a:lnTo>
                      <a:pt x="191" y="60"/>
                    </a:lnTo>
                    <a:lnTo>
                      <a:pt x="188" y="58"/>
                    </a:lnTo>
                    <a:lnTo>
                      <a:pt x="185" y="54"/>
                    </a:lnTo>
                    <a:lnTo>
                      <a:pt x="181" y="50"/>
                    </a:lnTo>
                    <a:lnTo>
                      <a:pt x="181" y="50"/>
                    </a:lnTo>
                    <a:lnTo>
                      <a:pt x="181" y="52"/>
                    </a:lnTo>
                    <a:lnTo>
                      <a:pt x="181" y="55"/>
                    </a:lnTo>
                    <a:lnTo>
                      <a:pt x="181" y="58"/>
                    </a:lnTo>
                    <a:lnTo>
                      <a:pt x="183" y="62"/>
                    </a:lnTo>
                    <a:lnTo>
                      <a:pt x="185" y="62"/>
                    </a:lnTo>
                    <a:lnTo>
                      <a:pt x="185" y="63"/>
                    </a:lnTo>
                    <a:lnTo>
                      <a:pt x="185" y="66"/>
                    </a:lnTo>
                    <a:lnTo>
                      <a:pt x="186" y="69"/>
                    </a:lnTo>
                    <a:lnTo>
                      <a:pt x="189" y="69"/>
                    </a:lnTo>
                    <a:lnTo>
                      <a:pt x="191" y="71"/>
                    </a:lnTo>
                    <a:lnTo>
                      <a:pt x="194" y="69"/>
                    </a:lnTo>
                    <a:lnTo>
                      <a:pt x="194" y="68"/>
                    </a:lnTo>
                    <a:lnTo>
                      <a:pt x="193" y="63"/>
                    </a:lnTo>
                    <a:lnTo>
                      <a:pt x="193" y="63"/>
                    </a:lnTo>
                    <a:lnTo>
                      <a:pt x="193" y="63"/>
                    </a:lnTo>
                    <a:lnTo>
                      <a:pt x="193" y="63"/>
                    </a:lnTo>
                    <a:lnTo>
                      <a:pt x="193" y="63"/>
                    </a:lnTo>
                    <a:lnTo>
                      <a:pt x="193" y="63"/>
                    </a:lnTo>
                    <a:lnTo>
                      <a:pt x="193" y="63"/>
                    </a:lnTo>
                    <a:lnTo>
                      <a:pt x="193" y="63"/>
                    </a:lnTo>
                    <a:lnTo>
                      <a:pt x="193" y="63"/>
                    </a:lnTo>
                    <a:close/>
                    <a:moveTo>
                      <a:pt x="83" y="3"/>
                    </a:moveTo>
                    <a:lnTo>
                      <a:pt x="86" y="3"/>
                    </a:lnTo>
                    <a:lnTo>
                      <a:pt x="89" y="1"/>
                    </a:lnTo>
                    <a:lnTo>
                      <a:pt x="85" y="0"/>
                    </a:lnTo>
                    <a:lnTo>
                      <a:pt x="81" y="0"/>
                    </a:lnTo>
                    <a:lnTo>
                      <a:pt x="78" y="1"/>
                    </a:lnTo>
                    <a:lnTo>
                      <a:pt x="78" y="3"/>
                    </a:lnTo>
                    <a:lnTo>
                      <a:pt x="78" y="4"/>
                    </a:lnTo>
                    <a:lnTo>
                      <a:pt x="80" y="3"/>
                    </a:lnTo>
                    <a:lnTo>
                      <a:pt x="83" y="3"/>
                    </a:lnTo>
                    <a:lnTo>
                      <a:pt x="83" y="3"/>
                    </a:lnTo>
                    <a:lnTo>
                      <a:pt x="83" y="3"/>
                    </a:lnTo>
                    <a:lnTo>
                      <a:pt x="83" y="3"/>
                    </a:lnTo>
                    <a:lnTo>
                      <a:pt x="83" y="3"/>
                    </a:lnTo>
                    <a:lnTo>
                      <a:pt x="83" y="3"/>
                    </a:lnTo>
                    <a:lnTo>
                      <a:pt x="83" y="3"/>
                    </a:lnTo>
                    <a:lnTo>
                      <a:pt x="83" y="3"/>
                    </a:lnTo>
                    <a:lnTo>
                      <a:pt x="83" y="3"/>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05" name="Freeform 259">
                <a:extLst>
                  <a:ext uri="{FF2B5EF4-FFF2-40B4-BE49-F238E27FC236}">
                    <a16:creationId xmlns:a16="http://schemas.microsoft.com/office/drawing/2014/main" id="{BC111FA9-6271-1D1C-367F-7C528904502A}"/>
                  </a:ext>
                </a:extLst>
              </p:cNvPr>
              <p:cNvSpPr>
                <a:spLocks noEditPoints="1"/>
              </p:cNvSpPr>
              <p:nvPr/>
            </p:nvSpPr>
            <p:spPr bwMode="auto">
              <a:xfrm>
                <a:off x="8436183" y="3796316"/>
                <a:ext cx="1357058" cy="565254"/>
              </a:xfrm>
              <a:custGeom>
                <a:avLst/>
                <a:gdLst>
                  <a:gd name="T0" fmla="*/ 54 w 605"/>
                  <a:gd name="T1" fmla="*/ 86 h 252"/>
                  <a:gd name="T2" fmla="*/ 83 w 605"/>
                  <a:gd name="T3" fmla="*/ 138 h 252"/>
                  <a:gd name="T4" fmla="*/ 145 w 605"/>
                  <a:gd name="T5" fmla="*/ 108 h 252"/>
                  <a:gd name="T6" fmla="*/ 270 w 605"/>
                  <a:gd name="T7" fmla="*/ 227 h 252"/>
                  <a:gd name="T8" fmla="*/ 161 w 605"/>
                  <a:gd name="T9" fmla="*/ 149 h 252"/>
                  <a:gd name="T10" fmla="*/ 129 w 605"/>
                  <a:gd name="T11" fmla="*/ 108 h 252"/>
                  <a:gd name="T12" fmla="*/ 88 w 605"/>
                  <a:gd name="T13" fmla="*/ 68 h 252"/>
                  <a:gd name="T14" fmla="*/ 26 w 605"/>
                  <a:gd name="T15" fmla="*/ 36 h 252"/>
                  <a:gd name="T16" fmla="*/ 88 w 605"/>
                  <a:gd name="T17" fmla="*/ 120 h 252"/>
                  <a:gd name="T18" fmla="*/ 154 w 605"/>
                  <a:gd name="T19" fmla="*/ 187 h 252"/>
                  <a:gd name="T20" fmla="*/ 296 w 605"/>
                  <a:gd name="T21" fmla="*/ 224 h 252"/>
                  <a:gd name="T22" fmla="*/ 283 w 605"/>
                  <a:gd name="T23" fmla="*/ 227 h 252"/>
                  <a:gd name="T24" fmla="*/ 240 w 605"/>
                  <a:gd name="T25" fmla="*/ 205 h 252"/>
                  <a:gd name="T26" fmla="*/ 175 w 605"/>
                  <a:gd name="T27" fmla="*/ 190 h 252"/>
                  <a:gd name="T28" fmla="*/ 202 w 605"/>
                  <a:gd name="T29" fmla="*/ 214 h 252"/>
                  <a:gd name="T30" fmla="*/ 161 w 605"/>
                  <a:gd name="T31" fmla="*/ 144 h 252"/>
                  <a:gd name="T32" fmla="*/ 200 w 605"/>
                  <a:gd name="T33" fmla="*/ 103 h 252"/>
                  <a:gd name="T34" fmla="*/ 221 w 605"/>
                  <a:gd name="T35" fmla="*/ 147 h 252"/>
                  <a:gd name="T36" fmla="*/ 267 w 605"/>
                  <a:gd name="T37" fmla="*/ 162 h 252"/>
                  <a:gd name="T38" fmla="*/ 297 w 605"/>
                  <a:gd name="T39" fmla="*/ 124 h 252"/>
                  <a:gd name="T40" fmla="*/ 312 w 605"/>
                  <a:gd name="T41" fmla="*/ 74 h 252"/>
                  <a:gd name="T42" fmla="*/ 293 w 605"/>
                  <a:gd name="T43" fmla="*/ 40 h 252"/>
                  <a:gd name="T44" fmla="*/ 240 w 605"/>
                  <a:gd name="T45" fmla="*/ 82 h 252"/>
                  <a:gd name="T46" fmla="*/ 200 w 605"/>
                  <a:gd name="T47" fmla="*/ 103 h 252"/>
                  <a:gd name="T48" fmla="*/ 445 w 605"/>
                  <a:gd name="T49" fmla="*/ 67 h 252"/>
                  <a:gd name="T50" fmla="*/ 450 w 605"/>
                  <a:gd name="T51" fmla="*/ 98 h 252"/>
                  <a:gd name="T52" fmla="*/ 437 w 605"/>
                  <a:gd name="T53" fmla="*/ 92 h 252"/>
                  <a:gd name="T54" fmla="*/ 423 w 605"/>
                  <a:gd name="T55" fmla="*/ 44 h 252"/>
                  <a:gd name="T56" fmla="*/ 472 w 605"/>
                  <a:gd name="T57" fmla="*/ 109 h 252"/>
                  <a:gd name="T58" fmla="*/ 467 w 605"/>
                  <a:gd name="T59" fmla="*/ 133 h 252"/>
                  <a:gd name="T60" fmla="*/ 245 w 605"/>
                  <a:gd name="T61" fmla="*/ 203 h 252"/>
                  <a:gd name="T62" fmla="*/ 202 w 605"/>
                  <a:gd name="T63" fmla="*/ 120 h 252"/>
                  <a:gd name="T64" fmla="*/ 424 w 605"/>
                  <a:gd name="T65" fmla="*/ 40 h 252"/>
                  <a:gd name="T66" fmla="*/ 375 w 605"/>
                  <a:gd name="T67" fmla="*/ 221 h 252"/>
                  <a:gd name="T68" fmla="*/ 440 w 605"/>
                  <a:gd name="T69" fmla="*/ 128 h 252"/>
                  <a:gd name="T70" fmla="*/ 335 w 605"/>
                  <a:gd name="T71" fmla="*/ 98 h 252"/>
                  <a:gd name="T72" fmla="*/ 329 w 605"/>
                  <a:gd name="T73" fmla="*/ 173 h 252"/>
                  <a:gd name="T74" fmla="*/ 356 w 605"/>
                  <a:gd name="T75" fmla="*/ 167 h 252"/>
                  <a:gd name="T76" fmla="*/ 361 w 605"/>
                  <a:gd name="T77" fmla="*/ 138 h 252"/>
                  <a:gd name="T78" fmla="*/ 350 w 605"/>
                  <a:gd name="T79" fmla="*/ 124 h 252"/>
                  <a:gd name="T80" fmla="*/ 404 w 605"/>
                  <a:gd name="T81" fmla="*/ 79 h 252"/>
                  <a:gd name="T82" fmla="*/ 447 w 605"/>
                  <a:gd name="T83" fmla="*/ 152 h 252"/>
                  <a:gd name="T84" fmla="*/ 418 w 605"/>
                  <a:gd name="T85" fmla="*/ 214 h 252"/>
                  <a:gd name="T86" fmla="*/ 434 w 605"/>
                  <a:gd name="T87" fmla="*/ 114 h 252"/>
                  <a:gd name="T88" fmla="*/ 483 w 605"/>
                  <a:gd name="T89" fmla="*/ 211 h 252"/>
                  <a:gd name="T90" fmla="*/ 562 w 605"/>
                  <a:gd name="T91" fmla="*/ 214 h 252"/>
                  <a:gd name="T92" fmla="*/ 559 w 605"/>
                  <a:gd name="T93" fmla="*/ 128 h 252"/>
                  <a:gd name="T94" fmla="*/ 508 w 605"/>
                  <a:gd name="T95" fmla="*/ 114 h 252"/>
                  <a:gd name="T96" fmla="*/ 516 w 605"/>
                  <a:gd name="T97" fmla="*/ 136 h 252"/>
                  <a:gd name="T98" fmla="*/ 508 w 605"/>
                  <a:gd name="T99" fmla="*/ 155 h 252"/>
                  <a:gd name="T100" fmla="*/ 562 w 605"/>
                  <a:gd name="T101" fmla="*/ 179 h 252"/>
                  <a:gd name="T102" fmla="*/ 583 w 605"/>
                  <a:gd name="T103" fmla="*/ 221 h 252"/>
                  <a:gd name="T104" fmla="*/ 521 w 605"/>
                  <a:gd name="T105" fmla="*/ 195 h 252"/>
                  <a:gd name="T106" fmla="*/ 515 w 605"/>
                  <a:gd name="T107" fmla="*/ 190 h 252"/>
                  <a:gd name="T108" fmla="*/ 385 w 605"/>
                  <a:gd name="T109" fmla="*/ 224 h 252"/>
                  <a:gd name="T110" fmla="*/ 383 w 605"/>
                  <a:gd name="T111" fmla="*/ 124 h 252"/>
                  <a:gd name="T112" fmla="*/ 377 w 605"/>
                  <a:gd name="T113" fmla="*/ 179 h 252"/>
                  <a:gd name="T114" fmla="*/ 342 w 605"/>
                  <a:gd name="T115" fmla="*/ 192 h 252"/>
                  <a:gd name="T116" fmla="*/ 375 w 605"/>
                  <a:gd name="T117" fmla="*/ 165 h 252"/>
                  <a:gd name="T118" fmla="*/ 402 w 605"/>
                  <a:gd name="T119" fmla="*/ 128 h 252"/>
                  <a:gd name="T120" fmla="*/ 375 w 605"/>
                  <a:gd name="T121" fmla="*/ 252 h 252"/>
                  <a:gd name="T122" fmla="*/ 378 w 605"/>
                  <a:gd name="T123" fmla="*/ 224 h 252"/>
                  <a:gd name="T124" fmla="*/ 335 w 605"/>
                  <a:gd name="T125" fmla="*/ 22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5" h="252">
                    <a:moveTo>
                      <a:pt x="32" y="65"/>
                    </a:moveTo>
                    <a:lnTo>
                      <a:pt x="32" y="63"/>
                    </a:lnTo>
                    <a:lnTo>
                      <a:pt x="29" y="62"/>
                    </a:lnTo>
                    <a:lnTo>
                      <a:pt x="29" y="62"/>
                    </a:lnTo>
                    <a:lnTo>
                      <a:pt x="29" y="63"/>
                    </a:lnTo>
                    <a:lnTo>
                      <a:pt x="29" y="65"/>
                    </a:lnTo>
                    <a:lnTo>
                      <a:pt x="32" y="67"/>
                    </a:lnTo>
                    <a:lnTo>
                      <a:pt x="35" y="68"/>
                    </a:lnTo>
                    <a:lnTo>
                      <a:pt x="35" y="70"/>
                    </a:lnTo>
                    <a:lnTo>
                      <a:pt x="39" y="70"/>
                    </a:lnTo>
                    <a:lnTo>
                      <a:pt x="39" y="68"/>
                    </a:lnTo>
                    <a:lnTo>
                      <a:pt x="35" y="67"/>
                    </a:lnTo>
                    <a:lnTo>
                      <a:pt x="32" y="65"/>
                    </a:lnTo>
                    <a:lnTo>
                      <a:pt x="32" y="65"/>
                    </a:lnTo>
                    <a:lnTo>
                      <a:pt x="32" y="65"/>
                    </a:lnTo>
                    <a:lnTo>
                      <a:pt x="32" y="65"/>
                    </a:lnTo>
                    <a:lnTo>
                      <a:pt x="32" y="65"/>
                    </a:lnTo>
                    <a:lnTo>
                      <a:pt x="32" y="65"/>
                    </a:lnTo>
                    <a:lnTo>
                      <a:pt x="32" y="65"/>
                    </a:lnTo>
                    <a:lnTo>
                      <a:pt x="32" y="65"/>
                    </a:lnTo>
                    <a:lnTo>
                      <a:pt x="32" y="65"/>
                    </a:lnTo>
                    <a:close/>
                    <a:moveTo>
                      <a:pt x="51" y="82"/>
                    </a:moveTo>
                    <a:lnTo>
                      <a:pt x="48" y="82"/>
                    </a:lnTo>
                    <a:lnTo>
                      <a:pt x="46" y="82"/>
                    </a:lnTo>
                    <a:lnTo>
                      <a:pt x="48" y="86"/>
                    </a:lnTo>
                    <a:lnTo>
                      <a:pt x="50" y="89"/>
                    </a:lnTo>
                    <a:lnTo>
                      <a:pt x="53" y="90"/>
                    </a:lnTo>
                    <a:lnTo>
                      <a:pt x="54" y="95"/>
                    </a:lnTo>
                    <a:lnTo>
                      <a:pt x="56" y="95"/>
                    </a:lnTo>
                    <a:lnTo>
                      <a:pt x="56" y="93"/>
                    </a:lnTo>
                    <a:lnTo>
                      <a:pt x="56" y="89"/>
                    </a:lnTo>
                    <a:lnTo>
                      <a:pt x="54" y="86"/>
                    </a:lnTo>
                    <a:lnTo>
                      <a:pt x="51" y="82"/>
                    </a:lnTo>
                    <a:lnTo>
                      <a:pt x="51" y="82"/>
                    </a:lnTo>
                    <a:lnTo>
                      <a:pt x="51" y="82"/>
                    </a:lnTo>
                    <a:lnTo>
                      <a:pt x="51" y="82"/>
                    </a:lnTo>
                    <a:lnTo>
                      <a:pt x="51" y="82"/>
                    </a:lnTo>
                    <a:lnTo>
                      <a:pt x="51" y="82"/>
                    </a:lnTo>
                    <a:lnTo>
                      <a:pt x="51" y="82"/>
                    </a:lnTo>
                    <a:lnTo>
                      <a:pt x="51" y="82"/>
                    </a:lnTo>
                    <a:lnTo>
                      <a:pt x="51" y="82"/>
                    </a:lnTo>
                    <a:close/>
                    <a:moveTo>
                      <a:pt x="70" y="117"/>
                    </a:moveTo>
                    <a:lnTo>
                      <a:pt x="67" y="117"/>
                    </a:lnTo>
                    <a:lnTo>
                      <a:pt x="64" y="120"/>
                    </a:lnTo>
                    <a:lnTo>
                      <a:pt x="67" y="124"/>
                    </a:lnTo>
                    <a:lnTo>
                      <a:pt x="67" y="127"/>
                    </a:lnTo>
                    <a:lnTo>
                      <a:pt x="70" y="128"/>
                    </a:lnTo>
                    <a:lnTo>
                      <a:pt x="73" y="130"/>
                    </a:lnTo>
                    <a:lnTo>
                      <a:pt x="73" y="128"/>
                    </a:lnTo>
                    <a:lnTo>
                      <a:pt x="73" y="127"/>
                    </a:lnTo>
                    <a:lnTo>
                      <a:pt x="73" y="124"/>
                    </a:lnTo>
                    <a:lnTo>
                      <a:pt x="70" y="117"/>
                    </a:lnTo>
                    <a:lnTo>
                      <a:pt x="70" y="117"/>
                    </a:lnTo>
                    <a:lnTo>
                      <a:pt x="70" y="117"/>
                    </a:lnTo>
                    <a:lnTo>
                      <a:pt x="70" y="117"/>
                    </a:lnTo>
                    <a:lnTo>
                      <a:pt x="70" y="117"/>
                    </a:lnTo>
                    <a:lnTo>
                      <a:pt x="70" y="117"/>
                    </a:lnTo>
                    <a:lnTo>
                      <a:pt x="70" y="117"/>
                    </a:lnTo>
                    <a:lnTo>
                      <a:pt x="70" y="117"/>
                    </a:lnTo>
                    <a:lnTo>
                      <a:pt x="70" y="117"/>
                    </a:lnTo>
                    <a:close/>
                    <a:moveTo>
                      <a:pt x="83" y="144"/>
                    </a:moveTo>
                    <a:lnTo>
                      <a:pt x="85" y="144"/>
                    </a:lnTo>
                    <a:lnTo>
                      <a:pt x="85" y="141"/>
                    </a:lnTo>
                    <a:lnTo>
                      <a:pt x="83" y="138"/>
                    </a:lnTo>
                    <a:lnTo>
                      <a:pt x="83" y="144"/>
                    </a:lnTo>
                    <a:lnTo>
                      <a:pt x="83" y="144"/>
                    </a:lnTo>
                    <a:lnTo>
                      <a:pt x="83" y="144"/>
                    </a:lnTo>
                    <a:lnTo>
                      <a:pt x="83" y="144"/>
                    </a:lnTo>
                    <a:lnTo>
                      <a:pt x="83" y="144"/>
                    </a:lnTo>
                    <a:lnTo>
                      <a:pt x="83" y="144"/>
                    </a:lnTo>
                    <a:lnTo>
                      <a:pt x="83" y="144"/>
                    </a:lnTo>
                    <a:lnTo>
                      <a:pt x="83" y="144"/>
                    </a:lnTo>
                    <a:lnTo>
                      <a:pt x="83" y="144"/>
                    </a:lnTo>
                    <a:close/>
                    <a:moveTo>
                      <a:pt x="0" y="1"/>
                    </a:moveTo>
                    <a:lnTo>
                      <a:pt x="4" y="6"/>
                    </a:lnTo>
                    <a:lnTo>
                      <a:pt x="4" y="3"/>
                    </a:lnTo>
                    <a:lnTo>
                      <a:pt x="4" y="0"/>
                    </a:lnTo>
                    <a:lnTo>
                      <a:pt x="0" y="0"/>
                    </a:lnTo>
                    <a:lnTo>
                      <a:pt x="0" y="1"/>
                    </a:lnTo>
                    <a:lnTo>
                      <a:pt x="0" y="1"/>
                    </a:lnTo>
                    <a:lnTo>
                      <a:pt x="0" y="1"/>
                    </a:lnTo>
                    <a:lnTo>
                      <a:pt x="0" y="1"/>
                    </a:lnTo>
                    <a:lnTo>
                      <a:pt x="0" y="1"/>
                    </a:lnTo>
                    <a:lnTo>
                      <a:pt x="0" y="1"/>
                    </a:lnTo>
                    <a:lnTo>
                      <a:pt x="0" y="1"/>
                    </a:lnTo>
                    <a:lnTo>
                      <a:pt x="0" y="1"/>
                    </a:lnTo>
                    <a:lnTo>
                      <a:pt x="0" y="1"/>
                    </a:lnTo>
                    <a:close/>
                    <a:moveTo>
                      <a:pt x="145" y="108"/>
                    </a:moveTo>
                    <a:lnTo>
                      <a:pt x="147" y="108"/>
                    </a:lnTo>
                    <a:lnTo>
                      <a:pt x="143" y="106"/>
                    </a:lnTo>
                    <a:lnTo>
                      <a:pt x="140" y="103"/>
                    </a:lnTo>
                    <a:lnTo>
                      <a:pt x="140" y="106"/>
                    </a:lnTo>
                    <a:lnTo>
                      <a:pt x="140" y="108"/>
                    </a:lnTo>
                    <a:lnTo>
                      <a:pt x="143" y="108"/>
                    </a:lnTo>
                    <a:lnTo>
                      <a:pt x="145" y="108"/>
                    </a:lnTo>
                    <a:lnTo>
                      <a:pt x="145" y="108"/>
                    </a:lnTo>
                    <a:lnTo>
                      <a:pt x="145" y="108"/>
                    </a:lnTo>
                    <a:lnTo>
                      <a:pt x="145" y="108"/>
                    </a:lnTo>
                    <a:lnTo>
                      <a:pt x="145" y="108"/>
                    </a:lnTo>
                    <a:lnTo>
                      <a:pt x="145" y="108"/>
                    </a:lnTo>
                    <a:lnTo>
                      <a:pt x="145" y="108"/>
                    </a:lnTo>
                    <a:lnTo>
                      <a:pt x="145" y="108"/>
                    </a:lnTo>
                    <a:lnTo>
                      <a:pt x="145" y="108"/>
                    </a:lnTo>
                    <a:close/>
                    <a:moveTo>
                      <a:pt x="139" y="113"/>
                    </a:moveTo>
                    <a:lnTo>
                      <a:pt x="140" y="113"/>
                    </a:lnTo>
                    <a:lnTo>
                      <a:pt x="140" y="111"/>
                    </a:lnTo>
                    <a:lnTo>
                      <a:pt x="140" y="109"/>
                    </a:lnTo>
                    <a:lnTo>
                      <a:pt x="137" y="109"/>
                    </a:lnTo>
                    <a:lnTo>
                      <a:pt x="137" y="111"/>
                    </a:lnTo>
                    <a:lnTo>
                      <a:pt x="137" y="113"/>
                    </a:lnTo>
                    <a:lnTo>
                      <a:pt x="139" y="114"/>
                    </a:lnTo>
                    <a:lnTo>
                      <a:pt x="139" y="113"/>
                    </a:lnTo>
                    <a:lnTo>
                      <a:pt x="139" y="113"/>
                    </a:lnTo>
                    <a:lnTo>
                      <a:pt x="139" y="113"/>
                    </a:lnTo>
                    <a:lnTo>
                      <a:pt x="139" y="113"/>
                    </a:lnTo>
                    <a:lnTo>
                      <a:pt x="139" y="113"/>
                    </a:lnTo>
                    <a:lnTo>
                      <a:pt x="139" y="113"/>
                    </a:lnTo>
                    <a:lnTo>
                      <a:pt x="139" y="113"/>
                    </a:lnTo>
                    <a:lnTo>
                      <a:pt x="139" y="113"/>
                    </a:lnTo>
                    <a:lnTo>
                      <a:pt x="139" y="113"/>
                    </a:lnTo>
                    <a:close/>
                    <a:moveTo>
                      <a:pt x="274" y="221"/>
                    </a:moveTo>
                    <a:lnTo>
                      <a:pt x="274" y="221"/>
                    </a:lnTo>
                    <a:lnTo>
                      <a:pt x="267" y="221"/>
                    </a:lnTo>
                    <a:lnTo>
                      <a:pt x="262" y="221"/>
                    </a:lnTo>
                    <a:lnTo>
                      <a:pt x="262" y="221"/>
                    </a:lnTo>
                    <a:lnTo>
                      <a:pt x="264" y="224"/>
                    </a:lnTo>
                    <a:lnTo>
                      <a:pt x="267" y="224"/>
                    </a:lnTo>
                    <a:lnTo>
                      <a:pt x="270" y="227"/>
                    </a:lnTo>
                    <a:lnTo>
                      <a:pt x="270" y="228"/>
                    </a:lnTo>
                    <a:lnTo>
                      <a:pt x="270" y="230"/>
                    </a:lnTo>
                    <a:lnTo>
                      <a:pt x="274" y="228"/>
                    </a:lnTo>
                    <a:lnTo>
                      <a:pt x="277" y="227"/>
                    </a:lnTo>
                    <a:lnTo>
                      <a:pt x="280" y="224"/>
                    </a:lnTo>
                    <a:lnTo>
                      <a:pt x="280" y="224"/>
                    </a:lnTo>
                    <a:lnTo>
                      <a:pt x="280" y="221"/>
                    </a:lnTo>
                    <a:lnTo>
                      <a:pt x="277" y="221"/>
                    </a:lnTo>
                    <a:lnTo>
                      <a:pt x="274" y="221"/>
                    </a:lnTo>
                    <a:lnTo>
                      <a:pt x="274" y="221"/>
                    </a:lnTo>
                    <a:lnTo>
                      <a:pt x="274" y="221"/>
                    </a:lnTo>
                    <a:lnTo>
                      <a:pt x="274" y="221"/>
                    </a:lnTo>
                    <a:lnTo>
                      <a:pt x="274" y="221"/>
                    </a:lnTo>
                    <a:lnTo>
                      <a:pt x="274" y="221"/>
                    </a:lnTo>
                    <a:lnTo>
                      <a:pt x="274" y="221"/>
                    </a:lnTo>
                    <a:lnTo>
                      <a:pt x="274" y="221"/>
                    </a:lnTo>
                    <a:lnTo>
                      <a:pt x="274" y="221"/>
                    </a:lnTo>
                    <a:close/>
                    <a:moveTo>
                      <a:pt x="154" y="187"/>
                    </a:moveTo>
                    <a:lnTo>
                      <a:pt x="154" y="187"/>
                    </a:lnTo>
                    <a:lnTo>
                      <a:pt x="154" y="186"/>
                    </a:lnTo>
                    <a:lnTo>
                      <a:pt x="154" y="182"/>
                    </a:lnTo>
                    <a:lnTo>
                      <a:pt x="154" y="173"/>
                    </a:lnTo>
                    <a:lnTo>
                      <a:pt x="158" y="170"/>
                    </a:lnTo>
                    <a:lnTo>
                      <a:pt x="158" y="168"/>
                    </a:lnTo>
                    <a:lnTo>
                      <a:pt x="154" y="167"/>
                    </a:lnTo>
                    <a:lnTo>
                      <a:pt x="154" y="163"/>
                    </a:lnTo>
                    <a:lnTo>
                      <a:pt x="158" y="162"/>
                    </a:lnTo>
                    <a:lnTo>
                      <a:pt x="158" y="159"/>
                    </a:lnTo>
                    <a:lnTo>
                      <a:pt x="158" y="157"/>
                    </a:lnTo>
                    <a:lnTo>
                      <a:pt x="158" y="155"/>
                    </a:lnTo>
                    <a:lnTo>
                      <a:pt x="158" y="151"/>
                    </a:lnTo>
                    <a:lnTo>
                      <a:pt x="161" y="149"/>
                    </a:lnTo>
                    <a:lnTo>
                      <a:pt x="161" y="147"/>
                    </a:lnTo>
                    <a:lnTo>
                      <a:pt x="158" y="147"/>
                    </a:lnTo>
                    <a:lnTo>
                      <a:pt x="158" y="144"/>
                    </a:lnTo>
                    <a:lnTo>
                      <a:pt x="154" y="141"/>
                    </a:lnTo>
                    <a:lnTo>
                      <a:pt x="154" y="138"/>
                    </a:lnTo>
                    <a:lnTo>
                      <a:pt x="150" y="138"/>
                    </a:lnTo>
                    <a:lnTo>
                      <a:pt x="147" y="138"/>
                    </a:lnTo>
                    <a:lnTo>
                      <a:pt x="145" y="138"/>
                    </a:lnTo>
                    <a:lnTo>
                      <a:pt x="145" y="136"/>
                    </a:lnTo>
                    <a:lnTo>
                      <a:pt x="143" y="138"/>
                    </a:lnTo>
                    <a:lnTo>
                      <a:pt x="140" y="141"/>
                    </a:lnTo>
                    <a:lnTo>
                      <a:pt x="142" y="138"/>
                    </a:lnTo>
                    <a:lnTo>
                      <a:pt x="143" y="138"/>
                    </a:lnTo>
                    <a:lnTo>
                      <a:pt x="142" y="138"/>
                    </a:lnTo>
                    <a:lnTo>
                      <a:pt x="143" y="136"/>
                    </a:lnTo>
                    <a:lnTo>
                      <a:pt x="145" y="135"/>
                    </a:lnTo>
                    <a:lnTo>
                      <a:pt x="143" y="133"/>
                    </a:lnTo>
                    <a:lnTo>
                      <a:pt x="142" y="133"/>
                    </a:lnTo>
                    <a:lnTo>
                      <a:pt x="140" y="130"/>
                    </a:lnTo>
                    <a:lnTo>
                      <a:pt x="140" y="128"/>
                    </a:lnTo>
                    <a:lnTo>
                      <a:pt x="139" y="120"/>
                    </a:lnTo>
                    <a:lnTo>
                      <a:pt x="137" y="120"/>
                    </a:lnTo>
                    <a:lnTo>
                      <a:pt x="135" y="117"/>
                    </a:lnTo>
                    <a:lnTo>
                      <a:pt x="131" y="117"/>
                    </a:lnTo>
                    <a:lnTo>
                      <a:pt x="129" y="117"/>
                    </a:lnTo>
                    <a:lnTo>
                      <a:pt x="129" y="114"/>
                    </a:lnTo>
                    <a:lnTo>
                      <a:pt x="126" y="114"/>
                    </a:lnTo>
                    <a:lnTo>
                      <a:pt x="126" y="111"/>
                    </a:lnTo>
                    <a:lnTo>
                      <a:pt x="129" y="111"/>
                    </a:lnTo>
                    <a:lnTo>
                      <a:pt x="126" y="109"/>
                    </a:lnTo>
                    <a:lnTo>
                      <a:pt x="126" y="109"/>
                    </a:lnTo>
                    <a:lnTo>
                      <a:pt x="129" y="108"/>
                    </a:lnTo>
                    <a:lnTo>
                      <a:pt x="126" y="108"/>
                    </a:lnTo>
                    <a:lnTo>
                      <a:pt x="129" y="105"/>
                    </a:lnTo>
                    <a:lnTo>
                      <a:pt x="131" y="103"/>
                    </a:lnTo>
                    <a:lnTo>
                      <a:pt x="131" y="101"/>
                    </a:lnTo>
                    <a:lnTo>
                      <a:pt x="129" y="98"/>
                    </a:lnTo>
                    <a:lnTo>
                      <a:pt x="126" y="97"/>
                    </a:lnTo>
                    <a:lnTo>
                      <a:pt x="123" y="98"/>
                    </a:lnTo>
                    <a:lnTo>
                      <a:pt x="120" y="100"/>
                    </a:lnTo>
                    <a:lnTo>
                      <a:pt x="116" y="101"/>
                    </a:lnTo>
                    <a:lnTo>
                      <a:pt x="115" y="100"/>
                    </a:lnTo>
                    <a:lnTo>
                      <a:pt x="118" y="100"/>
                    </a:lnTo>
                    <a:lnTo>
                      <a:pt x="121" y="98"/>
                    </a:lnTo>
                    <a:lnTo>
                      <a:pt x="123" y="95"/>
                    </a:lnTo>
                    <a:lnTo>
                      <a:pt x="121" y="93"/>
                    </a:lnTo>
                    <a:lnTo>
                      <a:pt x="120" y="93"/>
                    </a:lnTo>
                    <a:lnTo>
                      <a:pt x="115" y="92"/>
                    </a:lnTo>
                    <a:lnTo>
                      <a:pt x="112" y="89"/>
                    </a:lnTo>
                    <a:lnTo>
                      <a:pt x="110" y="89"/>
                    </a:lnTo>
                    <a:lnTo>
                      <a:pt x="110" y="86"/>
                    </a:lnTo>
                    <a:lnTo>
                      <a:pt x="110" y="86"/>
                    </a:lnTo>
                    <a:lnTo>
                      <a:pt x="108" y="82"/>
                    </a:lnTo>
                    <a:lnTo>
                      <a:pt x="105" y="79"/>
                    </a:lnTo>
                    <a:lnTo>
                      <a:pt x="102" y="79"/>
                    </a:lnTo>
                    <a:lnTo>
                      <a:pt x="99" y="78"/>
                    </a:lnTo>
                    <a:lnTo>
                      <a:pt x="99" y="74"/>
                    </a:lnTo>
                    <a:lnTo>
                      <a:pt x="96" y="71"/>
                    </a:lnTo>
                    <a:lnTo>
                      <a:pt x="96" y="71"/>
                    </a:lnTo>
                    <a:lnTo>
                      <a:pt x="94" y="71"/>
                    </a:lnTo>
                    <a:lnTo>
                      <a:pt x="94" y="74"/>
                    </a:lnTo>
                    <a:lnTo>
                      <a:pt x="93" y="73"/>
                    </a:lnTo>
                    <a:lnTo>
                      <a:pt x="89" y="71"/>
                    </a:lnTo>
                    <a:lnTo>
                      <a:pt x="88" y="68"/>
                    </a:lnTo>
                    <a:lnTo>
                      <a:pt x="85" y="65"/>
                    </a:lnTo>
                    <a:lnTo>
                      <a:pt x="85" y="67"/>
                    </a:lnTo>
                    <a:lnTo>
                      <a:pt x="83" y="65"/>
                    </a:lnTo>
                    <a:lnTo>
                      <a:pt x="83" y="63"/>
                    </a:lnTo>
                    <a:lnTo>
                      <a:pt x="83" y="62"/>
                    </a:lnTo>
                    <a:lnTo>
                      <a:pt x="81" y="60"/>
                    </a:lnTo>
                    <a:lnTo>
                      <a:pt x="77" y="57"/>
                    </a:lnTo>
                    <a:lnTo>
                      <a:pt x="73" y="54"/>
                    </a:lnTo>
                    <a:lnTo>
                      <a:pt x="70" y="51"/>
                    </a:lnTo>
                    <a:lnTo>
                      <a:pt x="67" y="51"/>
                    </a:lnTo>
                    <a:lnTo>
                      <a:pt x="67" y="47"/>
                    </a:lnTo>
                    <a:lnTo>
                      <a:pt x="64" y="47"/>
                    </a:lnTo>
                    <a:lnTo>
                      <a:pt x="61" y="44"/>
                    </a:lnTo>
                    <a:lnTo>
                      <a:pt x="61" y="43"/>
                    </a:lnTo>
                    <a:lnTo>
                      <a:pt x="61" y="41"/>
                    </a:lnTo>
                    <a:lnTo>
                      <a:pt x="59" y="40"/>
                    </a:lnTo>
                    <a:lnTo>
                      <a:pt x="58" y="38"/>
                    </a:lnTo>
                    <a:lnTo>
                      <a:pt x="56" y="35"/>
                    </a:lnTo>
                    <a:lnTo>
                      <a:pt x="53" y="30"/>
                    </a:lnTo>
                    <a:lnTo>
                      <a:pt x="50" y="27"/>
                    </a:lnTo>
                    <a:lnTo>
                      <a:pt x="48" y="28"/>
                    </a:lnTo>
                    <a:lnTo>
                      <a:pt x="45" y="28"/>
                    </a:lnTo>
                    <a:lnTo>
                      <a:pt x="42" y="27"/>
                    </a:lnTo>
                    <a:lnTo>
                      <a:pt x="35" y="28"/>
                    </a:lnTo>
                    <a:lnTo>
                      <a:pt x="32" y="27"/>
                    </a:lnTo>
                    <a:lnTo>
                      <a:pt x="29" y="25"/>
                    </a:lnTo>
                    <a:lnTo>
                      <a:pt x="26" y="22"/>
                    </a:lnTo>
                    <a:lnTo>
                      <a:pt x="24" y="22"/>
                    </a:lnTo>
                    <a:lnTo>
                      <a:pt x="23" y="22"/>
                    </a:lnTo>
                    <a:lnTo>
                      <a:pt x="19" y="25"/>
                    </a:lnTo>
                    <a:lnTo>
                      <a:pt x="21" y="28"/>
                    </a:lnTo>
                    <a:lnTo>
                      <a:pt x="26" y="36"/>
                    </a:lnTo>
                    <a:lnTo>
                      <a:pt x="35" y="47"/>
                    </a:lnTo>
                    <a:lnTo>
                      <a:pt x="39" y="47"/>
                    </a:lnTo>
                    <a:lnTo>
                      <a:pt x="40" y="51"/>
                    </a:lnTo>
                    <a:lnTo>
                      <a:pt x="42" y="51"/>
                    </a:lnTo>
                    <a:lnTo>
                      <a:pt x="43" y="51"/>
                    </a:lnTo>
                    <a:lnTo>
                      <a:pt x="45" y="57"/>
                    </a:lnTo>
                    <a:lnTo>
                      <a:pt x="48" y="59"/>
                    </a:lnTo>
                    <a:lnTo>
                      <a:pt x="51" y="62"/>
                    </a:lnTo>
                    <a:lnTo>
                      <a:pt x="53" y="63"/>
                    </a:lnTo>
                    <a:lnTo>
                      <a:pt x="53" y="65"/>
                    </a:lnTo>
                    <a:lnTo>
                      <a:pt x="53" y="68"/>
                    </a:lnTo>
                    <a:lnTo>
                      <a:pt x="54" y="70"/>
                    </a:lnTo>
                    <a:lnTo>
                      <a:pt x="56" y="71"/>
                    </a:lnTo>
                    <a:lnTo>
                      <a:pt x="59" y="73"/>
                    </a:lnTo>
                    <a:lnTo>
                      <a:pt x="62" y="74"/>
                    </a:lnTo>
                    <a:lnTo>
                      <a:pt x="67" y="79"/>
                    </a:lnTo>
                    <a:lnTo>
                      <a:pt x="67" y="79"/>
                    </a:lnTo>
                    <a:lnTo>
                      <a:pt x="67" y="82"/>
                    </a:lnTo>
                    <a:lnTo>
                      <a:pt x="70" y="89"/>
                    </a:lnTo>
                    <a:lnTo>
                      <a:pt x="70" y="93"/>
                    </a:lnTo>
                    <a:lnTo>
                      <a:pt x="73" y="98"/>
                    </a:lnTo>
                    <a:lnTo>
                      <a:pt x="73" y="100"/>
                    </a:lnTo>
                    <a:lnTo>
                      <a:pt x="73" y="100"/>
                    </a:lnTo>
                    <a:lnTo>
                      <a:pt x="75" y="101"/>
                    </a:lnTo>
                    <a:lnTo>
                      <a:pt x="78" y="103"/>
                    </a:lnTo>
                    <a:lnTo>
                      <a:pt x="80" y="105"/>
                    </a:lnTo>
                    <a:lnTo>
                      <a:pt x="80" y="106"/>
                    </a:lnTo>
                    <a:lnTo>
                      <a:pt x="81" y="109"/>
                    </a:lnTo>
                    <a:lnTo>
                      <a:pt x="85" y="113"/>
                    </a:lnTo>
                    <a:lnTo>
                      <a:pt x="88" y="114"/>
                    </a:lnTo>
                    <a:lnTo>
                      <a:pt x="89" y="117"/>
                    </a:lnTo>
                    <a:lnTo>
                      <a:pt x="88" y="120"/>
                    </a:lnTo>
                    <a:lnTo>
                      <a:pt x="88" y="120"/>
                    </a:lnTo>
                    <a:lnTo>
                      <a:pt x="91" y="124"/>
                    </a:lnTo>
                    <a:lnTo>
                      <a:pt x="93" y="128"/>
                    </a:lnTo>
                    <a:lnTo>
                      <a:pt x="94" y="133"/>
                    </a:lnTo>
                    <a:lnTo>
                      <a:pt x="94" y="136"/>
                    </a:lnTo>
                    <a:lnTo>
                      <a:pt x="96" y="138"/>
                    </a:lnTo>
                    <a:lnTo>
                      <a:pt x="99" y="144"/>
                    </a:lnTo>
                    <a:lnTo>
                      <a:pt x="102" y="147"/>
                    </a:lnTo>
                    <a:lnTo>
                      <a:pt x="105" y="151"/>
                    </a:lnTo>
                    <a:lnTo>
                      <a:pt x="108" y="154"/>
                    </a:lnTo>
                    <a:lnTo>
                      <a:pt x="110" y="157"/>
                    </a:lnTo>
                    <a:lnTo>
                      <a:pt x="112" y="160"/>
                    </a:lnTo>
                    <a:lnTo>
                      <a:pt x="115" y="163"/>
                    </a:lnTo>
                    <a:lnTo>
                      <a:pt x="121" y="170"/>
                    </a:lnTo>
                    <a:lnTo>
                      <a:pt x="126" y="173"/>
                    </a:lnTo>
                    <a:lnTo>
                      <a:pt x="129" y="176"/>
                    </a:lnTo>
                    <a:lnTo>
                      <a:pt x="131" y="179"/>
                    </a:lnTo>
                    <a:lnTo>
                      <a:pt x="132" y="182"/>
                    </a:lnTo>
                    <a:lnTo>
                      <a:pt x="135" y="184"/>
                    </a:lnTo>
                    <a:lnTo>
                      <a:pt x="139" y="187"/>
                    </a:lnTo>
                    <a:lnTo>
                      <a:pt x="140" y="189"/>
                    </a:lnTo>
                    <a:lnTo>
                      <a:pt x="140" y="187"/>
                    </a:lnTo>
                    <a:lnTo>
                      <a:pt x="139" y="182"/>
                    </a:lnTo>
                    <a:lnTo>
                      <a:pt x="140" y="182"/>
                    </a:lnTo>
                    <a:lnTo>
                      <a:pt x="142" y="184"/>
                    </a:lnTo>
                    <a:lnTo>
                      <a:pt x="145" y="186"/>
                    </a:lnTo>
                    <a:lnTo>
                      <a:pt x="147" y="186"/>
                    </a:lnTo>
                    <a:lnTo>
                      <a:pt x="148" y="184"/>
                    </a:lnTo>
                    <a:lnTo>
                      <a:pt x="148" y="182"/>
                    </a:lnTo>
                    <a:lnTo>
                      <a:pt x="151" y="184"/>
                    </a:lnTo>
                    <a:lnTo>
                      <a:pt x="154" y="187"/>
                    </a:lnTo>
                    <a:lnTo>
                      <a:pt x="154" y="187"/>
                    </a:lnTo>
                    <a:lnTo>
                      <a:pt x="154" y="187"/>
                    </a:lnTo>
                    <a:lnTo>
                      <a:pt x="154" y="187"/>
                    </a:lnTo>
                    <a:lnTo>
                      <a:pt x="154" y="187"/>
                    </a:lnTo>
                    <a:lnTo>
                      <a:pt x="154" y="187"/>
                    </a:lnTo>
                    <a:lnTo>
                      <a:pt x="154" y="187"/>
                    </a:lnTo>
                    <a:lnTo>
                      <a:pt x="154" y="187"/>
                    </a:lnTo>
                    <a:lnTo>
                      <a:pt x="154" y="187"/>
                    </a:lnTo>
                    <a:close/>
                    <a:moveTo>
                      <a:pt x="316" y="228"/>
                    </a:moveTo>
                    <a:lnTo>
                      <a:pt x="321" y="228"/>
                    </a:lnTo>
                    <a:lnTo>
                      <a:pt x="323" y="227"/>
                    </a:lnTo>
                    <a:lnTo>
                      <a:pt x="321" y="227"/>
                    </a:lnTo>
                    <a:lnTo>
                      <a:pt x="321" y="224"/>
                    </a:lnTo>
                    <a:lnTo>
                      <a:pt x="320" y="221"/>
                    </a:lnTo>
                    <a:lnTo>
                      <a:pt x="318" y="224"/>
                    </a:lnTo>
                    <a:lnTo>
                      <a:pt x="318" y="224"/>
                    </a:lnTo>
                    <a:lnTo>
                      <a:pt x="316" y="224"/>
                    </a:lnTo>
                    <a:lnTo>
                      <a:pt x="315" y="221"/>
                    </a:lnTo>
                    <a:lnTo>
                      <a:pt x="313" y="224"/>
                    </a:lnTo>
                    <a:lnTo>
                      <a:pt x="312" y="224"/>
                    </a:lnTo>
                    <a:lnTo>
                      <a:pt x="312" y="221"/>
                    </a:lnTo>
                    <a:lnTo>
                      <a:pt x="312" y="221"/>
                    </a:lnTo>
                    <a:lnTo>
                      <a:pt x="305" y="221"/>
                    </a:lnTo>
                    <a:lnTo>
                      <a:pt x="305" y="221"/>
                    </a:lnTo>
                    <a:lnTo>
                      <a:pt x="308" y="224"/>
                    </a:lnTo>
                    <a:lnTo>
                      <a:pt x="312" y="227"/>
                    </a:lnTo>
                    <a:lnTo>
                      <a:pt x="312" y="227"/>
                    </a:lnTo>
                    <a:lnTo>
                      <a:pt x="308" y="228"/>
                    </a:lnTo>
                    <a:lnTo>
                      <a:pt x="305" y="227"/>
                    </a:lnTo>
                    <a:lnTo>
                      <a:pt x="305" y="227"/>
                    </a:lnTo>
                    <a:lnTo>
                      <a:pt x="302" y="224"/>
                    </a:lnTo>
                    <a:lnTo>
                      <a:pt x="299" y="224"/>
                    </a:lnTo>
                    <a:lnTo>
                      <a:pt x="296" y="224"/>
                    </a:lnTo>
                    <a:lnTo>
                      <a:pt x="294" y="227"/>
                    </a:lnTo>
                    <a:lnTo>
                      <a:pt x="293" y="227"/>
                    </a:lnTo>
                    <a:lnTo>
                      <a:pt x="293" y="230"/>
                    </a:lnTo>
                    <a:lnTo>
                      <a:pt x="293" y="232"/>
                    </a:lnTo>
                    <a:lnTo>
                      <a:pt x="296" y="233"/>
                    </a:lnTo>
                    <a:lnTo>
                      <a:pt x="297" y="233"/>
                    </a:lnTo>
                    <a:lnTo>
                      <a:pt x="299" y="233"/>
                    </a:lnTo>
                    <a:lnTo>
                      <a:pt x="301" y="233"/>
                    </a:lnTo>
                    <a:lnTo>
                      <a:pt x="302" y="232"/>
                    </a:lnTo>
                    <a:lnTo>
                      <a:pt x="305" y="230"/>
                    </a:lnTo>
                    <a:lnTo>
                      <a:pt x="312" y="228"/>
                    </a:lnTo>
                    <a:lnTo>
                      <a:pt x="313" y="227"/>
                    </a:lnTo>
                    <a:lnTo>
                      <a:pt x="313" y="228"/>
                    </a:lnTo>
                    <a:lnTo>
                      <a:pt x="313" y="230"/>
                    </a:lnTo>
                    <a:lnTo>
                      <a:pt x="315" y="230"/>
                    </a:lnTo>
                    <a:lnTo>
                      <a:pt x="316" y="230"/>
                    </a:lnTo>
                    <a:lnTo>
                      <a:pt x="318" y="230"/>
                    </a:lnTo>
                    <a:lnTo>
                      <a:pt x="320" y="230"/>
                    </a:lnTo>
                    <a:lnTo>
                      <a:pt x="316" y="228"/>
                    </a:lnTo>
                    <a:lnTo>
                      <a:pt x="316" y="228"/>
                    </a:lnTo>
                    <a:lnTo>
                      <a:pt x="316" y="228"/>
                    </a:lnTo>
                    <a:lnTo>
                      <a:pt x="316" y="228"/>
                    </a:lnTo>
                    <a:lnTo>
                      <a:pt x="316" y="228"/>
                    </a:lnTo>
                    <a:lnTo>
                      <a:pt x="316" y="228"/>
                    </a:lnTo>
                    <a:lnTo>
                      <a:pt x="316" y="228"/>
                    </a:lnTo>
                    <a:lnTo>
                      <a:pt x="316" y="228"/>
                    </a:lnTo>
                    <a:lnTo>
                      <a:pt x="316" y="228"/>
                    </a:lnTo>
                    <a:close/>
                    <a:moveTo>
                      <a:pt x="293" y="224"/>
                    </a:moveTo>
                    <a:lnTo>
                      <a:pt x="291" y="221"/>
                    </a:lnTo>
                    <a:lnTo>
                      <a:pt x="288" y="221"/>
                    </a:lnTo>
                    <a:lnTo>
                      <a:pt x="285" y="224"/>
                    </a:lnTo>
                    <a:lnTo>
                      <a:pt x="283" y="227"/>
                    </a:lnTo>
                    <a:lnTo>
                      <a:pt x="283" y="228"/>
                    </a:lnTo>
                    <a:lnTo>
                      <a:pt x="281" y="228"/>
                    </a:lnTo>
                    <a:lnTo>
                      <a:pt x="280" y="228"/>
                    </a:lnTo>
                    <a:lnTo>
                      <a:pt x="281" y="230"/>
                    </a:lnTo>
                    <a:lnTo>
                      <a:pt x="285" y="230"/>
                    </a:lnTo>
                    <a:lnTo>
                      <a:pt x="289" y="230"/>
                    </a:lnTo>
                    <a:lnTo>
                      <a:pt x="289" y="227"/>
                    </a:lnTo>
                    <a:lnTo>
                      <a:pt x="293" y="224"/>
                    </a:lnTo>
                    <a:lnTo>
                      <a:pt x="293" y="224"/>
                    </a:lnTo>
                    <a:lnTo>
                      <a:pt x="293" y="224"/>
                    </a:lnTo>
                    <a:lnTo>
                      <a:pt x="293" y="224"/>
                    </a:lnTo>
                    <a:lnTo>
                      <a:pt x="293" y="224"/>
                    </a:lnTo>
                    <a:lnTo>
                      <a:pt x="293" y="224"/>
                    </a:lnTo>
                    <a:lnTo>
                      <a:pt x="293" y="224"/>
                    </a:lnTo>
                    <a:lnTo>
                      <a:pt x="293" y="224"/>
                    </a:lnTo>
                    <a:lnTo>
                      <a:pt x="293" y="224"/>
                    </a:lnTo>
                    <a:lnTo>
                      <a:pt x="293" y="224"/>
                    </a:lnTo>
                    <a:close/>
                    <a:moveTo>
                      <a:pt x="262" y="227"/>
                    </a:moveTo>
                    <a:lnTo>
                      <a:pt x="261" y="224"/>
                    </a:lnTo>
                    <a:lnTo>
                      <a:pt x="261" y="221"/>
                    </a:lnTo>
                    <a:lnTo>
                      <a:pt x="262" y="217"/>
                    </a:lnTo>
                    <a:lnTo>
                      <a:pt x="262" y="214"/>
                    </a:lnTo>
                    <a:lnTo>
                      <a:pt x="259" y="214"/>
                    </a:lnTo>
                    <a:lnTo>
                      <a:pt x="256" y="214"/>
                    </a:lnTo>
                    <a:lnTo>
                      <a:pt x="254" y="214"/>
                    </a:lnTo>
                    <a:lnTo>
                      <a:pt x="251" y="214"/>
                    </a:lnTo>
                    <a:lnTo>
                      <a:pt x="248" y="214"/>
                    </a:lnTo>
                    <a:lnTo>
                      <a:pt x="245" y="214"/>
                    </a:lnTo>
                    <a:lnTo>
                      <a:pt x="242" y="211"/>
                    </a:lnTo>
                    <a:lnTo>
                      <a:pt x="243" y="208"/>
                    </a:lnTo>
                    <a:lnTo>
                      <a:pt x="242" y="208"/>
                    </a:lnTo>
                    <a:lnTo>
                      <a:pt x="240" y="205"/>
                    </a:lnTo>
                    <a:lnTo>
                      <a:pt x="240" y="203"/>
                    </a:lnTo>
                    <a:lnTo>
                      <a:pt x="237" y="203"/>
                    </a:lnTo>
                    <a:lnTo>
                      <a:pt x="234" y="203"/>
                    </a:lnTo>
                    <a:lnTo>
                      <a:pt x="232" y="203"/>
                    </a:lnTo>
                    <a:lnTo>
                      <a:pt x="231" y="201"/>
                    </a:lnTo>
                    <a:lnTo>
                      <a:pt x="231" y="201"/>
                    </a:lnTo>
                    <a:lnTo>
                      <a:pt x="227" y="200"/>
                    </a:lnTo>
                    <a:lnTo>
                      <a:pt x="227" y="200"/>
                    </a:lnTo>
                    <a:lnTo>
                      <a:pt x="224" y="200"/>
                    </a:lnTo>
                    <a:lnTo>
                      <a:pt x="221" y="200"/>
                    </a:lnTo>
                    <a:lnTo>
                      <a:pt x="221" y="197"/>
                    </a:lnTo>
                    <a:lnTo>
                      <a:pt x="220" y="197"/>
                    </a:lnTo>
                    <a:lnTo>
                      <a:pt x="218" y="197"/>
                    </a:lnTo>
                    <a:lnTo>
                      <a:pt x="216" y="200"/>
                    </a:lnTo>
                    <a:lnTo>
                      <a:pt x="215" y="203"/>
                    </a:lnTo>
                    <a:lnTo>
                      <a:pt x="213" y="205"/>
                    </a:lnTo>
                    <a:lnTo>
                      <a:pt x="212" y="205"/>
                    </a:lnTo>
                    <a:lnTo>
                      <a:pt x="208" y="203"/>
                    </a:lnTo>
                    <a:lnTo>
                      <a:pt x="205" y="203"/>
                    </a:lnTo>
                    <a:lnTo>
                      <a:pt x="199" y="203"/>
                    </a:lnTo>
                    <a:lnTo>
                      <a:pt x="196" y="203"/>
                    </a:lnTo>
                    <a:lnTo>
                      <a:pt x="196" y="201"/>
                    </a:lnTo>
                    <a:lnTo>
                      <a:pt x="193" y="203"/>
                    </a:lnTo>
                    <a:lnTo>
                      <a:pt x="189" y="200"/>
                    </a:lnTo>
                    <a:lnTo>
                      <a:pt x="186" y="195"/>
                    </a:lnTo>
                    <a:lnTo>
                      <a:pt x="186" y="194"/>
                    </a:lnTo>
                    <a:lnTo>
                      <a:pt x="185" y="195"/>
                    </a:lnTo>
                    <a:lnTo>
                      <a:pt x="181" y="194"/>
                    </a:lnTo>
                    <a:lnTo>
                      <a:pt x="180" y="194"/>
                    </a:lnTo>
                    <a:lnTo>
                      <a:pt x="178" y="194"/>
                    </a:lnTo>
                    <a:lnTo>
                      <a:pt x="177" y="192"/>
                    </a:lnTo>
                    <a:lnTo>
                      <a:pt x="175" y="190"/>
                    </a:lnTo>
                    <a:lnTo>
                      <a:pt x="172" y="189"/>
                    </a:lnTo>
                    <a:lnTo>
                      <a:pt x="170" y="189"/>
                    </a:lnTo>
                    <a:lnTo>
                      <a:pt x="169" y="190"/>
                    </a:lnTo>
                    <a:lnTo>
                      <a:pt x="167" y="192"/>
                    </a:lnTo>
                    <a:lnTo>
                      <a:pt x="166" y="190"/>
                    </a:lnTo>
                    <a:lnTo>
                      <a:pt x="164" y="189"/>
                    </a:lnTo>
                    <a:lnTo>
                      <a:pt x="158" y="190"/>
                    </a:lnTo>
                    <a:lnTo>
                      <a:pt x="158" y="189"/>
                    </a:lnTo>
                    <a:lnTo>
                      <a:pt x="158" y="189"/>
                    </a:lnTo>
                    <a:lnTo>
                      <a:pt x="154" y="192"/>
                    </a:lnTo>
                    <a:lnTo>
                      <a:pt x="154" y="195"/>
                    </a:lnTo>
                    <a:lnTo>
                      <a:pt x="154" y="197"/>
                    </a:lnTo>
                    <a:lnTo>
                      <a:pt x="153" y="197"/>
                    </a:lnTo>
                    <a:lnTo>
                      <a:pt x="151" y="201"/>
                    </a:lnTo>
                    <a:lnTo>
                      <a:pt x="150" y="201"/>
                    </a:lnTo>
                    <a:lnTo>
                      <a:pt x="153" y="203"/>
                    </a:lnTo>
                    <a:lnTo>
                      <a:pt x="154" y="203"/>
                    </a:lnTo>
                    <a:lnTo>
                      <a:pt x="158" y="203"/>
                    </a:lnTo>
                    <a:lnTo>
                      <a:pt x="164" y="205"/>
                    </a:lnTo>
                    <a:lnTo>
                      <a:pt x="164" y="205"/>
                    </a:lnTo>
                    <a:lnTo>
                      <a:pt x="161" y="208"/>
                    </a:lnTo>
                    <a:lnTo>
                      <a:pt x="164" y="211"/>
                    </a:lnTo>
                    <a:lnTo>
                      <a:pt x="166" y="211"/>
                    </a:lnTo>
                    <a:lnTo>
                      <a:pt x="172" y="211"/>
                    </a:lnTo>
                    <a:lnTo>
                      <a:pt x="178" y="214"/>
                    </a:lnTo>
                    <a:lnTo>
                      <a:pt x="183" y="214"/>
                    </a:lnTo>
                    <a:lnTo>
                      <a:pt x="186" y="214"/>
                    </a:lnTo>
                    <a:lnTo>
                      <a:pt x="186" y="214"/>
                    </a:lnTo>
                    <a:lnTo>
                      <a:pt x="189" y="214"/>
                    </a:lnTo>
                    <a:lnTo>
                      <a:pt x="189" y="214"/>
                    </a:lnTo>
                    <a:lnTo>
                      <a:pt x="196" y="214"/>
                    </a:lnTo>
                    <a:lnTo>
                      <a:pt x="202" y="214"/>
                    </a:lnTo>
                    <a:lnTo>
                      <a:pt x="210" y="217"/>
                    </a:lnTo>
                    <a:lnTo>
                      <a:pt x="218" y="221"/>
                    </a:lnTo>
                    <a:lnTo>
                      <a:pt x="221" y="221"/>
                    </a:lnTo>
                    <a:lnTo>
                      <a:pt x="224" y="221"/>
                    </a:lnTo>
                    <a:lnTo>
                      <a:pt x="227" y="224"/>
                    </a:lnTo>
                    <a:lnTo>
                      <a:pt x="231" y="224"/>
                    </a:lnTo>
                    <a:lnTo>
                      <a:pt x="237" y="224"/>
                    </a:lnTo>
                    <a:lnTo>
                      <a:pt x="242" y="224"/>
                    </a:lnTo>
                    <a:lnTo>
                      <a:pt x="245" y="224"/>
                    </a:lnTo>
                    <a:lnTo>
                      <a:pt x="248" y="221"/>
                    </a:lnTo>
                    <a:lnTo>
                      <a:pt x="250" y="224"/>
                    </a:lnTo>
                    <a:lnTo>
                      <a:pt x="256" y="227"/>
                    </a:lnTo>
                    <a:lnTo>
                      <a:pt x="258" y="227"/>
                    </a:lnTo>
                    <a:lnTo>
                      <a:pt x="261" y="227"/>
                    </a:lnTo>
                    <a:lnTo>
                      <a:pt x="262" y="228"/>
                    </a:lnTo>
                    <a:lnTo>
                      <a:pt x="264" y="228"/>
                    </a:lnTo>
                    <a:lnTo>
                      <a:pt x="262" y="227"/>
                    </a:lnTo>
                    <a:lnTo>
                      <a:pt x="262" y="227"/>
                    </a:lnTo>
                    <a:lnTo>
                      <a:pt x="262" y="227"/>
                    </a:lnTo>
                    <a:lnTo>
                      <a:pt x="262" y="227"/>
                    </a:lnTo>
                    <a:lnTo>
                      <a:pt x="262" y="227"/>
                    </a:lnTo>
                    <a:lnTo>
                      <a:pt x="262" y="227"/>
                    </a:lnTo>
                    <a:lnTo>
                      <a:pt x="262" y="227"/>
                    </a:lnTo>
                    <a:lnTo>
                      <a:pt x="262" y="227"/>
                    </a:lnTo>
                    <a:lnTo>
                      <a:pt x="262" y="227"/>
                    </a:lnTo>
                    <a:lnTo>
                      <a:pt x="262" y="227"/>
                    </a:lnTo>
                    <a:close/>
                    <a:moveTo>
                      <a:pt x="153" y="133"/>
                    </a:moveTo>
                    <a:lnTo>
                      <a:pt x="154" y="135"/>
                    </a:lnTo>
                    <a:lnTo>
                      <a:pt x="158" y="136"/>
                    </a:lnTo>
                    <a:lnTo>
                      <a:pt x="158" y="138"/>
                    </a:lnTo>
                    <a:lnTo>
                      <a:pt x="158" y="141"/>
                    </a:lnTo>
                    <a:lnTo>
                      <a:pt x="161" y="144"/>
                    </a:lnTo>
                    <a:lnTo>
                      <a:pt x="164" y="147"/>
                    </a:lnTo>
                    <a:lnTo>
                      <a:pt x="166" y="147"/>
                    </a:lnTo>
                    <a:lnTo>
                      <a:pt x="167" y="147"/>
                    </a:lnTo>
                    <a:lnTo>
                      <a:pt x="167" y="147"/>
                    </a:lnTo>
                    <a:lnTo>
                      <a:pt x="166" y="144"/>
                    </a:lnTo>
                    <a:lnTo>
                      <a:pt x="167" y="141"/>
                    </a:lnTo>
                    <a:lnTo>
                      <a:pt x="169" y="141"/>
                    </a:lnTo>
                    <a:lnTo>
                      <a:pt x="166" y="141"/>
                    </a:lnTo>
                    <a:lnTo>
                      <a:pt x="164" y="138"/>
                    </a:lnTo>
                    <a:lnTo>
                      <a:pt x="161" y="136"/>
                    </a:lnTo>
                    <a:lnTo>
                      <a:pt x="161" y="132"/>
                    </a:lnTo>
                    <a:lnTo>
                      <a:pt x="161" y="127"/>
                    </a:lnTo>
                    <a:lnTo>
                      <a:pt x="158" y="125"/>
                    </a:lnTo>
                    <a:lnTo>
                      <a:pt x="158" y="125"/>
                    </a:lnTo>
                    <a:lnTo>
                      <a:pt x="154" y="127"/>
                    </a:lnTo>
                    <a:lnTo>
                      <a:pt x="158" y="128"/>
                    </a:lnTo>
                    <a:lnTo>
                      <a:pt x="154" y="127"/>
                    </a:lnTo>
                    <a:lnTo>
                      <a:pt x="153" y="125"/>
                    </a:lnTo>
                    <a:lnTo>
                      <a:pt x="151" y="128"/>
                    </a:lnTo>
                    <a:lnTo>
                      <a:pt x="151" y="130"/>
                    </a:lnTo>
                    <a:lnTo>
                      <a:pt x="148" y="133"/>
                    </a:lnTo>
                    <a:lnTo>
                      <a:pt x="151" y="133"/>
                    </a:lnTo>
                    <a:lnTo>
                      <a:pt x="153" y="133"/>
                    </a:lnTo>
                    <a:lnTo>
                      <a:pt x="153" y="133"/>
                    </a:lnTo>
                    <a:lnTo>
                      <a:pt x="153" y="133"/>
                    </a:lnTo>
                    <a:lnTo>
                      <a:pt x="153" y="133"/>
                    </a:lnTo>
                    <a:lnTo>
                      <a:pt x="153" y="133"/>
                    </a:lnTo>
                    <a:lnTo>
                      <a:pt x="153" y="133"/>
                    </a:lnTo>
                    <a:lnTo>
                      <a:pt x="153" y="133"/>
                    </a:lnTo>
                    <a:lnTo>
                      <a:pt x="153" y="133"/>
                    </a:lnTo>
                    <a:lnTo>
                      <a:pt x="153" y="133"/>
                    </a:lnTo>
                    <a:close/>
                    <a:moveTo>
                      <a:pt x="200" y="103"/>
                    </a:moveTo>
                    <a:lnTo>
                      <a:pt x="199" y="105"/>
                    </a:lnTo>
                    <a:lnTo>
                      <a:pt x="200" y="108"/>
                    </a:lnTo>
                    <a:lnTo>
                      <a:pt x="199" y="108"/>
                    </a:lnTo>
                    <a:lnTo>
                      <a:pt x="199" y="109"/>
                    </a:lnTo>
                    <a:lnTo>
                      <a:pt x="199" y="111"/>
                    </a:lnTo>
                    <a:lnTo>
                      <a:pt x="202" y="113"/>
                    </a:lnTo>
                    <a:lnTo>
                      <a:pt x="204" y="114"/>
                    </a:lnTo>
                    <a:lnTo>
                      <a:pt x="202" y="114"/>
                    </a:lnTo>
                    <a:lnTo>
                      <a:pt x="200" y="114"/>
                    </a:lnTo>
                    <a:lnTo>
                      <a:pt x="200" y="114"/>
                    </a:lnTo>
                    <a:lnTo>
                      <a:pt x="200" y="117"/>
                    </a:lnTo>
                    <a:lnTo>
                      <a:pt x="204" y="117"/>
                    </a:lnTo>
                    <a:lnTo>
                      <a:pt x="205" y="117"/>
                    </a:lnTo>
                    <a:lnTo>
                      <a:pt x="205" y="117"/>
                    </a:lnTo>
                    <a:lnTo>
                      <a:pt x="207" y="117"/>
                    </a:lnTo>
                    <a:lnTo>
                      <a:pt x="208" y="117"/>
                    </a:lnTo>
                    <a:lnTo>
                      <a:pt x="208" y="120"/>
                    </a:lnTo>
                    <a:lnTo>
                      <a:pt x="210" y="124"/>
                    </a:lnTo>
                    <a:lnTo>
                      <a:pt x="212" y="125"/>
                    </a:lnTo>
                    <a:lnTo>
                      <a:pt x="210" y="127"/>
                    </a:lnTo>
                    <a:lnTo>
                      <a:pt x="208" y="130"/>
                    </a:lnTo>
                    <a:lnTo>
                      <a:pt x="210" y="132"/>
                    </a:lnTo>
                    <a:lnTo>
                      <a:pt x="212" y="133"/>
                    </a:lnTo>
                    <a:lnTo>
                      <a:pt x="212" y="138"/>
                    </a:lnTo>
                    <a:lnTo>
                      <a:pt x="213" y="141"/>
                    </a:lnTo>
                    <a:lnTo>
                      <a:pt x="213" y="144"/>
                    </a:lnTo>
                    <a:lnTo>
                      <a:pt x="213" y="147"/>
                    </a:lnTo>
                    <a:lnTo>
                      <a:pt x="216" y="144"/>
                    </a:lnTo>
                    <a:lnTo>
                      <a:pt x="218" y="144"/>
                    </a:lnTo>
                    <a:lnTo>
                      <a:pt x="218" y="147"/>
                    </a:lnTo>
                    <a:lnTo>
                      <a:pt x="220" y="147"/>
                    </a:lnTo>
                    <a:lnTo>
                      <a:pt x="221" y="147"/>
                    </a:lnTo>
                    <a:lnTo>
                      <a:pt x="224" y="147"/>
                    </a:lnTo>
                    <a:lnTo>
                      <a:pt x="227" y="144"/>
                    </a:lnTo>
                    <a:lnTo>
                      <a:pt x="231" y="147"/>
                    </a:lnTo>
                    <a:lnTo>
                      <a:pt x="231" y="144"/>
                    </a:lnTo>
                    <a:lnTo>
                      <a:pt x="232" y="147"/>
                    </a:lnTo>
                    <a:lnTo>
                      <a:pt x="232" y="154"/>
                    </a:lnTo>
                    <a:lnTo>
                      <a:pt x="234" y="154"/>
                    </a:lnTo>
                    <a:lnTo>
                      <a:pt x="235" y="154"/>
                    </a:lnTo>
                    <a:lnTo>
                      <a:pt x="237" y="151"/>
                    </a:lnTo>
                    <a:lnTo>
                      <a:pt x="239" y="151"/>
                    </a:lnTo>
                    <a:lnTo>
                      <a:pt x="240" y="151"/>
                    </a:lnTo>
                    <a:lnTo>
                      <a:pt x="242" y="152"/>
                    </a:lnTo>
                    <a:lnTo>
                      <a:pt x="243" y="152"/>
                    </a:lnTo>
                    <a:lnTo>
                      <a:pt x="247" y="149"/>
                    </a:lnTo>
                    <a:lnTo>
                      <a:pt x="248" y="144"/>
                    </a:lnTo>
                    <a:lnTo>
                      <a:pt x="251" y="149"/>
                    </a:lnTo>
                    <a:lnTo>
                      <a:pt x="253" y="149"/>
                    </a:lnTo>
                    <a:lnTo>
                      <a:pt x="254" y="149"/>
                    </a:lnTo>
                    <a:lnTo>
                      <a:pt x="256" y="149"/>
                    </a:lnTo>
                    <a:lnTo>
                      <a:pt x="256" y="151"/>
                    </a:lnTo>
                    <a:lnTo>
                      <a:pt x="256" y="152"/>
                    </a:lnTo>
                    <a:lnTo>
                      <a:pt x="256" y="154"/>
                    </a:lnTo>
                    <a:lnTo>
                      <a:pt x="259" y="152"/>
                    </a:lnTo>
                    <a:lnTo>
                      <a:pt x="261" y="149"/>
                    </a:lnTo>
                    <a:lnTo>
                      <a:pt x="261" y="151"/>
                    </a:lnTo>
                    <a:lnTo>
                      <a:pt x="262" y="151"/>
                    </a:lnTo>
                    <a:lnTo>
                      <a:pt x="264" y="149"/>
                    </a:lnTo>
                    <a:lnTo>
                      <a:pt x="264" y="152"/>
                    </a:lnTo>
                    <a:lnTo>
                      <a:pt x="267" y="151"/>
                    </a:lnTo>
                    <a:lnTo>
                      <a:pt x="267" y="154"/>
                    </a:lnTo>
                    <a:lnTo>
                      <a:pt x="270" y="157"/>
                    </a:lnTo>
                    <a:lnTo>
                      <a:pt x="267" y="162"/>
                    </a:lnTo>
                    <a:lnTo>
                      <a:pt x="270" y="163"/>
                    </a:lnTo>
                    <a:lnTo>
                      <a:pt x="270" y="162"/>
                    </a:lnTo>
                    <a:lnTo>
                      <a:pt x="277" y="160"/>
                    </a:lnTo>
                    <a:lnTo>
                      <a:pt x="285" y="155"/>
                    </a:lnTo>
                    <a:lnTo>
                      <a:pt x="286" y="154"/>
                    </a:lnTo>
                    <a:lnTo>
                      <a:pt x="288" y="152"/>
                    </a:lnTo>
                    <a:lnTo>
                      <a:pt x="288" y="154"/>
                    </a:lnTo>
                    <a:lnTo>
                      <a:pt x="288" y="162"/>
                    </a:lnTo>
                    <a:lnTo>
                      <a:pt x="289" y="160"/>
                    </a:lnTo>
                    <a:lnTo>
                      <a:pt x="291" y="157"/>
                    </a:lnTo>
                    <a:lnTo>
                      <a:pt x="289" y="154"/>
                    </a:lnTo>
                    <a:lnTo>
                      <a:pt x="291" y="151"/>
                    </a:lnTo>
                    <a:lnTo>
                      <a:pt x="289" y="151"/>
                    </a:lnTo>
                    <a:lnTo>
                      <a:pt x="288" y="151"/>
                    </a:lnTo>
                    <a:lnTo>
                      <a:pt x="288" y="149"/>
                    </a:lnTo>
                    <a:lnTo>
                      <a:pt x="291" y="147"/>
                    </a:lnTo>
                    <a:lnTo>
                      <a:pt x="289" y="147"/>
                    </a:lnTo>
                    <a:lnTo>
                      <a:pt x="291" y="144"/>
                    </a:lnTo>
                    <a:lnTo>
                      <a:pt x="293" y="141"/>
                    </a:lnTo>
                    <a:lnTo>
                      <a:pt x="291" y="141"/>
                    </a:lnTo>
                    <a:lnTo>
                      <a:pt x="294" y="141"/>
                    </a:lnTo>
                    <a:lnTo>
                      <a:pt x="294" y="138"/>
                    </a:lnTo>
                    <a:lnTo>
                      <a:pt x="296" y="135"/>
                    </a:lnTo>
                    <a:lnTo>
                      <a:pt x="293" y="135"/>
                    </a:lnTo>
                    <a:lnTo>
                      <a:pt x="291" y="135"/>
                    </a:lnTo>
                    <a:lnTo>
                      <a:pt x="293" y="132"/>
                    </a:lnTo>
                    <a:lnTo>
                      <a:pt x="293" y="130"/>
                    </a:lnTo>
                    <a:lnTo>
                      <a:pt x="291" y="130"/>
                    </a:lnTo>
                    <a:lnTo>
                      <a:pt x="294" y="127"/>
                    </a:lnTo>
                    <a:lnTo>
                      <a:pt x="294" y="125"/>
                    </a:lnTo>
                    <a:lnTo>
                      <a:pt x="296" y="124"/>
                    </a:lnTo>
                    <a:lnTo>
                      <a:pt x="297" y="124"/>
                    </a:lnTo>
                    <a:lnTo>
                      <a:pt x="297" y="120"/>
                    </a:lnTo>
                    <a:lnTo>
                      <a:pt x="297" y="117"/>
                    </a:lnTo>
                    <a:lnTo>
                      <a:pt x="299" y="120"/>
                    </a:lnTo>
                    <a:lnTo>
                      <a:pt x="301" y="120"/>
                    </a:lnTo>
                    <a:lnTo>
                      <a:pt x="302" y="117"/>
                    </a:lnTo>
                    <a:lnTo>
                      <a:pt x="305" y="114"/>
                    </a:lnTo>
                    <a:lnTo>
                      <a:pt x="305" y="117"/>
                    </a:lnTo>
                    <a:lnTo>
                      <a:pt x="305" y="117"/>
                    </a:lnTo>
                    <a:lnTo>
                      <a:pt x="308" y="114"/>
                    </a:lnTo>
                    <a:lnTo>
                      <a:pt x="308" y="114"/>
                    </a:lnTo>
                    <a:lnTo>
                      <a:pt x="308" y="113"/>
                    </a:lnTo>
                    <a:lnTo>
                      <a:pt x="308" y="111"/>
                    </a:lnTo>
                    <a:lnTo>
                      <a:pt x="305" y="111"/>
                    </a:lnTo>
                    <a:lnTo>
                      <a:pt x="305" y="105"/>
                    </a:lnTo>
                    <a:lnTo>
                      <a:pt x="308" y="97"/>
                    </a:lnTo>
                    <a:lnTo>
                      <a:pt x="308" y="93"/>
                    </a:lnTo>
                    <a:lnTo>
                      <a:pt x="312" y="92"/>
                    </a:lnTo>
                    <a:lnTo>
                      <a:pt x="312" y="92"/>
                    </a:lnTo>
                    <a:lnTo>
                      <a:pt x="313" y="90"/>
                    </a:lnTo>
                    <a:lnTo>
                      <a:pt x="312" y="89"/>
                    </a:lnTo>
                    <a:lnTo>
                      <a:pt x="316" y="90"/>
                    </a:lnTo>
                    <a:lnTo>
                      <a:pt x="318" y="92"/>
                    </a:lnTo>
                    <a:lnTo>
                      <a:pt x="321" y="92"/>
                    </a:lnTo>
                    <a:lnTo>
                      <a:pt x="323" y="90"/>
                    </a:lnTo>
                    <a:lnTo>
                      <a:pt x="326" y="89"/>
                    </a:lnTo>
                    <a:lnTo>
                      <a:pt x="324" y="89"/>
                    </a:lnTo>
                    <a:lnTo>
                      <a:pt x="323" y="86"/>
                    </a:lnTo>
                    <a:lnTo>
                      <a:pt x="320" y="86"/>
                    </a:lnTo>
                    <a:lnTo>
                      <a:pt x="316" y="79"/>
                    </a:lnTo>
                    <a:lnTo>
                      <a:pt x="312" y="78"/>
                    </a:lnTo>
                    <a:lnTo>
                      <a:pt x="312" y="76"/>
                    </a:lnTo>
                    <a:lnTo>
                      <a:pt x="312" y="74"/>
                    </a:lnTo>
                    <a:lnTo>
                      <a:pt x="312" y="73"/>
                    </a:lnTo>
                    <a:lnTo>
                      <a:pt x="313" y="71"/>
                    </a:lnTo>
                    <a:lnTo>
                      <a:pt x="313" y="70"/>
                    </a:lnTo>
                    <a:lnTo>
                      <a:pt x="312" y="65"/>
                    </a:lnTo>
                    <a:lnTo>
                      <a:pt x="308" y="63"/>
                    </a:lnTo>
                    <a:lnTo>
                      <a:pt x="308" y="62"/>
                    </a:lnTo>
                    <a:lnTo>
                      <a:pt x="305" y="62"/>
                    </a:lnTo>
                    <a:lnTo>
                      <a:pt x="308" y="60"/>
                    </a:lnTo>
                    <a:lnTo>
                      <a:pt x="308" y="59"/>
                    </a:lnTo>
                    <a:lnTo>
                      <a:pt x="305" y="59"/>
                    </a:lnTo>
                    <a:lnTo>
                      <a:pt x="302" y="57"/>
                    </a:lnTo>
                    <a:lnTo>
                      <a:pt x="305" y="57"/>
                    </a:lnTo>
                    <a:lnTo>
                      <a:pt x="305" y="54"/>
                    </a:lnTo>
                    <a:lnTo>
                      <a:pt x="302" y="54"/>
                    </a:lnTo>
                    <a:lnTo>
                      <a:pt x="301" y="51"/>
                    </a:lnTo>
                    <a:lnTo>
                      <a:pt x="302" y="51"/>
                    </a:lnTo>
                    <a:lnTo>
                      <a:pt x="305" y="51"/>
                    </a:lnTo>
                    <a:lnTo>
                      <a:pt x="305" y="47"/>
                    </a:lnTo>
                    <a:lnTo>
                      <a:pt x="308" y="51"/>
                    </a:lnTo>
                    <a:lnTo>
                      <a:pt x="308" y="51"/>
                    </a:lnTo>
                    <a:lnTo>
                      <a:pt x="308" y="51"/>
                    </a:lnTo>
                    <a:lnTo>
                      <a:pt x="308" y="47"/>
                    </a:lnTo>
                    <a:lnTo>
                      <a:pt x="305" y="47"/>
                    </a:lnTo>
                    <a:lnTo>
                      <a:pt x="305" y="44"/>
                    </a:lnTo>
                    <a:lnTo>
                      <a:pt x="305" y="44"/>
                    </a:lnTo>
                    <a:lnTo>
                      <a:pt x="302" y="43"/>
                    </a:lnTo>
                    <a:lnTo>
                      <a:pt x="302" y="43"/>
                    </a:lnTo>
                    <a:lnTo>
                      <a:pt x="301" y="41"/>
                    </a:lnTo>
                    <a:lnTo>
                      <a:pt x="299" y="41"/>
                    </a:lnTo>
                    <a:lnTo>
                      <a:pt x="299" y="41"/>
                    </a:lnTo>
                    <a:lnTo>
                      <a:pt x="296" y="41"/>
                    </a:lnTo>
                    <a:lnTo>
                      <a:pt x="293" y="40"/>
                    </a:lnTo>
                    <a:lnTo>
                      <a:pt x="293" y="41"/>
                    </a:lnTo>
                    <a:lnTo>
                      <a:pt x="289" y="41"/>
                    </a:lnTo>
                    <a:lnTo>
                      <a:pt x="286" y="41"/>
                    </a:lnTo>
                    <a:lnTo>
                      <a:pt x="285" y="41"/>
                    </a:lnTo>
                    <a:lnTo>
                      <a:pt x="283" y="43"/>
                    </a:lnTo>
                    <a:lnTo>
                      <a:pt x="281" y="47"/>
                    </a:lnTo>
                    <a:lnTo>
                      <a:pt x="281" y="54"/>
                    </a:lnTo>
                    <a:lnTo>
                      <a:pt x="281" y="54"/>
                    </a:lnTo>
                    <a:lnTo>
                      <a:pt x="280" y="57"/>
                    </a:lnTo>
                    <a:lnTo>
                      <a:pt x="280" y="59"/>
                    </a:lnTo>
                    <a:lnTo>
                      <a:pt x="277" y="60"/>
                    </a:lnTo>
                    <a:lnTo>
                      <a:pt x="277" y="62"/>
                    </a:lnTo>
                    <a:lnTo>
                      <a:pt x="277" y="63"/>
                    </a:lnTo>
                    <a:lnTo>
                      <a:pt x="277" y="67"/>
                    </a:lnTo>
                    <a:lnTo>
                      <a:pt x="274" y="70"/>
                    </a:lnTo>
                    <a:lnTo>
                      <a:pt x="274" y="71"/>
                    </a:lnTo>
                    <a:lnTo>
                      <a:pt x="274" y="74"/>
                    </a:lnTo>
                    <a:lnTo>
                      <a:pt x="274" y="76"/>
                    </a:lnTo>
                    <a:lnTo>
                      <a:pt x="270" y="79"/>
                    </a:lnTo>
                    <a:lnTo>
                      <a:pt x="270" y="79"/>
                    </a:lnTo>
                    <a:lnTo>
                      <a:pt x="270" y="82"/>
                    </a:lnTo>
                    <a:lnTo>
                      <a:pt x="267" y="82"/>
                    </a:lnTo>
                    <a:lnTo>
                      <a:pt x="264" y="82"/>
                    </a:lnTo>
                    <a:lnTo>
                      <a:pt x="262" y="82"/>
                    </a:lnTo>
                    <a:lnTo>
                      <a:pt x="261" y="82"/>
                    </a:lnTo>
                    <a:lnTo>
                      <a:pt x="258" y="86"/>
                    </a:lnTo>
                    <a:lnTo>
                      <a:pt x="256" y="86"/>
                    </a:lnTo>
                    <a:lnTo>
                      <a:pt x="251" y="82"/>
                    </a:lnTo>
                    <a:lnTo>
                      <a:pt x="248" y="82"/>
                    </a:lnTo>
                    <a:lnTo>
                      <a:pt x="247" y="79"/>
                    </a:lnTo>
                    <a:lnTo>
                      <a:pt x="243" y="79"/>
                    </a:lnTo>
                    <a:lnTo>
                      <a:pt x="240" y="82"/>
                    </a:lnTo>
                    <a:lnTo>
                      <a:pt x="239" y="82"/>
                    </a:lnTo>
                    <a:lnTo>
                      <a:pt x="237" y="86"/>
                    </a:lnTo>
                    <a:lnTo>
                      <a:pt x="234" y="89"/>
                    </a:lnTo>
                    <a:lnTo>
                      <a:pt x="231" y="89"/>
                    </a:lnTo>
                    <a:lnTo>
                      <a:pt x="227" y="89"/>
                    </a:lnTo>
                    <a:lnTo>
                      <a:pt x="224" y="89"/>
                    </a:lnTo>
                    <a:lnTo>
                      <a:pt x="221" y="90"/>
                    </a:lnTo>
                    <a:lnTo>
                      <a:pt x="220" y="90"/>
                    </a:lnTo>
                    <a:lnTo>
                      <a:pt x="218" y="90"/>
                    </a:lnTo>
                    <a:lnTo>
                      <a:pt x="215" y="89"/>
                    </a:lnTo>
                    <a:lnTo>
                      <a:pt x="212" y="86"/>
                    </a:lnTo>
                    <a:lnTo>
                      <a:pt x="207" y="82"/>
                    </a:lnTo>
                    <a:lnTo>
                      <a:pt x="205" y="78"/>
                    </a:lnTo>
                    <a:lnTo>
                      <a:pt x="205" y="76"/>
                    </a:lnTo>
                    <a:lnTo>
                      <a:pt x="205" y="74"/>
                    </a:lnTo>
                    <a:lnTo>
                      <a:pt x="204" y="76"/>
                    </a:lnTo>
                    <a:lnTo>
                      <a:pt x="202" y="78"/>
                    </a:lnTo>
                    <a:lnTo>
                      <a:pt x="200" y="79"/>
                    </a:lnTo>
                    <a:lnTo>
                      <a:pt x="199" y="82"/>
                    </a:lnTo>
                    <a:lnTo>
                      <a:pt x="199" y="86"/>
                    </a:lnTo>
                    <a:lnTo>
                      <a:pt x="199" y="86"/>
                    </a:lnTo>
                    <a:lnTo>
                      <a:pt x="200" y="82"/>
                    </a:lnTo>
                    <a:lnTo>
                      <a:pt x="199" y="86"/>
                    </a:lnTo>
                    <a:lnTo>
                      <a:pt x="199" y="89"/>
                    </a:lnTo>
                    <a:lnTo>
                      <a:pt x="199" y="89"/>
                    </a:lnTo>
                    <a:lnTo>
                      <a:pt x="196" y="90"/>
                    </a:lnTo>
                    <a:lnTo>
                      <a:pt x="196" y="93"/>
                    </a:lnTo>
                    <a:lnTo>
                      <a:pt x="196" y="97"/>
                    </a:lnTo>
                    <a:lnTo>
                      <a:pt x="199" y="100"/>
                    </a:lnTo>
                    <a:lnTo>
                      <a:pt x="200" y="103"/>
                    </a:lnTo>
                    <a:lnTo>
                      <a:pt x="200" y="103"/>
                    </a:lnTo>
                    <a:lnTo>
                      <a:pt x="200" y="103"/>
                    </a:lnTo>
                    <a:lnTo>
                      <a:pt x="200" y="103"/>
                    </a:lnTo>
                    <a:lnTo>
                      <a:pt x="200" y="103"/>
                    </a:lnTo>
                    <a:lnTo>
                      <a:pt x="200" y="103"/>
                    </a:lnTo>
                    <a:lnTo>
                      <a:pt x="200" y="103"/>
                    </a:lnTo>
                    <a:lnTo>
                      <a:pt x="200" y="103"/>
                    </a:lnTo>
                    <a:lnTo>
                      <a:pt x="200" y="103"/>
                    </a:lnTo>
                    <a:close/>
                    <a:moveTo>
                      <a:pt x="183" y="147"/>
                    </a:moveTo>
                    <a:lnTo>
                      <a:pt x="185" y="149"/>
                    </a:lnTo>
                    <a:lnTo>
                      <a:pt x="186" y="149"/>
                    </a:lnTo>
                    <a:lnTo>
                      <a:pt x="186" y="147"/>
                    </a:lnTo>
                    <a:lnTo>
                      <a:pt x="186" y="144"/>
                    </a:lnTo>
                    <a:lnTo>
                      <a:pt x="186" y="141"/>
                    </a:lnTo>
                    <a:lnTo>
                      <a:pt x="186" y="141"/>
                    </a:lnTo>
                    <a:lnTo>
                      <a:pt x="181" y="141"/>
                    </a:lnTo>
                    <a:lnTo>
                      <a:pt x="180" y="144"/>
                    </a:lnTo>
                    <a:lnTo>
                      <a:pt x="180" y="147"/>
                    </a:lnTo>
                    <a:lnTo>
                      <a:pt x="180" y="147"/>
                    </a:lnTo>
                    <a:lnTo>
                      <a:pt x="181" y="149"/>
                    </a:lnTo>
                    <a:lnTo>
                      <a:pt x="183" y="147"/>
                    </a:lnTo>
                    <a:lnTo>
                      <a:pt x="183" y="147"/>
                    </a:lnTo>
                    <a:lnTo>
                      <a:pt x="183" y="147"/>
                    </a:lnTo>
                    <a:lnTo>
                      <a:pt x="183" y="147"/>
                    </a:lnTo>
                    <a:lnTo>
                      <a:pt x="183" y="147"/>
                    </a:lnTo>
                    <a:lnTo>
                      <a:pt x="183" y="147"/>
                    </a:lnTo>
                    <a:lnTo>
                      <a:pt x="183" y="147"/>
                    </a:lnTo>
                    <a:lnTo>
                      <a:pt x="183" y="147"/>
                    </a:lnTo>
                    <a:lnTo>
                      <a:pt x="183" y="147"/>
                    </a:lnTo>
                    <a:close/>
                    <a:moveTo>
                      <a:pt x="447" y="73"/>
                    </a:moveTo>
                    <a:lnTo>
                      <a:pt x="448" y="71"/>
                    </a:lnTo>
                    <a:lnTo>
                      <a:pt x="448" y="68"/>
                    </a:lnTo>
                    <a:lnTo>
                      <a:pt x="447" y="65"/>
                    </a:lnTo>
                    <a:lnTo>
                      <a:pt x="445" y="67"/>
                    </a:lnTo>
                    <a:lnTo>
                      <a:pt x="443" y="68"/>
                    </a:lnTo>
                    <a:lnTo>
                      <a:pt x="442" y="71"/>
                    </a:lnTo>
                    <a:lnTo>
                      <a:pt x="443" y="74"/>
                    </a:lnTo>
                    <a:lnTo>
                      <a:pt x="447" y="73"/>
                    </a:lnTo>
                    <a:lnTo>
                      <a:pt x="447" y="73"/>
                    </a:lnTo>
                    <a:lnTo>
                      <a:pt x="447" y="73"/>
                    </a:lnTo>
                    <a:lnTo>
                      <a:pt x="447" y="73"/>
                    </a:lnTo>
                    <a:lnTo>
                      <a:pt x="447" y="73"/>
                    </a:lnTo>
                    <a:lnTo>
                      <a:pt x="447" y="73"/>
                    </a:lnTo>
                    <a:lnTo>
                      <a:pt x="447" y="73"/>
                    </a:lnTo>
                    <a:lnTo>
                      <a:pt x="447" y="73"/>
                    </a:lnTo>
                    <a:lnTo>
                      <a:pt x="447" y="73"/>
                    </a:lnTo>
                    <a:close/>
                    <a:moveTo>
                      <a:pt x="437" y="92"/>
                    </a:moveTo>
                    <a:lnTo>
                      <a:pt x="434" y="95"/>
                    </a:lnTo>
                    <a:lnTo>
                      <a:pt x="437" y="98"/>
                    </a:lnTo>
                    <a:lnTo>
                      <a:pt x="437" y="101"/>
                    </a:lnTo>
                    <a:lnTo>
                      <a:pt x="437" y="103"/>
                    </a:lnTo>
                    <a:lnTo>
                      <a:pt x="437" y="106"/>
                    </a:lnTo>
                    <a:lnTo>
                      <a:pt x="437" y="108"/>
                    </a:lnTo>
                    <a:lnTo>
                      <a:pt x="439" y="113"/>
                    </a:lnTo>
                    <a:lnTo>
                      <a:pt x="442" y="114"/>
                    </a:lnTo>
                    <a:lnTo>
                      <a:pt x="443" y="117"/>
                    </a:lnTo>
                    <a:lnTo>
                      <a:pt x="445" y="117"/>
                    </a:lnTo>
                    <a:lnTo>
                      <a:pt x="442" y="113"/>
                    </a:lnTo>
                    <a:lnTo>
                      <a:pt x="440" y="109"/>
                    </a:lnTo>
                    <a:lnTo>
                      <a:pt x="439" y="100"/>
                    </a:lnTo>
                    <a:lnTo>
                      <a:pt x="439" y="97"/>
                    </a:lnTo>
                    <a:lnTo>
                      <a:pt x="440" y="97"/>
                    </a:lnTo>
                    <a:lnTo>
                      <a:pt x="442" y="97"/>
                    </a:lnTo>
                    <a:lnTo>
                      <a:pt x="447" y="98"/>
                    </a:lnTo>
                    <a:lnTo>
                      <a:pt x="451" y="100"/>
                    </a:lnTo>
                    <a:lnTo>
                      <a:pt x="450" y="98"/>
                    </a:lnTo>
                    <a:lnTo>
                      <a:pt x="448" y="95"/>
                    </a:lnTo>
                    <a:lnTo>
                      <a:pt x="445" y="93"/>
                    </a:lnTo>
                    <a:lnTo>
                      <a:pt x="443" y="93"/>
                    </a:lnTo>
                    <a:lnTo>
                      <a:pt x="443" y="90"/>
                    </a:lnTo>
                    <a:lnTo>
                      <a:pt x="447" y="89"/>
                    </a:lnTo>
                    <a:lnTo>
                      <a:pt x="448" y="89"/>
                    </a:lnTo>
                    <a:lnTo>
                      <a:pt x="450" y="86"/>
                    </a:lnTo>
                    <a:lnTo>
                      <a:pt x="450" y="82"/>
                    </a:lnTo>
                    <a:lnTo>
                      <a:pt x="450" y="82"/>
                    </a:lnTo>
                    <a:lnTo>
                      <a:pt x="447" y="82"/>
                    </a:lnTo>
                    <a:lnTo>
                      <a:pt x="445" y="82"/>
                    </a:lnTo>
                    <a:lnTo>
                      <a:pt x="442" y="86"/>
                    </a:lnTo>
                    <a:lnTo>
                      <a:pt x="440" y="89"/>
                    </a:lnTo>
                    <a:lnTo>
                      <a:pt x="439" y="89"/>
                    </a:lnTo>
                    <a:lnTo>
                      <a:pt x="439" y="90"/>
                    </a:lnTo>
                    <a:lnTo>
                      <a:pt x="437" y="92"/>
                    </a:lnTo>
                    <a:lnTo>
                      <a:pt x="437" y="90"/>
                    </a:lnTo>
                    <a:lnTo>
                      <a:pt x="437" y="89"/>
                    </a:lnTo>
                    <a:lnTo>
                      <a:pt x="437" y="89"/>
                    </a:lnTo>
                    <a:lnTo>
                      <a:pt x="440" y="82"/>
                    </a:lnTo>
                    <a:lnTo>
                      <a:pt x="440" y="79"/>
                    </a:lnTo>
                    <a:lnTo>
                      <a:pt x="439" y="78"/>
                    </a:lnTo>
                    <a:lnTo>
                      <a:pt x="439" y="76"/>
                    </a:lnTo>
                    <a:lnTo>
                      <a:pt x="439" y="74"/>
                    </a:lnTo>
                    <a:lnTo>
                      <a:pt x="440" y="73"/>
                    </a:lnTo>
                    <a:lnTo>
                      <a:pt x="437" y="73"/>
                    </a:lnTo>
                    <a:lnTo>
                      <a:pt x="437" y="74"/>
                    </a:lnTo>
                    <a:lnTo>
                      <a:pt x="434" y="79"/>
                    </a:lnTo>
                    <a:lnTo>
                      <a:pt x="434" y="82"/>
                    </a:lnTo>
                    <a:lnTo>
                      <a:pt x="434" y="89"/>
                    </a:lnTo>
                    <a:lnTo>
                      <a:pt x="434" y="90"/>
                    </a:lnTo>
                    <a:lnTo>
                      <a:pt x="437" y="92"/>
                    </a:lnTo>
                    <a:lnTo>
                      <a:pt x="437" y="92"/>
                    </a:lnTo>
                    <a:lnTo>
                      <a:pt x="437" y="92"/>
                    </a:lnTo>
                    <a:lnTo>
                      <a:pt x="437" y="92"/>
                    </a:lnTo>
                    <a:lnTo>
                      <a:pt x="437" y="92"/>
                    </a:lnTo>
                    <a:lnTo>
                      <a:pt x="437" y="92"/>
                    </a:lnTo>
                    <a:lnTo>
                      <a:pt x="437" y="92"/>
                    </a:lnTo>
                    <a:lnTo>
                      <a:pt x="437" y="92"/>
                    </a:lnTo>
                    <a:lnTo>
                      <a:pt x="437" y="92"/>
                    </a:lnTo>
                    <a:close/>
                    <a:moveTo>
                      <a:pt x="535" y="128"/>
                    </a:moveTo>
                    <a:lnTo>
                      <a:pt x="540" y="128"/>
                    </a:lnTo>
                    <a:lnTo>
                      <a:pt x="543" y="130"/>
                    </a:lnTo>
                    <a:lnTo>
                      <a:pt x="548" y="132"/>
                    </a:lnTo>
                    <a:lnTo>
                      <a:pt x="553" y="130"/>
                    </a:lnTo>
                    <a:lnTo>
                      <a:pt x="550" y="128"/>
                    </a:lnTo>
                    <a:lnTo>
                      <a:pt x="547" y="128"/>
                    </a:lnTo>
                    <a:lnTo>
                      <a:pt x="535" y="127"/>
                    </a:lnTo>
                    <a:lnTo>
                      <a:pt x="535" y="128"/>
                    </a:lnTo>
                    <a:lnTo>
                      <a:pt x="535" y="128"/>
                    </a:lnTo>
                    <a:lnTo>
                      <a:pt x="535" y="128"/>
                    </a:lnTo>
                    <a:lnTo>
                      <a:pt x="535" y="128"/>
                    </a:lnTo>
                    <a:lnTo>
                      <a:pt x="535" y="128"/>
                    </a:lnTo>
                    <a:lnTo>
                      <a:pt x="535" y="128"/>
                    </a:lnTo>
                    <a:lnTo>
                      <a:pt x="535" y="128"/>
                    </a:lnTo>
                    <a:lnTo>
                      <a:pt x="535" y="128"/>
                    </a:lnTo>
                    <a:lnTo>
                      <a:pt x="535" y="128"/>
                    </a:lnTo>
                    <a:close/>
                    <a:moveTo>
                      <a:pt x="423" y="44"/>
                    </a:moveTo>
                    <a:lnTo>
                      <a:pt x="423" y="47"/>
                    </a:lnTo>
                    <a:lnTo>
                      <a:pt x="424" y="44"/>
                    </a:lnTo>
                    <a:lnTo>
                      <a:pt x="423" y="44"/>
                    </a:lnTo>
                    <a:lnTo>
                      <a:pt x="423" y="44"/>
                    </a:lnTo>
                    <a:lnTo>
                      <a:pt x="423" y="44"/>
                    </a:lnTo>
                    <a:lnTo>
                      <a:pt x="423" y="44"/>
                    </a:lnTo>
                    <a:lnTo>
                      <a:pt x="423" y="44"/>
                    </a:lnTo>
                    <a:lnTo>
                      <a:pt x="423" y="44"/>
                    </a:lnTo>
                    <a:lnTo>
                      <a:pt x="423" y="44"/>
                    </a:lnTo>
                    <a:lnTo>
                      <a:pt x="423" y="44"/>
                    </a:lnTo>
                    <a:lnTo>
                      <a:pt x="423" y="44"/>
                    </a:lnTo>
                    <a:close/>
                    <a:moveTo>
                      <a:pt x="472" y="109"/>
                    </a:moveTo>
                    <a:lnTo>
                      <a:pt x="472" y="111"/>
                    </a:lnTo>
                    <a:lnTo>
                      <a:pt x="474" y="108"/>
                    </a:lnTo>
                    <a:lnTo>
                      <a:pt x="475" y="111"/>
                    </a:lnTo>
                    <a:lnTo>
                      <a:pt x="477" y="111"/>
                    </a:lnTo>
                    <a:lnTo>
                      <a:pt x="477" y="109"/>
                    </a:lnTo>
                    <a:lnTo>
                      <a:pt x="474" y="106"/>
                    </a:lnTo>
                    <a:lnTo>
                      <a:pt x="475" y="106"/>
                    </a:lnTo>
                    <a:lnTo>
                      <a:pt x="477" y="108"/>
                    </a:lnTo>
                    <a:lnTo>
                      <a:pt x="478" y="109"/>
                    </a:lnTo>
                    <a:lnTo>
                      <a:pt x="480" y="109"/>
                    </a:lnTo>
                    <a:lnTo>
                      <a:pt x="481" y="109"/>
                    </a:lnTo>
                    <a:lnTo>
                      <a:pt x="483" y="108"/>
                    </a:lnTo>
                    <a:lnTo>
                      <a:pt x="481" y="106"/>
                    </a:lnTo>
                    <a:lnTo>
                      <a:pt x="481" y="105"/>
                    </a:lnTo>
                    <a:lnTo>
                      <a:pt x="475" y="105"/>
                    </a:lnTo>
                    <a:lnTo>
                      <a:pt x="470" y="105"/>
                    </a:lnTo>
                    <a:lnTo>
                      <a:pt x="469" y="106"/>
                    </a:lnTo>
                    <a:lnTo>
                      <a:pt x="472" y="108"/>
                    </a:lnTo>
                    <a:lnTo>
                      <a:pt x="472" y="109"/>
                    </a:lnTo>
                    <a:lnTo>
                      <a:pt x="472" y="109"/>
                    </a:lnTo>
                    <a:lnTo>
                      <a:pt x="472" y="109"/>
                    </a:lnTo>
                    <a:lnTo>
                      <a:pt x="472" y="109"/>
                    </a:lnTo>
                    <a:lnTo>
                      <a:pt x="472" y="109"/>
                    </a:lnTo>
                    <a:lnTo>
                      <a:pt x="472" y="109"/>
                    </a:lnTo>
                    <a:lnTo>
                      <a:pt x="472" y="109"/>
                    </a:lnTo>
                    <a:lnTo>
                      <a:pt x="472" y="109"/>
                    </a:lnTo>
                    <a:lnTo>
                      <a:pt x="472" y="109"/>
                    </a:lnTo>
                    <a:close/>
                    <a:moveTo>
                      <a:pt x="537" y="117"/>
                    </a:moveTo>
                    <a:lnTo>
                      <a:pt x="539" y="114"/>
                    </a:lnTo>
                    <a:lnTo>
                      <a:pt x="539" y="114"/>
                    </a:lnTo>
                    <a:lnTo>
                      <a:pt x="537" y="114"/>
                    </a:lnTo>
                    <a:lnTo>
                      <a:pt x="534" y="114"/>
                    </a:lnTo>
                    <a:lnTo>
                      <a:pt x="535" y="114"/>
                    </a:lnTo>
                    <a:lnTo>
                      <a:pt x="537" y="117"/>
                    </a:lnTo>
                    <a:lnTo>
                      <a:pt x="537" y="117"/>
                    </a:lnTo>
                    <a:lnTo>
                      <a:pt x="537" y="117"/>
                    </a:lnTo>
                    <a:lnTo>
                      <a:pt x="537" y="117"/>
                    </a:lnTo>
                    <a:lnTo>
                      <a:pt x="537" y="117"/>
                    </a:lnTo>
                    <a:lnTo>
                      <a:pt x="537" y="117"/>
                    </a:lnTo>
                    <a:lnTo>
                      <a:pt x="537" y="117"/>
                    </a:lnTo>
                    <a:lnTo>
                      <a:pt x="537" y="117"/>
                    </a:lnTo>
                    <a:lnTo>
                      <a:pt x="537" y="117"/>
                    </a:lnTo>
                    <a:close/>
                    <a:moveTo>
                      <a:pt x="467" y="133"/>
                    </a:moveTo>
                    <a:lnTo>
                      <a:pt x="470" y="133"/>
                    </a:lnTo>
                    <a:lnTo>
                      <a:pt x="470" y="130"/>
                    </a:lnTo>
                    <a:lnTo>
                      <a:pt x="470" y="128"/>
                    </a:lnTo>
                    <a:lnTo>
                      <a:pt x="469" y="128"/>
                    </a:lnTo>
                    <a:lnTo>
                      <a:pt x="466" y="128"/>
                    </a:lnTo>
                    <a:lnTo>
                      <a:pt x="462" y="130"/>
                    </a:lnTo>
                    <a:lnTo>
                      <a:pt x="462" y="132"/>
                    </a:lnTo>
                    <a:lnTo>
                      <a:pt x="464" y="133"/>
                    </a:lnTo>
                    <a:lnTo>
                      <a:pt x="467" y="133"/>
                    </a:lnTo>
                    <a:lnTo>
                      <a:pt x="467" y="133"/>
                    </a:lnTo>
                    <a:lnTo>
                      <a:pt x="467" y="133"/>
                    </a:lnTo>
                    <a:lnTo>
                      <a:pt x="467" y="133"/>
                    </a:lnTo>
                    <a:lnTo>
                      <a:pt x="467" y="133"/>
                    </a:lnTo>
                    <a:lnTo>
                      <a:pt x="467" y="133"/>
                    </a:lnTo>
                    <a:lnTo>
                      <a:pt x="467" y="133"/>
                    </a:lnTo>
                    <a:lnTo>
                      <a:pt x="467" y="133"/>
                    </a:lnTo>
                    <a:lnTo>
                      <a:pt x="467" y="133"/>
                    </a:lnTo>
                    <a:close/>
                    <a:moveTo>
                      <a:pt x="339" y="243"/>
                    </a:moveTo>
                    <a:lnTo>
                      <a:pt x="335" y="241"/>
                    </a:lnTo>
                    <a:lnTo>
                      <a:pt x="332" y="238"/>
                    </a:lnTo>
                    <a:lnTo>
                      <a:pt x="326" y="238"/>
                    </a:lnTo>
                    <a:lnTo>
                      <a:pt x="326" y="238"/>
                    </a:lnTo>
                    <a:lnTo>
                      <a:pt x="323" y="238"/>
                    </a:lnTo>
                    <a:lnTo>
                      <a:pt x="321" y="238"/>
                    </a:lnTo>
                    <a:lnTo>
                      <a:pt x="320" y="240"/>
                    </a:lnTo>
                    <a:lnTo>
                      <a:pt x="320" y="243"/>
                    </a:lnTo>
                    <a:lnTo>
                      <a:pt x="321" y="243"/>
                    </a:lnTo>
                    <a:lnTo>
                      <a:pt x="326" y="243"/>
                    </a:lnTo>
                    <a:lnTo>
                      <a:pt x="329" y="246"/>
                    </a:lnTo>
                    <a:lnTo>
                      <a:pt x="332" y="249"/>
                    </a:lnTo>
                    <a:lnTo>
                      <a:pt x="335" y="249"/>
                    </a:lnTo>
                    <a:lnTo>
                      <a:pt x="340" y="249"/>
                    </a:lnTo>
                    <a:lnTo>
                      <a:pt x="342" y="247"/>
                    </a:lnTo>
                    <a:lnTo>
                      <a:pt x="342" y="246"/>
                    </a:lnTo>
                    <a:lnTo>
                      <a:pt x="340" y="244"/>
                    </a:lnTo>
                    <a:lnTo>
                      <a:pt x="339" y="243"/>
                    </a:lnTo>
                    <a:lnTo>
                      <a:pt x="339" y="243"/>
                    </a:lnTo>
                    <a:lnTo>
                      <a:pt x="339" y="243"/>
                    </a:lnTo>
                    <a:lnTo>
                      <a:pt x="339" y="243"/>
                    </a:lnTo>
                    <a:lnTo>
                      <a:pt x="339" y="243"/>
                    </a:lnTo>
                    <a:lnTo>
                      <a:pt x="339" y="243"/>
                    </a:lnTo>
                    <a:lnTo>
                      <a:pt x="339" y="243"/>
                    </a:lnTo>
                    <a:lnTo>
                      <a:pt x="339" y="243"/>
                    </a:lnTo>
                    <a:lnTo>
                      <a:pt x="339" y="243"/>
                    </a:lnTo>
                    <a:close/>
                    <a:moveTo>
                      <a:pt x="254" y="203"/>
                    </a:moveTo>
                    <a:lnTo>
                      <a:pt x="250" y="203"/>
                    </a:lnTo>
                    <a:lnTo>
                      <a:pt x="245" y="203"/>
                    </a:lnTo>
                    <a:lnTo>
                      <a:pt x="242" y="205"/>
                    </a:lnTo>
                    <a:lnTo>
                      <a:pt x="242" y="205"/>
                    </a:lnTo>
                    <a:lnTo>
                      <a:pt x="245" y="208"/>
                    </a:lnTo>
                    <a:lnTo>
                      <a:pt x="247" y="208"/>
                    </a:lnTo>
                    <a:lnTo>
                      <a:pt x="248" y="208"/>
                    </a:lnTo>
                    <a:lnTo>
                      <a:pt x="250" y="208"/>
                    </a:lnTo>
                    <a:lnTo>
                      <a:pt x="254" y="208"/>
                    </a:lnTo>
                    <a:lnTo>
                      <a:pt x="256" y="205"/>
                    </a:lnTo>
                    <a:lnTo>
                      <a:pt x="256" y="205"/>
                    </a:lnTo>
                    <a:lnTo>
                      <a:pt x="259" y="205"/>
                    </a:lnTo>
                    <a:lnTo>
                      <a:pt x="258" y="203"/>
                    </a:lnTo>
                    <a:lnTo>
                      <a:pt x="256" y="203"/>
                    </a:lnTo>
                    <a:lnTo>
                      <a:pt x="254" y="203"/>
                    </a:lnTo>
                    <a:lnTo>
                      <a:pt x="254" y="203"/>
                    </a:lnTo>
                    <a:lnTo>
                      <a:pt x="254" y="203"/>
                    </a:lnTo>
                    <a:lnTo>
                      <a:pt x="254" y="203"/>
                    </a:lnTo>
                    <a:lnTo>
                      <a:pt x="254" y="203"/>
                    </a:lnTo>
                    <a:lnTo>
                      <a:pt x="254" y="203"/>
                    </a:lnTo>
                    <a:lnTo>
                      <a:pt x="254" y="203"/>
                    </a:lnTo>
                    <a:lnTo>
                      <a:pt x="254" y="203"/>
                    </a:lnTo>
                    <a:lnTo>
                      <a:pt x="254" y="203"/>
                    </a:lnTo>
                    <a:close/>
                    <a:moveTo>
                      <a:pt x="202" y="120"/>
                    </a:moveTo>
                    <a:lnTo>
                      <a:pt x="204" y="124"/>
                    </a:lnTo>
                    <a:lnTo>
                      <a:pt x="207" y="120"/>
                    </a:lnTo>
                    <a:lnTo>
                      <a:pt x="207" y="120"/>
                    </a:lnTo>
                    <a:lnTo>
                      <a:pt x="207" y="117"/>
                    </a:lnTo>
                    <a:lnTo>
                      <a:pt x="205" y="117"/>
                    </a:lnTo>
                    <a:lnTo>
                      <a:pt x="204" y="117"/>
                    </a:lnTo>
                    <a:lnTo>
                      <a:pt x="202" y="120"/>
                    </a:lnTo>
                    <a:lnTo>
                      <a:pt x="202" y="120"/>
                    </a:lnTo>
                    <a:lnTo>
                      <a:pt x="202" y="120"/>
                    </a:lnTo>
                    <a:lnTo>
                      <a:pt x="202" y="120"/>
                    </a:lnTo>
                    <a:lnTo>
                      <a:pt x="202" y="120"/>
                    </a:lnTo>
                    <a:lnTo>
                      <a:pt x="202" y="120"/>
                    </a:lnTo>
                    <a:lnTo>
                      <a:pt x="202" y="120"/>
                    </a:lnTo>
                    <a:lnTo>
                      <a:pt x="202" y="120"/>
                    </a:lnTo>
                    <a:lnTo>
                      <a:pt x="202" y="120"/>
                    </a:lnTo>
                    <a:close/>
                    <a:moveTo>
                      <a:pt x="413" y="132"/>
                    </a:moveTo>
                    <a:lnTo>
                      <a:pt x="415" y="132"/>
                    </a:lnTo>
                    <a:lnTo>
                      <a:pt x="418" y="130"/>
                    </a:lnTo>
                    <a:lnTo>
                      <a:pt x="413" y="130"/>
                    </a:lnTo>
                    <a:lnTo>
                      <a:pt x="407" y="128"/>
                    </a:lnTo>
                    <a:lnTo>
                      <a:pt x="407" y="130"/>
                    </a:lnTo>
                    <a:lnTo>
                      <a:pt x="407" y="132"/>
                    </a:lnTo>
                    <a:lnTo>
                      <a:pt x="410" y="132"/>
                    </a:lnTo>
                    <a:lnTo>
                      <a:pt x="413" y="132"/>
                    </a:lnTo>
                    <a:lnTo>
                      <a:pt x="413" y="132"/>
                    </a:lnTo>
                    <a:lnTo>
                      <a:pt x="413" y="132"/>
                    </a:lnTo>
                    <a:lnTo>
                      <a:pt x="413" y="132"/>
                    </a:lnTo>
                    <a:lnTo>
                      <a:pt x="413" y="132"/>
                    </a:lnTo>
                    <a:lnTo>
                      <a:pt x="413" y="132"/>
                    </a:lnTo>
                    <a:lnTo>
                      <a:pt x="413" y="132"/>
                    </a:lnTo>
                    <a:lnTo>
                      <a:pt x="413" y="132"/>
                    </a:lnTo>
                    <a:lnTo>
                      <a:pt x="413" y="132"/>
                    </a:lnTo>
                    <a:close/>
                    <a:moveTo>
                      <a:pt x="424" y="40"/>
                    </a:moveTo>
                    <a:lnTo>
                      <a:pt x="423" y="40"/>
                    </a:lnTo>
                    <a:lnTo>
                      <a:pt x="423" y="41"/>
                    </a:lnTo>
                    <a:lnTo>
                      <a:pt x="424" y="44"/>
                    </a:lnTo>
                    <a:lnTo>
                      <a:pt x="424" y="41"/>
                    </a:lnTo>
                    <a:lnTo>
                      <a:pt x="424" y="40"/>
                    </a:lnTo>
                    <a:lnTo>
                      <a:pt x="424" y="40"/>
                    </a:lnTo>
                    <a:lnTo>
                      <a:pt x="424" y="40"/>
                    </a:lnTo>
                    <a:lnTo>
                      <a:pt x="424" y="40"/>
                    </a:lnTo>
                    <a:lnTo>
                      <a:pt x="424" y="40"/>
                    </a:lnTo>
                    <a:lnTo>
                      <a:pt x="424" y="40"/>
                    </a:lnTo>
                    <a:lnTo>
                      <a:pt x="424" y="40"/>
                    </a:lnTo>
                    <a:lnTo>
                      <a:pt x="424" y="40"/>
                    </a:lnTo>
                    <a:lnTo>
                      <a:pt x="424" y="40"/>
                    </a:lnTo>
                    <a:close/>
                    <a:moveTo>
                      <a:pt x="413" y="136"/>
                    </a:moveTo>
                    <a:lnTo>
                      <a:pt x="415" y="138"/>
                    </a:lnTo>
                    <a:lnTo>
                      <a:pt x="415" y="136"/>
                    </a:lnTo>
                    <a:lnTo>
                      <a:pt x="413" y="132"/>
                    </a:lnTo>
                    <a:lnTo>
                      <a:pt x="413" y="133"/>
                    </a:lnTo>
                    <a:lnTo>
                      <a:pt x="413" y="136"/>
                    </a:lnTo>
                    <a:lnTo>
                      <a:pt x="413" y="136"/>
                    </a:lnTo>
                    <a:lnTo>
                      <a:pt x="413" y="136"/>
                    </a:lnTo>
                    <a:lnTo>
                      <a:pt x="413" y="136"/>
                    </a:lnTo>
                    <a:lnTo>
                      <a:pt x="413" y="136"/>
                    </a:lnTo>
                    <a:lnTo>
                      <a:pt x="413" y="136"/>
                    </a:lnTo>
                    <a:lnTo>
                      <a:pt x="413" y="136"/>
                    </a:lnTo>
                    <a:lnTo>
                      <a:pt x="413" y="136"/>
                    </a:lnTo>
                    <a:lnTo>
                      <a:pt x="413" y="136"/>
                    </a:lnTo>
                    <a:close/>
                    <a:moveTo>
                      <a:pt x="375" y="221"/>
                    </a:moveTo>
                    <a:lnTo>
                      <a:pt x="372" y="221"/>
                    </a:lnTo>
                    <a:lnTo>
                      <a:pt x="372" y="224"/>
                    </a:lnTo>
                    <a:lnTo>
                      <a:pt x="372" y="224"/>
                    </a:lnTo>
                    <a:lnTo>
                      <a:pt x="374" y="224"/>
                    </a:lnTo>
                    <a:lnTo>
                      <a:pt x="375" y="224"/>
                    </a:lnTo>
                    <a:lnTo>
                      <a:pt x="375" y="221"/>
                    </a:lnTo>
                    <a:lnTo>
                      <a:pt x="375" y="221"/>
                    </a:lnTo>
                    <a:lnTo>
                      <a:pt x="375" y="221"/>
                    </a:lnTo>
                    <a:lnTo>
                      <a:pt x="375" y="221"/>
                    </a:lnTo>
                    <a:lnTo>
                      <a:pt x="375" y="221"/>
                    </a:lnTo>
                    <a:lnTo>
                      <a:pt x="375" y="221"/>
                    </a:lnTo>
                    <a:lnTo>
                      <a:pt x="375" y="221"/>
                    </a:lnTo>
                    <a:lnTo>
                      <a:pt x="375" y="221"/>
                    </a:lnTo>
                    <a:lnTo>
                      <a:pt x="375" y="221"/>
                    </a:lnTo>
                    <a:close/>
                    <a:moveTo>
                      <a:pt x="496" y="187"/>
                    </a:moveTo>
                    <a:lnTo>
                      <a:pt x="497" y="189"/>
                    </a:lnTo>
                    <a:lnTo>
                      <a:pt x="497" y="187"/>
                    </a:lnTo>
                    <a:lnTo>
                      <a:pt x="497" y="186"/>
                    </a:lnTo>
                    <a:lnTo>
                      <a:pt x="496" y="184"/>
                    </a:lnTo>
                    <a:lnTo>
                      <a:pt x="496" y="187"/>
                    </a:lnTo>
                    <a:lnTo>
                      <a:pt x="496" y="187"/>
                    </a:lnTo>
                    <a:lnTo>
                      <a:pt x="496" y="187"/>
                    </a:lnTo>
                    <a:lnTo>
                      <a:pt x="496" y="187"/>
                    </a:lnTo>
                    <a:lnTo>
                      <a:pt x="496" y="187"/>
                    </a:lnTo>
                    <a:lnTo>
                      <a:pt x="496" y="187"/>
                    </a:lnTo>
                    <a:lnTo>
                      <a:pt x="496" y="187"/>
                    </a:lnTo>
                    <a:lnTo>
                      <a:pt x="496" y="187"/>
                    </a:lnTo>
                    <a:lnTo>
                      <a:pt x="496" y="187"/>
                    </a:lnTo>
                    <a:close/>
                    <a:moveTo>
                      <a:pt x="440" y="128"/>
                    </a:moveTo>
                    <a:lnTo>
                      <a:pt x="442" y="128"/>
                    </a:lnTo>
                    <a:lnTo>
                      <a:pt x="442" y="127"/>
                    </a:lnTo>
                    <a:lnTo>
                      <a:pt x="439" y="124"/>
                    </a:lnTo>
                    <a:lnTo>
                      <a:pt x="437" y="124"/>
                    </a:lnTo>
                    <a:lnTo>
                      <a:pt x="434" y="124"/>
                    </a:lnTo>
                    <a:lnTo>
                      <a:pt x="434" y="125"/>
                    </a:lnTo>
                    <a:lnTo>
                      <a:pt x="434" y="127"/>
                    </a:lnTo>
                    <a:lnTo>
                      <a:pt x="434" y="128"/>
                    </a:lnTo>
                    <a:lnTo>
                      <a:pt x="437" y="128"/>
                    </a:lnTo>
                    <a:lnTo>
                      <a:pt x="440" y="128"/>
                    </a:lnTo>
                    <a:lnTo>
                      <a:pt x="440" y="128"/>
                    </a:lnTo>
                    <a:lnTo>
                      <a:pt x="440" y="128"/>
                    </a:lnTo>
                    <a:lnTo>
                      <a:pt x="440" y="128"/>
                    </a:lnTo>
                    <a:lnTo>
                      <a:pt x="440" y="128"/>
                    </a:lnTo>
                    <a:lnTo>
                      <a:pt x="440" y="128"/>
                    </a:lnTo>
                    <a:lnTo>
                      <a:pt x="440" y="128"/>
                    </a:lnTo>
                    <a:lnTo>
                      <a:pt x="440" y="128"/>
                    </a:lnTo>
                    <a:lnTo>
                      <a:pt x="440" y="128"/>
                    </a:lnTo>
                    <a:close/>
                    <a:moveTo>
                      <a:pt x="404" y="79"/>
                    </a:moveTo>
                    <a:lnTo>
                      <a:pt x="402" y="79"/>
                    </a:lnTo>
                    <a:lnTo>
                      <a:pt x="399" y="82"/>
                    </a:lnTo>
                    <a:lnTo>
                      <a:pt x="399" y="82"/>
                    </a:lnTo>
                    <a:lnTo>
                      <a:pt x="396" y="86"/>
                    </a:lnTo>
                    <a:lnTo>
                      <a:pt x="396" y="86"/>
                    </a:lnTo>
                    <a:lnTo>
                      <a:pt x="396" y="86"/>
                    </a:lnTo>
                    <a:lnTo>
                      <a:pt x="393" y="89"/>
                    </a:lnTo>
                    <a:lnTo>
                      <a:pt x="393" y="89"/>
                    </a:lnTo>
                    <a:lnTo>
                      <a:pt x="389" y="90"/>
                    </a:lnTo>
                    <a:lnTo>
                      <a:pt x="385" y="90"/>
                    </a:lnTo>
                    <a:lnTo>
                      <a:pt x="377" y="90"/>
                    </a:lnTo>
                    <a:lnTo>
                      <a:pt x="375" y="90"/>
                    </a:lnTo>
                    <a:lnTo>
                      <a:pt x="374" y="90"/>
                    </a:lnTo>
                    <a:lnTo>
                      <a:pt x="364" y="89"/>
                    </a:lnTo>
                    <a:lnTo>
                      <a:pt x="361" y="89"/>
                    </a:lnTo>
                    <a:lnTo>
                      <a:pt x="358" y="89"/>
                    </a:lnTo>
                    <a:lnTo>
                      <a:pt x="358" y="86"/>
                    </a:lnTo>
                    <a:lnTo>
                      <a:pt x="356" y="86"/>
                    </a:lnTo>
                    <a:lnTo>
                      <a:pt x="351" y="86"/>
                    </a:lnTo>
                    <a:lnTo>
                      <a:pt x="350" y="86"/>
                    </a:lnTo>
                    <a:lnTo>
                      <a:pt x="348" y="86"/>
                    </a:lnTo>
                    <a:lnTo>
                      <a:pt x="348" y="89"/>
                    </a:lnTo>
                    <a:lnTo>
                      <a:pt x="347" y="90"/>
                    </a:lnTo>
                    <a:lnTo>
                      <a:pt x="343" y="90"/>
                    </a:lnTo>
                    <a:lnTo>
                      <a:pt x="342" y="89"/>
                    </a:lnTo>
                    <a:lnTo>
                      <a:pt x="339" y="92"/>
                    </a:lnTo>
                    <a:lnTo>
                      <a:pt x="339" y="95"/>
                    </a:lnTo>
                    <a:lnTo>
                      <a:pt x="337" y="97"/>
                    </a:lnTo>
                    <a:lnTo>
                      <a:pt x="335" y="98"/>
                    </a:lnTo>
                    <a:lnTo>
                      <a:pt x="335" y="101"/>
                    </a:lnTo>
                    <a:lnTo>
                      <a:pt x="335" y="103"/>
                    </a:lnTo>
                    <a:lnTo>
                      <a:pt x="335" y="105"/>
                    </a:lnTo>
                    <a:lnTo>
                      <a:pt x="335" y="105"/>
                    </a:lnTo>
                    <a:lnTo>
                      <a:pt x="332" y="103"/>
                    </a:lnTo>
                    <a:lnTo>
                      <a:pt x="335" y="106"/>
                    </a:lnTo>
                    <a:lnTo>
                      <a:pt x="335" y="109"/>
                    </a:lnTo>
                    <a:lnTo>
                      <a:pt x="335" y="113"/>
                    </a:lnTo>
                    <a:lnTo>
                      <a:pt x="335" y="117"/>
                    </a:lnTo>
                    <a:lnTo>
                      <a:pt x="335" y="114"/>
                    </a:lnTo>
                    <a:lnTo>
                      <a:pt x="332" y="117"/>
                    </a:lnTo>
                    <a:lnTo>
                      <a:pt x="329" y="120"/>
                    </a:lnTo>
                    <a:lnTo>
                      <a:pt x="329" y="124"/>
                    </a:lnTo>
                    <a:lnTo>
                      <a:pt x="329" y="130"/>
                    </a:lnTo>
                    <a:lnTo>
                      <a:pt x="329" y="133"/>
                    </a:lnTo>
                    <a:lnTo>
                      <a:pt x="326" y="136"/>
                    </a:lnTo>
                    <a:lnTo>
                      <a:pt x="326" y="138"/>
                    </a:lnTo>
                    <a:lnTo>
                      <a:pt x="324" y="141"/>
                    </a:lnTo>
                    <a:lnTo>
                      <a:pt x="323" y="141"/>
                    </a:lnTo>
                    <a:lnTo>
                      <a:pt x="323" y="144"/>
                    </a:lnTo>
                    <a:lnTo>
                      <a:pt x="323" y="144"/>
                    </a:lnTo>
                    <a:lnTo>
                      <a:pt x="323" y="147"/>
                    </a:lnTo>
                    <a:lnTo>
                      <a:pt x="323" y="151"/>
                    </a:lnTo>
                    <a:lnTo>
                      <a:pt x="324" y="155"/>
                    </a:lnTo>
                    <a:lnTo>
                      <a:pt x="326" y="154"/>
                    </a:lnTo>
                    <a:lnTo>
                      <a:pt x="329" y="152"/>
                    </a:lnTo>
                    <a:lnTo>
                      <a:pt x="329" y="154"/>
                    </a:lnTo>
                    <a:lnTo>
                      <a:pt x="332" y="155"/>
                    </a:lnTo>
                    <a:lnTo>
                      <a:pt x="332" y="159"/>
                    </a:lnTo>
                    <a:lnTo>
                      <a:pt x="332" y="163"/>
                    </a:lnTo>
                    <a:lnTo>
                      <a:pt x="332" y="168"/>
                    </a:lnTo>
                    <a:lnTo>
                      <a:pt x="329" y="173"/>
                    </a:lnTo>
                    <a:lnTo>
                      <a:pt x="329" y="179"/>
                    </a:lnTo>
                    <a:lnTo>
                      <a:pt x="329" y="182"/>
                    </a:lnTo>
                    <a:lnTo>
                      <a:pt x="329" y="184"/>
                    </a:lnTo>
                    <a:lnTo>
                      <a:pt x="329" y="184"/>
                    </a:lnTo>
                    <a:lnTo>
                      <a:pt x="332" y="184"/>
                    </a:lnTo>
                    <a:lnTo>
                      <a:pt x="332" y="186"/>
                    </a:lnTo>
                    <a:lnTo>
                      <a:pt x="332" y="184"/>
                    </a:lnTo>
                    <a:lnTo>
                      <a:pt x="335" y="184"/>
                    </a:lnTo>
                    <a:lnTo>
                      <a:pt x="337" y="184"/>
                    </a:lnTo>
                    <a:lnTo>
                      <a:pt x="339" y="182"/>
                    </a:lnTo>
                    <a:lnTo>
                      <a:pt x="342" y="182"/>
                    </a:lnTo>
                    <a:lnTo>
                      <a:pt x="340" y="179"/>
                    </a:lnTo>
                    <a:lnTo>
                      <a:pt x="340" y="176"/>
                    </a:lnTo>
                    <a:lnTo>
                      <a:pt x="342" y="170"/>
                    </a:lnTo>
                    <a:lnTo>
                      <a:pt x="342" y="167"/>
                    </a:lnTo>
                    <a:lnTo>
                      <a:pt x="342" y="157"/>
                    </a:lnTo>
                    <a:lnTo>
                      <a:pt x="342" y="152"/>
                    </a:lnTo>
                    <a:lnTo>
                      <a:pt x="342" y="149"/>
                    </a:lnTo>
                    <a:lnTo>
                      <a:pt x="340" y="147"/>
                    </a:lnTo>
                    <a:lnTo>
                      <a:pt x="342" y="144"/>
                    </a:lnTo>
                    <a:lnTo>
                      <a:pt x="343" y="144"/>
                    </a:lnTo>
                    <a:lnTo>
                      <a:pt x="347" y="141"/>
                    </a:lnTo>
                    <a:lnTo>
                      <a:pt x="350" y="141"/>
                    </a:lnTo>
                    <a:lnTo>
                      <a:pt x="351" y="144"/>
                    </a:lnTo>
                    <a:lnTo>
                      <a:pt x="351" y="144"/>
                    </a:lnTo>
                    <a:lnTo>
                      <a:pt x="350" y="149"/>
                    </a:lnTo>
                    <a:lnTo>
                      <a:pt x="350" y="154"/>
                    </a:lnTo>
                    <a:lnTo>
                      <a:pt x="351" y="157"/>
                    </a:lnTo>
                    <a:lnTo>
                      <a:pt x="354" y="160"/>
                    </a:lnTo>
                    <a:lnTo>
                      <a:pt x="358" y="162"/>
                    </a:lnTo>
                    <a:lnTo>
                      <a:pt x="358" y="163"/>
                    </a:lnTo>
                    <a:lnTo>
                      <a:pt x="356" y="167"/>
                    </a:lnTo>
                    <a:lnTo>
                      <a:pt x="356" y="170"/>
                    </a:lnTo>
                    <a:lnTo>
                      <a:pt x="356" y="170"/>
                    </a:lnTo>
                    <a:lnTo>
                      <a:pt x="358" y="173"/>
                    </a:lnTo>
                    <a:lnTo>
                      <a:pt x="361" y="173"/>
                    </a:lnTo>
                    <a:lnTo>
                      <a:pt x="364" y="173"/>
                    </a:lnTo>
                    <a:lnTo>
                      <a:pt x="364" y="170"/>
                    </a:lnTo>
                    <a:lnTo>
                      <a:pt x="364" y="168"/>
                    </a:lnTo>
                    <a:lnTo>
                      <a:pt x="364" y="168"/>
                    </a:lnTo>
                    <a:lnTo>
                      <a:pt x="367" y="168"/>
                    </a:lnTo>
                    <a:lnTo>
                      <a:pt x="370" y="168"/>
                    </a:lnTo>
                    <a:lnTo>
                      <a:pt x="372" y="168"/>
                    </a:lnTo>
                    <a:lnTo>
                      <a:pt x="370" y="167"/>
                    </a:lnTo>
                    <a:lnTo>
                      <a:pt x="372" y="167"/>
                    </a:lnTo>
                    <a:lnTo>
                      <a:pt x="374" y="165"/>
                    </a:lnTo>
                    <a:lnTo>
                      <a:pt x="374" y="163"/>
                    </a:lnTo>
                    <a:lnTo>
                      <a:pt x="372" y="162"/>
                    </a:lnTo>
                    <a:lnTo>
                      <a:pt x="372" y="163"/>
                    </a:lnTo>
                    <a:lnTo>
                      <a:pt x="370" y="162"/>
                    </a:lnTo>
                    <a:lnTo>
                      <a:pt x="370" y="160"/>
                    </a:lnTo>
                    <a:lnTo>
                      <a:pt x="370" y="159"/>
                    </a:lnTo>
                    <a:lnTo>
                      <a:pt x="367" y="159"/>
                    </a:lnTo>
                    <a:lnTo>
                      <a:pt x="367" y="157"/>
                    </a:lnTo>
                    <a:lnTo>
                      <a:pt x="367" y="154"/>
                    </a:lnTo>
                    <a:lnTo>
                      <a:pt x="367" y="152"/>
                    </a:lnTo>
                    <a:lnTo>
                      <a:pt x="367" y="152"/>
                    </a:lnTo>
                    <a:lnTo>
                      <a:pt x="367" y="151"/>
                    </a:lnTo>
                    <a:lnTo>
                      <a:pt x="367" y="149"/>
                    </a:lnTo>
                    <a:lnTo>
                      <a:pt x="367" y="147"/>
                    </a:lnTo>
                    <a:lnTo>
                      <a:pt x="367" y="147"/>
                    </a:lnTo>
                    <a:lnTo>
                      <a:pt x="367" y="144"/>
                    </a:lnTo>
                    <a:lnTo>
                      <a:pt x="364" y="144"/>
                    </a:lnTo>
                    <a:lnTo>
                      <a:pt x="361" y="138"/>
                    </a:lnTo>
                    <a:lnTo>
                      <a:pt x="361" y="138"/>
                    </a:lnTo>
                    <a:lnTo>
                      <a:pt x="358" y="135"/>
                    </a:lnTo>
                    <a:lnTo>
                      <a:pt x="358" y="133"/>
                    </a:lnTo>
                    <a:lnTo>
                      <a:pt x="356" y="132"/>
                    </a:lnTo>
                    <a:lnTo>
                      <a:pt x="356" y="128"/>
                    </a:lnTo>
                    <a:lnTo>
                      <a:pt x="358" y="132"/>
                    </a:lnTo>
                    <a:lnTo>
                      <a:pt x="361" y="130"/>
                    </a:lnTo>
                    <a:lnTo>
                      <a:pt x="364" y="127"/>
                    </a:lnTo>
                    <a:lnTo>
                      <a:pt x="367" y="125"/>
                    </a:lnTo>
                    <a:lnTo>
                      <a:pt x="370" y="124"/>
                    </a:lnTo>
                    <a:lnTo>
                      <a:pt x="372" y="120"/>
                    </a:lnTo>
                    <a:lnTo>
                      <a:pt x="374" y="117"/>
                    </a:lnTo>
                    <a:lnTo>
                      <a:pt x="377" y="117"/>
                    </a:lnTo>
                    <a:lnTo>
                      <a:pt x="378" y="117"/>
                    </a:lnTo>
                    <a:lnTo>
                      <a:pt x="380" y="117"/>
                    </a:lnTo>
                    <a:lnTo>
                      <a:pt x="381" y="117"/>
                    </a:lnTo>
                    <a:lnTo>
                      <a:pt x="383" y="114"/>
                    </a:lnTo>
                    <a:lnTo>
                      <a:pt x="380" y="113"/>
                    </a:lnTo>
                    <a:lnTo>
                      <a:pt x="378" y="113"/>
                    </a:lnTo>
                    <a:lnTo>
                      <a:pt x="372" y="114"/>
                    </a:lnTo>
                    <a:lnTo>
                      <a:pt x="375" y="114"/>
                    </a:lnTo>
                    <a:lnTo>
                      <a:pt x="370" y="114"/>
                    </a:lnTo>
                    <a:lnTo>
                      <a:pt x="367" y="114"/>
                    </a:lnTo>
                    <a:lnTo>
                      <a:pt x="367" y="117"/>
                    </a:lnTo>
                    <a:lnTo>
                      <a:pt x="364" y="117"/>
                    </a:lnTo>
                    <a:lnTo>
                      <a:pt x="361" y="117"/>
                    </a:lnTo>
                    <a:lnTo>
                      <a:pt x="361" y="117"/>
                    </a:lnTo>
                    <a:lnTo>
                      <a:pt x="358" y="114"/>
                    </a:lnTo>
                    <a:lnTo>
                      <a:pt x="356" y="117"/>
                    </a:lnTo>
                    <a:lnTo>
                      <a:pt x="354" y="120"/>
                    </a:lnTo>
                    <a:lnTo>
                      <a:pt x="353" y="124"/>
                    </a:lnTo>
                    <a:lnTo>
                      <a:pt x="350" y="124"/>
                    </a:lnTo>
                    <a:lnTo>
                      <a:pt x="347" y="124"/>
                    </a:lnTo>
                    <a:lnTo>
                      <a:pt x="345" y="120"/>
                    </a:lnTo>
                    <a:lnTo>
                      <a:pt x="345" y="117"/>
                    </a:lnTo>
                    <a:lnTo>
                      <a:pt x="343" y="117"/>
                    </a:lnTo>
                    <a:lnTo>
                      <a:pt x="342" y="117"/>
                    </a:lnTo>
                    <a:lnTo>
                      <a:pt x="339" y="114"/>
                    </a:lnTo>
                    <a:lnTo>
                      <a:pt x="339" y="111"/>
                    </a:lnTo>
                    <a:lnTo>
                      <a:pt x="339" y="106"/>
                    </a:lnTo>
                    <a:lnTo>
                      <a:pt x="339" y="101"/>
                    </a:lnTo>
                    <a:lnTo>
                      <a:pt x="340" y="98"/>
                    </a:lnTo>
                    <a:lnTo>
                      <a:pt x="343" y="97"/>
                    </a:lnTo>
                    <a:lnTo>
                      <a:pt x="348" y="97"/>
                    </a:lnTo>
                    <a:lnTo>
                      <a:pt x="353" y="97"/>
                    </a:lnTo>
                    <a:lnTo>
                      <a:pt x="354" y="97"/>
                    </a:lnTo>
                    <a:lnTo>
                      <a:pt x="358" y="97"/>
                    </a:lnTo>
                    <a:lnTo>
                      <a:pt x="361" y="97"/>
                    </a:lnTo>
                    <a:lnTo>
                      <a:pt x="361" y="97"/>
                    </a:lnTo>
                    <a:lnTo>
                      <a:pt x="367" y="97"/>
                    </a:lnTo>
                    <a:lnTo>
                      <a:pt x="370" y="97"/>
                    </a:lnTo>
                    <a:lnTo>
                      <a:pt x="375" y="97"/>
                    </a:lnTo>
                    <a:lnTo>
                      <a:pt x="380" y="98"/>
                    </a:lnTo>
                    <a:lnTo>
                      <a:pt x="383" y="100"/>
                    </a:lnTo>
                    <a:lnTo>
                      <a:pt x="388" y="100"/>
                    </a:lnTo>
                    <a:lnTo>
                      <a:pt x="393" y="98"/>
                    </a:lnTo>
                    <a:lnTo>
                      <a:pt x="396" y="97"/>
                    </a:lnTo>
                    <a:lnTo>
                      <a:pt x="399" y="92"/>
                    </a:lnTo>
                    <a:lnTo>
                      <a:pt x="399" y="89"/>
                    </a:lnTo>
                    <a:lnTo>
                      <a:pt x="402" y="86"/>
                    </a:lnTo>
                    <a:lnTo>
                      <a:pt x="405" y="82"/>
                    </a:lnTo>
                    <a:lnTo>
                      <a:pt x="404" y="79"/>
                    </a:lnTo>
                    <a:lnTo>
                      <a:pt x="404" y="79"/>
                    </a:lnTo>
                    <a:lnTo>
                      <a:pt x="404" y="79"/>
                    </a:lnTo>
                    <a:lnTo>
                      <a:pt x="404" y="79"/>
                    </a:lnTo>
                    <a:lnTo>
                      <a:pt x="404" y="79"/>
                    </a:lnTo>
                    <a:lnTo>
                      <a:pt x="404" y="79"/>
                    </a:lnTo>
                    <a:lnTo>
                      <a:pt x="404" y="79"/>
                    </a:lnTo>
                    <a:lnTo>
                      <a:pt x="404" y="79"/>
                    </a:lnTo>
                    <a:lnTo>
                      <a:pt x="404" y="79"/>
                    </a:lnTo>
                    <a:lnTo>
                      <a:pt x="404" y="79"/>
                    </a:lnTo>
                    <a:close/>
                    <a:moveTo>
                      <a:pt x="475" y="154"/>
                    </a:moveTo>
                    <a:lnTo>
                      <a:pt x="474" y="152"/>
                    </a:lnTo>
                    <a:lnTo>
                      <a:pt x="472" y="151"/>
                    </a:lnTo>
                    <a:lnTo>
                      <a:pt x="472" y="149"/>
                    </a:lnTo>
                    <a:lnTo>
                      <a:pt x="470" y="147"/>
                    </a:lnTo>
                    <a:lnTo>
                      <a:pt x="469" y="147"/>
                    </a:lnTo>
                    <a:lnTo>
                      <a:pt x="467" y="147"/>
                    </a:lnTo>
                    <a:lnTo>
                      <a:pt x="466" y="147"/>
                    </a:lnTo>
                    <a:lnTo>
                      <a:pt x="462" y="144"/>
                    </a:lnTo>
                    <a:lnTo>
                      <a:pt x="461" y="144"/>
                    </a:lnTo>
                    <a:lnTo>
                      <a:pt x="458" y="144"/>
                    </a:lnTo>
                    <a:lnTo>
                      <a:pt x="458" y="144"/>
                    </a:lnTo>
                    <a:lnTo>
                      <a:pt x="456" y="144"/>
                    </a:lnTo>
                    <a:lnTo>
                      <a:pt x="455" y="144"/>
                    </a:lnTo>
                    <a:lnTo>
                      <a:pt x="453" y="144"/>
                    </a:lnTo>
                    <a:lnTo>
                      <a:pt x="448" y="144"/>
                    </a:lnTo>
                    <a:lnTo>
                      <a:pt x="443" y="144"/>
                    </a:lnTo>
                    <a:lnTo>
                      <a:pt x="440" y="147"/>
                    </a:lnTo>
                    <a:lnTo>
                      <a:pt x="437" y="149"/>
                    </a:lnTo>
                    <a:lnTo>
                      <a:pt x="439" y="154"/>
                    </a:lnTo>
                    <a:lnTo>
                      <a:pt x="439" y="151"/>
                    </a:lnTo>
                    <a:lnTo>
                      <a:pt x="440" y="149"/>
                    </a:lnTo>
                    <a:lnTo>
                      <a:pt x="442" y="147"/>
                    </a:lnTo>
                    <a:lnTo>
                      <a:pt x="443" y="151"/>
                    </a:lnTo>
                    <a:lnTo>
                      <a:pt x="447" y="152"/>
                    </a:lnTo>
                    <a:lnTo>
                      <a:pt x="450" y="151"/>
                    </a:lnTo>
                    <a:lnTo>
                      <a:pt x="451" y="149"/>
                    </a:lnTo>
                    <a:lnTo>
                      <a:pt x="451" y="151"/>
                    </a:lnTo>
                    <a:lnTo>
                      <a:pt x="456" y="152"/>
                    </a:lnTo>
                    <a:lnTo>
                      <a:pt x="458" y="152"/>
                    </a:lnTo>
                    <a:lnTo>
                      <a:pt x="461" y="151"/>
                    </a:lnTo>
                    <a:lnTo>
                      <a:pt x="461" y="151"/>
                    </a:lnTo>
                    <a:lnTo>
                      <a:pt x="462" y="152"/>
                    </a:lnTo>
                    <a:lnTo>
                      <a:pt x="464" y="154"/>
                    </a:lnTo>
                    <a:lnTo>
                      <a:pt x="472" y="159"/>
                    </a:lnTo>
                    <a:lnTo>
                      <a:pt x="474" y="159"/>
                    </a:lnTo>
                    <a:lnTo>
                      <a:pt x="475" y="159"/>
                    </a:lnTo>
                    <a:lnTo>
                      <a:pt x="475" y="154"/>
                    </a:lnTo>
                    <a:lnTo>
                      <a:pt x="475" y="154"/>
                    </a:lnTo>
                    <a:lnTo>
                      <a:pt x="475" y="154"/>
                    </a:lnTo>
                    <a:lnTo>
                      <a:pt x="475" y="154"/>
                    </a:lnTo>
                    <a:lnTo>
                      <a:pt x="475" y="154"/>
                    </a:lnTo>
                    <a:lnTo>
                      <a:pt x="475" y="154"/>
                    </a:lnTo>
                    <a:lnTo>
                      <a:pt x="475" y="154"/>
                    </a:lnTo>
                    <a:lnTo>
                      <a:pt x="475" y="154"/>
                    </a:lnTo>
                    <a:lnTo>
                      <a:pt x="475" y="154"/>
                    </a:lnTo>
                    <a:close/>
                    <a:moveTo>
                      <a:pt x="418" y="214"/>
                    </a:moveTo>
                    <a:lnTo>
                      <a:pt x="413" y="214"/>
                    </a:lnTo>
                    <a:lnTo>
                      <a:pt x="410" y="214"/>
                    </a:lnTo>
                    <a:lnTo>
                      <a:pt x="408" y="214"/>
                    </a:lnTo>
                    <a:lnTo>
                      <a:pt x="407" y="217"/>
                    </a:lnTo>
                    <a:lnTo>
                      <a:pt x="412" y="217"/>
                    </a:lnTo>
                    <a:lnTo>
                      <a:pt x="415" y="217"/>
                    </a:lnTo>
                    <a:lnTo>
                      <a:pt x="418" y="214"/>
                    </a:lnTo>
                    <a:lnTo>
                      <a:pt x="421" y="214"/>
                    </a:lnTo>
                    <a:lnTo>
                      <a:pt x="420" y="214"/>
                    </a:lnTo>
                    <a:lnTo>
                      <a:pt x="418" y="214"/>
                    </a:lnTo>
                    <a:lnTo>
                      <a:pt x="418" y="214"/>
                    </a:lnTo>
                    <a:lnTo>
                      <a:pt x="418" y="214"/>
                    </a:lnTo>
                    <a:lnTo>
                      <a:pt x="418" y="214"/>
                    </a:lnTo>
                    <a:lnTo>
                      <a:pt x="418" y="214"/>
                    </a:lnTo>
                    <a:lnTo>
                      <a:pt x="418" y="214"/>
                    </a:lnTo>
                    <a:lnTo>
                      <a:pt x="418" y="214"/>
                    </a:lnTo>
                    <a:lnTo>
                      <a:pt x="418" y="214"/>
                    </a:lnTo>
                    <a:lnTo>
                      <a:pt x="418" y="214"/>
                    </a:lnTo>
                    <a:close/>
                    <a:moveTo>
                      <a:pt x="428" y="149"/>
                    </a:moveTo>
                    <a:lnTo>
                      <a:pt x="428" y="149"/>
                    </a:lnTo>
                    <a:lnTo>
                      <a:pt x="424" y="147"/>
                    </a:lnTo>
                    <a:lnTo>
                      <a:pt x="421" y="147"/>
                    </a:lnTo>
                    <a:lnTo>
                      <a:pt x="416" y="147"/>
                    </a:lnTo>
                    <a:lnTo>
                      <a:pt x="415" y="149"/>
                    </a:lnTo>
                    <a:lnTo>
                      <a:pt x="415" y="152"/>
                    </a:lnTo>
                    <a:lnTo>
                      <a:pt x="418" y="155"/>
                    </a:lnTo>
                    <a:lnTo>
                      <a:pt x="423" y="159"/>
                    </a:lnTo>
                    <a:lnTo>
                      <a:pt x="426" y="157"/>
                    </a:lnTo>
                    <a:lnTo>
                      <a:pt x="428" y="155"/>
                    </a:lnTo>
                    <a:lnTo>
                      <a:pt x="431" y="152"/>
                    </a:lnTo>
                    <a:lnTo>
                      <a:pt x="428" y="151"/>
                    </a:lnTo>
                    <a:lnTo>
                      <a:pt x="428" y="149"/>
                    </a:lnTo>
                    <a:lnTo>
                      <a:pt x="428" y="149"/>
                    </a:lnTo>
                    <a:lnTo>
                      <a:pt x="428" y="149"/>
                    </a:lnTo>
                    <a:lnTo>
                      <a:pt x="428" y="149"/>
                    </a:lnTo>
                    <a:lnTo>
                      <a:pt x="428" y="149"/>
                    </a:lnTo>
                    <a:lnTo>
                      <a:pt x="428" y="149"/>
                    </a:lnTo>
                    <a:lnTo>
                      <a:pt x="428" y="149"/>
                    </a:lnTo>
                    <a:lnTo>
                      <a:pt x="428" y="149"/>
                    </a:lnTo>
                    <a:lnTo>
                      <a:pt x="428" y="149"/>
                    </a:lnTo>
                    <a:close/>
                    <a:moveTo>
                      <a:pt x="434" y="114"/>
                    </a:moveTo>
                    <a:lnTo>
                      <a:pt x="434" y="114"/>
                    </a:lnTo>
                    <a:lnTo>
                      <a:pt x="437" y="114"/>
                    </a:lnTo>
                    <a:lnTo>
                      <a:pt x="437" y="117"/>
                    </a:lnTo>
                    <a:lnTo>
                      <a:pt x="437" y="114"/>
                    </a:lnTo>
                    <a:lnTo>
                      <a:pt x="439" y="114"/>
                    </a:lnTo>
                    <a:lnTo>
                      <a:pt x="437" y="114"/>
                    </a:lnTo>
                    <a:lnTo>
                      <a:pt x="437" y="113"/>
                    </a:lnTo>
                    <a:lnTo>
                      <a:pt x="437" y="111"/>
                    </a:lnTo>
                    <a:lnTo>
                      <a:pt x="437" y="109"/>
                    </a:lnTo>
                    <a:lnTo>
                      <a:pt x="434" y="108"/>
                    </a:lnTo>
                    <a:lnTo>
                      <a:pt x="434" y="109"/>
                    </a:lnTo>
                    <a:lnTo>
                      <a:pt x="431" y="109"/>
                    </a:lnTo>
                    <a:lnTo>
                      <a:pt x="431" y="111"/>
                    </a:lnTo>
                    <a:lnTo>
                      <a:pt x="434" y="114"/>
                    </a:lnTo>
                    <a:lnTo>
                      <a:pt x="434" y="114"/>
                    </a:lnTo>
                    <a:lnTo>
                      <a:pt x="434" y="114"/>
                    </a:lnTo>
                    <a:lnTo>
                      <a:pt x="434" y="114"/>
                    </a:lnTo>
                    <a:lnTo>
                      <a:pt x="434" y="114"/>
                    </a:lnTo>
                    <a:lnTo>
                      <a:pt x="434" y="114"/>
                    </a:lnTo>
                    <a:lnTo>
                      <a:pt x="434" y="114"/>
                    </a:lnTo>
                    <a:lnTo>
                      <a:pt x="434" y="114"/>
                    </a:lnTo>
                    <a:lnTo>
                      <a:pt x="434" y="114"/>
                    </a:lnTo>
                    <a:lnTo>
                      <a:pt x="434" y="114"/>
                    </a:lnTo>
                    <a:close/>
                    <a:moveTo>
                      <a:pt x="478" y="211"/>
                    </a:moveTo>
                    <a:lnTo>
                      <a:pt x="477" y="214"/>
                    </a:lnTo>
                    <a:lnTo>
                      <a:pt x="477" y="214"/>
                    </a:lnTo>
                    <a:lnTo>
                      <a:pt x="475" y="214"/>
                    </a:lnTo>
                    <a:lnTo>
                      <a:pt x="475" y="217"/>
                    </a:lnTo>
                    <a:lnTo>
                      <a:pt x="477" y="217"/>
                    </a:lnTo>
                    <a:lnTo>
                      <a:pt x="478" y="217"/>
                    </a:lnTo>
                    <a:lnTo>
                      <a:pt x="480" y="214"/>
                    </a:lnTo>
                    <a:lnTo>
                      <a:pt x="481" y="214"/>
                    </a:lnTo>
                    <a:lnTo>
                      <a:pt x="483" y="211"/>
                    </a:lnTo>
                    <a:lnTo>
                      <a:pt x="483" y="208"/>
                    </a:lnTo>
                    <a:lnTo>
                      <a:pt x="483" y="208"/>
                    </a:lnTo>
                    <a:lnTo>
                      <a:pt x="483" y="205"/>
                    </a:lnTo>
                    <a:lnTo>
                      <a:pt x="478" y="211"/>
                    </a:lnTo>
                    <a:lnTo>
                      <a:pt x="478" y="211"/>
                    </a:lnTo>
                    <a:lnTo>
                      <a:pt x="478" y="211"/>
                    </a:lnTo>
                    <a:lnTo>
                      <a:pt x="478" y="211"/>
                    </a:lnTo>
                    <a:lnTo>
                      <a:pt x="478" y="211"/>
                    </a:lnTo>
                    <a:lnTo>
                      <a:pt x="478" y="211"/>
                    </a:lnTo>
                    <a:lnTo>
                      <a:pt x="478" y="211"/>
                    </a:lnTo>
                    <a:lnTo>
                      <a:pt x="478" y="211"/>
                    </a:lnTo>
                    <a:lnTo>
                      <a:pt x="478" y="211"/>
                    </a:lnTo>
                    <a:close/>
                    <a:moveTo>
                      <a:pt x="478" y="117"/>
                    </a:moveTo>
                    <a:lnTo>
                      <a:pt x="477" y="117"/>
                    </a:lnTo>
                    <a:lnTo>
                      <a:pt x="475" y="117"/>
                    </a:lnTo>
                    <a:lnTo>
                      <a:pt x="474" y="120"/>
                    </a:lnTo>
                    <a:lnTo>
                      <a:pt x="477" y="124"/>
                    </a:lnTo>
                    <a:lnTo>
                      <a:pt x="478" y="124"/>
                    </a:lnTo>
                    <a:lnTo>
                      <a:pt x="478" y="120"/>
                    </a:lnTo>
                    <a:lnTo>
                      <a:pt x="478" y="117"/>
                    </a:lnTo>
                    <a:lnTo>
                      <a:pt x="478" y="117"/>
                    </a:lnTo>
                    <a:lnTo>
                      <a:pt x="478" y="117"/>
                    </a:lnTo>
                    <a:lnTo>
                      <a:pt x="478" y="117"/>
                    </a:lnTo>
                    <a:lnTo>
                      <a:pt x="478" y="117"/>
                    </a:lnTo>
                    <a:lnTo>
                      <a:pt x="478" y="117"/>
                    </a:lnTo>
                    <a:lnTo>
                      <a:pt x="478" y="117"/>
                    </a:lnTo>
                    <a:lnTo>
                      <a:pt x="478" y="117"/>
                    </a:lnTo>
                    <a:lnTo>
                      <a:pt x="478" y="117"/>
                    </a:lnTo>
                    <a:close/>
                    <a:moveTo>
                      <a:pt x="572" y="211"/>
                    </a:moveTo>
                    <a:lnTo>
                      <a:pt x="566" y="211"/>
                    </a:lnTo>
                    <a:lnTo>
                      <a:pt x="562" y="214"/>
                    </a:lnTo>
                    <a:lnTo>
                      <a:pt x="562" y="214"/>
                    </a:lnTo>
                    <a:lnTo>
                      <a:pt x="556" y="224"/>
                    </a:lnTo>
                    <a:lnTo>
                      <a:pt x="556" y="224"/>
                    </a:lnTo>
                    <a:lnTo>
                      <a:pt x="562" y="224"/>
                    </a:lnTo>
                    <a:lnTo>
                      <a:pt x="564" y="224"/>
                    </a:lnTo>
                    <a:lnTo>
                      <a:pt x="567" y="224"/>
                    </a:lnTo>
                    <a:lnTo>
                      <a:pt x="570" y="221"/>
                    </a:lnTo>
                    <a:lnTo>
                      <a:pt x="574" y="217"/>
                    </a:lnTo>
                    <a:lnTo>
                      <a:pt x="575" y="214"/>
                    </a:lnTo>
                    <a:lnTo>
                      <a:pt x="577" y="214"/>
                    </a:lnTo>
                    <a:lnTo>
                      <a:pt x="574" y="211"/>
                    </a:lnTo>
                    <a:lnTo>
                      <a:pt x="572" y="211"/>
                    </a:lnTo>
                    <a:lnTo>
                      <a:pt x="572" y="211"/>
                    </a:lnTo>
                    <a:lnTo>
                      <a:pt x="572" y="211"/>
                    </a:lnTo>
                    <a:lnTo>
                      <a:pt x="572" y="211"/>
                    </a:lnTo>
                    <a:lnTo>
                      <a:pt x="572" y="211"/>
                    </a:lnTo>
                    <a:lnTo>
                      <a:pt x="572" y="211"/>
                    </a:lnTo>
                    <a:lnTo>
                      <a:pt x="572" y="211"/>
                    </a:lnTo>
                    <a:lnTo>
                      <a:pt x="572" y="211"/>
                    </a:lnTo>
                    <a:lnTo>
                      <a:pt x="572" y="211"/>
                    </a:lnTo>
                    <a:close/>
                    <a:moveTo>
                      <a:pt x="604" y="141"/>
                    </a:moveTo>
                    <a:lnTo>
                      <a:pt x="602" y="141"/>
                    </a:lnTo>
                    <a:lnTo>
                      <a:pt x="597" y="138"/>
                    </a:lnTo>
                    <a:lnTo>
                      <a:pt x="594" y="138"/>
                    </a:lnTo>
                    <a:lnTo>
                      <a:pt x="591" y="138"/>
                    </a:lnTo>
                    <a:lnTo>
                      <a:pt x="588" y="136"/>
                    </a:lnTo>
                    <a:lnTo>
                      <a:pt x="585" y="135"/>
                    </a:lnTo>
                    <a:lnTo>
                      <a:pt x="577" y="130"/>
                    </a:lnTo>
                    <a:lnTo>
                      <a:pt x="572" y="128"/>
                    </a:lnTo>
                    <a:lnTo>
                      <a:pt x="567" y="125"/>
                    </a:lnTo>
                    <a:lnTo>
                      <a:pt x="564" y="125"/>
                    </a:lnTo>
                    <a:lnTo>
                      <a:pt x="562" y="127"/>
                    </a:lnTo>
                    <a:lnTo>
                      <a:pt x="559" y="128"/>
                    </a:lnTo>
                    <a:lnTo>
                      <a:pt x="556" y="130"/>
                    </a:lnTo>
                    <a:lnTo>
                      <a:pt x="556" y="130"/>
                    </a:lnTo>
                    <a:lnTo>
                      <a:pt x="556" y="133"/>
                    </a:lnTo>
                    <a:lnTo>
                      <a:pt x="556" y="135"/>
                    </a:lnTo>
                    <a:lnTo>
                      <a:pt x="551" y="136"/>
                    </a:lnTo>
                    <a:lnTo>
                      <a:pt x="548" y="136"/>
                    </a:lnTo>
                    <a:lnTo>
                      <a:pt x="547" y="136"/>
                    </a:lnTo>
                    <a:lnTo>
                      <a:pt x="545" y="138"/>
                    </a:lnTo>
                    <a:lnTo>
                      <a:pt x="543" y="141"/>
                    </a:lnTo>
                    <a:lnTo>
                      <a:pt x="542" y="144"/>
                    </a:lnTo>
                    <a:lnTo>
                      <a:pt x="540" y="147"/>
                    </a:lnTo>
                    <a:lnTo>
                      <a:pt x="534" y="151"/>
                    </a:lnTo>
                    <a:lnTo>
                      <a:pt x="532" y="152"/>
                    </a:lnTo>
                    <a:lnTo>
                      <a:pt x="531" y="152"/>
                    </a:lnTo>
                    <a:lnTo>
                      <a:pt x="528" y="149"/>
                    </a:lnTo>
                    <a:lnTo>
                      <a:pt x="524" y="147"/>
                    </a:lnTo>
                    <a:lnTo>
                      <a:pt x="524" y="144"/>
                    </a:lnTo>
                    <a:lnTo>
                      <a:pt x="524" y="141"/>
                    </a:lnTo>
                    <a:lnTo>
                      <a:pt x="524" y="138"/>
                    </a:lnTo>
                    <a:lnTo>
                      <a:pt x="521" y="138"/>
                    </a:lnTo>
                    <a:lnTo>
                      <a:pt x="521" y="141"/>
                    </a:lnTo>
                    <a:lnTo>
                      <a:pt x="521" y="144"/>
                    </a:lnTo>
                    <a:lnTo>
                      <a:pt x="518" y="136"/>
                    </a:lnTo>
                    <a:lnTo>
                      <a:pt x="518" y="132"/>
                    </a:lnTo>
                    <a:lnTo>
                      <a:pt x="518" y="128"/>
                    </a:lnTo>
                    <a:lnTo>
                      <a:pt x="518" y="124"/>
                    </a:lnTo>
                    <a:lnTo>
                      <a:pt x="518" y="120"/>
                    </a:lnTo>
                    <a:lnTo>
                      <a:pt x="518" y="117"/>
                    </a:lnTo>
                    <a:lnTo>
                      <a:pt x="518" y="117"/>
                    </a:lnTo>
                    <a:lnTo>
                      <a:pt x="516" y="114"/>
                    </a:lnTo>
                    <a:lnTo>
                      <a:pt x="513" y="114"/>
                    </a:lnTo>
                    <a:lnTo>
                      <a:pt x="508" y="114"/>
                    </a:lnTo>
                    <a:lnTo>
                      <a:pt x="504" y="113"/>
                    </a:lnTo>
                    <a:lnTo>
                      <a:pt x="499" y="109"/>
                    </a:lnTo>
                    <a:lnTo>
                      <a:pt x="494" y="109"/>
                    </a:lnTo>
                    <a:lnTo>
                      <a:pt x="489" y="113"/>
                    </a:lnTo>
                    <a:lnTo>
                      <a:pt x="486" y="114"/>
                    </a:lnTo>
                    <a:lnTo>
                      <a:pt x="481" y="114"/>
                    </a:lnTo>
                    <a:lnTo>
                      <a:pt x="481" y="117"/>
                    </a:lnTo>
                    <a:lnTo>
                      <a:pt x="480" y="120"/>
                    </a:lnTo>
                    <a:lnTo>
                      <a:pt x="478" y="124"/>
                    </a:lnTo>
                    <a:lnTo>
                      <a:pt x="478" y="124"/>
                    </a:lnTo>
                    <a:lnTo>
                      <a:pt x="481" y="125"/>
                    </a:lnTo>
                    <a:lnTo>
                      <a:pt x="483" y="124"/>
                    </a:lnTo>
                    <a:lnTo>
                      <a:pt x="486" y="125"/>
                    </a:lnTo>
                    <a:lnTo>
                      <a:pt x="486" y="125"/>
                    </a:lnTo>
                    <a:lnTo>
                      <a:pt x="489" y="125"/>
                    </a:lnTo>
                    <a:lnTo>
                      <a:pt x="489" y="127"/>
                    </a:lnTo>
                    <a:lnTo>
                      <a:pt x="489" y="127"/>
                    </a:lnTo>
                    <a:lnTo>
                      <a:pt x="489" y="128"/>
                    </a:lnTo>
                    <a:lnTo>
                      <a:pt x="489" y="130"/>
                    </a:lnTo>
                    <a:lnTo>
                      <a:pt x="489" y="132"/>
                    </a:lnTo>
                    <a:lnTo>
                      <a:pt x="493" y="133"/>
                    </a:lnTo>
                    <a:lnTo>
                      <a:pt x="493" y="135"/>
                    </a:lnTo>
                    <a:lnTo>
                      <a:pt x="494" y="136"/>
                    </a:lnTo>
                    <a:lnTo>
                      <a:pt x="497" y="136"/>
                    </a:lnTo>
                    <a:lnTo>
                      <a:pt x="499" y="136"/>
                    </a:lnTo>
                    <a:lnTo>
                      <a:pt x="502" y="136"/>
                    </a:lnTo>
                    <a:lnTo>
                      <a:pt x="505" y="136"/>
                    </a:lnTo>
                    <a:lnTo>
                      <a:pt x="508" y="136"/>
                    </a:lnTo>
                    <a:lnTo>
                      <a:pt x="512" y="135"/>
                    </a:lnTo>
                    <a:lnTo>
                      <a:pt x="516" y="135"/>
                    </a:lnTo>
                    <a:lnTo>
                      <a:pt x="515" y="136"/>
                    </a:lnTo>
                    <a:lnTo>
                      <a:pt x="516" y="136"/>
                    </a:lnTo>
                    <a:lnTo>
                      <a:pt x="515" y="138"/>
                    </a:lnTo>
                    <a:lnTo>
                      <a:pt x="516" y="138"/>
                    </a:lnTo>
                    <a:lnTo>
                      <a:pt x="513" y="138"/>
                    </a:lnTo>
                    <a:lnTo>
                      <a:pt x="513" y="141"/>
                    </a:lnTo>
                    <a:lnTo>
                      <a:pt x="512" y="141"/>
                    </a:lnTo>
                    <a:lnTo>
                      <a:pt x="512" y="141"/>
                    </a:lnTo>
                    <a:lnTo>
                      <a:pt x="510" y="141"/>
                    </a:lnTo>
                    <a:lnTo>
                      <a:pt x="508" y="138"/>
                    </a:lnTo>
                    <a:lnTo>
                      <a:pt x="507" y="138"/>
                    </a:lnTo>
                    <a:lnTo>
                      <a:pt x="504" y="138"/>
                    </a:lnTo>
                    <a:lnTo>
                      <a:pt x="502" y="141"/>
                    </a:lnTo>
                    <a:lnTo>
                      <a:pt x="501" y="144"/>
                    </a:lnTo>
                    <a:lnTo>
                      <a:pt x="497" y="144"/>
                    </a:lnTo>
                    <a:lnTo>
                      <a:pt x="494" y="141"/>
                    </a:lnTo>
                    <a:lnTo>
                      <a:pt x="493" y="141"/>
                    </a:lnTo>
                    <a:lnTo>
                      <a:pt x="489" y="144"/>
                    </a:lnTo>
                    <a:lnTo>
                      <a:pt x="489" y="144"/>
                    </a:lnTo>
                    <a:lnTo>
                      <a:pt x="493" y="144"/>
                    </a:lnTo>
                    <a:lnTo>
                      <a:pt x="494" y="147"/>
                    </a:lnTo>
                    <a:lnTo>
                      <a:pt x="496" y="149"/>
                    </a:lnTo>
                    <a:lnTo>
                      <a:pt x="499" y="151"/>
                    </a:lnTo>
                    <a:lnTo>
                      <a:pt x="501" y="151"/>
                    </a:lnTo>
                    <a:lnTo>
                      <a:pt x="501" y="154"/>
                    </a:lnTo>
                    <a:lnTo>
                      <a:pt x="501" y="155"/>
                    </a:lnTo>
                    <a:lnTo>
                      <a:pt x="499" y="155"/>
                    </a:lnTo>
                    <a:lnTo>
                      <a:pt x="499" y="157"/>
                    </a:lnTo>
                    <a:lnTo>
                      <a:pt x="499" y="160"/>
                    </a:lnTo>
                    <a:lnTo>
                      <a:pt x="502" y="163"/>
                    </a:lnTo>
                    <a:lnTo>
                      <a:pt x="505" y="162"/>
                    </a:lnTo>
                    <a:lnTo>
                      <a:pt x="507" y="160"/>
                    </a:lnTo>
                    <a:lnTo>
                      <a:pt x="508" y="157"/>
                    </a:lnTo>
                    <a:lnTo>
                      <a:pt x="508" y="155"/>
                    </a:lnTo>
                    <a:lnTo>
                      <a:pt x="510" y="154"/>
                    </a:lnTo>
                    <a:lnTo>
                      <a:pt x="508" y="152"/>
                    </a:lnTo>
                    <a:lnTo>
                      <a:pt x="510" y="152"/>
                    </a:lnTo>
                    <a:lnTo>
                      <a:pt x="512" y="151"/>
                    </a:lnTo>
                    <a:lnTo>
                      <a:pt x="512" y="149"/>
                    </a:lnTo>
                    <a:lnTo>
                      <a:pt x="513" y="147"/>
                    </a:lnTo>
                    <a:lnTo>
                      <a:pt x="515" y="144"/>
                    </a:lnTo>
                    <a:lnTo>
                      <a:pt x="513" y="149"/>
                    </a:lnTo>
                    <a:lnTo>
                      <a:pt x="512" y="152"/>
                    </a:lnTo>
                    <a:lnTo>
                      <a:pt x="512" y="154"/>
                    </a:lnTo>
                    <a:lnTo>
                      <a:pt x="512" y="155"/>
                    </a:lnTo>
                    <a:lnTo>
                      <a:pt x="513" y="155"/>
                    </a:lnTo>
                    <a:lnTo>
                      <a:pt x="515" y="159"/>
                    </a:lnTo>
                    <a:lnTo>
                      <a:pt x="518" y="159"/>
                    </a:lnTo>
                    <a:lnTo>
                      <a:pt x="518" y="160"/>
                    </a:lnTo>
                    <a:lnTo>
                      <a:pt x="518" y="160"/>
                    </a:lnTo>
                    <a:lnTo>
                      <a:pt x="521" y="160"/>
                    </a:lnTo>
                    <a:lnTo>
                      <a:pt x="521" y="162"/>
                    </a:lnTo>
                    <a:lnTo>
                      <a:pt x="524" y="160"/>
                    </a:lnTo>
                    <a:lnTo>
                      <a:pt x="524" y="160"/>
                    </a:lnTo>
                    <a:lnTo>
                      <a:pt x="524" y="162"/>
                    </a:lnTo>
                    <a:lnTo>
                      <a:pt x="524" y="163"/>
                    </a:lnTo>
                    <a:lnTo>
                      <a:pt x="528" y="165"/>
                    </a:lnTo>
                    <a:lnTo>
                      <a:pt x="529" y="168"/>
                    </a:lnTo>
                    <a:lnTo>
                      <a:pt x="534" y="168"/>
                    </a:lnTo>
                    <a:lnTo>
                      <a:pt x="539" y="170"/>
                    </a:lnTo>
                    <a:lnTo>
                      <a:pt x="547" y="173"/>
                    </a:lnTo>
                    <a:lnTo>
                      <a:pt x="551" y="173"/>
                    </a:lnTo>
                    <a:lnTo>
                      <a:pt x="553" y="176"/>
                    </a:lnTo>
                    <a:lnTo>
                      <a:pt x="556" y="176"/>
                    </a:lnTo>
                    <a:lnTo>
                      <a:pt x="559" y="176"/>
                    </a:lnTo>
                    <a:lnTo>
                      <a:pt x="562" y="179"/>
                    </a:lnTo>
                    <a:lnTo>
                      <a:pt x="564" y="182"/>
                    </a:lnTo>
                    <a:lnTo>
                      <a:pt x="564" y="182"/>
                    </a:lnTo>
                    <a:lnTo>
                      <a:pt x="566" y="182"/>
                    </a:lnTo>
                    <a:lnTo>
                      <a:pt x="566" y="182"/>
                    </a:lnTo>
                    <a:lnTo>
                      <a:pt x="566" y="186"/>
                    </a:lnTo>
                    <a:lnTo>
                      <a:pt x="567" y="186"/>
                    </a:lnTo>
                    <a:lnTo>
                      <a:pt x="567" y="187"/>
                    </a:lnTo>
                    <a:lnTo>
                      <a:pt x="569" y="187"/>
                    </a:lnTo>
                    <a:lnTo>
                      <a:pt x="569" y="189"/>
                    </a:lnTo>
                    <a:lnTo>
                      <a:pt x="569" y="190"/>
                    </a:lnTo>
                    <a:lnTo>
                      <a:pt x="569" y="195"/>
                    </a:lnTo>
                    <a:lnTo>
                      <a:pt x="572" y="198"/>
                    </a:lnTo>
                    <a:lnTo>
                      <a:pt x="574" y="200"/>
                    </a:lnTo>
                    <a:lnTo>
                      <a:pt x="572" y="201"/>
                    </a:lnTo>
                    <a:lnTo>
                      <a:pt x="578" y="205"/>
                    </a:lnTo>
                    <a:lnTo>
                      <a:pt x="575" y="203"/>
                    </a:lnTo>
                    <a:lnTo>
                      <a:pt x="572" y="203"/>
                    </a:lnTo>
                    <a:lnTo>
                      <a:pt x="570" y="205"/>
                    </a:lnTo>
                    <a:lnTo>
                      <a:pt x="575" y="208"/>
                    </a:lnTo>
                    <a:lnTo>
                      <a:pt x="572" y="208"/>
                    </a:lnTo>
                    <a:lnTo>
                      <a:pt x="574" y="211"/>
                    </a:lnTo>
                    <a:lnTo>
                      <a:pt x="577" y="211"/>
                    </a:lnTo>
                    <a:lnTo>
                      <a:pt x="577" y="214"/>
                    </a:lnTo>
                    <a:lnTo>
                      <a:pt x="577" y="214"/>
                    </a:lnTo>
                    <a:lnTo>
                      <a:pt x="575" y="217"/>
                    </a:lnTo>
                    <a:lnTo>
                      <a:pt x="574" y="221"/>
                    </a:lnTo>
                    <a:lnTo>
                      <a:pt x="574" y="221"/>
                    </a:lnTo>
                    <a:lnTo>
                      <a:pt x="577" y="221"/>
                    </a:lnTo>
                    <a:lnTo>
                      <a:pt x="578" y="217"/>
                    </a:lnTo>
                    <a:lnTo>
                      <a:pt x="578" y="221"/>
                    </a:lnTo>
                    <a:lnTo>
                      <a:pt x="580" y="221"/>
                    </a:lnTo>
                    <a:lnTo>
                      <a:pt x="583" y="221"/>
                    </a:lnTo>
                    <a:lnTo>
                      <a:pt x="586" y="221"/>
                    </a:lnTo>
                    <a:lnTo>
                      <a:pt x="588" y="217"/>
                    </a:lnTo>
                    <a:lnTo>
                      <a:pt x="588" y="221"/>
                    </a:lnTo>
                    <a:lnTo>
                      <a:pt x="588" y="224"/>
                    </a:lnTo>
                    <a:lnTo>
                      <a:pt x="591" y="227"/>
                    </a:lnTo>
                    <a:lnTo>
                      <a:pt x="594" y="230"/>
                    </a:lnTo>
                    <a:lnTo>
                      <a:pt x="597" y="232"/>
                    </a:lnTo>
                    <a:lnTo>
                      <a:pt x="601" y="235"/>
                    </a:lnTo>
                    <a:lnTo>
                      <a:pt x="599" y="233"/>
                    </a:lnTo>
                    <a:lnTo>
                      <a:pt x="602" y="205"/>
                    </a:lnTo>
                    <a:lnTo>
                      <a:pt x="601" y="203"/>
                    </a:lnTo>
                    <a:lnTo>
                      <a:pt x="601" y="200"/>
                    </a:lnTo>
                    <a:lnTo>
                      <a:pt x="602" y="194"/>
                    </a:lnTo>
                    <a:lnTo>
                      <a:pt x="605" y="141"/>
                    </a:lnTo>
                    <a:lnTo>
                      <a:pt x="605" y="141"/>
                    </a:lnTo>
                    <a:lnTo>
                      <a:pt x="604" y="141"/>
                    </a:lnTo>
                    <a:lnTo>
                      <a:pt x="604" y="141"/>
                    </a:lnTo>
                    <a:lnTo>
                      <a:pt x="604" y="141"/>
                    </a:lnTo>
                    <a:lnTo>
                      <a:pt x="604" y="141"/>
                    </a:lnTo>
                    <a:lnTo>
                      <a:pt x="604" y="141"/>
                    </a:lnTo>
                    <a:lnTo>
                      <a:pt x="604" y="141"/>
                    </a:lnTo>
                    <a:lnTo>
                      <a:pt x="604" y="141"/>
                    </a:lnTo>
                    <a:lnTo>
                      <a:pt x="604" y="141"/>
                    </a:lnTo>
                    <a:lnTo>
                      <a:pt x="604" y="141"/>
                    </a:lnTo>
                    <a:close/>
                    <a:moveTo>
                      <a:pt x="521" y="182"/>
                    </a:moveTo>
                    <a:lnTo>
                      <a:pt x="521" y="182"/>
                    </a:lnTo>
                    <a:lnTo>
                      <a:pt x="518" y="184"/>
                    </a:lnTo>
                    <a:lnTo>
                      <a:pt x="518" y="186"/>
                    </a:lnTo>
                    <a:lnTo>
                      <a:pt x="518" y="187"/>
                    </a:lnTo>
                    <a:lnTo>
                      <a:pt x="518" y="194"/>
                    </a:lnTo>
                    <a:lnTo>
                      <a:pt x="521" y="195"/>
                    </a:lnTo>
                    <a:lnTo>
                      <a:pt x="521" y="195"/>
                    </a:lnTo>
                    <a:lnTo>
                      <a:pt x="521" y="192"/>
                    </a:lnTo>
                    <a:lnTo>
                      <a:pt x="524" y="186"/>
                    </a:lnTo>
                    <a:lnTo>
                      <a:pt x="521" y="182"/>
                    </a:lnTo>
                    <a:lnTo>
                      <a:pt x="521" y="182"/>
                    </a:lnTo>
                    <a:lnTo>
                      <a:pt x="521" y="182"/>
                    </a:lnTo>
                    <a:lnTo>
                      <a:pt x="521" y="182"/>
                    </a:lnTo>
                    <a:lnTo>
                      <a:pt x="521" y="182"/>
                    </a:lnTo>
                    <a:lnTo>
                      <a:pt x="521" y="182"/>
                    </a:lnTo>
                    <a:lnTo>
                      <a:pt x="521" y="182"/>
                    </a:lnTo>
                    <a:lnTo>
                      <a:pt x="521" y="182"/>
                    </a:lnTo>
                    <a:lnTo>
                      <a:pt x="521" y="182"/>
                    </a:lnTo>
                    <a:lnTo>
                      <a:pt x="521" y="182"/>
                    </a:lnTo>
                    <a:close/>
                    <a:moveTo>
                      <a:pt x="515" y="190"/>
                    </a:moveTo>
                    <a:lnTo>
                      <a:pt x="516" y="194"/>
                    </a:lnTo>
                    <a:lnTo>
                      <a:pt x="515" y="192"/>
                    </a:lnTo>
                    <a:lnTo>
                      <a:pt x="515" y="195"/>
                    </a:lnTo>
                    <a:lnTo>
                      <a:pt x="516" y="197"/>
                    </a:lnTo>
                    <a:lnTo>
                      <a:pt x="515" y="198"/>
                    </a:lnTo>
                    <a:lnTo>
                      <a:pt x="513" y="201"/>
                    </a:lnTo>
                    <a:lnTo>
                      <a:pt x="515" y="203"/>
                    </a:lnTo>
                    <a:lnTo>
                      <a:pt x="516" y="203"/>
                    </a:lnTo>
                    <a:lnTo>
                      <a:pt x="518" y="200"/>
                    </a:lnTo>
                    <a:lnTo>
                      <a:pt x="518" y="197"/>
                    </a:lnTo>
                    <a:lnTo>
                      <a:pt x="518" y="195"/>
                    </a:lnTo>
                    <a:lnTo>
                      <a:pt x="516" y="194"/>
                    </a:lnTo>
                    <a:lnTo>
                      <a:pt x="518" y="194"/>
                    </a:lnTo>
                    <a:lnTo>
                      <a:pt x="516" y="190"/>
                    </a:lnTo>
                    <a:lnTo>
                      <a:pt x="515" y="190"/>
                    </a:lnTo>
                    <a:lnTo>
                      <a:pt x="515" y="190"/>
                    </a:lnTo>
                    <a:lnTo>
                      <a:pt x="515" y="190"/>
                    </a:lnTo>
                    <a:lnTo>
                      <a:pt x="515" y="190"/>
                    </a:lnTo>
                    <a:lnTo>
                      <a:pt x="515" y="190"/>
                    </a:lnTo>
                    <a:lnTo>
                      <a:pt x="515" y="190"/>
                    </a:lnTo>
                    <a:lnTo>
                      <a:pt x="515" y="190"/>
                    </a:lnTo>
                    <a:lnTo>
                      <a:pt x="515" y="190"/>
                    </a:lnTo>
                    <a:lnTo>
                      <a:pt x="515" y="190"/>
                    </a:lnTo>
                    <a:close/>
                    <a:moveTo>
                      <a:pt x="501" y="184"/>
                    </a:moveTo>
                    <a:lnTo>
                      <a:pt x="499" y="190"/>
                    </a:lnTo>
                    <a:lnTo>
                      <a:pt x="502" y="186"/>
                    </a:lnTo>
                    <a:lnTo>
                      <a:pt x="504" y="179"/>
                    </a:lnTo>
                    <a:lnTo>
                      <a:pt x="502" y="182"/>
                    </a:lnTo>
                    <a:lnTo>
                      <a:pt x="501" y="184"/>
                    </a:lnTo>
                    <a:lnTo>
                      <a:pt x="501" y="184"/>
                    </a:lnTo>
                    <a:lnTo>
                      <a:pt x="501" y="184"/>
                    </a:lnTo>
                    <a:lnTo>
                      <a:pt x="501" y="184"/>
                    </a:lnTo>
                    <a:lnTo>
                      <a:pt x="501" y="184"/>
                    </a:lnTo>
                    <a:lnTo>
                      <a:pt x="501" y="184"/>
                    </a:lnTo>
                    <a:lnTo>
                      <a:pt x="501" y="184"/>
                    </a:lnTo>
                    <a:lnTo>
                      <a:pt x="501" y="184"/>
                    </a:lnTo>
                    <a:lnTo>
                      <a:pt x="501" y="184"/>
                    </a:lnTo>
                    <a:close/>
                    <a:moveTo>
                      <a:pt x="385" y="224"/>
                    </a:moveTo>
                    <a:lnTo>
                      <a:pt x="386" y="227"/>
                    </a:lnTo>
                    <a:lnTo>
                      <a:pt x="388" y="224"/>
                    </a:lnTo>
                    <a:lnTo>
                      <a:pt x="388" y="221"/>
                    </a:lnTo>
                    <a:lnTo>
                      <a:pt x="386" y="224"/>
                    </a:lnTo>
                    <a:lnTo>
                      <a:pt x="385" y="224"/>
                    </a:lnTo>
                    <a:lnTo>
                      <a:pt x="383" y="224"/>
                    </a:lnTo>
                    <a:lnTo>
                      <a:pt x="385" y="224"/>
                    </a:lnTo>
                    <a:lnTo>
                      <a:pt x="385" y="224"/>
                    </a:lnTo>
                    <a:lnTo>
                      <a:pt x="385" y="224"/>
                    </a:lnTo>
                    <a:lnTo>
                      <a:pt x="385" y="224"/>
                    </a:lnTo>
                    <a:lnTo>
                      <a:pt x="385" y="224"/>
                    </a:lnTo>
                    <a:lnTo>
                      <a:pt x="385" y="224"/>
                    </a:lnTo>
                    <a:lnTo>
                      <a:pt x="385" y="224"/>
                    </a:lnTo>
                    <a:lnTo>
                      <a:pt x="385" y="224"/>
                    </a:lnTo>
                    <a:lnTo>
                      <a:pt x="385" y="224"/>
                    </a:lnTo>
                    <a:close/>
                    <a:moveTo>
                      <a:pt x="370" y="170"/>
                    </a:moveTo>
                    <a:lnTo>
                      <a:pt x="367" y="173"/>
                    </a:lnTo>
                    <a:lnTo>
                      <a:pt x="367" y="173"/>
                    </a:lnTo>
                    <a:lnTo>
                      <a:pt x="367" y="176"/>
                    </a:lnTo>
                    <a:lnTo>
                      <a:pt x="367" y="176"/>
                    </a:lnTo>
                    <a:lnTo>
                      <a:pt x="364" y="179"/>
                    </a:lnTo>
                    <a:lnTo>
                      <a:pt x="364" y="179"/>
                    </a:lnTo>
                    <a:lnTo>
                      <a:pt x="367" y="182"/>
                    </a:lnTo>
                    <a:lnTo>
                      <a:pt x="367" y="179"/>
                    </a:lnTo>
                    <a:lnTo>
                      <a:pt x="367" y="182"/>
                    </a:lnTo>
                    <a:lnTo>
                      <a:pt x="370" y="179"/>
                    </a:lnTo>
                    <a:lnTo>
                      <a:pt x="370" y="179"/>
                    </a:lnTo>
                    <a:lnTo>
                      <a:pt x="370" y="176"/>
                    </a:lnTo>
                    <a:lnTo>
                      <a:pt x="370" y="176"/>
                    </a:lnTo>
                    <a:lnTo>
                      <a:pt x="370" y="173"/>
                    </a:lnTo>
                    <a:lnTo>
                      <a:pt x="370" y="170"/>
                    </a:lnTo>
                    <a:lnTo>
                      <a:pt x="370" y="170"/>
                    </a:lnTo>
                    <a:lnTo>
                      <a:pt x="370" y="170"/>
                    </a:lnTo>
                    <a:lnTo>
                      <a:pt x="370" y="170"/>
                    </a:lnTo>
                    <a:lnTo>
                      <a:pt x="370" y="170"/>
                    </a:lnTo>
                    <a:lnTo>
                      <a:pt x="370" y="170"/>
                    </a:lnTo>
                    <a:lnTo>
                      <a:pt x="370" y="170"/>
                    </a:lnTo>
                    <a:lnTo>
                      <a:pt x="370" y="170"/>
                    </a:lnTo>
                    <a:lnTo>
                      <a:pt x="370" y="170"/>
                    </a:lnTo>
                    <a:close/>
                    <a:moveTo>
                      <a:pt x="383" y="124"/>
                    </a:moveTo>
                    <a:lnTo>
                      <a:pt x="381" y="124"/>
                    </a:lnTo>
                    <a:lnTo>
                      <a:pt x="380" y="124"/>
                    </a:lnTo>
                    <a:lnTo>
                      <a:pt x="381" y="124"/>
                    </a:lnTo>
                    <a:lnTo>
                      <a:pt x="383" y="124"/>
                    </a:lnTo>
                    <a:lnTo>
                      <a:pt x="383" y="124"/>
                    </a:lnTo>
                    <a:lnTo>
                      <a:pt x="383" y="124"/>
                    </a:lnTo>
                    <a:lnTo>
                      <a:pt x="383" y="124"/>
                    </a:lnTo>
                    <a:lnTo>
                      <a:pt x="383" y="124"/>
                    </a:lnTo>
                    <a:lnTo>
                      <a:pt x="383" y="124"/>
                    </a:lnTo>
                    <a:lnTo>
                      <a:pt x="383" y="124"/>
                    </a:lnTo>
                    <a:lnTo>
                      <a:pt x="383" y="124"/>
                    </a:lnTo>
                    <a:lnTo>
                      <a:pt x="383" y="124"/>
                    </a:lnTo>
                    <a:close/>
                    <a:moveTo>
                      <a:pt x="378" y="120"/>
                    </a:moveTo>
                    <a:lnTo>
                      <a:pt x="375" y="120"/>
                    </a:lnTo>
                    <a:lnTo>
                      <a:pt x="374" y="124"/>
                    </a:lnTo>
                    <a:lnTo>
                      <a:pt x="375" y="127"/>
                    </a:lnTo>
                    <a:lnTo>
                      <a:pt x="377" y="124"/>
                    </a:lnTo>
                    <a:lnTo>
                      <a:pt x="378" y="125"/>
                    </a:lnTo>
                    <a:lnTo>
                      <a:pt x="378" y="127"/>
                    </a:lnTo>
                    <a:lnTo>
                      <a:pt x="380" y="127"/>
                    </a:lnTo>
                    <a:lnTo>
                      <a:pt x="380" y="124"/>
                    </a:lnTo>
                    <a:lnTo>
                      <a:pt x="380" y="120"/>
                    </a:lnTo>
                    <a:lnTo>
                      <a:pt x="378" y="120"/>
                    </a:lnTo>
                    <a:lnTo>
                      <a:pt x="378" y="120"/>
                    </a:lnTo>
                    <a:lnTo>
                      <a:pt x="378" y="120"/>
                    </a:lnTo>
                    <a:lnTo>
                      <a:pt x="378" y="120"/>
                    </a:lnTo>
                    <a:lnTo>
                      <a:pt x="378" y="120"/>
                    </a:lnTo>
                    <a:lnTo>
                      <a:pt x="378" y="120"/>
                    </a:lnTo>
                    <a:lnTo>
                      <a:pt x="378" y="120"/>
                    </a:lnTo>
                    <a:lnTo>
                      <a:pt x="378" y="120"/>
                    </a:lnTo>
                    <a:lnTo>
                      <a:pt x="378" y="120"/>
                    </a:lnTo>
                    <a:close/>
                    <a:moveTo>
                      <a:pt x="370" y="182"/>
                    </a:moveTo>
                    <a:lnTo>
                      <a:pt x="370" y="184"/>
                    </a:lnTo>
                    <a:lnTo>
                      <a:pt x="372" y="186"/>
                    </a:lnTo>
                    <a:lnTo>
                      <a:pt x="374" y="182"/>
                    </a:lnTo>
                    <a:lnTo>
                      <a:pt x="377" y="182"/>
                    </a:lnTo>
                    <a:lnTo>
                      <a:pt x="377" y="179"/>
                    </a:lnTo>
                    <a:lnTo>
                      <a:pt x="375" y="179"/>
                    </a:lnTo>
                    <a:lnTo>
                      <a:pt x="374" y="179"/>
                    </a:lnTo>
                    <a:lnTo>
                      <a:pt x="374" y="173"/>
                    </a:lnTo>
                    <a:lnTo>
                      <a:pt x="375" y="173"/>
                    </a:lnTo>
                    <a:lnTo>
                      <a:pt x="377" y="170"/>
                    </a:lnTo>
                    <a:lnTo>
                      <a:pt x="377" y="170"/>
                    </a:lnTo>
                    <a:lnTo>
                      <a:pt x="375" y="167"/>
                    </a:lnTo>
                    <a:lnTo>
                      <a:pt x="374" y="168"/>
                    </a:lnTo>
                    <a:lnTo>
                      <a:pt x="372" y="170"/>
                    </a:lnTo>
                    <a:lnTo>
                      <a:pt x="370" y="176"/>
                    </a:lnTo>
                    <a:lnTo>
                      <a:pt x="370" y="179"/>
                    </a:lnTo>
                    <a:lnTo>
                      <a:pt x="370" y="182"/>
                    </a:lnTo>
                    <a:lnTo>
                      <a:pt x="370" y="182"/>
                    </a:lnTo>
                    <a:lnTo>
                      <a:pt x="370" y="182"/>
                    </a:lnTo>
                    <a:lnTo>
                      <a:pt x="370" y="182"/>
                    </a:lnTo>
                    <a:lnTo>
                      <a:pt x="370" y="182"/>
                    </a:lnTo>
                    <a:lnTo>
                      <a:pt x="370" y="182"/>
                    </a:lnTo>
                    <a:lnTo>
                      <a:pt x="370" y="182"/>
                    </a:lnTo>
                    <a:lnTo>
                      <a:pt x="370" y="182"/>
                    </a:lnTo>
                    <a:lnTo>
                      <a:pt x="370" y="182"/>
                    </a:lnTo>
                    <a:close/>
                    <a:moveTo>
                      <a:pt x="342" y="192"/>
                    </a:moveTo>
                    <a:lnTo>
                      <a:pt x="342" y="187"/>
                    </a:lnTo>
                    <a:lnTo>
                      <a:pt x="340" y="189"/>
                    </a:lnTo>
                    <a:lnTo>
                      <a:pt x="340" y="192"/>
                    </a:lnTo>
                    <a:lnTo>
                      <a:pt x="342" y="197"/>
                    </a:lnTo>
                    <a:lnTo>
                      <a:pt x="342" y="192"/>
                    </a:lnTo>
                    <a:lnTo>
                      <a:pt x="342" y="192"/>
                    </a:lnTo>
                    <a:lnTo>
                      <a:pt x="342" y="192"/>
                    </a:lnTo>
                    <a:lnTo>
                      <a:pt x="342" y="192"/>
                    </a:lnTo>
                    <a:lnTo>
                      <a:pt x="342" y="192"/>
                    </a:lnTo>
                    <a:lnTo>
                      <a:pt x="342" y="192"/>
                    </a:lnTo>
                    <a:lnTo>
                      <a:pt x="342" y="192"/>
                    </a:lnTo>
                    <a:lnTo>
                      <a:pt x="342" y="192"/>
                    </a:lnTo>
                    <a:lnTo>
                      <a:pt x="342" y="192"/>
                    </a:lnTo>
                    <a:close/>
                    <a:moveTo>
                      <a:pt x="361" y="179"/>
                    </a:moveTo>
                    <a:lnTo>
                      <a:pt x="361" y="176"/>
                    </a:lnTo>
                    <a:lnTo>
                      <a:pt x="361" y="179"/>
                    </a:lnTo>
                    <a:lnTo>
                      <a:pt x="361" y="179"/>
                    </a:lnTo>
                    <a:lnTo>
                      <a:pt x="361" y="182"/>
                    </a:lnTo>
                    <a:lnTo>
                      <a:pt x="361" y="179"/>
                    </a:lnTo>
                    <a:lnTo>
                      <a:pt x="361" y="179"/>
                    </a:lnTo>
                    <a:lnTo>
                      <a:pt x="361" y="179"/>
                    </a:lnTo>
                    <a:lnTo>
                      <a:pt x="361" y="179"/>
                    </a:lnTo>
                    <a:lnTo>
                      <a:pt x="361" y="179"/>
                    </a:lnTo>
                    <a:lnTo>
                      <a:pt x="361" y="179"/>
                    </a:lnTo>
                    <a:lnTo>
                      <a:pt x="361" y="179"/>
                    </a:lnTo>
                    <a:lnTo>
                      <a:pt x="361" y="179"/>
                    </a:lnTo>
                    <a:lnTo>
                      <a:pt x="361" y="179"/>
                    </a:lnTo>
                    <a:close/>
                    <a:moveTo>
                      <a:pt x="377" y="221"/>
                    </a:moveTo>
                    <a:lnTo>
                      <a:pt x="378" y="224"/>
                    </a:lnTo>
                    <a:lnTo>
                      <a:pt x="378" y="221"/>
                    </a:lnTo>
                    <a:lnTo>
                      <a:pt x="377" y="221"/>
                    </a:lnTo>
                    <a:lnTo>
                      <a:pt x="377" y="221"/>
                    </a:lnTo>
                    <a:lnTo>
                      <a:pt x="377" y="221"/>
                    </a:lnTo>
                    <a:lnTo>
                      <a:pt x="377" y="221"/>
                    </a:lnTo>
                    <a:lnTo>
                      <a:pt x="377" y="221"/>
                    </a:lnTo>
                    <a:lnTo>
                      <a:pt x="377" y="221"/>
                    </a:lnTo>
                    <a:lnTo>
                      <a:pt x="377" y="221"/>
                    </a:lnTo>
                    <a:lnTo>
                      <a:pt x="377" y="221"/>
                    </a:lnTo>
                    <a:lnTo>
                      <a:pt x="377" y="221"/>
                    </a:lnTo>
                    <a:close/>
                    <a:moveTo>
                      <a:pt x="377" y="162"/>
                    </a:moveTo>
                    <a:lnTo>
                      <a:pt x="375" y="160"/>
                    </a:lnTo>
                    <a:lnTo>
                      <a:pt x="375" y="163"/>
                    </a:lnTo>
                    <a:lnTo>
                      <a:pt x="375" y="165"/>
                    </a:lnTo>
                    <a:lnTo>
                      <a:pt x="377" y="165"/>
                    </a:lnTo>
                    <a:lnTo>
                      <a:pt x="378" y="163"/>
                    </a:lnTo>
                    <a:lnTo>
                      <a:pt x="377" y="162"/>
                    </a:lnTo>
                    <a:lnTo>
                      <a:pt x="377" y="162"/>
                    </a:lnTo>
                    <a:lnTo>
                      <a:pt x="377" y="162"/>
                    </a:lnTo>
                    <a:lnTo>
                      <a:pt x="377" y="162"/>
                    </a:lnTo>
                    <a:lnTo>
                      <a:pt x="377" y="162"/>
                    </a:lnTo>
                    <a:lnTo>
                      <a:pt x="377" y="162"/>
                    </a:lnTo>
                    <a:lnTo>
                      <a:pt x="377" y="162"/>
                    </a:lnTo>
                    <a:lnTo>
                      <a:pt x="377" y="162"/>
                    </a:lnTo>
                    <a:lnTo>
                      <a:pt x="377" y="162"/>
                    </a:lnTo>
                    <a:close/>
                    <a:moveTo>
                      <a:pt x="402" y="128"/>
                    </a:moveTo>
                    <a:lnTo>
                      <a:pt x="399" y="128"/>
                    </a:lnTo>
                    <a:lnTo>
                      <a:pt x="396" y="127"/>
                    </a:lnTo>
                    <a:lnTo>
                      <a:pt x="393" y="130"/>
                    </a:lnTo>
                    <a:lnTo>
                      <a:pt x="393" y="132"/>
                    </a:lnTo>
                    <a:lnTo>
                      <a:pt x="396" y="132"/>
                    </a:lnTo>
                    <a:lnTo>
                      <a:pt x="399" y="132"/>
                    </a:lnTo>
                    <a:lnTo>
                      <a:pt x="399" y="132"/>
                    </a:lnTo>
                    <a:lnTo>
                      <a:pt x="402" y="132"/>
                    </a:lnTo>
                    <a:lnTo>
                      <a:pt x="404" y="130"/>
                    </a:lnTo>
                    <a:lnTo>
                      <a:pt x="405" y="130"/>
                    </a:lnTo>
                    <a:lnTo>
                      <a:pt x="404" y="128"/>
                    </a:lnTo>
                    <a:lnTo>
                      <a:pt x="402" y="128"/>
                    </a:lnTo>
                    <a:lnTo>
                      <a:pt x="402" y="128"/>
                    </a:lnTo>
                    <a:lnTo>
                      <a:pt x="402" y="128"/>
                    </a:lnTo>
                    <a:lnTo>
                      <a:pt x="402" y="128"/>
                    </a:lnTo>
                    <a:lnTo>
                      <a:pt x="402" y="128"/>
                    </a:lnTo>
                    <a:lnTo>
                      <a:pt x="402" y="128"/>
                    </a:lnTo>
                    <a:lnTo>
                      <a:pt x="402" y="128"/>
                    </a:lnTo>
                    <a:lnTo>
                      <a:pt x="402" y="128"/>
                    </a:lnTo>
                    <a:lnTo>
                      <a:pt x="402" y="128"/>
                    </a:lnTo>
                    <a:close/>
                    <a:moveTo>
                      <a:pt x="396" y="221"/>
                    </a:moveTo>
                    <a:lnTo>
                      <a:pt x="391" y="221"/>
                    </a:lnTo>
                    <a:lnTo>
                      <a:pt x="391" y="221"/>
                    </a:lnTo>
                    <a:lnTo>
                      <a:pt x="393" y="221"/>
                    </a:lnTo>
                    <a:lnTo>
                      <a:pt x="389" y="224"/>
                    </a:lnTo>
                    <a:lnTo>
                      <a:pt x="389" y="224"/>
                    </a:lnTo>
                    <a:lnTo>
                      <a:pt x="393" y="224"/>
                    </a:lnTo>
                    <a:lnTo>
                      <a:pt x="399" y="224"/>
                    </a:lnTo>
                    <a:lnTo>
                      <a:pt x="399" y="221"/>
                    </a:lnTo>
                    <a:lnTo>
                      <a:pt x="399" y="221"/>
                    </a:lnTo>
                    <a:lnTo>
                      <a:pt x="396" y="221"/>
                    </a:lnTo>
                    <a:lnTo>
                      <a:pt x="396" y="221"/>
                    </a:lnTo>
                    <a:lnTo>
                      <a:pt x="396" y="221"/>
                    </a:lnTo>
                    <a:lnTo>
                      <a:pt x="396" y="221"/>
                    </a:lnTo>
                    <a:lnTo>
                      <a:pt x="396" y="221"/>
                    </a:lnTo>
                    <a:lnTo>
                      <a:pt x="396" y="221"/>
                    </a:lnTo>
                    <a:lnTo>
                      <a:pt x="396" y="221"/>
                    </a:lnTo>
                    <a:lnTo>
                      <a:pt x="396" y="221"/>
                    </a:lnTo>
                    <a:lnTo>
                      <a:pt x="396" y="221"/>
                    </a:lnTo>
                    <a:close/>
                    <a:moveTo>
                      <a:pt x="396" y="230"/>
                    </a:moveTo>
                    <a:lnTo>
                      <a:pt x="393" y="232"/>
                    </a:lnTo>
                    <a:lnTo>
                      <a:pt x="393" y="233"/>
                    </a:lnTo>
                    <a:lnTo>
                      <a:pt x="393" y="235"/>
                    </a:lnTo>
                    <a:lnTo>
                      <a:pt x="389" y="235"/>
                    </a:lnTo>
                    <a:lnTo>
                      <a:pt x="386" y="236"/>
                    </a:lnTo>
                    <a:lnTo>
                      <a:pt x="383" y="238"/>
                    </a:lnTo>
                    <a:lnTo>
                      <a:pt x="381" y="238"/>
                    </a:lnTo>
                    <a:lnTo>
                      <a:pt x="377" y="247"/>
                    </a:lnTo>
                    <a:lnTo>
                      <a:pt x="378" y="247"/>
                    </a:lnTo>
                    <a:lnTo>
                      <a:pt x="378" y="249"/>
                    </a:lnTo>
                    <a:lnTo>
                      <a:pt x="377" y="249"/>
                    </a:lnTo>
                    <a:lnTo>
                      <a:pt x="375" y="252"/>
                    </a:lnTo>
                    <a:lnTo>
                      <a:pt x="380" y="252"/>
                    </a:lnTo>
                    <a:lnTo>
                      <a:pt x="383" y="249"/>
                    </a:lnTo>
                    <a:lnTo>
                      <a:pt x="385" y="249"/>
                    </a:lnTo>
                    <a:lnTo>
                      <a:pt x="389" y="249"/>
                    </a:lnTo>
                    <a:lnTo>
                      <a:pt x="393" y="246"/>
                    </a:lnTo>
                    <a:lnTo>
                      <a:pt x="393" y="244"/>
                    </a:lnTo>
                    <a:lnTo>
                      <a:pt x="396" y="241"/>
                    </a:lnTo>
                    <a:lnTo>
                      <a:pt x="396" y="240"/>
                    </a:lnTo>
                    <a:lnTo>
                      <a:pt x="396" y="240"/>
                    </a:lnTo>
                    <a:lnTo>
                      <a:pt x="399" y="238"/>
                    </a:lnTo>
                    <a:lnTo>
                      <a:pt x="396" y="235"/>
                    </a:lnTo>
                    <a:lnTo>
                      <a:pt x="399" y="233"/>
                    </a:lnTo>
                    <a:lnTo>
                      <a:pt x="396" y="230"/>
                    </a:lnTo>
                    <a:lnTo>
                      <a:pt x="396" y="230"/>
                    </a:lnTo>
                    <a:lnTo>
                      <a:pt x="396" y="230"/>
                    </a:lnTo>
                    <a:lnTo>
                      <a:pt x="396" y="230"/>
                    </a:lnTo>
                    <a:lnTo>
                      <a:pt x="396" y="230"/>
                    </a:lnTo>
                    <a:lnTo>
                      <a:pt x="396" y="230"/>
                    </a:lnTo>
                    <a:lnTo>
                      <a:pt x="396" y="230"/>
                    </a:lnTo>
                    <a:lnTo>
                      <a:pt x="396" y="230"/>
                    </a:lnTo>
                    <a:lnTo>
                      <a:pt x="396" y="230"/>
                    </a:lnTo>
                    <a:close/>
                    <a:moveTo>
                      <a:pt x="378" y="224"/>
                    </a:moveTo>
                    <a:lnTo>
                      <a:pt x="375" y="224"/>
                    </a:lnTo>
                    <a:lnTo>
                      <a:pt x="375" y="227"/>
                    </a:lnTo>
                    <a:lnTo>
                      <a:pt x="377" y="227"/>
                    </a:lnTo>
                    <a:lnTo>
                      <a:pt x="378" y="227"/>
                    </a:lnTo>
                    <a:lnTo>
                      <a:pt x="378" y="224"/>
                    </a:lnTo>
                    <a:lnTo>
                      <a:pt x="380" y="224"/>
                    </a:lnTo>
                    <a:lnTo>
                      <a:pt x="385" y="221"/>
                    </a:lnTo>
                    <a:lnTo>
                      <a:pt x="381" y="221"/>
                    </a:lnTo>
                    <a:lnTo>
                      <a:pt x="378" y="224"/>
                    </a:lnTo>
                    <a:lnTo>
                      <a:pt x="378" y="224"/>
                    </a:lnTo>
                    <a:lnTo>
                      <a:pt x="378" y="224"/>
                    </a:lnTo>
                    <a:lnTo>
                      <a:pt x="378" y="224"/>
                    </a:lnTo>
                    <a:lnTo>
                      <a:pt x="378" y="224"/>
                    </a:lnTo>
                    <a:lnTo>
                      <a:pt x="378" y="224"/>
                    </a:lnTo>
                    <a:lnTo>
                      <a:pt x="378" y="224"/>
                    </a:lnTo>
                    <a:lnTo>
                      <a:pt x="378" y="224"/>
                    </a:lnTo>
                    <a:lnTo>
                      <a:pt x="378" y="224"/>
                    </a:lnTo>
                    <a:close/>
                    <a:moveTo>
                      <a:pt x="370" y="221"/>
                    </a:moveTo>
                    <a:lnTo>
                      <a:pt x="370" y="221"/>
                    </a:lnTo>
                    <a:lnTo>
                      <a:pt x="370" y="221"/>
                    </a:lnTo>
                    <a:lnTo>
                      <a:pt x="367" y="224"/>
                    </a:lnTo>
                    <a:lnTo>
                      <a:pt x="364" y="227"/>
                    </a:lnTo>
                    <a:lnTo>
                      <a:pt x="364" y="227"/>
                    </a:lnTo>
                    <a:lnTo>
                      <a:pt x="361" y="227"/>
                    </a:lnTo>
                    <a:lnTo>
                      <a:pt x="361" y="224"/>
                    </a:lnTo>
                    <a:lnTo>
                      <a:pt x="358" y="224"/>
                    </a:lnTo>
                    <a:lnTo>
                      <a:pt x="358" y="224"/>
                    </a:lnTo>
                    <a:lnTo>
                      <a:pt x="354" y="224"/>
                    </a:lnTo>
                    <a:lnTo>
                      <a:pt x="354" y="227"/>
                    </a:lnTo>
                    <a:lnTo>
                      <a:pt x="353" y="227"/>
                    </a:lnTo>
                    <a:lnTo>
                      <a:pt x="351" y="227"/>
                    </a:lnTo>
                    <a:lnTo>
                      <a:pt x="350" y="224"/>
                    </a:lnTo>
                    <a:lnTo>
                      <a:pt x="347" y="224"/>
                    </a:lnTo>
                    <a:lnTo>
                      <a:pt x="342" y="221"/>
                    </a:lnTo>
                    <a:lnTo>
                      <a:pt x="337" y="221"/>
                    </a:lnTo>
                    <a:lnTo>
                      <a:pt x="335" y="224"/>
                    </a:lnTo>
                    <a:lnTo>
                      <a:pt x="332" y="224"/>
                    </a:lnTo>
                    <a:lnTo>
                      <a:pt x="332" y="227"/>
                    </a:lnTo>
                    <a:lnTo>
                      <a:pt x="332" y="228"/>
                    </a:lnTo>
                    <a:lnTo>
                      <a:pt x="332" y="230"/>
                    </a:lnTo>
                    <a:lnTo>
                      <a:pt x="332" y="228"/>
                    </a:lnTo>
                    <a:lnTo>
                      <a:pt x="335" y="228"/>
                    </a:lnTo>
                    <a:lnTo>
                      <a:pt x="339" y="228"/>
                    </a:lnTo>
                    <a:lnTo>
                      <a:pt x="343" y="230"/>
                    </a:lnTo>
                    <a:lnTo>
                      <a:pt x="345" y="230"/>
                    </a:lnTo>
                    <a:lnTo>
                      <a:pt x="347" y="230"/>
                    </a:lnTo>
                    <a:lnTo>
                      <a:pt x="350" y="230"/>
                    </a:lnTo>
                    <a:lnTo>
                      <a:pt x="351" y="230"/>
                    </a:lnTo>
                    <a:lnTo>
                      <a:pt x="351" y="228"/>
                    </a:lnTo>
                    <a:lnTo>
                      <a:pt x="356" y="230"/>
                    </a:lnTo>
                    <a:lnTo>
                      <a:pt x="361" y="228"/>
                    </a:lnTo>
                    <a:lnTo>
                      <a:pt x="367" y="227"/>
                    </a:lnTo>
                    <a:lnTo>
                      <a:pt x="367" y="227"/>
                    </a:lnTo>
                    <a:lnTo>
                      <a:pt x="370" y="224"/>
                    </a:lnTo>
                    <a:lnTo>
                      <a:pt x="370" y="224"/>
                    </a:lnTo>
                    <a:lnTo>
                      <a:pt x="372" y="224"/>
                    </a:lnTo>
                    <a:lnTo>
                      <a:pt x="370" y="221"/>
                    </a:lnTo>
                    <a:lnTo>
                      <a:pt x="370" y="221"/>
                    </a:lnTo>
                    <a:lnTo>
                      <a:pt x="370" y="221"/>
                    </a:lnTo>
                    <a:lnTo>
                      <a:pt x="370" y="221"/>
                    </a:lnTo>
                    <a:lnTo>
                      <a:pt x="370" y="221"/>
                    </a:lnTo>
                    <a:lnTo>
                      <a:pt x="370" y="221"/>
                    </a:lnTo>
                    <a:lnTo>
                      <a:pt x="370" y="221"/>
                    </a:lnTo>
                    <a:lnTo>
                      <a:pt x="370" y="221"/>
                    </a:lnTo>
                    <a:lnTo>
                      <a:pt x="370" y="221"/>
                    </a:lnTo>
                    <a:lnTo>
                      <a:pt x="370" y="22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06" name="Freeform 265">
                <a:extLst>
                  <a:ext uri="{FF2B5EF4-FFF2-40B4-BE49-F238E27FC236}">
                    <a16:creationId xmlns:a16="http://schemas.microsoft.com/office/drawing/2014/main" id="{79A3BCD2-6248-9853-F520-87AF02F94328}"/>
                  </a:ext>
                </a:extLst>
              </p:cNvPr>
              <p:cNvSpPr>
                <a:spLocks noEditPoints="1"/>
              </p:cNvSpPr>
              <p:nvPr/>
            </p:nvSpPr>
            <p:spPr bwMode="auto">
              <a:xfrm>
                <a:off x="10221668" y="4269603"/>
                <a:ext cx="219821" cy="127856"/>
              </a:xfrm>
              <a:custGeom>
                <a:avLst/>
                <a:gdLst>
                  <a:gd name="T0" fmla="*/ 38 w 98"/>
                  <a:gd name="T1" fmla="*/ 56 h 57"/>
                  <a:gd name="T2" fmla="*/ 35 w 98"/>
                  <a:gd name="T3" fmla="*/ 56 h 57"/>
                  <a:gd name="T4" fmla="*/ 35 w 98"/>
                  <a:gd name="T5" fmla="*/ 56 h 57"/>
                  <a:gd name="T6" fmla="*/ 9 w 98"/>
                  <a:gd name="T7" fmla="*/ 6 h 57"/>
                  <a:gd name="T8" fmla="*/ 5 w 98"/>
                  <a:gd name="T9" fmla="*/ 3 h 57"/>
                  <a:gd name="T10" fmla="*/ 8 w 98"/>
                  <a:gd name="T11" fmla="*/ 10 h 57"/>
                  <a:gd name="T12" fmla="*/ 11 w 98"/>
                  <a:gd name="T13" fmla="*/ 10 h 57"/>
                  <a:gd name="T14" fmla="*/ 11 w 98"/>
                  <a:gd name="T15" fmla="*/ 10 h 57"/>
                  <a:gd name="T16" fmla="*/ 1 w 98"/>
                  <a:gd name="T17" fmla="*/ 13 h 57"/>
                  <a:gd name="T18" fmla="*/ 1 w 98"/>
                  <a:gd name="T19" fmla="*/ 10 h 57"/>
                  <a:gd name="T20" fmla="*/ 1 w 98"/>
                  <a:gd name="T21" fmla="*/ 10 h 57"/>
                  <a:gd name="T22" fmla="*/ 5 w 98"/>
                  <a:gd name="T23" fmla="*/ 16 h 57"/>
                  <a:gd name="T24" fmla="*/ 6 w 98"/>
                  <a:gd name="T25" fmla="*/ 13 h 57"/>
                  <a:gd name="T26" fmla="*/ 6 w 98"/>
                  <a:gd name="T27" fmla="*/ 13 h 57"/>
                  <a:gd name="T28" fmla="*/ 11 w 98"/>
                  <a:gd name="T29" fmla="*/ 16 h 57"/>
                  <a:gd name="T30" fmla="*/ 8 w 98"/>
                  <a:gd name="T31" fmla="*/ 17 h 57"/>
                  <a:gd name="T32" fmla="*/ 13 w 98"/>
                  <a:gd name="T33" fmla="*/ 17 h 57"/>
                  <a:gd name="T34" fmla="*/ 11 w 98"/>
                  <a:gd name="T35" fmla="*/ 16 h 57"/>
                  <a:gd name="T36" fmla="*/ 11 w 98"/>
                  <a:gd name="T37" fmla="*/ 16 h 57"/>
                  <a:gd name="T38" fmla="*/ 9 w 98"/>
                  <a:gd name="T39" fmla="*/ 22 h 57"/>
                  <a:gd name="T40" fmla="*/ 8 w 98"/>
                  <a:gd name="T41" fmla="*/ 19 h 57"/>
                  <a:gd name="T42" fmla="*/ 8 w 98"/>
                  <a:gd name="T43" fmla="*/ 19 h 57"/>
                  <a:gd name="T44" fmla="*/ 14 w 98"/>
                  <a:gd name="T45" fmla="*/ 22 h 57"/>
                  <a:gd name="T46" fmla="*/ 16 w 98"/>
                  <a:gd name="T47" fmla="*/ 21 h 57"/>
                  <a:gd name="T48" fmla="*/ 16 w 98"/>
                  <a:gd name="T49" fmla="*/ 21 h 57"/>
                  <a:gd name="T50" fmla="*/ 36 w 98"/>
                  <a:gd name="T51" fmla="*/ 21 h 57"/>
                  <a:gd name="T52" fmla="*/ 35 w 98"/>
                  <a:gd name="T53" fmla="*/ 21 h 57"/>
                  <a:gd name="T54" fmla="*/ 36 w 98"/>
                  <a:gd name="T55" fmla="*/ 21 h 57"/>
                  <a:gd name="T56" fmla="*/ 36 w 98"/>
                  <a:gd name="T57" fmla="*/ 21 h 57"/>
                  <a:gd name="T58" fmla="*/ 49 w 98"/>
                  <a:gd name="T59" fmla="*/ 29 h 57"/>
                  <a:gd name="T60" fmla="*/ 46 w 98"/>
                  <a:gd name="T61" fmla="*/ 22 h 57"/>
                  <a:gd name="T62" fmla="*/ 44 w 98"/>
                  <a:gd name="T63" fmla="*/ 19 h 57"/>
                  <a:gd name="T64" fmla="*/ 52 w 98"/>
                  <a:gd name="T65" fmla="*/ 32 h 57"/>
                  <a:gd name="T66" fmla="*/ 52 w 98"/>
                  <a:gd name="T67" fmla="*/ 32 h 57"/>
                  <a:gd name="T68" fmla="*/ 41 w 98"/>
                  <a:gd name="T69" fmla="*/ 29 h 57"/>
                  <a:gd name="T70" fmla="*/ 38 w 98"/>
                  <a:gd name="T71" fmla="*/ 25 h 57"/>
                  <a:gd name="T72" fmla="*/ 41 w 98"/>
                  <a:gd name="T73" fmla="*/ 29 h 57"/>
                  <a:gd name="T74" fmla="*/ 41 w 98"/>
                  <a:gd name="T75" fmla="*/ 29 h 57"/>
                  <a:gd name="T76" fmla="*/ 32 w 98"/>
                  <a:gd name="T77" fmla="*/ 30 h 57"/>
                  <a:gd name="T78" fmla="*/ 44 w 98"/>
                  <a:gd name="T79" fmla="*/ 36 h 57"/>
                  <a:gd name="T80" fmla="*/ 40 w 98"/>
                  <a:gd name="T81" fmla="*/ 30 h 57"/>
                  <a:gd name="T82" fmla="*/ 40 w 98"/>
                  <a:gd name="T83" fmla="*/ 30 h 57"/>
                  <a:gd name="T84" fmla="*/ 59 w 98"/>
                  <a:gd name="T85" fmla="*/ 43 h 57"/>
                  <a:gd name="T86" fmla="*/ 55 w 98"/>
                  <a:gd name="T87" fmla="*/ 41 h 57"/>
                  <a:gd name="T88" fmla="*/ 60 w 98"/>
                  <a:gd name="T89" fmla="*/ 43 h 57"/>
                  <a:gd name="T90" fmla="*/ 60 w 98"/>
                  <a:gd name="T91" fmla="*/ 43 h 57"/>
                  <a:gd name="T92" fmla="*/ 98 w 98"/>
                  <a:gd name="T93" fmla="*/ 44 h 57"/>
                  <a:gd name="T94" fmla="*/ 95 w 98"/>
                  <a:gd name="T95" fmla="*/ 44 h 57"/>
                  <a:gd name="T96" fmla="*/ 98 w 98"/>
                  <a:gd name="T97" fmla="*/ 44 h 57"/>
                  <a:gd name="T98" fmla="*/ 98 w 98"/>
                  <a:gd name="T99" fmla="*/ 44 h 57"/>
                  <a:gd name="T100" fmla="*/ 95 w 98"/>
                  <a:gd name="T101" fmla="*/ 44 h 57"/>
                  <a:gd name="T102" fmla="*/ 95 w 98"/>
                  <a:gd name="T103" fmla="*/ 44 h 57"/>
                  <a:gd name="T104" fmla="*/ 95 w 98"/>
                  <a:gd name="T105" fmla="*/ 4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8" h="57">
                    <a:moveTo>
                      <a:pt x="35" y="56"/>
                    </a:moveTo>
                    <a:lnTo>
                      <a:pt x="33" y="56"/>
                    </a:lnTo>
                    <a:lnTo>
                      <a:pt x="35" y="56"/>
                    </a:lnTo>
                    <a:lnTo>
                      <a:pt x="36" y="56"/>
                    </a:lnTo>
                    <a:lnTo>
                      <a:pt x="38" y="56"/>
                    </a:lnTo>
                    <a:lnTo>
                      <a:pt x="40" y="57"/>
                    </a:lnTo>
                    <a:lnTo>
                      <a:pt x="40" y="56"/>
                    </a:lnTo>
                    <a:lnTo>
                      <a:pt x="38" y="56"/>
                    </a:lnTo>
                    <a:lnTo>
                      <a:pt x="35" y="56"/>
                    </a:lnTo>
                    <a:lnTo>
                      <a:pt x="35" y="56"/>
                    </a:lnTo>
                    <a:lnTo>
                      <a:pt x="35" y="56"/>
                    </a:lnTo>
                    <a:lnTo>
                      <a:pt x="35" y="56"/>
                    </a:lnTo>
                    <a:lnTo>
                      <a:pt x="35" y="56"/>
                    </a:lnTo>
                    <a:lnTo>
                      <a:pt x="35" y="56"/>
                    </a:lnTo>
                    <a:lnTo>
                      <a:pt x="35" y="56"/>
                    </a:lnTo>
                    <a:lnTo>
                      <a:pt x="35" y="56"/>
                    </a:lnTo>
                    <a:lnTo>
                      <a:pt x="35" y="56"/>
                    </a:lnTo>
                    <a:lnTo>
                      <a:pt x="35" y="56"/>
                    </a:lnTo>
                    <a:close/>
                    <a:moveTo>
                      <a:pt x="11" y="10"/>
                    </a:moveTo>
                    <a:lnTo>
                      <a:pt x="9" y="6"/>
                    </a:lnTo>
                    <a:lnTo>
                      <a:pt x="8" y="6"/>
                    </a:lnTo>
                    <a:lnTo>
                      <a:pt x="8" y="6"/>
                    </a:lnTo>
                    <a:lnTo>
                      <a:pt x="6" y="5"/>
                    </a:lnTo>
                    <a:lnTo>
                      <a:pt x="5" y="3"/>
                    </a:lnTo>
                    <a:lnTo>
                      <a:pt x="5" y="3"/>
                    </a:lnTo>
                    <a:lnTo>
                      <a:pt x="3" y="3"/>
                    </a:lnTo>
                    <a:lnTo>
                      <a:pt x="1" y="0"/>
                    </a:lnTo>
                    <a:lnTo>
                      <a:pt x="0" y="0"/>
                    </a:lnTo>
                    <a:lnTo>
                      <a:pt x="5" y="6"/>
                    </a:lnTo>
                    <a:lnTo>
                      <a:pt x="8" y="10"/>
                    </a:lnTo>
                    <a:lnTo>
                      <a:pt x="11" y="10"/>
                    </a:lnTo>
                    <a:lnTo>
                      <a:pt x="11" y="10"/>
                    </a:lnTo>
                    <a:lnTo>
                      <a:pt x="11" y="10"/>
                    </a:lnTo>
                    <a:lnTo>
                      <a:pt x="11" y="10"/>
                    </a:lnTo>
                    <a:lnTo>
                      <a:pt x="11" y="10"/>
                    </a:lnTo>
                    <a:lnTo>
                      <a:pt x="11" y="10"/>
                    </a:lnTo>
                    <a:lnTo>
                      <a:pt x="11" y="10"/>
                    </a:lnTo>
                    <a:lnTo>
                      <a:pt x="11" y="10"/>
                    </a:lnTo>
                    <a:lnTo>
                      <a:pt x="11" y="10"/>
                    </a:lnTo>
                    <a:lnTo>
                      <a:pt x="11" y="10"/>
                    </a:lnTo>
                    <a:close/>
                    <a:moveTo>
                      <a:pt x="1" y="10"/>
                    </a:moveTo>
                    <a:lnTo>
                      <a:pt x="0" y="10"/>
                    </a:lnTo>
                    <a:lnTo>
                      <a:pt x="0" y="10"/>
                    </a:lnTo>
                    <a:lnTo>
                      <a:pt x="0" y="13"/>
                    </a:lnTo>
                    <a:lnTo>
                      <a:pt x="1" y="13"/>
                    </a:lnTo>
                    <a:lnTo>
                      <a:pt x="1" y="13"/>
                    </a:lnTo>
                    <a:lnTo>
                      <a:pt x="1" y="11"/>
                    </a:lnTo>
                    <a:lnTo>
                      <a:pt x="1" y="10"/>
                    </a:lnTo>
                    <a:lnTo>
                      <a:pt x="1" y="10"/>
                    </a:lnTo>
                    <a:lnTo>
                      <a:pt x="1" y="10"/>
                    </a:lnTo>
                    <a:lnTo>
                      <a:pt x="1" y="10"/>
                    </a:lnTo>
                    <a:lnTo>
                      <a:pt x="1" y="10"/>
                    </a:lnTo>
                    <a:lnTo>
                      <a:pt x="1" y="10"/>
                    </a:lnTo>
                    <a:lnTo>
                      <a:pt x="1" y="10"/>
                    </a:lnTo>
                    <a:lnTo>
                      <a:pt x="1" y="10"/>
                    </a:lnTo>
                    <a:lnTo>
                      <a:pt x="1" y="10"/>
                    </a:lnTo>
                    <a:lnTo>
                      <a:pt x="1" y="10"/>
                    </a:lnTo>
                    <a:close/>
                    <a:moveTo>
                      <a:pt x="6" y="13"/>
                    </a:moveTo>
                    <a:lnTo>
                      <a:pt x="5" y="13"/>
                    </a:lnTo>
                    <a:lnTo>
                      <a:pt x="5" y="16"/>
                    </a:lnTo>
                    <a:lnTo>
                      <a:pt x="6" y="16"/>
                    </a:lnTo>
                    <a:lnTo>
                      <a:pt x="8" y="16"/>
                    </a:lnTo>
                    <a:lnTo>
                      <a:pt x="8" y="14"/>
                    </a:lnTo>
                    <a:lnTo>
                      <a:pt x="6" y="13"/>
                    </a:lnTo>
                    <a:lnTo>
                      <a:pt x="6" y="13"/>
                    </a:lnTo>
                    <a:lnTo>
                      <a:pt x="6" y="13"/>
                    </a:lnTo>
                    <a:lnTo>
                      <a:pt x="6" y="13"/>
                    </a:lnTo>
                    <a:lnTo>
                      <a:pt x="6" y="13"/>
                    </a:lnTo>
                    <a:lnTo>
                      <a:pt x="6" y="13"/>
                    </a:lnTo>
                    <a:lnTo>
                      <a:pt x="6" y="13"/>
                    </a:lnTo>
                    <a:lnTo>
                      <a:pt x="6" y="13"/>
                    </a:lnTo>
                    <a:lnTo>
                      <a:pt x="6" y="13"/>
                    </a:lnTo>
                    <a:lnTo>
                      <a:pt x="6" y="13"/>
                    </a:lnTo>
                    <a:lnTo>
                      <a:pt x="6" y="13"/>
                    </a:lnTo>
                    <a:close/>
                    <a:moveTo>
                      <a:pt x="11" y="16"/>
                    </a:moveTo>
                    <a:lnTo>
                      <a:pt x="11" y="14"/>
                    </a:lnTo>
                    <a:lnTo>
                      <a:pt x="9" y="14"/>
                    </a:lnTo>
                    <a:lnTo>
                      <a:pt x="8" y="16"/>
                    </a:lnTo>
                    <a:lnTo>
                      <a:pt x="8" y="16"/>
                    </a:lnTo>
                    <a:lnTo>
                      <a:pt x="8" y="17"/>
                    </a:lnTo>
                    <a:lnTo>
                      <a:pt x="9" y="17"/>
                    </a:lnTo>
                    <a:lnTo>
                      <a:pt x="11" y="17"/>
                    </a:lnTo>
                    <a:lnTo>
                      <a:pt x="13" y="21"/>
                    </a:lnTo>
                    <a:lnTo>
                      <a:pt x="14" y="21"/>
                    </a:lnTo>
                    <a:lnTo>
                      <a:pt x="13" y="17"/>
                    </a:lnTo>
                    <a:lnTo>
                      <a:pt x="11" y="16"/>
                    </a:lnTo>
                    <a:lnTo>
                      <a:pt x="11" y="16"/>
                    </a:lnTo>
                    <a:lnTo>
                      <a:pt x="11" y="16"/>
                    </a:lnTo>
                    <a:lnTo>
                      <a:pt x="11" y="16"/>
                    </a:lnTo>
                    <a:lnTo>
                      <a:pt x="11" y="16"/>
                    </a:lnTo>
                    <a:lnTo>
                      <a:pt x="11" y="16"/>
                    </a:lnTo>
                    <a:lnTo>
                      <a:pt x="11" y="16"/>
                    </a:lnTo>
                    <a:lnTo>
                      <a:pt x="11" y="16"/>
                    </a:lnTo>
                    <a:lnTo>
                      <a:pt x="11" y="16"/>
                    </a:lnTo>
                    <a:lnTo>
                      <a:pt x="11" y="16"/>
                    </a:lnTo>
                    <a:close/>
                    <a:moveTo>
                      <a:pt x="8" y="19"/>
                    </a:moveTo>
                    <a:lnTo>
                      <a:pt x="8" y="21"/>
                    </a:lnTo>
                    <a:lnTo>
                      <a:pt x="8" y="22"/>
                    </a:lnTo>
                    <a:lnTo>
                      <a:pt x="8" y="22"/>
                    </a:lnTo>
                    <a:lnTo>
                      <a:pt x="9" y="22"/>
                    </a:lnTo>
                    <a:lnTo>
                      <a:pt x="8" y="19"/>
                    </a:lnTo>
                    <a:lnTo>
                      <a:pt x="8" y="19"/>
                    </a:lnTo>
                    <a:lnTo>
                      <a:pt x="8" y="19"/>
                    </a:lnTo>
                    <a:lnTo>
                      <a:pt x="8" y="19"/>
                    </a:lnTo>
                    <a:lnTo>
                      <a:pt x="8" y="19"/>
                    </a:lnTo>
                    <a:lnTo>
                      <a:pt x="8" y="19"/>
                    </a:lnTo>
                    <a:lnTo>
                      <a:pt x="8" y="19"/>
                    </a:lnTo>
                    <a:lnTo>
                      <a:pt x="8" y="19"/>
                    </a:lnTo>
                    <a:lnTo>
                      <a:pt x="8" y="19"/>
                    </a:lnTo>
                    <a:lnTo>
                      <a:pt x="8" y="19"/>
                    </a:lnTo>
                    <a:lnTo>
                      <a:pt x="8" y="19"/>
                    </a:lnTo>
                    <a:close/>
                    <a:moveTo>
                      <a:pt x="16" y="21"/>
                    </a:moveTo>
                    <a:lnTo>
                      <a:pt x="14" y="21"/>
                    </a:lnTo>
                    <a:lnTo>
                      <a:pt x="14" y="22"/>
                    </a:lnTo>
                    <a:lnTo>
                      <a:pt x="14" y="22"/>
                    </a:lnTo>
                    <a:lnTo>
                      <a:pt x="16" y="22"/>
                    </a:lnTo>
                    <a:lnTo>
                      <a:pt x="16" y="22"/>
                    </a:lnTo>
                    <a:lnTo>
                      <a:pt x="17" y="22"/>
                    </a:lnTo>
                    <a:lnTo>
                      <a:pt x="16" y="21"/>
                    </a:lnTo>
                    <a:lnTo>
                      <a:pt x="16" y="21"/>
                    </a:lnTo>
                    <a:lnTo>
                      <a:pt x="16" y="21"/>
                    </a:lnTo>
                    <a:lnTo>
                      <a:pt x="16" y="21"/>
                    </a:lnTo>
                    <a:lnTo>
                      <a:pt x="16" y="21"/>
                    </a:lnTo>
                    <a:lnTo>
                      <a:pt x="16" y="21"/>
                    </a:lnTo>
                    <a:lnTo>
                      <a:pt x="16" y="21"/>
                    </a:lnTo>
                    <a:lnTo>
                      <a:pt x="16" y="21"/>
                    </a:lnTo>
                    <a:lnTo>
                      <a:pt x="16" y="21"/>
                    </a:lnTo>
                    <a:lnTo>
                      <a:pt x="16" y="21"/>
                    </a:lnTo>
                    <a:lnTo>
                      <a:pt x="16" y="21"/>
                    </a:lnTo>
                    <a:close/>
                    <a:moveTo>
                      <a:pt x="36" y="21"/>
                    </a:moveTo>
                    <a:lnTo>
                      <a:pt x="35" y="19"/>
                    </a:lnTo>
                    <a:lnTo>
                      <a:pt x="20" y="10"/>
                    </a:lnTo>
                    <a:lnTo>
                      <a:pt x="20" y="10"/>
                    </a:lnTo>
                    <a:lnTo>
                      <a:pt x="22" y="13"/>
                    </a:lnTo>
                    <a:lnTo>
                      <a:pt x="35" y="21"/>
                    </a:lnTo>
                    <a:lnTo>
                      <a:pt x="36" y="21"/>
                    </a:lnTo>
                    <a:lnTo>
                      <a:pt x="36" y="21"/>
                    </a:lnTo>
                    <a:lnTo>
                      <a:pt x="36" y="21"/>
                    </a:lnTo>
                    <a:lnTo>
                      <a:pt x="36" y="21"/>
                    </a:lnTo>
                    <a:lnTo>
                      <a:pt x="36" y="21"/>
                    </a:lnTo>
                    <a:lnTo>
                      <a:pt x="36" y="21"/>
                    </a:lnTo>
                    <a:lnTo>
                      <a:pt x="36" y="21"/>
                    </a:lnTo>
                    <a:lnTo>
                      <a:pt x="36" y="21"/>
                    </a:lnTo>
                    <a:lnTo>
                      <a:pt x="36" y="21"/>
                    </a:lnTo>
                    <a:lnTo>
                      <a:pt x="36" y="21"/>
                    </a:lnTo>
                    <a:close/>
                    <a:moveTo>
                      <a:pt x="52" y="32"/>
                    </a:moveTo>
                    <a:lnTo>
                      <a:pt x="52" y="32"/>
                    </a:lnTo>
                    <a:lnTo>
                      <a:pt x="52" y="30"/>
                    </a:lnTo>
                    <a:lnTo>
                      <a:pt x="52" y="29"/>
                    </a:lnTo>
                    <a:lnTo>
                      <a:pt x="49" y="29"/>
                    </a:lnTo>
                    <a:lnTo>
                      <a:pt x="49" y="29"/>
                    </a:lnTo>
                    <a:lnTo>
                      <a:pt x="49" y="29"/>
                    </a:lnTo>
                    <a:lnTo>
                      <a:pt x="47" y="25"/>
                    </a:lnTo>
                    <a:lnTo>
                      <a:pt x="46" y="24"/>
                    </a:lnTo>
                    <a:lnTo>
                      <a:pt x="46" y="22"/>
                    </a:lnTo>
                    <a:lnTo>
                      <a:pt x="46" y="19"/>
                    </a:lnTo>
                    <a:lnTo>
                      <a:pt x="44" y="19"/>
                    </a:lnTo>
                    <a:lnTo>
                      <a:pt x="44" y="19"/>
                    </a:lnTo>
                    <a:lnTo>
                      <a:pt x="44" y="19"/>
                    </a:lnTo>
                    <a:lnTo>
                      <a:pt x="44" y="19"/>
                    </a:lnTo>
                    <a:lnTo>
                      <a:pt x="44" y="21"/>
                    </a:lnTo>
                    <a:lnTo>
                      <a:pt x="47" y="29"/>
                    </a:lnTo>
                    <a:lnTo>
                      <a:pt x="51" y="32"/>
                    </a:lnTo>
                    <a:lnTo>
                      <a:pt x="52" y="32"/>
                    </a:lnTo>
                    <a:lnTo>
                      <a:pt x="52" y="32"/>
                    </a:lnTo>
                    <a:lnTo>
                      <a:pt x="52" y="32"/>
                    </a:lnTo>
                    <a:lnTo>
                      <a:pt x="52" y="32"/>
                    </a:lnTo>
                    <a:lnTo>
                      <a:pt x="52" y="32"/>
                    </a:lnTo>
                    <a:lnTo>
                      <a:pt x="52" y="32"/>
                    </a:lnTo>
                    <a:lnTo>
                      <a:pt x="52" y="32"/>
                    </a:lnTo>
                    <a:lnTo>
                      <a:pt x="52" y="32"/>
                    </a:lnTo>
                    <a:lnTo>
                      <a:pt x="52" y="32"/>
                    </a:lnTo>
                    <a:lnTo>
                      <a:pt x="52" y="32"/>
                    </a:lnTo>
                    <a:lnTo>
                      <a:pt x="52" y="32"/>
                    </a:lnTo>
                    <a:close/>
                    <a:moveTo>
                      <a:pt x="41" y="29"/>
                    </a:moveTo>
                    <a:lnTo>
                      <a:pt x="41" y="27"/>
                    </a:lnTo>
                    <a:lnTo>
                      <a:pt x="40" y="25"/>
                    </a:lnTo>
                    <a:lnTo>
                      <a:pt x="40" y="25"/>
                    </a:lnTo>
                    <a:lnTo>
                      <a:pt x="38" y="25"/>
                    </a:lnTo>
                    <a:lnTo>
                      <a:pt x="38" y="25"/>
                    </a:lnTo>
                    <a:lnTo>
                      <a:pt x="40" y="29"/>
                    </a:lnTo>
                    <a:lnTo>
                      <a:pt x="41" y="29"/>
                    </a:lnTo>
                    <a:lnTo>
                      <a:pt x="41" y="29"/>
                    </a:lnTo>
                    <a:lnTo>
                      <a:pt x="41" y="29"/>
                    </a:lnTo>
                    <a:lnTo>
                      <a:pt x="41" y="29"/>
                    </a:lnTo>
                    <a:lnTo>
                      <a:pt x="41" y="29"/>
                    </a:lnTo>
                    <a:lnTo>
                      <a:pt x="41" y="29"/>
                    </a:lnTo>
                    <a:lnTo>
                      <a:pt x="41" y="29"/>
                    </a:lnTo>
                    <a:lnTo>
                      <a:pt x="41" y="29"/>
                    </a:lnTo>
                    <a:lnTo>
                      <a:pt x="41" y="29"/>
                    </a:lnTo>
                    <a:lnTo>
                      <a:pt x="41" y="29"/>
                    </a:lnTo>
                    <a:close/>
                    <a:moveTo>
                      <a:pt x="40" y="30"/>
                    </a:moveTo>
                    <a:lnTo>
                      <a:pt x="35" y="30"/>
                    </a:lnTo>
                    <a:lnTo>
                      <a:pt x="33" y="29"/>
                    </a:lnTo>
                    <a:lnTo>
                      <a:pt x="32" y="30"/>
                    </a:lnTo>
                    <a:lnTo>
                      <a:pt x="32" y="32"/>
                    </a:lnTo>
                    <a:lnTo>
                      <a:pt x="32" y="32"/>
                    </a:lnTo>
                    <a:lnTo>
                      <a:pt x="33" y="33"/>
                    </a:lnTo>
                    <a:lnTo>
                      <a:pt x="36" y="35"/>
                    </a:lnTo>
                    <a:lnTo>
                      <a:pt x="44" y="36"/>
                    </a:lnTo>
                    <a:lnTo>
                      <a:pt x="46" y="35"/>
                    </a:lnTo>
                    <a:lnTo>
                      <a:pt x="46" y="33"/>
                    </a:lnTo>
                    <a:lnTo>
                      <a:pt x="44" y="33"/>
                    </a:lnTo>
                    <a:lnTo>
                      <a:pt x="40" y="30"/>
                    </a:lnTo>
                    <a:lnTo>
                      <a:pt x="40" y="30"/>
                    </a:lnTo>
                    <a:lnTo>
                      <a:pt x="40" y="30"/>
                    </a:lnTo>
                    <a:lnTo>
                      <a:pt x="40" y="30"/>
                    </a:lnTo>
                    <a:lnTo>
                      <a:pt x="40" y="30"/>
                    </a:lnTo>
                    <a:lnTo>
                      <a:pt x="40" y="30"/>
                    </a:lnTo>
                    <a:lnTo>
                      <a:pt x="40" y="30"/>
                    </a:lnTo>
                    <a:lnTo>
                      <a:pt x="40" y="30"/>
                    </a:lnTo>
                    <a:lnTo>
                      <a:pt x="40" y="30"/>
                    </a:lnTo>
                    <a:lnTo>
                      <a:pt x="40" y="30"/>
                    </a:lnTo>
                    <a:close/>
                    <a:moveTo>
                      <a:pt x="60" y="43"/>
                    </a:moveTo>
                    <a:lnTo>
                      <a:pt x="59" y="43"/>
                    </a:lnTo>
                    <a:lnTo>
                      <a:pt x="59" y="41"/>
                    </a:lnTo>
                    <a:lnTo>
                      <a:pt x="52" y="38"/>
                    </a:lnTo>
                    <a:lnTo>
                      <a:pt x="52" y="38"/>
                    </a:lnTo>
                    <a:lnTo>
                      <a:pt x="52" y="41"/>
                    </a:lnTo>
                    <a:lnTo>
                      <a:pt x="55" y="41"/>
                    </a:lnTo>
                    <a:lnTo>
                      <a:pt x="55" y="43"/>
                    </a:lnTo>
                    <a:lnTo>
                      <a:pt x="60" y="44"/>
                    </a:lnTo>
                    <a:lnTo>
                      <a:pt x="62" y="44"/>
                    </a:lnTo>
                    <a:lnTo>
                      <a:pt x="60" y="43"/>
                    </a:lnTo>
                    <a:lnTo>
                      <a:pt x="60" y="43"/>
                    </a:lnTo>
                    <a:lnTo>
                      <a:pt x="60" y="43"/>
                    </a:lnTo>
                    <a:lnTo>
                      <a:pt x="60" y="43"/>
                    </a:lnTo>
                    <a:lnTo>
                      <a:pt x="60" y="43"/>
                    </a:lnTo>
                    <a:lnTo>
                      <a:pt x="60" y="43"/>
                    </a:lnTo>
                    <a:lnTo>
                      <a:pt x="60" y="43"/>
                    </a:lnTo>
                    <a:lnTo>
                      <a:pt x="60" y="43"/>
                    </a:lnTo>
                    <a:lnTo>
                      <a:pt x="60" y="43"/>
                    </a:lnTo>
                    <a:lnTo>
                      <a:pt x="60" y="43"/>
                    </a:lnTo>
                    <a:lnTo>
                      <a:pt x="60" y="43"/>
                    </a:lnTo>
                    <a:close/>
                    <a:moveTo>
                      <a:pt x="98" y="44"/>
                    </a:moveTo>
                    <a:lnTo>
                      <a:pt x="97" y="43"/>
                    </a:lnTo>
                    <a:lnTo>
                      <a:pt x="97" y="43"/>
                    </a:lnTo>
                    <a:lnTo>
                      <a:pt x="95" y="44"/>
                    </a:lnTo>
                    <a:lnTo>
                      <a:pt x="95" y="44"/>
                    </a:lnTo>
                    <a:lnTo>
                      <a:pt x="95" y="44"/>
                    </a:lnTo>
                    <a:lnTo>
                      <a:pt x="97" y="44"/>
                    </a:lnTo>
                    <a:lnTo>
                      <a:pt x="97" y="44"/>
                    </a:lnTo>
                    <a:lnTo>
                      <a:pt x="97" y="44"/>
                    </a:lnTo>
                    <a:lnTo>
                      <a:pt x="98" y="44"/>
                    </a:lnTo>
                    <a:lnTo>
                      <a:pt x="98" y="44"/>
                    </a:lnTo>
                    <a:lnTo>
                      <a:pt x="98" y="44"/>
                    </a:lnTo>
                    <a:lnTo>
                      <a:pt x="98" y="44"/>
                    </a:lnTo>
                    <a:lnTo>
                      <a:pt x="98" y="44"/>
                    </a:lnTo>
                    <a:lnTo>
                      <a:pt x="98" y="44"/>
                    </a:lnTo>
                    <a:lnTo>
                      <a:pt x="98" y="44"/>
                    </a:lnTo>
                    <a:lnTo>
                      <a:pt x="98" y="44"/>
                    </a:lnTo>
                    <a:lnTo>
                      <a:pt x="98" y="44"/>
                    </a:lnTo>
                    <a:lnTo>
                      <a:pt x="98" y="44"/>
                    </a:lnTo>
                    <a:lnTo>
                      <a:pt x="98" y="44"/>
                    </a:lnTo>
                    <a:close/>
                    <a:moveTo>
                      <a:pt x="95" y="44"/>
                    </a:moveTo>
                    <a:lnTo>
                      <a:pt x="95" y="44"/>
                    </a:lnTo>
                    <a:lnTo>
                      <a:pt x="95" y="44"/>
                    </a:lnTo>
                    <a:lnTo>
                      <a:pt x="95" y="44"/>
                    </a:lnTo>
                    <a:lnTo>
                      <a:pt x="95" y="44"/>
                    </a:lnTo>
                    <a:lnTo>
                      <a:pt x="95" y="44"/>
                    </a:lnTo>
                    <a:lnTo>
                      <a:pt x="95" y="44"/>
                    </a:lnTo>
                    <a:lnTo>
                      <a:pt x="95" y="44"/>
                    </a:lnTo>
                    <a:lnTo>
                      <a:pt x="95" y="44"/>
                    </a:lnTo>
                    <a:lnTo>
                      <a:pt x="95" y="44"/>
                    </a:lnTo>
                    <a:lnTo>
                      <a:pt x="95" y="44"/>
                    </a:lnTo>
                    <a:lnTo>
                      <a:pt x="95" y="44"/>
                    </a:lnTo>
                    <a:lnTo>
                      <a:pt x="95" y="4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07" name="Freeform 269">
                <a:extLst>
                  <a:ext uri="{FF2B5EF4-FFF2-40B4-BE49-F238E27FC236}">
                    <a16:creationId xmlns:a16="http://schemas.microsoft.com/office/drawing/2014/main" id="{2441B18F-AD0D-ED35-C136-7B0E081BF9B1}"/>
                  </a:ext>
                </a:extLst>
              </p:cNvPr>
              <p:cNvSpPr>
                <a:spLocks noEditPoints="1"/>
              </p:cNvSpPr>
              <p:nvPr/>
            </p:nvSpPr>
            <p:spPr bwMode="auto">
              <a:xfrm>
                <a:off x="10683740" y="4500641"/>
                <a:ext cx="65050" cy="49347"/>
              </a:xfrm>
              <a:custGeom>
                <a:avLst/>
                <a:gdLst>
                  <a:gd name="T0" fmla="*/ 15 w 29"/>
                  <a:gd name="T1" fmla="*/ 16 h 22"/>
                  <a:gd name="T2" fmla="*/ 13 w 29"/>
                  <a:gd name="T3" fmla="*/ 16 h 22"/>
                  <a:gd name="T4" fmla="*/ 11 w 29"/>
                  <a:gd name="T5" fmla="*/ 14 h 22"/>
                  <a:gd name="T6" fmla="*/ 11 w 29"/>
                  <a:gd name="T7" fmla="*/ 14 h 22"/>
                  <a:gd name="T8" fmla="*/ 10 w 29"/>
                  <a:gd name="T9" fmla="*/ 14 h 22"/>
                  <a:gd name="T10" fmla="*/ 8 w 29"/>
                  <a:gd name="T11" fmla="*/ 14 h 22"/>
                  <a:gd name="T12" fmla="*/ 8 w 29"/>
                  <a:gd name="T13" fmla="*/ 14 h 22"/>
                  <a:gd name="T14" fmla="*/ 7 w 29"/>
                  <a:gd name="T15" fmla="*/ 14 h 22"/>
                  <a:gd name="T16" fmla="*/ 5 w 29"/>
                  <a:gd name="T17" fmla="*/ 16 h 22"/>
                  <a:gd name="T18" fmla="*/ 2 w 29"/>
                  <a:gd name="T19" fmla="*/ 16 h 22"/>
                  <a:gd name="T20" fmla="*/ 0 w 29"/>
                  <a:gd name="T21" fmla="*/ 19 h 22"/>
                  <a:gd name="T22" fmla="*/ 0 w 29"/>
                  <a:gd name="T23" fmla="*/ 21 h 22"/>
                  <a:gd name="T24" fmla="*/ 2 w 29"/>
                  <a:gd name="T25" fmla="*/ 22 h 22"/>
                  <a:gd name="T26" fmla="*/ 5 w 29"/>
                  <a:gd name="T27" fmla="*/ 22 h 22"/>
                  <a:gd name="T28" fmla="*/ 7 w 29"/>
                  <a:gd name="T29" fmla="*/ 22 h 22"/>
                  <a:gd name="T30" fmla="*/ 11 w 29"/>
                  <a:gd name="T31" fmla="*/ 22 h 22"/>
                  <a:gd name="T32" fmla="*/ 13 w 29"/>
                  <a:gd name="T33" fmla="*/ 22 h 22"/>
                  <a:gd name="T34" fmla="*/ 15 w 29"/>
                  <a:gd name="T35" fmla="*/ 22 h 22"/>
                  <a:gd name="T36" fmla="*/ 15 w 29"/>
                  <a:gd name="T37" fmla="*/ 21 h 22"/>
                  <a:gd name="T38" fmla="*/ 15 w 29"/>
                  <a:gd name="T39" fmla="*/ 16 h 22"/>
                  <a:gd name="T40" fmla="*/ 15 w 29"/>
                  <a:gd name="T41" fmla="*/ 16 h 22"/>
                  <a:gd name="T42" fmla="*/ 15 w 29"/>
                  <a:gd name="T43" fmla="*/ 16 h 22"/>
                  <a:gd name="T44" fmla="*/ 15 w 29"/>
                  <a:gd name="T45" fmla="*/ 16 h 22"/>
                  <a:gd name="T46" fmla="*/ 15 w 29"/>
                  <a:gd name="T47" fmla="*/ 16 h 22"/>
                  <a:gd name="T48" fmla="*/ 15 w 29"/>
                  <a:gd name="T49" fmla="*/ 16 h 22"/>
                  <a:gd name="T50" fmla="*/ 15 w 29"/>
                  <a:gd name="T51" fmla="*/ 16 h 22"/>
                  <a:gd name="T52" fmla="*/ 15 w 29"/>
                  <a:gd name="T53" fmla="*/ 16 h 22"/>
                  <a:gd name="T54" fmla="*/ 15 w 29"/>
                  <a:gd name="T55" fmla="*/ 16 h 22"/>
                  <a:gd name="T56" fmla="*/ 15 w 29"/>
                  <a:gd name="T57" fmla="*/ 16 h 22"/>
                  <a:gd name="T58" fmla="*/ 15 w 29"/>
                  <a:gd name="T59" fmla="*/ 16 h 22"/>
                  <a:gd name="T60" fmla="*/ 29 w 29"/>
                  <a:gd name="T61" fmla="*/ 0 h 22"/>
                  <a:gd name="T62" fmla="*/ 29 w 29"/>
                  <a:gd name="T63" fmla="*/ 0 h 22"/>
                  <a:gd name="T64" fmla="*/ 19 w 29"/>
                  <a:gd name="T65" fmla="*/ 3 h 22"/>
                  <a:gd name="T66" fmla="*/ 19 w 29"/>
                  <a:gd name="T67" fmla="*/ 3 h 22"/>
                  <a:gd name="T68" fmla="*/ 19 w 29"/>
                  <a:gd name="T69" fmla="*/ 3 h 22"/>
                  <a:gd name="T70" fmla="*/ 16 w 29"/>
                  <a:gd name="T71" fmla="*/ 7 h 22"/>
                  <a:gd name="T72" fmla="*/ 15 w 29"/>
                  <a:gd name="T73" fmla="*/ 7 h 22"/>
                  <a:gd name="T74" fmla="*/ 15 w 29"/>
                  <a:gd name="T75" fmla="*/ 7 h 22"/>
                  <a:gd name="T76" fmla="*/ 16 w 29"/>
                  <a:gd name="T77" fmla="*/ 7 h 22"/>
                  <a:gd name="T78" fmla="*/ 18 w 29"/>
                  <a:gd name="T79" fmla="*/ 10 h 22"/>
                  <a:gd name="T80" fmla="*/ 19 w 29"/>
                  <a:gd name="T81" fmla="*/ 8 h 22"/>
                  <a:gd name="T82" fmla="*/ 19 w 29"/>
                  <a:gd name="T83" fmla="*/ 8 h 22"/>
                  <a:gd name="T84" fmla="*/ 21 w 29"/>
                  <a:gd name="T85" fmla="*/ 8 h 22"/>
                  <a:gd name="T86" fmla="*/ 21 w 29"/>
                  <a:gd name="T87" fmla="*/ 7 h 22"/>
                  <a:gd name="T88" fmla="*/ 22 w 29"/>
                  <a:gd name="T89" fmla="*/ 7 h 22"/>
                  <a:gd name="T90" fmla="*/ 22 w 29"/>
                  <a:gd name="T91" fmla="*/ 7 h 22"/>
                  <a:gd name="T92" fmla="*/ 22 w 29"/>
                  <a:gd name="T93" fmla="*/ 7 h 22"/>
                  <a:gd name="T94" fmla="*/ 29 w 29"/>
                  <a:gd name="T95" fmla="*/ 7 h 22"/>
                  <a:gd name="T96" fmla="*/ 29 w 29"/>
                  <a:gd name="T97" fmla="*/ 3 h 22"/>
                  <a:gd name="T98" fmla="*/ 26 w 29"/>
                  <a:gd name="T99" fmla="*/ 7 h 22"/>
                  <a:gd name="T100" fmla="*/ 26 w 29"/>
                  <a:gd name="T101" fmla="*/ 3 h 22"/>
                  <a:gd name="T102" fmla="*/ 29 w 29"/>
                  <a:gd name="T103" fmla="*/ 0 h 22"/>
                  <a:gd name="T104" fmla="*/ 29 w 29"/>
                  <a:gd name="T105" fmla="*/ 0 h 22"/>
                  <a:gd name="T106" fmla="*/ 29 w 29"/>
                  <a:gd name="T107" fmla="*/ 0 h 22"/>
                  <a:gd name="T108" fmla="*/ 29 w 29"/>
                  <a:gd name="T109" fmla="*/ 0 h 22"/>
                  <a:gd name="T110" fmla="*/ 29 w 29"/>
                  <a:gd name="T111" fmla="*/ 0 h 22"/>
                  <a:gd name="T112" fmla="*/ 29 w 29"/>
                  <a:gd name="T113" fmla="*/ 0 h 22"/>
                  <a:gd name="T114" fmla="*/ 29 w 29"/>
                  <a:gd name="T115" fmla="*/ 0 h 22"/>
                  <a:gd name="T116" fmla="*/ 29 w 29"/>
                  <a:gd name="T117" fmla="*/ 0 h 22"/>
                  <a:gd name="T118" fmla="*/ 29 w 29"/>
                  <a:gd name="T119" fmla="*/ 0 h 22"/>
                  <a:gd name="T120" fmla="*/ 29 w 29"/>
                  <a:gd name="T1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 h="22">
                    <a:moveTo>
                      <a:pt x="15" y="16"/>
                    </a:moveTo>
                    <a:lnTo>
                      <a:pt x="13" y="16"/>
                    </a:lnTo>
                    <a:lnTo>
                      <a:pt x="11" y="14"/>
                    </a:lnTo>
                    <a:lnTo>
                      <a:pt x="11" y="14"/>
                    </a:lnTo>
                    <a:lnTo>
                      <a:pt x="10" y="14"/>
                    </a:lnTo>
                    <a:lnTo>
                      <a:pt x="8" y="14"/>
                    </a:lnTo>
                    <a:lnTo>
                      <a:pt x="8" y="14"/>
                    </a:lnTo>
                    <a:lnTo>
                      <a:pt x="7" y="14"/>
                    </a:lnTo>
                    <a:lnTo>
                      <a:pt x="5" y="16"/>
                    </a:lnTo>
                    <a:lnTo>
                      <a:pt x="2" y="16"/>
                    </a:lnTo>
                    <a:lnTo>
                      <a:pt x="0" y="19"/>
                    </a:lnTo>
                    <a:lnTo>
                      <a:pt x="0" y="21"/>
                    </a:lnTo>
                    <a:lnTo>
                      <a:pt x="2" y="22"/>
                    </a:lnTo>
                    <a:lnTo>
                      <a:pt x="5" y="22"/>
                    </a:lnTo>
                    <a:lnTo>
                      <a:pt x="7" y="22"/>
                    </a:lnTo>
                    <a:lnTo>
                      <a:pt x="11" y="22"/>
                    </a:lnTo>
                    <a:lnTo>
                      <a:pt x="13" y="22"/>
                    </a:lnTo>
                    <a:lnTo>
                      <a:pt x="15" y="22"/>
                    </a:lnTo>
                    <a:lnTo>
                      <a:pt x="15" y="21"/>
                    </a:lnTo>
                    <a:lnTo>
                      <a:pt x="15" y="16"/>
                    </a:lnTo>
                    <a:lnTo>
                      <a:pt x="15" y="16"/>
                    </a:lnTo>
                    <a:lnTo>
                      <a:pt x="15" y="16"/>
                    </a:lnTo>
                    <a:lnTo>
                      <a:pt x="15" y="16"/>
                    </a:lnTo>
                    <a:lnTo>
                      <a:pt x="15" y="16"/>
                    </a:lnTo>
                    <a:lnTo>
                      <a:pt x="15" y="16"/>
                    </a:lnTo>
                    <a:lnTo>
                      <a:pt x="15" y="16"/>
                    </a:lnTo>
                    <a:lnTo>
                      <a:pt x="15" y="16"/>
                    </a:lnTo>
                    <a:lnTo>
                      <a:pt x="15" y="16"/>
                    </a:lnTo>
                    <a:lnTo>
                      <a:pt x="15" y="16"/>
                    </a:lnTo>
                    <a:lnTo>
                      <a:pt x="15" y="16"/>
                    </a:lnTo>
                    <a:close/>
                    <a:moveTo>
                      <a:pt x="29" y="0"/>
                    </a:moveTo>
                    <a:lnTo>
                      <a:pt x="29" y="0"/>
                    </a:lnTo>
                    <a:lnTo>
                      <a:pt x="19" y="3"/>
                    </a:lnTo>
                    <a:lnTo>
                      <a:pt x="19" y="3"/>
                    </a:lnTo>
                    <a:lnTo>
                      <a:pt x="19" y="3"/>
                    </a:lnTo>
                    <a:lnTo>
                      <a:pt x="16" y="7"/>
                    </a:lnTo>
                    <a:lnTo>
                      <a:pt x="15" y="7"/>
                    </a:lnTo>
                    <a:lnTo>
                      <a:pt x="15" y="7"/>
                    </a:lnTo>
                    <a:lnTo>
                      <a:pt x="16" y="7"/>
                    </a:lnTo>
                    <a:lnTo>
                      <a:pt x="18" y="10"/>
                    </a:lnTo>
                    <a:lnTo>
                      <a:pt x="19" y="8"/>
                    </a:lnTo>
                    <a:lnTo>
                      <a:pt x="19" y="8"/>
                    </a:lnTo>
                    <a:lnTo>
                      <a:pt x="21" y="8"/>
                    </a:lnTo>
                    <a:lnTo>
                      <a:pt x="21" y="7"/>
                    </a:lnTo>
                    <a:lnTo>
                      <a:pt x="22" y="7"/>
                    </a:lnTo>
                    <a:lnTo>
                      <a:pt x="22" y="7"/>
                    </a:lnTo>
                    <a:lnTo>
                      <a:pt x="22" y="7"/>
                    </a:lnTo>
                    <a:lnTo>
                      <a:pt x="29" y="7"/>
                    </a:lnTo>
                    <a:lnTo>
                      <a:pt x="29" y="3"/>
                    </a:lnTo>
                    <a:lnTo>
                      <a:pt x="26" y="7"/>
                    </a:lnTo>
                    <a:lnTo>
                      <a:pt x="26" y="3"/>
                    </a:lnTo>
                    <a:lnTo>
                      <a:pt x="29" y="0"/>
                    </a:lnTo>
                    <a:lnTo>
                      <a:pt x="29" y="0"/>
                    </a:lnTo>
                    <a:lnTo>
                      <a:pt x="29" y="0"/>
                    </a:lnTo>
                    <a:lnTo>
                      <a:pt x="29" y="0"/>
                    </a:lnTo>
                    <a:lnTo>
                      <a:pt x="29" y="0"/>
                    </a:lnTo>
                    <a:lnTo>
                      <a:pt x="29" y="0"/>
                    </a:lnTo>
                    <a:lnTo>
                      <a:pt x="29" y="0"/>
                    </a:lnTo>
                    <a:lnTo>
                      <a:pt x="29" y="0"/>
                    </a:lnTo>
                    <a:lnTo>
                      <a:pt x="29" y="0"/>
                    </a:lnTo>
                    <a:lnTo>
                      <a:pt x="29" y="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08" name="Freeform 271">
                <a:extLst>
                  <a:ext uri="{FF2B5EF4-FFF2-40B4-BE49-F238E27FC236}">
                    <a16:creationId xmlns:a16="http://schemas.microsoft.com/office/drawing/2014/main" id="{165C542D-9E5E-1C3C-507D-F984FC244A1D}"/>
                  </a:ext>
                </a:extLst>
              </p:cNvPr>
              <p:cNvSpPr>
                <a:spLocks noEditPoints="1"/>
              </p:cNvSpPr>
              <p:nvPr/>
            </p:nvSpPr>
            <p:spPr bwMode="auto">
              <a:xfrm>
                <a:off x="10428030" y="4464752"/>
                <a:ext cx="67292" cy="121125"/>
              </a:xfrm>
              <a:custGeom>
                <a:avLst/>
                <a:gdLst>
                  <a:gd name="T0" fmla="*/ 17 w 30"/>
                  <a:gd name="T1" fmla="*/ 10 h 54"/>
                  <a:gd name="T2" fmla="*/ 17 w 30"/>
                  <a:gd name="T3" fmla="*/ 10 h 54"/>
                  <a:gd name="T4" fmla="*/ 17 w 30"/>
                  <a:gd name="T5" fmla="*/ 13 h 54"/>
                  <a:gd name="T6" fmla="*/ 17 w 30"/>
                  <a:gd name="T7" fmla="*/ 13 h 54"/>
                  <a:gd name="T8" fmla="*/ 17 w 30"/>
                  <a:gd name="T9" fmla="*/ 13 h 54"/>
                  <a:gd name="T10" fmla="*/ 6 w 30"/>
                  <a:gd name="T11" fmla="*/ 3 h 54"/>
                  <a:gd name="T12" fmla="*/ 5 w 30"/>
                  <a:gd name="T13" fmla="*/ 2 h 54"/>
                  <a:gd name="T14" fmla="*/ 3 w 30"/>
                  <a:gd name="T15" fmla="*/ 5 h 54"/>
                  <a:gd name="T16" fmla="*/ 0 w 30"/>
                  <a:gd name="T17" fmla="*/ 0 h 54"/>
                  <a:gd name="T18" fmla="*/ 0 w 30"/>
                  <a:gd name="T19" fmla="*/ 0 h 54"/>
                  <a:gd name="T20" fmla="*/ 5 w 30"/>
                  <a:gd name="T21" fmla="*/ 8 h 54"/>
                  <a:gd name="T22" fmla="*/ 6 w 30"/>
                  <a:gd name="T23" fmla="*/ 3 h 54"/>
                  <a:gd name="T24" fmla="*/ 6 w 30"/>
                  <a:gd name="T25" fmla="*/ 3 h 54"/>
                  <a:gd name="T26" fmla="*/ 6 w 30"/>
                  <a:gd name="T27" fmla="*/ 3 h 54"/>
                  <a:gd name="T28" fmla="*/ 6 w 30"/>
                  <a:gd name="T29" fmla="*/ 3 h 54"/>
                  <a:gd name="T30" fmla="*/ 9 w 30"/>
                  <a:gd name="T31" fmla="*/ 13 h 54"/>
                  <a:gd name="T32" fmla="*/ 6 w 30"/>
                  <a:gd name="T33" fmla="*/ 11 h 54"/>
                  <a:gd name="T34" fmla="*/ 9 w 30"/>
                  <a:gd name="T35" fmla="*/ 15 h 54"/>
                  <a:gd name="T36" fmla="*/ 14 w 30"/>
                  <a:gd name="T37" fmla="*/ 19 h 54"/>
                  <a:gd name="T38" fmla="*/ 13 w 30"/>
                  <a:gd name="T39" fmla="*/ 16 h 54"/>
                  <a:gd name="T40" fmla="*/ 13 w 30"/>
                  <a:gd name="T41" fmla="*/ 16 h 54"/>
                  <a:gd name="T42" fmla="*/ 13 w 30"/>
                  <a:gd name="T43" fmla="*/ 16 h 54"/>
                  <a:gd name="T44" fmla="*/ 17 w 30"/>
                  <a:gd name="T45" fmla="*/ 16 h 54"/>
                  <a:gd name="T46" fmla="*/ 17 w 30"/>
                  <a:gd name="T47" fmla="*/ 15 h 54"/>
                  <a:gd name="T48" fmla="*/ 16 w 30"/>
                  <a:gd name="T49" fmla="*/ 16 h 54"/>
                  <a:gd name="T50" fmla="*/ 17 w 30"/>
                  <a:gd name="T51" fmla="*/ 16 h 54"/>
                  <a:gd name="T52" fmla="*/ 17 w 30"/>
                  <a:gd name="T53" fmla="*/ 16 h 54"/>
                  <a:gd name="T54" fmla="*/ 17 w 30"/>
                  <a:gd name="T55" fmla="*/ 16 h 54"/>
                  <a:gd name="T56" fmla="*/ 17 w 30"/>
                  <a:gd name="T57" fmla="*/ 16 h 54"/>
                  <a:gd name="T58" fmla="*/ 19 w 30"/>
                  <a:gd name="T59" fmla="*/ 32 h 54"/>
                  <a:gd name="T60" fmla="*/ 17 w 30"/>
                  <a:gd name="T61" fmla="*/ 34 h 54"/>
                  <a:gd name="T62" fmla="*/ 21 w 30"/>
                  <a:gd name="T63" fmla="*/ 34 h 54"/>
                  <a:gd name="T64" fmla="*/ 21 w 30"/>
                  <a:gd name="T65" fmla="*/ 32 h 54"/>
                  <a:gd name="T66" fmla="*/ 21 w 30"/>
                  <a:gd name="T67" fmla="*/ 32 h 54"/>
                  <a:gd name="T68" fmla="*/ 21 w 30"/>
                  <a:gd name="T69" fmla="*/ 32 h 54"/>
                  <a:gd name="T70" fmla="*/ 27 w 30"/>
                  <a:gd name="T71" fmla="*/ 45 h 54"/>
                  <a:gd name="T72" fmla="*/ 27 w 30"/>
                  <a:gd name="T73" fmla="*/ 43 h 54"/>
                  <a:gd name="T74" fmla="*/ 27 w 30"/>
                  <a:gd name="T75" fmla="*/ 46 h 54"/>
                  <a:gd name="T76" fmla="*/ 27 w 30"/>
                  <a:gd name="T77" fmla="*/ 45 h 54"/>
                  <a:gd name="T78" fmla="*/ 27 w 30"/>
                  <a:gd name="T79" fmla="*/ 45 h 54"/>
                  <a:gd name="T80" fmla="*/ 27 w 30"/>
                  <a:gd name="T81" fmla="*/ 45 h 54"/>
                  <a:gd name="T82" fmla="*/ 27 w 30"/>
                  <a:gd name="T83" fmla="*/ 45 h 54"/>
                  <a:gd name="T84" fmla="*/ 29 w 30"/>
                  <a:gd name="T85" fmla="*/ 53 h 54"/>
                  <a:gd name="T86" fmla="*/ 30 w 30"/>
                  <a:gd name="T87" fmla="*/ 54 h 54"/>
                  <a:gd name="T88" fmla="*/ 30 w 30"/>
                  <a:gd name="T89" fmla="*/ 51 h 54"/>
                  <a:gd name="T90" fmla="*/ 30 w 30"/>
                  <a:gd name="T91" fmla="*/ 51 h 54"/>
                  <a:gd name="T92" fmla="*/ 30 w 30"/>
                  <a:gd name="T93"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 h="54">
                    <a:moveTo>
                      <a:pt x="17" y="13"/>
                    </a:moveTo>
                    <a:lnTo>
                      <a:pt x="17" y="11"/>
                    </a:lnTo>
                    <a:lnTo>
                      <a:pt x="17" y="10"/>
                    </a:lnTo>
                    <a:lnTo>
                      <a:pt x="17" y="8"/>
                    </a:lnTo>
                    <a:lnTo>
                      <a:pt x="17" y="8"/>
                    </a:lnTo>
                    <a:lnTo>
                      <a:pt x="17" y="10"/>
                    </a:lnTo>
                    <a:lnTo>
                      <a:pt x="17" y="13"/>
                    </a:lnTo>
                    <a:lnTo>
                      <a:pt x="17" y="13"/>
                    </a:lnTo>
                    <a:lnTo>
                      <a:pt x="17" y="13"/>
                    </a:lnTo>
                    <a:lnTo>
                      <a:pt x="17" y="13"/>
                    </a:lnTo>
                    <a:lnTo>
                      <a:pt x="17" y="13"/>
                    </a:lnTo>
                    <a:lnTo>
                      <a:pt x="17" y="13"/>
                    </a:lnTo>
                    <a:lnTo>
                      <a:pt x="17" y="13"/>
                    </a:lnTo>
                    <a:lnTo>
                      <a:pt x="17" y="13"/>
                    </a:lnTo>
                    <a:lnTo>
                      <a:pt x="17" y="13"/>
                    </a:lnTo>
                    <a:lnTo>
                      <a:pt x="17" y="13"/>
                    </a:lnTo>
                    <a:lnTo>
                      <a:pt x="17" y="13"/>
                    </a:lnTo>
                    <a:close/>
                    <a:moveTo>
                      <a:pt x="6" y="3"/>
                    </a:moveTo>
                    <a:lnTo>
                      <a:pt x="6" y="3"/>
                    </a:lnTo>
                    <a:lnTo>
                      <a:pt x="6" y="3"/>
                    </a:lnTo>
                    <a:lnTo>
                      <a:pt x="5" y="2"/>
                    </a:lnTo>
                    <a:lnTo>
                      <a:pt x="5" y="3"/>
                    </a:lnTo>
                    <a:lnTo>
                      <a:pt x="3" y="3"/>
                    </a:lnTo>
                    <a:lnTo>
                      <a:pt x="3" y="5"/>
                    </a:lnTo>
                    <a:lnTo>
                      <a:pt x="3" y="3"/>
                    </a:lnTo>
                    <a:lnTo>
                      <a:pt x="2" y="2"/>
                    </a:lnTo>
                    <a:lnTo>
                      <a:pt x="0" y="0"/>
                    </a:lnTo>
                    <a:lnTo>
                      <a:pt x="0" y="0"/>
                    </a:lnTo>
                    <a:lnTo>
                      <a:pt x="0" y="0"/>
                    </a:lnTo>
                    <a:lnTo>
                      <a:pt x="0" y="0"/>
                    </a:lnTo>
                    <a:lnTo>
                      <a:pt x="3" y="8"/>
                    </a:lnTo>
                    <a:lnTo>
                      <a:pt x="3" y="8"/>
                    </a:lnTo>
                    <a:lnTo>
                      <a:pt x="5" y="8"/>
                    </a:lnTo>
                    <a:lnTo>
                      <a:pt x="6" y="8"/>
                    </a:lnTo>
                    <a:lnTo>
                      <a:pt x="6" y="7"/>
                    </a:lnTo>
                    <a:lnTo>
                      <a:pt x="6" y="3"/>
                    </a:lnTo>
                    <a:lnTo>
                      <a:pt x="6" y="3"/>
                    </a:lnTo>
                    <a:lnTo>
                      <a:pt x="6" y="3"/>
                    </a:lnTo>
                    <a:lnTo>
                      <a:pt x="6" y="3"/>
                    </a:lnTo>
                    <a:lnTo>
                      <a:pt x="6" y="3"/>
                    </a:lnTo>
                    <a:lnTo>
                      <a:pt x="6" y="3"/>
                    </a:lnTo>
                    <a:lnTo>
                      <a:pt x="6" y="3"/>
                    </a:lnTo>
                    <a:lnTo>
                      <a:pt x="6" y="3"/>
                    </a:lnTo>
                    <a:lnTo>
                      <a:pt x="6" y="3"/>
                    </a:lnTo>
                    <a:lnTo>
                      <a:pt x="6" y="3"/>
                    </a:lnTo>
                    <a:close/>
                    <a:moveTo>
                      <a:pt x="13" y="16"/>
                    </a:moveTo>
                    <a:lnTo>
                      <a:pt x="9" y="15"/>
                    </a:lnTo>
                    <a:lnTo>
                      <a:pt x="9" y="13"/>
                    </a:lnTo>
                    <a:lnTo>
                      <a:pt x="9" y="13"/>
                    </a:lnTo>
                    <a:lnTo>
                      <a:pt x="8" y="11"/>
                    </a:lnTo>
                    <a:lnTo>
                      <a:pt x="6" y="11"/>
                    </a:lnTo>
                    <a:lnTo>
                      <a:pt x="6" y="13"/>
                    </a:lnTo>
                    <a:lnTo>
                      <a:pt x="8" y="15"/>
                    </a:lnTo>
                    <a:lnTo>
                      <a:pt x="9" y="15"/>
                    </a:lnTo>
                    <a:lnTo>
                      <a:pt x="9" y="21"/>
                    </a:lnTo>
                    <a:lnTo>
                      <a:pt x="14" y="21"/>
                    </a:lnTo>
                    <a:lnTo>
                      <a:pt x="14" y="19"/>
                    </a:lnTo>
                    <a:lnTo>
                      <a:pt x="13" y="18"/>
                    </a:lnTo>
                    <a:lnTo>
                      <a:pt x="13" y="16"/>
                    </a:lnTo>
                    <a:lnTo>
                      <a:pt x="13" y="16"/>
                    </a:lnTo>
                    <a:lnTo>
                      <a:pt x="13" y="16"/>
                    </a:lnTo>
                    <a:lnTo>
                      <a:pt x="13" y="16"/>
                    </a:lnTo>
                    <a:lnTo>
                      <a:pt x="13" y="16"/>
                    </a:lnTo>
                    <a:lnTo>
                      <a:pt x="13" y="16"/>
                    </a:lnTo>
                    <a:lnTo>
                      <a:pt x="13" y="16"/>
                    </a:lnTo>
                    <a:lnTo>
                      <a:pt x="13" y="16"/>
                    </a:lnTo>
                    <a:lnTo>
                      <a:pt x="13" y="16"/>
                    </a:lnTo>
                    <a:lnTo>
                      <a:pt x="13" y="16"/>
                    </a:lnTo>
                    <a:close/>
                    <a:moveTo>
                      <a:pt x="17" y="16"/>
                    </a:moveTo>
                    <a:lnTo>
                      <a:pt x="17" y="13"/>
                    </a:lnTo>
                    <a:lnTo>
                      <a:pt x="17" y="15"/>
                    </a:lnTo>
                    <a:lnTo>
                      <a:pt x="17" y="15"/>
                    </a:lnTo>
                    <a:lnTo>
                      <a:pt x="16" y="15"/>
                    </a:lnTo>
                    <a:lnTo>
                      <a:pt x="16" y="16"/>
                    </a:lnTo>
                    <a:lnTo>
                      <a:pt x="16" y="16"/>
                    </a:lnTo>
                    <a:lnTo>
                      <a:pt x="16" y="16"/>
                    </a:lnTo>
                    <a:lnTo>
                      <a:pt x="17" y="18"/>
                    </a:lnTo>
                    <a:lnTo>
                      <a:pt x="17" y="16"/>
                    </a:lnTo>
                    <a:lnTo>
                      <a:pt x="17" y="16"/>
                    </a:lnTo>
                    <a:lnTo>
                      <a:pt x="17" y="16"/>
                    </a:lnTo>
                    <a:lnTo>
                      <a:pt x="17" y="16"/>
                    </a:lnTo>
                    <a:lnTo>
                      <a:pt x="17" y="16"/>
                    </a:lnTo>
                    <a:lnTo>
                      <a:pt x="17" y="16"/>
                    </a:lnTo>
                    <a:lnTo>
                      <a:pt x="17" y="16"/>
                    </a:lnTo>
                    <a:lnTo>
                      <a:pt x="17" y="16"/>
                    </a:lnTo>
                    <a:lnTo>
                      <a:pt x="17" y="16"/>
                    </a:lnTo>
                    <a:lnTo>
                      <a:pt x="17" y="16"/>
                    </a:lnTo>
                    <a:lnTo>
                      <a:pt x="17" y="16"/>
                    </a:lnTo>
                    <a:close/>
                    <a:moveTo>
                      <a:pt x="21" y="32"/>
                    </a:moveTo>
                    <a:lnTo>
                      <a:pt x="19" y="32"/>
                    </a:lnTo>
                    <a:lnTo>
                      <a:pt x="19" y="32"/>
                    </a:lnTo>
                    <a:lnTo>
                      <a:pt x="17" y="34"/>
                    </a:lnTo>
                    <a:lnTo>
                      <a:pt x="17" y="34"/>
                    </a:lnTo>
                    <a:lnTo>
                      <a:pt x="19" y="34"/>
                    </a:lnTo>
                    <a:lnTo>
                      <a:pt x="21" y="35"/>
                    </a:lnTo>
                    <a:lnTo>
                      <a:pt x="21" y="34"/>
                    </a:lnTo>
                    <a:lnTo>
                      <a:pt x="21" y="32"/>
                    </a:lnTo>
                    <a:lnTo>
                      <a:pt x="21" y="32"/>
                    </a:lnTo>
                    <a:lnTo>
                      <a:pt x="21" y="32"/>
                    </a:lnTo>
                    <a:lnTo>
                      <a:pt x="21" y="32"/>
                    </a:lnTo>
                    <a:lnTo>
                      <a:pt x="21" y="32"/>
                    </a:lnTo>
                    <a:lnTo>
                      <a:pt x="21" y="32"/>
                    </a:lnTo>
                    <a:lnTo>
                      <a:pt x="21" y="32"/>
                    </a:lnTo>
                    <a:lnTo>
                      <a:pt x="21" y="32"/>
                    </a:lnTo>
                    <a:lnTo>
                      <a:pt x="21" y="32"/>
                    </a:lnTo>
                    <a:lnTo>
                      <a:pt x="21" y="32"/>
                    </a:lnTo>
                    <a:lnTo>
                      <a:pt x="21" y="32"/>
                    </a:lnTo>
                    <a:close/>
                    <a:moveTo>
                      <a:pt x="27" y="45"/>
                    </a:moveTo>
                    <a:lnTo>
                      <a:pt x="27" y="43"/>
                    </a:lnTo>
                    <a:lnTo>
                      <a:pt x="27" y="43"/>
                    </a:lnTo>
                    <a:lnTo>
                      <a:pt x="27" y="43"/>
                    </a:lnTo>
                    <a:lnTo>
                      <a:pt x="27" y="43"/>
                    </a:lnTo>
                    <a:lnTo>
                      <a:pt x="27" y="45"/>
                    </a:lnTo>
                    <a:lnTo>
                      <a:pt x="27" y="46"/>
                    </a:lnTo>
                    <a:lnTo>
                      <a:pt x="29" y="46"/>
                    </a:lnTo>
                    <a:lnTo>
                      <a:pt x="27" y="45"/>
                    </a:lnTo>
                    <a:lnTo>
                      <a:pt x="27" y="45"/>
                    </a:lnTo>
                    <a:lnTo>
                      <a:pt x="27" y="45"/>
                    </a:lnTo>
                    <a:lnTo>
                      <a:pt x="27" y="45"/>
                    </a:lnTo>
                    <a:lnTo>
                      <a:pt x="27" y="45"/>
                    </a:lnTo>
                    <a:lnTo>
                      <a:pt x="27" y="45"/>
                    </a:lnTo>
                    <a:lnTo>
                      <a:pt x="27" y="45"/>
                    </a:lnTo>
                    <a:lnTo>
                      <a:pt x="27" y="45"/>
                    </a:lnTo>
                    <a:lnTo>
                      <a:pt x="27" y="45"/>
                    </a:lnTo>
                    <a:lnTo>
                      <a:pt x="27" y="45"/>
                    </a:lnTo>
                    <a:lnTo>
                      <a:pt x="27" y="45"/>
                    </a:lnTo>
                    <a:close/>
                    <a:moveTo>
                      <a:pt x="30" y="51"/>
                    </a:moveTo>
                    <a:lnTo>
                      <a:pt x="29" y="51"/>
                    </a:lnTo>
                    <a:lnTo>
                      <a:pt x="29" y="53"/>
                    </a:lnTo>
                    <a:lnTo>
                      <a:pt x="29" y="54"/>
                    </a:lnTo>
                    <a:lnTo>
                      <a:pt x="29" y="54"/>
                    </a:lnTo>
                    <a:lnTo>
                      <a:pt x="30" y="54"/>
                    </a:lnTo>
                    <a:lnTo>
                      <a:pt x="30" y="53"/>
                    </a:lnTo>
                    <a:lnTo>
                      <a:pt x="30" y="51"/>
                    </a:lnTo>
                    <a:lnTo>
                      <a:pt x="30" y="51"/>
                    </a:lnTo>
                    <a:lnTo>
                      <a:pt x="30" y="51"/>
                    </a:lnTo>
                    <a:lnTo>
                      <a:pt x="30" y="51"/>
                    </a:lnTo>
                    <a:lnTo>
                      <a:pt x="30" y="51"/>
                    </a:lnTo>
                    <a:lnTo>
                      <a:pt x="30" y="51"/>
                    </a:lnTo>
                    <a:lnTo>
                      <a:pt x="30" y="51"/>
                    </a:lnTo>
                    <a:lnTo>
                      <a:pt x="30" y="51"/>
                    </a:lnTo>
                    <a:lnTo>
                      <a:pt x="30" y="51"/>
                    </a:lnTo>
                    <a:lnTo>
                      <a:pt x="30" y="5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09" name="Freeform 273">
                <a:extLst>
                  <a:ext uri="{FF2B5EF4-FFF2-40B4-BE49-F238E27FC236}">
                    <a16:creationId xmlns:a16="http://schemas.microsoft.com/office/drawing/2014/main" id="{01AB42EB-400D-DB8F-B6B9-8700F11D4B05}"/>
                  </a:ext>
                </a:extLst>
              </p:cNvPr>
              <p:cNvSpPr>
                <a:spLocks noEditPoints="1"/>
              </p:cNvSpPr>
              <p:nvPr/>
            </p:nvSpPr>
            <p:spPr bwMode="auto">
              <a:xfrm>
                <a:off x="10367468" y="4601578"/>
                <a:ext cx="96453" cy="56078"/>
              </a:xfrm>
              <a:custGeom>
                <a:avLst/>
                <a:gdLst>
                  <a:gd name="T0" fmla="*/ 29 w 43"/>
                  <a:gd name="T1" fmla="*/ 20 h 25"/>
                  <a:gd name="T2" fmla="*/ 24 w 43"/>
                  <a:gd name="T3" fmla="*/ 17 h 25"/>
                  <a:gd name="T4" fmla="*/ 19 w 43"/>
                  <a:gd name="T5" fmla="*/ 16 h 25"/>
                  <a:gd name="T6" fmla="*/ 19 w 43"/>
                  <a:gd name="T7" fmla="*/ 14 h 25"/>
                  <a:gd name="T8" fmla="*/ 16 w 43"/>
                  <a:gd name="T9" fmla="*/ 12 h 25"/>
                  <a:gd name="T10" fmla="*/ 14 w 43"/>
                  <a:gd name="T11" fmla="*/ 11 h 25"/>
                  <a:gd name="T12" fmla="*/ 13 w 43"/>
                  <a:gd name="T13" fmla="*/ 8 h 25"/>
                  <a:gd name="T14" fmla="*/ 9 w 43"/>
                  <a:gd name="T15" fmla="*/ 4 h 25"/>
                  <a:gd name="T16" fmla="*/ 8 w 43"/>
                  <a:gd name="T17" fmla="*/ 3 h 25"/>
                  <a:gd name="T18" fmla="*/ 3 w 43"/>
                  <a:gd name="T19" fmla="*/ 1 h 25"/>
                  <a:gd name="T20" fmla="*/ 0 w 43"/>
                  <a:gd name="T21" fmla="*/ 0 h 25"/>
                  <a:gd name="T22" fmla="*/ 0 w 43"/>
                  <a:gd name="T23" fmla="*/ 1 h 25"/>
                  <a:gd name="T24" fmla="*/ 3 w 43"/>
                  <a:gd name="T25" fmla="*/ 4 h 25"/>
                  <a:gd name="T26" fmla="*/ 5 w 43"/>
                  <a:gd name="T27" fmla="*/ 8 h 25"/>
                  <a:gd name="T28" fmla="*/ 11 w 43"/>
                  <a:gd name="T29" fmla="*/ 14 h 25"/>
                  <a:gd name="T30" fmla="*/ 13 w 43"/>
                  <a:gd name="T31" fmla="*/ 17 h 25"/>
                  <a:gd name="T32" fmla="*/ 16 w 43"/>
                  <a:gd name="T33" fmla="*/ 17 h 25"/>
                  <a:gd name="T34" fmla="*/ 17 w 43"/>
                  <a:gd name="T35" fmla="*/ 19 h 25"/>
                  <a:gd name="T36" fmla="*/ 19 w 43"/>
                  <a:gd name="T37" fmla="*/ 19 h 25"/>
                  <a:gd name="T38" fmla="*/ 21 w 43"/>
                  <a:gd name="T39" fmla="*/ 20 h 25"/>
                  <a:gd name="T40" fmla="*/ 22 w 43"/>
                  <a:gd name="T41" fmla="*/ 20 h 25"/>
                  <a:gd name="T42" fmla="*/ 22 w 43"/>
                  <a:gd name="T43" fmla="*/ 22 h 25"/>
                  <a:gd name="T44" fmla="*/ 25 w 43"/>
                  <a:gd name="T45" fmla="*/ 23 h 25"/>
                  <a:gd name="T46" fmla="*/ 27 w 43"/>
                  <a:gd name="T47" fmla="*/ 23 h 25"/>
                  <a:gd name="T48" fmla="*/ 29 w 43"/>
                  <a:gd name="T49" fmla="*/ 25 h 25"/>
                  <a:gd name="T50" fmla="*/ 30 w 43"/>
                  <a:gd name="T51" fmla="*/ 23 h 25"/>
                  <a:gd name="T52" fmla="*/ 32 w 43"/>
                  <a:gd name="T53" fmla="*/ 23 h 25"/>
                  <a:gd name="T54" fmla="*/ 29 w 43"/>
                  <a:gd name="T55" fmla="*/ 20 h 25"/>
                  <a:gd name="T56" fmla="*/ 29 w 43"/>
                  <a:gd name="T57" fmla="*/ 20 h 25"/>
                  <a:gd name="T58" fmla="*/ 29 w 43"/>
                  <a:gd name="T59" fmla="*/ 20 h 25"/>
                  <a:gd name="T60" fmla="*/ 29 w 43"/>
                  <a:gd name="T61" fmla="*/ 20 h 25"/>
                  <a:gd name="T62" fmla="*/ 29 w 43"/>
                  <a:gd name="T63" fmla="*/ 20 h 25"/>
                  <a:gd name="T64" fmla="*/ 35 w 43"/>
                  <a:gd name="T65" fmla="*/ 8 h 25"/>
                  <a:gd name="T66" fmla="*/ 33 w 43"/>
                  <a:gd name="T67" fmla="*/ 8 h 25"/>
                  <a:gd name="T68" fmla="*/ 32 w 43"/>
                  <a:gd name="T69" fmla="*/ 8 h 25"/>
                  <a:gd name="T70" fmla="*/ 32 w 43"/>
                  <a:gd name="T71" fmla="*/ 8 h 25"/>
                  <a:gd name="T72" fmla="*/ 35 w 43"/>
                  <a:gd name="T73" fmla="*/ 12 h 25"/>
                  <a:gd name="T74" fmla="*/ 35 w 43"/>
                  <a:gd name="T75" fmla="*/ 11 h 25"/>
                  <a:gd name="T76" fmla="*/ 35 w 43"/>
                  <a:gd name="T77" fmla="*/ 8 h 25"/>
                  <a:gd name="T78" fmla="*/ 35 w 43"/>
                  <a:gd name="T79" fmla="*/ 8 h 25"/>
                  <a:gd name="T80" fmla="*/ 35 w 43"/>
                  <a:gd name="T81" fmla="*/ 8 h 25"/>
                  <a:gd name="T82" fmla="*/ 35 w 43"/>
                  <a:gd name="T83" fmla="*/ 8 h 25"/>
                  <a:gd name="T84" fmla="*/ 35 w 43"/>
                  <a:gd name="T85" fmla="*/ 8 h 25"/>
                  <a:gd name="T86" fmla="*/ 35 w 43"/>
                  <a:gd name="T87" fmla="*/ 8 h 25"/>
                  <a:gd name="T88" fmla="*/ 43 w 43"/>
                  <a:gd name="T89" fmla="*/ 14 h 25"/>
                  <a:gd name="T90" fmla="*/ 41 w 43"/>
                  <a:gd name="T91" fmla="*/ 14 h 25"/>
                  <a:gd name="T92" fmla="*/ 41 w 43"/>
                  <a:gd name="T93" fmla="*/ 16 h 25"/>
                  <a:gd name="T94" fmla="*/ 43 w 43"/>
                  <a:gd name="T95" fmla="*/ 17 h 25"/>
                  <a:gd name="T96" fmla="*/ 43 w 43"/>
                  <a:gd name="T97" fmla="*/ 14 h 25"/>
                  <a:gd name="T98" fmla="*/ 43 w 43"/>
                  <a:gd name="T99" fmla="*/ 14 h 25"/>
                  <a:gd name="T100" fmla="*/ 43 w 43"/>
                  <a:gd name="T101" fmla="*/ 14 h 25"/>
                  <a:gd name="T102" fmla="*/ 43 w 43"/>
                  <a:gd name="T103" fmla="*/ 14 h 25"/>
                  <a:gd name="T104" fmla="*/ 43 w 43"/>
                  <a:gd name="T10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3" h="25">
                    <a:moveTo>
                      <a:pt x="29" y="20"/>
                    </a:moveTo>
                    <a:lnTo>
                      <a:pt x="29" y="20"/>
                    </a:lnTo>
                    <a:lnTo>
                      <a:pt x="27" y="20"/>
                    </a:lnTo>
                    <a:lnTo>
                      <a:pt x="24" y="17"/>
                    </a:lnTo>
                    <a:lnTo>
                      <a:pt x="22" y="17"/>
                    </a:lnTo>
                    <a:lnTo>
                      <a:pt x="19" y="16"/>
                    </a:lnTo>
                    <a:lnTo>
                      <a:pt x="19" y="14"/>
                    </a:lnTo>
                    <a:lnTo>
                      <a:pt x="19" y="14"/>
                    </a:lnTo>
                    <a:lnTo>
                      <a:pt x="17" y="14"/>
                    </a:lnTo>
                    <a:lnTo>
                      <a:pt x="16" y="12"/>
                    </a:lnTo>
                    <a:lnTo>
                      <a:pt x="16" y="12"/>
                    </a:lnTo>
                    <a:lnTo>
                      <a:pt x="14" y="11"/>
                    </a:lnTo>
                    <a:lnTo>
                      <a:pt x="14" y="8"/>
                    </a:lnTo>
                    <a:lnTo>
                      <a:pt x="13" y="8"/>
                    </a:lnTo>
                    <a:lnTo>
                      <a:pt x="11" y="4"/>
                    </a:lnTo>
                    <a:lnTo>
                      <a:pt x="9" y="4"/>
                    </a:lnTo>
                    <a:lnTo>
                      <a:pt x="8" y="4"/>
                    </a:lnTo>
                    <a:lnTo>
                      <a:pt x="8" y="3"/>
                    </a:lnTo>
                    <a:lnTo>
                      <a:pt x="6" y="3"/>
                    </a:lnTo>
                    <a:lnTo>
                      <a:pt x="3" y="1"/>
                    </a:lnTo>
                    <a:lnTo>
                      <a:pt x="3" y="1"/>
                    </a:lnTo>
                    <a:lnTo>
                      <a:pt x="0" y="0"/>
                    </a:lnTo>
                    <a:lnTo>
                      <a:pt x="0" y="0"/>
                    </a:lnTo>
                    <a:lnTo>
                      <a:pt x="0" y="1"/>
                    </a:lnTo>
                    <a:lnTo>
                      <a:pt x="0" y="3"/>
                    </a:lnTo>
                    <a:lnTo>
                      <a:pt x="3" y="4"/>
                    </a:lnTo>
                    <a:lnTo>
                      <a:pt x="3" y="8"/>
                    </a:lnTo>
                    <a:lnTo>
                      <a:pt x="5" y="8"/>
                    </a:lnTo>
                    <a:lnTo>
                      <a:pt x="8" y="12"/>
                    </a:lnTo>
                    <a:lnTo>
                      <a:pt x="11" y="14"/>
                    </a:lnTo>
                    <a:lnTo>
                      <a:pt x="13" y="16"/>
                    </a:lnTo>
                    <a:lnTo>
                      <a:pt x="13" y="17"/>
                    </a:lnTo>
                    <a:lnTo>
                      <a:pt x="13" y="17"/>
                    </a:lnTo>
                    <a:lnTo>
                      <a:pt x="16" y="17"/>
                    </a:lnTo>
                    <a:lnTo>
                      <a:pt x="16" y="19"/>
                    </a:lnTo>
                    <a:lnTo>
                      <a:pt x="17" y="19"/>
                    </a:lnTo>
                    <a:lnTo>
                      <a:pt x="19" y="19"/>
                    </a:lnTo>
                    <a:lnTo>
                      <a:pt x="19" y="19"/>
                    </a:lnTo>
                    <a:lnTo>
                      <a:pt x="19" y="20"/>
                    </a:lnTo>
                    <a:lnTo>
                      <a:pt x="21" y="20"/>
                    </a:lnTo>
                    <a:lnTo>
                      <a:pt x="21" y="20"/>
                    </a:lnTo>
                    <a:lnTo>
                      <a:pt x="22" y="20"/>
                    </a:lnTo>
                    <a:lnTo>
                      <a:pt x="22" y="22"/>
                    </a:lnTo>
                    <a:lnTo>
                      <a:pt x="22" y="22"/>
                    </a:lnTo>
                    <a:lnTo>
                      <a:pt x="24" y="22"/>
                    </a:lnTo>
                    <a:lnTo>
                      <a:pt x="25" y="23"/>
                    </a:lnTo>
                    <a:lnTo>
                      <a:pt x="27" y="23"/>
                    </a:lnTo>
                    <a:lnTo>
                      <a:pt x="27" y="23"/>
                    </a:lnTo>
                    <a:lnTo>
                      <a:pt x="29" y="23"/>
                    </a:lnTo>
                    <a:lnTo>
                      <a:pt x="29" y="25"/>
                    </a:lnTo>
                    <a:lnTo>
                      <a:pt x="30" y="25"/>
                    </a:lnTo>
                    <a:lnTo>
                      <a:pt x="30" y="23"/>
                    </a:lnTo>
                    <a:lnTo>
                      <a:pt x="32" y="23"/>
                    </a:lnTo>
                    <a:lnTo>
                      <a:pt x="32" y="23"/>
                    </a:lnTo>
                    <a:lnTo>
                      <a:pt x="32" y="22"/>
                    </a:lnTo>
                    <a:lnTo>
                      <a:pt x="29" y="20"/>
                    </a:lnTo>
                    <a:lnTo>
                      <a:pt x="29" y="20"/>
                    </a:lnTo>
                    <a:lnTo>
                      <a:pt x="29" y="20"/>
                    </a:lnTo>
                    <a:lnTo>
                      <a:pt x="29" y="20"/>
                    </a:lnTo>
                    <a:lnTo>
                      <a:pt x="29" y="20"/>
                    </a:lnTo>
                    <a:lnTo>
                      <a:pt x="29" y="20"/>
                    </a:lnTo>
                    <a:lnTo>
                      <a:pt x="29" y="20"/>
                    </a:lnTo>
                    <a:lnTo>
                      <a:pt x="29" y="20"/>
                    </a:lnTo>
                    <a:lnTo>
                      <a:pt x="29" y="20"/>
                    </a:lnTo>
                    <a:lnTo>
                      <a:pt x="29" y="20"/>
                    </a:lnTo>
                    <a:close/>
                    <a:moveTo>
                      <a:pt x="35" y="8"/>
                    </a:moveTo>
                    <a:lnTo>
                      <a:pt x="35" y="8"/>
                    </a:lnTo>
                    <a:lnTo>
                      <a:pt x="33" y="8"/>
                    </a:lnTo>
                    <a:lnTo>
                      <a:pt x="32" y="8"/>
                    </a:lnTo>
                    <a:lnTo>
                      <a:pt x="32" y="8"/>
                    </a:lnTo>
                    <a:lnTo>
                      <a:pt x="32" y="8"/>
                    </a:lnTo>
                    <a:lnTo>
                      <a:pt x="32" y="8"/>
                    </a:lnTo>
                    <a:lnTo>
                      <a:pt x="32" y="9"/>
                    </a:lnTo>
                    <a:lnTo>
                      <a:pt x="35" y="12"/>
                    </a:lnTo>
                    <a:lnTo>
                      <a:pt x="35" y="11"/>
                    </a:lnTo>
                    <a:lnTo>
                      <a:pt x="35" y="11"/>
                    </a:lnTo>
                    <a:lnTo>
                      <a:pt x="35" y="9"/>
                    </a:lnTo>
                    <a:lnTo>
                      <a:pt x="35" y="8"/>
                    </a:lnTo>
                    <a:lnTo>
                      <a:pt x="35" y="8"/>
                    </a:lnTo>
                    <a:lnTo>
                      <a:pt x="35" y="8"/>
                    </a:lnTo>
                    <a:lnTo>
                      <a:pt x="35" y="8"/>
                    </a:lnTo>
                    <a:lnTo>
                      <a:pt x="35" y="8"/>
                    </a:lnTo>
                    <a:lnTo>
                      <a:pt x="35" y="8"/>
                    </a:lnTo>
                    <a:lnTo>
                      <a:pt x="35" y="8"/>
                    </a:lnTo>
                    <a:lnTo>
                      <a:pt x="35" y="8"/>
                    </a:lnTo>
                    <a:lnTo>
                      <a:pt x="35" y="8"/>
                    </a:lnTo>
                    <a:lnTo>
                      <a:pt x="35" y="8"/>
                    </a:lnTo>
                    <a:lnTo>
                      <a:pt x="35" y="8"/>
                    </a:lnTo>
                    <a:close/>
                    <a:moveTo>
                      <a:pt x="43" y="14"/>
                    </a:moveTo>
                    <a:lnTo>
                      <a:pt x="43" y="14"/>
                    </a:lnTo>
                    <a:lnTo>
                      <a:pt x="41" y="14"/>
                    </a:lnTo>
                    <a:lnTo>
                      <a:pt x="41" y="14"/>
                    </a:lnTo>
                    <a:lnTo>
                      <a:pt x="41" y="14"/>
                    </a:lnTo>
                    <a:lnTo>
                      <a:pt x="41" y="16"/>
                    </a:lnTo>
                    <a:lnTo>
                      <a:pt x="41" y="17"/>
                    </a:lnTo>
                    <a:lnTo>
                      <a:pt x="43" y="17"/>
                    </a:lnTo>
                    <a:lnTo>
                      <a:pt x="43" y="16"/>
                    </a:lnTo>
                    <a:lnTo>
                      <a:pt x="43" y="14"/>
                    </a:lnTo>
                    <a:lnTo>
                      <a:pt x="43" y="14"/>
                    </a:lnTo>
                    <a:lnTo>
                      <a:pt x="43" y="14"/>
                    </a:lnTo>
                    <a:lnTo>
                      <a:pt x="43" y="14"/>
                    </a:lnTo>
                    <a:lnTo>
                      <a:pt x="43" y="14"/>
                    </a:lnTo>
                    <a:lnTo>
                      <a:pt x="43" y="14"/>
                    </a:lnTo>
                    <a:lnTo>
                      <a:pt x="43" y="14"/>
                    </a:lnTo>
                    <a:lnTo>
                      <a:pt x="43" y="14"/>
                    </a:lnTo>
                    <a:lnTo>
                      <a:pt x="43" y="14"/>
                    </a:lnTo>
                    <a:lnTo>
                      <a:pt x="43" y="1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10" name="Freeform 276">
                <a:extLst>
                  <a:ext uri="{FF2B5EF4-FFF2-40B4-BE49-F238E27FC236}">
                    <a16:creationId xmlns:a16="http://schemas.microsoft.com/office/drawing/2014/main" id="{FF2063E3-2894-1A95-7640-4B6B4EE228F2}"/>
                  </a:ext>
                </a:extLst>
              </p:cNvPr>
              <p:cNvSpPr>
                <a:spLocks/>
              </p:cNvSpPr>
              <p:nvPr/>
            </p:nvSpPr>
            <p:spPr bwMode="auto">
              <a:xfrm>
                <a:off x="8900499" y="3803045"/>
                <a:ext cx="266926" cy="195148"/>
              </a:xfrm>
              <a:custGeom>
                <a:avLst/>
                <a:gdLst>
                  <a:gd name="T0" fmla="*/ 114 w 119"/>
                  <a:gd name="T1" fmla="*/ 22 h 87"/>
                  <a:gd name="T2" fmla="*/ 111 w 119"/>
                  <a:gd name="T3" fmla="*/ 21 h 87"/>
                  <a:gd name="T4" fmla="*/ 105 w 119"/>
                  <a:gd name="T5" fmla="*/ 16 h 87"/>
                  <a:gd name="T6" fmla="*/ 105 w 119"/>
                  <a:gd name="T7" fmla="*/ 16 h 87"/>
                  <a:gd name="T8" fmla="*/ 100 w 119"/>
                  <a:gd name="T9" fmla="*/ 16 h 87"/>
                  <a:gd name="T10" fmla="*/ 98 w 119"/>
                  <a:gd name="T11" fmla="*/ 13 h 87"/>
                  <a:gd name="T12" fmla="*/ 98 w 119"/>
                  <a:gd name="T13" fmla="*/ 8 h 87"/>
                  <a:gd name="T14" fmla="*/ 94 w 119"/>
                  <a:gd name="T15" fmla="*/ 5 h 87"/>
                  <a:gd name="T16" fmla="*/ 87 w 119"/>
                  <a:gd name="T17" fmla="*/ 6 h 87"/>
                  <a:gd name="T18" fmla="*/ 86 w 119"/>
                  <a:gd name="T19" fmla="*/ 0 h 87"/>
                  <a:gd name="T20" fmla="*/ 79 w 119"/>
                  <a:gd name="T21" fmla="*/ 10 h 87"/>
                  <a:gd name="T22" fmla="*/ 73 w 119"/>
                  <a:gd name="T23" fmla="*/ 21 h 87"/>
                  <a:gd name="T24" fmla="*/ 71 w 119"/>
                  <a:gd name="T25" fmla="*/ 22 h 87"/>
                  <a:gd name="T26" fmla="*/ 73 w 119"/>
                  <a:gd name="T27" fmla="*/ 25 h 87"/>
                  <a:gd name="T28" fmla="*/ 68 w 119"/>
                  <a:gd name="T29" fmla="*/ 29 h 87"/>
                  <a:gd name="T30" fmla="*/ 67 w 119"/>
                  <a:gd name="T31" fmla="*/ 32 h 87"/>
                  <a:gd name="T32" fmla="*/ 70 w 119"/>
                  <a:gd name="T33" fmla="*/ 35 h 87"/>
                  <a:gd name="T34" fmla="*/ 65 w 119"/>
                  <a:gd name="T35" fmla="*/ 32 h 87"/>
                  <a:gd name="T36" fmla="*/ 63 w 119"/>
                  <a:gd name="T37" fmla="*/ 32 h 87"/>
                  <a:gd name="T38" fmla="*/ 63 w 119"/>
                  <a:gd name="T39" fmla="*/ 40 h 87"/>
                  <a:gd name="T40" fmla="*/ 59 w 119"/>
                  <a:gd name="T41" fmla="*/ 41 h 87"/>
                  <a:gd name="T42" fmla="*/ 55 w 119"/>
                  <a:gd name="T43" fmla="*/ 37 h 87"/>
                  <a:gd name="T44" fmla="*/ 52 w 119"/>
                  <a:gd name="T45" fmla="*/ 35 h 87"/>
                  <a:gd name="T46" fmla="*/ 44 w 119"/>
                  <a:gd name="T47" fmla="*/ 51 h 87"/>
                  <a:gd name="T48" fmla="*/ 35 w 119"/>
                  <a:gd name="T49" fmla="*/ 57 h 87"/>
                  <a:gd name="T50" fmla="*/ 22 w 119"/>
                  <a:gd name="T51" fmla="*/ 64 h 87"/>
                  <a:gd name="T52" fmla="*/ 19 w 119"/>
                  <a:gd name="T53" fmla="*/ 68 h 87"/>
                  <a:gd name="T54" fmla="*/ 19 w 119"/>
                  <a:gd name="T55" fmla="*/ 71 h 87"/>
                  <a:gd name="T56" fmla="*/ 19 w 119"/>
                  <a:gd name="T57" fmla="*/ 76 h 87"/>
                  <a:gd name="T58" fmla="*/ 17 w 119"/>
                  <a:gd name="T59" fmla="*/ 79 h 87"/>
                  <a:gd name="T60" fmla="*/ 11 w 119"/>
                  <a:gd name="T61" fmla="*/ 76 h 87"/>
                  <a:gd name="T62" fmla="*/ 8 w 119"/>
                  <a:gd name="T63" fmla="*/ 76 h 87"/>
                  <a:gd name="T64" fmla="*/ 0 w 119"/>
                  <a:gd name="T65" fmla="*/ 75 h 87"/>
                  <a:gd name="T66" fmla="*/ 0 w 119"/>
                  <a:gd name="T67" fmla="*/ 75 h 87"/>
                  <a:gd name="T68" fmla="*/ 8 w 119"/>
                  <a:gd name="T69" fmla="*/ 86 h 87"/>
                  <a:gd name="T70" fmla="*/ 14 w 119"/>
                  <a:gd name="T71" fmla="*/ 87 h 87"/>
                  <a:gd name="T72" fmla="*/ 24 w 119"/>
                  <a:gd name="T73" fmla="*/ 86 h 87"/>
                  <a:gd name="T74" fmla="*/ 32 w 119"/>
                  <a:gd name="T75" fmla="*/ 79 h 87"/>
                  <a:gd name="T76" fmla="*/ 40 w 119"/>
                  <a:gd name="T77" fmla="*/ 76 h 87"/>
                  <a:gd name="T78" fmla="*/ 49 w 119"/>
                  <a:gd name="T79" fmla="*/ 83 h 87"/>
                  <a:gd name="T80" fmla="*/ 55 w 119"/>
                  <a:gd name="T81" fmla="*/ 79 h 87"/>
                  <a:gd name="T82" fmla="*/ 62 w 119"/>
                  <a:gd name="T83" fmla="*/ 79 h 87"/>
                  <a:gd name="T84" fmla="*/ 65 w 119"/>
                  <a:gd name="T85" fmla="*/ 73 h 87"/>
                  <a:gd name="T86" fmla="*/ 65 w 119"/>
                  <a:gd name="T87" fmla="*/ 67 h 87"/>
                  <a:gd name="T88" fmla="*/ 68 w 119"/>
                  <a:gd name="T89" fmla="*/ 59 h 87"/>
                  <a:gd name="T90" fmla="*/ 73 w 119"/>
                  <a:gd name="T91" fmla="*/ 54 h 87"/>
                  <a:gd name="T92" fmla="*/ 73 w 119"/>
                  <a:gd name="T93" fmla="*/ 44 h 87"/>
                  <a:gd name="T94" fmla="*/ 79 w 119"/>
                  <a:gd name="T95" fmla="*/ 38 h 87"/>
                  <a:gd name="T96" fmla="*/ 84 w 119"/>
                  <a:gd name="T97" fmla="*/ 37 h 87"/>
                  <a:gd name="T98" fmla="*/ 92 w 119"/>
                  <a:gd name="T99" fmla="*/ 38 h 87"/>
                  <a:gd name="T100" fmla="*/ 95 w 119"/>
                  <a:gd name="T101" fmla="*/ 40 h 87"/>
                  <a:gd name="T102" fmla="*/ 100 w 119"/>
                  <a:gd name="T103" fmla="*/ 40 h 87"/>
                  <a:gd name="T104" fmla="*/ 108 w 119"/>
                  <a:gd name="T105" fmla="*/ 38 h 87"/>
                  <a:gd name="T106" fmla="*/ 111 w 119"/>
                  <a:gd name="T107" fmla="*/ 37 h 87"/>
                  <a:gd name="T108" fmla="*/ 108 w 119"/>
                  <a:gd name="T109" fmla="*/ 33 h 87"/>
                  <a:gd name="T110" fmla="*/ 108 w 119"/>
                  <a:gd name="T111" fmla="*/ 29 h 87"/>
                  <a:gd name="T112" fmla="*/ 117 w 119"/>
                  <a:gd name="T113" fmla="*/ 25 h 87"/>
                  <a:gd name="T114" fmla="*/ 117 w 119"/>
                  <a:gd name="T115" fmla="*/ 22 h 87"/>
                  <a:gd name="T116" fmla="*/ 117 w 119"/>
                  <a:gd name="T117" fmla="*/ 22 h 87"/>
                  <a:gd name="T118" fmla="*/ 117 w 119"/>
                  <a:gd name="T119" fmla="*/ 2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9" h="87">
                    <a:moveTo>
                      <a:pt x="117" y="22"/>
                    </a:moveTo>
                    <a:lnTo>
                      <a:pt x="117" y="22"/>
                    </a:lnTo>
                    <a:lnTo>
                      <a:pt x="114" y="22"/>
                    </a:lnTo>
                    <a:lnTo>
                      <a:pt x="114" y="21"/>
                    </a:lnTo>
                    <a:lnTo>
                      <a:pt x="111" y="19"/>
                    </a:lnTo>
                    <a:lnTo>
                      <a:pt x="111" y="21"/>
                    </a:lnTo>
                    <a:lnTo>
                      <a:pt x="108" y="19"/>
                    </a:lnTo>
                    <a:lnTo>
                      <a:pt x="108" y="16"/>
                    </a:lnTo>
                    <a:lnTo>
                      <a:pt x="105" y="16"/>
                    </a:lnTo>
                    <a:lnTo>
                      <a:pt x="103" y="19"/>
                    </a:lnTo>
                    <a:lnTo>
                      <a:pt x="101" y="16"/>
                    </a:lnTo>
                    <a:lnTo>
                      <a:pt x="105" y="16"/>
                    </a:lnTo>
                    <a:lnTo>
                      <a:pt x="103" y="13"/>
                    </a:lnTo>
                    <a:lnTo>
                      <a:pt x="101" y="13"/>
                    </a:lnTo>
                    <a:lnTo>
                      <a:pt x="100" y="16"/>
                    </a:lnTo>
                    <a:lnTo>
                      <a:pt x="95" y="16"/>
                    </a:lnTo>
                    <a:lnTo>
                      <a:pt x="98" y="16"/>
                    </a:lnTo>
                    <a:lnTo>
                      <a:pt x="98" y="13"/>
                    </a:lnTo>
                    <a:lnTo>
                      <a:pt x="98" y="10"/>
                    </a:lnTo>
                    <a:lnTo>
                      <a:pt x="100" y="10"/>
                    </a:lnTo>
                    <a:lnTo>
                      <a:pt x="98" y="8"/>
                    </a:lnTo>
                    <a:lnTo>
                      <a:pt x="97" y="5"/>
                    </a:lnTo>
                    <a:lnTo>
                      <a:pt x="95" y="6"/>
                    </a:lnTo>
                    <a:lnTo>
                      <a:pt x="94" y="5"/>
                    </a:lnTo>
                    <a:lnTo>
                      <a:pt x="90" y="0"/>
                    </a:lnTo>
                    <a:lnTo>
                      <a:pt x="89" y="3"/>
                    </a:lnTo>
                    <a:lnTo>
                      <a:pt x="87" y="6"/>
                    </a:lnTo>
                    <a:lnTo>
                      <a:pt x="87" y="3"/>
                    </a:lnTo>
                    <a:lnTo>
                      <a:pt x="87" y="2"/>
                    </a:lnTo>
                    <a:lnTo>
                      <a:pt x="86" y="0"/>
                    </a:lnTo>
                    <a:lnTo>
                      <a:pt x="84" y="3"/>
                    </a:lnTo>
                    <a:lnTo>
                      <a:pt x="82" y="8"/>
                    </a:lnTo>
                    <a:lnTo>
                      <a:pt x="79" y="10"/>
                    </a:lnTo>
                    <a:lnTo>
                      <a:pt x="79" y="13"/>
                    </a:lnTo>
                    <a:lnTo>
                      <a:pt x="76" y="19"/>
                    </a:lnTo>
                    <a:lnTo>
                      <a:pt x="73" y="21"/>
                    </a:lnTo>
                    <a:lnTo>
                      <a:pt x="73" y="21"/>
                    </a:lnTo>
                    <a:lnTo>
                      <a:pt x="73" y="19"/>
                    </a:lnTo>
                    <a:lnTo>
                      <a:pt x="71" y="22"/>
                    </a:lnTo>
                    <a:lnTo>
                      <a:pt x="70" y="24"/>
                    </a:lnTo>
                    <a:lnTo>
                      <a:pt x="71" y="25"/>
                    </a:lnTo>
                    <a:lnTo>
                      <a:pt x="73" y="25"/>
                    </a:lnTo>
                    <a:lnTo>
                      <a:pt x="73" y="27"/>
                    </a:lnTo>
                    <a:lnTo>
                      <a:pt x="70" y="29"/>
                    </a:lnTo>
                    <a:lnTo>
                      <a:pt x="68" y="29"/>
                    </a:lnTo>
                    <a:lnTo>
                      <a:pt x="67" y="30"/>
                    </a:lnTo>
                    <a:lnTo>
                      <a:pt x="67" y="32"/>
                    </a:lnTo>
                    <a:lnTo>
                      <a:pt x="67" y="32"/>
                    </a:lnTo>
                    <a:lnTo>
                      <a:pt x="68" y="32"/>
                    </a:lnTo>
                    <a:lnTo>
                      <a:pt x="70" y="33"/>
                    </a:lnTo>
                    <a:lnTo>
                      <a:pt x="70" y="35"/>
                    </a:lnTo>
                    <a:lnTo>
                      <a:pt x="70" y="38"/>
                    </a:lnTo>
                    <a:lnTo>
                      <a:pt x="67" y="37"/>
                    </a:lnTo>
                    <a:lnTo>
                      <a:pt x="65" y="32"/>
                    </a:lnTo>
                    <a:lnTo>
                      <a:pt x="65" y="32"/>
                    </a:lnTo>
                    <a:lnTo>
                      <a:pt x="63" y="32"/>
                    </a:lnTo>
                    <a:lnTo>
                      <a:pt x="63" y="32"/>
                    </a:lnTo>
                    <a:lnTo>
                      <a:pt x="63" y="35"/>
                    </a:lnTo>
                    <a:lnTo>
                      <a:pt x="63" y="35"/>
                    </a:lnTo>
                    <a:lnTo>
                      <a:pt x="63" y="40"/>
                    </a:lnTo>
                    <a:lnTo>
                      <a:pt x="63" y="41"/>
                    </a:lnTo>
                    <a:lnTo>
                      <a:pt x="62" y="41"/>
                    </a:lnTo>
                    <a:lnTo>
                      <a:pt x="59" y="41"/>
                    </a:lnTo>
                    <a:lnTo>
                      <a:pt x="57" y="40"/>
                    </a:lnTo>
                    <a:lnTo>
                      <a:pt x="55" y="38"/>
                    </a:lnTo>
                    <a:lnTo>
                      <a:pt x="55" y="37"/>
                    </a:lnTo>
                    <a:lnTo>
                      <a:pt x="54" y="35"/>
                    </a:lnTo>
                    <a:lnTo>
                      <a:pt x="54" y="35"/>
                    </a:lnTo>
                    <a:lnTo>
                      <a:pt x="52" y="35"/>
                    </a:lnTo>
                    <a:lnTo>
                      <a:pt x="51" y="41"/>
                    </a:lnTo>
                    <a:lnTo>
                      <a:pt x="47" y="44"/>
                    </a:lnTo>
                    <a:lnTo>
                      <a:pt x="44" y="51"/>
                    </a:lnTo>
                    <a:lnTo>
                      <a:pt x="43" y="54"/>
                    </a:lnTo>
                    <a:lnTo>
                      <a:pt x="41" y="54"/>
                    </a:lnTo>
                    <a:lnTo>
                      <a:pt x="35" y="57"/>
                    </a:lnTo>
                    <a:lnTo>
                      <a:pt x="28" y="59"/>
                    </a:lnTo>
                    <a:lnTo>
                      <a:pt x="22" y="62"/>
                    </a:lnTo>
                    <a:lnTo>
                      <a:pt x="22" y="64"/>
                    </a:lnTo>
                    <a:lnTo>
                      <a:pt x="24" y="67"/>
                    </a:lnTo>
                    <a:lnTo>
                      <a:pt x="19" y="67"/>
                    </a:lnTo>
                    <a:lnTo>
                      <a:pt x="19" y="68"/>
                    </a:lnTo>
                    <a:lnTo>
                      <a:pt x="19" y="70"/>
                    </a:lnTo>
                    <a:lnTo>
                      <a:pt x="20" y="70"/>
                    </a:lnTo>
                    <a:lnTo>
                      <a:pt x="19" y="71"/>
                    </a:lnTo>
                    <a:lnTo>
                      <a:pt x="19" y="75"/>
                    </a:lnTo>
                    <a:lnTo>
                      <a:pt x="19" y="76"/>
                    </a:lnTo>
                    <a:lnTo>
                      <a:pt x="19" y="76"/>
                    </a:lnTo>
                    <a:lnTo>
                      <a:pt x="17" y="76"/>
                    </a:lnTo>
                    <a:lnTo>
                      <a:pt x="17" y="79"/>
                    </a:lnTo>
                    <a:lnTo>
                      <a:pt x="17" y="79"/>
                    </a:lnTo>
                    <a:lnTo>
                      <a:pt x="16" y="79"/>
                    </a:lnTo>
                    <a:lnTo>
                      <a:pt x="13" y="79"/>
                    </a:lnTo>
                    <a:lnTo>
                      <a:pt x="11" y="76"/>
                    </a:lnTo>
                    <a:lnTo>
                      <a:pt x="9" y="76"/>
                    </a:lnTo>
                    <a:lnTo>
                      <a:pt x="8" y="75"/>
                    </a:lnTo>
                    <a:lnTo>
                      <a:pt x="8" y="76"/>
                    </a:lnTo>
                    <a:lnTo>
                      <a:pt x="6" y="76"/>
                    </a:lnTo>
                    <a:lnTo>
                      <a:pt x="3" y="76"/>
                    </a:lnTo>
                    <a:lnTo>
                      <a:pt x="0" y="75"/>
                    </a:lnTo>
                    <a:lnTo>
                      <a:pt x="0" y="71"/>
                    </a:lnTo>
                    <a:lnTo>
                      <a:pt x="0" y="73"/>
                    </a:lnTo>
                    <a:lnTo>
                      <a:pt x="0" y="75"/>
                    </a:lnTo>
                    <a:lnTo>
                      <a:pt x="0" y="79"/>
                    </a:lnTo>
                    <a:lnTo>
                      <a:pt x="5" y="83"/>
                    </a:lnTo>
                    <a:lnTo>
                      <a:pt x="8" y="86"/>
                    </a:lnTo>
                    <a:lnTo>
                      <a:pt x="11" y="87"/>
                    </a:lnTo>
                    <a:lnTo>
                      <a:pt x="13" y="87"/>
                    </a:lnTo>
                    <a:lnTo>
                      <a:pt x="14" y="87"/>
                    </a:lnTo>
                    <a:lnTo>
                      <a:pt x="17" y="86"/>
                    </a:lnTo>
                    <a:lnTo>
                      <a:pt x="20" y="86"/>
                    </a:lnTo>
                    <a:lnTo>
                      <a:pt x="24" y="86"/>
                    </a:lnTo>
                    <a:lnTo>
                      <a:pt x="28" y="86"/>
                    </a:lnTo>
                    <a:lnTo>
                      <a:pt x="32" y="83"/>
                    </a:lnTo>
                    <a:lnTo>
                      <a:pt x="32" y="79"/>
                    </a:lnTo>
                    <a:lnTo>
                      <a:pt x="33" y="79"/>
                    </a:lnTo>
                    <a:lnTo>
                      <a:pt x="36" y="76"/>
                    </a:lnTo>
                    <a:lnTo>
                      <a:pt x="40" y="76"/>
                    </a:lnTo>
                    <a:lnTo>
                      <a:pt x="41" y="79"/>
                    </a:lnTo>
                    <a:lnTo>
                      <a:pt x="44" y="79"/>
                    </a:lnTo>
                    <a:lnTo>
                      <a:pt x="49" y="83"/>
                    </a:lnTo>
                    <a:lnTo>
                      <a:pt x="51" y="83"/>
                    </a:lnTo>
                    <a:lnTo>
                      <a:pt x="54" y="79"/>
                    </a:lnTo>
                    <a:lnTo>
                      <a:pt x="55" y="79"/>
                    </a:lnTo>
                    <a:lnTo>
                      <a:pt x="57" y="79"/>
                    </a:lnTo>
                    <a:lnTo>
                      <a:pt x="60" y="79"/>
                    </a:lnTo>
                    <a:lnTo>
                      <a:pt x="62" y="79"/>
                    </a:lnTo>
                    <a:lnTo>
                      <a:pt x="62" y="76"/>
                    </a:lnTo>
                    <a:lnTo>
                      <a:pt x="63" y="76"/>
                    </a:lnTo>
                    <a:lnTo>
                      <a:pt x="65" y="73"/>
                    </a:lnTo>
                    <a:lnTo>
                      <a:pt x="65" y="71"/>
                    </a:lnTo>
                    <a:lnTo>
                      <a:pt x="65" y="68"/>
                    </a:lnTo>
                    <a:lnTo>
                      <a:pt x="65" y="67"/>
                    </a:lnTo>
                    <a:lnTo>
                      <a:pt x="70" y="64"/>
                    </a:lnTo>
                    <a:lnTo>
                      <a:pt x="68" y="60"/>
                    </a:lnTo>
                    <a:lnTo>
                      <a:pt x="68" y="59"/>
                    </a:lnTo>
                    <a:lnTo>
                      <a:pt x="70" y="57"/>
                    </a:lnTo>
                    <a:lnTo>
                      <a:pt x="73" y="56"/>
                    </a:lnTo>
                    <a:lnTo>
                      <a:pt x="73" y="54"/>
                    </a:lnTo>
                    <a:lnTo>
                      <a:pt x="73" y="51"/>
                    </a:lnTo>
                    <a:lnTo>
                      <a:pt x="73" y="51"/>
                    </a:lnTo>
                    <a:lnTo>
                      <a:pt x="73" y="44"/>
                    </a:lnTo>
                    <a:lnTo>
                      <a:pt x="76" y="40"/>
                    </a:lnTo>
                    <a:lnTo>
                      <a:pt x="76" y="38"/>
                    </a:lnTo>
                    <a:lnTo>
                      <a:pt x="79" y="38"/>
                    </a:lnTo>
                    <a:lnTo>
                      <a:pt x="82" y="38"/>
                    </a:lnTo>
                    <a:lnTo>
                      <a:pt x="84" y="38"/>
                    </a:lnTo>
                    <a:lnTo>
                      <a:pt x="84" y="37"/>
                    </a:lnTo>
                    <a:lnTo>
                      <a:pt x="87" y="38"/>
                    </a:lnTo>
                    <a:lnTo>
                      <a:pt x="90" y="38"/>
                    </a:lnTo>
                    <a:lnTo>
                      <a:pt x="92" y="38"/>
                    </a:lnTo>
                    <a:lnTo>
                      <a:pt x="92" y="38"/>
                    </a:lnTo>
                    <a:lnTo>
                      <a:pt x="94" y="40"/>
                    </a:lnTo>
                    <a:lnTo>
                      <a:pt x="95" y="40"/>
                    </a:lnTo>
                    <a:lnTo>
                      <a:pt x="97" y="40"/>
                    </a:lnTo>
                    <a:lnTo>
                      <a:pt x="100" y="41"/>
                    </a:lnTo>
                    <a:lnTo>
                      <a:pt x="100" y="40"/>
                    </a:lnTo>
                    <a:lnTo>
                      <a:pt x="100" y="37"/>
                    </a:lnTo>
                    <a:lnTo>
                      <a:pt x="103" y="40"/>
                    </a:lnTo>
                    <a:lnTo>
                      <a:pt x="108" y="38"/>
                    </a:lnTo>
                    <a:lnTo>
                      <a:pt x="111" y="38"/>
                    </a:lnTo>
                    <a:lnTo>
                      <a:pt x="111" y="38"/>
                    </a:lnTo>
                    <a:lnTo>
                      <a:pt x="111" y="37"/>
                    </a:lnTo>
                    <a:lnTo>
                      <a:pt x="111" y="37"/>
                    </a:lnTo>
                    <a:lnTo>
                      <a:pt x="111" y="35"/>
                    </a:lnTo>
                    <a:lnTo>
                      <a:pt x="108" y="33"/>
                    </a:lnTo>
                    <a:lnTo>
                      <a:pt x="105" y="32"/>
                    </a:lnTo>
                    <a:lnTo>
                      <a:pt x="105" y="29"/>
                    </a:lnTo>
                    <a:lnTo>
                      <a:pt x="108" y="29"/>
                    </a:lnTo>
                    <a:lnTo>
                      <a:pt x="111" y="29"/>
                    </a:lnTo>
                    <a:lnTo>
                      <a:pt x="117" y="27"/>
                    </a:lnTo>
                    <a:lnTo>
                      <a:pt x="117" y="25"/>
                    </a:lnTo>
                    <a:lnTo>
                      <a:pt x="119" y="24"/>
                    </a:lnTo>
                    <a:lnTo>
                      <a:pt x="119" y="22"/>
                    </a:lnTo>
                    <a:lnTo>
                      <a:pt x="117" y="22"/>
                    </a:lnTo>
                    <a:lnTo>
                      <a:pt x="117" y="22"/>
                    </a:lnTo>
                    <a:lnTo>
                      <a:pt x="117" y="22"/>
                    </a:lnTo>
                    <a:lnTo>
                      <a:pt x="117" y="22"/>
                    </a:lnTo>
                    <a:lnTo>
                      <a:pt x="117" y="22"/>
                    </a:lnTo>
                    <a:lnTo>
                      <a:pt x="117" y="22"/>
                    </a:lnTo>
                    <a:lnTo>
                      <a:pt x="117" y="22"/>
                    </a:lnTo>
                    <a:lnTo>
                      <a:pt x="117" y="22"/>
                    </a:lnTo>
                    <a:lnTo>
                      <a:pt x="117" y="22"/>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11" name="Freeform 278">
                <a:extLst>
                  <a:ext uri="{FF2B5EF4-FFF2-40B4-BE49-F238E27FC236}">
                    <a16:creationId xmlns:a16="http://schemas.microsoft.com/office/drawing/2014/main" id="{5A95295E-C305-81D4-1946-51F7EF4E48EC}"/>
                  </a:ext>
                </a:extLst>
              </p:cNvPr>
              <p:cNvSpPr>
                <a:spLocks/>
              </p:cNvSpPr>
              <p:nvPr/>
            </p:nvSpPr>
            <p:spPr bwMode="auto">
              <a:xfrm>
                <a:off x="9023867" y="3868095"/>
                <a:ext cx="33647" cy="26917"/>
              </a:xfrm>
              <a:custGeom>
                <a:avLst/>
                <a:gdLst>
                  <a:gd name="T0" fmla="*/ 2 w 15"/>
                  <a:gd name="T1" fmla="*/ 8 h 12"/>
                  <a:gd name="T2" fmla="*/ 2 w 15"/>
                  <a:gd name="T3" fmla="*/ 9 h 12"/>
                  <a:gd name="T4" fmla="*/ 4 w 15"/>
                  <a:gd name="T5" fmla="*/ 11 h 12"/>
                  <a:gd name="T6" fmla="*/ 5 w 15"/>
                  <a:gd name="T7" fmla="*/ 12 h 12"/>
                  <a:gd name="T8" fmla="*/ 8 w 15"/>
                  <a:gd name="T9" fmla="*/ 12 h 12"/>
                  <a:gd name="T10" fmla="*/ 8 w 15"/>
                  <a:gd name="T11" fmla="*/ 12 h 12"/>
                  <a:gd name="T12" fmla="*/ 8 w 15"/>
                  <a:gd name="T13" fmla="*/ 11 h 12"/>
                  <a:gd name="T14" fmla="*/ 8 w 15"/>
                  <a:gd name="T15" fmla="*/ 6 h 12"/>
                  <a:gd name="T16" fmla="*/ 8 w 15"/>
                  <a:gd name="T17" fmla="*/ 6 h 12"/>
                  <a:gd name="T18" fmla="*/ 8 w 15"/>
                  <a:gd name="T19" fmla="*/ 3 h 12"/>
                  <a:gd name="T20" fmla="*/ 10 w 15"/>
                  <a:gd name="T21" fmla="*/ 3 h 12"/>
                  <a:gd name="T22" fmla="*/ 12 w 15"/>
                  <a:gd name="T23" fmla="*/ 3 h 12"/>
                  <a:gd name="T24" fmla="*/ 12 w 15"/>
                  <a:gd name="T25" fmla="*/ 3 h 12"/>
                  <a:gd name="T26" fmla="*/ 12 w 15"/>
                  <a:gd name="T27" fmla="*/ 3 h 12"/>
                  <a:gd name="T28" fmla="*/ 12 w 15"/>
                  <a:gd name="T29" fmla="*/ 8 h 12"/>
                  <a:gd name="T30" fmla="*/ 15 w 15"/>
                  <a:gd name="T31" fmla="*/ 9 h 12"/>
                  <a:gd name="T32" fmla="*/ 15 w 15"/>
                  <a:gd name="T33" fmla="*/ 6 h 12"/>
                  <a:gd name="T34" fmla="*/ 15 w 15"/>
                  <a:gd name="T35" fmla="*/ 4 h 12"/>
                  <a:gd name="T36" fmla="*/ 15 w 15"/>
                  <a:gd name="T37" fmla="*/ 3 h 12"/>
                  <a:gd name="T38" fmla="*/ 13 w 15"/>
                  <a:gd name="T39" fmla="*/ 3 h 12"/>
                  <a:gd name="T40" fmla="*/ 13 w 15"/>
                  <a:gd name="T41" fmla="*/ 3 h 12"/>
                  <a:gd name="T42" fmla="*/ 12 w 15"/>
                  <a:gd name="T43" fmla="*/ 1 h 12"/>
                  <a:gd name="T44" fmla="*/ 12 w 15"/>
                  <a:gd name="T45" fmla="*/ 1 h 12"/>
                  <a:gd name="T46" fmla="*/ 12 w 15"/>
                  <a:gd name="T47" fmla="*/ 0 h 12"/>
                  <a:gd name="T48" fmla="*/ 5 w 15"/>
                  <a:gd name="T49" fmla="*/ 3 h 12"/>
                  <a:gd name="T50" fmla="*/ 4 w 15"/>
                  <a:gd name="T51" fmla="*/ 4 h 12"/>
                  <a:gd name="T52" fmla="*/ 0 w 15"/>
                  <a:gd name="T53" fmla="*/ 6 h 12"/>
                  <a:gd name="T54" fmla="*/ 0 w 15"/>
                  <a:gd name="T55" fmla="*/ 6 h 12"/>
                  <a:gd name="T56" fmla="*/ 2 w 15"/>
                  <a:gd name="T57" fmla="*/ 8 h 12"/>
                  <a:gd name="T58" fmla="*/ 2 w 15"/>
                  <a:gd name="T59" fmla="*/ 8 h 12"/>
                  <a:gd name="T60" fmla="*/ 2 w 15"/>
                  <a:gd name="T61" fmla="*/ 8 h 12"/>
                  <a:gd name="T62" fmla="*/ 2 w 15"/>
                  <a:gd name="T63" fmla="*/ 8 h 12"/>
                  <a:gd name="T64" fmla="*/ 2 w 15"/>
                  <a:gd name="T65" fmla="*/ 8 h 12"/>
                  <a:gd name="T66" fmla="*/ 2 w 15"/>
                  <a:gd name="T67" fmla="*/ 8 h 12"/>
                  <a:gd name="T68" fmla="*/ 2 w 15"/>
                  <a:gd name="T69" fmla="*/ 8 h 12"/>
                  <a:gd name="T70" fmla="*/ 2 w 15"/>
                  <a:gd name="T71" fmla="*/ 8 h 12"/>
                  <a:gd name="T72" fmla="*/ 2 w 15"/>
                  <a:gd name="T73"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 h="12">
                    <a:moveTo>
                      <a:pt x="2" y="8"/>
                    </a:moveTo>
                    <a:lnTo>
                      <a:pt x="2" y="9"/>
                    </a:lnTo>
                    <a:lnTo>
                      <a:pt x="4" y="11"/>
                    </a:lnTo>
                    <a:lnTo>
                      <a:pt x="5" y="12"/>
                    </a:lnTo>
                    <a:lnTo>
                      <a:pt x="8" y="12"/>
                    </a:lnTo>
                    <a:lnTo>
                      <a:pt x="8" y="12"/>
                    </a:lnTo>
                    <a:lnTo>
                      <a:pt x="8" y="11"/>
                    </a:lnTo>
                    <a:lnTo>
                      <a:pt x="8" y="6"/>
                    </a:lnTo>
                    <a:lnTo>
                      <a:pt x="8" y="6"/>
                    </a:lnTo>
                    <a:lnTo>
                      <a:pt x="8" y="3"/>
                    </a:lnTo>
                    <a:lnTo>
                      <a:pt x="10" y="3"/>
                    </a:lnTo>
                    <a:lnTo>
                      <a:pt x="12" y="3"/>
                    </a:lnTo>
                    <a:lnTo>
                      <a:pt x="12" y="3"/>
                    </a:lnTo>
                    <a:lnTo>
                      <a:pt x="12" y="3"/>
                    </a:lnTo>
                    <a:lnTo>
                      <a:pt x="12" y="8"/>
                    </a:lnTo>
                    <a:lnTo>
                      <a:pt x="15" y="9"/>
                    </a:lnTo>
                    <a:lnTo>
                      <a:pt x="15" y="6"/>
                    </a:lnTo>
                    <a:lnTo>
                      <a:pt x="15" y="4"/>
                    </a:lnTo>
                    <a:lnTo>
                      <a:pt x="15" y="3"/>
                    </a:lnTo>
                    <a:lnTo>
                      <a:pt x="13" y="3"/>
                    </a:lnTo>
                    <a:lnTo>
                      <a:pt x="13" y="3"/>
                    </a:lnTo>
                    <a:lnTo>
                      <a:pt x="12" y="1"/>
                    </a:lnTo>
                    <a:lnTo>
                      <a:pt x="12" y="1"/>
                    </a:lnTo>
                    <a:lnTo>
                      <a:pt x="12" y="0"/>
                    </a:lnTo>
                    <a:lnTo>
                      <a:pt x="5" y="3"/>
                    </a:lnTo>
                    <a:lnTo>
                      <a:pt x="4" y="4"/>
                    </a:lnTo>
                    <a:lnTo>
                      <a:pt x="0" y="6"/>
                    </a:lnTo>
                    <a:lnTo>
                      <a:pt x="0" y="6"/>
                    </a:lnTo>
                    <a:lnTo>
                      <a:pt x="2" y="8"/>
                    </a:lnTo>
                    <a:lnTo>
                      <a:pt x="2" y="8"/>
                    </a:lnTo>
                    <a:lnTo>
                      <a:pt x="2" y="8"/>
                    </a:lnTo>
                    <a:lnTo>
                      <a:pt x="2" y="8"/>
                    </a:lnTo>
                    <a:lnTo>
                      <a:pt x="2" y="8"/>
                    </a:lnTo>
                    <a:lnTo>
                      <a:pt x="2" y="8"/>
                    </a:lnTo>
                    <a:lnTo>
                      <a:pt x="2" y="8"/>
                    </a:lnTo>
                    <a:lnTo>
                      <a:pt x="2" y="8"/>
                    </a:lnTo>
                    <a:lnTo>
                      <a:pt x="2" y="8"/>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12" name="Freeform 279">
                <a:extLst>
                  <a:ext uri="{FF2B5EF4-FFF2-40B4-BE49-F238E27FC236}">
                    <a16:creationId xmlns:a16="http://schemas.microsoft.com/office/drawing/2014/main" id="{46EB660F-2B0D-7C7F-F644-053912CFE33B}"/>
                  </a:ext>
                </a:extLst>
              </p:cNvPr>
              <p:cNvSpPr>
                <a:spLocks/>
              </p:cNvSpPr>
              <p:nvPr/>
            </p:nvSpPr>
            <p:spPr bwMode="auto">
              <a:xfrm>
                <a:off x="8664976" y="3554064"/>
                <a:ext cx="152529" cy="139071"/>
              </a:xfrm>
              <a:custGeom>
                <a:avLst/>
                <a:gdLst>
                  <a:gd name="T0" fmla="*/ 38 w 68"/>
                  <a:gd name="T1" fmla="*/ 57 h 62"/>
                  <a:gd name="T2" fmla="*/ 40 w 68"/>
                  <a:gd name="T3" fmla="*/ 54 h 62"/>
                  <a:gd name="T4" fmla="*/ 43 w 68"/>
                  <a:gd name="T5" fmla="*/ 55 h 62"/>
                  <a:gd name="T6" fmla="*/ 49 w 68"/>
                  <a:gd name="T7" fmla="*/ 54 h 62"/>
                  <a:gd name="T8" fmla="*/ 52 w 68"/>
                  <a:gd name="T9" fmla="*/ 57 h 62"/>
                  <a:gd name="T10" fmla="*/ 52 w 68"/>
                  <a:gd name="T11" fmla="*/ 54 h 62"/>
                  <a:gd name="T12" fmla="*/ 49 w 68"/>
                  <a:gd name="T13" fmla="*/ 49 h 62"/>
                  <a:gd name="T14" fmla="*/ 49 w 68"/>
                  <a:gd name="T15" fmla="*/ 43 h 62"/>
                  <a:gd name="T16" fmla="*/ 51 w 68"/>
                  <a:gd name="T17" fmla="*/ 41 h 62"/>
                  <a:gd name="T18" fmla="*/ 56 w 68"/>
                  <a:gd name="T19" fmla="*/ 43 h 62"/>
                  <a:gd name="T20" fmla="*/ 56 w 68"/>
                  <a:gd name="T21" fmla="*/ 40 h 62"/>
                  <a:gd name="T22" fmla="*/ 62 w 68"/>
                  <a:gd name="T23" fmla="*/ 36 h 62"/>
                  <a:gd name="T24" fmla="*/ 68 w 68"/>
                  <a:gd name="T25" fmla="*/ 33 h 62"/>
                  <a:gd name="T26" fmla="*/ 68 w 68"/>
                  <a:gd name="T27" fmla="*/ 28 h 62"/>
                  <a:gd name="T28" fmla="*/ 68 w 68"/>
                  <a:gd name="T29" fmla="*/ 19 h 62"/>
                  <a:gd name="T30" fmla="*/ 65 w 68"/>
                  <a:gd name="T31" fmla="*/ 14 h 62"/>
                  <a:gd name="T32" fmla="*/ 64 w 68"/>
                  <a:gd name="T33" fmla="*/ 9 h 62"/>
                  <a:gd name="T34" fmla="*/ 64 w 68"/>
                  <a:gd name="T35" fmla="*/ 5 h 62"/>
                  <a:gd name="T36" fmla="*/ 65 w 68"/>
                  <a:gd name="T37" fmla="*/ 0 h 62"/>
                  <a:gd name="T38" fmla="*/ 59 w 68"/>
                  <a:gd name="T39" fmla="*/ 5 h 62"/>
                  <a:gd name="T40" fmla="*/ 56 w 68"/>
                  <a:gd name="T41" fmla="*/ 5 h 62"/>
                  <a:gd name="T42" fmla="*/ 52 w 68"/>
                  <a:gd name="T43" fmla="*/ 1 h 62"/>
                  <a:gd name="T44" fmla="*/ 51 w 68"/>
                  <a:gd name="T45" fmla="*/ 5 h 62"/>
                  <a:gd name="T46" fmla="*/ 48 w 68"/>
                  <a:gd name="T47" fmla="*/ 5 h 62"/>
                  <a:gd name="T48" fmla="*/ 46 w 68"/>
                  <a:gd name="T49" fmla="*/ 5 h 62"/>
                  <a:gd name="T50" fmla="*/ 49 w 68"/>
                  <a:gd name="T51" fmla="*/ 8 h 62"/>
                  <a:gd name="T52" fmla="*/ 48 w 68"/>
                  <a:gd name="T53" fmla="*/ 9 h 62"/>
                  <a:gd name="T54" fmla="*/ 45 w 68"/>
                  <a:gd name="T55" fmla="*/ 9 h 62"/>
                  <a:gd name="T56" fmla="*/ 40 w 68"/>
                  <a:gd name="T57" fmla="*/ 8 h 62"/>
                  <a:gd name="T58" fmla="*/ 37 w 68"/>
                  <a:gd name="T59" fmla="*/ 5 h 62"/>
                  <a:gd name="T60" fmla="*/ 33 w 68"/>
                  <a:gd name="T61" fmla="*/ 5 h 62"/>
                  <a:gd name="T62" fmla="*/ 29 w 68"/>
                  <a:gd name="T63" fmla="*/ 5 h 62"/>
                  <a:gd name="T64" fmla="*/ 24 w 68"/>
                  <a:gd name="T65" fmla="*/ 5 h 62"/>
                  <a:gd name="T66" fmla="*/ 19 w 68"/>
                  <a:gd name="T67" fmla="*/ 5 h 62"/>
                  <a:gd name="T68" fmla="*/ 13 w 68"/>
                  <a:gd name="T69" fmla="*/ 5 h 62"/>
                  <a:gd name="T70" fmla="*/ 8 w 68"/>
                  <a:gd name="T71" fmla="*/ 8 h 62"/>
                  <a:gd name="T72" fmla="*/ 3 w 68"/>
                  <a:gd name="T73" fmla="*/ 16 h 62"/>
                  <a:gd name="T74" fmla="*/ 3 w 68"/>
                  <a:gd name="T75" fmla="*/ 21 h 62"/>
                  <a:gd name="T76" fmla="*/ 8 w 68"/>
                  <a:gd name="T77" fmla="*/ 33 h 62"/>
                  <a:gd name="T78" fmla="*/ 8 w 68"/>
                  <a:gd name="T79" fmla="*/ 38 h 62"/>
                  <a:gd name="T80" fmla="*/ 10 w 68"/>
                  <a:gd name="T81" fmla="*/ 41 h 62"/>
                  <a:gd name="T82" fmla="*/ 13 w 68"/>
                  <a:gd name="T83" fmla="*/ 46 h 62"/>
                  <a:gd name="T84" fmla="*/ 14 w 68"/>
                  <a:gd name="T85" fmla="*/ 51 h 62"/>
                  <a:gd name="T86" fmla="*/ 14 w 68"/>
                  <a:gd name="T87" fmla="*/ 55 h 62"/>
                  <a:gd name="T88" fmla="*/ 18 w 68"/>
                  <a:gd name="T89" fmla="*/ 55 h 62"/>
                  <a:gd name="T90" fmla="*/ 19 w 68"/>
                  <a:gd name="T91" fmla="*/ 51 h 62"/>
                  <a:gd name="T92" fmla="*/ 22 w 68"/>
                  <a:gd name="T93" fmla="*/ 54 h 62"/>
                  <a:gd name="T94" fmla="*/ 21 w 68"/>
                  <a:gd name="T95" fmla="*/ 59 h 62"/>
                  <a:gd name="T96" fmla="*/ 24 w 68"/>
                  <a:gd name="T97" fmla="*/ 60 h 62"/>
                  <a:gd name="T98" fmla="*/ 27 w 68"/>
                  <a:gd name="T99" fmla="*/ 60 h 62"/>
                  <a:gd name="T100" fmla="*/ 30 w 68"/>
                  <a:gd name="T101" fmla="*/ 62 h 62"/>
                  <a:gd name="T102" fmla="*/ 37 w 68"/>
                  <a:gd name="T103" fmla="*/ 59 h 62"/>
                  <a:gd name="T104" fmla="*/ 37 w 68"/>
                  <a:gd name="T105" fmla="*/ 59 h 62"/>
                  <a:gd name="T106" fmla="*/ 37 w 68"/>
                  <a:gd name="T107" fmla="*/ 59 h 62"/>
                  <a:gd name="T108" fmla="*/ 37 w 68"/>
                  <a:gd name="T109" fmla="*/ 59 h 62"/>
                  <a:gd name="T110" fmla="*/ 37 w 68"/>
                  <a:gd name="T111"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62">
                    <a:moveTo>
                      <a:pt x="37" y="59"/>
                    </a:moveTo>
                    <a:lnTo>
                      <a:pt x="38" y="57"/>
                    </a:lnTo>
                    <a:lnTo>
                      <a:pt x="38" y="55"/>
                    </a:lnTo>
                    <a:lnTo>
                      <a:pt x="40" y="54"/>
                    </a:lnTo>
                    <a:lnTo>
                      <a:pt x="41" y="55"/>
                    </a:lnTo>
                    <a:lnTo>
                      <a:pt x="43" y="55"/>
                    </a:lnTo>
                    <a:lnTo>
                      <a:pt x="48" y="54"/>
                    </a:lnTo>
                    <a:lnTo>
                      <a:pt x="49" y="54"/>
                    </a:lnTo>
                    <a:lnTo>
                      <a:pt x="51" y="55"/>
                    </a:lnTo>
                    <a:lnTo>
                      <a:pt x="52" y="57"/>
                    </a:lnTo>
                    <a:lnTo>
                      <a:pt x="52" y="55"/>
                    </a:lnTo>
                    <a:lnTo>
                      <a:pt x="52" y="54"/>
                    </a:lnTo>
                    <a:lnTo>
                      <a:pt x="52" y="51"/>
                    </a:lnTo>
                    <a:lnTo>
                      <a:pt x="49" y="49"/>
                    </a:lnTo>
                    <a:lnTo>
                      <a:pt x="48" y="44"/>
                    </a:lnTo>
                    <a:lnTo>
                      <a:pt x="49" y="43"/>
                    </a:lnTo>
                    <a:lnTo>
                      <a:pt x="51" y="43"/>
                    </a:lnTo>
                    <a:lnTo>
                      <a:pt x="51" y="41"/>
                    </a:lnTo>
                    <a:lnTo>
                      <a:pt x="52" y="43"/>
                    </a:lnTo>
                    <a:lnTo>
                      <a:pt x="56" y="43"/>
                    </a:lnTo>
                    <a:lnTo>
                      <a:pt x="56" y="41"/>
                    </a:lnTo>
                    <a:lnTo>
                      <a:pt x="56" y="40"/>
                    </a:lnTo>
                    <a:lnTo>
                      <a:pt x="59" y="40"/>
                    </a:lnTo>
                    <a:lnTo>
                      <a:pt x="62" y="36"/>
                    </a:lnTo>
                    <a:lnTo>
                      <a:pt x="65" y="33"/>
                    </a:lnTo>
                    <a:lnTo>
                      <a:pt x="68" y="33"/>
                    </a:lnTo>
                    <a:lnTo>
                      <a:pt x="68" y="30"/>
                    </a:lnTo>
                    <a:lnTo>
                      <a:pt x="68" y="28"/>
                    </a:lnTo>
                    <a:lnTo>
                      <a:pt x="67" y="22"/>
                    </a:lnTo>
                    <a:lnTo>
                      <a:pt x="68" y="19"/>
                    </a:lnTo>
                    <a:lnTo>
                      <a:pt x="67" y="16"/>
                    </a:lnTo>
                    <a:lnTo>
                      <a:pt x="65" y="14"/>
                    </a:lnTo>
                    <a:lnTo>
                      <a:pt x="65" y="11"/>
                    </a:lnTo>
                    <a:lnTo>
                      <a:pt x="64" y="9"/>
                    </a:lnTo>
                    <a:lnTo>
                      <a:pt x="64" y="6"/>
                    </a:lnTo>
                    <a:lnTo>
                      <a:pt x="64" y="5"/>
                    </a:lnTo>
                    <a:lnTo>
                      <a:pt x="65" y="1"/>
                    </a:lnTo>
                    <a:lnTo>
                      <a:pt x="65" y="0"/>
                    </a:lnTo>
                    <a:lnTo>
                      <a:pt x="62" y="3"/>
                    </a:lnTo>
                    <a:lnTo>
                      <a:pt x="59" y="5"/>
                    </a:lnTo>
                    <a:lnTo>
                      <a:pt x="59" y="5"/>
                    </a:lnTo>
                    <a:lnTo>
                      <a:pt x="56" y="5"/>
                    </a:lnTo>
                    <a:lnTo>
                      <a:pt x="56" y="5"/>
                    </a:lnTo>
                    <a:lnTo>
                      <a:pt x="52" y="1"/>
                    </a:lnTo>
                    <a:lnTo>
                      <a:pt x="52" y="1"/>
                    </a:lnTo>
                    <a:lnTo>
                      <a:pt x="51" y="5"/>
                    </a:lnTo>
                    <a:lnTo>
                      <a:pt x="49" y="5"/>
                    </a:lnTo>
                    <a:lnTo>
                      <a:pt x="48" y="5"/>
                    </a:lnTo>
                    <a:lnTo>
                      <a:pt x="48" y="5"/>
                    </a:lnTo>
                    <a:lnTo>
                      <a:pt x="46" y="5"/>
                    </a:lnTo>
                    <a:lnTo>
                      <a:pt x="48" y="6"/>
                    </a:lnTo>
                    <a:lnTo>
                      <a:pt x="49" y="8"/>
                    </a:lnTo>
                    <a:lnTo>
                      <a:pt x="49" y="9"/>
                    </a:lnTo>
                    <a:lnTo>
                      <a:pt x="48" y="9"/>
                    </a:lnTo>
                    <a:lnTo>
                      <a:pt x="46" y="11"/>
                    </a:lnTo>
                    <a:lnTo>
                      <a:pt x="45" y="9"/>
                    </a:lnTo>
                    <a:lnTo>
                      <a:pt x="43" y="8"/>
                    </a:lnTo>
                    <a:lnTo>
                      <a:pt x="40" y="8"/>
                    </a:lnTo>
                    <a:lnTo>
                      <a:pt x="38" y="6"/>
                    </a:lnTo>
                    <a:lnTo>
                      <a:pt x="37" y="5"/>
                    </a:lnTo>
                    <a:lnTo>
                      <a:pt x="35" y="6"/>
                    </a:lnTo>
                    <a:lnTo>
                      <a:pt x="33" y="5"/>
                    </a:lnTo>
                    <a:lnTo>
                      <a:pt x="32" y="5"/>
                    </a:lnTo>
                    <a:lnTo>
                      <a:pt x="29" y="5"/>
                    </a:lnTo>
                    <a:lnTo>
                      <a:pt x="24" y="5"/>
                    </a:lnTo>
                    <a:lnTo>
                      <a:pt x="24" y="5"/>
                    </a:lnTo>
                    <a:lnTo>
                      <a:pt x="21" y="5"/>
                    </a:lnTo>
                    <a:lnTo>
                      <a:pt x="19" y="5"/>
                    </a:lnTo>
                    <a:lnTo>
                      <a:pt x="16" y="5"/>
                    </a:lnTo>
                    <a:lnTo>
                      <a:pt x="13" y="5"/>
                    </a:lnTo>
                    <a:lnTo>
                      <a:pt x="10" y="5"/>
                    </a:lnTo>
                    <a:lnTo>
                      <a:pt x="8" y="8"/>
                    </a:lnTo>
                    <a:lnTo>
                      <a:pt x="6" y="13"/>
                    </a:lnTo>
                    <a:lnTo>
                      <a:pt x="3" y="16"/>
                    </a:lnTo>
                    <a:lnTo>
                      <a:pt x="0" y="16"/>
                    </a:lnTo>
                    <a:lnTo>
                      <a:pt x="3" y="21"/>
                    </a:lnTo>
                    <a:lnTo>
                      <a:pt x="3" y="27"/>
                    </a:lnTo>
                    <a:lnTo>
                      <a:pt x="8" y="33"/>
                    </a:lnTo>
                    <a:lnTo>
                      <a:pt x="8" y="36"/>
                    </a:lnTo>
                    <a:lnTo>
                      <a:pt x="8" y="38"/>
                    </a:lnTo>
                    <a:lnTo>
                      <a:pt x="8" y="40"/>
                    </a:lnTo>
                    <a:lnTo>
                      <a:pt x="10" y="41"/>
                    </a:lnTo>
                    <a:lnTo>
                      <a:pt x="11" y="44"/>
                    </a:lnTo>
                    <a:lnTo>
                      <a:pt x="13" y="46"/>
                    </a:lnTo>
                    <a:lnTo>
                      <a:pt x="14" y="48"/>
                    </a:lnTo>
                    <a:lnTo>
                      <a:pt x="14" y="51"/>
                    </a:lnTo>
                    <a:lnTo>
                      <a:pt x="14" y="52"/>
                    </a:lnTo>
                    <a:lnTo>
                      <a:pt x="14" y="55"/>
                    </a:lnTo>
                    <a:lnTo>
                      <a:pt x="16" y="55"/>
                    </a:lnTo>
                    <a:lnTo>
                      <a:pt x="18" y="55"/>
                    </a:lnTo>
                    <a:lnTo>
                      <a:pt x="19" y="52"/>
                    </a:lnTo>
                    <a:lnTo>
                      <a:pt x="19" y="51"/>
                    </a:lnTo>
                    <a:lnTo>
                      <a:pt x="21" y="51"/>
                    </a:lnTo>
                    <a:lnTo>
                      <a:pt x="22" y="54"/>
                    </a:lnTo>
                    <a:lnTo>
                      <a:pt x="22" y="57"/>
                    </a:lnTo>
                    <a:lnTo>
                      <a:pt x="21" y="59"/>
                    </a:lnTo>
                    <a:lnTo>
                      <a:pt x="21" y="60"/>
                    </a:lnTo>
                    <a:lnTo>
                      <a:pt x="24" y="60"/>
                    </a:lnTo>
                    <a:lnTo>
                      <a:pt x="24" y="59"/>
                    </a:lnTo>
                    <a:lnTo>
                      <a:pt x="27" y="60"/>
                    </a:lnTo>
                    <a:lnTo>
                      <a:pt x="29" y="62"/>
                    </a:lnTo>
                    <a:lnTo>
                      <a:pt x="30" y="62"/>
                    </a:lnTo>
                    <a:lnTo>
                      <a:pt x="33" y="60"/>
                    </a:lnTo>
                    <a:lnTo>
                      <a:pt x="37" y="59"/>
                    </a:lnTo>
                    <a:lnTo>
                      <a:pt x="37" y="59"/>
                    </a:lnTo>
                    <a:lnTo>
                      <a:pt x="37" y="59"/>
                    </a:lnTo>
                    <a:lnTo>
                      <a:pt x="37" y="59"/>
                    </a:lnTo>
                    <a:lnTo>
                      <a:pt x="37" y="59"/>
                    </a:lnTo>
                    <a:lnTo>
                      <a:pt x="37" y="59"/>
                    </a:lnTo>
                    <a:lnTo>
                      <a:pt x="37" y="59"/>
                    </a:lnTo>
                    <a:lnTo>
                      <a:pt x="37" y="59"/>
                    </a:lnTo>
                    <a:lnTo>
                      <a:pt x="37" y="59"/>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13" name="Freeform 281">
                <a:extLst>
                  <a:ext uri="{FF2B5EF4-FFF2-40B4-BE49-F238E27FC236}">
                    <a16:creationId xmlns:a16="http://schemas.microsoft.com/office/drawing/2014/main" id="{4898BF0F-20E1-94B9-3164-306FB0CF03BB}"/>
                  </a:ext>
                </a:extLst>
              </p:cNvPr>
              <p:cNvSpPr>
                <a:spLocks/>
              </p:cNvSpPr>
              <p:nvPr/>
            </p:nvSpPr>
            <p:spPr bwMode="auto">
              <a:xfrm>
                <a:off x="8626844" y="3275923"/>
                <a:ext cx="242252" cy="477775"/>
              </a:xfrm>
              <a:custGeom>
                <a:avLst/>
                <a:gdLst>
                  <a:gd name="T0" fmla="*/ 68 w 108"/>
                  <a:gd name="T1" fmla="*/ 24 h 213"/>
                  <a:gd name="T2" fmla="*/ 60 w 108"/>
                  <a:gd name="T3" fmla="*/ 19 h 213"/>
                  <a:gd name="T4" fmla="*/ 55 w 108"/>
                  <a:gd name="T5" fmla="*/ 8 h 213"/>
                  <a:gd name="T6" fmla="*/ 46 w 108"/>
                  <a:gd name="T7" fmla="*/ 5 h 213"/>
                  <a:gd name="T8" fmla="*/ 33 w 108"/>
                  <a:gd name="T9" fmla="*/ 3 h 213"/>
                  <a:gd name="T10" fmla="*/ 25 w 108"/>
                  <a:gd name="T11" fmla="*/ 8 h 213"/>
                  <a:gd name="T12" fmla="*/ 17 w 108"/>
                  <a:gd name="T13" fmla="*/ 8 h 213"/>
                  <a:gd name="T14" fmla="*/ 11 w 108"/>
                  <a:gd name="T15" fmla="*/ 11 h 213"/>
                  <a:gd name="T16" fmla="*/ 3 w 108"/>
                  <a:gd name="T17" fmla="*/ 8 h 213"/>
                  <a:gd name="T18" fmla="*/ 6 w 108"/>
                  <a:gd name="T19" fmla="*/ 19 h 213"/>
                  <a:gd name="T20" fmla="*/ 11 w 108"/>
                  <a:gd name="T21" fmla="*/ 22 h 213"/>
                  <a:gd name="T22" fmla="*/ 17 w 108"/>
                  <a:gd name="T23" fmla="*/ 35 h 213"/>
                  <a:gd name="T24" fmla="*/ 27 w 108"/>
                  <a:gd name="T25" fmla="*/ 35 h 213"/>
                  <a:gd name="T26" fmla="*/ 35 w 108"/>
                  <a:gd name="T27" fmla="*/ 38 h 213"/>
                  <a:gd name="T28" fmla="*/ 36 w 108"/>
                  <a:gd name="T29" fmla="*/ 44 h 213"/>
                  <a:gd name="T30" fmla="*/ 39 w 108"/>
                  <a:gd name="T31" fmla="*/ 48 h 213"/>
                  <a:gd name="T32" fmla="*/ 31 w 108"/>
                  <a:gd name="T33" fmla="*/ 52 h 213"/>
                  <a:gd name="T34" fmla="*/ 28 w 108"/>
                  <a:gd name="T35" fmla="*/ 57 h 213"/>
                  <a:gd name="T36" fmla="*/ 39 w 108"/>
                  <a:gd name="T37" fmla="*/ 64 h 213"/>
                  <a:gd name="T38" fmla="*/ 44 w 108"/>
                  <a:gd name="T39" fmla="*/ 70 h 213"/>
                  <a:gd name="T40" fmla="*/ 54 w 108"/>
                  <a:gd name="T41" fmla="*/ 79 h 213"/>
                  <a:gd name="T42" fmla="*/ 65 w 108"/>
                  <a:gd name="T43" fmla="*/ 89 h 213"/>
                  <a:gd name="T44" fmla="*/ 73 w 108"/>
                  <a:gd name="T45" fmla="*/ 98 h 213"/>
                  <a:gd name="T46" fmla="*/ 76 w 108"/>
                  <a:gd name="T47" fmla="*/ 110 h 213"/>
                  <a:gd name="T48" fmla="*/ 82 w 108"/>
                  <a:gd name="T49" fmla="*/ 118 h 213"/>
                  <a:gd name="T50" fmla="*/ 81 w 108"/>
                  <a:gd name="T51" fmla="*/ 129 h 213"/>
                  <a:gd name="T52" fmla="*/ 82 w 108"/>
                  <a:gd name="T53" fmla="*/ 138 h 213"/>
                  <a:gd name="T54" fmla="*/ 85 w 108"/>
                  <a:gd name="T55" fmla="*/ 154 h 213"/>
                  <a:gd name="T56" fmla="*/ 73 w 108"/>
                  <a:gd name="T57" fmla="*/ 164 h 213"/>
                  <a:gd name="T58" fmla="*/ 68 w 108"/>
                  <a:gd name="T59" fmla="*/ 167 h 213"/>
                  <a:gd name="T60" fmla="*/ 69 w 108"/>
                  <a:gd name="T61" fmla="*/ 178 h 213"/>
                  <a:gd name="T62" fmla="*/ 65 w 108"/>
                  <a:gd name="T63" fmla="*/ 178 h 213"/>
                  <a:gd name="T64" fmla="*/ 55 w 108"/>
                  <a:gd name="T65" fmla="*/ 181 h 213"/>
                  <a:gd name="T66" fmla="*/ 50 w 108"/>
                  <a:gd name="T67" fmla="*/ 187 h 213"/>
                  <a:gd name="T68" fmla="*/ 57 w 108"/>
                  <a:gd name="T69" fmla="*/ 192 h 213"/>
                  <a:gd name="T70" fmla="*/ 55 w 108"/>
                  <a:gd name="T71" fmla="*/ 210 h 213"/>
                  <a:gd name="T72" fmla="*/ 58 w 108"/>
                  <a:gd name="T73" fmla="*/ 213 h 213"/>
                  <a:gd name="T74" fmla="*/ 69 w 108"/>
                  <a:gd name="T75" fmla="*/ 200 h 213"/>
                  <a:gd name="T76" fmla="*/ 76 w 108"/>
                  <a:gd name="T77" fmla="*/ 198 h 213"/>
                  <a:gd name="T78" fmla="*/ 76 w 108"/>
                  <a:gd name="T79" fmla="*/ 192 h 213"/>
                  <a:gd name="T80" fmla="*/ 73 w 108"/>
                  <a:gd name="T81" fmla="*/ 186 h 213"/>
                  <a:gd name="T82" fmla="*/ 76 w 108"/>
                  <a:gd name="T83" fmla="*/ 186 h 213"/>
                  <a:gd name="T84" fmla="*/ 81 w 108"/>
                  <a:gd name="T85" fmla="*/ 183 h 213"/>
                  <a:gd name="T86" fmla="*/ 93 w 108"/>
                  <a:gd name="T87" fmla="*/ 181 h 213"/>
                  <a:gd name="T88" fmla="*/ 104 w 108"/>
                  <a:gd name="T89" fmla="*/ 172 h 213"/>
                  <a:gd name="T90" fmla="*/ 108 w 108"/>
                  <a:gd name="T91" fmla="*/ 160 h 213"/>
                  <a:gd name="T92" fmla="*/ 108 w 108"/>
                  <a:gd name="T93" fmla="*/ 154 h 213"/>
                  <a:gd name="T94" fmla="*/ 108 w 108"/>
                  <a:gd name="T95" fmla="*/ 141 h 213"/>
                  <a:gd name="T96" fmla="*/ 101 w 108"/>
                  <a:gd name="T97" fmla="*/ 124 h 213"/>
                  <a:gd name="T98" fmla="*/ 96 w 108"/>
                  <a:gd name="T99" fmla="*/ 114 h 213"/>
                  <a:gd name="T100" fmla="*/ 90 w 108"/>
                  <a:gd name="T101" fmla="*/ 105 h 213"/>
                  <a:gd name="T102" fmla="*/ 81 w 108"/>
                  <a:gd name="T103" fmla="*/ 98 h 213"/>
                  <a:gd name="T104" fmla="*/ 73 w 108"/>
                  <a:gd name="T105" fmla="*/ 94 h 213"/>
                  <a:gd name="T106" fmla="*/ 63 w 108"/>
                  <a:gd name="T107" fmla="*/ 81 h 213"/>
                  <a:gd name="T108" fmla="*/ 54 w 108"/>
                  <a:gd name="T109" fmla="*/ 67 h 213"/>
                  <a:gd name="T110" fmla="*/ 50 w 108"/>
                  <a:gd name="T111" fmla="*/ 60 h 213"/>
                  <a:gd name="T112" fmla="*/ 55 w 108"/>
                  <a:gd name="T113" fmla="*/ 48 h 213"/>
                  <a:gd name="T114" fmla="*/ 60 w 108"/>
                  <a:gd name="T115" fmla="*/ 38 h 213"/>
                  <a:gd name="T116" fmla="*/ 63 w 108"/>
                  <a:gd name="T117" fmla="*/ 35 h 213"/>
                  <a:gd name="T118" fmla="*/ 68 w 108"/>
                  <a:gd name="T119" fmla="*/ 29 h 213"/>
                  <a:gd name="T120" fmla="*/ 76 w 108"/>
                  <a:gd name="T121" fmla="*/ 27 h 213"/>
                  <a:gd name="T122" fmla="*/ 73 w 108"/>
                  <a:gd name="T123" fmla="*/ 24 h 213"/>
                  <a:gd name="T124" fmla="*/ 73 w 108"/>
                  <a:gd name="T125" fmla="*/ 2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 h="213">
                    <a:moveTo>
                      <a:pt x="73" y="24"/>
                    </a:moveTo>
                    <a:lnTo>
                      <a:pt x="69" y="24"/>
                    </a:lnTo>
                    <a:lnTo>
                      <a:pt x="69" y="25"/>
                    </a:lnTo>
                    <a:lnTo>
                      <a:pt x="68" y="25"/>
                    </a:lnTo>
                    <a:lnTo>
                      <a:pt x="68" y="24"/>
                    </a:lnTo>
                    <a:lnTo>
                      <a:pt x="66" y="25"/>
                    </a:lnTo>
                    <a:lnTo>
                      <a:pt x="65" y="24"/>
                    </a:lnTo>
                    <a:lnTo>
                      <a:pt x="62" y="22"/>
                    </a:lnTo>
                    <a:lnTo>
                      <a:pt x="62" y="21"/>
                    </a:lnTo>
                    <a:lnTo>
                      <a:pt x="60" y="19"/>
                    </a:lnTo>
                    <a:lnTo>
                      <a:pt x="57" y="19"/>
                    </a:lnTo>
                    <a:lnTo>
                      <a:pt x="55" y="14"/>
                    </a:lnTo>
                    <a:lnTo>
                      <a:pt x="54" y="10"/>
                    </a:lnTo>
                    <a:lnTo>
                      <a:pt x="55" y="10"/>
                    </a:lnTo>
                    <a:lnTo>
                      <a:pt x="55" y="8"/>
                    </a:lnTo>
                    <a:lnTo>
                      <a:pt x="54" y="5"/>
                    </a:lnTo>
                    <a:lnTo>
                      <a:pt x="52" y="5"/>
                    </a:lnTo>
                    <a:lnTo>
                      <a:pt x="49" y="5"/>
                    </a:lnTo>
                    <a:lnTo>
                      <a:pt x="47" y="5"/>
                    </a:lnTo>
                    <a:lnTo>
                      <a:pt x="46" y="5"/>
                    </a:lnTo>
                    <a:lnTo>
                      <a:pt x="44" y="5"/>
                    </a:lnTo>
                    <a:lnTo>
                      <a:pt x="41" y="3"/>
                    </a:lnTo>
                    <a:lnTo>
                      <a:pt x="38" y="0"/>
                    </a:lnTo>
                    <a:lnTo>
                      <a:pt x="35" y="2"/>
                    </a:lnTo>
                    <a:lnTo>
                      <a:pt x="33" y="3"/>
                    </a:lnTo>
                    <a:lnTo>
                      <a:pt x="33" y="5"/>
                    </a:lnTo>
                    <a:lnTo>
                      <a:pt x="31" y="5"/>
                    </a:lnTo>
                    <a:lnTo>
                      <a:pt x="28" y="8"/>
                    </a:lnTo>
                    <a:lnTo>
                      <a:pt x="25" y="8"/>
                    </a:lnTo>
                    <a:lnTo>
                      <a:pt x="25" y="8"/>
                    </a:lnTo>
                    <a:lnTo>
                      <a:pt x="23" y="8"/>
                    </a:lnTo>
                    <a:lnTo>
                      <a:pt x="23" y="10"/>
                    </a:lnTo>
                    <a:lnTo>
                      <a:pt x="23" y="11"/>
                    </a:lnTo>
                    <a:lnTo>
                      <a:pt x="20" y="8"/>
                    </a:lnTo>
                    <a:lnTo>
                      <a:pt x="17" y="8"/>
                    </a:lnTo>
                    <a:lnTo>
                      <a:pt x="17" y="10"/>
                    </a:lnTo>
                    <a:lnTo>
                      <a:pt x="14" y="8"/>
                    </a:lnTo>
                    <a:lnTo>
                      <a:pt x="14" y="10"/>
                    </a:lnTo>
                    <a:lnTo>
                      <a:pt x="11" y="10"/>
                    </a:lnTo>
                    <a:lnTo>
                      <a:pt x="11" y="11"/>
                    </a:lnTo>
                    <a:lnTo>
                      <a:pt x="9" y="11"/>
                    </a:lnTo>
                    <a:lnTo>
                      <a:pt x="8" y="8"/>
                    </a:lnTo>
                    <a:lnTo>
                      <a:pt x="6" y="8"/>
                    </a:lnTo>
                    <a:lnTo>
                      <a:pt x="4" y="8"/>
                    </a:lnTo>
                    <a:lnTo>
                      <a:pt x="3" y="8"/>
                    </a:lnTo>
                    <a:lnTo>
                      <a:pt x="1" y="13"/>
                    </a:lnTo>
                    <a:lnTo>
                      <a:pt x="0" y="13"/>
                    </a:lnTo>
                    <a:lnTo>
                      <a:pt x="1" y="14"/>
                    </a:lnTo>
                    <a:lnTo>
                      <a:pt x="3" y="16"/>
                    </a:lnTo>
                    <a:lnTo>
                      <a:pt x="6" y="19"/>
                    </a:lnTo>
                    <a:lnTo>
                      <a:pt x="8" y="22"/>
                    </a:lnTo>
                    <a:lnTo>
                      <a:pt x="9" y="24"/>
                    </a:lnTo>
                    <a:lnTo>
                      <a:pt x="9" y="21"/>
                    </a:lnTo>
                    <a:lnTo>
                      <a:pt x="11" y="22"/>
                    </a:lnTo>
                    <a:lnTo>
                      <a:pt x="11" y="22"/>
                    </a:lnTo>
                    <a:lnTo>
                      <a:pt x="11" y="24"/>
                    </a:lnTo>
                    <a:lnTo>
                      <a:pt x="11" y="25"/>
                    </a:lnTo>
                    <a:lnTo>
                      <a:pt x="11" y="29"/>
                    </a:lnTo>
                    <a:lnTo>
                      <a:pt x="14" y="35"/>
                    </a:lnTo>
                    <a:lnTo>
                      <a:pt x="17" y="35"/>
                    </a:lnTo>
                    <a:lnTo>
                      <a:pt x="20" y="35"/>
                    </a:lnTo>
                    <a:lnTo>
                      <a:pt x="23" y="38"/>
                    </a:lnTo>
                    <a:lnTo>
                      <a:pt x="23" y="35"/>
                    </a:lnTo>
                    <a:lnTo>
                      <a:pt x="25" y="35"/>
                    </a:lnTo>
                    <a:lnTo>
                      <a:pt x="27" y="35"/>
                    </a:lnTo>
                    <a:lnTo>
                      <a:pt x="28" y="35"/>
                    </a:lnTo>
                    <a:lnTo>
                      <a:pt x="30" y="35"/>
                    </a:lnTo>
                    <a:lnTo>
                      <a:pt x="31" y="35"/>
                    </a:lnTo>
                    <a:lnTo>
                      <a:pt x="33" y="38"/>
                    </a:lnTo>
                    <a:lnTo>
                      <a:pt x="35" y="38"/>
                    </a:lnTo>
                    <a:lnTo>
                      <a:pt x="33" y="40"/>
                    </a:lnTo>
                    <a:lnTo>
                      <a:pt x="31" y="41"/>
                    </a:lnTo>
                    <a:lnTo>
                      <a:pt x="35" y="41"/>
                    </a:lnTo>
                    <a:lnTo>
                      <a:pt x="36" y="43"/>
                    </a:lnTo>
                    <a:lnTo>
                      <a:pt x="36" y="44"/>
                    </a:lnTo>
                    <a:lnTo>
                      <a:pt x="38" y="44"/>
                    </a:lnTo>
                    <a:lnTo>
                      <a:pt x="39" y="44"/>
                    </a:lnTo>
                    <a:lnTo>
                      <a:pt x="41" y="44"/>
                    </a:lnTo>
                    <a:lnTo>
                      <a:pt x="41" y="46"/>
                    </a:lnTo>
                    <a:lnTo>
                      <a:pt x="39" y="48"/>
                    </a:lnTo>
                    <a:lnTo>
                      <a:pt x="38" y="49"/>
                    </a:lnTo>
                    <a:lnTo>
                      <a:pt x="39" y="51"/>
                    </a:lnTo>
                    <a:lnTo>
                      <a:pt x="38" y="51"/>
                    </a:lnTo>
                    <a:lnTo>
                      <a:pt x="35" y="52"/>
                    </a:lnTo>
                    <a:lnTo>
                      <a:pt x="31" y="52"/>
                    </a:lnTo>
                    <a:lnTo>
                      <a:pt x="28" y="52"/>
                    </a:lnTo>
                    <a:lnTo>
                      <a:pt x="30" y="54"/>
                    </a:lnTo>
                    <a:lnTo>
                      <a:pt x="30" y="56"/>
                    </a:lnTo>
                    <a:lnTo>
                      <a:pt x="30" y="57"/>
                    </a:lnTo>
                    <a:lnTo>
                      <a:pt x="28" y="57"/>
                    </a:lnTo>
                    <a:lnTo>
                      <a:pt x="30" y="59"/>
                    </a:lnTo>
                    <a:lnTo>
                      <a:pt x="31" y="59"/>
                    </a:lnTo>
                    <a:lnTo>
                      <a:pt x="36" y="60"/>
                    </a:lnTo>
                    <a:lnTo>
                      <a:pt x="36" y="64"/>
                    </a:lnTo>
                    <a:lnTo>
                      <a:pt x="39" y="64"/>
                    </a:lnTo>
                    <a:lnTo>
                      <a:pt x="41" y="64"/>
                    </a:lnTo>
                    <a:lnTo>
                      <a:pt x="44" y="67"/>
                    </a:lnTo>
                    <a:lnTo>
                      <a:pt x="44" y="67"/>
                    </a:lnTo>
                    <a:lnTo>
                      <a:pt x="44" y="67"/>
                    </a:lnTo>
                    <a:lnTo>
                      <a:pt x="44" y="70"/>
                    </a:lnTo>
                    <a:lnTo>
                      <a:pt x="46" y="70"/>
                    </a:lnTo>
                    <a:lnTo>
                      <a:pt x="49" y="73"/>
                    </a:lnTo>
                    <a:lnTo>
                      <a:pt x="50" y="75"/>
                    </a:lnTo>
                    <a:lnTo>
                      <a:pt x="52" y="76"/>
                    </a:lnTo>
                    <a:lnTo>
                      <a:pt x="54" y="79"/>
                    </a:lnTo>
                    <a:lnTo>
                      <a:pt x="57" y="84"/>
                    </a:lnTo>
                    <a:lnTo>
                      <a:pt x="60" y="86"/>
                    </a:lnTo>
                    <a:lnTo>
                      <a:pt x="63" y="87"/>
                    </a:lnTo>
                    <a:lnTo>
                      <a:pt x="63" y="89"/>
                    </a:lnTo>
                    <a:lnTo>
                      <a:pt x="65" y="89"/>
                    </a:lnTo>
                    <a:lnTo>
                      <a:pt x="66" y="92"/>
                    </a:lnTo>
                    <a:lnTo>
                      <a:pt x="68" y="95"/>
                    </a:lnTo>
                    <a:lnTo>
                      <a:pt x="69" y="98"/>
                    </a:lnTo>
                    <a:lnTo>
                      <a:pt x="69" y="98"/>
                    </a:lnTo>
                    <a:lnTo>
                      <a:pt x="73" y="98"/>
                    </a:lnTo>
                    <a:lnTo>
                      <a:pt x="73" y="102"/>
                    </a:lnTo>
                    <a:lnTo>
                      <a:pt x="79" y="105"/>
                    </a:lnTo>
                    <a:lnTo>
                      <a:pt x="79" y="108"/>
                    </a:lnTo>
                    <a:lnTo>
                      <a:pt x="76" y="108"/>
                    </a:lnTo>
                    <a:lnTo>
                      <a:pt x="76" y="110"/>
                    </a:lnTo>
                    <a:lnTo>
                      <a:pt x="79" y="111"/>
                    </a:lnTo>
                    <a:lnTo>
                      <a:pt x="81" y="113"/>
                    </a:lnTo>
                    <a:lnTo>
                      <a:pt x="82" y="114"/>
                    </a:lnTo>
                    <a:lnTo>
                      <a:pt x="82" y="116"/>
                    </a:lnTo>
                    <a:lnTo>
                      <a:pt x="82" y="118"/>
                    </a:lnTo>
                    <a:lnTo>
                      <a:pt x="81" y="121"/>
                    </a:lnTo>
                    <a:lnTo>
                      <a:pt x="82" y="122"/>
                    </a:lnTo>
                    <a:lnTo>
                      <a:pt x="82" y="124"/>
                    </a:lnTo>
                    <a:lnTo>
                      <a:pt x="82" y="125"/>
                    </a:lnTo>
                    <a:lnTo>
                      <a:pt x="81" y="129"/>
                    </a:lnTo>
                    <a:lnTo>
                      <a:pt x="81" y="129"/>
                    </a:lnTo>
                    <a:lnTo>
                      <a:pt x="81" y="130"/>
                    </a:lnTo>
                    <a:lnTo>
                      <a:pt x="81" y="133"/>
                    </a:lnTo>
                    <a:lnTo>
                      <a:pt x="82" y="135"/>
                    </a:lnTo>
                    <a:lnTo>
                      <a:pt x="82" y="138"/>
                    </a:lnTo>
                    <a:lnTo>
                      <a:pt x="84" y="140"/>
                    </a:lnTo>
                    <a:lnTo>
                      <a:pt x="85" y="143"/>
                    </a:lnTo>
                    <a:lnTo>
                      <a:pt x="84" y="146"/>
                    </a:lnTo>
                    <a:lnTo>
                      <a:pt x="85" y="152"/>
                    </a:lnTo>
                    <a:lnTo>
                      <a:pt x="85" y="154"/>
                    </a:lnTo>
                    <a:lnTo>
                      <a:pt x="85" y="157"/>
                    </a:lnTo>
                    <a:lnTo>
                      <a:pt x="82" y="157"/>
                    </a:lnTo>
                    <a:lnTo>
                      <a:pt x="79" y="160"/>
                    </a:lnTo>
                    <a:lnTo>
                      <a:pt x="76" y="164"/>
                    </a:lnTo>
                    <a:lnTo>
                      <a:pt x="73" y="164"/>
                    </a:lnTo>
                    <a:lnTo>
                      <a:pt x="73" y="165"/>
                    </a:lnTo>
                    <a:lnTo>
                      <a:pt x="73" y="167"/>
                    </a:lnTo>
                    <a:lnTo>
                      <a:pt x="69" y="167"/>
                    </a:lnTo>
                    <a:lnTo>
                      <a:pt x="68" y="165"/>
                    </a:lnTo>
                    <a:lnTo>
                      <a:pt x="68" y="167"/>
                    </a:lnTo>
                    <a:lnTo>
                      <a:pt x="66" y="167"/>
                    </a:lnTo>
                    <a:lnTo>
                      <a:pt x="65" y="168"/>
                    </a:lnTo>
                    <a:lnTo>
                      <a:pt x="66" y="173"/>
                    </a:lnTo>
                    <a:lnTo>
                      <a:pt x="69" y="175"/>
                    </a:lnTo>
                    <a:lnTo>
                      <a:pt x="69" y="178"/>
                    </a:lnTo>
                    <a:lnTo>
                      <a:pt x="69" y="179"/>
                    </a:lnTo>
                    <a:lnTo>
                      <a:pt x="69" y="181"/>
                    </a:lnTo>
                    <a:lnTo>
                      <a:pt x="68" y="179"/>
                    </a:lnTo>
                    <a:lnTo>
                      <a:pt x="66" y="178"/>
                    </a:lnTo>
                    <a:lnTo>
                      <a:pt x="65" y="178"/>
                    </a:lnTo>
                    <a:lnTo>
                      <a:pt x="60" y="179"/>
                    </a:lnTo>
                    <a:lnTo>
                      <a:pt x="58" y="179"/>
                    </a:lnTo>
                    <a:lnTo>
                      <a:pt x="57" y="178"/>
                    </a:lnTo>
                    <a:lnTo>
                      <a:pt x="55" y="179"/>
                    </a:lnTo>
                    <a:lnTo>
                      <a:pt x="55" y="181"/>
                    </a:lnTo>
                    <a:lnTo>
                      <a:pt x="54" y="183"/>
                    </a:lnTo>
                    <a:lnTo>
                      <a:pt x="50" y="184"/>
                    </a:lnTo>
                    <a:lnTo>
                      <a:pt x="47" y="186"/>
                    </a:lnTo>
                    <a:lnTo>
                      <a:pt x="49" y="186"/>
                    </a:lnTo>
                    <a:lnTo>
                      <a:pt x="50" y="187"/>
                    </a:lnTo>
                    <a:lnTo>
                      <a:pt x="50" y="189"/>
                    </a:lnTo>
                    <a:lnTo>
                      <a:pt x="52" y="189"/>
                    </a:lnTo>
                    <a:lnTo>
                      <a:pt x="52" y="189"/>
                    </a:lnTo>
                    <a:lnTo>
                      <a:pt x="54" y="189"/>
                    </a:lnTo>
                    <a:lnTo>
                      <a:pt x="57" y="192"/>
                    </a:lnTo>
                    <a:lnTo>
                      <a:pt x="58" y="195"/>
                    </a:lnTo>
                    <a:lnTo>
                      <a:pt x="57" y="192"/>
                    </a:lnTo>
                    <a:lnTo>
                      <a:pt x="55" y="195"/>
                    </a:lnTo>
                    <a:lnTo>
                      <a:pt x="54" y="200"/>
                    </a:lnTo>
                    <a:lnTo>
                      <a:pt x="55" y="210"/>
                    </a:lnTo>
                    <a:lnTo>
                      <a:pt x="57" y="208"/>
                    </a:lnTo>
                    <a:lnTo>
                      <a:pt x="57" y="210"/>
                    </a:lnTo>
                    <a:lnTo>
                      <a:pt x="54" y="211"/>
                    </a:lnTo>
                    <a:lnTo>
                      <a:pt x="57" y="213"/>
                    </a:lnTo>
                    <a:lnTo>
                      <a:pt x="58" y="213"/>
                    </a:lnTo>
                    <a:lnTo>
                      <a:pt x="62" y="210"/>
                    </a:lnTo>
                    <a:lnTo>
                      <a:pt x="63" y="206"/>
                    </a:lnTo>
                    <a:lnTo>
                      <a:pt x="66" y="203"/>
                    </a:lnTo>
                    <a:lnTo>
                      <a:pt x="69" y="202"/>
                    </a:lnTo>
                    <a:lnTo>
                      <a:pt x="69" y="200"/>
                    </a:lnTo>
                    <a:lnTo>
                      <a:pt x="73" y="198"/>
                    </a:lnTo>
                    <a:lnTo>
                      <a:pt x="73" y="198"/>
                    </a:lnTo>
                    <a:lnTo>
                      <a:pt x="69" y="195"/>
                    </a:lnTo>
                    <a:lnTo>
                      <a:pt x="73" y="198"/>
                    </a:lnTo>
                    <a:lnTo>
                      <a:pt x="76" y="198"/>
                    </a:lnTo>
                    <a:lnTo>
                      <a:pt x="76" y="198"/>
                    </a:lnTo>
                    <a:lnTo>
                      <a:pt x="76" y="195"/>
                    </a:lnTo>
                    <a:lnTo>
                      <a:pt x="76" y="192"/>
                    </a:lnTo>
                    <a:lnTo>
                      <a:pt x="76" y="195"/>
                    </a:lnTo>
                    <a:lnTo>
                      <a:pt x="76" y="192"/>
                    </a:lnTo>
                    <a:lnTo>
                      <a:pt x="76" y="192"/>
                    </a:lnTo>
                    <a:lnTo>
                      <a:pt x="76" y="192"/>
                    </a:lnTo>
                    <a:lnTo>
                      <a:pt x="79" y="189"/>
                    </a:lnTo>
                    <a:lnTo>
                      <a:pt x="76" y="189"/>
                    </a:lnTo>
                    <a:lnTo>
                      <a:pt x="73" y="186"/>
                    </a:lnTo>
                    <a:lnTo>
                      <a:pt x="76" y="186"/>
                    </a:lnTo>
                    <a:lnTo>
                      <a:pt x="79" y="186"/>
                    </a:lnTo>
                    <a:lnTo>
                      <a:pt x="79" y="186"/>
                    </a:lnTo>
                    <a:lnTo>
                      <a:pt x="76" y="186"/>
                    </a:lnTo>
                    <a:lnTo>
                      <a:pt x="76" y="186"/>
                    </a:lnTo>
                    <a:lnTo>
                      <a:pt x="79" y="184"/>
                    </a:lnTo>
                    <a:lnTo>
                      <a:pt x="79" y="183"/>
                    </a:lnTo>
                    <a:lnTo>
                      <a:pt x="79" y="183"/>
                    </a:lnTo>
                    <a:lnTo>
                      <a:pt x="81" y="186"/>
                    </a:lnTo>
                    <a:lnTo>
                      <a:pt x="81" y="183"/>
                    </a:lnTo>
                    <a:lnTo>
                      <a:pt x="82" y="184"/>
                    </a:lnTo>
                    <a:lnTo>
                      <a:pt x="84" y="186"/>
                    </a:lnTo>
                    <a:lnTo>
                      <a:pt x="88" y="184"/>
                    </a:lnTo>
                    <a:lnTo>
                      <a:pt x="90" y="183"/>
                    </a:lnTo>
                    <a:lnTo>
                      <a:pt x="93" y="181"/>
                    </a:lnTo>
                    <a:lnTo>
                      <a:pt x="95" y="178"/>
                    </a:lnTo>
                    <a:lnTo>
                      <a:pt x="100" y="176"/>
                    </a:lnTo>
                    <a:lnTo>
                      <a:pt x="101" y="175"/>
                    </a:lnTo>
                    <a:lnTo>
                      <a:pt x="104" y="173"/>
                    </a:lnTo>
                    <a:lnTo>
                      <a:pt x="104" y="172"/>
                    </a:lnTo>
                    <a:lnTo>
                      <a:pt x="104" y="168"/>
                    </a:lnTo>
                    <a:lnTo>
                      <a:pt x="108" y="167"/>
                    </a:lnTo>
                    <a:lnTo>
                      <a:pt x="108" y="165"/>
                    </a:lnTo>
                    <a:lnTo>
                      <a:pt x="108" y="164"/>
                    </a:lnTo>
                    <a:lnTo>
                      <a:pt x="108" y="160"/>
                    </a:lnTo>
                    <a:lnTo>
                      <a:pt x="108" y="160"/>
                    </a:lnTo>
                    <a:lnTo>
                      <a:pt x="104" y="157"/>
                    </a:lnTo>
                    <a:lnTo>
                      <a:pt x="108" y="157"/>
                    </a:lnTo>
                    <a:lnTo>
                      <a:pt x="108" y="154"/>
                    </a:lnTo>
                    <a:lnTo>
                      <a:pt x="108" y="154"/>
                    </a:lnTo>
                    <a:lnTo>
                      <a:pt x="108" y="152"/>
                    </a:lnTo>
                    <a:lnTo>
                      <a:pt x="108" y="149"/>
                    </a:lnTo>
                    <a:lnTo>
                      <a:pt x="108" y="145"/>
                    </a:lnTo>
                    <a:lnTo>
                      <a:pt x="104" y="143"/>
                    </a:lnTo>
                    <a:lnTo>
                      <a:pt x="108" y="141"/>
                    </a:lnTo>
                    <a:lnTo>
                      <a:pt x="104" y="140"/>
                    </a:lnTo>
                    <a:lnTo>
                      <a:pt x="104" y="137"/>
                    </a:lnTo>
                    <a:lnTo>
                      <a:pt x="104" y="135"/>
                    </a:lnTo>
                    <a:lnTo>
                      <a:pt x="104" y="132"/>
                    </a:lnTo>
                    <a:lnTo>
                      <a:pt x="101" y="124"/>
                    </a:lnTo>
                    <a:lnTo>
                      <a:pt x="98" y="118"/>
                    </a:lnTo>
                    <a:lnTo>
                      <a:pt x="100" y="118"/>
                    </a:lnTo>
                    <a:lnTo>
                      <a:pt x="100" y="116"/>
                    </a:lnTo>
                    <a:lnTo>
                      <a:pt x="98" y="114"/>
                    </a:lnTo>
                    <a:lnTo>
                      <a:pt x="96" y="114"/>
                    </a:lnTo>
                    <a:lnTo>
                      <a:pt x="95" y="113"/>
                    </a:lnTo>
                    <a:lnTo>
                      <a:pt x="92" y="110"/>
                    </a:lnTo>
                    <a:lnTo>
                      <a:pt x="90" y="105"/>
                    </a:lnTo>
                    <a:lnTo>
                      <a:pt x="88" y="105"/>
                    </a:lnTo>
                    <a:lnTo>
                      <a:pt x="90" y="105"/>
                    </a:lnTo>
                    <a:lnTo>
                      <a:pt x="88" y="105"/>
                    </a:lnTo>
                    <a:lnTo>
                      <a:pt x="87" y="102"/>
                    </a:lnTo>
                    <a:lnTo>
                      <a:pt x="85" y="102"/>
                    </a:lnTo>
                    <a:lnTo>
                      <a:pt x="84" y="102"/>
                    </a:lnTo>
                    <a:lnTo>
                      <a:pt x="81" y="98"/>
                    </a:lnTo>
                    <a:lnTo>
                      <a:pt x="79" y="95"/>
                    </a:lnTo>
                    <a:lnTo>
                      <a:pt x="79" y="95"/>
                    </a:lnTo>
                    <a:lnTo>
                      <a:pt x="76" y="94"/>
                    </a:lnTo>
                    <a:lnTo>
                      <a:pt x="76" y="94"/>
                    </a:lnTo>
                    <a:lnTo>
                      <a:pt x="73" y="94"/>
                    </a:lnTo>
                    <a:lnTo>
                      <a:pt x="73" y="91"/>
                    </a:lnTo>
                    <a:lnTo>
                      <a:pt x="73" y="89"/>
                    </a:lnTo>
                    <a:lnTo>
                      <a:pt x="68" y="86"/>
                    </a:lnTo>
                    <a:lnTo>
                      <a:pt x="65" y="83"/>
                    </a:lnTo>
                    <a:lnTo>
                      <a:pt x="63" y="81"/>
                    </a:lnTo>
                    <a:lnTo>
                      <a:pt x="63" y="78"/>
                    </a:lnTo>
                    <a:lnTo>
                      <a:pt x="62" y="75"/>
                    </a:lnTo>
                    <a:lnTo>
                      <a:pt x="58" y="73"/>
                    </a:lnTo>
                    <a:lnTo>
                      <a:pt x="54" y="70"/>
                    </a:lnTo>
                    <a:lnTo>
                      <a:pt x="54" y="67"/>
                    </a:lnTo>
                    <a:lnTo>
                      <a:pt x="52" y="67"/>
                    </a:lnTo>
                    <a:lnTo>
                      <a:pt x="52" y="67"/>
                    </a:lnTo>
                    <a:lnTo>
                      <a:pt x="50" y="64"/>
                    </a:lnTo>
                    <a:lnTo>
                      <a:pt x="50" y="64"/>
                    </a:lnTo>
                    <a:lnTo>
                      <a:pt x="50" y="60"/>
                    </a:lnTo>
                    <a:lnTo>
                      <a:pt x="50" y="57"/>
                    </a:lnTo>
                    <a:lnTo>
                      <a:pt x="50" y="54"/>
                    </a:lnTo>
                    <a:lnTo>
                      <a:pt x="52" y="49"/>
                    </a:lnTo>
                    <a:lnTo>
                      <a:pt x="54" y="48"/>
                    </a:lnTo>
                    <a:lnTo>
                      <a:pt x="55" y="48"/>
                    </a:lnTo>
                    <a:lnTo>
                      <a:pt x="57" y="46"/>
                    </a:lnTo>
                    <a:lnTo>
                      <a:pt x="58" y="43"/>
                    </a:lnTo>
                    <a:lnTo>
                      <a:pt x="58" y="40"/>
                    </a:lnTo>
                    <a:lnTo>
                      <a:pt x="58" y="38"/>
                    </a:lnTo>
                    <a:lnTo>
                      <a:pt x="60" y="38"/>
                    </a:lnTo>
                    <a:lnTo>
                      <a:pt x="62" y="38"/>
                    </a:lnTo>
                    <a:lnTo>
                      <a:pt x="60" y="35"/>
                    </a:lnTo>
                    <a:lnTo>
                      <a:pt x="60" y="35"/>
                    </a:lnTo>
                    <a:lnTo>
                      <a:pt x="62" y="35"/>
                    </a:lnTo>
                    <a:lnTo>
                      <a:pt x="63" y="35"/>
                    </a:lnTo>
                    <a:lnTo>
                      <a:pt x="65" y="32"/>
                    </a:lnTo>
                    <a:lnTo>
                      <a:pt x="65" y="35"/>
                    </a:lnTo>
                    <a:lnTo>
                      <a:pt x="68" y="32"/>
                    </a:lnTo>
                    <a:lnTo>
                      <a:pt x="68" y="32"/>
                    </a:lnTo>
                    <a:lnTo>
                      <a:pt x="68" y="29"/>
                    </a:lnTo>
                    <a:lnTo>
                      <a:pt x="69" y="29"/>
                    </a:lnTo>
                    <a:lnTo>
                      <a:pt x="69" y="29"/>
                    </a:lnTo>
                    <a:lnTo>
                      <a:pt x="73" y="27"/>
                    </a:lnTo>
                    <a:lnTo>
                      <a:pt x="73" y="27"/>
                    </a:lnTo>
                    <a:lnTo>
                      <a:pt x="76" y="27"/>
                    </a:lnTo>
                    <a:lnTo>
                      <a:pt x="76" y="27"/>
                    </a:lnTo>
                    <a:lnTo>
                      <a:pt x="76" y="25"/>
                    </a:lnTo>
                    <a:lnTo>
                      <a:pt x="73" y="24"/>
                    </a:lnTo>
                    <a:lnTo>
                      <a:pt x="73" y="24"/>
                    </a:lnTo>
                    <a:lnTo>
                      <a:pt x="73" y="24"/>
                    </a:lnTo>
                    <a:lnTo>
                      <a:pt x="73" y="24"/>
                    </a:lnTo>
                    <a:lnTo>
                      <a:pt x="73" y="24"/>
                    </a:lnTo>
                    <a:lnTo>
                      <a:pt x="73" y="24"/>
                    </a:lnTo>
                    <a:lnTo>
                      <a:pt x="73" y="24"/>
                    </a:lnTo>
                    <a:lnTo>
                      <a:pt x="73" y="24"/>
                    </a:lnTo>
                    <a:lnTo>
                      <a:pt x="73" y="2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14" name="Freeform 286">
                <a:extLst>
                  <a:ext uri="{FF2B5EF4-FFF2-40B4-BE49-F238E27FC236}">
                    <a16:creationId xmlns:a16="http://schemas.microsoft.com/office/drawing/2014/main" id="{C7E941E2-947F-E1F9-67D8-31399D3ECAF6}"/>
                  </a:ext>
                </a:extLst>
              </p:cNvPr>
              <p:cNvSpPr>
                <a:spLocks noEditPoints="1"/>
              </p:cNvSpPr>
              <p:nvPr/>
            </p:nvSpPr>
            <p:spPr bwMode="auto">
              <a:xfrm>
                <a:off x="8355432" y="3105451"/>
                <a:ext cx="244495" cy="601143"/>
              </a:xfrm>
              <a:custGeom>
                <a:avLst/>
                <a:gdLst>
                  <a:gd name="T0" fmla="*/ 25 w 109"/>
                  <a:gd name="T1" fmla="*/ 136 h 268"/>
                  <a:gd name="T2" fmla="*/ 21 w 109"/>
                  <a:gd name="T3" fmla="*/ 133 h 268"/>
                  <a:gd name="T4" fmla="*/ 40 w 109"/>
                  <a:gd name="T5" fmla="*/ 184 h 268"/>
                  <a:gd name="T6" fmla="*/ 40 w 109"/>
                  <a:gd name="T7" fmla="*/ 184 h 268"/>
                  <a:gd name="T8" fmla="*/ 19 w 109"/>
                  <a:gd name="T9" fmla="*/ 259 h 268"/>
                  <a:gd name="T10" fmla="*/ 16 w 109"/>
                  <a:gd name="T11" fmla="*/ 257 h 268"/>
                  <a:gd name="T12" fmla="*/ 19 w 109"/>
                  <a:gd name="T13" fmla="*/ 228 h 268"/>
                  <a:gd name="T14" fmla="*/ 21 w 109"/>
                  <a:gd name="T15" fmla="*/ 225 h 268"/>
                  <a:gd name="T16" fmla="*/ 19 w 109"/>
                  <a:gd name="T17" fmla="*/ 221 h 268"/>
                  <a:gd name="T18" fmla="*/ 19 w 109"/>
                  <a:gd name="T19" fmla="*/ 221 h 268"/>
                  <a:gd name="T20" fmla="*/ 21 w 109"/>
                  <a:gd name="T21" fmla="*/ 240 h 268"/>
                  <a:gd name="T22" fmla="*/ 19 w 109"/>
                  <a:gd name="T23" fmla="*/ 240 h 268"/>
                  <a:gd name="T24" fmla="*/ 103 w 109"/>
                  <a:gd name="T25" fmla="*/ 103 h 268"/>
                  <a:gd name="T26" fmla="*/ 95 w 109"/>
                  <a:gd name="T27" fmla="*/ 98 h 268"/>
                  <a:gd name="T28" fmla="*/ 84 w 109"/>
                  <a:gd name="T29" fmla="*/ 92 h 268"/>
                  <a:gd name="T30" fmla="*/ 79 w 109"/>
                  <a:gd name="T31" fmla="*/ 79 h 268"/>
                  <a:gd name="T32" fmla="*/ 76 w 109"/>
                  <a:gd name="T33" fmla="*/ 63 h 268"/>
                  <a:gd name="T34" fmla="*/ 62 w 109"/>
                  <a:gd name="T35" fmla="*/ 67 h 268"/>
                  <a:gd name="T36" fmla="*/ 62 w 109"/>
                  <a:gd name="T37" fmla="*/ 55 h 268"/>
                  <a:gd name="T38" fmla="*/ 65 w 109"/>
                  <a:gd name="T39" fmla="*/ 43 h 268"/>
                  <a:gd name="T40" fmla="*/ 68 w 109"/>
                  <a:gd name="T41" fmla="*/ 36 h 268"/>
                  <a:gd name="T42" fmla="*/ 60 w 109"/>
                  <a:gd name="T43" fmla="*/ 14 h 268"/>
                  <a:gd name="T44" fmla="*/ 46 w 109"/>
                  <a:gd name="T45" fmla="*/ 6 h 268"/>
                  <a:gd name="T46" fmla="*/ 48 w 109"/>
                  <a:gd name="T47" fmla="*/ 20 h 268"/>
                  <a:gd name="T48" fmla="*/ 30 w 109"/>
                  <a:gd name="T49" fmla="*/ 24 h 268"/>
                  <a:gd name="T50" fmla="*/ 24 w 109"/>
                  <a:gd name="T51" fmla="*/ 32 h 268"/>
                  <a:gd name="T52" fmla="*/ 21 w 109"/>
                  <a:gd name="T53" fmla="*/ 49 h 268"/>
                  <a:gd name="T54" fmla="*/ 6 w 109"/>
                  <a:gd name="T55" fmla="*/ 67 h 268"/>
                  <a:gd name="T56" fmla="*/ 9 w 109"/>
                  <a:gd name="T57" fmla="*/ 90 h 268"/>
                  <a:gd name="T58" fmla="*/ 0 w 109"/>
                  <a:gd name="T59" fmla="*/ 103 h 268"/>
                  <a:gd name="T60" fmla="*/ 6 w 109"/>
                  <a:gd name="T61" fmla="*/ 116 h 268"/>
                  <a:gd name="T62" fmla="*/ 9 w 109"/>
                  <a:gd name="T63" fmla="*/ 122 h 268"/>
                  <a:gd name="T64" fmla="*/ 13 w 109"/>
                  <a:gd name="T65" fmla="*/ 122 h 268"/>
                  <a:gd name="T66" fmla="*/ 22 w 109"/>
                  <a:gd name="T67" fmla="*/ 130 h 268"/>
                  <a:gd name="T68" fmla="*/ 28 w 109"/>
                  <a:gd name="T69" fmla="*/ 143 h 268"/>
                  <a:gd name="T70" fmla="*/ 36 w 109"/>
                  <a:gd name="T71" fmla="*/ 163 h 268"/>
                  <a:gd name="T72" fmla="*/ 40 w 109"/>
                  <a:gd name="T73" fmla="*/ 174 h 268"/>
                  <a:gd name="T74" fmla="*/ 41 w 109"/>
                  <a:gd name="T75" fmla="*/ 181 h 268"/>
                  <a:gd name="T76" fmla="*/ 46 w 109"/>
                  <a:gd name="T77" fmla="*/ 184 h 268"/>
                  <a:gd name="T78" fmla="*/ 51 w 109"/>
                  <a:gd name="T79" fmla="*/ 184 h 268"/>
                  <a:gd name="T80" fmla="*/ 59 w 109"/>
                  <a:gd name="T81" fmla="*/ 178 h 268"/>
                  <a:gd name="T82" fmla="*/ 65 w 109"/>
                  <a:gd name="T83" fmla="*/ 171 h 268"/>
                  <a:gd name="T84" fmla="*/ 71 w 109"/>
                  <a:gd name="T85" fmla="*/ 170 h 268"/>
                  <a:gd name="T86" fmla="*/ 79 w 109"/>
                  <a:gd name="T87" fmla="*/ 192 h 268"/>
                  <a:gd name="T88" fmla="*/ 86 w 109"/>
                  <a:gd name="T89" fmla="*/ 214 h 268"/>
                  <a:gd name="T90" fmla="*/ 95 w 109"/>
                  <a:gd name="T91" fmla="*/ 230 h 268"/>
                  <a:gd name="T92" fmla="*/ 95 w 109"/>
                  <a:gd name="T93" fmla="*/ 240 h 268"/>
                  <a:gd name="T94" fmla="*/ 97 w 109"/>
                  <a:gd name="T95" fmla="*/ 244 h 268"/>
                  <a:gd name="T96" fmla="*/ 95 w 109"/>
                  <a:gd name="T97" fmla="*/ 265 h 268"/>
                  <a:gd name="T98" fmla="*/ 106 w 109"/>
                  <a:gd name="T99" fmla="*/ 243 h 268"/>
                  <a:gd name="T100" fmla="*/ 100 w 109"/>
                  <a:gd name="T101" fmla="*/ 214 h 268"/>
                  <a:gd name="T102" fmla="*/ 87 w 109"/>
                  <a:gd name="T103" fmla="*/ 192 h 268"/>
                  <a:gd name="T104" fmla="*/ 90 w 109"/>
                  <a:gd name="T105" fmla="*/ 181 h 268"/>
                  <a:gd name="T106" fmla="*/ 81 w 109"/>
                  <a:gd name="T107" fmla="*/ 162 h 268"/>
                  <a:gd name="T108" fmla="*/ 71 w 109"/>
                  <a:gd name="T109" fmla="*/ 149 h 268"/>
                  <a:gd name="T110" fmla="*/ 75 w 109"/>
                  <a:gd name="T111" fmla="*/ 135 h 268"/>
                  <a:gd name="T112" fmla="*/ 87 w 109"/>
                  <a:gd name="T113" fmla="*/ 125 h 268"/>
                  <a:gd name="T114" fmla="*/ 97 w 109"/>
                  <a:gd name="T115" fmla="*/ 117 h 268"/>
                  <a:gd name="T116" fmla="*/ 103 w 109"/>
                  <a:gd name="T117" fmla="*/ 111 h 268"/>
                  <a:gd name="T118" fmla="*/ 109 w 109"/>
                  <a:gd name="T119" fmla="*/ 98 h 268"/>
                  <a:gd name="T120" fmla="*/ 106 w 109"/>
                  <a:gd name="T121" fmla="*/ 101 h 268"/>
                  <a:gd name="T122" fmla="*/ 13 w 109"/>
                  <a:gd name="T123" fmla="*/ 117 h 268"/>
                  <a:gd name="T124" fmla="*/ 13 w 109"/>
                  <a:gd name="T125" fmla="*/ 11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 h="268">
                    <a:moveTo>
                      <a:pt x="21" y="133"/>
                    </a:moveTo>
                    <a:lnTo>
                      <a:pt x="19" y="133"/>
                    </a:lnTo>
                    <a:lnTo>
                      <a:pt x="22" y="136"/>
                    </a:lnTo>
                    <a:lnTo>
                      <a:pt x="25" y="140"/>
                    </a:lnTo>
                    <a:lnTo>
                      <a:pt x="25" y="136"/>
                    </a:lnTo>
                    <a:lnTo>
                      <a:pt x="24" y="136"/>
                    </a:lnTo>
                    <a:lnTo>
                      <a:pt x="25" y="136"/>
                    </a:lnTo>
                    <a:lnTo>
                      <a:pt x="25" y="135"/>
                    </a:lnTo>
                    <a:lnTo>
                      <a:pt x="22" y="135"/>
                    </a:lnTo>
                    <a:lnTo>
                      <a:pt x="21" y="133"/>
                    </a:lnTo>
                    <a:lnTo>
                      <a:pt x="21" y="133"/>
                    </a:lnTo>
                    <a:lnTo>
                      <a:pt x="21" y="133"/>
                    </a:lnTo>
                    <a:lnTo>
                      <a:pt x="21" y="133"/>
                    </a:lnTo>
                    <a:lnTo>
                      <a:pt x="21" y="133"/>
                    </a:lnTo>
                    <a:lnTo>
                      <a:pt x="21" y="133"/>
                    </a:lnTo>
                    <a:lnTo>
                      <a:pt x="21" y="133"/>
                    </a:lnTo>
                    <a:lnTo>
                      <a:pt x="21" y="133"/>
                    </a:lnTo>
                    <a:lnTo>
                      <a:pt x="21" y="133"/>
                    </a:lnTo>
                    <a:close/>
                    <a:moveTo>
                      <a:pt x="40" y="184"/>
                    </a:moveTo>
                    <a:lnTo>
                      <a:pt x="40" y="181"/>
                    </a:lnTo>
                    <a:lnTo>
                      <a:pt x="40" y="184"/>
                    </a:lnTo>
                    <a:lnTo>
                      <a:pt x="40" y="184"/>
                    </a:lnTo>
                    <a:lnTo>
                      <a:pt x="40" y="184"/>
                    </a:lnTo>
                    <a:lnTo>
                      <a:pt x="40" y="184"/>
                    </a:lnTo>
                    <a:lnTo>
                      <a:pt x="40" y="184"/>
                    </a:lnTo>
                    <a:lnTo>
                      <a:pt x="40" y="184"/>
                    </a:lnTo>
                    <a:lnTo>
                      <a:pt x="40" y="184"/>
                    </a:lnTo>
                    <a:lnTo>
                      <a:pt x="40" y="184"/>
                    </a:lnTo>
                    <a:lnTo>
                      <a:pt x="40" y="184"/>
                    </a:lnTo>
                    <a:lnTo>
                      <a:pt x="40" y="184"/>
                    </a:lnTo>
                    <a:close/>
                    <a:moveTo>
                      <a:pt x="16" y="257"/>
                    </a:moveTo>
                    <a:lnTo>
                      <a:pt x="16" y="259"/>
                    </a:lnTo>
                    <a:lnTo>
                      <a:pt x="19" y="260"/>
                    </a:lnTo>
                    <a:lnTo>
                      <a:pt x="19" y="260"/>
                    </a:lnTo>
                    <a:lnTo>
                      <a:pt x="19" y="259"/>
                    </a:lnTo>
                    <a:lnTo>
                      <a:pt x="19" y="257"/>
                    </a:lnTo>
                    <a:lnTo>
                      <a:pt x="19" y="255"/>
                    </a:lnTo>
                    <a:lnTo>
                      <a:pt x="16" y="257"/>
                    </a:lnTo>
                    <a:lnTo>
                      <a:pt x="16" y="257"/>
                    </a:lnTo>
                    <a:lnTo>
                      <a:pt x="16" y="257"/>
                    </a:lnTo>
                    <a:lnTo>
                      <a:pt x="16" y="257"/>
                    </a:lnTo>
                    <a:lnTo>
                      <a:pt x="16" y="257"/>
                    </a:lnTo>
                    <a:lnTo>
                      <a:pt x="16" y="257"/>
                    </a:lnTo>
                    <a:lnTo>
                      <a:pt x="16" y="257"/>
                    </a:lnTo>
                    <a:lnTo>
                      <a:pt x="16" y="257"/>
                    </a:lnTo>
                    <a:lnTo>
                      <a:pt x="16" y="257"/>
                    </a:lnTo>
                    <a:close/>
                    <a:moveTo>
                      <a:pt x="19" y="221"/>
                    </a:moveTo>
                    <a:lnTo>
                      <a:pt x="19" y="227"/>
                    </a:lnTo>
                    <a:lnTo>
                      <a:pt x="19" y="228"/>
                    </a:lnTo>
                    <a:lnTo>
                      <a:pt x="19" y="230"/>
                    </a:lnTo>
                    <a:lnTo>
                      <a:pt x="21" y="236"/>
                    </a:lnTo>
                    <a:lnTo>
                      <a:pt x="21" y="233"/>
                    </a:lnTo>
                    <a:lnTo>
                      <a:pt x="22" y="233"/>
                    </a:lnTo>
                    <a:lnTo>
                      <a:pt x="22" y="230"/>
                    </a:lnTo>
                    <a:lnTo>
                      <a:pt x="22" y="228"/>
                    </a:lnTo>
                    <a:lnTo>
                      <a:pt x="21" y="225"/>
                    </a:lnTo>
                    <a:lnTo>
                      <a:pt x="22" y="222"/>
                    </a:lnTo>
                    <a:lnTo>
                      <a:pt x="22" y="221"/>
                    </a:lnTo>
                    <a:lnTo>
                      <a:pt x="21" y="221"/>
                    </a:lnTo>
                    <a:lnTo>
                      <a:pt x="22" y="217"/>
                    </a:lnTo>
                    <a:lnTo>
                      <a:pt x="22" y="216"/>
                    </a:lnTo>
                    <a:lnTo>
                      <a:pt x="21" y="219"/>
                    </a:lnTo>
                    <a:lnTo>
                      <a:pt x="19" y="221"/>
                    </a:lnTo>
                    <a:lnTo>
                      <a:pt x="19" y="221"/>
                    </a:lnTo>
                    <a:lnTo>
                      <a:pt x="19" y="221"/>
                    </a:lnTo>
                    <a:lnTo>
                      <a:pt x="19" y="221"/>
                    </a:lnTo>
                    <a:lnTo>
                      <a:pt x="19" y="221"/>
                    </a:lnTo>
                    <a:lnTo>
                      <a:pt x="19" y="221"/>
                    </a:lnTo>
                    <a:lnTo>
                      <a:pt x="19" y="221"/>
                    </a:lnTo>
                    <a:lnTo>
                      <a:pt x="19" y="221"/>
                    </a:lnTo>
                    <a:lnTo>
                      <a:pt x="19" y="221"/>
                    </a:lnTo>
                    <a:close/>
                    <a:moveTo>
                      <a:pt x="19" y="240"/>
                    </a:moveTo>
                    <a:lnTo>
                      <a:pt x="19" y="243"/>
                    </a:lnTo>
                    <a:lnTo>
                      <a:pt x="21" y="244"/>
                    </a:lnTo>
                    <a:lnTo>
                      <a:pt x="19" y="243"/>
                    </a:lnTo>
                    <a:lnTo>
                      <a:pt x="21" y="243"/>
                    </a:lnTo>
                    <a:lnTo>
                      <a:pt x="21" y="240"/>
                    </a:lnTo>
                    <a:lnTo>
                      <a:pt x="21" y="236"/>
                    </a:lnTo>
                    <a:lnTo>
                      <a:pt x="21" y="236"/>
                    </a:lnTo>
                    <a:lnTo>
                      <a:pt x="19" y="236"/>
                    </a:lnTo>
                    <a:lnTo>
                      <a:pt x="19" y="240"/>
                    </a:lnTo>
                    <a:lnTo>
                      <a:pt x="19" y="240"/>
                    </a:lnTo>
                    <a:lnTo>
                      <a:pt x="19" y="240"/>
                    </a:lnTo>
                    <a:lnTo>
                      <a:pt x="19" y="240"/>
                    </a:lnTo>
                    <a:lnTo>
                      <a:pt x="19" y="240"/>
                    </a:lnTo>
                    <a:lnTo>
                      <a:pt x="19" y="240"/>
                    </a:lnTo>
                    <a:lnTo>
                      <a:pt x="19" y="240"/>
                    </a:lnTo>
                    <a:lnTo>
                      <a:pt x="19" y="240"/>
                    </a:lnTo>
                    <a:lnTo>
                      <a:pt x="19" y="240"/>
                    </a:lnTo>
                    <a:close/>
                    <a:moveTo>
                      <a:pt x="106" y="101"/>
                    </a:moveTo>
                    <a:lnTo>
                      <a:pt x="103" y="103"/>
                    </a:lnTo>
                    <a:lnTo>
                      <a:pt x="100" y="103"/>
                    </a:lnTo>
                    <a:lnTo>
                      <a:pt x="100" y="103"/>
                    </a:lnTo>
                    <a:lnTo>
                      <a:pt x="98" y="103"/>
                    </a:lnTo>
                    <a:lnTo>
                      <a:pt x="98" y="101"/>
                    </a:lnTo>
                    <a:lnTo>
                      <a:pt x="98" y="100"/>
                    </a:lnTo>
                    <a:lnTo>
                      <a:pt x="97" y="98"/>
                    </a:lnTo>
                    <a:lnTo>
                      <a:pt x="95" y="98"/>
                    </a:lnTo>
                    <a:lnTo>
                      <a:pt x="95" y="97"/>
                    </a:lnTo>
                    <a:lnTo>
                      <a:pt x="95" y="95"/>
                    </a:lnTo>
                    <a:lnTo>
                      <a:pt x="95" y="94"/>
                    </a:lnTo>
                    <a:lnTo>
                      <a:pt x="90" y="94"/>
                    </a:lnTo>
                    <a:lnTo>
                      <a:pt x="86" y="94"/>
                    </a:lnTo>
                    <a:lnTo>
                      <a:pt x="84" y="94"/>
                    </a:lnTo>
                    <a:lnTo>
                      <a:pt x="84" y="92"/>
                    </a:lnTo>
                    <a:lnTo>
                      <a:pt x="86" y="87"/>
                    </a:lnTo>
                    <a:lnTo>
                      <a:pt x="86" y="84"/>
                    </a:lnTo>
                    <a:lnTo>
                      <a:pt x="86" y="84"/>
                    </a:lnTo>
                    <a:lnTo>
                      <a:pt x="87" y="81"/>
                    </a:lnTo>
                    <a:lnTo>
                      <a:pt x="86" y="81"/>
                    </a:lnTo>
                    <a:lnTo>
                      <a:pt x="82" y="79"/>
                    </a:lnTo>
                    <a:lnTo>
                      <a:pt x="79" y="79"/>
                    </a:lnTo>
                    <a:lnTo>
                      <a:pt x="79" y="78"/>
                    </a:lnTo>
                    <a:lnTo>
                      <a:pt x="78" y="74"/>
                    </a:lnTo>
                    <a:lnTo>
                      <a:pt x="76" y="73"/>
                    </a:lnTo>
                    <a:lnTo>
                      <a:pt x="76" y="71"/>
                    </a:lnTo>
                    <a:lnTo>
                      <a:pt x="75" y="68"/>
                    </a:lnTo>
                    <a:lnTo>
                      <a:pt x="75" y="67"/>
                    </a:lnTo>
                    <a:lnTo>
                      <a:pt x="76" y="63"/>
                    </a:lnTo>
                    <a:lnTo>
                      <a:pt x="75" y="65"/>
                    </a:lnTo>
                    <a:lnTo>
                      <a:pt x="71" y="65"/>
                    </a:lnTo>
                    <a:lnTo>
                      <a:pt x="68" y="65"/>
                    </a:lnTo>
                    <a:lnTo>
                      <a:pt x="68" y="65"/>
                    </a:lnTo>
                    <a:lnTo>
                      <a:pt x="65" y="67"/>
                    </a:lnTo>
                    <a:lnTo>
                      <a:pt x="62" y="68"/>
                    </a:lnTo>
                    <a:lnTo>
                      <a:pt x="62" y="67"/>
                    </a:lnTo>
                    <a:lnTo>
                      <a:pt x="62" y="65"/>
                    </a:lnTo>
                    <a:lnTo>
                      <a:pt x="62" y="62"/>
                    </a:lnTo>
                    <a:lnTo>
                      <a:pt x="62" y="60"/>
                    </a:lnTo>
                    <a:lnTo>
                      <a:pt x="60" y="59"/>
                    </a:lnTo>
                    <a:lnTo>
                      <a:pt x="59" y="59"/>
                    </a:lnTo>
                    <a:lnTo>
                      <a:pt x="59" y="55"/>
                    </a:lnTo>
                    <a:lnTo>
                      <a:pt x="62" y="55"/>
                    </a:lnTo>
                    <a:lnTo>
                      <a:pt x="60" y="52"/>
                    </a:lnTo>
                    <a:lnTo>
                      <a:pt x="62" y="49"/>
                    </a:lnTo>
                    <a:lnTo>
                      <a:pt x="63" y="49"/>
                    </a:lnTo>
                    <a:lnTo>
                      <a:pt x="63" y="46"/>
                    </a:lnTo>
                    <a:lnTo>
                      <a:pt x="65" y="44"/>
                    </a:lnTo>
                    <a:lnTo>
                      <a:pt x="65" y="44"/>
                    </a:lnTo>
                    <a:lnTo>
                      <a:pt x="65" y="43"/>
                    </a:lnTo>
                    <a:lnTo>
                      <a:pt x="65" y="41"/>
                    </a:lnTo>
                    <a:lnTo>
                      <a:pt x="68" y="40"/>
                    </a:lnTo>
                    <a:lnTo>
                      <a:pt x="68" y="40"/>
                    </a:lnTo>
                    <a:lnTo>
                      <a:pt x="71" y="40"/>
                    </a:lnTo>
                    <a:lnTo>
                      <a:pt x="68" y="38"/>
                    </a:lnTo>
                    <a:lnTo>
                      <a:pt x="68" y="36"/>
                    </a:lnTo>
                    <a:lnTo>
                      <a:pt x="68" y="36"/>
                    </a:lnTo>
                    <a:lnTo>
                      <a:pt x="68" y="35"/>
                    </a:lnTo>
                    <a:lnTo>
                      <a:pt x="68" y="32"/>
                    </a:lnTo>
                    <a:lnTo>
                      <a:pt x="68" y="24"/>
                    </a:lnTo>
                    <a:lnTo>
                      <a:pt x="65" y="17"/>
                    </a:lnTo>
                    <a:lnTo>
                      <a:pt x="65" y="14"/>
                    </a:lnTo>
                    <a:lnTo>
                      <a:pt x="62" y="14"/>
                    </a:lnTo>
                    <a:lnTo>
                      <a:pt x="60" y="14"/>
                    </a:lnTo>
                    <a:lnTo>
                      <a:pt x="57" y="9"/>
                    </a:lnTo>
                    <a:lnTo>
                      <a:pt x="57" y="8"/>
                    </a:lnTo>
                    <a:lnTo>
                      <a:pt x="55" y="6"/>
                    </a:lnTo>
                    <a:lnTo>
                      <a:pt x="52" y="3"/>
                    </a:lnTo>
                    <a:lnTo>
                      <a:pt x="48" y="0"/>
                    </a:lnTo>
                    <a:lnTo>
                      <a:pt x="48" y="5"/>
                    </a:lnTo>
                    <a:lnTo>
                      <a:pt x="46" y="6"/>
                    </a:lnTo>
                    <a:lnTo>
                      <a:pt x="46" y="8"/>
                    </a:lnTo>
                    <a:lnTo>
                      <a:pt x="48" y="9"/>
                    </a:lnTo>
                    <a:lnTo>
                      <a:pt x="44" y="13"/>
                    </a:lnTo>
                    <a:lnTo>
                      <a:pt x="43" y="14"/>
                    </a:lnTo>
                    <a:lnTo>
                      <a:pt x="44" y="17"/>
                    </a:lnTo>
                    <a:lnTo>
                      <a:pt x="46" y="20"/>
                    </a:lnTo>
                    <a:lnTo>
                      <a:pt x="48" y="20"/>
                    </a:lnTo>
                    <a:lnTo>
                      <a:pt x="44" y="20"/>
                    </a:lnTo>
                    <a:lnTo>
                      <a:pt x="43" y="20"/>
                    </a:lnTo>
                    <a:lnTo>
                      <a:pt x="43" y="17"/>
                    </a:lnTo>
                    <a:lnTo>
                      <a:pt x="41" y="17"/>
                    </a:lnTo>
                    <a:lnTo>
                      <a:pt x="36" y="20"/>
                    </a:lnTo>
                    <a:lnTo>
                      <a:pt x="33" y="20"/>
                    </a:lnTo>
                    <a:lnTo>
                      <a:pt x="30" y="24"/>
                    </a:lnTo>
                    <a:lnTo>
                      <a:pt x="30" y="24"/>
                    </a:lnTo>
                    <a:lnTo>
                      <a:pt x="28" y="25"/>
                    </a:lnTo>
                    <a:lnTo>
                      <a:pt x="28" y="27"/>
                    </a:lnTo>
                    <a:lnTo>
                      <a:pt x="27" y="27"/>
                    </a:lnTo>
                    <a:lnTo>
                      <a:pt x="25" y="27"/>
                    </a:lnTo>
                    <a:lnTo>
                      <a:pt x="24" y="28"/>
                    </a:lnTo>
                    <a:lnTo>
                      <a:pt x="24" y="32"/>
                    </a:lnTo>
                    <a:lnTo>
                      <a:pt x="24" y="33"/>
                    </a:lnTo>
                    <a:lnTo>
                      <a:pt x="25" y="36"/>
                    </a:lnTo>
                    <a:lnTo>
                      <a:pt x="25" y="40"/>
                    </a:lnTo>
                    <a:lnTo>
                      <a:pt x="24" y="43"/>
                    </a:lnTo>
                    <a:lnTo>
                      <a:pt x="22" y="44"/>
                    </a:lnTo>
                    <a:lnTo>
                      <a:pt x="21" y="46"/>
                    </a:lnTo>
                    <a:lnTo>
                      <a:pt x="21" y="49"/>
                    </a:lnTo>
                    <a:lnTo>
                      <a:pt x="22" y="52"/>
                    </a:lnTo>
                    <a:lnTo>
                      <a:pt x="21" y="60"/>
                    </a:lnTo>
                    <a:lnTo>
                      <a:pt x="19" y="68"/>
                    </a:lnTo>
                    <a:lnTo>
                      <a:pt x="13" y="67"/>
                    </a:lnTo>
                    <a:lnTo>
                      <a:pt x="9" y="67"/>
                    </a:lnTo>
                    <a:lnTo>
                      <a:pt x="9" y="67"/>
                    </a:lnTo>
                    <a:lnTo>
                      <a:pt x="6" y="67"/>
                    </a:lnTo>
                    <a:lnTo>
                      <a:pt x="9" y="76"/>
                    </a:lnTo>
                    <a:lnTo>
                      <a:pt x="9" y="79"/>
                    </a:lnTo>
                    <a:lnTo>
                      <a:pt x="9" y="81"/>
                    </a:lnTo>
                    <a:lnTo>
                      <a:pt x="6" y="81"/>
                    </a:lnTo>
                    <a:lnTo>
                      <a:pt x="6" y="84"/>
                    </a:lnTo>
                    <a:lnTo>
                      <a:pt x="9" y="89"/>
                    </a:lnTo>
                    <a:lnTo>
                      <a:pt x="9" y="90"/>
                    </a:lnTo>
                    <a:lnTo>
                      <a:pt x="9" y="92"/>
                    </a:lnTo>
                    <a:lnTo>
                      <a:pt x="6" y="92"/>
                    </a:lnTo>
                    <a:lnTo>
                      <a:pt x="6" y="95"/>
                    </a:lnTo>
                    <a:lnTo>
                      <a:pt x="5" y="92"/>
                    </a:lnTo>
                    <a:lnTo>
                      <a:pt x="3" y="95"/>
                    </a:lnTo>
                    <a:lnTo>
                      <a:pt x="2" y="90"/>
                    </a:lnTo>
                    <a:lnTo>
                      <a:pt x="0" y="103"/>
                    </a:lnTo>
                    <a:lnTo>
                      <a:pt x="0" y="103"/>
                    </a:lnTo>
                    <a:lnTo>
                      <a:pt x="0" y="103"/>
                    </a:lnTo>
                    <a:lnTo>
                      <a:pt x="0" y="108"/>
                    </a:lnTo>
                    <a:lnTo>
                      <a:pt x="0" y="111"/>
                    </a:lnTo>
                    <a:lnTo>
                      <a:pt x="2" y="111"/>
                    </a:lnTo>
                    <a:lnTo>
                      <a:pt x="3" y="114"/>
                    </a:lnTo>
                    <a:lnTo>
                      <a:pt x="6" y="116"/>
                    </a:lnTo>
                    <a:lnTo>
                      <a:pt x="6" y="119"/>
                    </a:lnTo>
                    <a:lnTo>
                      <a:pt x="6" y="117"/>
                    </a:lnTo>
                    <a:lnTo>
                      <a:pt x="6" y="114"/>
                    </a:lnTo>
                    <a:lnTo>
                      <a:pt x="9" y="117"/>
                    </a:lnTo>
                    <a:lnTo>
                      <a:pt x="9" y="119"/>
                    </a:lnTo>
                    <a:lnTo>
                      <a:pt x="9" y="120"/>
                    </a:lnTo>
                    <a:lnTo>
                      <a:pt x="9" y="122"/>
                    </a:lnTo>
                    <a:lnTo>
                      <a:pt x="11" y="120"/>
                    </a:lnTo>
                    <a:lnTo>
                      <a:pt x="13" y="120"/>
                    </a:lnTo>
                    <a:lnTo>
                      <a:pt x="13" y="124"/>
                    </a:lnTo>
                    <a:lnTo>
                      <a:pt x="13" y="125"/>
                    </a:lnTo>
                    <a:lnTo>
                      <a:pt x="13" y="124"/>
                    </a:lnTo>
                    <a:lnTo>
                      <a:pt x="16" y="127"/>
                    </a:lnTo>
                    <a:lnTo>
                      <a:pt x="13" y="122"/>
                    </a:lnTo>
                    <a:lnTo>
                      <a:pt x="16" y="122"/>
                    </a:lnTo>
                    <a:lnTo>
                      <a:pt x="16" y="124"/>
                    </a:lnTo>
                    <a:lnTo>
                      <a:pt x="19" y="125"/>
                    </a:lnTo>
                    <a:lnTo>
                      <a:pt x="19" y="125"/>
                    </a:lnTo>
                    <a:lnTo>
                      <a:pt x="19" y="127"/>
                    </a:lnTo>
                    <a:lnTo>
                      <a:pt x="22" y="128"/>
                    </a:lnTo>
                    <a:lnTo>
                      <a:pt x="22" y="130"/>
                    </a:lnTo>
                    <a:lnTo>
                      <a:pt x="24" y="132"/>
                    </a:lnTo>
                    <a:lnTo>
                      <a:pt x="25" y="133"/>
                    </a:lnTo>
                    <a:lnTo>
                      <a:pt x="27" y="136"/>
                    </a:lnTo>
                    <a:lnTo>
                      <a:pt x="27" y="140"/>
                    </a:lnTo>
                    <a:lnTo>
                      <a:pt x="27" y="140"/>
                    </a:lnTo>
                    <a:lnTo>
                      <a:pt x="30" y="143"/>
                    </a:lnTo>
                    <a:lnTo>
                      <a:pt x="28" y="143"/>
                    </a:lnTo>
                    <a:lnTo>
                      <a:pt x="30" y="146"/>
                    </a:lnTo>
                    <a:lnTo>
                      <a:pt x="30" y="149"/>
                    </a:lnTo>
                    <a:lnTo>
                      <a:pt x="33" y="151"/>
                    </a:lnTo>
                    <a:lnTo>
                      <a:pt x="33" y="155"/>
                    </a:lnTo>
                    <a:lnTo>
                      <a:pt x="36" y="160"/>
                    </a:lnTo>
                    <a:lnTo>
                      <a:pt x="36" y="162"/>
                    </a:lnTo>
                    <a:lnTo>
                      <a:pt x="36" y="163"/>
                    </a:lnTo>
                    <a:lnTo>
                      <a:pt x="33" y="167"/>
                    </a:lnTo>
                    <a:lnTo>
                      <a:pt x="33" y="170"/>
                    </a:lnTo>
                    <a:lnTo>
                      <a:pt x="33" y="178"/>
                    </a:lnTo>
                    <a:lnTo>
                      <a:pt x="33" y="181"/>
                    </a:lnTo>
                    <a:lnTo>
                      <a:pt x="33" y="181"/>
                    </a:lnTo>
                    <a:lnTo>
                      <a:pt x="36" y="178"/>
                    </a:lnTo>
                    <a:lnTo>
                      <a:pt x="40" y="174"/>
                    </a:lnTo>
                    <a:lnTo>
                      <a:pt x="40" y="178"/>
                    </a:lnTo>
                    <a:lnTo>
                      <a:pt x="36" y="181"/>
                    </a:lnTo>
                    <a:lnTo>
                      <a:pt x="40" y="181"/>
                    </a:lnTo>
                    <a:lnTo>
                      <a:pt x="40" y="178"/>
                    </a:lnTo>
                    <a:lnTo>
                      <a:pt x="40" y="181"/>
                    </a:lnTo>
                    <a:lnTo>
                      <a:pt x="43" y="178"/>
                    </a:lnTo>
                    <a:lnTo>
                      <a:pt x="41" y="181"/>
                    </a:lnTo>
                    <a:lnTo>
                      <a:pt x="41" y="184"/>
                    </a:lnTo>
                    <a:lnTo>
                      <a:pt x="43" y="184"/>
                    </a:lnTo>
                    <a:lnTo>
                      <a:pt x="43" y="184"/>
                    </a:lnTo>
                    <a:lnTo>
                      <a:pt x="44" y="181"/>
                    </a:lnTo>
                    <a:lnTo>
                      <a:pt x="44" y="181"/>
                    </a:lnTo>
                    <a:lnTo>
                      <a:pt x="46" y="184"/>
                    </a:lnTo>
                    <a:lnTo>
                      <a:pt x="46" y="184"/>
                    </a:lnTo>
                    <a:lnTo>
                      <a:pt x="46" y="181"/>
                    </a:lnTo>
                    <a:lnTo>
                      <a:pt x="48" y="181"/>
                    </a:lnTo>
                    <a:lnTo>
                      <a:pt x="48" y="184"/>
                    </a:lnTo>
                    <a:lnTo>
                      <a:pt x="48" y="184"/>
                    </a:lnTo>
                    <a:lnTo>
                      <a:pt x="48" y="186"/>
                    </a:lnTo>
                    <a:lnTo>
                      <a:pt x="49" y="184"/>
                    </a:lnTo>
                    <a:lnTo>
                      <a:pt x="51" y="184"/>
                    </a:lnTo>
                    <a:lnTo>
                      <a:pt x="52" y="178"/>
                    </a:lnTo>
                    <a:lnTo>
                      <a:pt x="54" y="178"/>
                    </a:lnTo>
                    <a:lnTo>
                      <a:pt x="55" y="178"/>
                    </a:lnTo>
                    <a:lnTo>
                      <a:pt x="55" y="178"/>
                    </a:lnTo>
                    <a:lnTo>
                      <a:pt x="55" y="174"/>
                    </a:lnTo>
                    <a:lnTo>
                      <a:pt x="57" y="178"/>
                    </a:lnTo>
                    <a:lnTo>
                      <a:pt x="59" y="178"/>
                    </a:lnTo>
                    <a:lnTo>
                      <a:pt x="59" y="174"/>
                    </a:lnTo>
                    <a:lnTo>
                      <a:pt x="59" y="174"/>
                    </a:lnTo>
                    <a:lnTo>
                      <a:pt x="57" y="171"/>
                    </a:lnTo>
                    <a:lnTo>
                      <a:pt x="59" y="171"/>
                    </a:lnTo>
                    <a:lnTo>
                      <a:pt x="62" y="174"/>
                    </a:lnTo>
                    <a:lnTo>
                      <a:pt x="63" y="171"/>
                    </a:lnTo>
                    <a:lnTo>
                      <a:pt x="65" y="171"/>
                    </a:lnTo>
                    <a:lnTo>
                      <a:pt x="65" y="168"/>
                    </a:lnTo>
                    <a:lnTo>
                      <a:pt x="65" y="165"/>
                    </a:lnTo>
                    <a:lnTo>
                      <a:pt x="65" y="160"/>
                    </a:lnTo>
                    <a:lnTo>
                      <a:pt x="68" y="163"/>
                    </a:lnTo>
                    <a:lnTo>
                      <a:pt x="68" y="165"/>
                    </a:lnTo>
                    <a:lnTo>
                      <a:pt x="68" y="165"/>
                    </a:lnTo>
                    <a:lnTo>
                      <a:pt x="71" y="170"/>
                    </a:lnTo>
                    <a:lnTo>
                      <a:pt x="71" y="174"/>
                    </a:lnTo>
                    <a:lnTo>
                      <a:pt x="75" y="174"/>
                    </a:lnTo>
                    <a:lnTo>
                      <a:pt x="75" y="174"/>
                    </a:lnTo>
                    <a:lnTo>
                      <a:pt x="76" y="178"/>
                    </a:lnTo>
                    <a:lnTo>
                      <a:pt x="76" y="181"/>
                    </a:lnTo>
                    <a:lnTo>
                      <a:pt x="78" y="184"/>
                    </a:lnTo>
                    <a:lnTo>
                      <a:pt x="79" y="192"/>
                    </a:lnTo>
                    <a:lnTo>
                      <a:pt x="81" y="200"/>
                    </a:lnTo>
                    <a:lnTo>
                      <a:pt x="82" y="200"/>
                    </a:lnTo>
                    <a:lnTo>
                      <a:pt x="82" y="201"/>
                    </a:lnTo>
                    <a:lnTo>
                      <a:pt x="82" y="201"/>
                    </a:lnTo>
                    <a:lnTo>
                      <a:pt x="86" y="208"/>
                    </a:lnTo>
                    <a:lnTo>
                      <a:pt x="86" y="213"/>
                    </a:lnTo>
                    <a:lnTo>
                      <a:pt x="86" y="214"/>
                    </a:lnTo>
                    <a:lnTo>
                      <a:pt x="86" y="216"/>
                    </a:lnTo>
                    <a:lnTo>
                      <a:pt x="87" y="213"/>
                    </a:lnTo>
                    <a:lnTo>
                      <a:pt x="89" y="216"/>
                    </a:lnTo>
                    <a:lnTo>
                      <a:pt x="92" y="222"/>
                    </a:lnTo>
                    <a:lnTo>
                      <a:pt x="94" y="228"/>
                    </a:lnTo>
                    <a:lnTo>
                      <a:pt x="94" y="230"/>
                    </a:lnTo>
                    <a:lnTo>
                      <a:pt x="95" y="230"/>
                    </a:lnTo>
                    <a:lnTo>
                      <a:pt x="94" y="233"/>
                    </a:lnTo>
                    <a:lnTo>
                      <a:pt x="95" y="233"/>
                    </a:lnTo>
                    <a:lnTo>
                      <a:pt x="94" y="233"/>
                    </a:lnTo>
                    <a:lnTo>
                      <a:pt x="94" y="236"/>
                    </a:lnTo>
                    <a:lnTo>
                      <a:pt x="95" y="236"/>
                    </a:lnTo>
                    <a:lnTo>
                      <a:pt x="95" y="236"/>
                    </a:lnTo>
                    <a:lnTo>
                      <a:pt x="95" y="240"/>
                    </a:lnTo>
                    <a:lnTo>
                      <a:pt x="95" y="240"/>
                    </a:lnTo>
                    <a:lnTo>
                      <a:pt x="95" y="241"/>
                    </a:lnTo>
                    <a:lnTo>
                      <a:pt x="95" y="243"/>
                    </a:lnTo>
                    <a:lnTo>
                      <a:pt x="98" y="241"/>
                    </a:lnTo>
                    <a:lnTo>
                      <a:pt x="98" y="243"/>
                    </a:lnTo>
                    <a:lnTo>
                      <a:pt x="97" y="243"/>
                    </a:lnTo>
                    <a:lnTo>
                      <a:pt x="97" y="244"/>
                    </a:lnTo>
                    <a:lnTo>
                      <a:pt x="97" y="248"/>
                    </a:lnTo>
                    <a:lnTo>
                      <a:pt x="97" y="252"/>
                    </a:lnTo>
                    <a:lnTo>
                      <a:pt x="95" y="255"/>
                    </a:lnTo>
                    <a:lnTo>
                      <a:pt x="95" y="257"/>
                    </a:lnTo>
                    <a:lnTo>
                      <a:pt x="94" y="259"/>
                    </a:lnTo>
                    <a:lnTo>
                      <a:pt x="95" y="260"/>
                    </a:lnTo>
                    <a:lnTo>
                      <a:pt x="95" y="265"/>
                    </a:lnTo>
                    <a:lnTo>
                      <a:pt x="97" y="268"/>
                    </a:lnTo>
                    <a:lnTo>
                      <a:pt x="98" y="262"/>
                    </a:lnTo>
                    <a:lnTo>
                      <a:pt x="100" y="260"/>
                    </a:lnTo>
                    <a:lnTo>
                      <a:pt x="100" y="257"/>
                    </a:lnTo>
                    <a:lnTo>
                      <a:pt x="103" y="249"/>
                    </a:lnTo>
                    <a:lnTo>
                      <a:pt x="106" y="244"/>
                    </a:lnTo>
                    <a:lnTo>
                      <a:pt x="106" y="243"/>
                    </a:lnTo>
                    <a:lnTo>
                      <a:pt x="106" y="241"/>
                    </a:lnTo>
                    <a:lnTo>
                      <a:pt x="106" y="233"/>
                    </a:lnTo>
                    <a:lnTo>
                      <a:pt x="103" y="230"/>
                    </a:lnTo>
                    <a:lnTo>
                      <a:pt x="100" y="225"/>
                    </a:lnTo>
                    <a:lnTo>
                      <a:pt x="100" y="222"/>
                    </a:lnTo>
                    <a:lnTo>
                      <a:pt x="100" y="221"/>
                    </a:lnTo>
                    <a:lnTo>
                      <a:pt x="100" y="214"/>
                    </a:lnTo>
                    <a:lnTo>
                      <a:pt x="97" y="209"/>
                    </a:lnTo>
                    <a:lnTo>
                      <a:pt x="92" y="205"/>
                    </a:lnTo>
                    <a:lnTo>
                      <a:pt x="87" y="200"/>
                    </a:lnTo>
                    <a:lnTo>
                      <a:pt x="86" y="197"/>
                    </a:lnTo>
                    <a:lnTo>
                      <a:pt x="86" y="194"/>
                    </a:lnTo>
                    <a:lnTo>
                      <a:pt x="86" y="192"/>
                    </a:lnTo>
                    <a:lnTo>
                      <a:pt x="87" y="192"/>
                    </a:lnTo>
                    <a:lnTo>
                      <a:pt x="87" y="190"/>
                    </a:lnTo>
                    <a:lnTo>
                      <a:pt x="89" y="190"/>
                    </a:lnTo>
                    <a:lnTo>
                      <a:pt x="89" y="189"/>
                    </a:lnTo>
                    <a:lnTo>
                      <a:pt x="89" y="184"/>
                    </a:lnTo>
                    <a:lnTo>
                      <a:pt x="89" y="181"/>
                    </a:lnTo>
                    <a:lnTo>
                      <a:pt x="89" y="181"/>
                    </a:lnTo>
                    <a:lnTo>
                      <a:pt x="90" y="181"/>
                    </a:lnTo>
                    <a:lnTo>
                      <a:pt x="92" y="178"/>
                    </a:lnTo>
                    <a:lnTo>
                      <a:pt x="92" y="174"/>
                    </a:lnTo>
                    <a:lnTo>
                      <a:pt x="90" y="178"/>
                    </a:lnTo>
                    <a:lnTo>
                      <a:pt x="87" y="174"/>
                    </a:lnTo>
                    <a:lnTo>
                      <a:pt x="86" y="170"/>
                    </a:lnTo>
                    <a:lnTo>
                      <a:pt x="84" y="165"/>
                    </a:lnTo>
                    <a:lnTo>
                      <a:pt x="81" y="162"/>
                    </a:lnTo>
                    <a:lnTo>
                      <a:pt x="76" y="159"/>
                    </a:lnTo>
                    <a:lnTo>
                      <a:pt x="75" y="155"/>
                    </a:lnTo>
                    <a:lnTo>
                      <a:pt x="75" y="152"/>
                    </a:lnTo>
                    <a:lnTo>
                      <a:pt x="75" y="151"/>
                    </a:lnTo>
                    <a:lnTo>
                      <a:pt x="75" y="149"/>
                    </a:lnTo>
                    <a:lnTo>
                      <a:pt x="71" y="149"/>
                    </a:lnTo>
                    <a:lnTo>
                      <a:pt x="71" y="149"/>
                    </a:lnTo>
                    <a:lnTo>
                      <a:pt x="71" y="146"/>
                    </a:lnTo>
                    <a:lnTo>
                      <a:pt x="68" y="143"/>
                    </a:lnTo>
                    <a:lnTo>
                      <a:pt x="71" y="146"/>
                    </a:lnTo>
                    <a:lnTo>
                      <a:pt x="75" y="143"/>
                    </a:lnTo>
                    <a:lnTo>
                      <a:pt x="75" y="143"/>
                    </a:lnTo>
                    <a:lnTo>
                      <a:pt x="71" y="140"/>
                    </a:lnTo>
                    <a:lnTo>
                      <a:pt x="75" y="135"/>
                    </a:lnTo>
                    <a:lnTo>
                      <a:pt x="71" y="133"/>
                    </a:lnTo>
                    <a:lnTo>
                      <a:pt x="75" y="128"/>
                    </a:lnTo>
                    <a:lnTo>
                      <a:pt x="75" y="127"/>
                    </a:lnTo>
                    <a:lnTo>
                      <a:pt x="81" y="128"/>
                    </a:lnTo>
                    <a:lnTo>
                      <a:pt x="82" y="127"/>
                    </a:lnTo>
                    <a:lnTo>
                      <a:pt x="86" y="127"/>
                    </a:lnTo>
                    <a:lnTo>
                      <a:pt x="87" y="125"/>
                    </a:lnTo>
                    <a:lnTo>
                      <a:pt x="87" y="124"/>
                    </a:lnTo>
                    <a:lnTo>
                      <a:pt x="87" y="122"/>
                    </a:lnTo>
                    <a:lnTo>
                      <a:pt x="89" y="122"/>
                    </a:lnTo>
                    <a:lnTo>
                      <a:pt x="92" y="122"/>
                    </a:lnTo>
                    <a:lnTo>
                      <a:pt x="94" y="120"/>
                    </a:lnTo>
                    <a:lnTo>
                      <a:pt x="92" y="119"/>
                    </a:lnTo>
                    <a:lnTo>
                      <a:pt x="97" y="117"/>
                    </a:lnTo>
                    <a:lnTo>
                      <a:pt x="97" y="117"/>
                    </a:lnTo>
                    <a:lnTo>
                      <a:pt x="98" y="117"/>
                    </a:lnTo>
                    <a:lnTo>
                      <a:pt x="100" y="119"/>
                    </a:lnTo>
                    <a:lnTo>
                      <a:pt x="100" y="116"/>
                    </a:lnTo>
                    <a:lnTo>
                      <a:pt x="100" y="114"/>
                    </a:lnTo>
                    <a:lnTo>
                      <a:pt x="100" y="114"/>
                    </a:lnTo>
                    <a:lnTo>
                      <a:pt x="103" y="111"/>
                    </a:lnTo>
                    <a:lnTo>
                      <a:pt x="106" y="111"/>
                    </a:lnTo>
                    <a:lnTo>
                      <a:pt x="103" y="111"/>
                    </a:lnTo>
                    <a:lnTo>
                      <a:pt x="103" y="108"/>
                    </a:lnTo>
                    <a:lnTo>
                      <a:pt x="106" y="105"/>
                    </a:lnTo>
                    <a:lnTo>
                      <a:pt x="109" y="103"/>
                    </a:lnTo>
                    <a:lnTo>
                      <a:pt x="109" y="101"/>
                    </a:lnTo>
                    <a:lnTo>
                      <a:pt x="109" y="98"/>
                    </a:lnTo>
                    <a:lnTo>
                      <a:pt x="106" y="101"/>
                    </a:lnTo>
                    <a:lnTo>
                      <a:pt x="106" y="101"/>
                    </a:lnTo>
                    <a:lnTo>
                      <a:pt x="106" y="101"/>
                    </a:lnTo>
                    <a:lnTo>
                      <a:pt x="106" y="101"/>
                    </a:lnTo>
                    <a:lnTo>
                      <a:pt x="106" y="101"/>
                    </a:lnTo>
                    <a:lnTo>
                      <a:pt x="106" y="101"/>
                    </a:lnTo>
                    <a:lnTo>
                      <a:pt x="106" y="101"/>
                    </a:lnTo>
                    <a:lnTo>
                      <a:pt x="106" y="101"/>
                    </a:lnTo>
                    <a:lnTo>
                      <a:pt x="106" y="101"/>
                    </a:lnTo>
                    <a:close/>
                    <a:moveTo>
                      <a:pt x="13" y="117"/>
                    </a:moveTo>
                    <a:lnTo>
                      <a:pt x="11" y="119"/>
                    </a:lnTo>
                    <a:lnTo>
                      <a:pt x="13" y="116"/>
                    </a:lnTo>
                    <a:lnTo>
                      <a:pt x="13" y="117"/>
                    </a:lnTo>
                    <a:lnTo>
                      <a:pt x="13" y="117"/>
                    </a:lnTo>
                    <a:lnTo>
                      <a:pt x="13" y="117"/>
                    </a:lnTo>
                    <a:lnTo>
                      <a:pt x="13" y="117"/>
                    </a:lnTo>
                    <a:lnTo>
                      <a:pt x="13" y="117"/>
                    </a:lnTo>
                    <a:lnTo>
                      <a:pt x="13" y="117"/>
                    </a:lnTo>
                    <a:lnTo>
                      <a:pt x="13" y="117"/>
                    </a:lnTo>
                    <a:lnTo>
                      <a:pt x="13" y="117"/>
                    </a:lnTo>
                    <a:lnTo>
                      <a:pt x="13" y="117"/>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15" name="Freeform 307">
                <a:extLst>
                  <a:ext uri="{FF2B5EF4-FFF2-40B4-BE49-F238E27FC236}">
                    <a16:creationId xmlns:a16="http://schemas.microsoft.com/office/drawing/2014/main" id="{87DDD78D-5FA1-96AE-079D-D08EFA44D3CA}"/>
                  </a:ext>
                </a:extLst>
              </p:cNvPr>
              <p:cNvSpPr>
                <a:spLocks/>
              </p:cNvSpPr>
              <p:nvPr/>
            </p:nvSpPr>
            <p:spPr bwMode="auto">
              <a:xfrm>
                <a:off x="8220848" y="3168256"/>
                <a:ext cx="139071" cy="179446"/>
              </a:xfrm>
              <a:custGeom>
                <a:avLst/>
                <a:gdLst>
                  <a:gd name="T0" fmla="*/ 60 w 62"/>
                  <a:gd name="T1" fmla="*/ 75 h 80"/>
                  <a:gd name="T2" fmla="*/ 55 w 62"/>
                  <a:gd name="T3" fmla="*/ 42 h 80"/>
                  <a:gd name="T4" fmla="*/ 50 w 62"/>
                  <a:gd name="T5" fmla="*/ 43 h 80"/>
                  <a:gd name="T6" fmla="*/ 50 w 62"/>
                  <a:gd name="T7" fmla="*/ 50 h 80"/>
                  <a:gd name="T8" fmla="*/ 47 w 62"/>
                  <a:gd name="T9" fmla="*/ 53 h 80"/>
                  <a:gd name="T10" fmla="*/ 41 w 62"/>
                  <a:gd name="T11" fmla="*/ 45 h 80"/>
                  <a:gd name="T12" fmla="*/ 46 w 62"/>
                  <a:gd name="T13" fmla="*/ 37 h 80"/>
                  <a:gd name="T14" fmla="*/ 49 w 62"/>
                  <a:gd name="T15" fmla="*/ 35 h 80"/>
                  <a:gd name="T16" fmla="*/ 52 w 62"/>
                  <a:gd name="T17" fmla="*/ 24 h 80"/>
                  <a:gd name="T18" fmla="*/ 47 w 62"/>
                  <a:gd name="T19" fmla="*/ 21 h 80"/>
                  <a:gd name="T20" fmla="*/ 27 w 62"/>
                  <a:gd name="T21" fmla="*/ 21 h 80"/>
                  <a:gd name="T22" fmla="*/ 20 w 62"/>
                  <a:gd name="T23" fmla="*/ 12 h 80"/>
                  <a:gd name="T24" fmla="*/ 17 w 62"/>
                  <a:gd name="T25" fmla="*/ 8 h 80"/>
                  <a:gd name="T26" fmla="*/ 11 w 62"/>
                  <a:gd name="T27" fmla="*/ 7 h 80"/>
                  <a:gd name="T28" fmla="*/ 6 w 62"/>
                  <a:gd name="T29" fmla="*/ 5 h 80"/>
                  <a:gd name="T30" fmla="*/ 0 w 62"/>
                  <a:gd name="T31" fmla="*/ 2 h 80"/>
                  <a:gd name="T32" fmla="*/ 0 w 62"/>
                  <a:gd name="T33" fmla="*/ 5 h 80"/>
                  <a:gd name="T34" fmla="*/ 3 w 62"/>
                  <a:gd name="T35" fmla="*/ 13 h 80"/>
                  <a:gd name="T36" fmla="*/ 9 w 62"/>
                  <a:gd name="T37" fmla="*/ 16 h 80"/>
                  <a:gd name="T38" fmla="*/ 9 w 62"/>
                  <a:gd name="T39" fmla="*/ 18 h 80"/>
                  <a:gd name="T40" fmla="*/ 11 w 62"/>
                  <a:gd name="T41" fmla="*/ 21 h 80"/>
                  <a:gd name="T42" fmla="*/ 6 w 62"/>
                  <a:gd name="T43" fmla="*/ 24 h 80"/>
                  <a:gd name="T44" fmla="*/ 0 w 62"/>
                  <a:gd name="T45" fmla="*/ 27 h 80"/>
                  <a:gd name="T46" fmla="*/ 6 w 62"/>
                  <a:gd name="T47" fmla="*/ 32 h 80"/>
                  <a:gd name="T48" fmla="*/ 11 w 62"/>
                  <a:gd name="T49" fmla="*/ 39 h 80"/>
                  <a:gd name="T50" fmla="*/ 9 w 62"/>
                  <a:gd name="T51" fmla="*/ 43 h 80"/>
                  <a:gd name="T52" fmla="*/ 14 w 62"/>
                  <a:gd name="T53" fmla="*/ 50 h 80"/>
                  <a:gd name="T54" fmla="*/ 15 w 62"/>
                  <a:gd name="T55" fmla="*/ 56 h 80"/>
                  <a:gd name="T56" fmla="*/ 19 w 62"/>
                  <a:gd name="T57" fmla="*/ 66 h 80"/>
                  <a:gd name="T58" fmla="*/ 22 w 62"/>
                  <a:gd name="T59" fmla="*/ 70 h 80"/>
                  <a:gd name="T60" fmla="*/ 25 w 62"/>
                  <a:gd name="T61" fmla="*/ 69 h 80"/>
                  <a:gd name="T62" fmla="*/ 28 w 62"/>
                  <a:gd name="T63" fmla="*/ 69 h 80"/>
                  <a:gd name="T64" fmla="*/ 28 w 62"/>
                  <a:gd name="T65" fmla="*/ 62 h 80"/>
                  <a:gd name="T66" fmla="*/ 30 w 62"/>
                  <a:gd name="T67" fmla="*/ 64 h 80"/>
                  <a:gd name="T68" fmla="*/ 31 w 62"/>
                  <a:gd name="T69" fmla="*/ 67 h 80"/>
                  <a:gd name="T70" fmla="*/ 33 w 62"/>
                  <a:gd name="T71" fmla="*/ 69 h 80"/>
                  <a:gd name="T72" fmla="*/ 35 w 62"/>
                  <a:gd name="T73" fmla="*/ 69 h 80"/>
                  <a:gd name="T74" fmla="*/ 38 w 62"/>
                  <a:gd name="T75" fmla="*/ 64 h 80"/>
                  <a:gd name="T76" fmla="*/ 35 w 62"/>
                  <a:gd name="T77" fmla="*/ 56 h 80"/>
                  <a:gd name="T78" fmla="*/ 35 w 62"/>
                  <a:gd name="T79" fmla="*/ 51 h 80"/>
                  <a:gd name="T80" fmla="*/ 35 w 62"/>
                  <a:gd name="T81" fmla="*/ 46 h 80"/>
                  <a:gd name="T82" fmla="*/ 35 w 62"/>
                  <a:gd name="T83" fmla="*/ 45 h 80"/>
                  <a:gd name="T84" fmla="*/ 38 w 62"/>
                  <a:gd name="T85" fmla="*/ 51 h 80"/>
                  <a:gd name="T86" fmla="*/ 41 w 62"/>
                  <a:gd name="T87" fmla="*/ 58 h 80"/>
                  <a:gd name="T88" fmla="*/ 44 w 62"/>
                  <a:gd name="T89" fmla="*/ 58 h 80"/>
                  <a:gd name="T90" fmla="*/ 46 w 62"/>
                  <a:gd name="T91" fmla="*/ 56 h 80"/>
                  <a:gd name="T92" fmla="*/ 49 w 62"/>
                  <a:gd name="T93" fmla="*/ 59 h 80"/>
                  <a:gd name="T94" fmla="*/ 57 w 62"/>
                  <a:gd name="T95" fmla="*/ 73 h 80"/>
                  <a:gd name="T96" fmla="*/ 60 w 62"/>
                  <a:gd name="T97" fmla="*/ 80 h 80"/>
                  <a:gd name="T98" fmla="*/ 60 w 62"/>
                  <a:gd name="T99" fmla="*/ 75 h 80"/>
                  <a:gd name="T100" fmla="*/ 60 w 62"/>
                  <a:gd name="T101" fmla="*/ 75 h 80"/>
                  <a:gd name="T102" fmla="*/ 60 w 62"/>
                  <a:gd name="T103" fmla="*/ 7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 h="80">
                    <a:moveTo>
                      <a:pt x="60" y="75"/>
                    </a:moveTo>
                    <a:lnTo>
                      <a:pt x="60" y="75"/>
                    </a:lnTo>
                    <a:lnTo>
                      <a:pt x="60" y="75"/>
                    </a:lnTo>
                    <a:lnTo>
                      <a:pt x="62" y="62"/>
                    </a:lnTo>
                    <a:lnTo>
                      <a:pt x="55" y="43"/>
                    </a:lnTo>
                    <a:lnTo>
                      <a:pt x="55" y="42"/>
                    </a:lnTo>
                    <a:lnTo>
                      <a:pt x="54" y="43"/>
                    </a:lnTo>
                    <a:lnTo>
                      <a:pt x="52" y="43"/>
                    </a:lnTo>
                    <a:lnTo>
                      <a:pt x="50" y="43"/>
                    </a:lnTo>
                    <a:lnTo>
                      <a:pt x="52" y="45"/>
                    </a:lnTo>
                    <a:lnTo>
                      <a:pt x="50" y="46"/>
                    </a:lnTo>
                    <a:lnTo>
                      <a:pt x="50" y="50"/>
                    </a:lnTo>
                    <a:lnTo>
                      <a:pt x="50" y="51"/>
                    </a:lnTo>
                    <a:lnTo>
                      <a:pt x="50" y="53"/>
                    </a:lnTo>
                    <a:lnTo>
                      <a:pt x="47" y="53"/>
                    </a:lnTo>
                    <a:lnTo>
                      <a:pt x="44" y="50"/>
                    </a:lnTo>
                    <a:lnTo>
                      <a:pt x="44" y="51"/>
                    </a:lnTo>
                    <a:lnTo>
                      <a:pt x="41" y="45"/>
                    </a:lnTo>
                    <a:lnTo>
                      <a:pt x="44" y="40"/>
                    </a:lnTo>
                    <a:lnTo>
                      <a:pt x="44" y="37"/>
                    </a:lnTo>
                    <a:lnTo>
                      <a:pt x="46" y="37"/>
                    </a:lnTo>
                    <a:lnTo>
                      <a:pt x="46" y="35"/>
                    </a:lnTo>
                    <a:lnTo>
                      <a:pt x="47" y="35"/>
                    </a:lnTo>
                    <a:lnTo>
                      <a:pt x="49" y="35"/>
                    </a:lnTo>
                    <a:lnTo>
                      <a:pt x="52" y="31"/>
                    </a:lnTo>
                    <a:lnTo>
                      <a:pt x="54" y="27"/>
                    </a:lnTo>
                    <a:lnTo>
                      <a:pt x="52" y="24"/>
                    </a:lnTo>
                    <a:lnTo>
                      <a:pt x="55" y="24"/>
                    </a:lnTo>
                    <a:lnTo>
                      <a:pt x="52" y="21"/>
                    </a:lnTo>
                    <a:lnTo>
                      <a:pt x="47" y="21"/>
                    </a:lnTo>
                    <a:lnTo>
                      <a:pt x="41" y="21"/>
                    </a:lnTo>
                    <a:lnTo>
                      <a:pt x="35" y="21"/>
                    </a:lnTo>
                    <a:lnTo>
                      <a:pt x="27" y="21"/>
                    </a:lnTo>
                    <a:lnTo>
                      <a:pt x="22" y="18"/>
                    </a:lnTo>
                    <a:lnTo>
                      <a:pt x="22" y="16"/>
                    </a:lnTo>
                    <a:lnTo>
                      <a:pt x="20" y="12"/>
                    </a:lnTo>
                    <a:lnTo>
                      <a:pt x="19" y="8"/>
                    </a:lnTo>
                    <a:lnTo>
                      <a:pt x="17" y="7"/>
                    </a:lnTo>
                    <a:lnTo>
                      <a:pt x="17" y="8"/>
                    </a:lnTo>
                    <a:lnTo>
                      <a:pt x="17" y="10"/>
                    </a:lnTo>
                    <a:lnTo>
                      <a:pt x="14" y="8"/>
                    </a:lnTo>
                    <a:lnTo>
                      <a:pt x="11" y="7"/>
                    </a:lnTo>
                    <a:lnTo>
                      <a:pt x="9" y="5"/>
                    </a:lnTo>
                    <a:lnTo>
                      <a:pt x="6" y="5"/>
                    </a:lnTo>
                    <a:lnTo>
                      <a:pt x="6" y="5"/>
                    </a:lnTo>
                    <a:lnTo>
                      <a:pt x="3" y="2"/>
                    </a:lnTo>
                    <a:lnTo>
                      <a:pt x="0" y="0"/>
                    </a:lnTo>
                    <a:lnTo>
                      <a:pt x="0" y="2"/>
                    </a:lnTo>
                    <a:lnTo>
                      <a:pt x="3" y="2"/>
                    </a:lnTo>
                    <a:lnTo>
                      <a:pt x="3" y="4"/>
                    </a:lnTo>
                    <a:lnTo>
                      <a:pt x="0" y="5"/>
                    </a:lnTo>
                    <a:lnTo>
                      <a:pt x="0" y="8"/>
                    </a:lnTo>
                    <a:lnTo>
                      <a:pt x="0" y="12"/>
                    </a:lnTo>
                    <a:lnTo>
                      <a:pt x="3" y="13"/>
                    </a:lnTo>
                    <a:lnTo>
                      <a:pt x="3" y="15"/>
                    </a:lnTo>
                    <a:lnTo>
                      <a:pt x="6" y="16"/>
                    </a:lnTo>
                    <a:lnTo>
                      <a:pt x="9" y="16"/>
                    </a:lnTo>
                    <a:lnTo>
                      <a:pt x="9" y="18"/>
                    </a:lnTo>
                    <a:lnTo>
                      <a:pt x="9" y="18"/>
                    </a:lnTo>
                    <a:lnTo>
                      <a:pt x="9" y="18"/>
                    </a:lnTo>
                    <a:lnTo>
                      <a:pt x="11" y="18"/>
                    </a:lnTo>
                    <a:lnTo>
                      <a:pt x="11" y="21"/>
                    </a:lnTo>
                    <a:lnTo>
                      <a:pt x="11" y="21"/>
                    </a:lnTo>
                    <a:lnTo>
                      <a:pt x="6" y="21"/>
                    </a:lnTo>
                    <a:lnTo>
                      <a:pt x="6" y="21"/>
                    </a:lnTo>
                    <a:lnTo>
                      <a:pt x="6" y="24"/>
                    </a:lnTo>
                    <a:lnTo>
                      <a:pt x="3" y="24"/>
                    </a:lnTo>
                    <a:lnTo>
                      <a:pt x="3" y="24"/>
                    </a:lnTo>
                    <a:lnTo>
                      <a:pt x="0" y="27"/>
                    </a:lnTo>
                    <a:lnTo>
                      <a:pt x="0" y="31"/>
                    </a:lnTo>
                    <a:lnTo>
                      <a:pt x="3" y="31"/>
                    </a:lnTo>
                    <a:lnTo>
                      <a:pt x="6" y="32"/>
                    </a:lnTo>
                    <a:lnTo>
                      <a:pt x="9" y="34"/>
                    </a:lnTo>
                    <a:lnTo>
                      <a:pt x="11" y="37"/>
                    </a:lnTo>
                    <a:lnTo>
                      <a:pt x="11" y="39"/>
                    </a:lnTo>
                    <a:lnTo>
                      <a:pt x="9" y="40"/>
                    </a:lnTo>
                    <a:lnTo>
                      <a:pt x="9" y="42"/>
                    </a:lnTo>
                    <a:lnTo>
                      <a:pt x="9" y="43"/>
                    </a:lnTo>
                    <a:lnTo>
                      <a:pt x="12" y="45"/>
                    </a:lnTo>
                    <a:lnTo>
                      <a:pt x="12" y="50"/>
                    </a:lnTo>
                    <a:lnTo>
                      <a:pt x="14" y="50"/>
                    </a:lnTo>
                    <a:lnTo>
                      <a:pt x="15" y="51"/>
                    </a:lnTo>
                    <a:lnTo>
                      <a:pt x="15" y="53"/>
                    </a:lnTo>
                    <a:lnTo>
                      <a:pt x="15" y="56"/>
                    </a:lnTo>
                    <a:lnTo>
                      <a:pt x="17" y="61"/>
                    </a:lnTo>
                    <a:lnTo>
                      <a:pt x="19" y="64"/>
                    </a:lnTo>
                    <a:lnTo>
                      <a:pt x="19" y="66"/>
                    </a:lnTo>
                    <a:lnTo>
                      <a:pt x="20" y="69"/>
                    </a:lnTo>
                    <a:lnTo>
                      <a:pt x="22" y="72"/>
                    </a:lnTo>
                    <a:lnTo>
                      <a:pt x="22" y="70"/>
                    </a:lnTo>
                    <a:lnTo>
                      <a:pt x="22" y="67"/>
                    </a:lnTo>
                    <a:lnTo>
                      <a:pt x="23" y="72"/>
                    </a:lnTo>
                    <a:lnTo>
                      <a:pt x="25" y="69"/>
                    </a:lnTo>
                    <a:lnTo>
                      <a:pt x="27" y="70"/>
                    </a:lnTo>
                    <a:lnTo>
                      <a:pt x="27" y="69"/>
                    </a:lnTo>
                    <a:lnTo>
                      <a:pt x="28" y="69"/>
                    </a:lnTo>
                    <a:lnTo>
                      <a:pt x="28" y="67"/>
                    </a:lnTo>
                    <a:lnTo>
                      <a:pt x="28" y="66"/>
                    </a:lnTo>
                    <a:lnTo>
                      <a:pt x="28" y="62"/>
                    </a:lnTo>
                    <a:lnTo>
                      <a:pt x="28" y="61"/>
                    </a:lnTo>
                    <a:lnTo>
                      <a:pt x="30" y="59"/>
                    </a:lnTo>
                    <a:lnTo>
                      <a:pt x="30" y="64"/>
                    </a:lnTo>
                    <a:lnTo>
                      <a:pt x="30" y="67"/>
                    </a:lnTo>
                    <a:lnTo>
                      <a:pt x="31" y="64"/>
                    </a:lnTo>
                    <a:lnTo>
                      <a:pt x="31" y="67"/>
                    </a:lnTo>
                    <a:lnTo>
                      <a:pt x="31" y="69"/>
                    </a:lnTo>
                    <a:lnTo>
                      <a:pt x="33" y="67"/>
                    </a:lnTo>
                    <a:lnTo>
                      <a:pt x="33" y="69"/>
                    </a:lnTo>
                    <a:lnTo>
                      <a:pt x="33" y="70"/>
                    </a:lnTo>
                    <a:lnTo>
                      <a:pt x="35" y="70"/>
                    </a:lnTo>
                    <a:lnTo>
                      <a:pt x="35" y="69"/>
                    </a:lnTo>
                    <a:lnTo>
                      <a:pt x="35" y="62"/>
                    </a:lnTo>
                    <a:lnTo>
                      <a:pt x="35" y="66"/>
                    </a:lnTo>
                    <a:lnTo>
                      <a:pt x="38" y="64"/>
                    </a:lnTo>
                    <a:lnTo>
                      <a:pt x="38" y="62"/>
                    </a:lnTo>
                    <a:lnTo>
                      <a:pt x="35" y="58"/>
                    </a:lnTo>
                    <a:lnTo>
                      <a:pt x="35" y="56"/>
                    </a:lnTo>
                    <a:lnTo>
                      <a:pt x="35" y="53"/>
                    </a:lnTo>
                    <a:lnTo>
                      <a:pt x="35" y="53"/>
                    </a:lnTo>
                    <a:lnTo>
                      <a:pt x="35" y="51"/>
                    </a:lnTo>
                    <a:lnTo>
                      <a:pt x="35" y="50"/>
                    </a:lnTo>
                    <a:lnTo>
                      <a:pt x="35" y="48"/>
                    </a:lnTo>
                    <a:lnTo>
                      <a:pt x="35" y="46"/>
                    </a:lnTo>
                    <a:lnTo>
                      <a:pt x="35" y="46"/>
                    </a:lnTo>
                    <a:lnTo>
                      <a:pt x="35" y="45"/>
                    </a:lnTo>
                    <a:lnTo>
                      <a:pt x="35" y="45"/>
                    </a:lnTo>
                    <a:lnTo>
                      <a:pt x="35" y="46"/>
                    </a:lnTo>
                    <a:lnTo>
                      <a:pt x="35" y="48"/>
                    </a:lnTo>
                    <a:lnTo>
                      <a:pt x="38" y="51"/>
                    </a:lnTo>
                    <a:lnTo>
                      <a:pt x="38" y="53"/>
                    </a:lnTo>
                    <a:lnTo>
                      <a:pt x="38" y="56"/>
                    </a:lnTo>
                    <a:lnTo>
                      <a:pt x="41" y="58"/>
                    </a:lnTo>
                    <a:lnTo>
                      <a:pt x="41" y="58"/>
                    </a:lnTo>
                    <a:lnTo>
                      <a:pt x="41" y="56"/>
                    </a:lnTo>
                    <a:lnTo>
                      <a:pt x="44" y="58"/>
                    </a:lnTo>
                    <a:lnTo>
                      <a:pt x="44" y="58"/>
                    </a:lnTo>
                    <a:lnTo>
                      <a:pt x="44" y="56"/>
                    </a:lnTo>
                    <a:lnTo>
                      <a:pt x="46" y="56"/>
                    </a:lnTo>
                    <a:lnTo>
                      <a:pt x="47" y="53"/>
                    </a:lnTo>
                    <a:lnTo>
                      <a:pt x="47" y="56"/>
                    </a:lnTo>
                    <a:lnTo>
                      <a:pt x="49" y="59"/>
                    </a:lnTo>
                    <a:lnTo>
                      <a:pt x="52" y="64"/>
                    </a:lnTo>
                    <a:lnTo>
                      <a:pt x="54" y="67"/>
                    </a:lnTo>
                    <a:lnTo>
                      <a:pt x="57" y="73"/>
                    </a:lnTo>
                    <a:lnTo>
                      <a:pt x="57" y="77"/>
                    </a:lnTo>
                    <a:lnTo>
                      <a:pt x="60" y="80"/>
                    </a:lnTo>
                    <a:lnTo>
                      <a:pt x="60" y="80"/>
                    </a:lnTo>
                    <a:lnTo>
                      <a:pt x="60" y="75"/>
                    </a:lnTo>
                    <a:lnTo>
                      <a:pt x="60" y="75"/>
                    </a:lnTo>
                    <a:lnTo>
                      <a:pt x="60" y="75"/>
                    </a:lnTo>
                    <a:lnTo>
                      <a:pt x="60" y="75"/>
                    </a:lnTo>
                    <a:lnTo>
                      <a:pt x="60" y="75"/>
                    </a:lnTo>
                    <a:lnTo>
                      <a:pt x="60" y="75"/>
                    </a:lnTo>
                    <a:lnTo>
                      <a:pt x="60" y="75"/>
                    </a:lnTo>
                    <a:lnTo>
                      <a:pt x="60" y="75"/>
                    </a:lnTo>
                    <a:lnTo>
                      <a:pt x="60" y="75"/>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16" name="Freeform 336">
                <a:extLst>
                  <a:ext uri="{FF2B5EF4-FFF2-40B4-BE49-F238E27FC236}">
                    <a16:creationId xmlns:a16="http://schemas.microsoft.com/office/drawing/2014/main" id="{16BA35FE-EA40-1BBB-9B63-31D7792D1248}"/>
                  </a:ext>
                </a:extLst>
              </p:cNvPr>
              <p:cNvSpPr>
                <a:spLocks/>
              </p:cNvSpPr>
              <p:nvPr/>
            </p:nvSpPr>
            <p:spPr bwMode="auto">
              <a:xfrm>
                <a:off x="8579740" y="3300597"/>
                <a:ext cx="235523" cy="278141"/>
              </a:xfrm>
              <a:custGeom>
                <a:avLst/>
                <a:gdLst>
                  <a:gd name="T0" fmla="*/ 98 w 105"/>
                  <a:gd name="T1" fmla="*/ 97 h 124"/>
                  <a:gd name="T2" fmla="*/ 94 w 105"/>
                  <a:gd name="T3" fmla="*/ 87 h 124"/>
                  <a:gd name="T4" fmla="*/ 87 w 105"/>
                  <a:gd name="T5" fmla="*/ 81 h 124"/>
                  <a:gd name="T6" fmla="*/ 81 w 105"/>
                  <a:gd name="T7" fmla="*/ 75 h 124"/>
                  <a:gd name="T8" fmla="*/ 71 w 105"/>
                  <a:gd name="T9" fmla="*/ 64 h 124"/>
                  <a:gd name="T10" fmla="*/ 65 w 105"/>
                  <a:gd name="T11" fmla="*/ 56 h 124"/>
                  <a:gd name="T12" fmla="*/ 60 w 105"/>
                  <a:gd name="T13" fmla="*/ 53 h 124"/>
                  <a:gd name="T14" fmla="*/ 51 w 105"/>
                  <a:gd name="T15" fmla="*/ 48 h 124"/>
                  <a:gd name="T16" fmla="*/ 51 w 105"/>
                  <a:gd name="T17" fmla="*/ 43 h 124"/>
                  <a:gd name="T18" fmla="*/ 59 w 105"/>
                  <a:gd name="T19" fmla="*/ 40 h 124"/>
                  <a:gd name="T20" fmla="*/ 62 w 105"/>
                  <a:gd name="T21" fmla="*/ 35 h 124"/>
                  <a:gd name="T22" fmla="*/ 57 w 105"/>
                  <a:gd name="T23" fmla="*/ 33 h 124"/>
                  <a:gd name="T24" fmla="*/ 54 w 105"/>
                  <a:gd name="T25" fmla="*/ 29 h 124"/>
                  <a:gd name="T26" fmla="*/ 51 w 105"/>
                  <a:gd name="T27" fmla="*/ 24 h 124"/>
                  <a:gd name="T28" fmla="*/ 44 w 105"/>
                  <a:gd name="T29" fmla="*/ 24 h 124"/>
                  <a:gd name="T30" fmla="*/ 35 w 105"/>
                  <a:gd name="T31" fmla="*/ 24 h 124"/>
                  <a:gd name="T32" fmla="*/ 32 w 105"/>
                  <a:gd name="T33" fmla="*/ 11 h 124"/>
                  <a:gd name="T34" fmla="*/ 29 w 105"/>
                  <a:gd name="T35" fmla="*/ 11 h 124"/>
                  <a:gd name="T36" fmla="*/ 21 w 105"/>
                  <a:gd name="T37" fmla="*/ 2 h 124"/>
                  <a:gd name="T38" fmla="*/ 16 w 105"/>
                  <a:gd name="T39" fmla="*/ 0 h 124"/>
                  <a:gd name="T40" fmla="*/ 17 w 105"/>
                  <a:gd name="T41" fmla="*/ 13 h 124"/>
                  <a:gd name="T42" fmla="*/ 19 w 105"/>
                  <a:gd name="T43" fmla="*/ 21 h 124"/>
                  <a:gd name="T44" fmla="*/ 11 w 105"/>
                  <a:gd name="T45" fmla="*/ 18 h 124"/>
                  <a:gd name="T46" fmla="*/ 6 w 105"/>
                  <a:gd name="T47" fmla="*/ 18 h 124"/>
                  <a:gd name="T48" fmla="*/ 3 w 105"/>
                  <a:gd name="T49" fmla="*/ 24 h 124"/>
                  <a:gd name="T50" fmla="*/ 0 w 105"/>
                  <a:gd name="T51" fmla="*/ 32 h 124"/>
                  <a:gd name="T52" fmla="*/ 6 w 105"/>
                  <a:gd name="T53" fmla="*/ 37 h 124"/>
                  <a:gd name="T54" fmla="*/ 6 w 105"/>
                  <a:gd name="T55" fmla="*/ 41 h 124"/>
                  <a:gd name="T56" fmla="*/ 9 w 105"/>
                  <a:gd name="T57" fmla="*/ 43 h 124"/>
                  <a:gd name="T58" fmla="*/ 16 w 105"/>
                  <a:gd name="T59" fmla="*/ 45 h 124"/>
                  <a:gd name="T60" fmla="*/ 17 w 105"/>
                  <a:gd name="T61" fmla="*/ 56 h 124"/>
                  <a:gd name="T62" fmla="*/ 16 w 105"/>
                  <a:gd name="T63" fmla="*/ 67 h 124"/>
                  <a:gd name="T64" fmla="*/ 19 w 105"/>
                  <a:gd name="T65" fmla="*/ 73 h 124"/>
                  <a:gd name="T66" fmla="*/ 27 w 105"/>
                  <a:gd name="T67" fmla="*/ 64 h 124"/>
                  <a:gd name="T68" fmla="*/ 35 w 105"/>
                  <a:gd name="T69" fmla="*/ 65 h 124"/>
                  <a:gd name="T70" fmla="*/ 41 w 105"/>
                  <a:gd name="T71" fmla="*/ 65 h 124"/>
                  <a:gd name="T72" fmla="*/ 44 w 105"/>
                  <a:gd name="T73" fmla="*/ 59 h 124"/>
                  <a:gd name="T74" fmla="*/ 56 w 105"/>
                  <a:gd name="T75" fmla="*/ 65 h 124"/>
                  <a:gd name="T76" fmla="*/ 65 w 105"/>
                  <a:gd name="T77" fmla="*/ 76 h 124"/>
                  <a:gd name="T78" fmla="*/ 75 w 105"/>
                  <a:gd name="T79" fmla="*/ 94 h 124"/>
                  <a:gd name="T80" fmla="*/ 78 w 105"/>
                  <a:gd name="T81" fmla="*/ 100 h 124"/>
                  <a:gd name="T82" fmla="*/ 78 w 105"/>
                  <a:gd name="T83" fmla="*/ 103 h 124"/>
                  <a:gd name="T84" fmla="*/ 78 w 105"/>
                  <a:gd name="T85" fmla="*/ 110 h 124"/>
                  <a:gd name="T86" fmla="*/ 76 w 105"/>
                  <a:gd name="T87" fmla="*/ 119 h 124"/>
                  <a:gd name="T88" fmla="*/ 84 w 105"/>
                  <a:gd name="T89" fmla="*/ 124 h 124"/>
                  <a:gd name="T90" fmla="*/ 86 w 105"/>
                  <a:gd name="T91" fmla="*/ 119 h 124"/>
                  <a:gd name="T92" fmla="*/ 87 w 105"/>
                  <a:gd name="T93" fmla="*/ 118 h 124"/>
                  <a:gd name="T94" fmla="*/ 94 w 105"/>
                  <a:gd name="T95" fmla="*/ 118 h 124"/>
                  <a:gd name="T96" fmla="*/ 100 w 105"/>
                  <a:gd name="T97" fmla="*/ 116 h 124"/>
                  <a:gd name="T98" fmla="*/ 105 w 105"/>
                  <a:gd name="T99" fmla="*/ 113 h 124"/>
                  <a:gd name="T100" fmla="*/ 105 w 105"/>
                  <a:gd name="T101" fmla="*/ 105 h 124"/>
                  <a:gd name="T102" fmla="*/ 103 w 105"/>
                  <a:gd name="T103" fmla="*/ 102 h 124"/>
                  <a:gd name="T104" fmla="*/ 103 w 105"/>
                  <a:gd name="T105" fmla="*/ 10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124">
                    <a:moveTo>
                      <a:pt x="103" y="102"/>
                    </a:moveTo>
                    <a:lnTo>
                      <a:pt x="102" y="100"/>
                    </a:lnTo>
                    <a:lnTo>
                      <a:pt x="98" y="99"/>
                    </a:lnTo>
                    <a:lnTo>
                      <a:pt x="98" y="97"/>
                    </a:lnTo>
                    <a:lnTo>
                      <a:pt x="100" y="97"/>
                    </a:lnTo>
                    <a:lnTo>
                      <a:pt x="102" y="94"/>
                    </a:lnTo>
                    <a:lnTo>
                      <a:pt x="95" y="91"/>
                    </a:lnTo>
                    <a:lnTo>
                      <a:pt x="94" y="87"/>
                    </a:lnTo>
                    <a:lnTo>
                      <a:pt x="92" y="87"/>
                    </a:lnTo>
                    <a:lnTo>
                      <a:pt x="90" y="87"/>
                    </a:lnTo>
                    <a:lnTo>
                      <a:pt x="90" y="84"/>
                    </a:lnTo>
                    <a:lnTo>
                      <a:pt x="87" y="81"/>
                    </a:lnTo>
                    <a:lnTo>
                      <a:pt x="86" y="78"/>
                    </a:lnTo>
                    <a:lnTo>
                      <a:pt x="84" y="78"/>
                    </a:lnTo>
                    <a:lnTo>
                      <a:pt x="84" y="76"/>
                    </a:lnTo>
                    <a:lnTo>
                      <a:pt x="81" y="75"/>
                    </a:lnTo>
                    <a:lnTo>
                      <a:pt x="78" y="73"/>
                    </a:lnTo>
                    <a:lnTo>
                      <a:pt x="75" y="68"/>
                    </a:lnTo>
                    <a:lnTo>
                      <a:pt x="73" y="65"/>
                    </a:lnTo>
                    <a:lnTo>
                      <a:pt x="71" y="64"/>
                    </a:lnTo>
                    <a:lnTo>
                      <a:pt x="70" y="62"/>
                    </a:lnTo>
                    <a:lnTo>
                      <a:pt x="67" y="59"/>
                    </a:lnTo>
                    <a:lnTo>
                      <a:pt x="65" y="59"/>
                    </a:lnTo>
                    <a:lnTo>
                      <a:pt x="65" y="56"/>
                    </a:lnTo>
                    <a:lnTo>
                      <a:pt x="65" y="56"/>
                    </a:lnTo>
                    <a:lnTo>
                      <a:pt x="65" y="56"/>
                    </a:lnTo>
                    <a:lnTo>
                      <a:pt x="62" y="53"/>
                    </a:lnTo>
                    <a:lnTo>
                      <a:pt x="60" y="53"/>
                    </a:lnTo>
                    <a:lnTo>
                      <a:pt x="57" y="53"/>
                    </a:lnTo>
                    <a:lnTo>
                      <a:pt x="57" y="49"/>
                    </a:lnTo>
                    <a:lnTo>
                      <a:pt x="52" y="48"/>
                    </a:lnTo>
                    <a:lnTo>
                      <a:pt x="51" y="48"/>
                    </a:lnTo>
                    <a:lnTo>
                      <a:pt x="49" y="46"/>
                    </a:lnTo>
                    <a:lnTo>
                      <a:pt x="51" y="46"/>
                    </a:lnTo>
                    <a:lnTo>
                      <a:pt x="51" y="45"/>
                    </a:lnTo>
                    <a:lnTo>
                      <a:pt x="51" y="43"/>
                    </a:lnTo>
                    <a:lnTo>
                      <a:pt x="49" y="41"/>
                    </a:lnTo>
                    <a:lnTo>
                      <a:pt x="52" y="41"/>
                    </a:lnTo>
                    <a:lnTo>
                      <a:pt x="56" y="41"/>
                    </a:lnTo>
                    <a:lnTo>
                      <a:pt x="59" y="40"/>
                    </a:lnTo>
                    <a:lnTo>
                      <a:pt x="60" y="40"/>
                    </a:lnTo>
                    <a:lnTo>
                      <a:pt x="59" y="38"/>
                    </a:lnTo>
                    <a:lnTo>
                      <a:pt x="60" y="37"/>
                    </a:lnTo>
                    <a:lnTo>
                      <a:pt x="62" y="35"/>
                    </a:lnTo>
                    <a:lnTo>
                      <a:pt x="62" y="33"/>
                    </a:lnTo>
                    <a:lnTo>
                      <a:pt x="60" y="33"/>
                    </a:lnTo>
                    <a:lnTo>
                      <a:pt x="59" y="33"/>
                    </a:lnTo>
                    <a:lnTo>
                      <a:pt x="57" y="33"/>
                    </a:lnTo>
                    <a:lnTo>
                      <a:pt x="57" y="32"/>
                    </a:lnTo>
                    <a:lnTo>
                      <a:pt x="56" y="30"/>
                    </a:lnTo>
                    <a:lnTo>
                      <a:pt x="52" y="30"/>
                    </a:lnTo>
                    <a:lnTo>
                      <a:pt x="54" y="29"/>
                    </a:lnTo>
                    <a:lnTo>
                      <a:pt x="56" y="27"/>
                    </a:lnTo>
                    <a:lnTo>
                      <a:pt x="54" y="27"/>
                    </a:lnTo>
                    <a:lnTo>
                      <a:pt x="52" y="24"/>
                    </a:lnTo>
                    <a:lnTo>
                      <a:pt x="51" y="24"/>
                    </a:lnTo>
                    <a:lnTo>
                      <a:pt x="49" y="24"/>
                    </a:lnTo>
                    <a:lnTo>
                      <a:pt x="48" y="24"/>
                    </a:lnTo>
                    <a:lnTo>
                      <a:pt x="46" y="24"/>
                    </a:lnTo>
                    <a:lnTo>
                      <a:pt x="44" y="24"/>
                    </a:lnTo>
                    <a:lnTo>
                      <a:pt x="44" y="27"/>
                    </a:lnTo>
                    <a:lnTo>
                      <a:pt x="41" y="24"/>
                    </a:lnTo>
                    <a:lnTo>
                      <a:pt x="38" y="24"/>
                    </a:lnTo>
                    <a:lnTo>
                      <a:pt x="35" y="24"/>
                    </a:lnTo>
                    <a:lnTo>
                      <a:pt x="32" y="18"/>
                    </a:lnTo>
                    <a:lnTo>
                      <a:pt x="32" y="14"/>
                    </a:lnTo>
                    <a:lnTo>
                      <a:pt x="32" y="13"/>
                    </a:lnTo>
                    <a:lnTo>
                      <a:pt x="32" y="11"/>
                    </a:lnTo>
                    <a:lnTo>
                      <a:pt x="32" y="11"/>
                    </a:lnTo>
                    <a:lnTo>
                      <a:pt x="30" y="10"/>
                    </a:lnTo>
                    <a:lnTo>
                      <a:pt x="30" y="13"/>
                    </a:lnTo>
                    <a:lnTo>
                      <a:pt x="29" y="11"/>
                    </a:lnTo>
                    <a:lnTo>
                      <a:pt x="27" y="8"/>
                    </a:lnTo>
                    <a:lnTo>
                      <a:pt x="24" y="5"/>
                    </a:lnTo>
                    <a:lnTo>
                      <a:pt x="22" y="3"/>
                    </a:lnTo>
                    <a:lnTo>
                      <a:pt x="21" y="2"/>
                    </a:lnTo>
                    <a:lnTo>
                      <a:pt x="19" y="2"/>
                    </a:lnTo>
                    <a:lnTo>
                      <a:pt x="17" y="2"/>
                    </a:lnTo>
                    <a:lnTo>
                      <a:pt x="16" y="2"/>
                    </a:lnTo>
                    <a:lnTo>
                      <a:pt x="16" y="0"/>
                    </a:lnTo>
                    <a:lnTo>
                      <a:pt x="14" y="2"/>
                    </a:lnTo>
                    <a:lnTo>
                      <a:pt x="14" y="3"/>
                    </a:lnTo>
                    <a:lnTo>
                      <a:pt x="14" y="8"/>
                    </a:lnTo>
                    <a:lnTo>
                      <a:pt x="17" y="13"/>
                    </a:lnTo>
                    <a:lnTo>
                      <a:pt x="19" y="14"/>
                    </a:lnTo>
                    <a:lnTo>
                      <a:pt x="17" y="16"/>
                    </a:lnTo>
                    <a:lnTo>
                      <a:pt x="19" y="18"/>
                    </a:lnTo>
                    <a:lnTo>
                      <a:pt x="19" y="21"/>
                    </a:lnTo>
                    <a:lnTo>
                      <a:pt x="17" y="21"/>
                    </a:lnTo>
                    <a:lnTo>
                      <a:pt x="14" y="18"/>
                    </a:lnTo>
                    <a:lnTo>
                      <a:pt x="13" y="18"/>
                    </a:lnTo>
                    <a:lnTo>
                      <a:pt x="11" y="18"/>
                    </a:lnTo>
                    <a:lnTo>
                      <a:pt x="9" y="11"/>
                    </a:lnTo>
                    <a:lnTo>
                      <a:pt x="9" y="14"/>
                    </a:lnTo>
                    <a:lnTo>
                      <a:pt x="9" y="16"/>
                    </a:lnTo>
                    <a:lnTo>
                      <a:pt x="6" y="18"/>
                    </a:lnTo>
                    <a:lnTo>
                      <a:pt x="3" y="21"/>
                    </a:lnTo>
                    <a:lnTo>
                      <a:pt x="3" y="24"/>
                    </a:lnTo>
                    <a:lnTo>
                      <a:pt x="6" y="24"/>
                    </a:lnTo>
                    <a:lnTo>
                      <a:pt x="3" y="24"/>
                    </a:lnTo>
                    <a:lnTo>
                      <a:pt x="0" y="27"/>
                    </a:lnTo>
                    <a:lnTo>
                      <a:pt x="0" y="27"/>
                    </a:lnTo>
                    <a:lnTo>
                      <a:pt x="0" y="29"/>
                    </a:lnTo>
                    <a:lnTo>
                      <a:pt x="0" y="32"/>
                    </a:lnTo>
                    <a:lnTo>
                      <a:pt x="0" y="32"/>
                    </a:lnTo>
                    <a:lnTo>
                      <a:pt x="3" y="30"/>
                    </a:lnTo>
                    <a:lnTo>
                      <a:pt x="6" y="35"/>
                    </a:lnTo>
                    <a:lnTo>
                      <a:pt x="6" y="37"/>
                    </a:lnTo>
                    <a:lnTo>
                      <a:pt x="6" y="38"/>
                    </a:lnTo>
                    <a:lnTo>
                      <a:pt x="5" y="40"/>
                    </a:lnTo>
                    <a:lnTo>
                      <a:pt x="3" y="40"/>
                    </a:lnTo>
                    <a:lnTo>
                      <a:pt x="6" y="41"/>
                    </a:lnTo>
                    <a:lnTo>
                      <a:pt x="6" y="43"/>
                    </a:lnTo>
                    <a:lnTo>
                      <a:pt x="9" y="45"/>
                    </a:lnTo>
                    <a:lnTo>
                      <a:pt x="9" y="45"/>
                    </a:lnTo>
                    <a:lnTo>
                      <a:pt x="9" y="43"/>
                    </a:lnTo>
                    <a:lnTo>
                      <a:pt x="9" y="43"/>
                    </a:lnTo>
                    <a:lnTo>
                      <a:pt x="11" y="43"/>
                    </a:lnTo>
                    <a:lnTo>
                      <a:pt x="14" y="43"/>
                    </a:lnTo>
                    <a:lnTo>
                      <a:pt x="16" y="45"/>
                    </a:lnTo>
                    <a:lnTo>
                      <a:pt x="16" y="49"/>
                    </a:lnTo>
                    <a:lnTo>
                      <a:pt x="16" y="49"/>
                    </a:lnTo>
                    <a:lnTo>
                      <a:pt x="17" y="53"/>
                    </a:lnTo>
                    <a:lnTo>
                      <a:pt x="17" y="56"/>
                    </a:lnTo>
                    <a:lnTo>
                      <a:pt x="16" y="56"/>
                    </a:lnTo>
                    <a:lnTo>
                      <a:pt x="16" y="59"/>
                    </a:lnTo>
                    <a:lnTo>
                      <a:pt x="17" y="62"/>
                    </a:lnTo>
                    <a:lnTo>
                      <a:pt x="16" y="67"/>
                    </a:lnTo>
                    <a:lnTo>
                      <a:pt x="16" y="70"/>
                    </a:lnTo>
                    <a:lnTo>
                      <a:pt x="16" y="72"/>
                    </a:lnTo>
                    <a:lnTo>
                      <a:pt x="17" y="73"/>
                    </a:lnTo>
                    <a:lnTo>
                      <a:pt x="19" y="73"/>
                    </a:lnTo>
                    <a:lnTo>
                      <a:pt x="22" y="68"/>
                    </a:lnTo>
                    <a:lnTo>
                      <a:pt x="24" y="67"/>
                    </a:lnTo>
                    <a:lnTo>
                      <a:pt x="25" y="64"/>
                    </a:lnTo>
                    <a:lnTo>
                      <a:pt x="27" y="64"/>
                    </a:lnTo>
                    <a:lnTo>
                      <a:pt x="29" y="62"/>
                    </a:lnTo>
                    <a:lnTo>
                      <a:pt x="30" y="62"/>
                    </a:lnTo>
                    <a:lnTo>
                      <a:pt x="32" y="64"/>
                    </a:lnTo>
                    <a:lnTo>
                      <a:pt x="35" y="65"/>
                    </a:lnTo>
                    <a:lnTo>
                      <a:pt x="35" y="67"/>
                    </a:lnTo>
                    <a:lnTo>
                      <a:pt x="36" y="67"/>
                    </a:lnTo>
                    <a:lnTo>
                      <a:pt x="38" y="67"/>
                    </a:lnTo>
                    <a:lnTo>
                      <a:pt x="41" y="65"/>
                    </a:lnTo>
                    <a:lnTo>
                      <a:pt x="41" y="64"/>
                    </a:lnTo>
                    <a:lnTo>
                      <a:pt x="44" y="62"/>
                    </a:lnTo>
                    <a:lnTo>
                      <a:pt x="44" y="60"/>
                    </a:lnTo>
                    <a:lnTo>
                      <a:pt x="44" y="59"/>
                    </a:lnTo>
                    <a:lnTo>
                      <a:pt x="44" y="59"/>
                    </a:lnTo>
                    <a:lnTo>
                      <a:pt x="49" y="62"/>
                    </a:lnTo>
                    <a:lnTo>
                      <a:pt x="54" y="62"/>
                    </a:lnTo>
                    <a:lnTo>
                      <a:pt x="56" y="65"/>
                    </a:lnTo>
                    <a:lnTo>
                      <a:pt x="59" y="68"/>
                    </a:lnTo>
                    <a:lnTo>
                      <a:pt x="62" y="72"/>
                    </a:lnTo>
                    <a:lnTo>
                      <a:pt x="62" y="73"/>
                    </a:lnTo>
                    <a:lnTo>
                      <a:pt x="65" y="76"/>
                    </a:lnTo>
                    <a:lnTo>
                      <a:pt x="65" y="84"/>
                    </a:lnTo>
                    <a:lnTo>
                      <a:pt x="65" y="87"/>
                    </a:lnTo>
                    <a:lnTo>
                      <a:pt x="67" y="91"/>
                    </a:lnTo>
                    <a:lnTo>
                      <a:pt x="75" y="94"/>
                    </a:lnTo>
                    <a:lnTo>
                      <a:pt x="73" y="97"/>
                    </a:lnTo>
                    <a:lnTo>
                      <a:pt x="75" y="97"/>
                    </a:lnTo>
                    <a:lnTo>
                      <a:pt x="78" y="99"/>
                    </a:lnTo>
                    <a:lnTo>
                      <a:pt x="78" y="100"/>
                    </a:lnTo>
                    <a:lnTo>
                      <a:pt x="78" y="102"/>
                    </a:lnTo>
                    <a:lnTo>
                      <a:pt x="76" y="103"/>
                    </a:lnTo>
                    <a:lnTo>
                      <a:pt x="78" y="103"/>
                    </a:lnTo>
                    <a:lnTo>
                      <a:pt x="78" y="103"/>
                    </a:lnTo>
                    <a:lnTo>
                      <a:pt x="78" y="103"/>
                    </a:lnTo>
                    <a:lnTo>
                      <a:pt x="76" y="107"/>
                    </a:lnTo>
                    <a:lnTo>
                      <a:pt x="76" y="108"/>
                    </a:lnTo>
                    <a:lnTo>
                      <a:pt x="78" y="110"/>
                    </a:lnTo>
                    <a:lnTo>
                      <a:pt x="78" y="114"/>
                    </a:lnTo>
                    <a:lnTo>
                      <a:pt x="76" y="114"/>
                    </a:lnTo>
                    <a:lnTo>
                      <a:pt x="75" y="118"/>
                    </a:lnTo>
                    <a:lnTo>
                      <a:pt x="76" y="119"/>
                    </a:lnTo>
                    <a:lnTo>
                      <a:pt x="78" y="121"/>
                    </a:lnTo>
                    <a:lnTo>
                      <a:pt x="81" y="121"/>
                    </a:lnTo>
                    <a:lnTo>
                      <a:pt x="83" y="122"/>
                    </a:lnTo>
                    <a:lnTo>
                      <a:pt x="84" y="124"/>
                    </a:lnTo>
                    <a:lnTo>
                      <a:pt x="86" y="122"/>
                    </a:lnTo>
                    <a:lnTo>
                      <a:pt x="87" y="122"/>
                    </a:lnTo>
                    <a:lnTo>
                      <a:pt x="87" y="121"/>
                    </a:lnTo>
                    <a:lnTo>
                      <a:pt x="86" y="119"/>
                    </a:lnTo>
                    <a:lnTo>
                      <a:pt x="84" y="118"/>
                    </a:lnTo>
                    <a:lnTo>
                      <a:pt x="86" y="118"/>
                    </a:lnTo>
                    <a:lnTo>
                      <a:pt x="86" y="118"/>
                    </a:lnTo>
                    <a:lnTo>
                      <a:pt x="87" y="118"/>
                    </a:lnTo>
                    <a:lnTo>
                      <a:pt x="90" y="118"/>
                    </a:lnTo>
                    <a:lnTo>
                      <a:pt x="90" y="114"/>
                    </a:lnTo>
                    <a:lnTo>
                      <a:pt x="92" y="114"/>
                    </a:lnTo>
                    <a:lnTo>
                      <a:pt x="94" y="118"/>
                    </a:lnTo>
                    <a:lnTo>
                      <a:pt x="95" y="118"/>
                    </a:lnTo>
                    <a:lnTo>
                      <a:pt x="97" y="118"/>
                    </a:lnTo>
                    <a:lnTo>
                      <a:pt x="98" y="118"/>
                    </a:lnTo>
                    <a:lnTo>
                      <a:pt x="100" y="116"/>
                    </a:lnTo>
                    <a:lnTo>
                      <a:pt x="103" y="118"/>
                    </a:lnTo>
                    <a:lnTo>
                      <a:pt x="103" y="118"/>
                    </a:lnTo>
                    <a:lnTo>
                      <a:pt x="105" y="114"/>
                    </a:lnTo>
                    <a:lnTo>
                      <a:pt x="105" y="113"/>
                    </a:lnTo>
                    <a:lnTo>
                      <a:pt x="105" y="111"/>
                    </a:lnTo>
                    <a:lnTo>
                      <a:pt x="103" y="110"/>
                    </a:lnTo>
                    <a:lnTo>
                      <a:pt x="105" y="107"/>
                    </a:lnTo>
                    <a:lnTo>
                      <a:pt x="105" y="105"/>
                    </a:lnTo>
                    <a:lnTo>
                      <a:pt x="105" y="103"/>
                    </a:lnTo>
                    <a:lnTo>
                      <a:pt x="103" y="102"/>
                    </a:lnTo>
                    <a:lnTo>
                      <a:pt x="103" y="102"/>
                    </a:lnTo>
                    <a:lnTo>
                      <a:pt x="103" y="102"/>
                    </a:lnTo>
                    <a:lnTo>
                      <a:pt x="103" y="102"/>
                    </a:lnTo>
                    <a:lnTo>
                      <a:pt x="103" y="102"/>
                    </a:lnTo>
                    <a:lnTo>
                      <a:pt x="103" y="102"/>
                    </a:lnTo>
                    <a:lnTo>
                      <a:pt x="103" y="102"/>
                    </a:lnTo>
                    <a:lnTo>
                      <a:pt x="103" y="102"/>
                    </a:lnTo>
                    <a:lnTo>
                      <a:pt x="103" y="102"/>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17" name="Freeform 337">
                <a:extLst>
                  <a:ext uri="{FF2B5EF4-FFF2-40B4-BE49-F238E27FC236}">
                    <a16:creationId xmlns:a16="http://schemas.microsoft.com/office/drawing/2014/main" id="{E8B4AFA0-E880-9AED-1539-E7E5DFFBB82D}"/>
                  </a:ext>
                </a:extLst>
              </p:cNvPr>
              <p:cNvSpPr>
                <a:spLocks/>
              </p:cNvSpPr>
              <p:nvPr/>
            </p:nvSpPr>
            <p:spPr bwMode="auto">
              <a:xfrm>
                <a:off x="8512447" y="3367889"/>
                <a:ext cx="242252" cy="477775"/>
              </a:xfrm>
              <a:custGeom>
                <a:avLst/>
                <a:gdLst>
                  <a:gd name="T0" fmla="*/ 108 w 108"/>
                  <a:gd name="T1" fmla="*/ 73 h 213"/>
                  <a:gd name="T2" fmla="*/ 108 w 108"/>
                  <a:gd name="T3" fmla="*/ 70 h 213"/>
                  <a:gd name="T4" fmla="*/ 97 w 108"/>
                  <a:gd name="T5" fmla="*/ 61 h 213"/>
                  <a:gd name="T6" fmla="*/ 92 w 108"/>
                  <a:gd name="T7" fmla="*/ 42 h 213"/>
                  <a:gd name="T8" fmla="*/ 74 w 108"/>
                  <a:gd name="T9" fmla="*/ 29 h 213"/>
                  <a:gd name="T10" fmla="*/ 71 w 108"/>
                  <a:gd name="T11" fmla="*/ 35 h 213"/>
                  <a:gd name="T12" fmla="*/ 62 w 108"/>
                  <a:gd name="T13" fmla="*/ 34 h 213"/>
                  <a:gd name="T14" fmla="*/ 54 w 108"/>
                  <a:gd name="T15" fmla="*/ 37 h 213"/>
                  <a:gd name="T16" fmla="*/ 46 w 108"/>
                  <a:gd name="T17" fmla="*/ 40 h 213"/>
                  <a:gd name="T18" fmla="*/ 47 w 108"/>
                  <a:gd name="T19" fmla="*/ 26 h 213"/>
                  <a:gd name="T20" fmla="*/ 44 w 108"/>
                  <a:gd name="T21" fmla="*/ 13 h 213"/>
                  <a:gd name="T22" fmla="*/ 39 w 108"/>
                  <a:gd name="T23" fmla="*/ 15 h 213"/>
                  <a:gd name="T24" fmla="*/ 36 w 108"/>
                  <a:gd name="T25" fmla="*/ 8 h 213"/>
                  <a:gd name="T26" fmla="*/ 30 w 108"/>
                  <a:gd name="T27" fmla="*/ 2 h 213"/>
                  <a:gd name="T28" fmla="*/ 24 w 108"/>
                  <a:gd name="T29" fmla="*/ 3 h 213"/>
                  <a:gd name="T30" fmla="*/ 17 w 108"/>
                  <a:gd name="T31" fmla="*/ 8 h 213"/>
                  <a:gd name="T32" fmla="*/ 5 w 108"/>
                  <a:gd name="T33" fmla="*/ 11 h 213"/>
                  <a:gd name="T34" fmla="*/ 5 w 108"/>
                  <a:gd name="T35" fmla="*/ 26 h 213"/>
                  <a:gd name="T36" fmla="*/ 3 w 108"/>
                  <a:gd name="T37" fmla="*/ 32 h 213"/>
                  <a:gd name="T38" fmla="*/ 8 w 108"/>
                  <a:gd name="T39" fmla="*/ 42 h 213"/>
                  <a:gd name="T40" fmla="*/ 20 w 108"/>
                  <a:gd name="T41" fmla="*/ 61 h 213"/>
                  <a:gd name="T42" fmla="*/ 20 w 108"/>
                  <a:gd name="T43" fmla="*/ 64 h 213"/>
                  <a:gd name="T44" fmla="*/ 17 w 108"/>
                  <a:gd name="T45" fmla="*/ 75 h 213"/>
                  <a:gd name="T46" fmla="*/ 24 w 108"/>
                  <a:gd name="T47" fmla="*/ 88 h 213"/>
                  <a:gd name="T48" fmla="*/ 30 w 108"/>
                  <a:gd name="T49" fmla="*/ 108 h 213"/>
                  <a:gd name="T50" fmla="*/ 36 w 108"/>
                  <a:gd name="T51" fmla="*/ 127 h 213"/>
                  <a:gd name="T52" fmla="*/ 27 w 108"/>
                  <a:gd name="T53" fmla="*/ 151 h 213"/>
                  <a:gd name="T54" fmla="*/ 27 w 108"/>
                  <a:gd name="T55" fmla="*/ 177 h 213"/>
                  <a:gd name="T56" fmla="*/ 30 w 108"/>
                  <a:gd name="T57" fmla="*/ 180 h 213"/>
                  <a:gd name="T58" fmla="*/ 36 w 108"/>
                  <a:gd name="T59" fmla="*/ 183 h 213"/>
                  <a:gd name="T60" fmla="*/ 41 w 108"/>
                  <a:gd name="T61" fmla="*/ 191 h 213"/>
                  <a:gd name="T62" fmla="*/ 44 w 108"/>
                  <a:gd name="T63" fmla="*/ 197 h 213"/>
                  <a:gd name="T64" fmla="*/ 52 w 108"/>
                  <a:gd name="T65" fmla="*/ 200 h 213"/>
                  <a:gd name="T66" fmla="*/ 62 w 108"/>
                  <a:gd name="T67" fmla="*/ 207 h 213"/>
                  <a:gd name="T68" fmla="*/ 65 w 108"/>
                  <a:gd name="T69" fmla="*/ 210 h 213"/>
                  <a:gd name="T70" fmla="*/ 71 w 108"/>
                  <a:gd name="T71" fmla="*/ 210 h 213"/>
                  <a:gd name="T72" fmla="*/ 68 w 108"/>
                  <a:gd name="T73" fmla="*/ 199 h 213"/>
                  <a:gd name="T74" fmla="*/ 55 w 108"/>
                  <a:gd name="T75" fmla="*/ 192 h 213"/>
                  <a:gd name="T76" fmla="*/ 49 w 108"/>
                  <a:gd name="T77" fmla="*/ 183 h 213"/>
                  <a:gd name="T78" fmla="*/ 51 w 108"/>
                  <a:gd name="T79" fmla="*/ 183 h 213"/>
                  <a:gd name="T80" fmla="*/ 43 w 108"/>
                  <a:gd name="T81" fmla="*/ 162 h 213"/>
                  <a:gd name="T82" fmla="*/ 36 w 108"/>
                  <a:gd name="T83" fmla="*/ 157 h 213"/>
                  <a:gd name="T84" fmla="*/ 33 w 108"/>
                  <a:gd name="T85" fmla="*/ 145 h 213"/>
                  <a:gd name="T86" fmla="*/ 36 w 108"/>
                  <a:gd name="T87" fmla="*/ 137 h 213"/>
                  <a:gd name="T88" fmla="*/ 39 w 108"/>
                  <a:gd name="T89" fmla="*/ 111 h 213"/>
                  <a:gd name="T90" fmla="*/ 46 w 108"/>
                  <a:gd name="T91" fmla="*/ 100 h 213"/>
                  <a:gd name="T92" fmla="*/ 52 w 108"/>
                  <a:gd name="T93" fmla="*/ 108 h 213"/>
                  <a:gd name="T94" fmla="*/ 59 w 108"/>
                  <a:gd name="T95" fmla="*/ 113 h 213"/>
                  <a:gd name="T96" fmla="*/ 65 w 108"/>
                  <a:gd name="T97" fmla="*/ 113 h 213"/>
                  <a:gd name="T98" fmla="*/ 71 w 108"/>
                  <a:gd name="T99" fmla="*/ 116 h 213"/>
                  <a:gd name="T100" fmla="*/ 76 w 108"/>
                  <a:gd name="T101" fmla="*/ 119 h 213"/>
                  <a:gd name="T102" fmla="*/ 71 w 108"/>
                  <a:gd name="T103" fmla="*/ 104 h 213"/>
                  <a:gd name="T104" fmla="*/ 78 w 108"/>
                  <a:gd name="T105" fmla="*/ 88 h 213"/>
                  <a:gd name="T106" fmla="*/ 92 w 108"/>
                  <a:gd name="T107" fmla="*/ 88 h 213"/>
                  <a:gd name="T108" fmla="*/ 103 w 108"/>
                  <a:gd name="T109" fmla="*/ 89 h 213"/>
                  <a:gd name="T110" fmla="*/ 108 w 108"/>
                  <a:gd name="T111" fmla="*/ 84 h 213"/>
                  <a:gd name="T112" fmla="*/ 108 w 108"/>
                  <a:gd name="T113" fmla="*/ 8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 h="213">
                    <a:moveTo>
                      <a:pt x="108" y="84"/>
                    </a:moveTo>
                    <a:lnTo>
                      <a:pt x="108" y="80"/>
                    </a:lnTo>
                    <a:lnTo>
                      <a:pt x="106" y="78"/>
                    </a:lnTo>
                    <a:lnTo>
                      <a:pt x="106" y="77"/>
                    </a:lnTo>
                    <a:lnTo>
                      <a:pt x="108" y="73"/>
                    </a:lnTo>
                    <a:lnTo>
                      <a:pt x="108" y="73"/>
                    </a:lnTo>
                    <a:lnTo>
                      <a:pt x="108" y="73"/>
                    </a:lnTo>
                    <a:lnTo>
                      <a:pt x="106" y="73"/>
                    </a:lnTo>
                    <a:lnTo>
                      <a:pt x="108" y="72"/>
                    </a:lnTo>
                    <a:lnTo>
                      <a:pt x="108" y="70"/>
                    </a:lnTo>
                    <a:lnTo>
                      <a:pt x="108" y="69"/>
                    </a:lnTo>
                    <a:lnTo>
                      <a:pt x="105" y="67"/>
                    </a:lnTo>
                    <a:lnTo>
                      <a:pt x="103" y="67"/>
                    </a:lnTo>
                    <a:lnTo>
                      <a:pt x="105" y="64"/>
                    </a:lnTo>
                    <a:lnTo>
                      <a:pt x="97" y="61"/>
                    </a:lnTo>
                    <a:lnTo>
                      <a:pt x="95" y="57"/>
                    </a:lnTo>
                    <a:lnTo>
                      <a:pt x="95" y="54"/>
                    </a:lnTo>
                    <a:lnTo>
                      <a:pt x="95" y="46"/>
                    </a:lnTo>
                    <a:lnTo>
                      <a:pt x="92" y="43"/>
                    </a:lnTo>
                    <a:lnTo>
                      <a:pt x="92" y="42"/>
                    </a:lnTo>
                    <a:lnTo>
                      <a:pt x="89" y="38"/>
                    </a:lnTo>
                    <a:lnTo>
                      <a:pt x="86" y="35"/>
                    </a:lnTo>
                    <a:lnTo>
                      <a:pt x="84" y="32"/>
                    </a:lnTo>
                    <a:lnTo>
                      <a:pt x="79" y="32"/>
                    </a:lnTo>
                    <a:lnTo>
                      <a:pt x="74" y="29"/>
                    </a:lnTo>
                    <a:lnTo>
                      <a:pt x="74" y="29"/>
                    </a:lnTo>
                    <a:lnTo>
                      <a:pt x="74" y="30"/>
                    </a:lnTo>
                    <a:lnTo>
                      <a:pt x="74" y="32"/>
                    </a:lnTo>
                    <a:lnTo>
                      <a:pt x="71" y="34"/>
                    </a:lnTo>
                    <a:lnTo>
                      <a:pt x="71" y="35"/>
                    </a:lnTo>
                    <a:lnTo>
                      <a:pt x="68" y="37"/>
                    </a:lnTo>
                    <a:lnTo>
                      <a:pt x="66" y="37"/>
                    </a:lnTo>
                    <a:lnTo>
                      <a:pt x="65" y="37"/>
                    </a:lnTo>
                    <a:lnTo>
                      <a:pt x="65" y="35"/>
                    </a:lnTo>
                    <a:lnTo>
                      <a:pt x="62" y="34"/>
                    </a:lnTo>
                    <a:lnTo>
                      <a:pt x="60" y="32"/>
                    </a:lnTo>
                    <a:lnTo>
                      <a:pt x="59" y="32"/>
                    </a:lnTo>
                    <a:lnTo>
                      <a:pt x="57" y="34"/>
                    </a:lnTo>
                    <a:lnTo>
                      <a:pt x="55" y="34"/>
                    </a:lnTo>
                    <a:lnTo>
                      <a:pt x="54" y="37"/>
                    </a:lnTo>
                    <a:lnTo>
                      <a:pt x="52" y="38"/>
                    </a:lnTo>
                    <a:lnTo>
                      <a:pt x="49" y="43"/>
                    </a:lnTo>
                    <a:lnTo>
                      <a:pt x="47" y="43"/>
                    </a:lnTo>
                    <a:lnTo>
                      <a:pt x="46" y="42"/>
                    </a:lnTo>
                    <a:lnTo>
                      <a:pt x="46" y="40"/>
                    </a:lnTo>
                    <a:lnTo>
                      <a:pt x="46" y="37"/>
                    </a:lnTo>
                    <a:lnTo>
                      <a:pt x="47" y="32"/>
                    </a:lnTo>
                    <a:lnTo>
                      <a:pt x="46" y="29"/>
                    </a:lnTo>
                    <a:lnTo>
                      <a:pt x="46" y="26"/>
                    </a:lnTo>
                    <a:lnTo>
                      <a:pt x="47" y="26"/>
                    </a:lnTo>
                    <a:lnTo>
                      <a:pt x="47" y="23"/>
                    </a:lnTo>
                    <a:lnTo>
                      <a:pt x="46" y="19"/>
                    </a:lnTo>
                    <a:lnTo>
                      <a:pt x="46" y="19"/>
                    </a:lnTo>
                    <a:lnTo>
                      <a:pt x="46" y="15"/>
                    </a:lnTo>
                    <a:lnTo>
                      <a:pt x="44" y="13"/>
                    </a:lnTo>
                    <a:lnTo>
                      <a:pt x="41" y="13"/>
                    </a:lnTo>
                    <a:lnTo>
                      <a:pt x="39" y="13"/>
                    </a:lnTo>
                    <a:lnTo>
                      <a:pt x="39" y="13"/>
                    </a:lnTo>
                    <a:lnTo>
                      <a:pt x="39" y="15"/>
                    </a:lnTo>
                    <a:lnTo>
                      <a:pt x="39" y="15"/>
                    </a:lnTo>
                    <a:lnTo>
                      <a:pt x="36" y="13"/>
                    </a:lnTo>
                    <a:lnTo>
                      <a:pt x="36" y="11"/>
                    </a:lnTo>
                    <a:lnTo>
                      <a:pt x="33" y="10"/>
                    </a:lnTo>
                    <a:lnTo>
                      <a:pt x="35" y="10"/>
                    </a:lnTo>
                    <a:lnTo>
                      <a:pt x="36" y="8"/>
                    </a:lnTo>
                    <a:lnTo>
                      <a:pt x="36" y="7"/>
                    </a:lnTo>
                    <a:lnTo>
                      <a:pt x="36" y="5"/>
                    </a:lnTo>
                    <a:lnTo>
                      <a:pt x="33" y="0"/>
                    </a:lnTo>
                    <a:lnTo>
                      <a:pt x="30" y="2"/>
                    </a:lnTo>
                    <a:lnTo>
                      <a:pt x="30" y="2"/>
                    </a:lnTo>
                    <a:lnTo>
                      <a:pt x="28" y="0"/>
                    </a:lnTo>
                    <a:lnTo>
                      <a:pt x="27" y="0"/>
                    </a:lnTo>
                    <a:lnTo>
                      <a:pt x="27" y="0"/>
                    </a:lnTo>
                    <a:lnTo>
                      <a:pt x="24" y="2"/>
                    </a:lnTo>
                    <a:lnTo>
                      <a:pt x="24" y="3"/>
                    </a:lnTo>
                    <a:lnTo>
                      <a:pt x="24" y="5"/>
                    </a:lnTo>
                    <a:lnTo>
                      <a:pt x="20" y="5"/>
                    </a:lnTo>
                    <a:lnTo>
                      <a:pt x="17" y="5"/>
                    </a:lnTo>
                    <a:lnTo>
                      <a:pt x="17" y="7"/>
                    </a:lnTo>
                    <a:lnTo>
                      <a:pt x="17" y="8"/>
                    </a:lnTo>
                    <a:lnTo>
                      <a:pt x="17" y="10"/>
                    </a:lnTo>
                    <a:lnTo>
                      <a:pt x="14" y="10"/>
                    </a:lnTo>
                    <a:lnTo>
                      <a:pt x="12" y="11"/>
                    </a:lnTo>
                    <a:lnTo>
                      <a:pt x="6" y="10"/>
                    </a:lnTo>
                    <a:lnTo>
                      <a:pt x="5" y="11"/>
                    </a:lnTo>
                    <a:lnTo>
                      <a:pt x="3" y="16"/>
                    </a:lnTo>
                    <a:lnTo>
                      <a:pt x="5" y="18"/>
                    </a:lnTo>
                    <a:lnTo>
                      <a:pt x="3" y="23"/>
                    </a:lnTo>
                    <a:lnTo>
                      <a:pt x="5" y="26"/>
                    </a:lnTo>
                    <a:lnTo>
                      <a:pt x="5" y="26"/>
                    </a:lnTo>
                    <a:lnTo>
                      <a:pt x="1" y="29"/>
                    </a:lnTo>
                    <a:lnTo>
                      <a:pt x="0" y="26"/>
                    </a:lnTo>
                    <a:lnTo>
                      <a:pt x="1" y="29"/>
                    </a:lnTo>
                    <a:lnTo>
                      <a:pt x="1" y="32"/>
                    </a:lnTo>
                    <a:lnTo>
                      <a:pt x="3" y="32"/>
                    </a:lnTo>
                    <a:lnTo>
                      <a:pt x="5" y="32"/>
                    </a:lnTo>
                    <a:lnTo>
                      <a:pt x="5" y="34"/>
                    </a:lnTo>
                    <a:lnTo>
                      <a:pt x="6" y="35"/>
                    </a:lnTo>
                    <a:lnTo>
                      <a:pt x="6" y="38"/>
                    </a:lnTo>
                    <a:lnTo>
                      <a:pt x="8" y="42"/>
                    </a:lnTo>
                    <a:lnTo>
                      <a:pt x="12" y="45"/>
                    </a:lnTo>
                    <a:lnTo>
                      <a:pt x="16" y="48"/>
                    </a:lnTo>
                    <a:lnTo>
                      <a:pt x="17" y="53"/>
                    </a:lnTo>
                    <a:lnTo>
                      <a:pt x="17" y="57"/>
                    </a:lnTo>
                    <a:lnTo>
                      <a:pt x="20" y="61"/>
                    </a:lnTo>
                    <a:lnTo>
                      <a:pt x="24" y="57"/>
                    </a:lnTo>
                    <a:lnTo>
                      <a:pt x="24" y="61"/>
                    </a:lnTo>
                    <a:lnTo>
                      <a:pt x="20" y="64"/>
                    </a:lnTo>
                    <a:lnTo>
                      <a:pt x="20" y="64"/>
                    </a:lnTo>
                    <a:lnTo>
                      <a:pt x="20" y="64"/>
                    </a:lnTo>
                    <a:lnTo>
                      <a:pt x="20" y="67"/>
                    </a:lnTo>
                    <a:lnTo>
                      <a:pt x="20" y="72"/>
                    </a:lnTo>
                    <a:lnTo>
                      <a:pt x="20" y="73"/>
                    </a:lnTo>
                    <a:lnTo>
                      <a:pt x="17" y="73"/>
                    </a:lnTo>
                    <a:lnTo>
                      <a:pt x="17" y="75"/>
                    </a:lnTo>
                    <a:lnTo>
                      <a:pt x="17" y="75"/>
                    </a:lnTo>
                    <a:lnTo>
                      <a:pt x="17" y="77"/>
                    </a:lnTo>
                    <a:lnTo>
                      <a:pt x="17" y="80"/>
                    </a:lnTo>
                    <a:lnTo>
                      <a:pt x="17" y="83"/>
                    </a:lnTo>
                    <a:lnTo>
                      <a:pt x="24" y="88"/>
                    </a:lnTo>
                    <a:lnTo>
                      <a:pt x="27" y="92"/>
                    </a:lnTo>
                    <a:lnTo>
                      <a:pt x="30" y="97"/>
                    </a:lnTo>
                    <a:lnTo>
                      <a:pt x="30" y="104"/>
                    </a:lnTo>
                    <a:lnTo>
                      <a:pt x="30" y="105"/>
                    </a:lnTo>
                    <a:lnTo>
                      <a:pt x="30" y="108"/>
                    </a:lnTo>
                    <a:lnTo>
                      <a:pt x="33" y="113"/>
                    </a:lnTo>
                    <a:lnTo>
                      <a:pt x="36" y="116"/>
                    </a:lnTo>
                    <a:lnTo>
                      <a:pt x="36" y="124"/>
                    </a:lnTo>
                    <a:lnTo>
                      <a:pt x="36" y="126"/>
                    </a:lnTo>
                    <a:lnTo>
                      <a:pt x="36" y="127"/>
                    </a:lnTo>
                    <a:lnTo>
                      <a:pt x="33" y="132"/>
                    </a:lnTo>
                    <a:lnTo>
                      <a:pt x="30" y="140"/>
                    </a:lnTo>
                    <a:lnTo>
                      <a:pt x="30" y="143"/>
                    </a:lnTo>
                    <a:lnTo>
                      <a:pt x="28" y="145"/>
                    </a:lnTo>
                    <a:lnTo>
                      <a:pt x="27" y="151"/>
                    </a:lnTo>
                    <a:lnTo>
                      <a:pt x="24" y="167"/>
                    </a:lnTo>
                    <a:lnTo>
                      <a:pt x="24" y="173"/>
                    </a:lnTo>
                    <a:lnTo>
                      <a:pt x="24" y="177"/>
                    </a:lnTo>
                    <a:lnTo>
                      <a:pt x="27" y="178"/>
                    </a:lnTo>
                    <a:lnTo>
                      <a:pt x="27" y="177"/>
                    </a:lnTo>
                    <a:lnTo>
                      <a:pt x="28" y="175"/>
                    </a:lnTo>
                    <a:lnTo>
                      <a:pt x="30" y="175"/>
                    </a:lnTo>
                    <a:lnTo>
                      <a:pt x="30" y="177"/>
                    </a:lnTo>
                    <a:lnTo>
                      <a:pt x="30" y="178"/>
                    </a:lnTo>
                    <a:lnTo>
                      <a:pt x="30" y="180"/>
                    </a:lnTo>
                    <a:lnTo>
                      <a:pt x="33" y="180"/>
                    </a:lnTo>
                    <a:lnTo>
                      <a:pt x="33" y="180"/>
                    </a:lnTo>
                    <a:lnTo>
                      <a:pt x="33" y="183"/>
                    </a:lnTo>
                    <a:lnTo>
                      <a:pt x="36" y="183"/>
                    </a:lnTo>
                    <a:lnTo>
                      <a:pt x="36" y="183"/>
                    </a:lnTo>
                    <a:lnTo>
                      <a:pt x="36" y="186"/>
                    </a:lnTo>
                    <a:lnTo>
                      <a:pt x="39" y="189"/>
                    </a:lnTo>
                    <a:lnTo>
                      <a:pt x="39" y="189"/>
                    </a:lnTo>
                    <a:lnTo>
                      <a:pt x="39" y="189"/>
                    </a:lnTo>
                    <a:lnTo>
                      <a:pt x="41" y="191"/>
                    </a:lnTo>
                    <a:lnTo>
                      <a:pt x="41" y="192"/>
                    </a:lnTo>
                    <a:lnTo>
                      <a:pt x="43" y="191"/>
                    </a:lnTo>
                    <a:lnTo>
                      <a:pt x="43" y="192"/>
                    </a:lnTo>
                    <a:lnTo>
                      <a:pt x="43" y="194"/>
                    </a:lnTo>
                    <a:lnTo>
                      <a:pt x="44" y="197"/>
                    </a:lnTo>
                    <a:lnTo>
                      <a:pt x="47" y="200"/>
                    </a:lnTo>
                    <a:lnTo>
                      <a:pt x="49" y="202"/>
                    </a:lnTo>
                    <a:lnTo>
                      <a:pt x="49" y="199"/>
                    </a:lnTo>
                    <a:lnTo>
                      <a:pt x="51" y="199"/>
                    </a:lnTo>
                    <a:lnTo>
                      <a:pt x="52" y="200"/>
                    </a:lnTo>
                    <a:lnTo>
                      <a:pt x="55" y="202"/>
                    </a:lnTo>
                    <a:lnTo>
                      <a:pt x="57" y="202"/>
                    </a:lnTo>
                    <a:lnTo>
                      <a:pt x="57" y="204"/>
                    </a:lnTo>
                    <a:lnTo>
                      <a:pt x="59" y="204"/>
                    </a:lnTo>
                    <a:lnTo>
                      <a:pt x="62" y="207"/>
                    </a:lnTo>
                    <a:lnTo>
                      <a:pt x="62" y="207"/>
                    </a:lnTo>
                    <a:lnTo>
                      <a:pt x="60" y="210"/>
                    </a:lnTo>
                    <a:lnTo>
                      <a:pt x="62" y="213"/>
                    </a:lnTo>
                    <a:lnTo>
                      <a:pt x="62" y="213"/>
                    </a:lnTo>
                    <a:lnTo>
                      <a:pt x="65" y="210"/>
                    </a:lnTo>
                    <a:lnTo>
                      <a:pt x="65" y="210"/>
                    </a:lnTo>
                    <a:lnTo>
                      <a:pt x="68" y="210"/>
                    </a:lnTo>
                    <a:lnTo>
                      <a:pt x="68" y="210"/>
                    </a:lnTo>
                    <a:lnTo>
                      <a:pt x="71" y="213"/>
                    </a:lnTo>
                    <a:lnTo>
                      <a:pt x="71" y="210"/>
                    </a:lnTo>
                    <a:lnTo>
                      <a:pt x="74" y="207"/>
                    </a:lnTo>
                    <a:lnTo>
                      <a:pt x="74" y="207"/>
                    </a:lnTo>
                    <a:lnTo>
                      <a:pt x="74" y="204"/>
                    </a:lnTo>
                    <a:lnTo>
                      <a:pt x="71" y="202"/>
                    </a:lnTo>
                    <a:lnTo>
                      <a:pt x="68" y="199"/>
                    </a:lnTo>
                    <a:lnTo>
                      <a:pt x="65" y="196"/>
                    </a:lnTo>
                    <a:lnTo>
                      <a:pt x="62" y="196"/>
                    </a:lnTo>
                    <a:lnTo>
                      <a:pt x="60" y="196"/>
                    </a:lnTo>
                    <a:lnTo>
                      <a:pt x="57" y="194"/>
                    </a:lnTo>
                    <a:lnTo>
                      <a:pt x="55" y="192"/>
                    </a:lnTo>
                    <a:lnTo>
                      <a:pt x="52" y="191"/>
                    </a:lnTo>
                    <a:lnTo>
                      <a:pt x="49" y="189"/>
                    </a:lnTo>
                    <a:lnTo>
                      <a:pt x="47" y="186"/>
                    </a:lnTo>
                    <a:lnTo>
                      <a:pt x="47" y="183"/>
                    </a:lnTo>
                    <a:lnTo>
                      <a:pt x="49" y="183"/>
                    </a:lnTo>
                    <a:lnTo>
                      <a:pt x="51" y="186"/>
                    </a:lnTo>
                    <a:lnTo>
                      <a:pt x="52" y="189"/>
                    </a:lnTo>
                    <a:lnTo>
                      <a:pt x="54" y="191"/>
                    </a:lnTo>
                    <a:lnTo>
                      <a:pt x="52" y="186"/>
                    </a:lnTo>
                    <a:lnTo>
                      <a:pt x="51" y="183"/>
                    </a:lnTo>
                    <a:lnTo>
                      <a:pt x="47" y="173"/>
                    </a:lnTo>
                    <a:lnTo>
                      <a:pt x="46" y="173"/>
                    </a:lnTo>
                    <a:lnTo>
                      <a:pt x="46" y="170"/>
                    </a:lnTo>
                    <a:lnTo>
                      <a:pt x="44" y="164"/>
                    </a:lnTo>
                    <a:lnTo>
                      <a:pt x="43" y="162"/>
                    </a:lnTo>
                    <a:lnTo>
                      <a:pt x="41" y="161"/>
                    </a:lnTo>
                    <a:lnTo>
                      <a:pt x="39" y="162"/>
                    </a:lnTo>
                    <a:lnTo>
                      <a:pt x="36" y="162"/>
                    </a:lnTo>
                    <a:lnTo>
                      <a:pt x="36" y="161"/>
                    </a:lnTo>
                    <a:lnTo>
                      <a:pt x="36" y="157"/>
                    </a:lnTo>
                    <a:lnTo>
                      <a:pt x="33" y="157"/>
                    </a:lnTo>
                    <a:lnTo>
                      <a:pt x="33" y="151"/>
                    </a:lnTo>
                    <a:lnTo>
                      <a:pt x="33" y="148"/>
                    </a:lnTo>
                    <a:lnTo>
                      <a:pt x="33" y="145"/>
                    </a:lnTo>
                    <a:lnTo>
                      <a:pt x="33" y="145"/>
                    </a:lnTo>
                    <a:lnTo>
                      <a:pt x="33" y="145"/>
                    </a:lnTo>
                    <a:lnTo>
                      <a:pt x="33" y="143"/>
                    </a:lnTo>
                    <a:lnTo>
                      <a:pt x="36" y="137"/>
                    </a:lnTo>
                    <a:lnTo>
                      <a:pt x="36" y="137"/>
                    </a:lnTo>
                    <a:lnTo>
                      <a:pt x="36" y="137"/>
                    </a:lnTo>
                    <a:lnTo>
                      <a:pt x="36" y="134"/>
                    </a:lnTo>
                    <a:lnTo>
                      <a:pt x="36" y="134"/>
                    </a:lnTo>
                    <a:lnTo>
                      <a:pt x="41" y="119"/>
                    </a:lnTo>
                    <a:lnTo>
                      <a:pt x="41" y="116"/>
                    </a:lnTo>
                    <a:lnTo>
                      <a:pt x="39" y="111"/>
                    </a:lnTo>
                    <a:lnTo>
                      <a:pt x="41" y="108"/>
                    </a:lnTo>
                    <a:lnTo>
                      <a:pt x="39" y="104"/>
                    </a:lnTo>
                    <a:lnTo>
                      <a:pt x="39" y="102"/>
                    </a:lnTo>
                    <a:lnTo>
                      <a:pt x="43" y="100"/>
                    </a:lnTo>
                    <a:lnTo>
                      <a:pt x="46" y="100"/>
                    </a:lnTo>
                    <a:lnTo>
                      <a:pt x="47" y="99"/>
                    </a:lnTo>
                    <a:lnTo>
                      <a:pt x="49" y="100"/>
                    </a:lnTo>
                    <a:lnTo>
                      <a:pt x="52" y="100"/>
                    </a:lnTo>
                    <a:lnTo>
                      <a:pt x="52" y="105"/>
                    </a:lnTo>
                    <a:lnTo>
                      <a:pt x="52" y="108"/>
                    </a:lnTo>
                    <a:lnTo>
                      <a:pt x="52" y="111"/>
                    </a:lnTo>
                    <a:lnTo>
                      <a:pt x="52" y="113"/>
                    </a:lnTo>
                    <a:lnTo>
                      <a:pt x="54" y="113"/>
                    </a:lnTo>
                    <a:lnTo>
                      <a:pt x="57" y="113"/>
                    </a:lnTo>
                    <a:lnTo>
                      <a:pt x="59" y="113"/>
                    </a:lnTo>
                    <a:lnTo>
                      <a:pt x="60" y="113"/>
                    </a:lnTo>
                    <a:lnTo>
                      <a:pt x="62" y="111"/>
                    </a:lnTo>
                    <a:lnTo>
                      <a:pt x="65" y="113"/>
                    </a:lnTo>
                    <a:lnTo>
                      <a:pt x="65" y="113"/>
                    </a:lnTo>
                    <a:lnTo>
                      <a:pt x="65" y="113"/>
                    </a:lnTo>
                    <a:lnTo>
                      <a:pt x="68" y="116"/>
                    </a:lnTo>
                    <a:lnTo>
                      <a:pt x="68" y="116"/>
                    </a:lnTo>
                    <a:lnTo>
                      <a:pt x="68" y="116"/>
                    </a:lnTo>
                    <a:lnTo>
                      <a:pt x="71" y="116"/>
                    </a:lnTo>
                    <a:lnTo>
                      <a:pt x="71" y="116"/>
                    </a:lnTo>
                    <a:lnTo>
                      <a:pt x="71" y="119"/>
                    </a:lnTo>
                    <a:lnTo>
                      <a:pt x="71" y="119"/>
                    </a:lnTo>
                    <a:lnTo>
                      <a:pt x="74" y="123"/>
                    </a:lnTo>
                    <a:lnTo>
                      <a:pt x="74" y="119"/>
                    </a:lnTo>
                    <a:lnTo>
                      <a:pt x="76" y="119"/>
                    </a:lnTo>
                    <a:lnTo>
                      <a:pt x="76" y="121"/>
                    </a:lnTo>
                    <a:lnTo>
                      <a:pt x="76" y="119"/>
                    </a:lnTo>
                    <a:lnTo>
                      <a:pt x="76" y="116"/>
                    </a:lnTo>
                    <a:lnTo>
                      <a:pt x="71" y="110"/>
                    </a:lnTo>
                    <a:lnTo>
                      <a:pt x="71" y="104"/>
                    </a:lnTo>
                    <a:lnTo>
                      <a:pt x="68" y="99"/>
                    </a:lnTo>
                    <a:lnTo>
                      <a:pt x="71" y="99"/>
                    </a:lnTo>
                    <a:lnTo>
                      <a:pt x="74" y="96"/>
                    </a:lnTo>
                    <a:lnTo>
                      <a:pt x="76" y="91"/>
                    </a:lnTo>
                    <a:lnTo>
                      <a:pt x="78" y="88"/>
                    </a:lnTo>
                    <a:lnTo>
                      <a:pt x="81" y="88"/>
                    </a:lnTo>
                    <a:lnTo>
                      <a:pt x="84" y="88"/>
                    </a:lnTo>
                    <a:lnTo>
                      <a:pt x="87" y="88"/>
                    </a:lnTo>
                    <a:lnTo>
                      <a:pt x="89" y="88"/>
                    </a:lnTo>
                    <a:lnTo>
                      <a:pt x="92" y="88"/>
                    </a:lnTo>
                    <a:lnTo>
                      <a:pt x="92" y="88"/>
                    </a:lnTo>
                    <a:lnTo>
                      <a:pt x="97" y="88"/>
                    </a:lnTo>
                    <a:lnTo>
                      <a:pt x="100" y="88"/>
                    </a:lnTo>
                    <a:lnTo>
                      <a:pt x="101" y="88"/>
                    </a:lnTo>
                    <a:lnTo>
                      <a:pt x="103" y="89"/>
                    </a:lnTo>
                    <a:lnTo>
                      <a:pt x="105" y="88"/>
                    </a:lnTo>
                    <a:lnTo>
                      <a:pt x="106" y="84"/>
                    </a:lnTo>
                    <a:lnTo>
                      <a:pt x="108" y="84"/>
                    </a:lnTo>
                    <a:lnTo>
                      <a:pt x="108" y="84"/>
                    </a:lnTo>
                    <a:lnTo>
                      <a:pt x="108" y="84"/>
                    </a:lnTo>
                    <a:lnTo>
                      <a:pt x="108" y="84"/>
                    </a:lnTo>
                    <a:lnTo>
                      <a:pt x="108" y="84"/>
                    </a:lnTo>
                    <a:lnTo>
                      <a:pt x="108" y="84"/>
                    </a:lnTo>
                    <a:lnTo>
                      <a:pt x="108" y="84"/>
                    </a:lnTo>
                    <a:lnTo>
                      <a:pt x="108" y="84"/>
                    </a:lnTo>
                    <a:lnTo>
                      <a:pt x="108" y="8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18" name="Freeform 245">
                <a:extLst>
                  <a:ext uri="{FF2B5EF4-FFF2-40B4-BE49-F238E27FC236}">
                    <a16:creationId xmlns:a16="http://schemas.microsoft.com/office/drawing/2014/main" id="{E146D9F4-8D14-D727-FC93-5DEAD426BE70}"/>
                  </a:ext>
                </a:extLst>
              </p:cNvPr>
              <p:cNvSpPr>
                <a:spLocks/>
              </p:cNvSpPr>
              <p:nvPr/>
            </p:nvSpPr>
            <p:spPr bwMode="auto">
              <a:xfrm>
                <a:off x="9120320" y="3215360"/>
                <a:ext cx="42619" cy="103181"/>
              </a:xfrm>
              <a:custGeom>
                <a:avLst/>
                <a:gdLst>
                  <a:gd name="T0" fmla="*/ 0 w 19"/>
                  <a:gd name="T1" fmla="*/ 24 h 46"/>
                  <a:gd name="T2" fmla="*/ 0 w 19"/>
                  <a:gd name="T3" fmla="*/ 24 h 46"/>
                  <a:gd name="T4" fmla="*/ 2 w 19"/>
                  <a:gd name="T5" fmla="*/ 29 h 46"/>
                  <a:gd name="T6" fmla="*/ 2 w 19"/>
                  <a:gd name="T7" fmla="*/ 29 h 46"/>
                  <a:gd name="T8" fmla="*/ 0 w 19"/>
                  <a:gd name="T9" fmla="*/ 30 h 46"/>
                  <a:gd name="T10" fmla="*/ 2 w 19"/>
                  <a:gd name="T11" fmla="*/ 30 h 46"/>
                  <a:gd name="T12" fmla="*/ 2 w 19"/>
                  <a:gd name="T13" fmla="*/ 30 h 46"/>
                  <a:gd name="T14" fmla="*/ 3 w 19"/>
                  <a:gd name="T15" fmla="*/ 32 h 46"/>
                  <a:gd name="T16" fmla="*/ 5 w 19"/>
                  <a:gd name="T17" fmla="*/ 37 h 46"/>
                  <a:gd name="T18" fmla="*/ 5 w 19"/>
                  <a:gd name="T19" fmla="*/ 37 h 46"/>
                  <a:gd name="T20" fmla="*/ 7 w 19"/>
                  <a:gd name="T21" fmla="*/ 40 h 46"/>
                  <a:gd name="T22" fmla="*/ 10 w 19"/>
                  <a:gd name="T23" fmla="*/ 41 h 46"/>
                  <a:gd name="T24" fmla="*/ 10 w 19"/>
                  <a:gd name="T25" fmla="*/ 41 h 46"/>
                  <a:gd name="T26" fmla="*/ 10 w 19"/>
                  <a:gd name="T27" fmla="*/ 45 h 46"/>
                  <a:gd name="T28" fmla="*/ 13 w 19"/>
                  <a:gd name="T29" fmla="*/ 46 h 46"/>
                  <a:gd name="T30" fmla="*/ 13 w 19"/>
                  <a:gd name="T31" fmla="*/ 46 h 46"/>
                  <a:gd name="T32" fmla="*/ 13 w 19"/>
                  <a:gd name="T33" fmla="*/ 46 h 46"/>
                  <a:gd name="T34" fmla="*/ 13 w 19"/>
                  <a:gd name="T35" fmla="*/ 45 h 46"/>
                  <a:gd name="T36" fmla="*/ 13 w 19"/>
                  <a:gd name="T37" fmla="*/ 41 h 46"/>
                  <a:gd name="T38" fmla="*/ 13 w 19"/>
                  <a:gd name="T39" fmla="*/ 41 h 46"/>
                  <a:gd name="T40" fmla="*/ 13 w 19"/>
                  <a:gd name="T41" fmla="*/ 38 h 46"/>
                  <a:gd name="T42" fmla="*/ 16 w 19"/>
                  <a:gd name="T43" fmla="*/ 35 h 46"/>
                  <a:gd name="T44" fmla="*/ 16 w 19"/>
                  <a:gd name="T45" fmla="*/ 35 h 46"/>
                  <a:gd name="T46" fmla="*/ 16 w 19"/>
                  <a:gd name="T47" fmla="*/ 32 h 46"/>
                  <a:gd name="T48" fmla="*/ 19 w 19"/>
                  <a:gd name="T49" fmla="*/ 29 h 46"/>
                  <a:gd name="T50" fmla="*/ 19 w 19"/>
                  <a:gd name="T51" fmla="*/ 19 h 46"/>
                  <a:gd name="T52" fmla="*/ 19 w 19"/>
                  <a:gd name="T53" fmla="*/ 19 h 46"/>
                  <a:gd name="T54" fmla="*/ 16 w 19"/>
                  <a:gd name="T55" fmla="*/ 14 h 46"/>
                  <a:gd name="T56" fmla="*/ 16 w 19"/>
                  <a:gd name="T57" fmla="*/ 14 h 46"/>
                  <a:gd name="T58" fmla="*/ 19 w 19"/>
                  <a:gd name="T59" fmla="*/ 13 h 46"/>
                  <a:gd name="T60" fmla="*/ 19 w 19"/>
                  <a:gd name="T61" fmla="*/ 13 h 46"/>
                  <a:gd name="T62" fmla="*/ 19 w 19"/>
                  <a:gd name="T63" fmla="*/ 6 h 46"/>
                  <a:gd name="T64" fmla="*/ 19 w 19"/>
                  <a:gd name="T65" fmla="*/ 6 h 46"/>
                  <a:gd name="T66" fmla="*/ 19 w 19"/>
                  <a:gd name="T67" fmla="*/ 3 h 46"/>
                  <a:gd name="T68" fmla="*/ 19 w 19"/>
                  <a:gd name="T69" fmla="*/ 3 h 46"/>
                  <a:gd name="T70" fmla="*/ 19 w 19"/>
                  <a:gd name="T71" fmla="*/ 3 h 46"/>
                  <a:gd name="T72" fmla="*/ 16 w 19"/>
                  <a:gd name="T73" fmla="*/ 0 h 46"/>
                  <a:gd name="T74" fmla="*/ 13 w 19"/>
                  <a:gd name="T75" fmla="*/ 0 h 46"/>
                  <a:gd name="T76" fmla="*/ 13 w 19"/>
                  <a:gd name="T77" fmla="*/ 0 h 46"/>
                  <a:gd name="T78" fmla="*/ 10 w 19"/>
                  <a:gd name="T79" fmla="*/ 0 h 46"/>
                  <a:gd name="T80" fmla="*/ 7 w 19"/>
                  <a:gd name="T81" fmla="*/ 3 h 46"/>
                  <a:gd name="T82" fmla="*/ 7 w 19"/>
                  <a:gd name="T83" fmla="*/ 3 h 46"/>
                  <a:gd name="T84" fmla="*/ 7 w 19"/>
                  <a:gd name="T85" fmla="*/ 6 h 46"/>
                  <a:gd name="T86" fmla="*/ 5 w 19"/>
                  <a:gd name="T87" fmla="*/ 10 h 46"/>
                  <a:gd name="T88" fmla="*/ 5 w 19"/>
                  <a:gd name="T89" fmla="*/ 10 h 46"/>
                  <a:gd name="T90" fmla="*/ 3 w 19"/>
                  <a:gd name="T91" fmla="*/ 11 h 46"/>
                  <a:gd name="T92" fmla="*/ 3 w 19"/>
                  <a:gd name="T93" fmla="*/ 14 h 46"/>
                  <a:gd name="T94" fmla="*/ 3 w 19"/>
                  <a:gd name="T95" fmla="*/ 14 h 46"/>
                  <a:gd name="T96" fmla="*/ 2 w 19"/>
                  <a:gd name="T97" fmla="*/ 19 h 46"/>
                  <a:gd name="T98" fmla="*/ 0 w 19"/>
                  <a:gd name="T99" fmla="*/ 24 h 46"/>
                  <a:gd name="T100" fmla="*/ 0 w 19"/>
                  <a:gd name="T101" fmla="*/ 24 h 46"/>
                  <a:gd name="T102" fmla="*/ 0 w 19"/>
                  <a:gd name="T103" fmla="*/ 24 h 46"/>
                  <a:gd name="T104" fmla="*/ 0 w 19"/>
                  <a:gd name="T105" fmla="*/ 24 h 46"/>
                  <a:gd name="T106" fmla="*/ 0 w 19"/>
                  <a:gd name="T107" fmla="*/ 24 h 46"/>
                  <a:gd name="T108" fmla="*/ 0 w 19"/>
                  <a:gd name="T109" fmla="*/ 24 h 46"/>
                  <a:gd name="T110" fmla="*/ 0 w 19"/>
                  <a:gd name="T111" fmla="*/ 24 h 46"/>
                  <a:gd name="T112" fmla="*/ 0 w 19"/>
                  <a:gd name="T113" fmla="*/ 24 h 46"/>
                  <a:gd name="T114" fmla="*/ 0 w 19"/>
                  <a:gd name="T115" fmla="*/ 24 h 46"/>
                  <a:gd name="T116" fmla="*/ 0 w 19"/>
                  <a:gd name="T117"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 h="46">
                    <a:moveTo>
                      <a:pt x="0" y="24"/>
                    </a:moveTo>
                    <a:lnTo>
                      <a:pt x="0" y="24"/>
                    </a:lnTo>
                    <a:lnTo>
                      <a:pt x="2" y="29"/>
                    </a:lnTo>
                    <a:lnTo>
                      <a:pt x="2" y="29"/>
                    </a:lnTo>
                    <a:lnTo>
                      <a:pt x="0" y="30"/>
                    </a:lnTo>
                    <a:lnTo>
                      <a:pt x="2" y="30"/>
                    </a:lnTo>
                    <a:lnTo>
                      <a:pt x="2" y="30"/>
                    </a:lnTo>
                    <a:lnTo>
                      <a:pt x="3" y="32"/>
                    </a:lnTo>
                    <a:lnTo>
                      <a:pt x="5" y="37"/>
                    </a:lnTo>
                    <a:lnTo>
                      <a:pt x="5" y="37"/>
                    </a:lnTo>
                    <a:lnTo>
                      <a:pt x="7" y="40"/>
                    </a:lnTo>
                    <a:lnTo>
                      <a:pt x="10" y="41"/>
                    </a:lnTo>
                    <a:lnTo>
                      <a:pt x="10" y="41"/>
                    </a:lnTo>
                    <a:lnTo>
                      <a:pt x="10" y="45"/>
                    </a:lnTo>
                    <a:lnTo>
                      <a:pt x="13" y="46"/>
                    </a:lnTo>
                    <a:lnTo>
                      <a:pt x="13" y="46"/>
                    </a:lnTo>
                    <a:lnTo>
                      <a:pt x="13" y="46"/>
                    </a:lnTo>
                    <a:lnTo>
                      <a:pt x="13" y="45"/>
                    </a:lnTo>
                    <a:lnTo>
                      <a:pt x="13" y="41"/>
                    </a:lnTo>
                    <a:lnTo>
                      <a:pt x="13" y="41"/>
                    </a:lnTo>
                    <a:lnTo>
                      <a:pt x="13" y="38"/>
                    </a:lnTo>
                    <a:lnTo>
                      <a:pt x="16" y="35"/>
                    </a:lnTo>
                    <a:lnTo>
                      <a:pt x="16" y="35"/>
                    </a:lnTo>
                    <a:lnTo>
                      <a:pt x="16" y="32"/>
                    </a:lnTo>
                    <a:lnTo>
                      <a:pt x="19" y="29"/>
                    </a:lnTo>
                    <a:lnTo>
                      <a:pt x="19" y="19"/>
                    </a:lnTo>
                    <a:lnTo>
                      <a:pt x="19" y="19"/>
                    </a:lnTo>
                    <a:lnTo>
                      <a:pt x="16" y="14"/>
                    </a:lnTo>
                    <a:lnTo>
                      <a:pt x="16" y="14"/>
                    </a:lnTo>
                    <a:lnTo>
                      <a:pt x="19" y="13"/>
                    </a:lnTo>
                    <a:lnTo>
                      <a:pt x="19" y="13"/>
                    </a:lnTo>
                    <a:lnTo>
                      <a:pt x="19" y="6"/>
                    </a:lnTo>
                    <a:lnTo>
                      <a:pt x="19" y="6"/>
                    </a:lnTo>
                    <a:lnTo>
                      <a:pt x="19" y="3"/>
                    </a:lnTo>
                    <a:lnTo>
                      <a:pt x="19" y="3"/>
                    </a:lnTo>
                    <a:lnTo>
                      <a:pt x="19" y="3"/>
                    </a:lnTo>
                    <a:lnTo>
                      <a:pt x="16" y="0"/>
                    </a:lnTo>
                    <a:lnTo>
                      <a:pt x="13" y="0"/>
                    </a:lnTo>
                    <a:lnTo>
                      <a:pt x="13" y="0"/>
                    </a:lnTo>
                    <a:lnTo>
                      <a:pt x="10" y="0"/>
                    </a:lnTo>
                    <a:lnTo>
                      <a:pt x="7" y="3"/>
                    </a:lnTo>
                    <a:lnTo>
                      <a:pt x="7" y="3"/>
                    </a:lnTo>
                    <a:lnTo>
                      <a:pt x="7" y="6"/>
                    </a:lnTo>
                    <a:lnTo>
                      <a:pt x="5" y="10"/>
                    </a:lnTo>
                    <a:lnTo>
                      <a:pt x="5" y="10"/>
                    </a:lnTo>
                    <a:lnTo>
                      <a:pt x="3" y="11"/>
                    </a:lnTo>
                    <a:lnTo>
                      <a:pt x="3" y="14"/>
                    </a:lnTo>
                    <a:lnTo>
                      <a:pt x="3" y="14"/>
                    </a:lnTo>
                    <a:lnTo>
                      <a:pt x="2" y="19"/>
                    </a:lnTo>
                    <a:lnTo>
                      <a:pt x="0" y="24"/>
                    </a:lnTo>
                    <a:lnTo>
                      <a:pt x="0" y="24"/>
                    </a:lnTo>
                    <a:lnTo>
                      <a:pt x="0" y="24"/>
                    </a:lnTo>
                    <a:lnTo>
                      <a:pt x="0" y="24"/>
                    </a:lnTo>
                    <a:lnTo>
                      <a:pt x="0" y="24"/>
                    </a:lnTo>
                    <a:lnTo>
                      <a:pt x="0" y="24"/>
                    </a:lnTo>
                    <a:lnTo>
                      <a:pt x="0" y="24"/>
                    </a:lnTo>
                    <a:lnTo>
                      <a:pt x="0" y="24"/>
                    </a:lnTo>
                    <a:lnTo>
                      <a:pt x="0" y="24"/>
                    </a:lnTo>
                    <a:lnTo>
                      <a:pt x="0" y="2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19" name="Freeform 255">
                <a:extLst>
                  <a:ext uri="{FF2B5EF4-FFF2-40B4-BE49-F238E27FC236}">
                    <a16:creationId xmlns:a16="http://schemas.microsoft.com/office/drawing/2014/main" id="{11CFC927-0E4B-981E-4657-A656DA50C4E3}"/>
                  </a:ext>
                </a:extLst>
              </p:cNvPr>
              <p:cNvSpPr>
                <a:spLocks noEditPoints="1"/>
              </p:cNvSpPr>
              <p:nvPr/>
            </p:nvSpPr>
            <p:spPr bwMode="auto">
              <a:xfrm>
                <a:off x="9106862" y="3426208"/>
                <a:ext cx="262440" cy="419455"/>
              </a:xfrm>
              <a:custGeom>
                <a:avLst/>
                <a:gdLst>
                  <a:gd name="T0" fmla="*/ 49 w 117"/>
                  <a:gd name="T1" fmla="*/ 184 h 187"/>
                  <a:gd name="T2" fmla="*/ 62 w 117"/>
                  <a:gd name="T3" fmla="*/ 176 h 187"/>
                  <a:gd name="T4" fmla="*/ 59 w 117"/>
                  <a:gd name="T5" fmla="*/ 173 h 187"/>
                  <a:gd name="T6" fmla="*/ 24 w 117"/>
                  <a:gd name="T7" fmla="*/ 112 h 187"/>
                  <a:gd name="T8" fmla="*/ 16 w 117"/>
                  <a:gd name="T9" fmla="*/ 125 h 187"/>
                  <a:gd name="T10" fmla="*/ 9 w 117"/>
                  <a:gd name="T11" fmla="*/ 139 h 187"/>
                  <a:gd name="T12" fmla="*/ 24 w 117"/>
                  <a:gd name="T13" fmla="*/ 122 h 187"/>
                  <a:gd name="T14" fmla="*/ 25 w 117"/>
                  <a:gd name="T15" fmla="*/ 111 h 187"/>
                  <a:gd name="T16" fmla="*/ 30 w 117"/>
                  <a:gd name="T17" fmla="*/ 93 h 187"/>
                  <a:gd name="T18" fmla="*/ 48 w 117"/>
                  <a:gd name="T19" fmla="*/ 84 h 187"/>
                  <a:gd name="T20" fmla="*/ 46 w 117"/>
                  <a:gd name="T21" fmla="*/ 93 h 187"/>
                  <a:gd name="T22" fmla="*/ 48 w 117"/>
                  <a:gd name="T23" fmla="*/ 84 h 187"/>
                  <a:gd name="T24" fmla="*/ 33 w 117"/>
                  <a:gd name="T25" fmla="*/ 62 h 187"/>
                  <a:gd name="T26" fmla="*/ 36 w 117"/>
                  <a:gd name="T27" fmla="*/ 70 h 187"/>
                  <a:gd name="T28" fmla="*/ 54 w 117"/>
                  <a:gd name="T29" fmla="*/ 71 h 187"/>
                  <a:gd name="T30" fmla="*/ 59 w 117"/>
                  <a:gd name="T31" fmla="*/ 68 h 187"/>
                  <a:gd name="T32" fmla="*/ 79 w 117"/>
                  <a:gd name="T33" fmla="*/ 82 h 187"/>
                  <a:gd name="T34" fmla="*/ 73 w 117"/>
                  <a:gd name="T35" fmla="*/ 73 h 187"/>
                  <a:gd name="T36" fmla="*/ 68 w 117"/>
                  <a:gd name="T37" fmla="*/ 71 h 187"/>
                  <a:gd name="T38" fmla="*/ 55 w 117"/>
                  <a:gd name="T39" fmla="*/ 66 h 187"/>
                  <a:gd name="T40" fmla="*/ 43 w 117"/>
                  <a:gd name="T41" fmla="*/ 43 h 187"/>
                  <a:gd name="T42" fmla="*/ 49 w 117"/>
                  <a:gd name="T43" fmla="*/ 17 h 187"/>
                  <a:gd name="T44" fmla="*/ 40 w 117"/>
                  <a:gd name="T45" fmla="*/ 6 h 187"/>
                  <a:gd name="T46" fmla="*/ 25 w 117"/>
                  <a:gd name="T47" fmla="*/ 16 h 187"/>
                  <a:gd name="T48" fmla="*/ 21 w 117"/>
                  <a:gd name="T49" fmla="*/ 38 h 187"/>
                  <a:gd name="T50" fmla="*/ 24 w 117"/>
                  <a:gd name="T51" fmla="*/ 44 h 187"/>
                  <a:gd name="T52" fmla="*/ 49 w 117"/>
                  <a:gd name="T53" fmla="*/ 55 h 187"/>
                  <a:gd name="T54" fmla="*/ 55 w 117"/>
                  <a:gd name="T55" fmla="*/ 76 h 187"/>
                  <a:gd name="T56" fmla="*/ 52 w 117"/>
                  <a:gd name="T57" fmla="*/ 74 h 187"/>
                  <a:gd name="T58" fmla="*/ 65 w 117"/>
                  <a:gd name="T59" fmla="*/ 114 h 187"/>
                  <a:gd name="T60" fmla="*/ 59 w 117"/>
                  <a:gd name="T61" fmla="*/ 98 h 187"/>
                  <a:gd name="T62" fmla="*/ 57 w 117"/>
                  <a:gd name="T63" fmla="*/ 106 h 187"/>
                  <a:gd name="T64" fmla="*/ 116 w 117"/>
                  <a:gd name="T65" fmla="*/ 149 h 187"/>
                  <a:gd name="T66" fmla="*/ 111 w 117"/>
                  <a:gd name="T67" fmla="*/ 135 h 187"/>
                  <a:gd name="T68" fmla="*/ 103 w 117"/>
                  <a:gd name="T69" fmla="*/ 138 h 187"/>
                  <a:gd name="T70" fmla="*/ 92 w 117"/>
                  <a:gd name="T71" fmla="*/ 146 h 187"/>
                  <a:gd name="T72" fmla="*/ 82 w 117"/>
                  <a:gd name="T73" fmla="*/ 146 h 187"/>
                  <a:gd name="T74" fmla="*/ 71 w 117"/>
                  <a:gd name="T75" fmla="*/ 152 h 187"/>
                  <a:gd name="T76" fmla="*/ 65 w 117"/>
                  <a:gd name="T77" fmla="*/ 163 h 187"/>
                  <a:gd name="T78" fmla="*/ 75 w 117"/>
                  <a:gd name="T79" fmla="*/ 160 h 187"/>
                  <a:gd name="T80" fmla="*/ 87 w 117"/>
                  <a:gd name="T81" fmla="*/ 160 h 187"/>
                  <a:gd name="T82" fmla="*/ 103 w 117"/>
                  <a:gd name="T83" fmla="*/ 181 h 187"/>
                  <a:gd name="T84" fmla="*/ 108 w 117"/>
                  <a:gd name="T85" fmla="*/ 163 h 187"/>
                  <a:gd name="T86" fmla="*/ 117 w 117"/>
                  <a:gd name="T87" fmla="*/ 168 h 187"/>
                  <a:gd name="T88" fmla="*/ 117 w 117"/>
                  <a:gd name="T89" fmla="*/ 157 h 187"/>
                  <a:gd name="T90" fmla="*/ 68 w 117"/>
                  <a:gd name="T91" fmla="*/ 116 h 187"/>
                  <a:gd name="T92" fmla="*/ 65 w 117"/>
                  <a:gd name="T93" fmla="*/ 133 h 187"/>
                  <a:gd name="T94" fmla="*/ 75 w 117"/>
                  <a:gd name="T95" fmla="*/ 119 h 187"/>
                  <a:gd name="T96" fmla="*/ 73 w 117"/>
                  <a:gd name="T97" fmla="*/ 93 h 187"/>
                  <a:gd name="T98" fmla="*/ 71 w 117"/>
                  <a:gd name="T99" fmla="*/ 93 h 187"/>
                  <a:gd name="T100" fmla="*/ 71 w 117"/>
                  <a:gd name="T101" fmla="*/ 97 h 187"/>
                  <a:gd name="T102" fmla="*/ 75 w 117"/>
                  <a:gd name="T103" fmla="*/ 131 h 187"/>
                  <a:gd name="T104" fmla="*/ 78 w 117"/>
                  <a:gd name="T105" fmla="*/ 128 h 187"/>
                  <a:gd name="T106" fmla="*/ 82 w 117"/>
                  <a:gd name="T107" fmla="*/ 71 h 187"/>
                  <a:gd name="T108" fmla="*/ 89 w 117"/>
                  <a:gd name="T109" fmla="*/ 122 h 187"/>
                  <a:gd name="T110" fmla="*/ 84 w 117"/>
                  <a:gd name="T111" fmla="*/ 131 h 187"/>
                  <a:gd name="T112" fmla="*/ 94 w 117"/>
                  <a:gd name="T113" fmla="*/ 103 h 187"/>
                  <a:gd name="T114" fmla="*/ 90 w 117"/>
                  <a:gd name="T115" fmla="*/ 111 h 187"/>
                  <a:gd name="T116" fmla="*/ 97 w 117"/>
                  <a:gd name="T117" fmla="*/ 114 h 187"/>
                  <a:gd name="T118" fmla="*/ 103 w 117"/>
                  <a:gd name="T119" fmla="*/ 106 h 187"/>
                  <a:gd name="T120" fmla="*/ 94 w 117"/>
                  <a:gd name="T121" fmla="*/ 87 h 187"/>
                  <a:gd name="T122" fmla="*/ 89 w 117"/>
                  <a:gd name="T123" fmla="*/ 9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7" h="187">
                    <a:moveTo>
                      <a:pt x="49" y="184"/>
                    </a:moveTo>
                    <a:lnTo>
                      <a:pt x="51" y="184"/>
                    </a:lnTo>
                    <a:lnTo>
                      <a:pt x="54" y="184"/>
                    </a:lnTo>
                    <a:lnTo>
                      <a:pt x="54" y="184"/>
                    </a:lnTo>
                    <a:lnTo>
                      <a:pt x="54" y="181"/>
                    </a:lnTo>
                    <a:lnTo>
                      <a:pt x="49" y="181"/>
                    </a:lnTo>
                    <a:lnTo>
                      <a:pt x="49" y="184"/>
                    </a:lnTo>
                    <a:lnTo>
                      <a:pt x="49" y="184"/>
                    </a:lnTo>
                    <a:lnTo>
                      <a:pt x="49" y="184"/>
                    </a:lnTo>
                    <a:lnTo>
                      <a:pt x="49" y="184"/>
                    </a:lnTo>
                    <a:lnTo>
                      <a:pt x="49" y="184"/>
                    </a:lnTo>
                    <a:lnTo>
                      <a:pt x="49" y="184"/>
                    </a:lnTo>
                    <a:lnTo>
                      <a:pt x="49" y="184"/>
                    </a:lnTo>
                    <a:lnTo>
                      <a:pt x="49" y="184"/>
                    </a:lnTo>
                    <a:lnTo>
                      <a:pt x="49" y="184"/>
                    </a:lnTo>
                    <a:close/>
                    <a:moveTo>
                      <a:pt x="59" y="173"/>
                    </a:moveTo>
                    <a:lnTo>
                      <a:pt x="59" y="173"/>
                    </a:lnTo>
                    <a:lnTo>
                      <a:pt x="59" y="174"/>
                    </a:lnTo>
                    <a:lnTo>
                      <a:pt x="62" y="176"/>
                    </a:lnTo>
                    <a:lnTo>
                      <a:pt x="62" y="176"/>
                    </a:lnTo>
                    <a:lnTo>
                      <a:pt x="65" y="174"/>
                    </a:lnTo>
                    <a:lnTo>
                      <a:pt x="65" y="173"/>
                    </a:lnTo>
                    <a:lnTo>
                      <a:pt x="62" y="171"/>
                    </a:lnTo>
                    <a:lnTo>
                      <a:pt x="59" y="173"/>
                    </a:lnTo>
                    <a:lnTo>
                      <a:pt x="59" y="173"/>
                    </a:lnTo>
                    <a:lnTo>
                      <a:pt x="59" y="173"/>
                    </a:lnTo>
                    <a:lnTo>
                      <a:pt x="59" y="173"/>
                    </a:lnTo>
                    <a:lnTo>
                      <a:pt x="59" y="173"/>
                    </a:lnTo>
                    <a:lnTo>
                      <a:pt x="59" y="173"/>
                    </a:lnTo>
                    <a:lnTo>
                      <a:pt x="59" y="173"/>
                    </a:lnTo>
                    <a:lnTo>
                      <a:pt x="59" y="173"/>
                    </a:lnTo>
                    <a:lnTo>
                      <a:pt x="59" y="173"/>
                    </a:lnTo>
                    <a:close/>
                    <a:moveTo>
                      <a:pt x="25" y="111"/>
                    </a:moveTo>
                    <a:lnTo>
                      <a:pt x="25" y="109"/>
                    </a:lnTo>
                    <a:lnTo>
                      <a:pt x="25" y="106"/>
                    </a:lnTo>
                    <a:lnTo>
                      <a:pt x="25" y="105"/>
                    </a:lnTo>
                    <a:lnTo>
                      <a:pt x="24" y="108"/>
                    </a:lnTo>
                    <a:lnTo>
                      <a:pt x="24" y="109"/>
                    </a:lnTo>
                    <a:lnTo>
                      <a:pt x="25" y="114"/>
                    </a:lnTo>
                    <a:lnTo>
                      <a:pt x="24" y="112"/>
                    </a:lnTo>
                    <a:lnTo>
                      <a:pt x="22" y="111"/>
                    </a:lnTo>
                    <a:lnTo>
                      <a:pt x="24" y="116"/>
                    </a:lnTo>
                    <a:lnTo>
                      <a:pt x="22" y="119"/>
                    </a:lnTo>
                    <a:lnTo>
                      <a:pt x="21" y="119"/>
                    </a:lnTo>
                    <a:lnTo>
                      <a:pt x="19" y="119"/>
                    </a:lnTo>
                    <a:lnTo>
                      <a:pt x="19" y="122"/>
                    </a:lnTo>
                    <a:lnTo>
                      <a:pt x="17" y="122"/>
                    </a:lnTo>
                    <a:lnTo>
                      <a:pt x="17" y="122"/>
                    </a:lnTo>
                    <a:lnTo>
                      <a:pt x="16" y="125"/>
                    </a:lnTo>
                    <a:lnTo>
                      <a:pt x="16" y="125"/>
                    </a:lnTo>
                    <a:lnTo>
                      <a:pt x="13" y="128"/>
                    </a:lnTo>
                    <a:lnTo>
                      <a:pt x="9" y="135"/>
                    </a:lnTo>
                    <a:lnTo>
                      <a:pt x="6" y="135"/>
                    </a:lnTo>
                    <a:lnTo>
                      <a:pt x="6" y="138"/>
                    </a:lnTo>
                    <a:lnTo>
                      <a:pt x="3" y="141"/>
                    </a:lnTo>
                    <a:lnTo>
                      <a:pt x="0" y="146"/>
                    </a:lnTo>
                    <a:lnTo>
                      <a:pt x="0" y="149"/>
                    </a:lnTo>
                    <a:lnTo>
                      <a:pt x="3" y="144"/>
                    </a:lnTo>
                    <a:lnTo>
                      <a:pt x="6" y="141"/>
                    </a:lnTo>
                    <a:lnTo>
                      <a:pt x="9" y="139"/>
                    </a:lnTo>
                    <a:lnTo>
                      <a:pt x="14" y="133"/>
                    </a:lnTo>
                    <a:lnTo>
                      <a:pt x="17" y="131"/>
                    </a:lnTo>
                    <a:lnTo>
                      <a:pt x="17" y="128"/>
                    </a:lnTo>
                    <a:lnTo>
                      <a:pt x="16" y="128"/>
                    </a:lnTo>
                    <a:lnTo>
                      <a:pt x="17" y="128"/>
                    </a:lnTo>
                    <a:lnTo>
                      <a:pt x="17" y="125"/>
                    </a:lnTo>
                    <a:lnTo>
                      <a:pt x="19" y="125"/>
                    </a:lnTo>
                    <a:lnTo>
                      <a:pt x="21" y="125"/>
                    </a:lnTo>
                    <a:lnTo>
                      <a:pt x="22" y="125"/>
                    </a:lnTo>
                    <a:lnTo>
                      <a:pt x="24" y="122"/>
                    </a:lnTo>
                    <a:lnTo>
                      <a:pt x="25" y="119"/>
                    </a:lnTo>
                    <a:lnTo>
                      <a:pt x="27" y="119"/>
                    </a:lnTo>
                    <a:lnTo>
                      <a:pt x="27" y="119"/>
                    </a:lnTo>
                    <a:lnTo>
                      <a:pt x="27" y="117"/>
                    </a:lnTo>
                    <a:lnTo>
                      <a:pt x="27" y="114"/>
                    </a:lnTo>
                    <a:lnTo>
                      <a:pt x="25" y="111"/>
                    </a:lnTo>
                    <a:lnTo>
                      <a:pt x="25" y="111"/>
                    </a:lnTo>
                    <a:lnTo>
                      <a:pt x="25" y="111"/>
                    </a:lnTo>
                    <a:lnTo>
                      <a:pt x="25" y="111"/>
                    </a:lnTo>
                    <a:lnTo>
                      <a:pt x="25" y="111"/>
                    </a:lnTo>
                    <a:lnTo>
                      <a:pt x="25" y="111"/>
                    </a:lnTo>
                    <a:lnTo>
                      <a:pt x="25" y="111"/>
                    </a:lnTo>
                    <a:lnTo>
                      <a:pt x="25" y="111"/>
                    </a:lnTo>
                    <a:lnTo>
                      <a:pt x="25" y="111"/>
                    </a:lnTo>
                    <a:close/>
                    <a:moveTo>
                      <a:pt x="27" y="90"/>
                    </a:moveTo>
                    <a:lnTo>
                      <a:pt x="27" y="93"/>
                    </a:lnTo>
                    <a:lnTo>
                      <a:pt x="30" y="97"/>
                    </a:lnTo>
                    <a:lnTo>
                      <a:pt x="33" y="97"/>
                    </a:lnTo>
                    <a:lnTo>
                      <a:pt x="33" y="93"/>
                    </a:lnTo>
                    <a:lnTo>
                      <a:pt x="30" y="93"/>
                    </a:lnTo>
                    <a:lnTo>
                      <a:pt x="27" y="90"/>
                    </a:lnTo>
                    <a:lnTo>
                      <a:pt x="27" y="90"/>
                    </a:lnTo>
                    <a:lnTo>
                      <a:pt x="27" y="90"/>
                    </a:lnTo>
                    <a:lnTo>
                      <a:pt x="27" y="90"/>
                    </a:lnTo>
                    <a:lnTo>
                      <a:pt x="27" y="90"/>
                    </a:lnTo>
                    <a:lnTo>
                      <a:pt x="27" y="90"/>
                    </a:lnTo>
                    <a:lnTo>
                      <a:pt x="27" y="90"/>
                    </a:lnTo>
                    <a:lnTo>
                      <a:pt x="27" y="90"/>
                    </a:lnTo>
                    <a:lnTo>
                      <a:pt x="27" y="90"/>
                    </a:lnTo>
                    <a:close/>
                    <a:moveTo>
                      <a:pt x="48" y="84"/>
                    </a:moveTo>
                    <a:lnTo>
                      <a:pt x="46" y="79"/>
                    </a:lnTo>
                    <a:lnTo>
                      <a:pt x="44" y="76"/>
                    </a:lnTo>
                    <a:lnTo>
                      <a:pt x="38" y="74"/>
                    </a:lnTo>
                    <a:lnTo>
                      <a:pt x="33" y="74"/>
                    </a:lnTo>
                    <a:lnTo>
                      <a:pt x="33" y="74"/>
                    </a:lnTo>
                    <a:lnTo>
                      <a:pt x="36" y="78"/>
                    </a:lnTo>
                    <a:lnTo>
                      <a:pt x="36" y="82"/>
                    </a:lnTo>
                    <a:lnTo>
                      <a:pt x="40" y="85"/>
                    </a:lnTo>
                    <a:lnTo>
                      <a:pt x="43" y="90"/>
                    </a:lnTo>
                    <a:lnTo>
                      <a:pt x="46" y="93"/>
                    </a:lnTo>
                    <a:lnTo>
                      <a:pt x="48" y="90"/>
                    </a:lnTo>
                    <a:lnTo>
                      <a:pt x="49" y="87"/>
                    </a:lnTo>
                    <a:lnTo>
                      <a:pt x="48" y="84"/>
                    </a:lnTo>
                    <a:lnTo>
                      <a:pt x="48" y="84"/>
                    </a:lnTo>
                    <a:lnTo>
                      <a:pt x="48" y="84"/>
                    </a:lnTo>
                    <a:lnTo>
                      <a:pt x="48" y="84"/>
                    </a:lnTo>
                    <a:lnTo>
                      <a:pt x="48" y="84"/>
                    </a:lnTo>
                    <a:lnTo>
                      <a:pt x="48" y="84"/>
                    </a:lnTo>
                    <a:lnTo>
                      <a:pt x="48" y="84"/>
                    </a:lnTo>
                    <a:lnTo>
                      <a:pt x="48" y="84"/>
                    </a:lnTo>
                    <a:lnTo>
                      <a:pt x="48" y="84"/>
                    </a:lnTo>
                    <a:close/>
                    <a:moveTo>
                      <a:pt x="24" y="44"/>
                    </a:moveTo>
                    <a:lnTo>
                      <a:pt x="24" y="47"/>
                    </a:lnTo>
                    <a:lnTo>
                      <a:pt x="27" y="54"/>
                    </a:lnTo>
                    <a:lnTo>
                      <a:pt x="27" y="55"/>
                    </a:lnTo>
                    <a:lnTo>
                      <a:pt x="30" y="57"/>
                    </a:lnTo>
                    <a:lnTo>
                      <a:pt x="30" y="58"/>
                    </a:lnTo>
                    <a:lnTo>
                      <a:pt x="30" y="58"/>
                    </a:lnTo>
                    <a:lnTo>
                      <a:pt x="30" y="62"/>
                    </a:lnTo>
                    <a:lnTo>
                      <a:pt x="33" y="62"/>
                    </a:lnTo>
                    <a:lnTo>
                      <a:pt x="33" y="58"/>
                    </a:lnTo>
                    <a:lnTo>
                      <a:pt x="33" y="55"/>
                    </a:lnTo>
                    <a:lnTo>
                      <a:pt x="36" y="57"/>
                    </a:lnTo>
                    <a:lnTo>
                      <a:pt x="38" y="58"/>
                    </a:lnTo>
                    <a:lnTo>
                      <a:pt x="38" y="62"/>
                    </a:lnTo>
                    <a:lnTo>
                      <a:pt x="36" y="62"/>
                    </a:lnTo>
                    <a:lnTo>
                      <a:pt x="33" y="63"/>
                    </a:lnTo>
                    <a:lnTo>
                      <a:pt x="33" y="66"/>
                    </a:lnTo>
                    <a:lnTo>
                      <a:pt x="36" y="70"/>
                    </a:lnTo>
                    <a:lnTo>
                      <a:pt x="36" y="70"/>
                    </a:lnTo>
                    <a:lnTo>
                      <a:pt x="36" y="68"/>
                    </a:lnTo>
                    <a:lnTo>
                      <a:pt x="38" y="68"/>
                    </a:lnTo>
                    <a:lnTo>
                      <a:pt x="38" y="71"/>
                    </a:lnTo>
                    <a:lnTo>
                      <a:pt x="40" y="70"/>
                    </a:lnTo>
                    <a:lnTo>
                      <a:pt x="40" y="73"/>
                    </a:lnTo>
                    <a:lnTo>
                      <a:pt x="43" y="73"/>
                    </a:lnTo>
                    <a:lnTo>
                      <a:pt x="44" y="71"/>
                    </a:lnTo>
                    <a:lnTo>
                      <a:pt x="48" y="68"/>
                    </a:lnTo>
                    <a:lnTo>
                      <a:pt x="49" y="68"/>
                    </a:lnTo>
                    <a:lnTo>
                      <a:pt x="54" y="71"/>
                    </a:lnTo>
                    <a:lnTo>
                      <a:pt x="59" y="74"/>
                    </a:lnTo>
                    <a:lnTo>
                      <a:pt x="59" y="78"/>
                    </a:lnTo>
                    <a:lnTo>
                      <a:pt x="62" y="79"/>
                    </a:lnTo>
                    <a:lnTo>
                      <a:pt x="62" y="78"/>
                    </a:lnTo>
                    <a:lnTo>
                      <a:pt x="62" y="76"/>
                    </a:lnTo>
                    <a:lnTo>
                      <a:pt x="62" y="74"/>
                    </a:lnTo>
                    <a:lnTo>
                      <a:pt x="62" y="73"/>
                    </a:lnTo>
                    <a:lnTo>
                      <a:pt x="59" y="71"/>
                    </a:lnTo>
                    <a:lnTo>
                      <a:pt x="59" y="68"/>
                    </a:lnTo>
                    <a:lnTo>
                      <a:pt x="59" y="68"/>
                    </a:lnTo>
                    <a:lnTo>
                      <a:pt x="62" y="70"/>
                    </a:lnTo>
                    <a:lnTo>
                      <a:pt x="65" y="73"/>
                    </a:lnTo>
                    <a:lnTo>
                      <a:pt x="68" y="74"/>
                    </a:lnTo>
                    <a:lnTo>
                      <a:pt x="71" y="78"/>
                    </a:lnTo>
                    <a:lnTo>
                      <a:pt x="71" y="79"/>
                    </a:lnTo>
                    <a:lnTo>
                      <a:pt x="71" y="81"/>
                    </a:lnTo>
                    <a:lnTo>
                      <a:pt x="75" y="82"/>
                    </a:lnTo>
                    <a:lnTo>
                      <a:pt x="75" y="84"/>
                    </a:lnTo>
                    <a:lnTo>
                      <a:pt x="76" y="84"/>
                    </a:lnTo>
                    <a:lnTo>
                      <a:pt x="79" y="82"/>
                    </a:lnTo>
                    <a:lnTo>
                      <a:pt x="78" y="84"/>
                    </a:lnTo>
                    <a:lnTo>
                      <a:pt x="78" y="85"/>
                    </a:lnTo>
                    <a:lnTo>
                      <a:pt x="79" y="87"/>
                    </a:lnTo>
                    <a:lnTo>
                      <a:pt x="81" y="87"/>
                    </a:lnTo>
                    <a:lnTo>
                      <a:pt x="81" y="85"/>
                    </a:lnTo>
                    <a:lnTo>
                      <a:pt x="81" y="82"/>
                    </a:lnTo>
                    <a:lnTo>
                      <a:pt x="79" y="79"/>
                    </a:lnTo>
                    <a:lnTo>
                      <a:pt x="76" y="81"/>
                    </a:lnTo>
                    <a:lnTo>
                      <a:pt x="76" y="78"/>
                    </a:lnTo>
                    <a:lnTo>
                      <a:pt x="73" y="73"/>
                    </a:lnTo>
                    <a:lnTo>
                      <a:pt x="71" y="73"/>
                    </a:lnTo>
                    <a:lnTo>
                      <a:pt x="73" y="71"/>
                    </a:lnTo>
                    <a:lnTo>
                      <a:pt x="78" y="71"/>
                    </a:lnTo>
                    <a:lnTo>
                      <a:pt x="76" y="70"/>
                    </a:lnTo>
                    <a:lnTo>
                      <a:pt x="73" y="68"/>
                    </a:lnTo>
                    <a:lnTo>
                      <a:pt x="71" y="66"/>
                    </a:lnTo>
                    <a:lnTo>
                      <a:pt x="68" y="65"/>
                    </a:lnTo>
                    <a:lnTo>
                      <a:pt x="68" y="68"/>
                    </a:lnTo>
                    <a:lnTo>
                      <a:pt x="68" y="70"/>
                    </a:lnTo>
                    <a:lnTo>
                      <a:pt x="68" y="71"/>
                    </a:lnTo>
                    <a:lnTo>
                      <a:pt x="68" y="70"/>
                    </a:lnTo>
                    <a:lnTo>
                      <a:pt x="65" y="68"/>
                    </a:lnTo>
                    <a:lnTo>
                      <a:pt x="65" y="65"/>
                    </a:lnTo>
                    <a:lnTo>
                      <a:pt x="62" y="63"/>
                    </a:lnTo>
                    <a:lnTo>
                      <a:pt x="59" y="62"/>
                    </a:lnTo>
                    <a:lnTo>
                      <a:pt x="57" y="62"/>
                    </a:lnTo>
                    <a:lnTo>
                      <a:pt x="57" y="65"/>
                    </a:lnTo>
                    <a:lnTo>
                      <a:pt x="55" y="63"/>
                    </a:lnTo>
                    <a:lnTo>
                      <a:pt x="55" y="65"/>
                    </a:lnTo>
                    <a:lnTo>
                      <a:pt x="55" y="66"/>
                    </a:lnTo>
                    <a:lnTo>
                      <a:pt x="54" y="68"/>
                    </a:lnTo>
                    <a:lnTo>
                      <a:pt x="52" y="68"/>
                    </a:lnTo>
                    <a:lnTo>
                      <a:pt x="51" y="65"/>
                    </a:lnTo>
                    <a:lnTo>
                      <a:pt x="48" y="62"/>
                    </a:lnTo>
                    <a:lnTo>
                      <a:pt x="46" y="58"/>
                    </a:lnTo>
                    <a:lnTo>
                      <a:pt x="48" y="57"/>
                    </a:lnTo>
                    <a:lnTo>
                      <a:pt x="43" y="52"/>
                    </a:lnTo>
                    <a:lnTo>
                      <a:pt x="43" y="49"/>
                    </a:lnTo>
                    <a:lnTo>
                      <a:pt x="43" y="46"/>
                    </a:lnTo>
                    <a:lnTo>
                      <a:pt x="43" y="43"/>
                    </a:lnTo>
                    <a:lnTo>
                      <a:pt x="43" y="41"/>
                    </a:lnTo>
                    <a:lnTo>
                      <a:pt x="46" y="38"/>
                    </a:lnTo>
                    <a:lnTo>
                      <a:pt x="49" y="35"/>
                    </a:lnTo>
                    <a:lnTo>
                      <a:pt x="49" y="38"/>
                    </a:lnTo>
                    <a:lnTo>
                      <a:pt x="51" y="35"/>
                    </a:lnTo>
                    <a:lnTo>
                      <a:pt x="51" y="31"/>
                    </a:lnTo>
                    <a:lnTo>
                      <a:pt x="52" y="27"/>
                    </a:lnTo>
                    <a:lnTo>
                      <a:pt x="52" y="22"/>
                    </a:lnTo>
                    <a:lnTo>
                      <a:pt x="51" y="20"/>
                    </a:lnTo>
                    <a:lnTo>
                      <a:pt x="49" y="17"/>
                    </a:lnTo>
                    <a:lnTo>
                      <a:pt x="48" y="14"/>
                    </a:lnTo>
                    <a:lnTo>
                      <a:pt x="46" y="11"/>
                    </a:lnTo>
                    <a:lnTo>
                      <a:pt x="48" y="6"/>
                    </a:lnTo>
                    <a:lnTo>
                      <a:pt x="48" y="3"/>
                    </a:lnTo>
                    <a:lnTo>
                      <a:pt x="46" y="3"/>
                    </a:lnTo>
                    <a:lnTo>
                      <a:pt x="44" y="3"/>
                    </a:lnTo>
                    <a:lnTo>
                      <a:pt x="44" y="6"/>
                    </a:lnTo>
                    <a:lnTo>
                      <a:pt x="43" y="6"/>
                    </a:lnTo>
                    <a:lnTo>
                      <a:pt x="41" y="6"/>
                    </a:lnTo>
                    <a:lnTo>
                      <a:pt x="40" y="6"/>
                    </a:lnTo>
                    <a:lnTo>
                      <a:pt x="36" y="3"/>
                    </a:lnTo>
                    <a:lnTo>
                      <a:pt x="33" y="3"/>
                    </a:lnTo>
                    <a:lnTo>
                      <a:pt x="30" y="0"/>
                    </a:lnTo>
                    <a:lnTo>
                      <a:pt x="27" y="0"/>
                    </a:lnTo>
                    <a:lnTo>
                      <a:pt x="27" y="3"/>
                    </a:lnTo>
                    <a:lnTo>
                      <a:pt x="27" y="3"/>
                    </a:lnTo>
                    <a:lnTo>
                      <a:pt x="25" y="3"/>
                    </a:lnTo>
                    <a:lnTo>
                      <a:pt x="27" y="6"/>
                    </a:lnTo>
                    <a:lnTo>
                      <a:pt x="25" y="12"/>
                    </a:lnTo>
                    <a:lnTo>
                      <a:pt x="25" y="16"/>
                    </a:lnTo>
                    <a:lnTo>
                      <a:pt x="27" y="19"/>
                    </a:lnTo>
                    <a:lnTo>
                      <a:pt x="27" y="22"/>
                    </a:lnTo>
                    <a:lnTo>
                      <a:pt x="27" y="27"/>
                    </a:lnTo>
                    <a:lnTo>
                      <a:pt x="27" y="31"/>
                    </a:lnTo>
                    <a:lnTo>
                      <a:pt x="27" y="38"/>
                    </a:lnTo>
                    <a:lnTo>
                      <a:pt x="27" y="38"/>
                    </a:lnTo>
                    <a:lnTo>
                      <a:pt x="25" y="38"/>
                    </a:lnTo>
                    <a:lnTo>
                      <a:pt x="22" y="31"/>
                    </a:lnTo>
                    <a:lnTo>
                      <a:pt x="21" y="35"/>
                    </a:lnTo>
                    <a:lnTo>
                      <a:pt x="21" y="38"/>
                    </a:lnTo>
                    <a:lnTo>
                      <a:pt x="21" y="38"/>
                    </a:lnTo>
                    <a:lnTo>
                      <a:pt x="22" y="41"/>
                    </a:lnTo>
                    <a:lnTo>
                      <a:pt x="24" y="44"/>
                    </a:lnTo>
                    <a:lnTo>
                      <a:pt x="24" y="44"/>
                    </a:lnTo>
                    <a:lnTo>
                      <a:pt x="24" y="44"/>
                    </a:lnTo>
                    <a:lnTo>
                      <a:pt x="24" y="44"/>
                    </a:lnTo>
                    <a:lnTo>
                      <a:pt x="24" y="44"/>
                    </a:lnTo>
                    <a:lnTo>
                      <a:pt x="24" y="44"/>
                    </a:lnTo>
                    <a:lnTo>
                      <a:pt x="24" y="44"/>
                    </a:lnTo>
                    <a:lnTo>
                      <a:pt x="24" y="44"/>
                    </a:lnTo>
                    <a:lnTo>
                      <a:pt x="24" y="44"/>
                    </a:lnTo>
                    <a:close/>
                    <a:moveTo>
                      <a:pt x="49" y="55"/>
                    </a:moveTo>
                    <a:lnTo>
                      <a:pt x="51" y="58"/>
                    </a:lnTo>
                    <a:lnTo>
                      <a:pt x="51" y="54"/>
                    </a:lnTo>
                    <a:lnTo>
                      <a:pt x="51" y="52"/>
                    </a:lnTo>
                    <a:lnTo>
                      <a:pt x="48" y="54"/>
                    </a:lnTo>
                    <a:lnTo>
                      <a:pt x="49" y="55"/>
                    </a:lnTo>
                    <a:lnTo>
                      <a:pt x="49" y="55"/>
                    </a:lnTo>
                    <a:lnTo>
                      <a:pt x="49" y="55"/>
                    </a:lnTo>
                    <a:lnTo>
                      <a:pt x="49" y="55"/>
                    </a:lnTo>
                    <a:lnTo>
                      <a:pt x="49" y="55"/>
                    </a:lnTo>
                    <a:lnTo>
                      <a:pt x="49" y="55"/>
                    </a:lnTo>
                    <a:lnTo>
                      <a:pt x="49" y="55"/>
                    </a:lnTo>
                    <a:lnTo>
                      <a:pt x="49" y="55"/>
                    </a:lnTo>
                    <a:lnTo>
                      <a:pt x="49" y="55"/>
                    </a:lnTo>
                    <a:close/>
                    <a:moveTo>
                      <a:pt x="52" y="74"/>
                    </a:moveTo>
                    <a:lnTo>
                      <a:pt x="51" y="74"/>
                    </a:lnTo>
                    <a:lnTo>
                      <a:pt x="52" y="78"/>
                    </a:lnTo>
                    <a:lnTo>
                      <a:pt x="54" y="78"/>
                    </a:lnTo>
                    <a:lnTo>
                      <a:pt x="55" y="76"/>
                    </a:lnTo>
                    <a:lnTo>
                      <a:pt x="55" y="74"/>
                    </a:lnTo>
                    <a:lnTo>
                      <a:pt x="54" y="74"/>
                    </a:lnTo>
                    <a:lnTo>
                      <a:pt x="52" y="74"/>
                    </a:lnTo>
                    <a:lnTo>
                      <a:pt x="52" y="74"/>
                    </a:lnTo>
                    <a:lnTo>
                      <a:pt x="52" y="74"/>
                    </a:lnTo>
                    <a:lnTo>
                      <a:pt x="52" y="74"/>
                    </a:lnTo>
                    <a:lnTo>
                      <a:pt x="52" y="74"/>
                    </a:lnTo>
                    <a:lnTo>
                      <a:pt x="52" y="74"/>
                    </a:lnTo>
                    <a:lnTo>
                      <a:pt x="52" y="74"/>
                    </a:lnTo>
                    <a:lnTo>
                      <a:pt x="52" y="74"/>
                    </a:lnTo>
                    <a:lnTo>
                      <a:pt x="52" y="74"/>
                    </a:lnTo>
                    <a:close/>
                    <a:moveTo>
                      <a:pt x="57" y="106"/>
                    </a:moveTo>
                    <a:lnTo>
                      <a:pt x="57" y="112"/>
                    </a:lnTo>
                    <a:lnTo>
                      <a:pt x="57" y="116"/>
                    </a:lnTo>
                    <a:lnTo>
                      <a:pt x="57" y="119"/>
                    </a:lnTo>
                    <a:lnTo>
                      <a:pt x="59" y="119"/>
                    </a:lnTo>
                    <a:lnTo>
                      <a:pt x="59" y="117"/>
                    </a:lnTo>
                    <a:lnTo>
                      <a:pt x="62" y="116"/>
                    </a:lnTo>
                    <a:lnTo>
                      <a:pt x="62" y="116"/>
                    </a:lnTo>
                    <a:lnTo>
                      <a:pt x="65" y="114"/>
                    </a:lnTo>
                    <a:lnTo>
                      <a:pt x="68" y="111"/>
                    </a:lnTo>
                    <a:lnTo>
                      <a:pt x="68" y="109"/>
                    </a:lnTo>
                    <a:lnTo>
                      <a:pt x="71" y="108"/>
                    </a:lnTo>
                    <a:lnTo>
                      <a:pt x="71" y="103"/>
                    </a:lnTo>
                    <a:lnTo>
                      <a:pt x="68" y="105"/>
                    </a:lnTo>
                    <a:lnTo>
                      <a:pt x="68" y="101"/>
                    </a:lnTo>
                    <a:lnTo>
                      <a:pt x="65" y="101"/>
                    </a:lnTo>
                    <a:lnTo>
                      <a:pt x="65" y="103"/>
                    </a:lnTo>
                    <a:lnTo>
                      <a:pt x="62" y="101"/>
                    </a:lnTo>
                    <a:lnTo>
                      <a:pt x="59" y="98"/>
                    </a:lnTo>
                    <a:lnTo>
                      <a:pt x="57" y="98"/>
                    </a:lnTo>
                    <a:lnTo>
                      <a:pt x="55" y="97"/>
                    </a:lnTo>
                    <a:lnTo>
                      <a:pt x="54" y="98"/>
                    </a:lnTo>
                    <a:lnTo>
                      <a:pt x="57" y="100"/>
                    </a:lnTo>
                    <a:lnTo>
                      <a:pt x="57" y="101"/>
                    </a:lnTo>
                    <a:lnTo>
                      <a:pt x="57" y="106"/>
                    </a:lnTo>
                    <a:lnTo>
                      <a:pt x="57" y="106"/>
                    </a:lnTo>
                    <a:lnTo>
                      <a:pt x="57" y="106"/>
                    </a:lnTo>
                    <a:lnTo>
                      <a:pt x="57" y="106"/>
                    </a:lnTo>
                    <a:lnTo>
                      <a:pt x="57" y="106"/>
                    </a:lnTo>
                    <a:lnTo>
                      <a:pt x="57" y="106"/>
                    </a:lnTo>
                    <a:lnTo>
                      <a:pt x="57" y="106"/>
                    </a:lnTo>
                    <a:lnTo>
                      <a:pt x="57" y="106"/>
                    </a:lnTo>
                    <a:lnTo>
                      <a:pt x="57" y="106"/>
                    </a:lnTo>
                    <a:close/>
                    <a:moveTo>
                      <a:pt x="117" y="157"/>
                    </a:moveTo>
                    <a:lnTo>
                      <a:pt x="116" y="154"/>
                    </a:lnTo>
                    <a:lnTo>
                      <a:pt x="117" y="152"/>
                    </a:lnTo>
                    <a:lnTo>
                      <a:pt x="116" y="151"/>
                    </a:lnTo>
                    <a:lnTo>
                      <a:pt x="114" y="151"/>
                    </a:lnTo>
                    <a:lnTo>
                      <a:pt x="116" y="149"/>
                    </a:lnTo>
                    <a:lnTo>
                      <a:pt x="114" y="147"/>
                    </a:lnTo>
                    <a:lnTo>
                      <a:pt x="113" y="146"/>
                    </a:lnTo>
                    <a:lnTo>
                      <a:pt x="111" y="144"/>
                    </a:lnTo>
                    <a:lnTo>
                      <a:pt x="113" y="143"/>
                    </a:lnTo>
                    <a:lnTo>
                      <a:pt x="114" y="143"/>
                    </a:lnTo>
                    <a:lnTo>
                      <a:pt x="114" y="139"/>
                    </a:lnTo>
                    <a:lnTo>
                      <a:pt x="113" y="138"/>
                    </a:lnTo>
                    <a:lnTo>
                      <a:pt x="113" y="136"/>
                    </a:lnTo>
                    <a:lnTo>
                      <a:pt x="113" y="135"/>
                    </a:lnTo>
                    <a:lnTo>
                      <a:pt x="111" y="135"/>
                    </a:lnTo>
                    <a:lnTo>
                      <a:pt x="109" y="135"/>
                    </a:lnTo>
                    <a:lnTo>
                      <a:pt x="109" y="133"/>
                    </a:lnTo>
                    <a:lnTo>
                      <a:pt x="108" y="131"/>
                    </a:lnTo>
                    <a:lnTo>
                      <a:pt x="106" y="131"/>
                    </a:lnTo>
                    <a:lnTo>
                      <a:pt x="103" y="128"/>
                    </a:lnTo>
                    <a:lnTo>
                      <a:pt x="103" y="128"/>
                    </a:lnTo>
                    <a:lnTo>
                      <a:pt x="103" y="128"/>
                    </a:lnTo>
                    <a:lnTo>
                      <a:pt x="103" y="131"/>
                    </a:lnTo>
                    <a:lnTo>
                      <a:pt x="103" y="136"/>
                    </a:lnTo>
                    <a:lnTo>
                      <a:pt x="103" y="138"/>
                    </a:lnTo>
                    <a:lnTo>
                      <a:pt x="103" y="139"/>
                    </a:lnTo>
                    <a:lnTo>
                      <a:pt x="103" y="139"/>
                    </a:lnTo>
                    <a:lnTo>
                      <a:pt x="100" y="138"/>
                    </a:lnTo>
                    <a:lnTo>
                      <a:pt x="100" y="141"/>
                    </a:lnTo>
                    <a:lnTo>
                      <a:pt x="97" y="139"/>
                    </a:lnTo>
                    <a:lnTo>
                      <a:pt x="94" y="139"/>
                    </a:lnTo>
                    <a:lnTo>
                      <a:pt x="94" y="141"/>
                    </a:lnTo>
                    <a:lnTo>
                      <a:pt x="94" y="144"/>
                    </a:lnTo>
                    <a:lnTo>
                      <a:pt x="94" y="146"/>
                    </a:lnTo>
                    <a:lnTo>
                      <a:pt x="92" y="146"/>
                    </a:lnTo>
                    <a:lnTo>
                      <a:pt x="90" y="146"/>
                    </a:lnTo>
                    <a:lnTo>
                      <a:pt x="89" y="147"/>
                    </a:lnTo>
                    <a:lnTo>
                      <a:pt x="89" y="151"/>
                    </a:lnTo>
                    <a:lnTo>
                      <a:pt x="87" y="152"/>
                    </a:lnTo>
                    <a:lnTo>
                      <a:pt x="84" y="152"/>
                    </a:lnTo>
                    <a:lnTo>
                      <a:pt x="81" y="154"/>
                    </a:lnTo>
                    <a:lnTo>
                      <a:pt x="82" y="152"/>
                    </a:lnTo>
                    <a:lnTo>
                      <a:pt x="84" y="152"/>
                    </a:lnTo>
                    <a:lnTo>
                      <a:pt x="84" y="151"/>
                    </a:lnTo>
                    <a:lnTo>
                      <a:pt x="82" y="146"/>
                    </a:lnTo>
                    <a:lnTo>
                      <a:pt x="81" y="144"/>
                    </a:lnTo>
                    <a:lnTo>
                      <a:pt x="79" y="146"/>
                    </a:lnTo>
                    <a:lnTo>
                      <a:pt x="79" y="144"/>
                    </a:lnTo>
                    <a:lnTo>
                      <a:pt x="78" y="143"/>
                    </a:lnTo>
                    <a:lnTo>
                      <a:pt x="78" y="144"/>
                    </a:lnTo>
                    <a:lnTo>
                      <a:pt x="76" y="146"/>
                    </a:lnTo>
                    <a:lnTo>
                      <a:pt x="73" y="147"/>
                    </a:lnTo>
                    <a:lnTo>
                      <a:pt x="71" y="151"/>
                    </a:lnTo>
                    <a:lnTo>
                      <a:pt x="71" y="152"/>
                    </a:lnTo>
                    <a:lnTo>
                      <a:pt x="71" y="152"/>
                    </a:lnTo>
                    <a:lnTo>
                      <a:pt x="65" y="154"/>
                    </a:lnTo>
                    <a:lnTo>
                      <a:pt x="65" y="154"/>
                    </a:lnTo>
                    <a:lnTo>
                      <a:pt x="62" y="154"/>
                    </a:lnTo>
                    <a:lnTo>
                      <a:pt x="62" y="160"/>
                    </a:lnTo>
                    <a:lnTo>
                      <a:pt x="59" y="165"/>
                    </a:lnTo>
                    <a:lnTo>
                      <a:pt x="59" y="168"/>
                    </a:lnTo>
                    <a:lnTo>
                      <a:pt x="62" y="168"/>
                    </a:lnTo>
                    <a:lnTo>
                      <a:pt x="62" y="168"/>
                    </a:lnTo>
                    <a:lnTo>
                      <a:pt x="65" y="166"/>
                    </a:lnTo>
                    <a:lnTo>
                      <a:pt x="65" y="163"/>
                    </a:lnTo>
                    <a:lnTo>
                      <a:pt x="65" y="160"/>
                    </a:lnTo>
                    <a:lnTo>
                      <a:pt x="68" y="157"/>
                    </a:lnTo>
                    <a:lnTo>
                      <a:pt x="68" y="157"/>
                    </a:lnTo>
                    <a:lnTo>
                      <a:pt x="71" y="157"/>
                    </a:lnTo>
                    <a:lnTo>
                      <a:pt x="71" y="160"/>
                    </a:lnTo>
                    <a:lnTo>
                      <a:pt x="71" y="160"/>
                    </a:lnTo>
                    <a:lnTo>
                      <a:pt x="73" y="160"/>
                    </a:lnTo>
                    <a:lnTo>
                      <a:pt x="73" y="160"/>
                    </a:lnTo>
                    <a:lnTo>
                      <a:pt x="75" y="157"/>
                    </a:lnTo>
                    <a:lnTo>
                      <a:pt x="75" y="160"/>
                    </a:lnTo>
                    <a:lnTo>
                      <a:pt x="75" y="160"/>
                    </a:lnTo>
                    <a:lnTo>
                      <a:pt x="76" y="160"/>
                    </a:lnTo>
                    <a:lnTo>
                      <a:pt x="79" y="163"/>
                    </a:lnTo>
                    <a:lnTo>
                      <a:pt x="78" y="160"/>
                    </a:lnTo>
                    <a:lnTo>
                      <a:pt x="79" y="160"/>
                    </a:lnTo>
                    <a:lnTo>
                      <a:pt x="79" y="157"/>
                    </a:lnTo>
                    <a:lnTo>
                      <a:pt x="79" y="157"/>
                    </a:lnTo>
                    <a:lnTo>
                      <a:pt x="81" y="157"/>
                    </a:lnTo>
                    <a:lnTo>
                      <a:pt x="82" y="157"/>
                    </a:lnTo>
                    <a:lnTo>
                      <a:pt x="87" y="160"/>
                    </a:lnTo>
                    <a:lnTo>
                      <a:pt x="89" y="163"/>
                    </a:lnTo>
                    <a:lnTo>
                      <a:pt x="89" y="165"/>
                    </a:lnTo>
                    <a:lnTo>
                      <a:pt x="87" y="168"/>
                    </a:lnTo>
                    <a:lnTo>
                      <a:pt x="89" y="176"/>
                    </a:lnTo>
                    <a:lnTo>
                      <a:pt x="90" y="178"/>
                    </a:lnTo>
                    <a:lnTo>
                      <a:pt x="94" y="181"/>
                    </a:lnTo>
                    <a:lnTo>
                      <a:pt x="97" y="184"/>
                    </a:lnTo>
                    <a:lnTo>
                      <a:pt x="100" y="184"/>
                    </a:lnTo>
                    <a:lnTo>
                      <a:pt x="100" y="184"/>
                    </a:lnTo>
                    <a:lnTo>
                      <a:pt x="103" y="181"/>
                    </a:lnTo>
                    <a:lnTo>
                      <a:pt x="103" y="181"/>
                    </a:lnTo>
                    <a:lnTo>
                      <a:pt x="103" y="184"/>
                    </a:lnTo>
                    <a:lnTo>
                      <a:pt x="103" y="187"/>
                    </a:lnTo>
                    <a:lnTo>
                      <a:pt x="105" y="187"/>
                    </a:lnTo>
                    <a:lnTo>
                      <a:pt x="108" y="184"/>
                    </a:lnTo>
                    <a:lnTo>
                      <a:pt x="109" y="181"/>
                    </a:lnTo>
                    <a:lnTo>
                      <a:pt x="106" y="176"/>
                    </a:lnTo>
                    <a:lnTo>
                      <a:pt x="105" y="173"/>
                    </a:lnTo>
                    <a:lnTo>
                      <a:pt x="106" y="166"/>
                    </a:lnTo>
                    <a:lnTo>
                      <a:pt x="108" y="163"/>
                    </a:lnTo>
                    <a:lnTo>
                      <a:pt x="109" y="163"/>
                    </a:lnTo>
                    <a:lnTo>
                      <a:pt x="111" y="166"/>
                    </a:lnTo>
                    <a:lnTo>
                      <a:pt x="113" y="170"/>
                    </a:lnTo>
                    <a:lnTo>
                      <a:pt x="113" y="174"/>
                    </a:lnTo>
                    <a:lnTo>
                      <a:pt x="116" y="178"/>
                    </a:lnTo>
                    <a:lnTo>
                      <a:pt x="116" y="174"/>
                    </a:lnTo>
                    <a:lnTo>
                      <a:pt x="116" y="171"/>
                    </a:lnTo>
                    <a:lnTo>
                      <a:pt x="114" y="170"/>
                    </a:lnTo>
                    <a:lnTo>
                      <a:pt x="116" y="170"/>
                    </a:lnTo>
                    <a:lnTo>
                      <a:pt x="117" y="168"/>
                    </a:lnTo>
                    <a:lnTo>
                      <a:pt x="117" y="166"/>
                    </a:lnTo>
                    <a:lnTo>
                      <a:pt x="117" y="163"/>
                    </a:lnTo>
                    <a:lnTo>
                      <a:pt x="117" y="157"/>
                    </a:lnTo>
                    <a:lnTo>
                      <a:pt x="117" y="157"/>
                    </a:lnTo>
                    <a:lnTo>
                      <a:pt x="117" y="157"/>
                    </a:lnTo>
                    <a:lnTo>
                      <a:pt x="117" y="157"/>
                    </a:lnTo>
                    <a:lnTo>
                      <a:pt x="117" y="157"/>
                    </a:lnTo>
                    <a:lnTo>
                      <a:pt x="117" y="157"/>
                    </a:lnTo>
                    <a:lnTo>
                      <a:pt x="117" y="157"/>
                    </a:lnTo>
                    <a:lnTo>
                      <a:pt x="117" y="157"/>
                    </a:lnTo>
                    <a:lnTo>
                      <a:pt x="117" y="157"/>
                    </a:lnTo>
                    <a:lnTo>
                      <a:pt x="117" y="157"/>
                    </a:lnTo>
                    <a:close/>
                    <a:moveTo>
                      <a:pt x="75" y="119"/>
                    </a:moveTo>
                    <a:lnTo>
                      <a:pt x="76" y="116"/>
                    </a:lnTo>
                    <a:lnTo>
                      <a:pt x="76" y="112"/>
                    </a:lnTo>
                    <a:lnTo>
                      <a:pt x="75" y="111"/>
                    </a:lnTo>
                    <a:lnTo>
                      <a:pt x="73" y="111"/>
                    </a:lnTo>
                    <a:lnTo>
                      <a:pt x="71" y="111"/>
                    </a:lnTo>
                    <a:lnTo>
                      <a:pt x="68" y="112"/>
                    </a:lnTo>
                    <a:lnTo>
                      <a:pt x="68" y="116"/>
                    </a:lnTo>
                    <a:lnTo>
                      <a:pt x="68" y="117"/>
                    </a:lnTo>
                    <a:lnTo>
                      <a:pt x="68" y="119"/>
                    </a:lnTo>
                    <a:lnTo>
                      <a:pt x="68" y="122"/>
                    </a:lnTo>
                    <a:lnTo>
                      <a:pt x="68" y="122"/>
                    </a:lnTo>
                    <a:lnTo>
                      <a:pt x="68" y="125"/>
                    </a:lnTo>
                    <a:lnTo>
                      <a:pt x="65" y="125"/>
                    </a:lnTo>
                    <a:lnTo>
                      <a:pt x="65" y="125"/>
                    </a:lnTo>
                    <a:lnTo>
                      <a:pt x="62" y="125"/>
                    </a:lnTo>
                    <a:lnTo>
                      <a:pt x="65" y="131"/>
                    </a:lnTo>
                    <a:lnTo>
                      <a:pt x="65" y="133"/>
                    </a:lnTo>
                    <a:lnTo>
                      <a:pt x="71" y="135"/>
                    </a:lnTo>
                    <a:lnTo>
                      <a:pt x="71" y="138"/>
                    </a:lnTo>
                    <a:lnTo>
                      <a:pt x="73" y="138"/>
                    </a:lnTo>
                    <a:lnTo>
                      <a:pt x="75" y="136"/>
                    </a:lnTo>
                    <a:lnTo>
                      <a:pt x="75" y="135"/>
                    </a:lnTo>
                    <a:lnTo>
                      <a:pt x="75" y="133"/>
                    </a:lnTo>
                    <a:lnTo>
                      <a:pt x="73" y="131"/>
                    </a:lnTo>
                    <a:lnTo>
                      <a:pt x="73" y="125"/>
                    </a:lnTo>
                    <a:lnTo>
                      <a:pt x="75" y="119"/>
                    </a:lnTo>
                    <a:lnTo>
                      <a:pt x="75" y="119"/>
                    </a:lnTo>
                    <a:lnTo>
                      <a:pt x="75" y="119"/>
                    </a:lnTo>
                    <a:lnTo>
                      <a:pt x="75" y="119"/>
                    </a:lnTo>
                    <a:lnTo>
                      <a:pt x="75" y="119"/>
                    </a:lnTo>
                    <a:lnTo>
                      <a:pt x="75" y="119"/>
                    </a:lnTo>
                    <a:lnTo>
                      <a:pt x="75" y="119"/>
                    </a:lnTo>
                    <a:lnTo>
                      <a:pt x="75" y="119"/>
                    </a:lnTo>
                    <a:lnTo>
                      <a:pt x="75" y="119"/>
                    </a:lnTo>
                    <a:close/>
                    <a:moveTo>
                      <a:pt x="71" y="97"/>
                    </a:moveTo>
                    <a:lnTo>
                      <a:pt x="73" y="93"/>
                    </a:lnTo>
                    <a:lnTo>
                      <a:pt x="73" y="93"/>
                    </a:lnTo>
                    <a:lnTo>
                      <a:pt x="75" y="93"/>
                    </a:lnTo>
                    <a:lnTo>
                      <a:pt x="78" y="97"/>
                    </a:lnTo>
                    <a:lnTo>
                      <a:pt x="81" y="98"/>
                    </a:lnTo>
                    <a:lnTo>
                      <a:pt x="82" y="97"/>
                    </a:lnTo>
                    <a:lnTo>
                      <a:pt x="81" y="97"/>
                    </a:lnTo>
                    <a:lnTo>
                      <a:pt x="76" y="90"/>
                    </a:lnTo>
                    <a:lnTo>
                      <a:pt x="75" y="90"/>
                    </a:lnTo>
                    <a:lnTo>
                      <a:pt x="71" y="87"/>
                    </a:lnTo>
                    <a:lnTo>
                      <a:pt x="71" y="93"/>
                    </a:lnTo>
                    <a:lnTo>
                      <a:pt x="71" y="93"/>
                    </a:lnTo>
                    <a:lnTo>
                      <a:pt x="71" y="97"/>
                    </a:lnTo>
                    <a:lnTo>
                      <a:pt x="71" y="97"/>
                    </a:lnTo>
                    <a:lnTo>
                      <a:pt x="71" y="97"/>
                    </a:lnTo>
                    <a:lnTo>
                      <a:pt x="71" y="97"/>
                    </a:lnTo>
                    <a:lnTo>
                      <a:pt x="71" y="97"/>
                    </a:lnTo>
                    <a:lnTo>
                      <a:pt x="71" y="97"/>
                    </a:lnTo>
                    <a:lnTo>
                      <a:pt x="71" y="97"/>
                    </a:lnTo>
                    <a:lnTo>
                      <a:pt x="71" y="97"/>
                    </a:lnTo>
                    <a:lnTo>
                      <a:pt x="71" y="97"/>
                    </a:lnTo>
                    <a:lnTo>
                      <a:pt x="71" y="97"/>
                    </a:lnTo>
                    <a:close/>
                    <a:moveTo>
                      <a:pt x="78" y="128"/>
                    </a:moveTo>
                    <a:lnTo>
                      <a:pt x="79" y="122"/>
                    </a:lnTo>
                    <a:lnTo>
                      <a:pt x="82" y="119"/>
                    </a:lnTo>
                    <a:lnTo>
                      <a:pt x="82" y="117"/>
                    </a:lnTo>
                    <a:lnTo>
                      <a:pt x="82" y="106"/>
                    </a:lnTo>
                    <a:lnTo>
                      <a:pt x="81" y="108"/>
                    </a:lnTo>
                    <a:lnTo>
                      <a:pt x="81" y="109"/>
                    </a:lnTo>
                    <a:lnTo>
                      <a:pt x="79" y="114"/>
                    </a:lnTo>
                    <a:lnTo>
                      <a:pt x="76" y="125"/>
                    </a:lnTo>
                    <a:lnTo>
                      <a:pt x="75" y="131"/>
                    </a:lnTo>
                    <a:lnTo>
                      <a:pt x="76" y="131"/>
                    </a:lnTo>
                    <a:lnTo>
                      <a:pt x="78" y="128"/>
                    </a:lnTo>
                    <a:lnTo>
                      <a:pt x="78" y="128"/>
                    </a:lnTo>
                    <a:lnTo>
                      <a:pt x="78" y="128"/>
                    </a:lnTo>
                    <a:lnTo>
                      <a:pt x="78" y="128"/>
                    </a:lnTo>
                    <a:lnTo>
                      <a:pt x="78" y="128"/>
                    </a:lnTo>
                    <a:lnTo>
                      <a:pt x="78" y="128"/>
                    </a:lnTo>
                    <a:lnTo>
                      <a:pt x="78" y="128"/>
                    </a:lnTo>
                    <a:lnTo>
                      <a:pt x="78" y="128"/>
                    </a:lnTo>
                    <a:lnTo>
                      <a:pt x="78" y="128"/>
                    </a:lnTo>
                    <a:close/>
                    <a:moveTo>
                      <a:pt x="82" y="71"/>
                    </a:moveTo>
                    <a:lnTo>
                      <a:pt x="82" y="70"/>
                    </a:lnTo>
                    <a:lnTo>
                      <a:pt x="82" y="66"/>
                    </a:lnTo>
                    <a:lnTo>
                      <a:pt x="79" y="66"/>
                    </a:lnTo>
                    <a:lnTo>
                      <a:pt x="79" y="70"/>
                    </a:lnTo>
                    <a:lnTo>
                      <a:pt x="81" y="74"/>
                    </a:lnTo>
                    <a:lnTo>
                      <a:pt x="82" y="71"/>
                    </a:lnTo>
                    <a:lnTo>
                      <a:pt x="82" y="71"/>
                    </a:lnTo>
                    <a:lnTo>
                      <a:pt x="82" y="71"/>
                    </a:lnTo>
                    <a:lnTo>
                      <a:pt x="82" y="71"/>
                    </a:lnTo>
                    <a:lnTo>
                      <a:pt x="82" y="71"/>
                    </a:lnTo>
                    <a:lnTo>
                      <a:pt x="82" y="71"/>
                    </a:lnTo>
                    <a:lnTo>
                      <a:pt x="82" y="71"/>
                    </a:lnTo>
                    <a:lnTo>
                      <a:pt x="82" y="71"/>
                    </a:lnTo>
                    <a:lnTo>
                      <a:pt x="82" y="71"/>
                    </a:lnTo>
                    <a:close/>
                    <a:moveTo>
                      <a:pt x="84" y="131"/>
                    </a:moveTo>
                    <a:lnTo>
                      <a:pt x="86" y="131"/>
                    </a:lnTo>
                    <a:lnTo>
                      <a:pt x="92" y="128"/>
                    </a:lnTo>
                    <a:lnTo>
                      <a:pt x="90" y="125"/>
                    </a:lnTo>
                    <a:lnTo>
                      <a:pt x="89" y="122"/>
                    </a:lnTo>
                    <a:lnTo>
                      <a:pt x="86" y="122"/>
                    </a:lnTo>
                    <a:lnTo>
                      <a:pt x="82" y="125"/>
                    </a:lnTo>
                    <a:lnTo>
                      <a:pt x="81" y="128"/>
                    </a:lnTo>
                    <a:lnTo>
                      <a:pt x="82" y="128"/>
                    </a:lnTo>
                    <a:lnTo>
                      <a:pt x="82" y="131"/>
                    </a:lnTo>
                    <a:lnTo>
                      <a:pt x="84" y="131"/>
                    </a:lnTo>
                    <a:lnTo>
                      <a:pt x="84" y="131"/>
                    </a:lnTo>
                    <a:lnTo>
                      <a:pt x="84" y="131"/>
                    </a:lnTo>
                    <a:lnTo>
                      <a:pt x="84" y="131"/>
                    </a:lnTo>
                    <a:lnTo>
                      <a:pt x="84" y="131"/>
                    </a:lnTo>
                    <a:lnTo>
                      <a:pt x="84" y="131"/>
                    </a:lnTo>
                    <a:lnTo>
                      <a:pt x="84" y="131"/>
                    </a:lnTo>
                    <a:lnTo>
                      <a:pt x="84" y="131"/>
                    </a:lnTo>
                    <a:lnTo>
                      <a:pt x="84" y="131"/>
                    </a:lnTo>
                    <a:close/>
                    <a:moveTo>
                      <a:pt x="89" y="97"/>
                    </a:moveTo>
                    <a:lnTo>
                      <a:pt x="92" y="97"/>
                    </a:lnTo>
                    <a:lnTo>
                      <a:pt x="94" y="98"/>
                    </a:lnTo>
                    <a:lnTo>
                      <a:pt x="94" y="98"/>
                    </a:lnTo>
                    <a:lnTo>
                      <a:pt x="94" y="101"/>
                    </a:lnTo>
                    <a:lnTo>
                      <a:pt x="94" y="103"/>
                    </a:lnTo>
                    <a:lnTo>
                      <a:pt x="94" y="105"/>
                    </a:lnTo>
                    <a:lnTo>
                      <a:pt x="94" y="105"/>
                    </a:lnTo>
                    <a:lnTo>
                      <a:pt x="92" y="106"/>
                    </a:lnTo>
                    <a:lnTo>
                      <a:pt x="90" y="106"/>
                    </a:lnTo>
                    <a:lnTo>
                      <a:pt x="89" y="105"/>
                    </a:lnTo>
                    <a:lnTo>
                      <a:pt x="86" y="103"/>
                    </a:lnTo>
                    <a:lnTo>
                      <a:pt x="86" y="105"/>
                    </a:lnTo>
                    <a:lnTo>
                      <a:pt x="87" y="108"/>
                    </a:lnTo>
                    <a:lnTo>
                      <a:pt x="89" y="112"/>
                    </a:lnTo>
                    <a:lnTo>
                      <a:pt x="90" y="111"/>
                    </a:lnTo>
                    <a:lnTo>
                      <a:pt x="90" y="112"/>
                    </a:lnTo>
                    <a:lnTo>
                      <a:pt x="94" y="116"/>
                    </a:lnTo>
                    <a:lnTo>
                      <a:pt x="94" y="119"/>
                    </a:lnTo>
                    <a:lnTo>
                      <a:pt x="94" y="122"/>
                    </a:lnTo>
                    <a:lnTo>
                      <a:pt x="97" y="125"/>
                    </a:lnTo>
                    <a:lnTo>
                      <a:pt x="97" y="119"/>
                    </a:lnTo>
                    <a:lnTo>
                      <a:pt x="97" y="122"/>
                    </a:lnTo>
                    <a:lnTo>
                      <a:pt x="100" y="119"/>
                    </a:lnTo>
                    <a:lnTo>
                      <a:pt x="97" y="116"/>
                    </a:lnTo>
                    <a:lnTo>
                      <a:pt x="97" y="114"/>
                    </a:lnTo>
                    <a:lnTo>
                      <a:pt x="97" y="111"/>
                    </a:lnTo>
                    <a:lnTo>
                      <a:pt x="97" y="109"/>
                    </a:lnTo>
                    <a:lnTo>
                      <a:pt x="94" y="106"/>
                    </a:lnTo>
                    <a:lnTo>
                      <a:pt x="97" y="108"/>
                    </a:lnTo>
                    <a:lnTo>
                      <a:pt x="97" y="109"/>
                    </a:lnTo>
                    <a:lnTo>
                      <a:pt x="100" y="108"/>
                    </a:lnTo>
                    <a:lnTo>
                      <a:pt x="100" y="108"/>
                    </a:lnTo>
                    <a:lnTo>
                      <a:pt x="105" y="109"/>
                    </a:lnTo>
                    <a:lnTo>
                      <a:pt x="103" y="108"/>
                    </a:lnTo>
                    <a:lnTo>
                      <a:pt x="103" y="106"/>
                    </a:lnTo>
                    <a:lnTo>
                      <a:pt x="103" y="105"/>
                    </a:lnTo>
                    <a:lnTo>
                      <a:pt x="100" y="103"/>
                    </a:lnTo>
                    <a:lnTo>
                      <a:pt x="100" y="98"/>
                    </a:lnTo>
                    <a:lnTo>
                      <a:pt x="100" y="97"/>
                    </a:lnTo>
                    <a:lnTo>
                      <a:pt x="100" y="93"/>
                    </a:lnTo>
                    <a:lnTo>
                      <a:pt x="100" y="93"/>
                    </a:lnTo>
                    <a:lnTo>
                      <a:pt x="97" y="93"/>
                    </a:lnTo>
                    <a:lnTo>
                      <a:pt x="97" y="90"/>
                    </a:lnTo>
                    <a:lnTo>
                      <a:pt x="97" y="87"/>
                    </a:lnTo>
                    <a:lnTo>
                      <a:pt x="94" y="87"/>
                    </a:lnTo>
                    <a:lnTo>
                      <a:pt x="90" y="87"/>
                    </a:lnTo>
                    <a:lnTo>
                      <a:pt x="87" y="87"/>
                    </a:lnTo>
                    <a:lnTo>
                      <a:pt x="84" y="87"/>
                    </a:lnTo>
                    <a:lnTo>
                      <a:pt x="86" y="93"/>
                    </a:lnTo>
                    <a:lnTo>
                      <a:pt x="89" y="97"/>
                    </a:lnTo>
                    <a:lnTo>
                      <a:pt x="89" y="97"/>
                    </a:lnTo>
                    <a:lnTo>
                      <a:pt x="89" y="97"/>
                    </a:lnTo>
                    <a:lnTo>
                      <a:pt x="89" y="97"/>
                    </a:lnTo>
                    <a:lnTo>
                      <a:pt x="89" y="97"/>
                    </a:lnTo>
                    <a:lnTo>
                      <a:pt x="89" y="97"/>
                    </a:lnTo>
                    <a:lnTo>
                      <a:pt x="89" y="97"/>
                    </a:lnTo>
                    <a:lnTo>
                      <a:pt x="89" y="97"/>
                    </a:lnTo>
                    <a:lnTo>
                      <a:pt x="89" y="97"/>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20" name="Freeform 241">
                <a:extLst>
                  <a:ext uri="{FF2B5EF4-FFF2-40B4-BE49-F238E27FC236}">
                    <a16:creationId xmlns:a16="http://schemas.microsoft.com/office/drawing/2014/main" id="{DC023C6F-5703-8450-47D6-DE5C2D8A6CF7}"/>
                  </a:ext>
                </a:extLst>
              </p:cNvPr>
              <p:cNvSpPr>
                <a:spLocks/>
              </p:cNvSpPr>
              <p:nvPr/>
            </p:nvSpPr>
            <p:spPr bwMode="auto">
              <a:xfrm>
                <a:off x="7992055" y="2354021"/>
                <a:ext cx="843395" cy="329732"/>
              </a:xfrm>
              <a:custGeom>
                <a:avLst/>
                <a:gdLst>
                  <a:gd name="T0" fmla="*/ 6 w 376"/>
                  <a:gd name="T1" fmla="*/ 49 h 147"/>
                  <a:gd name="T2" fmla="*/ 22 w 376"/>
                  <a:gd name="T3" fmla="*/ 57 h 147"/>
                  <a:gd name="T4" fmla="*/ 33 w 376"/>
                  <a:gd name="T5" fmla="*/ 60 h 147"/>
                  <a:gd name="T6" fmla="*/ 52 w 376"/>
                  <a:gd name="T7" fmla="*/ 76 h 147"/>
                  <a:gd name="T8" fmla="*/ 54 w 376"/>
                  <a:gd name="T9" fmla="*/ 90 h 147"/>
                  <a:gd name="T10" fmla="*/ 86 w 376"/>
                  <a:gd name="T11" fmla="*/ 98 h 147"/>
                  <a:gd name="T12" fmla="*/ 108 w 376"/>
                  <a:gd name="T13" fmla="*/ 109 h 147"/>
                  <a:gd name="T14" fmla="*/ 119 w 376"/>
                  <a:gd name="T15" fmla="*/ 116 h 147"/>
                  <a:gd name="T16" fmla="*/ 135 w 376"/>
                  <a:gd name="T17" fmla="*/ 132 h 147"/>
                  <a:gd name="T18" fmla="*/ 165 w 376"/>
                  <a:gd name="T19" fmla="*/ 133 h 147"/>
                  <a:gd name="T20" fmla="*/ 195 w 376"/>
                  <a:gd name="T21" fmla="*/ 133 h 147"/>
                  <a:gd name="T22" fmla="*/ 224 w 376"/>
                  <a:gd name="T23" fmla="*/ 144 h 147"/>
                  <a:gd name="T24" fmla="*/ 238 w 376"/>
                  <a:gd name="T25" fmla="*/ 147 h 147"/>
                  <a:gd name="T26" fmla="*/ 268 w 376"/>
                  <a:gd name="T27" fmla="*/ 136 h 147"/>
                  <a:gd name="T28" fmla="*/ 297 w 376"/>
                  <a:gd name="T29" fmla="*/ 130 h 147"/>
                  <a:gd name="T30" fmla="*/ 306 w 376"/>
                  <a:gd name="T31" fmla="*/ 117 h 147"/>
                  <a:gd name="T32" fmla="*/ 297 w 376"/>
                  <a:gd name="T33" fmla="*/ 105 h 147"/>
                  <a:gd name="T34" fmla="*/ 311 w 376"/>
                  <a:gd name="T35" fmla="*/ 101 h 147"/>
                  <a:gd name="T36" fmla="*/ 327 w 376"/>
                  <a:gd name="T37" fmla="*/ 95 h 147"/>
                  <a:gd name="T38" fmla="*/ 337 w 376"/>
                  <a:gd name="T39" fmla="*/ 94 h 147"/>
                  <a:gd name="T40" fmla="*/ 345 w 376"/>
                  <a:gd name="T41" fmla="*/ 81 h 147"/>
                  <a:gd name="T42" fmla="*/ 352 w 376"/>
                  <a:gd name="T43" fmla="*/ 78 h 147"/>
                  <a:gd name="T44" fmla="*/ 364 w 376"/>
                  <a:gd name="T45" fmla="*/ 74 h 147"/>
                  <a:gd name="T46" fmla="*/ 375 w 376"/>
                  <a:gd name="T47" fmla="*/ 73 h 147"/>
                  <a:gd name="T48" fmla="*/ 346 w 376"/>
                  <a:gd name="T49" fmla="*/ 57 h 147"/>
                  <a:gd name="T50" fmla="*/ 335 w 376"/>
                  <a:gd name="T51" fmla="*/ 60 h 147"/>
                  <a:gd name="T52" fmla="*/ 322 w 376"/>
                  <a:gd name="T53" fmla="*/ 62 h 147"/>
                  <a:gd name="T54" fmla="*/ 316 w 376"/>
                  <a:gd name="T55" fmla="*/ 32 h 147"/>
                  <a:gd name="T56" fmla="*/ 306 w 376"/>
                  <a:gd name="T57" fmla="*/ 32 h 147"/>
                  <a:gd name="T58" fmla="*/ 287 w 376"/>
                  <a:gd name="T59" fmla="*/ 25 h 147"/>
                  <a:gd name="T60" fmla="*/ 275 w 376"/>
                  <a:gd name="T61" fmla="*/ 36 h 147"/>
                  <a:gd name="T62" fmla="*/ 260 w 376"/>
                  <a:gd name="T63" fmla="*/ 40 h 147"/>
                  <a:gd name="T64" fmla="*/ 240 w 376"/>
                  <a:gd name="T65" fmla="*/ 40 h 147"/>
                  <a:gd name="T66" fmla="*/ 222 w 376"/>
                  <a:gd name="T67" fmla="*/ 35 h 147"/>
                  <a:gd name="T68" fmla="*/ 211 w 376"/>
                  <a:gd name="T69" fmla="*/ 30 h 147"/>
                  <a:gd name="T70" fmla="*/ 192 w 376"/>
                  <a:gd name="T71" fmla="*/ 24 h 147"/>
                  <a:gd name="T72" fmla="*/ 171 w 376"/>
                  <a:gd name="T73" fmla="*/ 27 h 147"/>
                  <a:gd name="T74" fmla="*/ 160 w 376"/>
                  <a:gd name="T75" fmla="*/ 25 h 147"/>
                  <a:gd name="T76" fmla="*/ 146 w 376"/>
                  <a:gd name="T77" fmla="*/ 14 h 147"/>
                  <a:gd name="T78" fmla="*/ 130 w 376"/>
                  <a:gd name="T79" fmla="*/ 6 h 147"/>
                  <a:gd name="T80" fmla="*/ 103 w 376"/>
                  <a:gd name="T81" fmla="*/ 3 h 147"/>
                  <a:gd name="T82" fmla="*/ 98 w 376"/>
                  <a:gd name="T83" fmla="*/ 11 h 147"/>
                  <a:gd name="T84" fmla="*/ 110 w 376"/>
                  <a:gd name="T85" fmla="*/ 25 h 147"/>
                  <a:gd name="T86" fmla="*/ 102 w 376"/>
                  <a:gd name="T87" fmla="*/ 33 h 147"/>
                  <a:gd name="T88" fmla="*/ 81 w 376"/>
                  <a:gd name="T89" fmla="*/ 30 h 147"/>
                  <a:gd name="T90" fmla="*/ 67 w 376"/>
                  <a:gd name="T91" fmla="*/ 24 h 147"/>
                  <a:gd name="T92" fmla="*/ 52 w 376"/>
                  <a:gd name="T93" fmla="*/ 20 h 147"/>
                  <a:gd name="T94" fmla="*/ 46 w 376"/>
                  <a:gd name="T95" fmla="*/ 17 h 147"/>
                  <a:gd name="T96" fmla="*/ 38 w 376"/>
                  <a:gd name="T97" fmla="*/ 17 h 147"/>
                  <a:gd name="T98" fmla="*/ 29 w 376"/>
                  <a:gd name="T99" fmla="*/ 25 h 147"/>
                  <a:gd name="T100" fmla="*/ 21 w 376"/>
                  <a:gd name="T101" fmla="*/ 30 h 147"/>
                  <a:gd name="T102" fmla="*/ 14 w 376"/>
                  <a:gd name="T103" fmla="*/ 36 h 147"/>
                  <a:gd name="T104" fmla="*/ 5 w 376"/>
                  <a:gd name="T105" fmla="*/ 36 h 147"/>
                  <a:gd name="T106" fmla="*/ 2 w 376"/>
                  <a:gd name="T107" fmla="*/ 41 h 147"/>
                  <a:gd name="T108" fmla="*/ 2 w 376"/>
                  <a:gd name="T109" fmla="*/ 43 h 147"/>
                  <a:gd name="T110" fmla="*/ 2 w 376"/>
                  <a:gd name="T111" fmla="*/ 4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147">
                    <a:moveTo>
                      <a:pt x="2" y="43"/>
                    </a:moveTo>
                    <a:lnTo>
                      <a:pt x="2" y="46"/>
                    </a:lnTo>
                    <a:lnTo>
                      <a:pt x="3" y="46"/>
                    </a:lnTo>
                    <a:lnTo>
                      <a:pt x="6" y="49"/>
                    </a:lnTo>
                    <a:lnTo>
                      <a:pt x="6" y="49"/>
                    </a:lnTo>
                    <a:lnTo>
                      <a:pt x="10" y="52"/>
                    </a:lnTo>
                    <a:lnTo>
                      <a:pt x="13" y="52"/>
                    </a:lnTo>
                    <a:lnTo>
                      <a:pt x="16" y="54"/>
                    </a:lnTo>
                    <a:lnTo>
                      <a:pt x="19" y="57"/>
                    </a:lnTo>
                    <a:lnTo>
                      <a:pt x="22" y="57"/>
                    </a:lnTo>
                    <a:lnTo>
                      <a:pt x="25" y="57"/>
                    </a:lnTo>
                    <a:lnTo>
                      <a:pt x="29" y="59"/>
                    </a:lnTo>
                    <a:lnTo>
                      <a:pt x="32" y="60"/>
                    </a:lnTo>
                    <a:lnTo>
                      <a:pt x="32" y="59"/>
                    </a:lnTo>
                    <a:lnTo>
                      <a:pt x="33" y="60"/>
                    </a:lnTo>
                    <a:lnTo>
                      <a:pt x="38" y="63"/>
                    </a:lnTo>
                    <a:lnTo>
                      <a:pt x="41" y="67"/>
                    </a:lnTo>
                    <a:lnTo>
                      <a:pt x="44" y="70"/>
                    </a:lnTo>
                    <a:lnTo>
                      <a:pt x="49" y="73"/>
                    </a:lnTo>
                    <a:lnTo>
                      <a:pt x="52" y="76"/>
                    </a:lnTo>
                    <a:lnTo>
                      <a:pt x="52" y="79"/>
                    </a:lnTo>
                    <a:lnTo>
                      <a:pt x="54" y="84"/>
                    </a:lnTo>
                    <a:lnTo>
                      <a:pt x="56" y="86"/>
                    </a:lnTo>
                    <a:lnTo>
                      <a:pt x="54" y="87"/>
                    </a:lnTo>
                    <a:lnTo>
                      <a:pt x="54" y="90"/>
                    </a:lnTo>
                    <a:lnTo>
                      <a:pt x="56" y="94"/>
                    </a:lnTo>
                    <a:lnTo>
                      <a:pt x="57" y="95"/>
                    </a:lnTo>
                    <a:lnTo>
                      <a:pt x="63" y="98"/>
                    </a:lnTo>
                    <a:lnTo>
                      <a:pt x="76" y="98"/>
                    </a:lnTo>
                    <a:lnTo>
                      <a:pt x="86" y="98"/>
                    </a:lnTo>
                    <a:lnTo>
                      <a:pt x="90" y="101"/>
                    </a:lnTo>
                    <a:lnTo>
                      <a:pt x="92" y="101"/>
                    </a:lnTo>
                    <a:lnTo>
                      <a:pt x="95" y="105"/>
                    </a:lnTo>
                    <a:lnTo>
                      <a:pt x="102" y="105"/>
                    </a:lnTo>
                    <a:lnTo>
                      <a:pt x="108" y="109"/>
                    </a:lnTo>
                    <a:lnTo>
                      <a:pt x="113" y="109"/>
                    </a:lnTo>
                    <a:lnTo>
                      <a:pt x="114" y="109"/>
                    </a:lnTo>
                    <a:lnTo>
                      <a:pt x="116" y="111"/>
                    </a:lnTo>
                    <a:lnTo>
                      <a:pt x="117" y="114"/>
                    </a:lnTo>
                    <a:lnTo>
                      <a:pt x="119" y="116"/>
                    </a:lnTo>
                    <a:lnTo>
                      <a:pt x="124" y="122"/>
                    </a:lnTo>
                    <a:lnTo>
                      <a:pt x="127" y="125"/>
                    </a:lnTo>
                    <a:lnTo>
                      <a:pt x="130" y="127"/>
                    </a:lnTo>
                    <a:lnTo>
                      <a:pt x="133" y="130"/>
                    </a:lnTo>
                    <a:lnTo>
                      <a:pt x="135" y="132"/>
                    </a:lnTo>
                    <a:lnTo>
                      <a:pt x="138" y="133"/>
                    </a:lnTo>
                    <a:lnTo>
                      <a:pt x="140" y="132"/>
                    </a:lnTo>
                    <a:lnTo>
                      <a:pt x="151" y="133"/>
                    </a:lnTo>
                    <a:lnTo>
                      <a:pt x="160" y="133"/>
                    </a:lnTo>
                    <a:lnTo>
                      <a:pt x="165" y="133"/>
                    </a:lnTo>
                    <a:lnTo>
                      <a:pt x="171" y="133"/>
                    </a:lnTo>
                    <a:lnTo>
                      <a:pt x="175" y="133"/>
                    </a:lnTo>
                    <a:lnTo>
                      <a:pt x="178" y="133"/>
                    </a:lnTo>
                    <a:lnTo>
                      <a:pt x="186" y="133"/>
                    </a:lnTo>
                    <a:lnTo>
                      <a:pt x="195" y="133"/>
                    </a:lnTo>
                    <a:lnTo>
                      <a:pt x="198" y="136"/>
                    </a:lnTo>
                    <a:lnTo>
                      <a:pt x="202" y="140"/>
                    </a:lnTo>
                    <a:lnTo>
                      <a:pt x="210" y="143"/>
                    </a:lnTo>
                    <a:lnTo>
                      <a:pt x="219" y="144"/>
                    </a:lnTo>
                    <a:lnTo>
                      <a:pt x="224" y="144"/>
                    </a:lnTo>
                    <a:lnTo>
                      <a:pt x="227" y="144"/>
                    </a:lnTo>
                    <a:lnTo>
                      <a:pt x="233" y="144"/>
                    </a:lnTo>
                    <a:lnTo>
                      <a:pt x="233" y="146"/>
                    </a:lnTo>
                    <a:lnTo>
                      <a:pt x="237" y="147"/>
                    </a:lnTo>
                    <a:lnTo>
                      <a:pt x="238" y="147"/>
                    </a:lnTo>
                    <a:lnTo>
                      <a:pt x="241" y="147"/>
                    </a:lnTo>
                    <a:lnTo>
                      <a:pt x="243" y="146"/>
                    </a:lnTo>
                    <a:lnTo>
                      <a:pt x="251" y="143"/>
                    </a:lnTo>
                    <a:lnTo>
                      <a:pt x="260" y="140"/>
                    </a:lnTo>
                    <a:lnTo>
                      <a:pt x="268" y="136"/>
                    </a:lnTo>
                    <a:lnTo>
                      <a:pt x="279" y="136"/>
                    </a:lnTo>
                    <a:lnTo>
                      <a:pt x="284" y="136"/>
                    </a:lnTo>
                    <a:lnTo>
                      <a:pt x="289" y="136"/>
                    </a:lnTo>
                    <a:lnTo>
                      <a:pt x="294" y="133"/>
                    </a:lnTo>
                    <a:lnTo>
                      <a:pt x="297" y="130"/>
                    </a:lnTo>
                    <a:lnTo>
                      <a:pt x="300" y="125"/>
                    </a:lnTo>
                    <a:lnTo>
                      <a:pt x="300" y="124"/>
                    </a:lnTo>
                    <a:lnTo>
                      <a:pt x="303" y="122"/>
                    </a:lnTo>
                    <a:lnTo>
                      <a:pt x="306" y="119"/>
                    </a:lnTo>
                    <a:lnTo>
                      <a:pt x="306" y="117"/>
                    </a:lnTo>
                    <a:lnTo>
                      <a:pt x="303" y="114"/>
                    </a:lnTo>
                    <a:lnTo>
                      <a:pt x="300" y="109"/>
                    </a:lnTo>
                    <a:lnTo>
                      <a:pt x="297" y="109"/>
                    </a:lnTo>
                    <a:lnTo>
                      <a:pt x="297" y="108"/>
                    </a:lnTo>
                    <a:lnTo>
                      <a:pt x="297" y="105"/>
                    </a:lnTo>
                    <a:lnTo>
                      <a:pt x="297" y="101"/>
                    </a:lnTo>
                    <a:lnTo>
                      <a:pt x="297" y="98"/>
                    </a:lnTo>
                    <a:lnTo>
                      <a:pt x="300" y="98"/>
                    </a:lnTo>
                    <a:lnTo>
                      <a:pt x="303" y="98"/>
                    </a:lnTo>
                    <a:lnTo>
                      <a:pt x="311" y="101"/>
                    </a:lnTo>
                    <a:lnTo>
                      <a:pt x="319" y="105"/>
                    </a:lnTo>
                    <a:lnTo>
                      <a:pt x="321" y="101"/>
                    </a:lnTo>
                    <a:lnTo>
                      <a:pt x="324" y="98"/>
                    </a:lnTo>
                    <a:lnTo>
                      <a:pt x="324" y="98"/>
                    </a:lnTo>
                    <a:lnTo>
                      <a:pt x="327" y="95"/>
                    </a:lnTo>
                    <a:lnTo>
                      <a:pt x="327" y="94"/>
                    </a:lnTo>
                    <a:lnTo>
                      <a:pt x="327" y="94"/>
                    </a:lnTo>
                    <a:lnTo>
                      <a:pt x="330" y="95"/>
                    </a:lnTo>
                    <a:lnTo>
                      <a:pt x="333" y="95"/>
                    </a:lnTo>
                    <a:lnTo>
                      <a:pt x="337" y="94"/>
                    </a:lnTo>
                    <a:lnTo>
                      <a:pt x="341" y="89"/>
                    </a:lnTo>
                    <a:lnTo>
                      <a:pt x="340" y="86"/>
                    </a:lnTo>
                    <a:lnTo>
                      <a:pt x="341" y="82"/>
                    </a:lnTo>
                    <a:lnTo>
                      <a:pt x="343" y="81"/>
                    </a:lnTo>
                    <a:lnTo>
                      <a:pt x="345" y="81"/>
                    </a:lnTo>
                    <a:lnTo>
                      <a:pt x="348" y="81"/>
                    </a:lnTo>
                    <a:lnTo>
                      <a:pt x="349" y="79"/>
                    </a:lnTo>
                    <a:lnTo>
                      <a:pt x="349" y="78"/>
                    </a:lnTo>
                    <a:lnTo>
                      <a:pt x="351" y="78"/>
                    </a:lnTo>
                    <a:lnTo>
                      <a:pt x="352" y="78"/>
                    </a:lnTo>
                    <a:lnTo>
                      <a:pt x="352" y="78"/>
                    </a:lnTo>
                    <a:lnTo>
                      <a:pt x="356" y="76"/>
                    </a:lnTo>
                    <a:lnTo>
                      <a:pt x="359" y="74"/>
                    </a:lnTo>
                    <a:lnTo>
                      <a:pt x="362" y="74"/>
                    </a:lnTo>
                    <a:lnTo>
                      <a:pt x="364" y="74"/>
                    </a:lnTo>
                    <a:lnTo>
                      <a:pt x="365" y="74"/>
                    </a:lnTo>
                    <a:lnTo>
                      <a:pt x="368" y="76"/>
                    </a:lnTo>
                    <a:lnTo>
                      <a:pt x="375" y="76"/>
                    </a:lnTo>
                    <a:lnTo>
                      <a:pt x="376" y="74"/>
                    </a:lnTo>
                    <a:lnTo>
                      <a:pt x="375" y="73"/>
                    </a:lnTo>
                    <a:lnTo>
                      <a:pt x="368" y="68"/>
                    </a:lnTo>
                    <a:lnTo>
                      <a:pt x="362" y="63"/>
                    </a:lnTo>
                    <a:lnTo>
                      <a:pt x="352" y="59"/>
                    </a:lnTo>
                    <a:lnTo>
                      <a:pt x="352" y="59"/>
                    </a:lnTo>
                    <a:lnTo>
                      <a:pt x="346" y="57"/>
                    </a:lnTo>
                    <a:lnTo>
                      <a:pt x="343" y="57"/>
                    </a:lnTo>
                    <a:lnTo>
                      <a:pt x="341" y="60"/>
                    </a:lnTo>
                    <a:lnTo>
                      <a:pt x="340" y="62"/>
                    </a:lnTo>
                    <a:lnTo>
                      <a:pt x="338" y="62"/>
                    </a:lnTo>
                    <a:lnTo>
                      <a:pt x="335" y="60"/>
                    </a:lnTo>
                    <a:lnTo>
                      <a:pt x="330" y="60"/>
                    </a:lnTo>
                    <a:lnTo>
                      <a:pt x="327" y="60"/>
                    </a:lnTo>
                    <a:lnTo>
                      <a:pt x="324" y="60"/>
                    </a:lnTo>
                    <a:lnTo>
                      <a:pt x="324" y="62"/>
                    </a:lnTo>
                    <a:lnTo>
                      <a:pt x="322" y="62"/>
                    </a:lnTo>
                    <a:lnTo>
                      <a:pt x="318" y="57"/>
                    </a:lnTo>
                    <a:lnTo>
                      <a:pt x="318" y="55"/>
                    </a:lnTo>
                    <a:lnTo>
                      <a:pt x="319" y="54"/>
                    </a:lnTo>
                    <a:lnTo>
                      <a:pt x="318" y="52"/>
                    </a:lnTo>
                    <a:lnTo>
                      <a:pt x="316" y="32"/>
                    </a:lnTo>
                    <a:lnTo>
                      <a:pt x="316" y="32"/>
                    </a:lnTo>
                    <a:lnTo>
                      <a:pt x="313" y="30"/>
                    </a:lnTo>
                    <a:lnTo>
                      <a:pt x="310" y="30"/>
                    </a:lnTo>
                    <a:lnTo>
                      <a:pt x="308" y="30"/>
                    </a:lnTo>
                    <a:lnTo>
                      <a:pt x="306" y="32"/>
                    </a:lnTo>
                    <a:lnTo>
                      <a:pt x="303" y="32"/>
                    </a:lnTo>
                    <a:lnTo>
                      <a:pt x="300" y="30"/>
                    </a:lnTo>
                    <a:lnTo>
                      <a:pt x="294" y="27"/>
                    </a:lnTo>
                    <a:lnTo>
                      <a:pt x="291" y="25"/>
                    </a:lnTo>
                    <a:lnTo>
                      <a:pt x="287" y="25"/>
                    </a:lnTo>
                    <a:lnTo>
                      <a:pt x="284" y="27"/>
                    </a:lnTo>
                    <a:lnTo>
                      <a:pt x="281" y="28"/>
                    </a:lnTo>
                    <a:lnTo>
                      <a:pt x="278" y="30"/>
                    </a:lnTo>
                    <a:lnTo>
                      <a:pt x="276" y="33"/>
                    </a:lnTo>
                    <a:lnTo>
                      <a:pt x="275" y="36"/>
                    </a:lnTo>
                    <a:lnTo>
                      <a:pt x="273" y="36"/>
                    </a:lnTo>
                    <a:lnTo>
                      <a:pt x="271" y="36"/>
                    </a:lnTo>
                    <a:lnTo>
                      <a:pt x="271" y="36"/>
                    </a:lnTo>
                    <a:lnTo>
                      <a:pt x="262" y="38"/>
                    </a:lnTo>
                    <a:lnTo>
                      <a:pt x="260" y="40"/>
                    </a:lnTo>
                    <a:lnTo>
                      <a:pt x="257" y="41"/>
                    </a:lnTo>
                    <a:lnTo>
                      <a:pt x="254" y="41"/>
                    </a:lnTo>
                    <a:lnTo>
                      <a:pt x="251" y="41"/>
                    </a:lnTo>
                    <a:lnTo>
                      <a:pt x="244" y="41"/>
                    </a:lnTo>
                    <a:lnTo>
                      <a:pt x="240" y="40"/>
                    </a:lnTo>
                    <a:lnTo>
                      <a:pt x="238" y="40"/>
                    </a:lnTo>
                    <a:lnTo>
                      <a:pt x="233" y="40"/>
                    </a:lnTo>
                    <a:lnTo>
                      <a:pt x="230" y="40"/>
                    </a:lnTo>
                    <a:lnTo>
                      <a:pt x="225" y="36"/>
                    </a:lnTo>
                    <a:lnTo>
                      <a:pt x="222" y="35"/>
                    </a:lnTo>
                    <a:lnTo>
                      <a:pt x="221" y="33"/>
                    </a:lnTo>
                    <a:lnTo>
                      <a:pt x="219" y="32"/>
                    </a:lnTo>
                    <a:lnTo>
                      <a:pt x="216" y="30"/>
                    </a:lnTo>
                    <a:lnTo>
                      <a:pt x="214" y="30"/>
                    </a:lnTo>
                    <a:lnTo>
                      <a:pt x="211" y="30"/>
                    </a:lnTo>
                    <a:lnTo>
                      <a:pt x="206" y="28"/>
                    </a:lnTo>
                    <a:lnTo>
                      <a:pt x="203" y="25"/>
                    </a:lnTo>
                    <a:lnTo>
                      <a:pt x="202" y="24"/>
                    </a:lnTo>
                    <a:lnTo>
                      <a:pt x="192" y="24"/>
                    </a:lnTo>
                    <a:lnTo>
                      <a:pt x="192" y="24"/>
                    </a:lnTo>
                    <a:lnTo>
                      <a:pt x="189" y="24"/>
                    </a:lnTo>
                    <a:lnTo>
                      <a:pt x="184" y="24"/>
                    </a:lnTo>
                    <a:lnTo>
                      <a:pt x="183" y="24"/>
                    </a:lnTo>
                    <a:lnTo>
                      <a:pt x="175" y="25"/>
                    </a:lnTo>
                    <a:lnTo>
                      <a:pt x="171" y="27"/>
                    </a:lnTo>
                    <a:lnTo>
                      <a:pt x="171" y="27"/>
                    </a:lnTo>
                    <a:lnTo>
                      <a:pt x="168" y="27"/>
                    </a:lnTo>
                    <a:lnTo>
                      <a:pt x="167" y="27"/>
                    </a:lnTo>
                    <a:lnTo>
                      <a:pt x="165" y="27"/>
                    </a:lnTo>
                    <a:lnTo>
                      <a:pt x="160" y="25"/>
                    </a:lnTo>
                    <a:lnTo>
                      <a:pt x="157" y="24"/>
                    </a:lnTo>
                    <a:lnTo>
                      <a:pt x="154" y="20"/>
                    </a:lnTo>
                    <a:lnTo>
                      <a:pt x="151" y="17"/>
                    </a:lnTo>
                    <a:lnTo>
                      <a:pt x="148" y="17"/>
                    </a:lnTo>
                    <a:lnTo>
                      <a:pt x="146" y="14"/>
                    </a:lnTo>
                    <a:lnTo>
                      <a:pt x="146" y="11"/>
                    </a:lnTo>
                    <a:lnTo>
                      <a:pt x="143" y="9"/>
                    </a:lnTo>
                    <a:lnTo>
                      <a:pt x="140" y="8"/>
                    </a:lnTo>
                    <a:lnTo>
                      <a:pt x="137" y="8"/>
                    </a:lnTo>
                    <a:lnTo>
                      <a:pt x="130" y="6"/>
                    </a:lnTo>
                    <a:lnTo>
                      <a:pt x="124" y="6"/>
                    </a:lnTo>
                    <a:lnTo>
                      <a:pt x="117" y="3"/>
                    </a:lnTo>
                    <a:lnTo>
                      <a:pt x="103" y="0"/>
                    </a:lnTo>
                    <a:lnTo>
                      <a:pt x="103" y="3"/>
                    </a:lnTo>
                    <a:lnTo>
                      <a:pt x="103" y="3"/>
                    </a:lnTo>
                    <a:lnTo>
                      <a:pt x="102" y="6"/>
                    </a:lnTo>
                    <a:lnTo>
                      <a:pt x="102" y="6"/>
                    </a:lnTo>
                    <a:lnTo>
                      <a:pt x="102" y="8"/>
                    </a:lnTo>
                    <a:lnTo>
                      <a:pt x="98" y="9"/>
                    </a:lnTo>
                    <a:lnTo>
                      <a:pt x="98" y="11"/>
                    </a:lnTo>
                    <a:lnTo>
                      <a:pt x="102" y="16"/>
                    </a:lnTo>
                    <a:lnTo>
                      <a:pt x="103" y="17"/>
                    </a:lnTo>
                    <a:lnTo>
                      <a:pt x="106" y="20"/>
                    </a:lnTo>
                    <a:lnTo>
                      <a:pt x="108" y="20"/>
                    </a:lnTo>
                    <a:lnTo>
                      <a:pt x="110" y="25"/>
                    </a:lnTo>
                    <a:lnTo>
                      <a:pt x="110" y="28"/>
                    </a:lnTo>
                    <a:lnTo>
                      <a:pt x="108" y="30"/>
                    </a:lnTo>
                    <a:lnTo>
                      <a:pt x="105" y="30"/>
                    </a:lnTo>
                    <a:lnTo>
                      <a:pt x="103" y="33"/>
                    </a:lnTo>
                    <a:lnTo>
                      <a:pt x="102" y="33"/>
                    </a:lnTo>
                    <a:lnTo>
                      <a:pt x="98" y="32"/>
                    </a:lnTo>
                    <a:lnTo>
                      <a:pt x="89" y="30"/>
                    </a:lnTo>
                    <a:lnTo>
                      <a:pt x="87" y="30"/>
                    </a:lnTo>
                    <a:lnTo>
                      <a:pt x="86" y="30"/>
                    </a:lnTo>
                    <a:lnTo>
                      <a:pt x="81" y="30"/>
                    </a:lnTo>
                    <a:lnTo>
                      <a:pt x="79" y="30"/>
                    </a:lnTo>
                    <a:lnTo>
                      <a:pt x="78" y="30"/>
                    </a:lnTo>
                    <a:lnTo>
                      <a:pt x="71" y="28"/>
                    </a:lnTo>
                    <a:lnTo>
                      <a:pt x="68" y="27"/>
                    </a:lnTo>
                    <a:lnTo>
                      <a:pt x="67" y="24"/>
                    </a:lnTo>
                    <a:lnTo>
                      <a:pt x="63" y="20"/>
                    </a:lnTo>
                    <a:lnTo>
                      <a:pt x="60" y="20"/>
                    </a:lnTo>
                    <a:lnTo>
                      <a:pt x="57" y="20"/>
                    </a:lnTo>
                    <a:lnTo>
                      <a:pt x="57" y="20"/>
                    </a:lnTo>
                    <a:lnTo>
                      <a:pt x="52" y="20"/>
                    </a:lnTo>
                    <a:lnTo>
                      <a:pt x="51" y="20"/>
                    </a:lnTo>
                    <a:lnTo>
                      <a:pt x="49" y="20"/>
                    </a:lnTo>
                    <a:lnTo>
                      <a:pt x="49" y="17"/>
                    </a:lnTo>
                    <a:lnTo>
                      <a:pt x="48" y="17"/>
                    </a:lnTo>
                    <a:lnTo>
                      <a:pt x="46" y="17"/>
                    </a:lnTo>
                    <a:lnTo>
                      <a:pt x="44" y="17"/>
                    </a:lnTo>
                    <a:lnTo>
                      <a:pt x="43" y="17"/>
                    </a:lnTo>
                    <a:lnTo>
                      <a:pt x="40" y="17"/>
                    </a:lnTo>
                    <a:lnTo>
                      <a:pt x="40" y="17"/>
                    </a:lnTo>
                    <a:lnTo>
                      <a:pt x="38" y="17"/>
                    </a:lnTo>
                    <a:lnTo>
                      <a:pt x="35" y="20"/>
                    </a:lnTo>
                    <a:lnTo>
                      <a:pt x="33" y="20"/>
                    </a:lnTo>
                    <a:lnTo>
                      <a:pt x="32" y="20"/>
                    </a:lnTo>
                    <a:lnTo>
                      <a:pt x="32" y="24"/>
                    </a:lnTo>
                    <a:lnTo>
                      <a:pt x="29" y="25"/>
                    </a:lnTo>
                    <a:lnTo>
                      <a:pt x="25" y="27"/>
                    </a:lnTo>
                    <a:lnTo>
                      <a:pt x="22" y="27"/>
                    </a:lnTo>
                    <a:lnTo>
                      <a:pt x="22" y="27"/>
                    </a:lnTo>
                    <a:lnTo>
                      <a:pt x="21" y="28"/>
                    </a:lnTo>
                    <a:lnTo>
                      <a:pt x="21" y="30"/>
                    </a:lnTo>
                    <a:lnTo>
                      <a:pt x="19" y="30"/>
                    </a:lnTo>
                    <a:lnTo>
                      <a:pt x="17" y="32"/>
                    </a:lnTo>
                    <a:lnTo>
                      <a:pt x="19" y="33"/>
                    </a:lnTo>
                    <a:lnTo>
                      <a:pt x="13" y="35"/>
                    </a:lnTo>
                    <a:lnTo>
                      <a:pt x="14" y="36"/>
                    </a:lnTo>
                    <a:lnTo>
                      <a:pt x="13" y="36"/>
                    </a:lnTo>
                    <a:lnTo>
                      <a:pt x="10" y="36"/>
                    </a:lnTo>
                    <a:lnTo>
                      <a:pt x="10" y="38"/>
                    </a:lnTo>
                    <a:lnTo>
                      <a:pt x="8" y="36"/>
                    </a:lnTo>
                    <a:lnTo>
                      <a:pt x="5" y="36"/>
                    </a:lnTo>
                    <a:lnTo>
                      <a:pt x="3" y="38"/>
                    </a:lnTo>
                    <a:lnTo>
                      <a:pt x="3" y="40"/>
                    </a:lnTo>
                    <a:lnTo>
                      <a:pt x="2" y="41"/>
                    </a:lnTo>
                    <a:lnTo>
                      <a:pt x="0" y="41"/>
                    </a:lnTo>
                    <a:lnTo>
                      <a:pt x="2" y="41"/>
                    </a:lnTo>
                    <a:lnTo>
                      <a:pt x="2" y="43"/>
                    </a:lnTo>
                    <a:lnTo>
                      <a:pt x="2" y="43"/>
                    </a:lnTo>
                    <a:lnTo>
                      <a:pt x="2" y="43"/>
                    </a:lnTo>
                    <a:lnTo>
                      <a:pt x="2" y="43"/>
                    </a:lnTo>
                    <a:lnTo>
                      <a:pt x="2" y="43"/>
                    </a:lnTo>
                    <a:lnTo>
                      <a:pt x="2" y="43"/>
                    </a:lnTo>
                    <a:lnTo>
                      <a:pt x="2" y="43"/>
                    </a:lnTo>
                    <a:lnTo>
                      <a:pt x="2" y="43"/>
                    </a:lnTo>
                    <a:lnTo>
                      <a:pt x="2" y="43"/>
                    </a:lnTo>
                    <a:lnTo>
                      <a:pt x="2" y="43"/>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21" name="Freeform 253">
                <a:extLst>
                  <a:ext uri="{FF2B5EF4-FFF2-40B4-BE49-F238E27FC236}">
                    <a16:creationId xmlns:a16="http://schemas.microsoft.com/office/drawing/2014/main" id="{479F027B-E015-6E4B-BA72-8083E5EF5E28}"/>
                  </a:ext>
                </a:extLst>
              </p:cNvPr>
              <p:cNvSpPr>
                <a:spLocks noEditPoints="1"/>
              </p:cNvSpPr>
              <p:nvPr/>
            </p:nvSpPr>
            <p:spPr bwMode="auto">
              <a:xfrm>
                <a:off x="9275091" y="2511036"/>
                <a:ext cx="370108" cy="675165"/>
              </a:xfrm>
              <a:custGeom>
                <a:avLst/>
                <a:gdLst>
                  <a:gd name="T0" fmla="*/ 28 w 165"/>
                  <a:gd name="T1" fmla="*/ 270 h 301"/>
                  <a:gd name="T2" fmla="*/ 22 w 165"/>
                  <a:gd name="T3" fmla="*/ 292 h 301"/>
                  <a:gd name="T4" fmla="*/ 28 w 165"/>
                  <a:gd name="T5" fmla="*/ 278 h 301"/>
                  <a:gd name="T6" fmla="*/ 0 w 165"/>
                  <a:gd name="T7" fmla="*/ 205 h 301"/>
                  <a:gd name="T8" fmla="*/ 0 w 165"/>
                  <a:gd name="T9" fmla="*/ 205 h 301"/>
                  <a:gd name="T10" fmla="*/ 25 w 165"/>
                  <a:gd name="T11" fmla="*/ 192 h 301"/>
                  <a:gd name="T12" fmla="*/ 11 w 165"/>
                  <a:gd name="T13" fmla="*/ 200 h 301"/>
                  <a:gd name="T14" fmla="*/ 22 w 165"/>
                  <a:gd name="T15" fmla="*/ 214 h 301"/>
                  <a:gd name="T16" fmla="*/ 30 w 165"/>
                  <a:gd name="T17" fmla="*/ 220 h 301"/>
                  <a:gd name="T18" fmla="*/ 39 w 165"/>
                  <a:gd name="T19" fmla="*/ 219 h 301"/>
                  <a:gd name="T20" fmla="*/ 38 w 165"/>
                  <a:gd name="T21" fmla="*/ 200 h 301"/>
                  <a:gd name="T22" fmla="*/ 12 w 165"/>
                  <a:gd name="T23" fmla="*/ 201 h 301"/>
                  <a:gd name="T24" fmla="*/ 19 w 165"/>
                  <a:gd name="T25" fmla="*/ 205 h 301"/>
                  <a:gd name="T26" fmla="*/ 19 w 165"/>
                  <a:gd name="T27" fmla="*/ 209 h 301"/>
                  <a:gd name="T28" fmla="*/ 122 w 165"/>
                  <a:gd name="T29" fmla="*/ 152 h 301"/>
                  <a:gd name="T30" fmla="*/ 115 w 165"/>
                  <a:gd name="T31" fmla="*/ 119 h 301"/>
                  <a:gd name="T32" fmla="*/ 93 w 165"/>
                  <a:gd name="T33" fmla="*/ 82 h 301"/>
                  <a:gd name="T34" fmla="*/ 92 w 165"/>
                  <a:gd name="T35" fmla="*/ 90 h 301"/>
                  <a:gd name="T36" fmla="*/ 87 w 165"/>
                  <a:gd name="T37" fmla="*/ 101 h 301"/>
                  <a:gd name="T38" fmla="*/ 90 w 165"/>
                  <a:gd name="T39" fmla="*/ 139 h 301"/>
                  <a:gd name="T40" fmla="*/ 74 w 165"/>
                  <a:gd name="T41" fmla="*/ 136 h 301"/>
                  <a:gd name="T42" fmla="*/ 73 w 165"/>
                  <a:gd name="T43" fmla="*/ 163 h 301"/>
                  <a:gd name="T44" fmla="*/ 49 w 165"/>
                  <a:gd name="T45" fmla="*/ 165 h 301"/>
                  <a:gd name="T46" fmla="*/ 19 w 165"/>
                  <a:gd name="T47" fmla="*/ 182 h 301"/>
                  <a:gd name="T48" fmla="*/ 41 w 165"/>
                  <a:gd name="T49" fmla="*/ 184 h 301"/>
                  <a:gd name="T50" fmla="*/ 66 w 165"/>
                  <a:gd name="T51" fmla="*/ 178 h 301"/>
                  <a:gd name="T52" fmla="*/ 82 w 165"/>
                  <a:gd name="T53" fmla="*/ 195 h 301"/>
                  <a:gd name="T54" fmla="*/ 84 w 165"/>
                  <a:gd name="T55" fmla="*/ 173 h 301"/>
                  <a:gd name="T56" fmla="*/ 104 w 165"/>
                  <a:gd name="T57" fmla="*/ 179 h 301"/>
                  <a:gd name="T58" fmla="*/ 112 w 165"/>
                  <a:gd name="T59" fmla="*/ 168 h 301"/>
                  <a:gd name="T60" fmla="*/ 122 w 165"/>
                  <a:gd name="T61" fmla="*/ 174 h 301"/>
                  <a:gd name="T62" fmla="*/ 122 w 165"/>
                  <a:gd name="T63" fmla="*/ 152 h 301"/>
                  <a:gd name="T64" fmla="*/ 85 w 165"/>
                  <a:gd name="T65" fmla="*/ 101 h 301"/>
                  <a:gd name="T66" fmla="*/ 33 w 165"/>
                  <a:gd name="T67" fmla="*/ 239 h 301"/>
                  <a:gd name="T68" fmla="*/ 36 w 165"/>
                  <a:gd name="T69" fmla="*/ 154 h 301"/>
                  <a:gd name="T70" fmla="*/ 38 w 165"/>
                  <a:gd name="T71" fmla="*/ 198 h 301"/>
                  <a:gd name="T72" fmla="*/ 54 w 165"/>
                  <a:gd name="T73" fmla="*/ 185 h 301"/>
                  <a:gd name="T74" fmla="*/ 44 w 165"/>
                  <a:gd name="T75" fmla="*/ 198 h 301"/>
                  <a:gd name="T76" fmla="*/ 57 w 165"/>
                  <a:gd name="T77" fmla="*/ 195 h 301"/>
                  <a:gd name="T78" fmla="*/ 65 w 165"/>
                  <a:gd name="T79" fmla="*/ 184 h 301"/>
                  <a:gd name="T80" fmla="*/ 39 w 165"/>
                  <a:gd name="T81" fmla="*/ 236 h 301"/>
                  <a:gd name="T82" fmla="*/ 77 w 165"/>
                  <a:gd name="T83" fmla="*/ 54 h 301"/>
                  <a:gd name="T84" fmla="*/ 68 w 165"/>
                  <a:gd name="T85" fmla="*/ 66 h 301"/>
                  <a:gd name="T86" fmla="*/ 87 w 165"/>
                  <a:gd name="T87" fmla="*/ 76 h 301"/>
                  <a:gd name="T88" fmla="*/ 85 w 165"/>
                  <a:gd name="T89" fmla="*/ 63 h 301"/>
                  <a:gd name="T90" fmla="*/ 115 w 165"/>
                  <a:gd name="T91" fmla="*/ 58 h 301"/>
                  <a:gd name="T92" fmla="*/ 123 w 165"/>
                  <a:gd name="T93" fmla="*/ 54 h 301"/>
                  <a:gd name="T94" fmla="*/ 101 w 165"/>
                  <a:gd name="T95" fmla="*/ 43 h 301"/>
                  <a:gd name="T96" fmla="*/ 65 w 165"/>
                  <a:gd name="T97" fmla="*/ 28 h 301"/>
                  <a:gd name="T98" fmla="*/ 85 w 165"/>
                  <a:gd name="T99" fmla="*/ 131 h 301"/>
                  <a:gd name="T100" fmla="*/ 82 w 165"/>
                  <a:gd name="T101" fmla="*/ 128 h 301"/>
                  <a:gd name="T102" fmla="*/ 122 w 165"/>
                  <a:gd name="T103" fmla="*/ 46 h 301"/>
                  <a:gd name="T104" fmla="*/ 133 w 165"/>
                  <a:gd name="T105" fmla="*/ 24 h 301"/>
                  <a:gd name="T106" fmla="*/ 133 w 165"/>
                  <a:gd name="T107" fmla="*/ 31 h 301"/>
                  <a:gd name="T108" fmla="*/ 139 w 165"/>
                  <a:gd name="T109" fmla="*/ 24 h 301"/>
                  <a:gd name="T110" fmla="*/ 136 w 165"/>
                  <a:gd name="T111" fmla="*/ 47 h 301"/>
                  <a:gd name="T112" fmla="*/ 154 w 165"/>
                  <a:gd name="T113" fmla="*/ 12 h 301"/>
                  <a:gd name="T114" fmla="*/ 165 w 165"/>
                  <a:gd name="T115" fmla="*/ 0 h 301"/>
                  <a:gd name="T116" fmla="*/ 163 w 165"/>
                  <a:gd name="T117" fmla="*/ 3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 h="301">
                    <a:moveTo>
                      <a:pt x="28" y="270"/>
                    </a:moveTo>
                    <a:lnTo>
                      <a:pt x="30" y="271"/>
                    </a:lnTo>
                    <a:lnTo>
                      <a:pt x="31" y="271"/>
                    </a:lnTo>
                    <a:lnTo>
                      <a:pt x="31" y="270"/>
                    </a:lnTo>
                    <a:lnTo>
                      <a:pt x="33" y="268"/>
                    </a:lnTo>
                    <a:lnTo>
                      <a:pt x="33" y="266"/>
                    </a:lnTo>
                    <a:lnTo>
                      <a:pt x="30" y="268"/>
                    </a:lnTo>
                    <a:lnTo>
                      <a:pt x="28" y="270"/>
                    </a:lnTo>
                    <a:lnTo>
                      <a:pt x="28" y="270"/>
                    </a:lnTo>
                    <a:lnTo>
                      <a:pt x="28" y="270"/>
                    </a:lnTo>
                    <a:lnTo>
                      <a:pt x="28" y="270"/>
                    </a:lnTo>
                    <a:lnTo>
                      <a:pt x="28" y="270"/>
                    </a:lnTo>
                    <a:lnTo>
                      <a:pt x="28" y="270"/>
                    </a:lnTo>
                    <a:lnTo>
                      <a:pt x="28" y="270"/>
                    </a:lnTo>
                    <a:lnTo>
                      <a:pt x="28" y="270"/>
                    </a:lnTo>
                    <a:lnTo>
                      <a:pt x="28" y="270"/>
                    </a:lnTo>
                    <a:close/>
                    <a:moveTo>
                      <a:pt x="19" y="293"/>
                    </a:moveTo>
                    <a:lnTo>
                      <a:pt x="19" y="297"/>
                    </a:lnTo>
                    <a:lnTo>
                      <a:pt x="17" y="298"/>
                    </a:lnTo>
                    <a:lnTo>
                      <a:pt x="19" y="301"/>
                    </a:lnTo>
                    <a:lnTo>
                      <a:pt x="19" y="298"/>
                    </a:lnTo>
                    <a:lnTo>
                      <a:pt x="19" y="295"/>
                    </a:lnTo>
                    <a:lnTo>
                      <a:pt x="22" y="293"/>
                    </a:lnTo>
                    <a:lnTo>
                      <a:pt x="22" y="292"/>
                    </a:lnTo>
                    <a:lnTo>
                      <a:pt x="22" y="290"/>
                    </a:lnTo>
                    <a:lnTo>
                      <a:pt x="22" y="292"/>
                    </a:lnTo>
                    <a:lnTo>
                      <a:pt x="19" y="293"/>
                    </a:lnTo>
                    <a:lnTo>
                      <a:pt x="19" y="293"/>
                    </a:lnTo>
                    <a:lnTo>
                      <a:pt x="19" y="293"/>
                    </a:lnTo>
                    <a:lnTo>
                      <a:pt x="19" y="293"/>
                    </a:lnTo>
                    <a:lnTo>
                      <a:pt x="19" y="293"/>
                    </a:lnTo>
                    <a:lnTo>
                      <a:pt x="19" y="293"/>
                    </a:lnTo>
                    <a:lnTo>
                      <a:pt x="19" y="293"/>
                    </a:lnTo>
                    <a:lnTo>
                      <a:pt x="19" y="293"/>
                    </a:lnTo>
                    <a:lnTo>
                      <a:pt x="19" y="293"/>
                    </a:lnTo>
                    <a:close/>
                    <a:moveTo>
                      <a:pt x="28" y="278"/>
                    </a:moveTo>
                    <a:lnTo>
                      <a:pt x="28" y="278"/>
                    </a:lnTo>
                    <a:lnTo>
                      <a:pt x="28" y="276"/>
                    </a:lnTo>
                    <a:lnTo>
                      <a:pt x="28" y="278"/>
                    </a:lnTo>
                    <a:lnTo>
                      <a:pt x="28" y="278"/>
                    </a:lnTo>
                    <a:lnTo>
                      <a:pt x="28" y="278"/>
                    </a:lnTo>
                    <a:lnTo>
                      <a:pt x="28" y="278"/>
                    </a:lnTo>
                    <a:lnTo>
                      <a:pt x="28" y="278"/>
                    </a:lnTo>
                    <a:lnTo>
                      <a:pt x="28" y="278"/>
                    </a:lnTo>
                    <a:lnTo>
                      <a:pt x="28" y="278"/>
                    </a:lnTo>
                    <a:lnTo>
                      <a:pt x="28" y="278"/>
                    </a:lnTo>
                    <a:lnTo>
                      <a:pt x="28" y="278"/>
                    </a:lnTo>
                    <a:close/>
                    <a:moveTo>
                      <a:pt x="0" y="205"/>
                    </a:moveTo>
                    <a:lnTo>
                      <a:pt x="1" y="206"/>
                    </a:lnTo>
                    <a:lnTo>
                      <a:pt x="1" y="208"/>
                    </a:lnTo>
                    <a:lnTo>
                      <a:pt x="4" y="206"/>
                    </a:lnTo>
                    <a:lnTo>
                      <a:pt x="3" y="205"/>
                    </a:lnTo>
                    <a:lnTo>
                      <a:pt x="0" y="205"/>
                    </a:lnTo>
                    <a:lnTo>
                      <a:pt x="0" y="205"/>
                    </a:lnTo>
                    <a:lnTo>
                      <a:pt x="0" y="205"/>
                    </a:lnTo>
                    <a:lnTo>
                      <a:pt x="0" y="205"/>
                    </a:lnTo>
                    <a:lnTo>
                      <a:pt x="0" y="205"/>
                    </a:lnTo>
                    <a:lnTo>
                      <a:pt x="0" y="205"/>
                    </a:lnTo>
                    <a:lnTo>
                      <a:pt x="0" y="205"/>
                    </a:lnTo>
                    <a:lnTo>
                      <a:pt x="0" y="205"/>
                    </a:lnTo>
                    <a:lnTo>
                      <a:pt x="0" y="205"/>
                    </a:lnTo>
                    <a:close/>
                    <a:moveTo>
                      <a:pt x="38" y="200"/>
                    </a:moveTo>
                    <a:lnTo>
                      <a:pt x="36" y="198"/>
                    </a:lnTo>
                    <a:lnTo>
                      <a:pt x="34" y="198"/>
                    </a:lnTo>
                    <a:lnTo>
                      <a:pt x="31" y="198"/>
                    </a:lnTo>
                    <a:lnTo>
                      <a:pt x="33" y="195"/>
                    </a:lnTo>
                    <a:lnTo>
                      <a:pt x="33" y="192"/>
                    </a:lnTo>
                    <a:lnTo>
                      <a:pt x="31" y="192"/>
                    </a:lnTo>
                    <a:lnTo>
                      <a:pt x="30" y="192"/>
                    </a:lnTo>
                    <a:lnTo>
                      <a:pt x="28" y="192"/>
                    </a:lnTo>
                    <a:lnTo>
                      <a:pt x="25" y="192"/>
                    </a:lnTo>
                    <a:lnTo>
                      <a:pt x="25" y="192"/>
                    </a:lnTo>
                    <a:lnTo>
                      <a:pt x="22" y="189"/>
                    </a:lnTo>
                    <a:lnTo>
                      <a:pt x="19" y="189"/>
                    </a:lnTo>
                    <a:lnTo>
                      <a:pt x="17" y="189"/>
                    </a:lnTo>
                    <a:lnTo>
                      <a:pt x="17" y="192"/>
                    </a:lnTo>
                    <a:lnTo>
                      <a:pt x="17" y="192"/>
                    </a:lnTo>
                    <a:lnTo>
                      <a:pt x="15" y="195"/>
                    </a:lnTo>
                    <a:lnTo>
                      <a:pt x="14" y="195"/>
                    </a:lnTo>
                    <a:lnTo>
                      <a:pt x="12" y="195"/>
                    </a:lnTo>
                    <a:lnTo>
                      <a:pt x="12" y="198"/>
                    </a:lnTo>
                    <a:lnTo>
                      <a:pt x="9" y="198"/>
                    </a:lnTo>
                    <a:lnTo>
                      <a:pt x="9" y="198"/>
                    </a:lnTo>
                    <a:lnTo>
                      <a:pt x="11" y="200"/>
                    </a:lnTo>
                    <a:lnTo>
                      <a:pt x="15" y="201"/>
                    </a:lnTo>
                    <a:lnTo>
                      <a:pt x="17" y="205"/>
                    </a:lnTo>
                    <a:lnTo>
                      <a:pt x="19" y="205"/>
                    </a:lnTo>
                    <a:lnTo>
                      <a:pt x="19" y="201"/>
                    </a:lnTo>
                    <a:lnTo>
                      <a:pt x="17" y="200"/>
                    </a:lnTo>
                    <a:lnTo>
                      <a:pt x="19" y="198"/>
                    </a:lnTo>
                    <a:lnTo>
                      <a:pt x="19" y="200"/>
                    </a:lnTo>
                    <a:lnTo>
                      <a:pt x="22" y="205"/>
                    </a:lnTo>
                    <a:lnTo>
                      <a:pt x="25" y="208"/>
                    </a:lnTo>
                    <a:lnTo>
                      <a:pt x="25" y="211"/>
                    </a:lnTo>
                    <a:lnTo>
                      <a:pt x="25" y="212"/>
                    </a:lnTo>
                    <a:lnTo>
                      <a:pt x="22" y="214"/>
                    </a:lnTo>
                    <a:lnTo>
                      <a:pt x="22" y="217"/>
                    </a:lnTo>
                    <a:lnTo>
                      <a:pt x="25" y="220"/>
                    </a:lnTo>
                    <a:lnTo>
                      <a:pt x="28" y="224"/>
                    </a:lnTo>
                    <a:lnTo>
                      <a:pt x="28" y="224"/>
                    </a:lnTo>
                    <a:lnTo>
                      <a:pt x="25" y="224"/>
                    </a:lnTo>
                    <a:lnTo>
                      <a:pt x="28" y="227"/>
                    </a:lnTo>
                    <a:lnTo>
                      <a:pt x="30" y="227"/>
                    </a:lnTo>
                    <a:lnTo>
                      <a:pt x="31" y="227"/>
                    </a:lnTo>
                    <a:lnTo>
                      <a:pt x="33" y="227"/>
                    </a:lnTo>
                    <a:lnTo>
                      <a:pt x="31" y="227"/>
                    </a:lnTo>
                    <a:lnTo>
                      <a:pt x="30" y="224"/>
                    </a:lnTo>
                    <a:lnTo>
                      <a:pt x="30" y="220"/>
                    </a:lnTo>
                    <a:lnTo>
                      <a:pt x="31" y="220"/>
                    </a:lnTo>
                    <a:lnTo>
                      <a:pt x="31" y="220"/>
                    </a:lnTo>
                    <a:lnTo>
                      <a:pt x="33" y="227"/>
                    </a:lnTo>
                    <a:lnTo>
                      <a:pt x="34" y="227"/>
                    </a:lnTo>
                    <a:lnTo>
                      <a:pt x="33" y="230"/>
                    </a:lnTo>
                    <a:lnTo>
                      <a:pt x="36" y="230"/>
                    </a:lnTo>
                    <a:lnTo>
                      <a:pt x="38" y="227"/>
                    </a:lnTo>
                    <a:lnTo>
                      <a:pt x="36" y="227"/>
                    </a:lnTo>
                    <a:lnTo>
                      <a:pt x="36" y="224"/>
                    </a:lnTo>
                    <a:lnTo>
                      <a:pt x="39" y="224"/>
                    </a:lnTo>
                    <a:lnTo>
                      <a:pt x="41" y="220"/>
                    </a:lnTo>
                    <a:lnTo>
                      <a:pt x="39" y="219"/>
                    </a:lnTo>
                    <a:lnTo>
                      <a:pt x="39" y="212"/>
                    </a:lnTo>
                    <a:lnTo>
                      <a:pt x="39" y="208"/>
                    </a:lnTo>
                    <a:lnTo>
                      <a:pt x="41" y="205"/>
                    </a:lnTo>
                    <a:lnTo>
                      <a:pt x="41" y="203"/>
                    </a:lnTo>
                    <a:lnTo>
                      <a:pt x="39" y="201"/>
                    </a:lnTo>
                    <a:lnTo>
                      <a:pt x="38" y="200"/>
                    </a:lnTo>
                    <a:lnTo>
                      <a:pt x="38" y="200"/>
                    </a:lnTo>
                    <a:lnTo>
                      <a:pt x="38" y="200"/>
                    </a:lnTo>
                    <a:lnTo>
                      <a:pt x="38" y="200"/>
                    </a:lnTo>
                    <a:lnTo>
                      <a:pt x="38" y="200"/>
                    </a:lnTo>
                    <a:lnTo>
                      <a:pt x="38" y="200"/>
                    </a:lnTo>
                    <a:lnTo>
                      <a:pt x="38" y="200"/>
                    </a:lnTo>
                    <a:lnTo>
                      <a:pt x="38" y="200"/>
                    </a:lnTo>
                    <a:lnTo>
                      <a:pt x="38" y="200"/>
                    </a:lnTo>
                    <a:close/>
                    <a:moveTo>
                      <a:pt x="12" y="201"/>
                    </a:moveTo>
                    <a:lnTo>
                      <a:pt x="12" y="203"/>
                    </a:lnTo>
                    <a:lnTo>
                      <a:pt x="14" y="205"/>
                    </a:lnTo>
                    <a:lnTo>
                      <a:pt x="15" y="206"/>
                    </a:lnTo>
                    <a:lnTo>
                      <a:pt x="17" y="205"/>
                    </a:lnTo>
                    <a:lnTo>
                      <a:pt x="14" y="203"/>
                    </a:lnTo>
                    <a:lnTo>
                      <a:pt x="12" y="201"/>
                    </a:lnTo>
                    <a:lnTo>
                      <a:pt x="12" y="201"/>
                    </a:lnTo>
                    <a:lnTo>
                      <a:pt x="12" y="201"/>
                    </a:lnTo>
                    <a:lnTo>
                      <a:pt x="12" y="201"/>
                    </a:lnTo>
                    <a:lnTo>
                      <a:pt x="12" y="201"/>
                    </a:lnTo>
                    <a:lnTo>
                      <a:pt x="12" y="201"/>
                    </a:lnTo>
                    <a:lnTo>
                      <a:pt x="12" y="201"/>
                    </a:lnTo>
                    <a:lnTo>
                      <a:pt x="12" y="201"/>
                    </a:lnTo>
                    <a:lnTo>
                      <a:pt x="12" y="201"/>
                    </a:lnTo>
                    <a:close/>
                    <a:moveTo>
                      <a:pt x="19" y="206"/>
                    </a:moveTo>
                    <a:lnTo>
                      <a:pt x="22" y="208"/>
                    </a:lnTo>
                    <a:lnTo>
                      <a:pt x="22" y="206"/>
                    </a:lnTo>
                    <a:lnTo>
                      <a:pt x="22" y="205"/>
                    </a:lnTo>
                    <a:lnTo>
                      <a:pt x="19" y="203"/>
                    </a:lnTo>
                    <a:lnTo>
                      <a:pt x="19" y="205"/>
                    </a:lnTo>
                    <a:lnTo>
                      <a:pt x="19" y="205"/>
                    </a:lnTo>
                    <a:lnTo>
                      <a:pt x="19" y="206"/>
                    </a:lnTo>
                    <a:lnTo>
                      <a:pt x="19" y="206"/>
                    </a:lnTo>
                    <a:lnTo>
                      <a:pt x="19" y="206"/>
                    </a:lnTo>
                    <a:lnTo>
                      <a:pt x="19" y="206"/>
                    </a:lnTo>
                    <a:lnTo>
                      <a:pt x="19" y="206"/>
                    </a:lnTo>
                    <a:lnTo>
                      <a:pt x="19" y="206"/>
                    </a:lnTo>
                    <a:lnTo>
                      <a:pt x="19" y="206"/>
                    </a:lnTo>
                    <a:lnTo>
                      <a:pt x="19" y="206"/>
                    </a:lnTo>
                    <a:lnTo>
                      <a:pt x="19" y="206"/>
                    </a:lnTo>
                    <a:close/>
                    <a:moveTo>
                      <a:pt x="22" y="211"/>
                    </a:moveTo>
                    <a:lnTo>
                      <a:pt x="22" y="209"/>
                    </a:lnTo>
                    <a:lnTo>
                      <a:pt x="19" y="209"/>
                    </a:lnTo>
                    <a:lnTo>
                      <a:pt x="19" y="209"/>
                    </a:lnTo>
                    <a:lnTo>
                      <a:pt x="19" y="214"/>
                    </a:lnTo>
                    <a:lnTo>
                      <a:pt x="22" y="211"/>
                    </a:lnTo>
                    <a:lnTo>
                      <a:pt x="22" y="211"/>
                    </a:lnTo>
                    <a:lnTo>
                      <a:pt x="22" y="211"/>
                    </a:lnTo>
                    <a:lnTo>
                      <a:pt x="22" y="211"/>
                    </a:lnTo>
                    <a:lnTo>
                      <a:pt x="22" y="211"/>
                    </a:lnTo>
                    <a:lnTo>
                      <a:pt x="22" y="211"/>
                    </a:lnTo>
                    <a:lnTo>
                      <a:pt x="22" y="211"/>
                    </a:lnTo>
                    <a:lnTo>
                      <a:pt x="22" y="211"/>
                    </a:lnTo>
                    <a:lnTo>
                      <a:pt x="22" y="211"/>
                    </a:lnTo>
                    <a:close/>
                    <a:moveTo>
                      <a:pt x="122" y="152"/>
                    </a:moveTo>
                    <a:lnTo>
                      <a:pt x="120" y="147"/>
                    </a:lnTo>
                    <a:lnTo>
                      <a:pt x="120" y="146"/>
                    </a:lnTo>
                    <a:lnTo>
                      <a:pt x="122" y="146"/>
                    </a:lnTo>
                    <a:lnTo>
                      <a:pt x="122" y="144"/>
                    </a:lnTo>
                    <a:lnTo>
                      <a:pt x="120" y="139"/>
                    </a:lnTo>
                    <a:lnTo>
                      <a:pt x="119" y="136"/>
                    </a:lnTo>
                    <a:lnTo>
                      <a:pt x="114" y="130"/>
                    </a:lnTo>
                    <a:lnTo>
                      <a:pt x="114" y="128"/>
                    </a:lnTo>
                    <a:lnTo>
                      <a:pt x="114" y="125"/>
                    </a:lnTo>
                    <a:lnTo>
                      <a:pt x="115" y="125"/>
                    </a:lnTo>
                    <a:lnTo>
                      <a:pt x="119" y="125"/>
                    </a:lnTo>
                    <a:lnTo>
                      <a:pt x="115" y="119"/>
                    </a:lnTo>
                    <a:lnTo>
                      <a:pt x="115" y="117"/>
                    </a:lnTo>
                    <a:lnTo>
                      <a:pt x="117" y="114"/>
                    </a:lnTo>
                    <a:lnTo>
                      <a:pt x="117" y="112"/>
                    </a:lnTo>
                    <a:lnTo>
                      <a:pt x="115" y="109"/>
                    </a:lnTo>
                    <a:lnTo>
                      <a:pt x="114" y="108"/>
                    </a:lnTo>
                    <a:lnTo>
                      <a:pt x="112" y="101"/>
                    </a:lnTo>
                    <a:lnTo>
                      <a:pt x="109" y="98"/>
                    </a:lnTo>
                    <a:lnTo>
                      <a:pt x="104" y="95"/>
                    </a:lnTo>
                    <a:lnTo>
                      <a:pt x="101" y="93"/>
                    </a:lnTo>
                    <a:lnTo>
                      <a:pt x="98" y="87"/>
                    </a:lnTo>
                    <a:lnTo>
                      <a:pt x="95" y="81"/>
                    </a:lnTo>
                    <a:lnTo>
                      <a:pt x="93" y="82"/>
                    </a:lnTo>
                    <a:lnTo>
                      <a:pt x="92" y="81"/>
                    </a:lnTo>
                    <a:lnTo>
                      <a:pt x="88" y="81"/>
                    </a:lnTo>
                    <a:lnTo>
                      <a:pt x="87" y="81"/>
                    </a:lnTo>
                    <a:lnTo>
                      <a:pt x="87" y="82"/>
                    </a:lnTo>
                    <a:lnTo>
                      <a:pt x="88" y="84"/>
                    </a:lnTo>
                    <a:lnTo>
                      <a:pt x="92" y="85"/>
                    </a:lnTo>
                    <a:lnTo>
                      <a:pt x="93" y="84"/>
                    </a:lnTo>
                    <a:lnTo>
                      <a:pt x="95" y="85"/>
                    </a:lnTo>
                    <a:lnTo>
                      <a:pt x="95" y="87"/>
                    </a:lnTo>
                    <a:lnTo>
                      <a:pt x="95" y="89"/>
                    </a:lnTo>
                    <a:lnTo>
                      <a:pt x="92" y="87"/>
                    </a:lnTo>
                    <a:lnTo>
                      <a:pt x="92" y="90"/>
                    </a:lnTo>
                    <a:lnTo>
                      <a:pt x="88" y="89"/>
                    </a:lnTo>
                    <a:lnTo>
                      <a:pt x="87" y="85"/>
                    </a:lnTo>
                    <a:lnTo>
                      <a:pt x="85" y="84"/>
                    </a:lnTo>
                    <a:lnTo>
                      <a:pt x="82" y="84"/>
                    </a:lnTo>
                    <a:lnTo>
                      <a:pt x="84" y="87"/>
                    </a:lnTo>
                    <a:lnTo>
                      <a:pt x="85" y="89"/>
                    </a:lnTo>
                    <a:lnTo>
                      <a:pt x="85" y="90"/>
                    </a:lnTo>
                    <a:lnTo>
                      <a:pt x="82" y="92"/>
                    </a:lnTo>
                    <a:lnTo>
                      <a:pt x="82" y="93"/>
                    </a:lnTo>
                    <a:lnTo>
                      <a:pt x="85" y="95"/>
                    </a:lnTo>
                    <a:lnTo>
                      <a:pt x="87" y="98"/>
                    </a:lnTo>
                    <a:lnTo>
                      <a:pt x="87" y="101"/>
                    </a:lnTo>
                    <a:lnTo>
                      <a:pt x="87" y="101"/>
                    </a:lnTo>
                    <a:lnTo>
                      <a:pt x="88" y="101"/>
                    </a:lnTo>
                    <a:lnTo>
                      <a:pt x="90" y="104"/>
                    </a:lnTo>
                    <a:lnTo>
                      <a:pt x="92" y="108"/>
                    </a:lnTo>
                    <a:lnTo>
                      <a:pt x="95" y="112"/>
                    </a:lnTo>
                    <a:lnTo>
                      <a:pt x="95" y="119"/>
                    </a:lnTo>
                    <a:lnTo>
                      <a:pt x="95" y="125"/>
                    </a:lnTo>
                    <a:lnTo>
                      <a:pt x="95" y="128"/>
                    </a:lnTo>
                    <a:lnTo>
                      <a:pt x="93" y="130"/>
                    </a:lnTo>
                    <a:lnTo>
                      <a:pt x="92" y="131"/>
                    </a:lnTo>
                    <a:lnTo>
                      <a:pt x="92" y="135"/>
                    </a:lnTo>
                    <a:lnTo>
                      <a:pt x="90" y="139"/>
                    </a:lnTo>
                    <a:lnTo>
                      <a:pt x="88" y="141"/>
                    </a:lnTo>
                    <a:lnTo>
                      <a:pt x="85" y="143"/>
                    </a:lnTo>
                    <a:lnTo>
                      <a:pt x="82" y="144"/>
                    </a:lnTo>
                    <a:lnTo>
                      <a:pt x="79" y="147"/>
                    </a:lnTo>
                    <a:lnTo>
                      <a:pt x="77" y="147"/>
                    </a:lnTo>
                    <a:lnTo>
                      <a:pt x="76" y="146"/>
                    </a:lnTo>
                    <a:lnTo>
                      <a:pt x="74" y="144"/>
                    </a:lnTo>
                    <a:lnTo>
                      <a:pt x="73" y="143"/>
                    </a:lnTo>
                    <a:lnTo>
                      <a:pt x="73" y="141"/>
                    </a:lnTo>
                    <a:lnTo>
                      <a:pt x="74" y="141"/>
                    </a:lnTo>
                    <a:lnTo>
                      <a:pt x="74" y="139"/>
                    </a:lnTo>
                    <a:lnTo>
                      <a:pt x="74" y="136"/>
                    </a:lnTo>
                    <a:lnTo>
                      <a:pt x="73" y="138"/>
                    </a:lnTo>
                    <a:lnTo>
                      <a:pt x="69" y="139"/>
                    </a:lnTo>
                    <a:lnTo>
                      <a:pt x="69" y="141"/>
                    </a:lnTo>
                    <a:lnTo>
                      <a:pt x="69" y="144"/>
                    </a:lnTo>
                    <a:lnTo>
                      <a:pt x="73" y="146"/>
                    </a:lnTo>
                    <a:lnTo>
                      <a:pt x="73" y="149"/>
                    </a:lnTo>
                    <a:lnTo>
                      <a:pt x="73" y="152"/>
                    </a:lnTo>
                    <a:lnTo>
                      <a:pt x="69" y="154"/>
                    </a:lnTo>
                    <a:lnTo>
                      <a:pt x="69" y="157"/>
                    </a:lnTo>
                    <a:lnTo>
                      <a:pt x="69" y="160"/>
                    </a:lnTo>
                    <a:lnTo>
                      <a:pt x="73" y="160"/>
                    </a:lnTo>
                    <a:lnTo>
                      <a:pt x="73" y="163"/>
                    </a:lnTo>
                    <a:lnTo>
                      <a:pt x="69" y="163"/>
                    </a:lnTo>
                    <a:lnTo>
                      <a:pt x="69" y="163"/>
                    </a:lnTo>
                    <a:lnTo>
                      <a:pt x="69" y="165"/>
                    </a:lnTo>
                    <a:lnTo>
                      <a:pt x="68" y="165"/>
                    </a:lnTo>
                    <a:lnTo>
                      <a:pt x="65" y="165"/>
                    </a:lnTo>
                    <a:lnTo>
                      <a:pt x="63" y="165"/>
                    </a:lnTo>
                    <a:lnTo>
                      <a:pt x="63" y="163"/>
                    </a:lnTo>
                    <a:lnTo>
                      <a:pt x="63" y="163"/>
                    </a:lnTo>
                    <a:lnTo>
                      <a:pt x="60" y="163"/>
                    </a:lnTo>
                    <a:lnTo>
                      <a:pt x="57" y="163"/>
                    </a:lnTo>
                    <a:lnTo>
                      <a:pt x="54" y="163"/>
                    </a:lnTo>
                    <a:lnTo>
                      <a:pt x="49" y="165"/>
                    </a:lnTo>
                    <a:lnTo>
                      <a:pt x="46" y="165"/>
                    </a:lnTo>
                    <a:lnTo>
                      <a:pt x="44" y="165"/>
                    </a:lnTo>
                    <a:lnTo>
                      <a:pt x="41" y="166"/>
                    </a:lnTo>
                    <a:lnTo>
                      <a:pt x="39" y="165"/>
                    </a:lnTo>
                    <a:lnTo>
                      <a:pt x="36" y="165"/>
                    </a:lnTo>
                    <a:lnTo>
                      <a:pt x="33" y="166"/>
                    </a:lnTo>
                    <a:lnTo>
                      <a:pt x="33" y="168"/>
                    </a:lnTo>
                    <a:lnTo>
                      <a:pt x="33" y="170"/>
                    </a:lnTo>
                    <a:lnTo>
                      <a:pt x="30" y="173"/>
                    </a:lnTo>
                    <a:lnTo>
                      <a:pt x="25" y="181"/>
                    </a:lnTo>
                    <a:lnTo>
                      <a:pt x="22" y="182"/>
                    </a:lnTo>
                    <a:lnTo>
                      <a:pt x="19" y="182"/>
                    </a:lnTo>
                    <a:lnTo>
                      <a:pt x="19" y="185"/>
                    </a:lnTo>
                    <a:lnTo>
                      <a:pt x="22" y="189"/>
                    </a:lnTo>
                    <a:lnTo>
                      <a:pt x="22" y="189"/>
                    </a:lnTo>
                    <a:lnTo>
                      <a:pt x="25" y="189"/>
                    </a:lnTo>
                    <a:lnTo>
                      <a:pt x="28" y="189"/>
                    </a:lnTo>
                    <a:lnTo>
                      <a:pt x="31" y="189"/>
                    </a:lnTo>
                    <a:lnTo>
                      <a:pt x="36" y="189"/>
                    </a:lnTo>
                    <a:lnTo>
                      <a:pt x="36" y="185"/>
                    </a:lnTo>
                    <a:lnTo>
                      <a:pt x="36" y="184"/>
                    </a:lnTo>
                    <a:lnTo>
                      <a:pt x="38" y="182"/>
                    </a:lnTo>
                    <a:lnTo>
                      <a:pt x="39" y="184"/>
                    </a:lnTo>
                    <a:lnTo>
                      <a:pt x="41" y="184"/>
                    </a:lnTo>
                    <a:lnTo>
                      <a:pt x="46" y="182"/>
                    </a:lnTo>
                    <a:lnTo>
                      <a:pt x="47" y="184"/>
                    </a:lnTo>
                    <a:lnTo>
                      <a:pt x="47" y="182"/>
                    </a:lnTo>
                    <a:lnTo>
                      <a:pt x="49" y="182"/>
                    </a:lnTo>
                    <a:lnTo>
                      <a:pt x="49" y="181"/>
                    </a:lnTo>
                    <a:lnTo>
                      <a:pt x="50" y="181"/>
                    </a:lnTo>
                    <a:lnTo>
                      <a:pt x="54" y="181"/>
                    </a:lnTo>
                    <a:lnTo>
                      <a:pt x="54" y="181"/>
                    </a:lnTo>
                    <a:lnTo>
                      <a:pt x="54" y="179"/>
                    </a:lnTo>
                    <a:lnTo>
                      <a:pt x="60" y="176"/>
                    </a:lnTo>
                    <a:lnTo>
                      <a:pt x="63" y="178"/>
                    </a:lnTo>
                    <a:lnTo>
                      <a:pt x="66" y="178"/>
                    </a:lnTo>
                    <a:lnTo>
                      <a:pt x="69" y="178"/>
                    </a:lnTo>
                    <a:lnTo>
                      <a:pt x="69" y="178"/>
                    </a:lnTo>
                    <a:lnTo>
                      <a:pt x="73" y="179"/>
                    </a:lnTo>
                    <a:lnTo>
                      <a:pt x="69" y="181"/>
                    </a:lnTo>
                    <a:lnTo>
                      <a:pt x="69" y="184"/>
                    </a:lnTo>
                    <a:lnTo>
                      <a:pt x="69" y="185"/>
                    </a:lnTo>
                    <a:lnTo>
                      <a:pt x="69" y="187"/>
                    </a:lnTo>
                    <a:lnTo>
                      <a:pt x="73" y="189"/>
                    </a:lnTo>
                    <a:lnTo>
                      <a:pt x="74" y="192"/>
                    </a:lnTo>
                    <a:lnTo>
                      <a:pt x="76" y="192"/>
                    </a:lnTo>
                    <a:lnTo>
                      <a:pt x="77" y="195"/>
                    </a:lnTo>
                    <a:lnTo>
                      <a:pt x="82" y="195"/>
                    </a:lnTo>
                    <a:lnTo>
                      <a:pt x="82" y="195"/>
                    </a:lnTo>
                    <a:lnTo>
                      <a:pt x="84" y="192"/>
                    </a:lnTo>
                    <a:lnTo>
                      <a:pt x="84" y="189"/>
                    </a:lnTo>
                    <a:lnTo>
                      <a:pt x="84" y="187"/>
                    </a:lnTo>
                    <a:lnTo>
                      <a:pt x="85" y="185"/>
                    </a:lnTo>
                    <a:lnTo>
                      <a:pt x="88" y="184"/>
                    </a:lnTo>
                    <a:lnTo>
                      <a:pt x="92" y="184"/>
                    </a:lnTo>
                    <a:lnTo>
                      <a:pt x="88" y="181"/>
                    </a:lnTo>
                    <a:lnTo>
                      <a:pt x="85" y="179"/>
                    </a:lnTo>
                    <a:lnTo>
                      <a:pt x="84" y="178"/>
                    </a:lnTo>
                    <a:lnTo>
                      <a:pt x="84" y="174"/>
                    </a:lnTo>
                    <a:lnTo>
                      <a:pt x="84" y="173"/>
                    </a:lnTo>
                    <a:lnTo>
                      <a:pt x="85" y="171"/>
                    </a:lnTo>
                    <a:lnTo>
                      <a:pt x="85" y="173"/>
                    </a:lnTo>
                    <a:lnTo>
                      <a:pt x="87" y="176"/>
                    </a:lnTo>
                    <a:lnTo>
                      <a:pt x="88" y="176"/>
                    </a:lnTo>
                    <a:lnTo>
                      <a:pt x="90" y="176"/>
                    </a:lnTo>
                    <a:lnTo>
                      <a:pt x="92" y="176"/>
                    </a:lnTo>
                    <a:lnTo>
                      <a:pt x="93" y="178"/>
                    </a:lnTo>
                    <a:lnTo>
                      <a:pt x="92" y="178"/>
                    </a:lnTo>
                    <a:lnTo>
                      <a:pt x="92" y="179"/>
                    </a:lnTo>
                    <a:lnTo>
                      <a:pt x="95" y="178"/>
                    </a:lnTo>
                    <a:lnTo>
                      <a:pt x="98" y="178"/>
                    </a:lnTo>
                    <a:lnTo>
                      <a:pt x="104" y="179"/>
                    </a:lnTo>
                    <a:lnTo>
                      <a:pt x="104" y="176"/>
                    </a:lnTo>
                    <a:lnTo>
                      <a:pt x="104" y="173"/>
                    </a:lnTo>
                    <a:lnTo>
                      <a:pt x="107" y="171"/>
                    </a:lnTo>
                    <a:lnTo>
                      <a:pt x="109" y="173"/>
                    </a:lnTo>
                    <a:lnTo>
                      <a:pt x="107" y="173"/>
                    </a:lnTo>
                    <a:lnTo>
                      <a:pt x="109" y="176"/>
                    </a:lnTo>
                    <a:lnTo>
                      <a:pt x="111" y="179"/>
                    </a:lnTo>
                    <a:lnTo>
                      <a:pt x="112" y="179"/>
                    </a:lnTo>
                    <a:lnTo>
                      <a:pt x="114" y="178"/>
                    </a:lnTo>
                    <a:lnTo>
                      <a:pt x="114" y="174"/>
                    </a:lnTo>
                    <a:lnTo>
                      <a:pt x="111" y="170"/>
                    </a:lnTo>
                    <a:lnTo>
                      <a:pt x="112" y="168"/>
                    </a:lnTo>
                    <a:lnTo>
                      <a:pt x="114" y="168"/>
                    </a:lnTo>
                    <a:lnTo>
                      <a:pt x="119" y="170"/>
                    </a:lnTo>
                    <a:lnTo>
                      <a:pt x="117" y="168"/>
                    </a:lnTo>
                    <a:lnTo>
                      <a:pt x="117" y="166"/>
                    </a:lnTo>
                    <a:lnTo>
                      <a:pt x="117" y="165"/>
                    </a:lnTo>
                    <a:lnTo>
                      <a:pt x="117" y="163"/>
                    </a:lnTo>
                    <a:lnTo>
                      <a:pt x="119" y="163"/>
                    </a:lnTo>
                    <a:lnTo>
                      <a:pt x="120" y="163"/>
                    </a:lnTo>
                    <a:lnTo>
                      <a:pt x="120" y="166"/>
                    </a:lnTo>
                    <a:lnTo>
                      <a:pt x="120" y="170"/>
                    </a:lnTo>
                    <a:lnTo>
                      <a:pt x="120" y="173"/>
                    </a:lnTo>
                    <a:lnTo>
                      <a:pt x="122" y="174"/>
                    </a:lnTo>
                    <a:lnTo>
                      <a:pt x="125" y="173"/>
                    </a:lnTo>
                    <a:lnTo>
                      <a:pt x="127" y="170"/>
                    </a:lnTo>
                    <a:lnTo>
                      <a:pt x="127" y="165"/>
                    </a:lnTo>
                    <a:lnTo>
                      <a:pt x="127" y="163"/>
                    </a:lnTo>
                    <a:lnTo>
                      <a:pt x="130" y="163"/>
                    </a:lnTo>
                    <a:lnTo>
                      <a:pt x="125" y="157"/>
                    </a:lnTo>
                    <a:lnTo>
                      <a:pt x="122" y="152"/>
                    </a:lnTo>
                    <a:lnTo>
                      <a:pt x="122" y="152"/>
                    </a:lnTo>
                    <a:lnTo>
                      <a:pt x="122" y="152"/>
                    </a:lnTo>
                    <a:lnTo>
                      <a:pt x="122" y="152"/>
                    </a:lnTo>
                    <a:lnTo>
                      <a:pt x="122" y="152"/>
                    </a:lnTo>
                    <a:lnTo>
                      <a:pt x="122" y="152"/>
                    </a:lnTo>
                    <a:lnTo>
                      <a:pt x="122" y="152"/>
                    </a:lnTo>
                    <a:lnTo>
                      <a:pt x="122" y="152"/>
                    </a:lnTo>
                    <a:lnTo>
                      <a:pt x="122" y="152"/>
                    </a:lnTo>
                    <a:close/>
                    <a:moveTo>
                      <a:pt x="85" y="101"/>
                    </a:moveTo>
                    <a:lnTo>
                      <a:pt x="87" y="101"/>
                    </a:lnTo>
                    <a:lnTo>
                      <a:pt x="85" y="101"/>
                    </a:lnTo>
                    <a:lnTo>
                      <a:pt x="85" y="101"/>
                    </a:lnTo>
                    <a:lnTo>
                      <a:pt x="85" y="101"/>
                    </a:lnTo>
                    <a:lnTo>
                      <a:pt x="85" y="101"/>
                    </a:lnTo>
                    <a:lnTo>
                      <a:pt x="85" y="101"/>
                    </a:lnTo>
                    <a:lnTo>
                      <a:pt x="85" y="101"/>
                    </a:lnTo>
                    <a:lnTo>
                      <a:pt x="85" y="101"/>
                    </a:lnTo>
                    <a:lnTo>
                      <a:pt x="85" y="101"/>
                    </a:lnTo>
                    <a:lnTo>
                      <a:pt x="85" y="101"/>
                    </a:lnTo>
                    <a:lnTo>
                      <a:pt x="85" y="101"/>
                    </a:lnTo>
                    <a:close/>
                    <a:moveTo>
                      <a:pt x="33" y="239"/>
                    </a:moveTo>
                    <a:lnTo>
                      <a:pt x="34" y="239"/>
                    </a:lnTo>
                    <a:lnTo>
                      <a:pt x="36" y="241"/>
                    </a:lnTo>
                    <a:lnTo>
                      <a:pt x="34" y="238"/>
                    </a:lnTo>
                    <a:lnTo>
                      <a:pt x="33" y="239"/>
                    </a:lnTo>
                    <a:lnTo>
                      <a:pt x="33" y="239"/>
                    </a:lnTo>
                    <a:lnTo>
                      <a:pt x="33" y="239"/>
                    </a:lnTo>
                    <a:lnTo>
                      <a:pt x="33" y="239"/>
                    </a:lnTo>
                    <a:lnTo>
                      <a:pt x="33" y="239"/>
                    </a:lnTo>
                    <a:lnTo>
                      <a:pt x="33" y="239"/>
                    </a:lnTo>
                    <a:lnTo>
                      <a:pt x="33" y="239"/>
                    </a:lnTo>
                    <a:lnTo>
                      <a:pt x="33" y="239"/>
                    </a:lnTo>
                    <a:lnTo>
                      <a:pt x="33" y="239"/>
                    </a:lnTo>
                    <a:close/>
                    <a:moveTo>
                      <a:pt x="36" y="154"/>
                    </a:moveTo>
                    <a:lnTo>
                      <a:pt x="36" y="154"/>
                    </a:lnTo>
                    <a:lnTo>
                      <a:pt x="34" y="154"/>
                    </a:lnTo>
                    <a:lnTo>
                      <a:pt x="36" y="157"/>
                    </a:lnTo>
                    <a:lnTo>
                      <a:pt x="36" y="154"/>
                    </a:lnTo>
                    <a:lnTo>
                      <a:pt x="36" y="154"/>
                    </a:lnTo>
                    <a:lnTo>
                      <a:pt x="36" y="154"/>
                    </a:lnTo>
                    <a:lnTo>
                      <a:pt x="36" y="154"/>
                    </a:lnTo>
                    <a:lnTo>
                      <a:pt x="36" y="154"/>
                    </a:lnTo>
                    <a:lnTo>
                      <a:pt x="36" y="154"/>
                    </a:lnTo>
                    <a:lnTo>
                      <a:pt x="36" y="154"/>
                    </a:lnTo>
                    <a:lnTo>
                      <a:pt x="36" y="154"/>
                    </a:lnTo>
                    <a:lnTo>
                      <a:pt x="36" y="154"/>
                    </a:lnTo>
                    <a:close/>
                    <a:moveTo>
                      <a:pt x="38" y="198"/>
                    </a:moveTo>
                    <a:lnTo>
                      <a:pt x="41" y="195"/>
                    </a:lnTo>
                    <a:lnTo>
                      <a:pt x="39" y="195"/>
                    </a:lnTo>
                    <a:lnTo>
                      <a:pt x="38" y="198"/>
                    </a:lnTo>
                    <a:lnTo>
                      <a:pt x="38" y="198"/>
                    </a:lnTo>
                    <a:lnTo>
                      <a:pt x="38" y="198"/>
                    </a:lnTo>
                    <a:lnTo>
                      <a:pt x="38" y="198"/>
                    </a:lnTo>
                    <a:lnTo>
                      <a:pt x="38" y="198"/>
                    </a:lnTo>
                    <a:lnTo>
                      <a:pt x="38" y="198"/>
                    </a:lnTo>
                    <a:lnTo>
                      <a:pt x="38" y="198"/>
                    </a:lnTo>
                    <a:lnTo>
                      <a:pt x="38" y="198"/>
                    </a:lnTo>
                    <a:lnTo>
                      <a:pt x="38" y="198"/>
                    </a:lnTo>
                    <a:close/>
                    <a:moveTo>
                      <a:pt x="65" y="184"/>
                    </a:moveTo>
                    <a:lnTo>
                      <a:pt x="60" y="184"/>
                    </a:lnTo>
                    <a:lnTo>
                      <a:pt x="57" y="182"/>
                    </a:lnTo>
                    <a:lnTo>
                      <a:pt x="54" y="184"/>
                    </a:lnTo>
                    <a:lnTo>
                      <a:pt x="54" y="184"/>
                    </a:lnTo>
                    <a:lnTo>
                      <a:pt x="52" y="184"/>
                    </a:lnTo>
                    <a:lnTo>
                      <a:pt x="54" y="185"/>
                    </a:lnTo>
                    <a:lnTo>
                      <a:pt x="54" y="187"/>
                    </a:lnTo>
                    <a:lnTo>
                      <a:pt x="50" y="189"/>
                    </a:lnTo>
                    <a:lnTo>
                      <a:pt x="49" y="189"/>
                    </a:lnTo>
                    <a:lnTo>
                      <a:pt x="47" y="187"/>
                    </a:lnTo>
                    <a:lnTo>
                      <a:pt x="44" y="185"/>
                    </a:lnTo>
                    <a:lnTo>
                      <a:pt x="44" y="189"/>
                    </a:lnTo>
                    <a:lnTo>
                      <a:pt x="44" y="192"/>
                    </a:lnTo>
                    <a:lnTo>
                      <a:pt x="42" y="192"/>
                    </a:lnTo>
                    <a:lnTo>
                      <a:pt x="41" y="195"/>
                    </a:lnTo>
                    <a:lnTo>
                      <a:pt x="42" y="195"/>
                    </a:lnTo>
                    <a:lnTo>
                      <a:pt x="42" y="198"/>
                    </a:lnTo>
                    <a:lnTo>
                      <a:pt x="44" y="198"/>
                    </a:lnTo>
                    <a:lnTo>
                      <a:pt x="46" y="198"/>
                    </a:lnTo>
                    <a:lnTo>
                      <a:pt x="44" y="198"/>
                    </a:lnTo>
                    <a:lnTo>
                      <a:pt x="46" y="201"/>
                    </a:lnTo>
                    <a:lnTo>
                      <a:pt x="47" y="203"/>
                    </a:lnTo>
                    <a:lnTo>
                      <a:pt x="49" y="203"/>
                    </a:lnTo>
                    <a:lnTo>
                      <a:pt x="50" y="205"/>
                    </a:lnTo>
                    <a:lnTo>
                      <a:pt x="52" y="205"/>
                    </a:lnTo>
                    <a:lnTo>
                      <a:pt x="54" y="206"/>
                    </a:lnTo>
                    <a:lnTo>
                      <a:pt x="54" y="205"/>
                    </a:lnTo>
                    <a:lnTo>
                      <a:pt x="54" y="201"/>
                    </a:lnTo>
                    <a:lnTo>
                      <a:pt x="54" y="198"/>
                    </a:lnTo>
                    <a:lnTo>
                      <a:pt x="57" y="195"/>
                    </a:lnTo>
                    <a:lnTo>
                      <a:pt x="60" y="195"/>
                    </a:lnTo>
                    <a:lnTo>
                      <a:pt x="65" y="198"/>
                    </a:lnTo>
                    <a:lnTo>
                      <a:pt x="65" y="195"/>
                    </a:lnTo>
                    <a:lnTo>
                      <a:pt x="68" y="189"/>
                    </a:lnTo>
                    <a:lnTo>
                      <a:pt x="66" y="187"/>
                    </a:lnTo>
                    <a:lnTo>
                      <a:pt x="65" y="184"/>
                    </a:lnTo>
                    <a:lnTo>
                      <a:pt x="65" y="184"/>
                    </a:lnTo>
                    <a:lnTo>
                      <a:pt x="65" y="184"/>
                    </a:lnTo>
                    <a:lnTo>
                      <a:pt x="65" y="184"/>
                    </a:lnTo>
                    <a:lnTo>
                      <a:pt x="65" y="184"/>
                    </a:lnTo>
                    <a:lnTo>
                      <a:pt x="65" y="184"/>
                    </a:lnTo>
                    <a:lnTo>
                      <a:pt x="65" y="184"/>
                    </a:lnTo>
                    <a:lnTo>
                      <a:pt x="65" y="184"/>
                    </a:lnTo>
                    <a:lnTo>
                      <a:pt x="65" y="184"/>
                    </a:lnTo>
                    <a:close/>
                    <a:moveTo>
                      <a:pt x="39" y="236"/>
                    </a:moveTo>
                    <a:lnTo>
                      <a:pt x="39" y="238"/>
                    </a:lnTo>
                    <a:lnTo>
                      <a:pt x="41" y="239"/>
                    </a:lnTo>
                    <a:lnTo>
                      <a:pt x="41" y="236"/>
                    </a:lnTo>
                    <a:lnTo>
                      <a:pt x="39" y="233"/>
                    </a:lnTo>
                    <a:lnTo>
                      <a:pt x="39" y="236"/>
                    </a:lnTo>
                    <a:lnTo>
                      <a:pt x="39" y="236"/>
                    </a:lnTo>
                    <a:lnTo>
                      <a:pt x="39" y="236"/>
                    </a:lnTo>
                    <a:lnTo>
                      <a:pt x="39" y="236"/>
                    </a:lnTo>
                    <a:lnTo>
                      <a:pt x="39" y="236"/>
                    </a:lnTo>
                    <a:lnTo>
                      <a:pt x="39" y="236"/>
                    </a:lnTo>
                    <a:lnTo>
                      <a:pt x="39" y="236"/>
                    </a:lnTo>
                    <a:lnTo>
                      <a:pt x="39" y="236"/>
                    </a:lnTo>
                    <a:lnTo>
                      <a:pt x="39" y="236"/>
                    </a:lnTo>
                    <a:close/>
                    <a:moveTo>
                      <a:pt x="65" y="28"/>
                    </a:moveTo>
                    <a:lnTo>
                      <a:pt x="68" y="31"/>
                    </a:lnTo>
                    <a:lnTo>
                      <a:pt x="69" y="35"/>
                    </a:lnTo>
                    <a:lnTo>
                      <a:pt x="74" y="43"/>
                    </a:lnTo>
                    <a:lnTo>
                      <a:pt x="73" y="46"/>
                    </a:lnTo>
                    <a:lnTo>
                      <a:pt x="73" y="47"/>
                    </a:lnTo>
                    <a:lnTo>
                      <a:pt x="74" y="49"/>
                    </a:lnTo>
                    <a:lnTo>
                      <a:pt x="77" y="54"/>
                    </a:lnTo>
                    <a:lnTo>
                      <a:pt x="77" y="55"/>
                    </a:lnTo>
                    <a:lnTo>
                      <a:pt x="74" y="57"/>
                    </a:lnTo>
                    <a:lnTo>
                      <a:pt x="69" y="55"/>
                    </a:lnTo>
                    <a:lnTo>
                      <a:pt x="66" y="54"/>
                    </a:lnTo>
                    <a:lnTo>
                      <a:pt x="66" y="55"/>
                    </a:lnTo>
                    <a:lnTo>
                      <a:pt x="68" y="57"/>
                    </a:lnTo>
                    <a:lnTo>
                      <a:pt x="69" y="58"/>
                    </a:lnTo>
                    <a:lnTo>
                      <a:pt x="69" y="60"/>
                    </a:lnTo>
                    <a:lnTo>
                      <a:pt x="69" y="62"/>
                    </a:lnTo>
                    <a:lnTo>
                      <a:pt x="68" y="63"/>
                    </a:lnTo>
                    <a:lnTo>
                      <a:pt x="66" y="63"/>
                    </a:lnTo>
                    <a:lnTo>
                      <a:pt x="68" y="66"/>
                    </a:lnTo>
                    <a:lnTo>
                      <a:pt x="69" y="70"/>
                    </a:lnTo>
                    <a:lnTo>
                      <a:pt x="69" y="70"/>
                    </a:lnTo>
                    <a:lnTo>
                      <a:pt x="74" y="73"/>
                    </a:lnTo>
                    <a:lnTo>
                      <a:pt x="74" y="76"/>
                    </a:lnTo>
                    <a:lnTo>
                      <a:pt x="76" y="79"/>
                    </a:lnTo>
                    <a:lnTo>
                      <a:pt x="77" y="81"/>
                    </a:lnTo>
                    <a:lnTo>
                      <a:pt x="79" y="81"/>
                    </a:lnTo>
                    <a:lnTo>
                      <a:pt x="81" y="79"/>
                    </a:lnTo>
                    <a:lnTo>
                      <a:pt x="81" y="77"/>
                    </a:lnTo>
                    <a:lnTo>
                      <a:pt x="82" y="76"/>
                    </a:lnTo>
                    <a:lnTo>
                      <a:pt x="85" y="76"/>
                    </a:lnTo>
                    <a:lnTo>
                      <a:pt x="87" y="76"/>
                    </a:lnTo>
                    <a:lnTo>
                      <a:pt x="87" y="74"/>
                    </a:lnTo>
                    <a:lnTo>
                      <a:pt x="84" y="73"/>
                    </a:lnTo>
                    <a:lnTo>
                      <a:pt x="81" y="73"/>
                    </a:lnTo>
                    <a:lnTo>
                      <a:pt x="77" y="70"/>
                    </a:lnTo>
                    <a:lnTo>
                      <a:pt x="74" y="70"/>
                    </a:lnTo>
                    <a:lnTo>
                      <a:pt x="73" y="66"/>
                    </a:lnTo>
                    <a:lnTo>
                      <a:pt x="73" y="63"/>
                    </a:lnTo>
                    <a:lnTo>
                      <a:pt x="74" y="63"/>
                    </a:lnTo>
                    <a:lnTo>
                      <a:pt x="77" y="66"/>
                    </a:lnTo>
                    <a:lnTo>
                      <a:pt x="81" y="66"/>
                    </a:lnTo>
                    <a:lnTo>
                      <a:pt x="82" y="66"/>
                    </a:lnTo>
                    <a:lnTo>
                      <a:pt x="85" y="63"/>
                    </a:lnTo>
                    <a:lnTo>
                      <a:pt x="88" y="63"/>
                    </a:lnTo>
                    <a:lnTo>
                      <a:pt x="92" y="66"/>
                    </a:lnTo>
                    <a:lnTo>
                      <a:pt x="98" y="70"/>
                    </a:lnTo>
                    <a:lnTo>
                      <a:pt x="104" y="73"/>
                    </a:lnTo>
                    <a:lnTo>
                      <a:pt x="109" y="73"/>
                    </a:lnTo>
                    <a:lnTo>
                      <a:pt x="111" y="73"/>
                    </a:lnTo>
                    <a:lnTo>
                      <a:pt x="109" y="70"/>
                    </a:lnTo>
                    <a:lnTo>
                      <a:pt x="107" y="66"/>
                    </a:lnTo>
                    <a:lnTo>
                      <a:pt x="109" y="63"/>
                    </a:lnTo>
                    <a:lnTo>
                      <a:pt x="111" y="62"/>
                    </a:lnTo>
                    <a:lnTo>
                      <a:pt x="112" y="60"/>
                    </a:lnTo>
                    <a:lnTo>
                      <a:pt x="115" y="58"/>
                    </a:lnTo>
                    <a:lnTo>
                      <a:pt x="120" y="60"/>
                    </a:lnTo>
                    <a:lnTo>
                      <a:pt x="119" y="58"/>
                    </a:lnTo>
                    <a:lnTo>
                      <a:pt x="122" y="58"/>
                    </a:lnTo>
                    <a:lnTo>
                      <a:pt x="123" y="58"/>
                    </a:lnTo>
                    <a:lnTo>
                      <a:pt x="122" y="57"/>
                    </a:lnTo>
                    <a:lnTo>
                      <a:pt x="127" y="57"/>
                    </a:lnTo>
                    <a:lnTo>
                      <a:pt x="127" y="55"/>
                    </a:lnTo>
                    <a:lnTo>
                      <a:pt x="128" y="54"/>
                    </a:lnTo>
                    <a:lnTo>
                      <a:pt x="127" y="54"/>
                    </a:lnTo>
                    <a:lnTo>
                      <a:pt x="125" y="55"/>
                    </a:lnTo>
                    <a:lnTo>
                      <a:pt x="123" y="55"/>
                    </a:lnTo>
                    <a:lnTo>
                      <a:pt x="123" y="54"/>
                    </a:lnTo>
                    <a:lnTo>
                      <a:pt x="120" y="51"/>
                    </a:lnTo>
                    <a:lnTo>
                      <a:pt x="117" y="49"/>
                    </a:lnTo>
                    <a:lnTo>
                      <a:pt x="115" y="47"/>
                    </a:lnTo>
                    <a:lnTo>
                      <a:pt x="115" y="46"/>
                    </a:lnTo>
                    <a:lnTo>
                      <a:pt x="115" y="41"/>
                    </a:lnTo>
                    <a:lnTo>
                      <a:pt x="114" y="39"/>
                    </a:lnTo>
                    <a:lnTo>
                      <a:pt x="112" y="43"/>
                    </a:lnTo>
                    <a:lnTo>
                      <a:pt x="111" y="44"/>
                    </a:lnTo>
                    <a:lnTo>
                      <a:pt x="107" y="44"/>
                    </a:lnTo>
                    <a:lnTo>
                      <a:pt x="107" y="44"/>
                    </a:lnTo>
                    <a:lnTo>
                      <a:pt x="104" y="43"/>
                    </a:lnTo>
                    <a:lnTo>
                      <a:pt x="101" y="43"/>
                    </a:lnTo>
                    <a:lnTo>
                      <a:pt x="101" y="43"/>
                    </a:lnTo>
                    <a:lnTo>
                      <a:pt x="98" y="43"/>
                    </a:lnTo>
                    <a:lnTo>
                      <a:pt x="98" y="41"/>
                    </a:lnTo>
                    <a:lnTo>
                      <a:pt x="96" y="41"/>
                    </a:lnTo>
                    <a:lnTo>
                      <a:pt x="84" y="35"/>
                    </a:lnTo>
                    <a:lnTo>
                      <a:pt x="69" y="27"/>
                    </a:lnTo>
                    <a:lnTo>
                      <a:pt x="65" y="24"/>
                    </a:lnTo>
                    <a:lnTo>
                      <a:pt x="63" y="24"/>
                    </a:lnTo>
                    <a:lnTo>
                      <a:pt x="63" y="24"/>
                    </a:lnTo>
                    <a:lnTo>
                      <a:pt x="63" y="27"/>
                    </a:lnTo>
                    <a:lnTo>
                      <a:pt x="65" y="28"/>
                    </a:lnTo>
                    <a:lnTo>
                      <a:pt x="65" y="28"/>
                    </a:lnTo>
                    <a:lnTo>
                      <a:pt x="65" y="28"/>
                    </a:lnTo>
                    <a:lnTo>
                      <a:pt x="65" y="28"/>
                    </a:lnTo>
                    <a:lnTo>
                      <a:pt x="65" y="28"/>
                    </a:lnTo>
                    <a:lnTo>
                      <a:pt x="65" y="28"/>
                    </a:lnTo>
                    <a:lnTo>
                      <a:pt x="65" y="28"/>
                    </a:lnTo>
                    <a:lnTo>
                      <a:pt x="65" y="28"/>
                    </a:lnTo>
                    <a:lnTo>
                      <a:pt x="65" y="28"/>
                    </a:lnTo>
                    <a:close/>
                    <a:moveTo>
                      <a:pt x="82" y="128"/>
                    </a:moveTo>
                    <a:lnTo>
                      <a:pt x="82" y="128"/>
                    </a:lnTo>
                    <a:lnTo>
                      <a:pt x="84" y="130"/>
                    </a:lnTo>
                    <a:lnTo>
                      <a:pt x="84" y="131"/>
                    </a:lnTo>
                    <a:lnTo>
                      <a:pt x="85" y="131"/>
                    </a:lnTo>
                    <a:lnTo>
                      <a:pt x="85" y="128"/>
                    </a:lnTo>
                    <a:lnTo>
                      <a:pt x="84" y="128"/>
                    </a:lnTo>
                    <a:lnTo>
                      <a:pt x="84" y="125"/>
                    </a:lnTo>
                    <a:lnTo>
                      <a:pt x="82" y="128"/>
                    </a:lnTo>
                    <a:lnTo>
                      <a:pt x="82" y="128"/>
                    </a:lnTo>
                    <a:lnTo>
                      <a:pt x="82" y="128"/>
                    </a:lnTo>
                    <a:lnTo>
                      <a:pt x="82" y="128"/>
                    </a:lnTo>
                    <a:lnTo>
                      <a:pt x="82" y="128"/>
                    </a:lnTo>
                    <a:lnTo>
                      <a:pt x="82" y="128"/>
                    </a:lnTo>
                    <a:lnTo>
                      <a:pt x="82" y="128"/>
                    </a:lnTo>
                    <a:lnTo>
                      <a:pt x="82" y="128"/>
                    </a:lnTo>
                    <a:lnTo>
                      <a:pt x="82" y="128"/>
                    </a:lnTo>
                    <a:close/>
                    <a:moveTo>
                      <a:pt x="122" y="46"/>
                    </a:moveTo>
                    <a:lnTo>
                      <a:pt x="122" y="41"/>
                    </a:lnTo>
                    <a:lnTo>
                      <a:pt x="125" y="39"/>
                    </a:lnTo>
                    <a:lnTo>
                      <a:pt x="127" y="38"/>
                    </a:lnTo>
                    <a:lnTo>
                      <a:pt x="125" y="38"/>
                    </a:lnTo>
                    <a:lnTo>
                      <a:pt x="122" y="38"/>
                    </a:lnTo>
                    <a:lnTo>
                      <a:pt x="120" y="39"/>
                    </a:lnTo>
                    <a:lnTo>
                      <a:pt x="120" y="44"/>
                    </a:lnTo>
                    <a:lnTo>
                      <a:pt x="120" y="47"/>
                    </a:lnTo>
                    <a:lnTo>
                      <a:pt x="122" y="47"/>
                    </a:lnTo>
                    <a:lnTo>
                      <a:pt x="122" y="46"/>
                    </a:lnTo>
                    <a:lnTo>
                      <a:pt x="122" y="46"/>
                    </a:lnTo>
                    <a:lnTo>
                      <a:pt x="122" y="46"/>
                    </a:lnTo>
                    <a:lnTo>
                      <a:pt x="122" y="46"/>
                    </a:lnTo>
                    <a:lnTo>
                      <a:pt x="122" y="46"/>
                    </a:lnTo>
                    <a:lnTo>
                      <a:pt x="122" y="46"/>
                    </a:lnTo>
                    <a:lnTo>
                      <a:pt x="122" y="46"/>
                    </a:lnTo>
                    <a:lnTo>
                      <a:pt x="122" y="46"/>
                    </a:lnTo>
                    <a:lnTo>
                      <a:pt x="122" y="46"/>
                    </a:lnTo>
                    <a:close/>
                    <a:moveTo>
                      <a:pt x="139" y="24"/>
                    </a:moveTo>
                    <a:lnTo>
                      <a:pt x="139" y="27"/>
                    </a:lnTo>
                    <a:lnTo>
                      <a:pt x="136" y="27"/>
                    </a:lnTo>
                    <a:lnTo>
                      <a:pt x="136" y="27"/>
                    </a:lnTo>
                    <a:lnTo>
                      <a:pt x="133" y="24"/>
                    </a:lnTo>
                    <a:lnTo>
                      <a:pt x="133" y="27"/>
                    </a:lnTo>
                    <a:lnTo>
                      <a:pt x="133" y="28"/>
                    </a:lnTo>
                    <a:lnTo>
                      <a:pt x="133" y="28"/>
                    </a:lnTo>
                    <a:lnTo>
                      <a:pt x="133" y="28"/>
                    </a:lnTo>
                    <a:lnTo>
                      <a:pt x="131" y="31"/>
                    </a:lnTo>
                    <a:lnTo>
                      <a:pt x="131" y="35"/>
                    </a:lnTo>
                    <a:lnTo>
                      <a:pt x="131" y="35"/>
                    </a:lnTo>
                    <a:lnTo>
                      <a:pt x="130" y="38"/>
                    </a:lnTo>
                    <a:lnTo>
                      <a:pt x="131" y="38"/>
                    </a:lnTo>
                    <a:lnTo>
                      <a:pt x="133" y="35"/>
                    </a:lnTo>
                    <a:lnTo>
                      <a:pt x="133" y="31"/>
                    </a:lnTo>
                    <a:lnTo>
                      <a:pt x="133" y="31"/>
                    </a:lnTo>
                    <a:lnTo>
                      <a:pt x="136" y="31"/>
                    </a:lnTo>
                    <a:lnTo>
                      <a:pt x="136" y="28"/>
                    </a:lnTo>
                    <a:lnTo>
                      <a:pt x="139" y="27"/>
                    </a:lnTo>
                    <a:lnTo>
                      <a:pt x="142" y="25"/>
                    </a:lnTo>
                    <a:lnTo>
                      <a:pt x="142" y="24"/>
                    </a:lnTo>
                    <a:lnTo>
                      <a:pt x="142" y="24"/>
                    </a:lnTo>
                    <a:lnTo>
                      <a:pt x="139" y="24"/>
                    </a:lnTo>
                    <a:lnTo>
                      <a:pt x="139" y="24"/>
                    </a:lnTo>
                    <a:lnTo>
                      <a:pt x="139" y="24"/>
                    </a:lnTo>
                    <a:lnTo>
                      <a:pt x="139" y="24"/>
                    </a:lnTo>
                    <a:lnTo>
                      <a:pt x="139" y="24"/>
                    </a:lnTo>
                    <a:lnTo>
                      <a:pt x="139" y="24"/>
                    </a:lnTo>
                    <a:lnTo>
                      <a:pt x="139" y="24"/>
                    </a:lnTo>
                    <a:lnTo>
                      <a:pt x="139" y="24"/>
                    </a:lnTo>
                    <a:lnTo>
                      <a:pt x="139" y="24"/>
                    </a:lnTo>
                    <a:close/>
                    <a:moveTo>
                      <a:pt x="136" y="47"/>
                    </a:moveTo>
                    <a:lnTo>
                      <a:pt x="136" y="46"/>
                    </a:lnTo>
                    <a:lnTo>
                      <a:pt x="133" y="47"/>
                    </a:lnTo>
                    <a:lnTo>
                      <a:pt x="136" y="47"/>
                    </a:lnTo>
                    <a:lnTo>
                      <a:pt x="136" y="47"/>
                    </a:lnTo>
                    <a:lnTo>
                      <a:pt x="136" y="47"/>
                    </a:lnTo>
                    <a:lnTo>
                      <a:pt x="136" y="47"/>
                    </a:lnTo>
                    <a:lnTo>
                      <a:pt x="136" y="47"/>
                    </a:lnTo>
                    <a:lnTo>
                      <a:pt x="136" y="47"/>
                    </a:lnTo>
                    <a:lnTo>
                      <a:pt x="136" y="47"/>
                    </a:lnTo>
                    <a:lnTo>
                      <a:pt x="136" y="47"/>
                    </a:lnTo>
                    <a:lnTo>
                      <a:pt x="136" y="47"/>
                    </a:lnTo>
                    <a:close/>
                    <a:moveTo>
                      <a:pt x="152" y="12"/>
                    </a:moveTo>
                    <a:lnTo>
                      <a:pt x="150" y="16"/>
                    </a:lnTo>
                    <a:lnTo>
                      <a:pt x="149" y="19"/>
                    </a:lnTo>
                    <a:lnTo>
                      <a:pt x="149" y="20"/>
                    </a:lnTo>
                    <a:lnTo>
                      <a:pt x="149" y="22"/>
                    </a:lnTo>
                    <a:lnTo>
                      <a:pt x="150" y="22"/>
                    </a:lnTo>
                    <a:lnTo>
                      <a:pt x="152" y="19"/>
                    </a:lnTo>
                    <a:lnTo>
                      <a:pt x="154" y="12"/>
                    </a:lnTo>
                    <a:lnTo>
                      <a:pt x="154" y="12"/>
                    </a:lnTo>
                    <a:lnTo>
                      <a:pt x="152" y="12"/>
                    </a:lnTo>
                    <a:lnTo>
                      <a:pt x="152" y="12"/>
                    </a:lnTo>
                    <a:lnTo>
                      <a:pt x="152" y="12"/>
                    </a:lnTo>
                    <a:lnTo>
                      <a:pt x="152" y="12"/>
                    </a:lnTo>
                    <a:lnTo>
                      <a:pt x="152" y="12"/>
                    </a:lnTo>
                    <a:lnTo>
                      <a:pt x="152" y="12"/>
                    </a:lnTo>
                    <a:lnTo>
                      <a:pt x="152" y="12"/>
                    </a:lnTo>
                    <a:lnTo>
                      <a:pt x="152" y="12"/>
                    </a:lnTo>
                    <a:lnTo>
                      <a:pt x="152" y="12"/>
                    </a:lnTo>
                    <a:close/>
                    <a:moveTo>
                      <a:pt x="163" y="0"/>
                    </a:moveTo>
                    <a:lnTo>
                      <a:pt x="163" y="3"/>
                    </a:lnTo>
                    <a:lnTo>
                      <a:pt x="165" y="0"/>
                    </a:lnTo>
                    <a:lnTo>
                      <a:pt x="163" y="0"/>
                    </a:lnTo>
                    <a:lnTo>
                      <a:pt x="163" y="0"/>
                    </a:lnTo>
                    <a:lnTo>
                      <a:pt x="163" y="0"/>
                    </a:lnTo>
                    <a:lnTo>
                      <a:pt x="163" y="0"/>
                    </a:lnTo>
                    <a:lnTo>
                      <a:pt x="163" y="0"/>
                    </a:lnTo>
                    <a:lnTo>
                      <a:pt x="163" y="0"/>
                    </a:lnTo>
                    <a:lnTo>
                      <a:pt x="163" y="0"/>
                    </a:lnTo>
                    <a:lnTo>
                      <a:pt x="163" y="0"/>
                    </a:lnTo>
                    <a:lnTo>
                      <a:pt x="163" y="0"/>
                    </a:lnTo>
                    <a:close/>
                    <a:moveTo>
                      <a:pt x="163" y="4"/>
                    </a:moveTo>
                    <a:lnTo>
                      <a:pt x="163" y="3"/>
                    </a:lnTo>
                    <a:lnTo>
                      <a:pt x="163" y="3"/>
                    </a:lnTo>
                    <a:lnTo>
                      <a:pt x="163" y="4"/>
                    </a:lnTo>
                    <a:lnTo>
                      <a:pt x="163" y="4"/>
                    </a:lnTo>
                    <a:lnTo>
                      <a:pt x="163" y="4"/>
                    </a:lnTo>
                    <a:lnTo>
                      <a:pt x="163" y="4"/>
                    </a:lnTo>
                    <a:lnTo>
                      <a:pt x="163" y="4"/>
                    </a:lnTo>
                    <a:lnTo>
                      <a:pt x="163" y="4"/>
                    </a:lnTo>
                    <a:lnTo>
                      <a:pt x="163" y="4"/>
                    </a:lnTo>
                    <a:lnTo>
                      <a:pt x="163" y="4"/>
                    </a:lnTo>
                    <a:lnTo>
                      <a:pt x="163" y="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22" name="Freeform 287">
                <a:extLst>
                  <a:ext uri="{FF2B5EF4-FFF2-40B4-BE49-F238E27FC236}">
                    <a16:creationId xmlns:a16="http://schemas.microsoft.com/office/drawing/2014/main" id="{E50A9986-8ACB-9545-C69B-A0F4615AF35A}"/>
                  </a:ext>
                </a:extLst>
              </p:cNvPr>
              <p:cNvSpPr>
                <a:spLocks noEditPoints="1"/>
              </p:cNvSpPr>
              <p:nvPr/>
            </p:nvSpPr>
            <p:spPr bwMode="auto">
              <a:xfrm>
                <a:off x="9153966" y="2784690"/>
                <a:ext cx="121125" cy="170474"/>
              </a:xfrm>
              <a:custGeom>
                <a:avLst/>
                <a:gdLst>
                  <a:gd name="T0" fmla="*/ 22 w 54"/>
                  <a:gd name="T1" fmla="*/ 76 h 76"/>
                  <a:gd name="T2" fmla="*/ 30 w 54"/>
                  <a:gd name="T3" fmla="*/ 73 h 76"/>
                  <a:gd name="T4" fmla="*/ 23 w 54"/>
                  <a:gd name="T5" fmla="*/ 73 h 76"/>
                  <a:gd name="T6" fmla="*/ 23 w 54"/>
                  <a:gd name="T7" fmla="*/ 73 h 76"/>
                  <a:gd name="T8" fmla="*/ 23 w 54"/>
                  <a:gd name="T9" fmla="*/ 73 h 76"/>
                  <a:gd name="T10" fmla="*/ 28 w 54"/>
                  <a:gd name="T11" fmla="*/ 59 h 76"/>
                  <a:gd name="T12" fmla="*/ 27 w 54"/>
                  <a:gd name="T13" fmla="*/ 57 h 76"/>
                  <a:gd name="T14" fmla="*/ 28 w 54"/>
                  <a:gd name="T15" fmla="*/ 59 h 76"/>
                  <a:gd name="T16" fmla="*/ 28 w 54"/>
                  <a:gd name="T17" fmla="*/ 59 h 76"/>
                  <a:gd name="T18" fmla="*/ 28 w 54"/>
                  <a:gd name="T19" fmla="*/ 59 h 76"/>
                  <a:gd name="T20" fmla="*/ 41 w 54"/>
                  <a:gd name="T21" fmla="*/ 32 h 76"/>
                  <a:gd name="T22" fmla="*/ 34 w 54"/>
                  <a:gd name="T23" fmla="*/ 16 h 76"/>
                  <a:gd name="T24" fmla="*/ 15 w 54"/>
                  <a:gd name="T25" fmla="*/ 0 h 76"/>
                  <a:gd name="T26" fmla="*/ 15 w 54"/>
                  <a:gd name="T27" fmla="*/ 3 h 76"/>
                  <a:gd name="T28" fmla="*/ 4 w 54"/>
                  <a:gd name="T29" fmla="*/ 3 h 76"/>
                  <a:gd name="T30" fmla="*/ 1 w 54"/>
                  <a:gd name="T31" fmla="*/ 9 h 76"/>
                  <a:gd name="T32" fmla="*/ 3 w 54"/>
                  <a:gd name="T33" fmla="*/ 13 h 76"/>
                  <a:gd name="T34" fmla="*/ 6 w 54"/>
                  <a:gd name="T35" fmla="*/ 19 h 76"/>
                  <a:gd name="T36" fmla="*/ 9 w 54"/>
                  <a:gd name="T37" fmla="*/ 21 h 76"/>
                  <a:gd name="T38" fmla="*/ 9 w 54"/>
                  <a:gd name="T39" fmla="*/ 25 h 76"/>
                  <a:gd name="T40" fmla="*/ 4 w 54"/>
                  <a:gd name="T41" fmla="*/ 24 h 76"/>
                  <a:gd name="T42" fmla="*/ 1 w 54"/>
                  <a:gd name="T43" fmla="*/ 24 h 76"/>
                  <a:gd name="T44" fmla="*/ 6 w 54"/>
                  <a:gd name="T45" fmla="*/ 27 h 76"/>
                  <a:gd name="T46" fmla="*/ 9 w 54"/>
                  <a:gd name="T47" fmla="*/ 30 h 76"/>
                  <a:gd name="T48" fmla="*/ 12 w 54"/>
                  <a:gd name="T49" fmla="*/ 35 h 76"/>
                  <a:gd name="T50" fmla="*/ 15 w 54"/>
                  <a:gd name="T51" fmla="*/ 38 h 76"/>
                  <a:gd name="T52" fmla="*/ 15 w 54"/>
                  <a:gd name="T53" fmla="*/ 41 h 76"/>
                  <a:gd name="T54" fmla="*/ 12 w 54"/>
                  <a:gd name="T55" fmla="*/ 48 h 76"/>
                  <a:gd name="T56" fmla="*/ 15 w 54"/>
                  <a:gd name="T57" fmla="*/ 52 h 76"/>
                  <a:gd name="T58" fmla="*/ 17 w 54"/>
                  <a:gd name="T59" fmla="*/ 56 h 76"/>
                  <a:gd name="T60" fmla="*/ 15 w 54"/>
                  <a:gd name="T61" fmla="*/ 57 h 76"/>
                  <a:gd name="T62" fmla="*/ 20 w 54"/>
                  <a:gd name="T63" fmla="*/ 62 h 76"/>
                  <a:gd name="T64" fmla="*/ 25 w 54"/>
                  <a:gd name="T65" fmla="*/ 57 h 76"/>
                  <a:gd name="T66" fmla="*/ 28 w 54"/>
                  <a:gd name="T67" fmla="*/ 57 h 76"/>
                  <a:gd name="T68" fmla="*/ 33 w 54"/>
                  <a:gd name="T69" fmla="*/ 54 h 76"/>
                  <a:gd name="T70" fmla="*/ 33 w 54"/>
                  <a:gd name="T71" fmla="*/ 51 h 76"/>
                  <a:gd name="T72" fmla="*/ 36 w 54"/>
                  <a:gd name="T73" fmla="*/ 51 h 76"/>
                  <a:gd name="T74" fmla="*/ 41 w 54"/>
                  <a:gd name="T75" fmla="*/ 54 h 76"/>
                  <a:gd name="T76" fmla="*/ 41 w 54"/>
                  <a:gd name="T77" fmla="*/ 49 h 76"/>
                  <a:gd name="T78" fmla="*/ 44 w 54"/>
                  <a:gd name="T79" fmla="*/ 49 h 76"/>
                  <a:gd name="T80" fmla="*/ 47 w 54"/>
                  <a:gd name="T81" fmla="*/ 46 h 76"/>
                  <a:gd name="T82" fmla="*/ 47 w 54"/>
                  <a:gd name="T83" fmla="*/ 35 h 76"/>
                  <a:gd name="T84" fmla="*/ 44 w 54"/>
                  <a:gd name="T85" fmla="*/ 35 h 76"/>
                  <a:gd name="T86" fmla="*/ 44 w 54"/>
                  <a:gd name="T87" fmla="*/ 35 h 76"/>
                  <a:gd name="T88" fmla="*/ 44 w 54"/>
                  <a:gd name="T89" fmla="*/ 35 h 76"/>
                  <a:gd name="T90" fmla="*/ 54 w 54"/>
                  <a:gd name="T91" fmla="*/ 60 h 76"/>
                  <a:gd name="T92" fmla="*/ 52 w 54"/>
                  <a:gd name="T93" fmla="*/ 57 h 76"/>
                  <a:gd name="T94" fmla="*/ 52 w 54"/>
                  <a:gd name="T95" fmla="*/ 57 h 76"/>
                  <a:gd name="T96" fmla="*/ 52 w 54"/>
                  <a:gd name="T97" fmla="*/ 57 h 76"/>
                  <a:gd name="T98" fmla="*/ 4 w 54"/>
                  <a:gd name="T99" fmla="*/ 22 h 76"/>
                  <a:gd name="T100" fmla="*/ 4 w 54"/>
                  <a:gd name="T101" fmla="*/ 22 h 76"/>
                  <a:gd name="T102" fmla="*/ 4 w 54"/>
                  <a:gd name="T103" fmla="*/ 22 h 76"/>
                  <a:gd name="T104" fmla="*/ 4 w 54"/>
                  <a:gd name="T105" fmla="*/ 2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 h="76">
                    <a:moveTo>
                      <a:pt x="23" y="73"/>
                    </a:moveTo>
                    <a:lnTo>
                      <a:pt x="22" y="76"/>
                    </a:lnTo>
                    <a:lnTo>
                      <a:pt x="22" y="76"/>
                    </a:lnTo>
                    <a:lnTo>
                      <a:pt x="25" y="76"/>
                    </a:lnTo>
                    <a:lnTo>
                      <a:pt x="28" y="76"/>
                    </a:lnTo>
                    <a:lnTo>
                      <a:pt x="30" y="73"/>
                    </a:lnTo>
                    <a:lnTo>
                      <a:pt x="30" y="73"/>
                    </a:lnTo>
                    <a:lnTo>
                      <a:pt x="28" y="73"/>
                    </a:lnTo>
                    <a:lnTo>
                      <a:pt x="23" y="73"/>
                    </a:lnTo>
                    <a:lnTo>
                      <a:pt x="23" y="73"/>
                    </a:lnTo>
                    <a:lnTo>
                      <a:pt x="23" y="73"/>
                    </a:lnTo>
                    <a:lnTo>
                      <a:pt x="23" y="73"/>
                    </a:lnTo>
                    <a:lnTo>
                      <a:pt x="23" y="73"/>
                    </a:lnTo>
                    <a:lnTo>
                      <a:pt x="23" y="73"/>
                    </a:lnTo>
                    <a:lnTo>
                      <a:pt x="23" y="73"/>
                    </a:lnTo>
                    <a:lnTo>
                      <a:pt x="23" y="73"/>
                    </a:lnTo>
                    <a:lnTo>
                      <a:pt x="23" y="73"/>
                    </a:lnTo>
                    <a:close/>
                    <a:moveTo>
                      <a:pt x="28" y="59"/>
                    </a:moveTo>
                    <a:lnTo>
                      <a:pt x="30" y="59"/>
                    </a:lnTo>
                    <a:lnTo>
                      <a:pt x="28" y="57"/>
                    </a:lnTo>
                    <a:lnTo>
                      <a:pt x="27" y="57"/>
                    </a:lnTo>
                    <a:lnTo>
                      <a:pt x="28" y="59"/>
                    </a:lnTo>
                    <a:lnTo>
                      <a:pt x="28" y="59"/>
                    </a:lnTo>
                    <a:lnTo>
                      <a:pt x="28" y="59"/>
                    </a:lnTo>
                    <a:lnTo>
                      <a:pt x="28" y="59"/>
                    </a:lnTo>
                    <a:lnTo>
                      <a:pt x="28" y="59"/>
                    </a:lnTo>
                    <a:lnTo>
                      <a:pt x="28" y="59"/>
                    </a:lnTo>
                    <a:lnTo>
                      <a:pt x="28" y="59"/>
                    </a:lnTo>
                    <a:lnTo>
                      <a:pt x="28" y="59"/>
                    </a:lnTo>
                    <a:lnTo>
                      <a:pt x="28" y="59"/>
                    </a:lnTo>
                    <a:close/>
                    <a:moveTo>
                      <a:pt x="44" y="35"/>
                    </a:moveTo>
                    <a:lnTo>
                      <a:pt x="44" y="35"/>
                    </a:lnTo>
                    <a:lnTo>
                      <a:pt x="41" y="32"/>
                    </a:lnTo>
                    <a:lnTo>
                      <a:pt x="41" y="25"/>
                    </a:lnTo>
                    <a:lnTo>
                      <a:pt x="38" y="21"/>
                    </a:lnTo>
                    <a:lnTo>
                      <a:pt x="34" y="16"/>
                    </a:lnTo>
                    <a:lnTo>
                      <a:pt x="28" y="9"/>
                    </a:lnTo>
                    <a:lnTo>
                      <a:pt x="22" y="3"/>
                    </a:lnTo>
                    <a:lnTo>
                      <a:pt x="15" y="0"/>
                    </a:lnTo>
                    <a:lnTo>
                      <a:pt x="15" y="0"/>
                    </a:lnTo>
                    <a:lnTo>
                      <a:pt x="15" y="3"/>
                    </a:lnTo>
                    <a:lnTo>
                      <a:pt x="15" y="3"/>
                    </a:lnTo>
                    <a:lnTo>
                      <a:pt x="9" y="3"/>
                    </a:lnTo>
                    <a:lnTo>
                      <a:pt x="6" y="3"/>
                    </a:lnTo>
                    <a:lnTo>
                      <a:pt x="4" y="3"/>
                    </a:lnTo>
                    <a:lnTo>
                      <a:pt x="3" y="6"/>
                    </a:lnTo>
                    <a:lnTo>
                      <a:pt x="1" y="8"/>
                    </a:lnTo>
                    <a:lnTo>
                      <a:pt x="1" y="9"/>
                    </a:lnTo>
                    <a:lnTo>
                      <a:pt x="1" y="11"/>
                    </a:lnTo>
                    <a:lnTo>
                      <a:pt x="0" y="11"/>
                    </a:lnTo>
                    <a:lnTo>
                      <a:pt x="3" y="13"/>
                    </a:lnTo>
                    <a:lnTo>
                      <a:pt x="3" y="16"/>
                    </a:lnTo>
                    <a:lnTo>
                      <a:pt x="6" y="17"/>
                    </a:lnTo>
                    <a:lnTo>
                      <a:pt x="6" y="19"/>
                    </a:lnTo>
                    <a:lnTo>
                      <a:pt x="6" y="21"/>
                    </a:lnTo>
                    <a:lnTo>
                      <a:pt x="6" y="21"/>
                    </a:lnTo>
                    <a:lnTo>
                      <a:pt x="9" y="21"/>
                    </a:lnTo>
                    <a:lnTo>
                      <a:pt x="9" y="22"/>
                    </a:lnTo>
                    <a:lnTo>
                      <a:pt x="9" y="24"/>
                    </a:lnTo>
                    <a:lnTo>
                      <a:pt x="9" y="25"/>
                    </a:lnTo>
                    <a:lnTo>
                      <a:pt x="6" y="24"/>
                    </a:lnTo>
                    <a:lnTo>
                      <a:pt x="4" y="22"/>
                    </a:lnTo>
                    <a:lnTo>
                      <a:pt x="4" y="24"/>
                    </a:lnTo>
                    <a:lnTo>
                      <a:pt x="3" y="22"/>
                    </a:lnTo>
                    <a:lnTo>
                      <a:pt x="3" y="24"/>
                    </a:lnTo>
                    <a:lnTo>
                      <a:pt x="1" y="24"/>
                    </a:lnTo>
                    <a:lnTo>
                      <a:pt x="3" y="27"/>
                    </a:lnTo>
                    <a:lnTo>
                      <a:pt x="4" y="27"/>
                    </a:lnTo>
                    <a:lnTo>
                      <a:pt x="6" y="27"/>
                    </a:lnTo>
                    <a:lnTo>
                      <a:pt x="6" y="29"/>
                    </a:lnTo>
                    <a:lnTo>
                      <a:pt x="6" y="30"/>
                    </a:lnTo>
                    <a:lnTo>
                      <a:pt x="9" y="30"/>
                    </a:lnTo>
                    <a:lnTo>
                      <a:pt x="9" y="32"/>
                    </a:lnTo>
                    <a:lnTo>
                      <a:pt x="9" y="35"/>
                    </a:lnTo>
                    <a:lnTo>
                      <a:pt x="12" y="35"/>
                    </a:lnTo>
                    <a:lnTo>
                      <a:pt x="15" y="35"/>
                    </a:lnTo>
                    <a:lnTo>
                      <a:pt x="12" y="38"/>
                    </a:lnTo>
                    <a:lnTo>
                      <a:pt x="15" y="38"/>
                    </a:lnTo>
                    <a:lnTo>
                      <a:pt x="12" y="41"/>
                    </a:lnTo>
                    <a:lnTo>
                      <a:pt x="12" y="41"/>
                    </a:lnTo>
                    <a:lnTo>
                      <a:pt x="15" y="41"/>
                    </a:lnTo>
                    <a:lnTo>
                      <a:pt x="12" y="43"/>
                    </a:lnTo>
                    <a:lnTo>
                      <a:pt x="12" y="46"/>
                    </a:lnTo>
                    <a:lnTo>
                      <a:pt x="12" y="48"/>
                    </a:lnTo>
                    <a:lnTo>
                      <a:pt x="15" y="49"/>
                    </a:lnTo>
                    <a:lnTo>
                      <a:pt x="12" y="49"/>
                    </a:lnTo>
                    <a:lnTo>
                      <a:pt x="15" y="52"/>
                    </a:lnTo>
                    <a:lnTo>
                      <a:pt x="15" y="54"/>
                    </a:lnTo>
                    <a:lnTo>
                      <a:pt x="19" y="56"/>
                    </a:lnTo>
                    <a:lnTo>
                      <a:pt x="17" y="56"/>
                    </a:lnTo>
                    <a:lnTo>
                      <a:pt x="17" y="57"/>
                    </a:lnTo>
                    <a:lnTo>
                      <a:pt x="15" y="56"/>
                    </a:lnTo>
                    <a:lnTo>
                      <a:pt x="15" y="57"/>
                    </a:lnTo>
                    <a:lnTo>
                      <a:pt x="19" y="59"/>
                    </a:lnTo>
                    <a:lnTo>
                      <a:pt x="19" y="60"/>
                    </a:lnTo>
                    <a:lnTo>
                      <a:pt x="20" y="62"/>
                    </a:lnTo>
                    <a:lnTo>
                      <a:pt x="22" y="57"/>
                    </a:lnTo>
                    <a:lnTo>
                      <a:pt x="23" y="60"/>
                    </a:lnTo>
                    <a:lnTo>
                      <a:pt x="25" y="57"/>
                    </a:lnTo>
                    <a:lnTo>
                      <a:pt x="27" y="54"/>
                    </a:lnTo>
                    <a:lnTo>
                      <a:pt x="28" y="56"/>
                    </a:lnTo>
                    <a:lnTo>
                      <a:pt x="28" y="57"/>
                    </a:lnTo>
                    <a:lnTo>
                      <a:pt x="31" y="57"/>
                    </a:lnTo>
                    <a:lnTo>
                      <a:pt x="33" y="56"/>
                    </a:lnTo>
                    <a:lnTo>
                      <a:pt x="33" y="54"/>
                    </a:lnTo>
                    <a:lnTo>
                      <a:pt x="30" y="52"/>
                    </a:lnTo>
                    <a:lnTo>
                      <a:pt x="31" y="52"/>
                    </a:lnTo>
                    <a:lnTo>
                      <a:pt x="33" y="51"/>
                    </a:lnTo>
                    <a:lnTo>
                      <a:pt x="34" y="51"/>
                    </a:lnTo>
                    <a:lnTo>
                      <a:pt x="34" y="49"/>
                    </a:lnTo>
                    <a:lnTo>
                      <a:pt x="36" y="51"/>
                    </a:lnTo>
                    <a:lnTo>
                      <a:pt x="38" y="52"/>
                    </a:lnTo>
                    <a:lnTo>
                      <a:pt x="38" y="52"/>
                    </a:lnTo>
                    <a:lnTo>
                      <a:pt x="41" y="54"/>
                    </a:lnTo>
                    <a:lnTo>
                      <a:pt x="41" y="51"/>
                    </a:lnTo>
                    <a:lnTo>
                      <a:pt x="38" y="51"/>
                    </a:lnTo>
                    <a:lnTo>
                      <a:pt x="41" y="49"/>
                    </a:lnTo>
                    <a:lnTo>
                      <a:pt x="41" y="48"/>
                    </a:lnTo>
                    <a:lnTo>
                      <a:pt x="44" y="49"/>
                    </a:lnTo>
                    <a:lnTo>
                      <a:pt x="44" y="49"/>
                    </a:lnTo>
                    <a:lnTo>
                      <a:pt x="44" y="51"/>
                    </a:lnTo>
                    <a:lnTo>
                      <a:pt x="47" y="49"/>
                    </a:lnTo>
                    <a:lnTo>
                      <a:pt x="47" y="46"/>
                    </a:lnTo>
                    <a:lnTo>
                      <a:pt x="47" y="43"/>
                    </a:lnTo>
                    <a:lnTo>
                      <a:pt x="47" y="41"/>
                    </a:lnTo>
                    <a:lnTo>
                      <a:pt x="47" y="35"/>
                    </a:lnTo>
                    <a:lnTo>
                      <a:pt x="44" y="35"/>
                    </a:lnTo>
                    <a:lnTo>
                      <a:pt x="44" y="35"/>
                    </a:lnTo>
                    <a:lnTo>
                      <a:pt x="44" y="35"/>
                    </a:lnTo>
                    <a:lnTo>
                      <a:pt x="44" y="35"/>
                    </a:lnTo>
                    <a:lnTo>
                      <a:pt x="44" y="35"/>
                    </a:lnTo>
                    <a:lnTo>
                      <a:pt x="44" y="35"/>
                    </a:lnTo>
                    <a:lnTo>
                      <a:pt x="44" y="35"/>
                    </a:lnTo>
                    <a:lnTo>
                      <a:pt x="44" y="35"/>
                    </a:lnTo>
                    <a:lnTo>
                      <a:pt x="44" y="35"/>
                    </a:lnTo>
                    <a:close/>
                    <a:moveTo>
                      <a:pt x="52" y="57"/>
                    </a:moveTo>
                    <a:lnTo>
                      <a:pt x="52" y="59"/>
                    </a:lnTo>
                    <a:lnTo>
                      <a:pt x="54" y="60"/>
                    </a:lnTo>
                    <a:lnTo>
                      <a:pt x="54" y="59"/>
                    </a:lnTo>
                    <a:lnTo>
                      <a:pt x="54" y="56"/>
                    </a:lnTo>
                    <a:lnTo>
                      <a:pt x="52" y="57"/>
                    </a:lnTo>
                    <a:lnTo>
                      <a:pt x="52" y="57"/>
                    </a:lnTo>
                    <a:lnTo>
                      <a:pt x="52" y="57"/>
                    </a:lnTo>
                    <a:lnTo>
                      <a:pt x="52" y="57"/>
                    </a:lnTo>
                    <a:lnTo>
                      <a:pt x="52" y="57"/>
                    </a:lnTo>
                    <a:lnTo>
                      <a:pt x="52" y="57"/>
                    </a:lnTo>
                    <a:lnTo>
                      <a:pt x="52" y="57"/>
                    </a:lnTo>
                    <a:lnTo>
                      <a:pt x="52" y="57"/>
                    </a:lnTo>
                    <a:lnTo>
                      <a:pt x="52" y="57"/>
                    </a:lnTo>
                    <a:close/>
                    <a:moveTo>
                      <a:pt x="4" y="22"/>
                    </a:moveTo>
                    <a:lnTo>
                      <a:pt x="4" y="22"/>
                    </a:lnTo>
                    <a:lnTo>
                      <a:pt x="6" y="22"/>
                    </a:lnTo>
                    <a:lnTo>
                      <a:pt x="4" y="22"/>
                    </a:lnTo>
                    <a:lnTo>
                      <a:pt x="4" y="22"/>
                    </a:lnTo>
                    <a:lnTo>
                      <a:pt x="4" y="22"/>
                    </a:lnTo>
                    <a:lnTo>
                      <a:pt x="4" y="22"/>
                    </a:lnTo>
                    <a:lnTo>
                      <a:pt x="4" y="22"/>
                    </a:lnTo>
                    <a:lnTo>
                      <a:pt x="4" y="22"/>
                    </a:lnTo>
                    <a:lnTo>
                      <a:pt x="4" y="22"/>
                    </a:lnTo>
                    <a:lnTo>
                      <a:pt x="4" y="22"/>
                    </a:lnTo>
                    <a:lnTo>
                      <a:pt x="4" y="22"/>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23" name="Freeform 289">
                <a:extLst>
                  <a:ext uri="{FF2B5EF4-FFF2-40B4-BE49-F238E27FC236}">
                    <a16:creationId xmlns:a16="http://schemas.microsoft.com/office/drawing/2014/main" id="{34B58431-A594-261F-3A9C-D777A221E319}"/>
                  </a:ext>
                </a:extLst>
              </p:cNvPr>
              <p:cNvSpPr>
                <a:spLocks/>
              </p:cNvSpPr>
              <p:nvPr/>
            </p:nvSpPr>
            <p:spPr bwMode="auto">
              <a:xfrm>
                <a:off x="9064242" y="2641134"/>
                <a:ext cx="127856" cy="168231"/>
              </a:xfrm>
              <a:custGeom>
                <a:avLst/>
                <a:gdLst>
                  <a:gd name="T0" fmla="*/ 44 w 57"/>
                  <a:gd name="T1" fmla="*/ 67 h 75"/>
                  <a:gd name="T2" fmla="*/ 49 w 57"/>
                  <a:gd name="T3" fmla="*/ 67 h 75"/>
                  <a:gd name="T4" fmla="*/ 55 w 57"/>
                  <a:gd name="T5" fmla="*/ 67 h 75"/>
                  <a:gd name="T6" fmla="*/ 55 w 57"/>
                  <a:gd name="T7" fmla="*/ 61 h 75"/>
                  <a:gd name="T8" fmla="*/ 46 w 57"/>
                  <a:gd name="T9" fmla="*/ 56 h 75"/>
                  <a:gd name="T10" fmla="*/ 41 w 57"/>
                  <a:gd name="T11" fmla="*/ 54 h 75"/>
                  <a:gd name="T12" fmla="*/ 41 w 57"/>
                  <a:gd name="T13" fmla="*/ 51 h 75"/>
                  <a:gd name="T14" fmla="*/ 40 w 57"/>
                  <a:gd name="T15" fmla="*/ 50 h 75"/>
                  <a:gd name="T16" fmla="*/ 41 w 57"/>
                  <a:gd name="T17" fmla="*/ 46 h 75"/>
                  <a:gd name="T18" fmla="*/ 46 w 57"/>
                  <a:gd name="T19" fmla="*/ 43 h 75"/>
                  <a:gd name="T20" fmla="*/ 52 w 57"/>
                  <a:gd name="T21" fmla="*/ 37 h 75"/>
                  <a:gd name="T22" fmla="*/ 52 w 57"/>
                  <a:gd name="T23" fmla="*/ 32 h 75"/>
                  <a:gd name="T24" fmla="*/ 55 w 57"/>
                  <a:gd name="T25" fmla="*/ 31 h 75"/>
                  <a:gd name="T26" fmla="*/ 55 w 57"/>
                  <a:gd name="T27" fmla="*/ 26 h 75"/>
                  <a:gd name="T28" fmla="*/ 52 w 57"/>
                  <a:gd name="T29" fmla="*/ 16 h 75"/>
                  <a:gd name="T30" fmla="*/ 55 w 57"/>
                  <a:gd name="T31" fmla="*/ 12 h 75"/>
                  <a:gd name="T32" fmla="*/ 57 w 57"/>
                  <a:gd name="T33" fmla="*/ 12 h 75"/>
                  <a:gd name="T34" fmla="*/ 49 w 57"/>
                  <a:gd name="T35" fmla="*/ 5 h 75"/>
                  <a:gd name="T36" fmla="*/ 46 w 57"/>
                  <a:gd name="T37" fmla="*/ 2 h 75"/>
                  <a:gd name="T38" fmla="*/ 44 w 57"/>
                  <a:gd name="T39" fmla="*/ 5 h 75"/>
                  <a:gd name="T40" fmla="*/ 44 w 57"/>
                  <a:gd name="T41" fmla="*/ 8 h 75"/>
                  <a:gd name="T42" fmla="*/ 40 w 57"/>
                  <a:gd name="T43" fmla="*/ 8 h 75"/>
                  <a:gd name="T44" fmla="*/ 40 w 57"/>
                  <a:gd name="T45" fmla="*/ 15 h 75"/>
                  <a:gd name="T46" fmla="*/ 28 w 57"/>
                  <a:gd name="T47" fmla="*/ 15 h 75"/>
                  <a:gd name="T48" fmla="*/ 33 w 57"/>
                  <a:gd name="T49" fmla="*/ 19 h 75"/>
                  <a:gd name="T50" fmla="*/ 35 w 57"/>
                  <a:gd name="T51" fmla="*/ 23 h 75"/>
                  <a:gd name="T52" fmla="*/ 32 w 57"/>
                  <a:gd name="T53" fmla="*/ 23 h 75"/>
                  <a:gd name="T54" fmla="*/ 22 w 57"/>
                  <a:gd name="T55" fmla="*/ 21 h 75"/>
                  <a:gd name="T56" fmla="*/ 17 w 57"/>
                  <a:gd name="T57" fmla="*/ 18 h 75"/>
                  <a:gd name="T58" fmla="*/ 14 w 57"/>
                  <a:gd name="T59" fmla="*/ 19 h 75"/>
                  <a:gd name="T60" fmla="*/ 14 w 57"/>
                  <a:gd name="T61" fmla="*/ 27 h 75"/>
                  <a:gd name="T62" fmla="*/ 13 w 57"/>
                  <a:gd name="T63" fmla="*/ 31 h 75"/>
                  <a:gd name="T64" fmla="*/ 9 w 57"/>
                  <a:gd name="T65" fmla="*/ 32 h 75"/>
                  <a:gd name="T66" fmla="*/ 8 w 57"/>
                  <a:gd name="T67" fmla="*/ 34 h 75"/>
                  <a:gd name="T68" fmla="*/ 5 w 57"/>
                  <a:gd name="T69" fmla="*/ 37 h 75"/>
                  <a:gd name="T70" fmla="*/ 1 w 57"/>
                  <a:gd name="T71" fmla="*/ 37 h 75"/>
                  <a:gd name="T72" fmla="*/ 0 w 57"/>
                  <a:gd name="T73" fmla="*/ 43 h 75"/>
                  <a:gd name="T74" fmla="*/ 1 w 57"/>
                  <a:gd name="T75" fmla="*/ 45 h 75"/>
                  <a:gd name="T76" fmla="*/ 5 w 57"/>
                  <a:gd name="T77" fmla="*/ 46 h 75"/>
                  <a:gd name="T78" fmla="*/ 6 w 57"/>
                  <a:gd name="T79" fmla="*/ 46 h 75"/>
                  <a:gd name="T80" fmla="*/ 14 w 57"/>
                  <a:gd name="T81" fmla="*/ 50 h 75"/>
                  <a:gd name="T82" fmla="*/ 16 w 57"/>
                  <a:gd name="T83" fmla="*/ 51 h 75"/>
                  <a:gd name="T84" fmla="*/ 17 w 57"/>
                  <a:gd name="T85" fmla="*/ 59 h 75"/>
                  <a:gd name="T86" fmla="*/ 21 w 57"/>
                  <a:gd name="T87" fmla="*/ 61 h 75"/>
                  <a:gd name="T88" fmla="*/ 25 w 57"/>
                  <a:gd name="T89" fmla="*/ 64 h 75"/>
                  <a:gd name="T90" fmla="*/ 19 w 57"/>
                  <a:gd name="T91" fmla="*/ 64 h 75"/>
                  <a:gd name="T92" fmla="*/ 17 w 57"/>
                  <a:gd name="T93" fmla="*/ 64 h 75"/>
                  <a:gd name="T94" fmla="*/ 17 w 57"/>
                  <a:gd name="T95" fmla="*/ 67 h 75"/>
                  <a:gd name="T96" fmla="*/ 21 w 57"/>
                  <a:gd name="T97" fmla="*/ 70 h 75"/>
                  <a:gd name="T98" fmla="*/ 22 w 57"/>
                  <a:gd name="T99" fmla="*/ 70 h 75"/>
                  <a:gd name="T100" fmla="*/ 22 w 57"/>
                  <a:gd name="T101" fmla="*/ 73 h 75"/>
                  <a:gd name="T102" fmla="*/ 25 w 57"/>
                  <a:gd name="T103" fmla="*/ 73 h 75"/>
                  <a:gd name="T104" fmla="*/ 28 w 57"/>
                  <a:gd name="T105" fmla="*/ 73 h 75"/>
                  <a:gd name="T106" fmla="*/ 32 w 57"/>
                  <a:gd name="T107" fmla="*/ 73 h 75"/>
                  <a:gd name="T108" fmla="*/ 35 w 57"/>
                  <a:gd name="T109" fmla="*/ 73 h 75"/>
                  <a:gd name="T110" fmla="*/ 40 w 57"/>
                  <a:gd name="T111" fmla="*/ 73 h 75"/>
                  <a:gd name="T112" fmla="*/ 41 w 57"/>
                  <a:gd name="T113" fmla="*/ 72 h 75"/>
                  <a:gd name="T114" fmla="*/ 43 w 57"/>
                  <a:gd name="T115" fmla="*/ 70 h 75"/>
                  <a:gd name="T116" fmla="*/ 43 w 57"/>
                  <a:gd name="T117" fmla="*/ 70 h 75"/>
                  <a:gd name="T118" fmla="*/ 43 w 57"/>
                  <a:gd name="T119" fmla="*/ 70 h 75"/>
                  <a:gd name="T120" fmla="*/ 43 w 57"/>
                  <a:gd name="T121" fmla="*/ 7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 h="75">
                    <a:moveTo>
                      <a:pt x="43" y="70"/>
                    </a:moveTo>
                    <a:lnTo>
                      <a:pt x="44" y="67"/>
                    </a:lnTo>
                    <a:lnTo>
                      <a:pt x="46" y="67"/>
                    </a:lnTo>
                    <a:lnTo>
                      <a:pt x="49" y="67"/>
                    </a:lnTo>
                    <a:lnTo>
                      <a:pt x="55" y="67"/>
                    </a:lnTo>
                    <a:lnTo>
                      <a:pt x="55" y="67"/>
                    </a:lnTo>
                    <a:lnTo>
                      <a:pt x="55" y="64"/>
                    </a:lnTo>
                    <a:lnTo>
                      <a:pt x="55" y="61"/>
                    </a:lnTo>
                    <a:lnTo>
                      <a:pt x="52" y="59"/>
                    </a:lnTo>
                    <a:lnTo>
                      <a:pt x="46" y="56"/>
                    </a:lnTo>
                    <a:lnTo>
                      <a:pt x="43" y="54"/>
                    </a:lnTo>
                    <a:lnTo>
                      <a:pt x="41" y="54"/>
                    </a:lnTo>
                    <a:lnTo>
                      <a:pt x="40" y="53"/>
                    </a:lnTo>
                    <a:lnTo>
                      <a:pt x="41" y="51"/>
                    </a:lnTo>
                    <a:lnTo>
                      <a:pt x="41" y="50"/>
                    </a:lnTo>
                    <a:lnTo>
                      <a:pt x="40" y="50"/>
                    </a:lnTo>
                    <a:lnTo>
                      <a:pt x="40" y="46"/>
                    </a:lnTo>
                    <a:lnTo>
                      <a:pt x="41" y="46"/>
                    </a:lnTo>
                    <a:lnTo>
                      <a:pt x="43" y="43"/>
                    </a:lnTo>
                    <a:lnTo>
                      <a:pt x="46" y="43"/>
                    </a:lnTo>
                    <a:lnTo>
                      <a:pt x="49" y="40"/>
                    </a:lnTo>
                    <a:lnTo>
                      <a:pt x="52" y="37"/>
                    </a:lnTo>
                    <a:lnTo>
                      <a:pt x="52" y="34"/>
                    </a:lnTo>
                    <a:lnTo>
                      <a:pt x="52" y="32"/>
                    </a:lnTo>
                    <a:lnTo>
                      <a:pt x="55" y="32"/>
                    </a:lnTo>
                    <a:lnTo>
                      <a:pt x="55" y="31"/>
                    </a:lnTo>
                    <a:lnTo>
                      <a:pt x="55" y="29"/>
                    </a:lnTo>
                    <a:lnTo>
                      <a:pt x="55" y="26"/>
                    </a:lnTo>
                    <a:lnTo>
                      <a:pt x="49" y="19"/>
                    </a:lnTo>
                    <a:lnTo>
                      <a:pt x="52" y="16"/>
                    </a:lnTo>
                    <a:lnTo>
                      <a:pt x="52" y="12"/>
                    </a:lnTo>
                    <a:lnTo>
                      <a:pt x="55" y="12"/>
                    </a:lnTo>
                    <a:lnTo>
                      <a:pt x="55" y="12"/>
                    </a:lnTo>
                    <a:lnTo>
                      <a:pt x="57" y="12"/>
                    </a:lnTo>
                    <a:lnTo>
                      <a:pt x="52" y="8"/>
                    </a:lnTo>
                    <a:lnTo>
                      <a:pt x="49" y="5"/>
                    </a:lnTo>
                    <a:lnTo>
                      <a:pt x="49" y="4"/>
                    </a:lnTo>
                    <a:lnTo>
                      <a:pt x="46" y="2"/>
                    </a:lnTo>
                    <a:lnTo>
                      <a:pt x="43" y="0"/>
                    </a:lnTo>
                    <a:lnTo>
                      <a:pt x="44" y="5"/>
                    </a:lnTo>
                    <a:lnTo>
                      <a:pt x="44" y="8"/>
                    </a:lnTo>
                    <a:lnTo>
                      <a:pt x="44" y="8"/>
                    </a:lnTo>
                    <a:lnTo>
                      <a:pt x="41" y="8"/>
                    </a:lnTo>
                    <a:lnTo>
                      <a:pt x="40" y="8"/>
                    </a:lnTo>
                    <a:lnTo>
                      <a:pt x="40" y="12"/>
                    </a:lnTo>
                    <a:lnTo>
                      <a:pt x="40" y="15"/>
                    </a:lnTo>
                    <a:lnTo>
                      <a:pt x="36" y="15"/>
                    </a:lnTo>
                    <a:lnTo>
                      <a:pt x="28" y="15"/>
                    </a:lnTo>
                    <a:lnTo>
                      <a:pt x="32" y="18"/>
                    </a:lnTo>
                    <a:lnTo>
                      <a:pt x="33" y="19"/>
                    </a:lnTo>
                    <a:lnTo>
                      <a:pt x="35" y="21"/>
                    </a:lnTo>
                    <a:lnTo>
                      <a:pt x="35" y="23"/>
                    </a:lnTo>
                    <a:lnTo>
                      <a:pt x="33" y="23"/>
                    </a:lnTo>
                    <a:lnTo>
                      <a:pt x="32" y="23"/>
                    </a:lnTo>
                    <a:lnTo>
                      <a:pt x="25" y="23"/>
                    </a:lnTo>
                    <a:lnTo>
                      <a:pt x="22" y="21"/>
                    </a:lnTo>
                    <a:lnTo>
                      <a:pt x="19" y="18"/>
                    </a:lnTo>
                    <a:lnTo>
                      <a:pt x="17" y="18"/>
                    </a:lnTo>
                    <a:lnTo>
                      <a:pt x="16" y="18"/>
                    </a:lnTo>
                    <a:lnTo>
                      <a:pt x="14" y="19"/>
                    </a:lnTo>
                    <a:lnTo>
                      <a:pt x="14" y="23"/>
                    </a:lnTo>
                    <a:lnTo>
                      <a:pt x="14" y="27"/>
                    </a:lnTo>
                    <a:lnTo>
                      <a:pt x="14" y="29"/>
                    </a:lnTo>
                    <a:lnTo>
                      <a:pt x="13" y="31"/>
                    </a:lnTo>
                    <a:lnTo>
                      <a:pt x="11" y="31"/>
                    </a:lnTo>
                    <a:lnTo>
                      <a:pt x="9" y="32"/>
                    </a:lnTo>
                    <a:lnTo>
                      <a:pt x="9" y="34"/>
                    </a:lnTo>
                    <a:lnTo>
                      <a:pt x="8" y="34"/>
                    </a:lnTo>
                    <a:lnTo>
                      <a:pt x="5" y="35"/>
                    </a:lnTo>
                    <a:lnTo>
                      <a:pt x="5" y="37"/>
                    </a:lnTo>
                    <a:lnTo>
                      <a:pt x="3" y="37"/>
                    </a:lnTo>
                    <a:lnTo>
                      <a:pt x="1" y="37"/>
                    </a:lnTo>
                    <a:lnTo>
                      <a:pt x="0" y="43"/>
                    </a:lnTo>
                    <a:lnTo>
                      <a:pt x="0" y="43"/>
                    </a:lnTo>
                    <a:lnTo>
                      <a:pt x="0" y="43"/>
                    </a:lnTo>
                    <a:lnTo>
                      <a:pt x="1" y="45"/>
                    </a:lnTo>
                    <a:lnTo>
                      <a:pt x="3" y="46"/>
                    </a:lnTo>
                    <a:lnTo>
                      <a:pt x="5" y="46"/>
                    </a:lnTo>
                    <a:lnTo>
                      <a:pt x="6" y="50"/>
                    </a:lnTo>
                    <a:lnTo>
                      <a:pt x="6" y="46"/>
                    </a:lnTo>
                    <a:lnTo>
                      <a:pt x="11" y="50"/>
                    </a:lnTo>
                    <a:lnTo>
                      <a:pt x="14" y="50"/>
                    </a:lnTo>
                    <a:lnTo>
                      <a:pt x="16" y="50"/>
                    </a:lnTo>
                    <a:lnTo>
                      <a:pt x="16" y="51"/>
                    </a:lnTo>
                    <a:lnTo>
                      <a:pt x="17" y="53"/>
                    </a:lnTo>
                    <a:lnTo>
                      <a:pt x="17" y="59"/>
                    </a:lnTo>
                    <a:lnTo>
                      <a:pt x="17" y="61"/>
                    </a:lnTo>
                    <a:lnTo>
                      <a:pt x="21" y="61"/>
                    </a:lnTo>
                    <a:lnTo>
                      <a:pt x="22" y="61"/>
                    </a:lnTo>
                    <a:lnTo>
                      <a:pt x="25" y="64"/>
                    </a:lnTo>
                    <a:lnTo>
                      <a:pt x="21" y="61"/>
                    </a:lnTo>
                    <a:lnTo>
                      <a:pt x="19" y="64"/>
                    </a:lnTo>
                    <a:lnTo>
                      <a:pt x="17" y="64"/>
                    </a:lnTo>
                    <a:lnTo>
                      <a:pt x="17" y="64"/>
                    </a:lnTo>
                    <a:lnTo>
                      <a:pt x="17" y="67"/>
                    </a:lnTo>
                    <a:lnTo>
                      <a:pt x="17" y="67"/>
                    </a:lnTo>
                    <a:lnTo>
                      <a:pt x="19" y="70"/>
                    </a:lnTo>
                    <a:lnTo>
                      <a:pt x="21" y="70"/>
                    </a:lnTo>
                    <a:lnTo>
                      <a:pt x="22" y="70"/>
                    </a:lnTo>
                    <a:lnTo>
                      <a:pt x="22" y="70"/>
                    </a:lnTo>
                    <a:lnTo>
                      <a:pt x="22" y="72"/>
                    </a:lnTo>
                    <a:lnTo>
                      <a:pt x="22" y="73"/>
                    </a:lnTo>
                    <a:lnTo>
                      <a:pt x="25" y="73"/>
                    </a:lnTo>
                    <a:lnTo>
                      <a:pt x="25" y="73"/>
                    </a:lnTo>
                    <a:lnTo>
                      <a:pt x="25" y="72"/>
                    </a:lnTo>
                    <a:lnTo>
                      <a:pt x="28" y="73"/>
                    </a:lnTo>
                    <a:lnTo>
                      <a:pt x="28" y="72"/>
                    </a:lnTo>
                    <a:lnTo>
                      <a:pt x="32" y="73"/>
                    </a:lnTo>
                    <a:lnTo>
                      <a:pt x="35" y="75"/>
                    </a:lnTo>
                    <a:lnTo>
                      <a:pt x="35" y="73"/>
                    </a:lnTo>
                    <a:lnTo>
                      <a:pt x="36" y="73"/>
                    </a:lnTo>
                    <a:lnTo>
                      <a:pt x="40" y="73"/>
                    </a:lnTo>
                    <a:lnTo>
                      <a:pt x="41" y="73"/>
                    </a:lnTo>
                    <a:lnTo>
                      <a:pt x="41" y="72"/>
                    </a:lnTo>
                    <a:lnTo>
                      <a:pt x="43" y="70"/>
                    </a:lnTo>
                    <a:lnTo>
                      <a:pt x="43" y="70"/>
                    </a:lnTo>
                    <a:lnTo>
                      <a:pt x="43" y="70"/>
                    </a:lnTo>
                    <a:lnTo>
                      <a:pt x="43" y="70"/>
                    </a:lnTo>
                    <a:lnTo>
                      <a:pt x="43" y="70"/>
                    </a:lnTo>
                    <a:lnTo>
                      <a:pt x="43" y="70"/>
                    </a:lnTo>
                    <a:lnTo>
                      <a:pt x="43" y="70"/>
                    </a:lnTo>
                    <a:lnTo>
                      <a:pt x="43" y="70"/>
                    </a:lnTo>
                    <a:lnTo>
                      <a:pt x="43" y="7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24" name="Freeform 293">
                <a:extLst>
                  <a:ext uri="{FF2B5EF4-FFF2-40B4-BE49-F238E27FC236}">
                    <a16:creationId xmlns:a16="http://schemas.microsoft.com/office/drawing/2014/main" id="{8699CF81-9244-1DD5-3912-48C95F967E2C}"/>
                  </a:ext>
                </a:extLst>
              </p:cNvPr>
              <p:cNvSpPr>
                <a:spLocks noEditPoints="1"/>
              </p:cNvSpPr>
              <p:nvPr/>
            </p:nvSpPr>
            <p:spPr bwMode="auto">
              <a:xfrm>
                <a:off x="7731859" y="2313645"/>
                <a:ext cx="1466968" cy="1126022"/>
              </a:xfrm>
              <a:custGeom>
                <a:avLst/>
                <a:gdLst>
                  <a:gd name="T0" fmla="*/ 489 w 654"/>
                  <a:gd name="T1" fmla="*/ 493 h 502"/>
                  <a:gd name="T2" fmla="*/ 511 w 654"/>
                  <a:gd name="T3" fmla="*/ 475 h 502"/>
                  <a:gd name="T4" fmla="*/ 646 w 654"/>
                  <a:gd name="T5" fmla="*/ 72 h 502"/>
                  <a:gd name="T6" fmla="*/ 597 w 654"/>
                  <a:gd name="T7" fmla="*/ 67 h 502"/>
                  <a:gd name="T8" fmla="*/ 546 w 654"/>
                  <a:gd name="T9" fmla="*/ 43 h 502"/>
                  <a:gd name="T10" fmla="*/ 492 w 654"/>
                  <a:gd name="T11" fmla="*/ 5 h 502"/>
                  <a:gd name="T12" fmla="*/ 456 w 654"/>
                  <a:gd name="T13" fmla="*/ 23 h 502"/>
                  <a:gd name="T14" fmla="*/ 434 w 654"/>
                  <a:gd name="T15" fmla="*/ 50 h 502"/>
                  <a:gd name="T16" fmla="*/ 492 w 654"/>
                  <a:gd name="T17" fmla="*/ 92 h 502"/>
                  <a:gd name="T18" fmla="*/ 451 w 654"/>
                  <a:gd name="T19" fmla="*/ 113 h 502"/>
                  <a:gd name="T20" fmla="*/ 422 w 654"/>
                  <a:gd name="T21" fmla="*/ 137 h 502"/>
                  <a:gd name="T22" fmla="*/ 335 w 654"/>
                  <a:gd name="T23" fmla="*/ 162 h 502"/>
                  <a:gd name="T24" fmla="*/ 232 w 654"/>
                  <a:gd name="T25" fmla="*/ 132 h 502"/>
                  <a:gd name="T26" fmla="*/ 165 w 654"/>
                  <a:gd name="T27" fmla="*/ 91 h 502"/>
                  <a:gd name="T28" fmla="*/ 118 w 654"/>
                  <a:gd name="T29" fmla="*/ 59 h 502"/>
                  <a:gd name="T30" fmla="*/ 87 w 654"/>
                  <a:gd name="T31" fmla="*/ 91 h 502"/>
                  <a:gd name="T32" fmla="*/ 54 w 654"/>
                  <a:gd name="T33" fmla="*/ 118 h 502"/>
                  <a:gd name="T34" fmla="*/ 65 w 654"/>
                  <a:gd name="T35" fmla="*/ 151 h 502"/>
                  <a:gd name="T36" fmla="*/ 21 w 654"/>
                  <a:gd name="T37" fmla="*/ 183 h 502"/>
                  <a:gd name="T38" fmla="*/ 5 w 654"/>
                  <a:gd name="T39" fmla="*/ 207 h 502"/>
                  <a:gd name="T40" fmla="*/ 21 w 654"/>
                  <a:gd name="T41" fmla="*/ 229 h 502"/>
                  <a:gd name="T42" fmla="*/ 60 w 654"/>
                  <a:gd name="T43" fmla="*/ 253 h 502"/>
                  <a:gd name="T44" fmla="*/ 91 w 654"/>
                  <a:gd name="T45" fmla="*/ 288 h 502"/>
                  <a:gd name="T46" fmla="*/ 91 w 654"/>
                  <a:gd name="T47" fmla="*/ 315 h 502"/>
                  <a:gd name="T48" fmla="*/ 126 w 654"/>
                  <a:gd name="T49" fmla="*/ 327 h 502"/>
                  <a:gd name="T50" fmla="*/ 175 w 654"/>
                  <a:gd name="T51" fmla="*/ 358 h 502"/>
                  <a:gd name="T52" fmla="*/ 219 w 654"/>
                  <a:gd name="T53" fmla="*/ 361 h 502"/>
                  <a:gd name="T54" fmla="*/ 249 w 654"/>
                  <a:gd name="T55" fmla="*/ 362 h 502"/>
                  <a:gd name="T56" fmla="*/ 281 w 654"/>
                  <a:gd name="T57" fmla="*/ 350 h 502"/>
                  <a:gd name="T58" fmla="*/ 308 w 654"/>
                  <a:gd name="T59" fmla="*/ 346 h 502"/>
                  <a:gd name="T60" fmla="*/ 326 w 654"/>
                  <a:gd name="T61" fmla="*/ 358 h 502"/>
                  <a:gd name="T62" fmla="*/ 345 w 654"/>
                  <a:gd name="T63" fmla="*/ 396 h 502"/>
                  <a:gd name="T64" fmla="*/ 353 w 654"/>
                  <a:gd name="T65" fmla="*/ 418 h 502"/>
                  <a:gd name="T66" fmla="*/ 373 w 654"/>
                  <a:gd name="T67" fmla="*/ 448 h 502"/>
                  <a:gd name="T68" fmla="*/ 395 w 654"/>
                  <a:gd name="T69" fmla="*/ 453 h 502"/>
                  <a:gd name="T70" fmla="*/ 418 w 654"/>
                  <a:gd name="T71" fmla="*/ 437 h 502"/>
                  <a:gd name="T72" fmla="*/ 454 w 654"/>
                  <a:gd name="T73" fmla="*/ 437 h 502"/>
                  <a:gd name="T74" fmla="*/ 480 w 654"/>
                  <a:gd name="T75" fmla="*/ 454 h 502"/>
                  <a:gd name="T76" fmla="*/ 492 w 654"/>
                  <a:gd name="T77" fmla="*/ 451 h 502"/>
                  <a:gd name="T78" fmla="*/ 507 w 654"/>
                  <a:gd name="T79" fmla="*/ 472 h 502"/>
                  <a:gd name="T80" fmla="*/ 521 w 654"/>
                  <a:gd name="T81" fmla="*/ 451 h 502"/>
                  <a:gd name="T82" fmla="*/ 543 w 654"/>
                  <a:gd name="T83" fmla="*/ 442 h 502"/>
                  <a:gd name="T84" fmla="*/ 553 w 654"/>
                  <a:gd name="T85" fmla="*/ 442 h 502"/>
                  <a:gd name="T86" fmla="*/ 567 w 654"/>
                  <a:gd name="T87" fmla="*/ 435 h 502"/>
                  <a:gd name="T88" fmla="*/ 589 w 654"/>
                  <a:gd name="T89" fmla="*/ 420 h 502"/>
                  <a:gd name="T90" fmla="*/ 603 w 654"/>
                  <a:gd name="T91" fmla="*/ 402 h 502"/>
                  <a:gd name="T92" fmla="*/ 605 w 654"/>
                  <a:gd name="T93" fmla="*/ 386 h 502"/>
                  <a:gd name="T94" fmla="*/ 611 w 654"/>
                  <a:gd name="T95" fmla="*/ 373 h 502"/>
                  <a:gd name="T96" fmla="*/ 621 w 654"/>
                  <a:gd name="T97" fmla="*/ 351 h 502"/>
                  <a:gd name="T98" fmla="*/ 615 w 654"/>
                  <a:gd name="T99" fmla="*/ 331 h 502"/>
                  <a:gd name="T100" fmla="*/ 615 w 654"/>
                  <a:gd name="T101" fmla="*/ 318 h 502"/>
                  <a:gd name="T102" fmla="*/ 602 w 654"/>
                  <a:gd name="T103" fmla="*/ 297 h 502"/>
                  <a:gd name="T104" fmla="*/ 568 w 654"/>
                  <a:gd name="T105" fmla="*/ 248 h 502"/>
                  <a:gd name="T106" fmla="*/ 588 w 654"/>
                  <a:gd name="T107" fmla="*/ 232 h 502"/>
                  <a:gd name="T108" fmla="*/ 570 w 654"/>
                  <a:gd name="T109" fmla="*/ 224 h 502"/>
                  <a:gd name="T110" fmla="*/ 535 w 654"/>
                  <a:gd name="T111" fmla="*/ 216 h 502"/>
                  <a:gd name="T112" fmla="*/ 546 w 654"/>
                  <a:gd name="T113" fmla="*/ 181 h 502"/>
                  <a:gd name="T114" fmla="*/ 568 w 654"/>
                  <a:gd name="T115" fmla="*/ 197 h 502"/>
                  <a:gd name="T116" fmla="*/ 588 w 654"/>
                  <a:gd name="T117" fmla="*/ 192 h 502"/>
                  <a:gd name="T118" fmla="*/ 608 w 654"/>
                  <a:gd name="T119" fmla="*/ 165 h 502"/>
                  <a:gd name="T120" fmla="*/ 638 w 654"/>
                  <a:gd name="T121" fmla="*/ 151 h 502"/>
                  <a:gd name="T122" fmla="*/ 634 w 654"/>
                  <a:gd name="T123" fmla="*/ 119 h 502"/>
                  <a:gd name="T124" fmla="*/ 537 w 654"/>
                  <a:gd name="T125" fmla="*/ 43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4" h="502">
                    <a:moveTo>
                      <a:pt x="511" y="475"/>
                    </a:moveTo>
                    <a:lnTo>
                      <a:pt x="511" y="475"/>
                    </a:lnTo>
                    <a:lnTo>
                      <a:pt x="510" y="475"/>
                    </a:lnTo>
                    <a:lnTo>
                      <a:pt x="510" y="475"/>
                    </a:lnTo>
                    <a:lnTo>
                      <a:pt x="511" y="478"/>
                    </a:lnTo>
                    <a:lnTo>
                      <a:pt x="511" y="478"/>
                    </a:lnTo>
                    <a:lnTo>
                      <a:pt x="508" y="477"/>
                    </a:lnTo>
                    <a:lnTo>
                      <a:pt x="508" y="477"/>
                    </a:lnTo>
                    <a:lnTo>
                      <a:pt x="508" y="478"/>
                    </a:lnTo>
                    <a:lnTo>
                      <a:pt x="508" y="478"/>
                    </a:lnTo>
                    <a:lnTo>
                      <a:pt x="507" y="477"/>
                    </a:lnTo>
                    <a:lnTo>
                      <a:pt x="507" y="477"/>
                    </a:lnTo>
                    <a:lnTo>
                      <a:pt x="505" y="477"/>
                    </a:lnTo>
                    <a:lnTo>
                      <a:pt x="505" y="477"/>
                    </a:lnTo>
                    <a:lnTo>
                      <a:pt x="502" y="478"/>
                    </a:lnTo>
                    <a:lnTo>
                      <a:pt x="502" y="478"/>
                    </a:lnTo>
                    <a:lnTo>
                      <a:pt x="502" y="477"/>
                    </a:lnTo>
                    <a:lnTo>
                      <a:pt x="502" y="477"/>
                    </a:lnTo>
                    <a:lnTo>
                      <a:pt x="500" y="477"/>
                    </a:lnTo>
                    <a:lnTo>
                      <a:pt x="500" y="477"/>
                    </a:lnTo>
                    <a:lnTo>
                      <a:pt x="495" y="477"/>
                    </a:lnTo>
                    <a:lnTo>
                      <a:pt x="495" y="477"/>
                    </a:lnTo>
                    <a:lnTo>
                      <a:pt x="497" y="478"/>
                    </a:lnTo>
                    <a:lnTo>
                      <a:pt x="497" y="478"/>
                    </a:lnTo>
                    <a:lnTo>
                      <a:pt x="495" y="478"/>
                    </a:lnTo>
                    <a:lnTo>
                      <a:pt x="495" y="478"/>
                    </a:lnTo>
                    <a:lnTo>
                      <a:pt x="494" y="478"/>
                    </a:lnTo>
                    <a:lnTo>
                      <a:pt x="494" y="478"/>
                    </a:lnTo>
                    <a:lnTo>
                      <a:pt x="492" y="480"/>
                    </a:lnTo>
                    <a:lnTo>
                      <a:pt x="492" y="480"/>
                    </a:lnTo>
                    <a:lnTo>
                      <a:pt x="494" y="481"/>
                    </a:lnTo>
                    <a:lnTo>
                      <a:pt x="494" y="481"/>
                    </a:lnTo>
                    <a:lnTo>
                      <a:pt x="489" y="483"/>
                    </a:lnTo>
                    <a:lnTo>
                      <a:pt x="489" y="483"/>
                    </a:lnTo>
                    <a:lnTo>
                      <a:pt x="486" y="486"/>
                    </a:lnTo>
                    <a:lnTo>
                      <a:pt x="486" y="486"/>
                    </a:lnTo>
                    <a:lnTo>
                      <a:pt x="486" y="489"/>
                    </a:lnTo>
                    <a:lnTo>
                      <a:pt x="486" y="489"/>
                    </a:lnTo>
                    <a:lnTo>
                      <a:pt x="489" y="493"/>
                    </a:lnTo>
                    <a:lnTo>
                      <a:pt x="489" y="493"/>
                    </a:lnTo>
                    <a:lnTo>
                      <a:pt x="489" y="496"/>
                    </a:lnTo>
                    <a:lnTo>
                      <a:pt x="489" y="496"/>
                    </a:lnTo>
                    <a:lnTo>
                      <a:pt x="489" y="499"/>
                    </a:lnTo>
                    <a:lnTo>
                      <a:pt x="489" y="499"/>
                    </a:lnTo>
                    <a:lnTo>
                      <a:pt x="492" y="499"/>
                    </a:lnTo>
                    <a:lnTo>
                      <a:pt x="492" y="499"/>
                    </a:lnTo>
                    <a:lnTo>
                      <a:pt x="495" y="502"/>
                    </a:lnTo>
                    <a:lnTo>
                      <a:pt x="495" y="502"/>
                    </a:lnTo>
                    <a:lnTo>
                      <a:pt x="499" y="502"/>
                    </a:lnTo>
                    <a:lnTo>
                      <a:pt x="499" y="502"/>
                    </a:lnTo>
                    <a:lnTo>
                      <a:pt x="503" y="502"/>
                    </a:lnTo>
                    <a:lnTo>
                      <a:pt x="503" y="502"/>
                    </a:lnTo>
                    <a:lnTo>
                      <a:pt x="503" y="502"/>
                    </a:lnTo>
                    <a:lnTo>
                      <a:pt x="503" y="502"/>
                    </a:lnTo>
                    <a:lnTo>
                      <a:pt x="503" y="499"/>
                    </a:lnTo>
                    <a:lnTo>
                      <a:pt x="503" y="499"/>
                    </a:lnTo>
                    <a:lnTo>
                      <a:pt x="505" y="499"/>
                    </a:lnTo>
                    <a:lnTo>
                      <a:pt x="505" y="499"/>
                    </a:lnTo>
                    <a:lnTo>
                      <a:pt x="507" y="499"/>
                    </a:lnTo>
                    <a:lnTo>
                      <a:pt x="507" y="499"/>
                    </a:lnTo>
                    <a:lnTo>
                      <a:pt x="508" y="499"/>
                    </a:lnTo>
                    <a:lnTo>
                      <a:pt x="508" y="499"/>
                    </a:lnTo>
                    <a:lnTo>
                      <a:pt x="510" y="496"/>
                    </a:lnTo>
                    <a:lnTo>
                      <a:pt x="510" y="496"/>
                    </a:lnTo>
                    <a:lnTo>
                      <a:pt x="511" y="493"/>
                    </a:lnTo>
                    <a:lnTo>
                      <a:pt x="511" y="493"/>
                    </a:lnTo>
                    <a:lnTo>
                      <a:pt x="511" y="489"/>
                    </a:lnTo>
                    <a:lnTo>
                      <a:pt x="511" y="489"/>
                    </a:lnTo>
                    <a:lnTo>
                      <a:pt x="511" y="489"/>
                    </a:lnTo>
                    <a:lnTo>
                      <a:pt x="511" y="489"/>
                    </a:lnTo>
                    <a:lnTo>
                      <a:pt x="513" y="486"/>
                    </a:lnTo>
                    <a:lnTo>
                      <a:pt x="513" y="486"/>
                    </a:lnTo>
                    <a:lnTo>
                      <a:pt x="514" y="483"/>
                    </a:lnTo>
                    <a:lnTo>
                      <a:pt x="514" y="483"/>
                    </a:lnTo>
                    <a:lnTo>
                      <a:pt x="514" y="483"/>
                    </a:lnTo>
                    <a:lnTo>
                      <a:pt x="514" y="483"/>
                    </a:lnTo>
                    <a:lnTo>
                      <a:pt x="514" y="481"/>
                    </a:lnTo>
                    <a:lnTo>
                      <a:pt x="514" y="481"/>
                    </a:lnTo>
                    <a:lnTo>
                      <a:pt x="514" y="477"/>
                    </a:lnTo>
                    <a:lnTo>
                      <a:pt x="511" y="475"/>
                    </a:lnTo>
                    <a:lnTo>
                      <a:pt x="511" y="475"/>
                    </a:lnTo>
                    <a:lnTo>
                      <a:pt x="511" y="475"/>
                    </a:lnTo>
                    <a:close/>
                    <a:moveTo>
                      <a:pt x="619" y="332"/>
                    </a:moveTo>
                    <a:lnTo>
                      <a:pt x="619" y="332"/>
                    </a:lnTo>
                    <a:lnTo>
                      <a:pt x="621" y="332"/>
                    </a:lnTo>
                    <a:lnTo>
                      <a:pt x="621" y="332"/>
                    </a:lnTo>
                    <a:lnTo>
                      <a:pt x="622" y="332"/>
                    </a:lnTo>
                    <a:lnTo>
                      <a:pt x="622" y="332"/>
                    </a:lnTo>
                    <a:lnTo>
                      <a:pt x="624" y="332"/>
                    </a:lnTo>
                    <a:lnTo>
                      <a:pt x="624" y="332"/>
                    </a:lnTo>
                    <a:lnTo>
                      <a:pt x="622" y="332"/>
                    </a:lnTo>
                    <a:lnTo>
                      <a:pt x="619" y="332"/>
                    </a:lnTo>
                    <a:lnTo>
                      <a:pt x="619" y="332"/>
                    </a:lnTo>
                    <a:lnTo>
                      <a:pt x="619" y="332"/>
                    </a:lnTo>
                    <a:close/>
                    <a:moveTo>
                      <a:pt x="654" y="99"/>
                    </a:moveTo>
                    <a:lnTo>
                      <a:pt x="654" y="99"/>
                    </a:lnTo>
                    <a:lnTo>
                      <a:pt x="653" y="99"/>
                    </a:lnTo>
                    <a:lnTo>
                      <a:pt x="653" y="99"/>
                    </a:lnTo>
                    <a:lnTo>
                      <a:pt x="653" y="96"/>
                    </a:lnTo>
                    <a:lnTo>
                      <a:pt x="653" y="96"/>
                    </a:lnTo>
                    <a:lnTo>
                      <a:pt x="649" y="91"/>
                    </a:lnTo>
                    <a:lnTo>
                      <a:pt x="649" y="91"/>
                    </a:lnTo>
                    <a:lnTo>
                      <a:pt x="649" y="88"/>
                    </a:lnTo>
                    <a:lnTo>
                      <a:pt x="649" y="88"/>
                    </a:lnTo>
                    <a:lnTo>
                      <a:pt x="649" y="86"/>
                    </a:lnTo>
                    <a:lnTo>
                      <a:pt x="649" y="86"/>
                    </a:lnTo>
                    <a:lnTo>
                      <a:pt x="649" y="85"/>
                    </a:lnTo>
                    <a:lnTo>
                      <a:pt x="649" y="85"/>
                    </a:lnTo>
                    <a:lnTo>
                      <a:pt x="651" y="83"/>
                    </a:lnTo>
                    <a:lnTo>
                      <a:pt x="651" y="83"/>
                    </a:lnTo>
                    <a:lnTo>
                      <a:pt x="651" y="81"/>
                    </a:lnTo>
                    <a:lnTo>
                      <a:pt x="651" y="81"/>
                    </a:lnTo>
                    <a:lnTo>
                      <a:pt x="649" y="78"/>
                    </a:lnTo>
                    <a:lnTo>
                      <a:pt x="649" y="78"/>
                    </a:lnTo>
                    <a:lnTo>
                      <a:pt x="646" y="77"/>
                    </a:lnTo>
                    <a:lnTo>
                      <a:pt x="646" y="77"/>
                    </a:lnTo>
                    <a:lnTo>
                      <a:pt x="646" y="73"/>
                    </a:lnTo>
                    <a:lnTo>
                      <a:pt x="646" y="73"/>
                    </a:lnTo>
                    <a:lnTo>
                      <a:pt x="646" y="72"/>
                    </a:lnTo>
                    <a:lnTo>
                      <a:pt x="646" y="72"/>
                    </a:lnTo>
                    <a:lnTo>
                      <a:pt x="643" y="70"/>
                    </a:lnTo>
                    <a:lnTo>
                      <a:pt x="643" y="70"/>
                    </a:lnTo>
                    <a:lnTo>
                      <a:pt x="640" y="70"/>
                    </a:lnTo>
                    <a:lnTo>
                      <a:pt x="640" y="70"/>
                    </a:lnTo>
                    <a:lnTo>
                      <a:pt x="637" y="72"/>
                    </a:lnTo>
                    <a:lnTo>
                      <a:pt x="637" y="72"/>
                    </a:lnTo>
                    <a:lnTo>
                      <a:pt x="634" y="75"/>
                    </a:lnTo>
                    <a:lnTo>
                      <a:pt x="634" y="75"/>
                    </a:lnTo>
                    <a:lnTo>
                      <a:pt x="629" y="75"/>
                    </a:lnTo>
                    <a:lnTo>
                      <a:pt x="629" y="75"/>
                    </a:lnTo>
                    <a:lnTo>
                      <a:pt x="627" y="77"/>
                    </a:lnTo>
                    <a:lnTo>
                      <a:pt x="627" y="77"/>
                    </a:lnTo>
                    <a:lnTo>
                      <a:pt x="626" y="78"/>
                    </a:lnTo>
                    <a:lnTo>
                      <a:pt x="626" y="78"/>
                    </a:lnTo>
                    <a:lnTo>
                      <a:pt x="626" y="80"/>
                    </a:lnTo>
                    <a:lnTo>
                      <a:pt x="626" y="80"/>
                    </a:lnTo>
                    <a:lnTo>
                      <a:pt x="622" y="80"/>
                    </a:lnTo>
                    <a:lnTo>
                      <a:pt x="622" y="80"/>
                    </a:lnTo>
                    <a:lnTo>
                      <a:pt x="618" y="80"/>
                    </a:lnTo>
                    <a:lnTo>
                      <a:pt x="618" y="80"/>
                    </a:lnTo>
                    <a:lnTo>
                      <a:pt x="616" y="80"/>
                    </a:lnTo>
                    <a:lnTo>
                      <a:pt x="616" y="80"/>
                    </a:lnTo>
                    <a:lnTo>
                      <a:pt x="615" y="80"/>
                    </a:lnTo>
                    <a:lnTo>
                      <a:pt x="615" y="80"/>
                    </a:lnTo>
                    <a:lnTo>
                      <a:pt x="615" y="80"/>
                    </a:lnTo>
                    <a:lnTo>
                      <a:pt x="615" y="80"/>
                    </a:lnTo>
                    <a:lnTo>
                      <a:pt x="611" y="80"/>
                    </a:lnTo>
                    <a:lnTo>
                      <a:pt x="611" y="80"/>
                    </a:lnTo>
                    <a:lnTo>
                      <a:pt x="605" y="78"/>
                    </a:lnTo>
                    <a:lnTo>
                      <a:pt x="605" y="78"/>
                    </a:lnTo>
                    <a:lnTo>
                      <a:pt x="603" y="75"/>
                    </a:lnTo>
                    <a:lnTo>
                      <a:pt x="603" y="75"/>
                    </a:lnTo>
                    <a:lnTo>
                      <a:pt x="602" y="73"/>
                    </a:lnTo>
                    <a:lnTo>
                      <a:pt x="602" y="73"/>
                    </a:lnTo>
                    <a:lnTo>
                      <a:pt x="602" y="72"/>
                    </a:lnTo>
                    <a:lnTo>
                      <a:pt x="602" y="72"/>
                    </a:lnTo>
                    <a:lnTo>
                      <a:pt x="600" y="70"/>
                    </a:lnTo>
                    <a:lnTo>
                      <a:pt x="600" y="70"/>
                    </a:lnTo>
                    <a:lnTo>
                      <a:pt x="597" y="67"/>
                    </a:lnTo>
                    <a:lnTo>
                      <a:pt x="597" y="67"/>
                    </a:lnTo>
                    <a:lnTo>
                      <a:pt x="595" y="67"/>
                    </a:lnTo>
                    <a:lnTo>
                      <a:pt x="595" y="67"/>
                    </a:lnTo>
                    <a:lnTo>
                      <a:pt x="595" y="64"/>
                    </a:lnTo>
                    <a:lnTo>
                      <a:pt x="595" y="64"/>
                    </a:lnTo>
                    <a:lnTo>
                      <a:pt x="595" y="64"/>
                    </a:lnTo>
                    <a:lnTo>
                      <a:pt x="595" y="64"/>
                    </a:lnTo>
                    <a:lnTo>
                      <a:pt x="592" y="64"/>
                    </a:lnTo>
                    <a:lnTo>
                      <a:pt x="592" y="64"/>
                    </a:lnTo>
                    <a:lnTo>
                      <a:pt x="588" y="64"/>
                    </a:lnTo>
                    <a:lnTo>
                      <a:pt x="588" y="64"/>
                    </a:lnTo>
                    <a:lnTo>
                      <a:pt x="584" y="61"/>
                    </a:lnTo>
                    <a:lnTo>
                      <a:pt x="584" y="61"/>
                    </a:lnTo>
                    <a:lnTo>
                      <a:pt x="580" y="58"/>
                    </a:lnTo>
                    <a:lnTo>
                      <a:pt x="580" y="58"/>
                    </a:lnTo>
                    <a:lnTo>
                      <a:pt x="578" y="56"/>
                    </a:lnTo>
                    <a:lnTo>
                      <a:pt x="578" y="56"/>
                    </a:lnTo>
                    <a:lnTo>
                      <a:pt x="576" y="56"/>
                    </a:lnTo>
                    <a:lnTo>
                      <a:pt x="576" y="56"/>
                    </a:lnTo>
                    <a:lnTo>
                      <a:pt x="576" y="58"/>
                    </a:lnTo>
                    <a:lnTo>
                      <a:pt x="576" y="58"/>
                    </a:lnTo>
                    <a:lnTo>
                      <a:pt x="573" y="56"/>
                    </a:lnTo>
                    <a:lnTo>
                      <a:pt x="573" y="56"/>
                    </a:lnTo>
                    <a:lnTo>
                      <a:pt x="570" y="56"/>
                    </a:lnTo>
                    <a:lnTo>
                      <a:pt x="570" y="56"/>
                    </a:lnTo>
                    <a:lnTo>
                      <a:pt x="568" y="54"/>
                    </a:lnTo>
                    <a:lnTo>
                      <a:pt x="568" y="54"/>
                    </a:lnTo>
                    <a:lnTo>
                      <a:pt x="565" y="54"/>
                    </a:lnTo>
                    <a:lnTo>
                      <a:pt x="565" y="54"/>
                    </a:lnTo>
                    <a:lnTo>
                      <a:pt x="559" y="54"/>
                    </a:lnTo>
                    <a:lnTo>
                      <a:pt x="559" y="54"/>
                    </a:lnTo>
                    <a:lnTo>
                      <a:pt x="556" y="53"/>
                    </a:lnTo>
                    <a:lnTo>
                      <a:pt x="556" y="53"/>
                    </a:lnTo>
                    <a:lnTo>
                      <a:pt x="553" y="50"/>
                    </a:lnTo>
                    <a:lnTo>
                      <a:pt x="553" y="50"/>
                    </a:lnTo>
                    <a:lnTo>
                      <a:pt x="549" y="46"/>
                    </a:lnTo>
                    <a:lnTo>
                      <a:pt x="549" y="46"/>
                    </a:lnTo>
                    <a:lnTo>
                      <a:pt x="549" y="45"/>
                    </a:lnTo>
                    <a:lnTo>
                      <a:pt x="549" y="45"/>
                    </a:lnTo>
                    <a:lnTo>
                      <a:pt x="546" y="43"/>
                    </a:lnTo>
                    <a:lnTo>
                      <a:pt x="546" y="43"/>
                    </a:lnTo>
                    <a:lnTo>
                      <a:pt x="543" y="40"/>
                    </a:lnTo>
                    <a:lnTo>
                      <a:pt x="543" y="40"/>
                    </a:lnTo>
                    <a:lnTo>
                      <a:pt x="541" y="37"/>
                    </a:lnTo>
                    <a:lnTo>
                      <a:pt x="541" y="37"/>
                    </a:lnTo>
                    <a:lnTo>
                      <a:pt x="538" y="35"/>
                    </a:lnTo>
                    <a:lnTo>
                      <a:pt x="538" y="35"/>
                    </a:lnTo>
                    <a:lnTo>
                      <a:pt x="535" y="32"/>
                    </a:lnTo>
                    <a:lnTo>
                      <a:pt x="535" y="32"/>
                    </a:lnTo>
                    <a:lnTo>
                      <a:pt x="532" y="31"/>
                    </a:lnTo>
                    <a:lnTo>
                      <a:pt x="532" y="31"/>
                    </a:lnTo>
                    <a:lnTo>
                      <a:pt x="527" y="27"/>
                    </a:lnTo>
                    <a:lnTo>
                      <a:pt x="527" y="27"/>
                    </a:lnTo>
                    <a:lnTo>
                      <a:pt x="524" y="23"/>
                    </a:lnTo>
                    <a:lnTo>
                      <a:pt x="524" y="23"/>
                    </a:lnTo>
                    <a:lnTo>
                      <a:pt x="521" y="19"/>
                    </a:lnTo>
                    <a:lnTo>
                      <a:pt x="521" y="19"/>
                    </a:lnTo>
                    <a:lnTo>
                      <a:pt x="518" y="18"/>
                    </a:lnTo>
                    <a:lnTo>
                      <a:pt x="518" y="18"/>
                    </a:lnTo>
                    <a:lnTo>
                      <a:pt x="513" y="15"/>
                    </a:lnTo>
                    <a:lnTo>
                      <a:pt x="513" y="15"/>
                    </a:lnTo>
                    <a:lnTo>
                      <a:pt x="511" y="11"/>
                    </a:lnTo>
                    <a:lnTo>
                      <a:pt x="511" y="11"/>
                    </a:lnTo>
                    <a:lnTo>
                      <a:pt x="510" y="11"/>
                    </a:lnTo>
                    <a:lnTo>
                      <a:pt x="510" y="11"/>
                    </a:lnTo>
                    <a:lnTo>
                      <a:pt x="507" y="8"/>
                    </a:lnTo>
                    <a:lnTo>
                      <a:pt x="507" y="8"/>
                    </a:lnTo>
                    <a:lnTo>
                      <a:pt x="503" y="8"/>
                    </a:lnTo>
                    <a:lnTo>
                      <a:pt x="503" y="8"/>
                    </a:lnTo>
                    <a:lnTo>
                      <a:pt x="502" y="5"/>
                    </a:lnTo>
                    <a:lnTo>
                      <a:pt x="502" y="5"/>
                    </a:lnTo>
                    <a:lnTo>
                      <a:pt x="499" y="5"/>
                    </a:lnTo>
                    <a:lnTo>
                      <a:pt x="499" y="5"/>
                    </a:lnTo>
                    <a:lnTo>
                      <a:pt x="495" y="5"/>
                    </a:lnTo>
                    <a:lnTo>
                      <a:pt x="495" y="5"/>
                    </a:lnTo>
                    <a:lnTo>
                      <a:pt x="494" y="5"/>
                    </a:lnTo>
                    <a:lnTo>
                      <a:pt x="494" y="5"/>
                    </a:lnTo>
                    <a:lnTo>
                      <a:pt x="492" y="5"/>
                    </a:lnTo>
                    <a:lnTo>
                      <a:pt x="492" y="5"/>
                    </a:lnTo>
                    <a:lnTo>
                      <a:pt x="492" y="5"/>
                    </a:lnTo>
                    <a:lnTo>
                      <a:pt x="492" y="5"/>
                    </a:lnTo>
                    <a:lnTo>
                      <a:pt x="486" y="2"/>
                    </a:lnTo>
                    <a:lnTo>
                      <a:pt x="486" y="2"/>
                    </a:lnTo>
                    <a:lnTo>
                      <a:pt x="483" y="2"/>
                    </a:lnTo>
                    <a:lnTo>
                      <a:pt x="483" y="2"/>
                    </a:lnTo>
                    <a:lnTo>
                      <a:pt x="480" y="0"/>
                    </a:lnTo>
                    <a:lnTo>
                      <a:pt x="480" y="0"/>
                    </a:lnTo>
                    <a:lnTo>
                      <a:pt x="475" y="0"/>
                    </a:lnTo>
                    <a:lnTo>
                      <a:pt x="475" y="0"/>
                    </a:lnTo>
                    <a:lnTo>
                      <a:pt x="472" y="0"/>
                    </a:lnTo>
                    <a:lnTo>
                      <a:pt x="472" y="0"/>
                    </a:lnTo>
                    <a:lnTo>
                      <a:pt x="464" y="0"/>
                    </a:lnTo>
                    <a:lnTo>
                      <a:pt x="464" y="0"/>
                    </a:lnTo>
                    <a:lnTo>
                      <a:pt x="456" y="2"/>
                    </a:lnTo>
                    <a:lnTo>
                      <a:pt x="456" y="2"/>
                    </a:lnTo>
                    <a:lnTo>
                      <a:pt x="451" y="2"/>
                    </a:lnTo>
                    <a:lnTo>
                      <a:pt x="451" y="2"/>
                    </a:lnTo>
                    <a:lnTo>
                      <a:pt x="448" y="2"/>
                    </a:lnTo>
                    <a:lnTo>
                      <a:pt x="448" y="2"/>
                    </a:lnTo>
                    <a:lnTo>
                      <a:pt x="445" y="5"/>
                    </a:lnTo>
                    <a:lnTo>
                      <a:pt x="445" y="5"/>
                    </a:lnTo>
                    <a:lnTo>
                      <a:pt x="445" y="8"/>
                    </a:lnTo>
                    <a:lnTo>
                      <a:pt x="445" y="8"/>
                    </a:lnTo>
                    <a:lnTo>
                      <a:pt x="443" y="11"/>
                    </a:lnTo>
                    <a:lnTo>
                      <a:pt x="443" y="11"/>
                    </a:lnTo>
                    <a:lnTo>
                      <a:pt x="445" y="11"/>
                    </a:lnTo>
                    <a:lnTo>
                      <a:pt x="445" y="11"/>
                    </a:lnTo>
                    <a:lnTo>
                      <a:pt x="448" y="11"/>
                    </a:lnTo>
                    <a:lnTo>
                      <a:pt x="448" y="11"/>
                    </a:lnTo>
                    <a:lnTo>
                      <a:pt x="451" y="11"/>
                    </a:lnTo>
                    <a:lnTo>
                      <a:pt x="451" y="11"/>
                    </a:lnTo>
                    <a:lnTo>
                      <a:pt x="454" y="15"/>
                    </a:lnTo>
                    <a:lnTo>
                      <a:pt x="454" y="15"/>
                    </a:lnTo>
                    <a:lnTo>
                      <a:pt x="454" y="16"/>
                    </a:lnTo>
                    <a:lnTo>
                      <a:pt x="454" y="16"/>
                    </a:lnTo>
                    <a:lnTo>
                      <a:pt x="456" y="19"/>
                    </a:lnTo>
                    <a:lnTo>
                      <a:pt x="456" y="19"/>
                    </a:lnTo>
                    <a:lnTo>
                      <a:pt x="456" y="21"/>
                    </a:lnTo>
                    <a:lnTo>
                      <a:pt x="456" y="21"/>
                    </a:lnTo>
                    <a:lnTo>
                      <a:pt x="456" y="23"/>
                    </a:lnTo>
                    <a:lnTo>
                      <a:pt x="456" y="23"/>
                    </a:lnTo>
                    <a:lnTo>
                      <a:pt x="454" y="24"/>
                    </a:lnTo>
                    <a:lnTo>
                      <a:pt x="454" y="24"/>
                    </a:lnTo>
                    <a:lnTo>
                      <a:pt x="454" y="29"/>
                    </a:lnTo>
                    <a:lnTo>
                      <a:pt x="454" y="29"/>
                    </a:lnTo>
                    <a:lnTo>
                      <a:pt x="454" y="32"/>
                    </a:lnTo>
                    <a:lnTo>
                      <a:pt x="454" y="32"/>
                    </a:lnTo>
                    <a:lnTo>
                      <a:pt x="454" y="35"/>
                    </a:lnTo>
                    <a:lnTo>
                      <a:pt x="454" y="35"/>
                    </a:lnTo>
                    <a:lnTo>
                      <a:pt x="454" y="35"/>
                    </a:lnTo>
                    <a:lnTo>
                      <a:pt x="454" y="35"/>
                    </a:lnTo>
                    <a:lnTo>
                      <a:pt x="454" y="37"/>
                    </a:lnTo>
                    <a:lnTo>
                      <a:pt x="454" y="37"/>
                    </a:lnTo>
                    <a:lnTo>
                      <a:pt x="454" y="42"/>
                    </a:lnTo>
                    <a:lnTo>
                      <a:pt x="454" y="42"/>
                    </a:lnTo>
                    <a:lnTo>
                      <a:pt x="456" y="43"/>
                    </a:lnTo>
                    <a:lnTo>
                      <a:pt x="456" y="43"/>
                    </a:lnTo>
                    <a:lnTo>
                      <a:pt x="457" y="45"/>
                    </a:lnTo>
                    <a:lnTo>
                      <a:pt x="457" y="45"/>
                    </a:lnTo>
                    <a:lnTo>
                      <a:pt x="457" y="46"/>
                    </a:lnTo>
                    <a:lnTo>
                      <a:pt x="457" y="46"/>
                    </a:lnTo>
                    <a:lnTo>
                      <a:pt x="456" y="48"/>
                    </a:lnTo>
                    <a:lnTo>
                      <a:pt x="456" y="48"/>
                    </a:lnTo>
                    <a:lnTo>
                      <a:pt x="454" y="50"/>
                    </a:lnTo>
                    <a:lnTo>
                      <a:pt x="454" y="50"/>
                    </a:lnTo>
                    <a:lnTo>
                      <a:pt x="451" y="51"/>
                    </a:lnTo>
                    <a:lnTo>
                      <a:pt x="451" y="51"/>
                    </a:lnTo>
                    <a:lnTo>
                      <a:pt x="448" y="54"/>
                    </a:lnTo>
                    <a:lnTo>
                      <a:pt x="448" y="54"/>
                    </a:lnTo>
                    <a:lnTo>
                      <a:pt x="448" y="54"/>
                    </a:lnTo>
                    <a:lnTo>
                      <a:pt x="448" y="54"/>
                    </a:lnTo>
                    <a:lnTo>
                      <a:pt x="445" y="54"/>
                    </a:lnTo>
                    <a:lnTo>
                      <a:pt x="445" y="54"/>
                    </a:lnTo>
                    <a:lnTo>
                      <a:pt x="441" y="53"/>
                    </a:lnTo>
                    <a:lnTo>
                      <a:pt x="441" y="53"/>
                    </a:lnTo>
                    <a:lnTo>
                      <a:pt x="437" y="53"/>
                    </a:lnTo>
                    <a:lnTo>
                      <a:pt x="437" y="53"/>
                    </a:lnTo>
                    <a:lnTo>
                      <a:pt x="434" y="51"/>
                    </a:lnTo>
                    <a:lnTo>
                      <a:pt x="434" y="51"/>
                    </a:lnTo>
                    <a:lnTo>
                      <a:pt x="434" y="50"/>
                    </a:lnTo>
                    <a:lnTo>
                      <a:pt x="434" y="50"/>
                    </a:lnTo>
                    <a:lnTo>
                      <a:pt x="434" y="70"/>
                    </a:lnTo>
                    <a:lnTo>
                      <a:pt x="434" y="70"/>
                    </a:lnTo>
                    <a:lnTo>
                      <a:pt x="435" y="72"/>
                    </a:lnTo>
                    <a:lnTo>
                      <a:pt x="435" y="72"/>
                    </a:lnTo>
                    <a:lnTo>
                      <a:pt x="434" y="73"/>
                    </a:lnTo>
                    <a:lnTo>
                      <a:pt x="434" y="73"/>
                    </a:lnTo>
                    <a:lnTo>
                      <a:pt x="434" y="75"/>
                    </a:lnTo>
                    <a:lnTo>
                      <a:pt x="434" y="75"/>
                    </a:lnTo>
                    <a:lnTo>
                      <a:pt x="438" y="80"/>
                    </a:lnTo>
                    <a:lnTo>
                      <a:pt x="438" y="80"/>
                    </a:lnTo>
                    <a:lnTo>
                      <a:pt x="440" y="80"/>
                    </a:lnTo>
                    <a:lnTo>
                      <a:pt x="440" y="80"/>
                    </a:lnTo>
                    <a:lnTo>
                      <a:pt x="441" y="78"/>
                    </a:lnTo>
                    <a:lnTo>
                      <a:pt x="441" y="78"/>
                    </a:lnTo>
                    <a:lnTo>
                      <a:pt x="445" y="78"/>
                    </a:lnTo>
                    <a:lnTo>
                      <a:pt x="445" y="78"/>
                    </a:lnTo>
                    <a:lnTo>
                      <a:pt x="448" y="78"/>
                    </a:lnTo>
                    <a:lnTo>
                      <a:pt x="448" y="78"/>
                    </a:lnTo>
                    <a:lnTo>
                      <a:pt x="451" y="78"/>
                    </a:lnTo>
                    <a:lnTo>
                      <a:pt x="451" y="78"/>
                    </a:lnTo>
                    <a:lnTo>
                      <a:pt x="454" y="80"/>
                    </a:lnTo>
                    <a:lnTo>
                      <a:pt x="454" y="80"/>
                    </a:lnTo>
                    <a:lnTo>
                      <a:pt x="456" y="80"/>
                    </a:lnTo>
                    <a:lnTo>
                      <a:pt x="456" y="80"/>
                    </a:lnTo>
                    <a:lnTo>
                      <a:pt x="457" y="78"/>
                    </a:lnTo>
                    <a:lnTo>
                      <a:pt x="457" y="78"/>
                    </a:lnTo>
                    <a:lnTo>
                      <a:pt x="459" y="75"/>
                    </a:lnTo>
                    <a:lnTo>
                      <a:pt x="459" y="75"/>
                    </a:lnTo>
                    <a:lnTo>
                      <a:pt x="462" y="75"/>
                    </a:lnTo>
                    <a:lnTo>
                      <a:pt x="462" y="75"/>
                    </a:lnTo>
                    <a:lnTo>
                      <a:pt x="470" y="77"/>
                    </a:lnTo>
                    <a:lnTo>
                      <a:pt x="470" y="77"/>
                    </a:lnTo>
                    <a:lnTo>
                      <a:pt x="470" y="77"/>
                    </a:lnTo>
                    <a:lnTo>
                      <a:pt x="478" y="81"/>
                    </a:lnTo>
                    <a:lnTo>
                      <a:pt x="478" y="81"/>
                    </a:lnTo>
                    <a:lnTo>
                      <a:pt x="486" y="86"/>
                    </a:lnTo>
                    <a:lnTo>
                      <a:pt x="486" y="86"/>
                    </a:lnTo>
                    <a:lnTo>
                      <a:pt x="491" y="91"/>
                    </a:lnTo>
                    <a:lnTo>
                      <a:pt x="491" y="91"/>
                    </a:lnTo>
                    <a:lnTo>
                      <a:pt x="492" y="92"/>
                    </a:lnTo>
                    <a:lnTo>
                      <a:pt x="492" y="92"/>
                    </a:lnTo>
                    <a:lnTo>
                      <a:pt x="491" y="96"/>
                    </a:lnTo>
                    <a:lnTo>
                      <a:pt x="491" y="96"/>
                    </a:lnTo>
                    <a:lnTo>
                      <a:pt x="486" y="96"/>
                    </a:lnTo>
                    <a:lnTo>
                      <a:pt x="486" y="96"/>
                    </a:lnTo>
                    <a:lnTo>
                      <a:pt x="483" y="92"/>
                    </a:lnTo>
                    <a:lnTo>
                      <a:pt x="483" y="92"/>
                    </a:lnTo>
                    <a:lnTo>
                      <a:pt x="480" y="92"/>
                    </a:lnTo>
                    <a:lnTo>
                      <a:pt x="480" y="92"/>
                    </a:lnTo>
                    <a:lnTo>
                      <a:pt x="480" y="92"/>
                    </a:lnTo>
                    <a:lnTo>
                      <a:pt x="480" y="92"/>
                    </a:lnTo>
                    <a:lnTo>
                      <a:pt x="476" y="92"/>
                    </a:lnTo>
                    <a:lnTo>
                      <a:pt x="476" y="92"/>
                    </a:lnTo>
                    <a:lnTo>
                      <a:pt x="473" y="96"/>
                    </a:lnTo>
                    <a:lnTo>
                      <a:pt x="473" y="96"/>
                    </a:lnTo>
                    <a:lnTo>
                      <a:pt x="470" y="96"/>
                    </a:lnTo>
                    <a:lnTo>
                      <a:pt x="470" y="96"/>
                    </a:lnTo>
                    <a:lnTo>
                      <a:pt x="468" y="96"/>
                    </a:lnTo>
                    <a:lnTo>
                      <a:pt x="468" y="96"/>
                    </a:lnTo>
                    <a:lnTo>
                      <a:pt x="467" y="96"/>
                    </a:lnTo>
                    <a:lnTo>
                      <a:pt x="467" y="96"/>
                    </a:lnTo>
                    <a:lnTo>
                      <a:pt x="465" y="96"/>
                    </a:lnTo>
                    <a:lnTo>
                      <a:pt x="465" y="96"/>
                    </a:lnTo>
                    <a:lnTo>
                      <a:pt x="465" y="99"/>
                    </a:lnTo>
                    <a:lnTo>
                      <a:pt x="465" y="99"/>
                    </a:lnTo>
                    <a:lnTo>
                      <a:pt x="464" y="99"/>
                    </a:lnTo>
                    <a:lnTo>
                      <a:pt x="464" y="99"/>
                    </a:lnTo>
                    <a:lnTo>
                      <a:pt x="461" y="99"/>
                    </a:lnTo>
                    <a:lnTo>
                      <a:pt x="461" y="99"/>
                    </a:lnTo>
                    <a:lnTo>
                      <a:pt x="459" y="99"/>
                    </a:lnTo>
                    <a:lnTo>
                      <a:pt x="459" y="99"/>
                    </a:lnTo>
                    <a:lnTo>
                      <a:pt x="457" y="102"/>
                    </a:lnTo>
                    <a:lnTo>
                      <a:pt x="457" y="102"/>
                    </a:lnTo>
                    <a:lnTo>
                      <a:pt x="456" y="105"/>
                    </a:lnTo>
                    <a:lnTo>
                      <a:pt x="456" y="105"/>
                    </a:lnTo>
                    <a:lnTo>
                      <a:pt x="457" y="107"/>
                    </a:lnTo>
                    <a:lnTo>
                      <a:pt x="457" y="107"/>
                    </a:lnTo>
                    <a:lnTo>
                      <a:pt x="454" y="112"/>
                    </a:lnTo>
                    <a:lnTo>
                      <a:pt x="454" y="112"/>
                    </a:lnTo>
                    <a:lnTo>
                      <a:pt x="451" y="113"/>
                    </a:lnTo>
                    <a:lnTo>
                      <a:pt x="451" y="113"/>
                    </a:lnTo>
                    <a:lnTo>
                      <a:pt x="448" y="113"/>
                    </a:lnTo>
                    <a:lnTo>
                      <a:pt x="448" y="113"/>
                    </a:lnTo>
                    <a:lnTo>
                      <a:pt x="445" y="112"/>
                    </a:lnTo>
                    <a:lnTo>
                      <a:pt x="445" y="112"/>
                    </a:lnTo>
                    <a:lnTo>
                      <a:pt x="443" y="112"/>
                    </a:lnTo>
                    <a:lnTo>
                      <a:pt x="443" y="112"/>
                    </a:lnTo>
                    <a:lnTo>
                      <a:pt x="443" y="113"/>
                    </a:lnTo>
                    <a:lnTo>
                      <a:pt x="443" y="113"/>
                    </a:lnTo>
                    <a:lnTo>
                      <a:pt x="441" y="116"/>
                    </a:lnTo>
                    <a:lnTo>
                      <a:pt x="441" y="116"/>
                    </a:lnTo>
                    <a:lnTo>
                      <a:pt x="440" y="118"/>
                    </a:lnTo>
                    <a:lnTo>
                      <a:pt x="440" y="118"/>
                    </a:lnTo>
                    <a:lnTo>
                      <a:pt x="437" y="121"/>
                    </a:lnTo>
                    <a:lnTo>
                      <a:pt x="437" y="121"/>
                    </a:lnTo>
                    <a:lnTo>
                      <a:pt x="435" y="123"/>
                    </a:lnTo>
                    <a:lnTo>
                      <a:pt x="435" y="123"/>
                    </a:lnTo>
                    <a:lnTo>
                      <a:pt x="427" y="121"/>
                    </a:lnTo>
                    <a:lnTo>
                      <a:pt x="427" y="121"/>
                    </a:lnTo>
                    <a:lnTo>
                      <a:pt x="421" y="118"/>
                    </a:lnTo>
                    <a:lnTo>
                      <a:pt x="421" y="118"/>
                    </a:lnTo>
                    <a:lnTo>
                      <a:pt x="418" y="116"/>
                    </a:lnTo>
                    <a:lnTo>
                      <a:pt x="418" y="116"/>
                    </a:lnTo>
                    <a:lnTo>
                      <a:pt x="414" y="118"/>
                    </a:lnTo>
                    <a:lnTo>
                      <a:pt x="414" y="118"/>
                    </a:lnTo>
                    <a:lnTo>
                      <a:pt x="413" y="121"/>
                    </a:lnTo>
                    <a:lnTo>
                      <a:pt x="413" y="121"/>
                    </a:lnTo>
                    <a:lnTo>
                      <a:pt x="413" y="124"/>
                    </a:lnTo>
                    <a:lnTo>
                      <a:pt x="413" y="124"/>
                    </a:lnTo>
                    <a:lnTo>
                      <a:pt x="413" y="127"/>
                    </a:lnTo>
                    <a:lnTo>
                      <a:pt x="413" y="127"/>
                    </a:lnTo>
                    <a:lnTo>
                      <a:pt x="414" y="127"/>
                    </a:lnTo>
                    <a:lnTo>
                      <a:pt x="414" y="127"/>
                    </a:lnTo>
                    <a:lnTo>
                      <a:pt x="416" y="127"/>
                    </a:lnTo>
                    <a:lnTo>
                      <a:pt x="416" y="127"/>
                    </a:lnTo>
                    <a:lnTo>
                      <a:pt x="421" y="132"/>
                    </a:lnTo>
                    <a:lnTo>
                      <a:pt x="421" y="132"/>
                    </a:lnTo>
                    <a:lnTo>
                      <a:pt x="424" y="135"/>
                    </a:lnTo>
                    <a:lnTo>
                      <a:pt x="424" y="135"/>
                    </a:lnTo>
                    <a:lnTo>
                      <a:pt x="422" y="137"/>
                    </a:lnTo>
                    <a:lnTo>
                      <a:pt x="422" y="137"/>
                    </a:lnTo>
                    <a:lnTo>
                      <a:pt x="419" y="140"/>
                    </a:lnTo>
                    <a:lnTo>
                      <a:pt x="419" y="140"/>
                    </a:lnTo>
                    <a:lnTo>
                      <a:pt x="418" y="142"/>
                    </a:lnTo>
                    <a:lnTo>
                      <a:pt x="418" y="142"/>
                    </a:lnTo>
                    <a:lnTo>
                      <a:pt x="416" y="143"/>
                    </a:lnTo>
                    <a:lnTo>
                      <a:pt x="416" y="143"/>
                    </a:lnTo>
                    <a:lnTo>
                      <a:pt x="414" y="148"/>
                    </a:lnTo>
                    <a:lnTo>
                      <a:pt x="414" y="148"/>
                    </a:lnTo>
                    <a:lnTo>
                      <a:pt x="411" y="151"/>
                    </a:lnTo>
                    <a:lnTo>
                      <a:pt x="411" y="151"/>
                    </a:lnTo>
                    <a:lnTo>
                      <a:pt x="405" y="154"/>
                    </a:lnTo>
                    <a:lnTo>
                      <a:pt x="405" y="154"/>
                    </a:lnTo>
                    <a:lnTo>
                      <a:pt x="400" y="154"/>
                    </a:lnTo>
                    <a:lnTo>
                      <a:pt x="400" y="154"/>
                    </a:lnTo>
                    <a:lnTo>
                      <a:pt x="395" y="154"/>
                    </a:lnTo>
                    <a:lnTo>
                      <a:pt x="395" y="154"/>
                    </a:lnTo>
                    <a:lnTo>
                      <a:pt x="386" y="154"/>
                    </a:lnTo>
                    <a:lnTo>
                      <a:pt x="386" y="154"/>
                    </a:lnTo>
                    <a:lnTo>
                      <a:pt x="376" y="158"/>
                    </a:lnTo>
                    <a:lnTo>
                      <a:pt x="376" y="158"/>
                    </a:lnTo>
                    <a:lnTo>
                      <a:pt x="367" y="161"/>
                    </a:lnTo>
                    <a:lnTo>
                      <a:pt x="367" y="161"/>
                    </a:lnTo>
                    <a:lnTo>
                      <a:pt x="360" y="164"/>
                    </a:lnTo>
                    <a:lnTo>
                      <a:pt x="360" y="164"/>
                    </a:lnTo>
                    <a:lnTo>
                      <a:pt x="357" y="165"/>
                    </a:lnTo>
                    <a:lnTo>
                      <a:pt x="357" y="165"/>
                    </a:lnTo>
                    <a:lnTo>
                      <a:pt x="354" y="165"/>
                    </a:lnTo>
                    <a:lnTo>
                      <a:pt x="354" y="165"/>
                    </a:lnTo>
                    <a:lnTo>
                      <a:pt x="354" y="165"/>
                    </a:lnTo>
                    <a:lnTo>
                      <a:pt x="354" y="165"/>
                    </a:lnTo>
                    <a:lnTo>
                      <a:pt x="351" y="164"/>
                    </a:lnTo>
                    <a:lnTo>
                      <a:pt x="351" y="164"/>
                    </a:lnTo>
                    <a:lnTo>
                      <a:pt x="349" y="162"/>
                    </a:lnTo>
                    <a:lnTo>
                      <a:pt x="349" y="162"/>
                    </a:lnTo>
                    <a:lnTo>
                      <a:pt x="345" y="162"/>
                    </a:lnTo>
                    <a:lnTo>
                      <a:pt x="345" y="162"/>
                    </a:lnTo>
                    <a:lnTo>
                      <a:pt x="340" y="162"/>
                    </a:lnTo>
                    <a:lnTo>
                      <a:pt x="340" y="162"/>
                    </a:lnTo>
                    <a:lnTo>
                      <a:pt x="335" y="162"/>
                    </a:lnTo>
                    <a:lnTo>
                      <a:pt x="335" y="162"/>
                    </a:lnTo>
                    <a:lnTo>
                      <a:pt x="326" y="161"/>
                    </a:lnTo>
                    <a:lnTo>
                      <a:pt x="326" y="161"/>
                    </a:lnTo>
                    <a:lnTo>
                      <a:pt x="319" y="158"/>
                    </a:lnTo>
                    <a:lnTo>
                      <a:pt x="319" y="158"/>
                    </a:lnTo>
                    <a:lnTo>
                      <a:pt x="316" y="154"/>
                    </a:lnTo>
                    <a:lnTo>
                      <a:pt x="316" y="154"/>
                    </a:lnTo>
                    <a:lnTo>
                      <a:pt x="311" y="151"/>
                    </a:lnTo>
                    <a:lnTo>
                      <a:pt x="311" y="151"/>
                    </a:lnTo>
                    <a:lnTo>
                      <a:pt x="302" y="151"/>
                    </a:lnTo>
                    <a:lnTo>
                      <a:pt x="302" y="151"/>
                    </a:lnTo>
                    <a:lnTo>
                      <a:pt x="295" y="151"/>
                    </a:lnTo>
                    <a:lnTo>
                      <a:pt x="295" y="151"/>
                    </a:lnTo>
                    <a:lnTo>
                      <a:pt x="292" y="151"/>
                    </a:lnTo>
                    <a:lnTo>
                      <a:pt x="292" y="151"/>
                    </a:lnTo>
                    <a:lnTo>
                      <a:pt x="287" y="151"/>
                    </a:lnTo>
                    <a:lnTo>
                      <a:pt x="287" y="151"/>
                    </a:lnTo>
                    <a:lnTo>
                      <a:pt x="281" y="151"/>
                    </a:lnTo>
                    <a:lnTo>
                      <a:pt x="281" y="151"/>
                    </a:lnTo>
                    <a:lnTo>
                      <a:pt x="276" y="151"/>
                    </a:lnTo>
                    <a:lnTo>
                      <a:pt x="276" y="151"/>
                    </a:lnTo>
                    <a:lnTo>
                      <a:pt x="267" y="151"/>
                    </a:lnTo>
                    <a:lnTo>
                      <a:pt x="267" y="151"/>
                    </a:lnTo>
                    <a:lnTo>
                      <a:pt x="257" y="150"/>
                    </a:lnTo>
                    <a:lnTo>
                      <a:pt x="257" y="150"/>
                    </a:lnTo>
                    <a:lnTo>
                      <a:pt x="254" y="151"/>
                    </a:lnTo>
                    <a:lnTo>
                      <a:pt x="254" y="151"/>
                    </a:lnTo>
                    <a:lnTo>
                      <a:pt x="251" y="150"/>
                    </a:lnTo>
                    <a:lnTo>
                      <a:pt x="251" y="150"/>
                    </a:lnTo>
                    <a:lnTo>
                      <a:pt x="249" y="148"/>
                    </a:lnTo>
                    <a:lnTo>
                      <a:pt x="249" y="148"/>
                    </a:lnTo>
                    <a:lnTo>
                      <a:pt x="246" y="145"/>
                    </a:lnTo>
                    <a:lnTo>
                      <a:pt x="246" y="145"/>
                    </a:lnTo>
                    <a:lnTo>
                      <a:pt x="243" y="143"/>
                    </a:lnTo>
                    <a:lnTo>
                      <a:pt x="243" y="143"/>
                    </a:lnTo>
                    <a:lnTo>
                      <a:pt x="240" y="140"/>
                    </a:lnTo>
                    <a:lnTo>
                      <a:pt x="240" y="140"/>
                    </a:lnTo>
                    <a:lnTo>
                      <a:pt x="235" y="134"/>
                    </a:lnTo>
                    <a:lnTo>
                      <a:pt x="235" y="134"/>
                    </a:lnTo>
                    <a:lnTo>
                      <a:pt x="232" y="132"/>
                    </a:lnTo>
                    <a:lnTo>
                      <a:pt x="232" y="132"/>
                    </a:lnTo>
                    <a:lnTo>
                      <a:pt x="232" y="131"/>
                    </a:lnTo>
                    <a:lnTo>
                      <a:pt x="232" y="131"/>
                    </a:lnTo>
                    <a:lnTo>
                      <a:pt x="229" y="127"/>
                    </a:lnTo>
                    <a:lnTo>
                      <a:pt x="229" y="127"/>
                    </a:lnTo>
                    <a:lnTo>
                      <a:pt x="229" y="127"/>
                    </a:lnTo>
                    <a:lnTo>
                      <a:pt x="229" y="127"/>
                    </a:lnTo>
                    <a:lnTo>
                      <a:pt x="224" y="127"/>
                    </a:lnTo>
                    <a:lnTo>
                      <a:pt x="224" y="127"/>
                    </a:lnTo>
                    <a:lnTo>
                      <a:pt x="216" y="124"/>
                    </a:lnTo>
                    <a:lnTo>
                      <a:pt x="216" y="124"/>
                    </a:lnTo>
                    <a:lnTo>
                      <a:pt x="211" y="123"/>
                    </a:lnTo>
                    <a:lnTo>
                      <a:pt x="211" y="123"/>
                    </a:lnTo>
                    <a:lnTo>
                      <a:pt x="208" y="121"/>
                    </a:lnTo>
                    <a:lnTo>
                      <a:pt x="208" y="121"/>
                    </a:lnTo>
                    <a:lnTo>
                      <a:pt x="206" y="119"/>
                    </a:lnTo>
                    <a:lnTo>
                      <a:pt x="206" y="119"/>
                    </a:lnTo>
                    <a:lnTo>
                      <a:pt x="200" y="118"/>
                    </a:lnTo>
                    <a:lnTo>
                      <a:pt x="200" y="118"/>
                    </a:lnTo>
                    <a:lnTo>
                      <a:pt x="192" y="118"/>
                    </a:lnTo>
                    <a:lnTo>
                      <a:pt x="192" y="118"/>
                    </a:lnTo>
                    <a:lnTo>
                      <a:pt x="178" y="116"/>
                    </a:lnTo>
                    <a:lnTo>
                      <a:pt x="178" y="116"/>
                    </a:lnTo>
                    <a:lnTo>
                      <a:pt x="172" y="113"/>
                    </a:lnTo>
                    <a:lnTo>
                      <a:pt x="172" y="113"/>
                    </a:lnTo>
                    <a:lnTo>
                      <a:pt x="172" y="112"/>
                    </a:lnTo>
                    <a:lnTo>
                      <a:pt x="172" y="112"/>
                    </a:lnTo>
                    <a:lnTo>
                      <a:pt x="168" y="108"/>
                    </a:lnTo>
                    <a:lnTo>
                      <a:pt x="168" y="108"/>
                    </a:lnTo>
                    <a:lnTo>
                      <a:pt x="168" y="105"/>
                    </a:lnTo>
                    <a:lnTo>
                      <a:pt x="168" y="105"/>
                    </a:lnTo>
                    <a:lnTo>
                      <a:pt x="172" y="105"/>
                    </a:lnTo>
                    <a:lnTo>
                      <a:pt x="172" y="105"/>
                    </a:lnTo>
                    <a:lnTo>
                      <a:pt x="168" y="102"/>
                    </a:lnTo>
                    <a:lnTo>
                      <a:pt x="168" y="102"/>
                    </a:lnTo>
                    <a:lnTo>
                      <a:pt x="168" y="99"/>
                    </a:lnTo>
                    <a:lnTo>
                      <a:pt x="168" y="99"/>
                    </a:lnTo>
                    <a:lnTo>
                      <a:pt x="168" y="96"/>
                    </a:lnTo>
                    <a:lnTo>
                      <a:pt x="168" y="96"/>
                    </a:lnTo>
                    <a:lnTo>
                      <a:pt x="165" y="91"/>
                    </a:lnTo>
                    <a:lnTo>
                      <a:pt x="165" y="91"/>
                    </a:lnTo>
                    <a:lnTo>
                      <a:pt x="160" y="88"/>
                    </a:lnTo>
                    <a:lnTo>
                      <a:pt x="160" y="88"/>
                    </a:lnTo>
                    <a:lnTo>
                      <a:pt x="157" y="85"/>
                    </a:lnTo>
                    <a:lnTo>
                      <a:pt x="157" y="85"/>
                    </a:lnTo>
                    <a:lnTo>
                      <a:pt x="154" y="81"/>
                    </a:lnTo>
                    <a:lnTo>
                      <a:pt x="154" y="81"/>
                    </a:lnTo>
                    <a:lnTo>
                      <a:pt x="149" y="78"/>
                    </a:lnTo>
                    <a:lnTo>
                      <a:pt x="149" y="78"/>
                    </a:lnTo>
                    <a:lnTo>
                      <a:pt x="148" y="77"/>
                    </a:lnTo>
                    <a:lnTo>
                      <a:pt x="148" y="77"/>
                    </a:lnTo>
                    <a:lnTo>
                      <a:pt x="148" y="78"/>
                    </a:lnTo>
                    <a:lnTo>
                      <a:pt x="148" y="78"/>
                    </a:lnTo>
                    <a:lnTo>
                      <a:pt x="145" y="77"/>
                    </a:lnTo>
                    <a:lnTo>
                      <a:pt x="145" y="77"/>
                    </a:lnTo>
                    <a:lnTo>
                      <a:pt x="141" y="75"/>
                    </a:lnTo>
                    <a:lnTo>
                      <a:pt x="141" y="75"/>
                    </a:lnTo>
                    <a:lnTo>
                      <a:pt x="138" y="75"/>
                    </a:lnTo>
                    <a:lnTo>
                      <a:pt x="138" y="75"/>
                    </a:lnTo>
                    <a:lnTo>
                      <a:pt x="135" y="75"/>
                    </a:lnTo>
                    <a:lnTo>
                      <a:pt x="135" y="75"/>
                    </a:lnTo>
                    <a:lnTo>
                      <a:pt x="132" y="72"/>
                    </a:lnTo>
                    <a:lnTo>
                      <a:pt x="132" y="72"/>
                    </a:lnTo>
                    <a:lnTo>
                      <a:pt x="129" y="70"/>
                    </a:lnTo>
                    <a:lnTo>
                      <a:pt x="129" y="70"/>
                    </a:lnTo>
                    <a:lnTo>
                      <a:pt x="126" y="70"/>
                    </a:lnTo>
                    <a:lnTo>
                      <a:pt x="126" y="70"/>
                    </a:lnTo>
                    <a:lnTo>
                      <a:pt x="122" y="67"/>
                    </a:lnTo>
                    <a:lnTo>
                      <a:pt x="122" y="67"/>
                    </a:lnTo>
                    <a:lnTo>
                      <a:pt x="122" y="67"/>
                    </a:lnTo>
                    <a:lnTo>
                      <a:pt x="122" y="67"/>
                    </a:lnTo>
                    <a:lnTo>
                      <a:pt x="119" y="64"/>
                    </a:lnTo>
                    <a:lnTo>
                      <a:pt x="119" y="64"/>
                    </a:lnTo>
                    <a:lnTo>
                      <a:pt x="118" y="64"/>
                    </a:lnTo>
                    <a:lnTo>
                      <a:pt x="118" y="64"/>
                    </a:lnTo>
                    <a:lnTo>
                      <a:pt x="118" y="61"/>
                    </a:lnTo>
                    <a:lnTo>
                      <a:pt x="118" y="61"/>
                    </a:lnTo>
                    <a:lnTo>
                      <a:pt x="118" y="61"/>
                    </a:lnTo>
                    <a:lnTo>
                      <a:pt x="118" y="61"/>
                    </a:lnTo>
                    <a:lnTo>
                      <a:pt x="118" y="59"/>
                    </a:lnTo>
                    <a:lnTo>
                      <a:pt x="118" y="59"/>
                    </a:lnTo>
                    <a:lnTo>
                      <a:pt x="116" y="61"/>
                    </a:lnTo>
                    <a:lnTo>
                      <a:pt x="116" y="61"/>
                    </a:lnTo>
                    <a:lnTo>
                      <a:pt x="113" y="61"/>
                    </a:lnTo>
                    <a:lnTo>
                      <a:pt x="113" y="61"/>
                    </a:lnTo>
                    <a:lnTo>
                      <a:pt x="106" y="61"/>
                    </a:lnTo>
                    <a:lnTo>
                      <a:pt x="106" y="61"/>
                    </a:lnTo>
                    <a:lnTo>
                      <a:pt x="106" y="61"/>
                    </a:lnTo>
                    <a:lnTo>
                      <a:pt x="106" y="61"/>
                    </a:lnTo>
                    <a:lnTo>
                      <a:pt x="106" y="64"/>
                    </a:lnTo>
                    <a:lnTo>
                      <a:pt x="106" y="64"/>
                    </a:lnTo>
                    <a:lnTo>
                      <a:pt x="106" y="67"/>
                    </a:lnTo>
                    <a:lnTo>
                      <a:pt x="106" y="67"/>
                    </a:lnTo>
                    <a:lnTo>
                      <a:pt x="103" y="70"/>
                    </a:lnTo>
                    <a:lnTo>
                      <a:pt x="103" y="70"/>
                    </a:lnTo>
                    <a:lnTo>
                      <a:pt x="102" y="70"/>
                    </a:lnTo>
                    <a:lnTo>
                      <a:pt x="102" y="70"/>
                    </a:lnTo>
                    <a:lnTo>
                      <a:pt x="100" y="70"/>
                    </a:lnTo>
                    <a:lnTo>
                      <a:pt x="100" y="70"/>
                    </a:lnTo>
                    <a:lnTo>
                      <a:pt x="99" y="72"/>
                    </a:lnTo>
                    <a:lnTo>
                      <a:pt x="99" y="72"/>
                    </a:lnTo>
                    <a:lnTo>
                      <a:pt x="99" y="75"/>
                    </a:lnTo>
                    <a:lnTo>
                      <a:pt x="99" y="75"/>
                    </a:lnTo>
                    <a:lnTo>
                      <a:pt x="100" y="78"/>
                    </a:lnTo>
                    <a:lnTo>
                      <a:pt x="100" y="78"/>
                    </a:lnTo>
                    <a:lnTo>
                      <a:pt x="103" y="85"/>
                    </a:lnTo>
                    <a:lnTo>
                      <a:pt x="103" y="85"/>
                    </a:lnTo>
                    <a:lnTo>
                      <a:pt x="103" y="88"/>
                    </a:lnTo>
                    <a:lnTo>
                      <a:pt x="103" y="88"/>
                    </a:lnTo>
                    <a:lnTo>
                      <a:pt x="103" y="89"/>
                    </a:lnTo>
                    <a:lnTo>
                      <a:pt x="103" y="89"/>
                    </a:lnTo>
                    <a:lnTo>
                      <a:pt x="100" y="91"/>
                    </a:lnTo>
                    <a:lnTo>
                      <a:pt x="100" y="91"/>
                    </a:lnTo>
                    <a:lnTo>
                      <a:pt x="97" y="92"/>
                    </a:lnTo>
                    <a:lnTo>
                      <a:pt x="97" y="92"/>
                    </a:lnTo>
                    <a:lnTo>
                      <a:pt x="95" y="91"/>
                    </a:lnTo>
                    <a:lnTo>
                      <a:pt x="95" y="91"/>
                    </a:lnTo>
                    <a:lnTo>
                      <a:pt x="92" y="91"/>
                    </a:lnTo>
                    <a:lnTo>
                      <a:pt x="92" y="91"/>
                    </a:lnTo>
                    <a:lnTo>
                      <a:pt x="87" y="91"/>
                    </a:lnTo>
                    <a:lnTo>
                      <a:pt x="87" y="91"/>
                    </a:lnTo>
                    <a:lnTo>
                      <a:pt x="81" y="89"/>
                    </a:lnTo>
                    <a:lnTo>
                      <a:pt x="81" y="89"/>
                    </a:lnTo>
                    <a:lnTo>
                      <a:pt x="78" y="88"/>
                    </a:lnTo>
                    <a:lnTo>
                      <a:pt x="78" y="88"/>
                    </a:lnTo>
                    <a:lnTo>
                      <a:pt x="75" y="88"/>
                    </a:lnTo>
                    <a:lnTo>
                      <a:pt x="75" y="88"/>
                    </a:lnTo>
                    <a:lnTo>
                      <a:pt x="75" y="91"/>
                    </a:lnTo>
                    <a:lnTo>
                      <a:pt x="75" y="91"/>
                    </a:lnTo>
                    <a:lnTo>
                      <a:pt x="75" y="92"/>
                    </a:lnTo>
                    <a:lnTo>
                      <a:pt x="75" y="92"/>
                    </a:lnTo>
                    <a:lnTo>
                      <a:pt x="75" y="96"/>
                    </a:lnTo>
                    <a:lnTo>
                      <a:pt x="75" y="96"/>
                    </a:lnTo>
                    <a:lnTo>
                      <a:pt x="75" y="102"/>
                    </a:lnTo>
                    <a:lnTo>
                      <a:pt x="75" y="102"/>
                    </a:lnTo>
                    <a:lnTo>
                      <a:pt x="75" y="108"/>
                    </a:lnTo>
                    <a:lnTo>
                      <a:pt x="75" y="108"/>
                    </a:lnTo>
                    <a:lnTo>
                      <a:pt x="75" y="110"/>
                    </a:lnTo>
                    <a:lnTo>
                      <a:pt x="75" y="110"/>
                    </a:lnTo>
                    <a:lnTo>
                      <a:pt x="78" y="112"/>
                    </a:lnTo>
                    <a:lnTo>
                      <a:pt x="78" y="112"/>
                    </a:lnTo>
                    <a:lnTo>
                      <a:pt x="78" y="113"/>
                    </a:lnTo>
                    <a:lnTo>
                      <a:pt x="78" y="113"/>
                    </a:lnTo>
                    <a:lnTo>
                      <a:pt x="81" y="115"/>
                    </a:lnTo>
                    <a:lnTo>
                      <a:pt x="81" y="115"/>
                    </a:lnTo>
                    <a:lnTo>
                      <a:pt x="78" y="116"/>
                    </a:lnTo>
                    <a:lnTo>
                      <a:pt x="78" y="116"/>
                    </a:lnTo>
                    <a:lnTo>
                      <a:pt x="78" y="116"/>
                    </a:lnTo>
                    <a:lnTo>
                      <a:pt x="78" y="116"/>
                    </a:lnTo>
                    <a:lnTo>
                      <a:pt x="75" y="116"/>
                    </a:lnTo>
                    <a:lnTo>
                      <a:pt x="75" y="116"/>
                    </a:lnTo>
                    <a:lnTo>
                      <a:pt x="72" y="116"/>
                    </a:lnTo>
                    <a:lnTo>
                      <a:pt x="72" y="116"/>
                    </a:lnTo>
                    <a:lnTo>
                      <a:pt x="70" y="115"/>
                    </a:lnTo>
                    <a:lnTo>
                      <a:pt x="70" y="115"/>
                    </a:lnTo>
                    <a:lnTo>
                      <a:pt x="67" y="115"/>
                    </a:lnTo>
                    <a:lnTo>
                      <a:pt x="67" y="115"/>
                    </a:lnTo>
                    <a:lnTo>
                      <a:pt x="60" y="116"/>
                    </a:lnTo>
                    <a:lnTo>
                      <a:pt x="60" y="116"/>
                    </a:lnTo>
                    <a:lnTo>
                      <a:pt x="54" y="118"/>
                    </a:lnTo>
                    <a:lnTo>
                      <a:pt x="54" y="118"/>
                    </a:lnTo>
                    <a:lnTo>
                      <a:pt x="52" y="118"/>
                    </a:lnTo>
                    <a:lnTo>
                      <a:pt x="52" y="118"/>
                    </a:lnTo>
                    <a:lnTo>
                      <a:pt x="51" y="119"/>
                    </a:lnTo>
                    <a:lnTo>
                      <a:pt x="51" y="119"/>
                    </a:lnTo>
                    <a:lnTo>
                      <a:pt x="51" y="121"/>
                    </a:lnTo>
                    <a:lnTo>
                      <a:pt x="51" y="121"/>
                    </a:lnTo>
                    <a:lnTo>
                      <a:pt x="54" y="121"/>
                    </a:lnTo>
                    <a:lnTo>
                      <a:pt x="54" y="121"/>
                    </a:lnTo>
                    <a:lnTo>
                      <a:pt x="57" y="121"/>
                    </a:lnTo>
                    <a:lnTo>
                      <a:pt x="57" y="121"/>
                    </a:lnTo>
                    <a:lnTo>
                      <a:pt x="57" y="123"/>
                    </a:lnTo>
                    <a:lnTo>
                      <a:pt x="57" y="123"/>
                    </a:lnTo>
                    <a:lnTo>
                      <a:pt x="59" y="127"/>
                    </a:lnTo>
                    <a:lnTo>
                      <a:pt x="59" y="127"/>
                    </a:lnTo>
                    <a:lnTo>
                      <a:pt x="60" y="131"/>
                    </a:lnTo>
                    <a:lnTo>
                      <a:pt x="60" y="131"/>
                    </a:lnTo>
                    <a:lnTo>
                      <a:pt x="64" y="134"/>
                    </a:lnTo>
                    <a:lnTo>
                      <a:pt x="64" y="134"/>
                    </a:lnTo>
                    <a:lnTo>
                      <a:pt x="65" y="137"/>
                    </a:lnTo>
                    <a:lnTo>
                      <a:pt x="65" y="137"/>
                    </a:lnTo>
                    <a:lnTo>
                      <a:pt x="67" y="140"/>
                    </a:lnTo>
                    <a:lnTo>
                      <a:pt x="67" y="140"/>
                    </a:lnTo>
                    <a:lnTo>
                      <a:pt x="68" y="143"/>
                    </a:lnTo>
                    <a:lnTo>
                      <a:pt x="68" y="143"/>
                    </a:lnTo>
                    <a:lnTo>
                      <a:pt x="70" y="143"/>
                    </a:lnTo>
                    <a:lnTo>
                      <a:pt x="70" y="143"/>
                    </a:lnTo>
                    <a:lnTo>
                      <a:pt x="68" y="145"/>
                    </a:lnTo>
                    <a:lnTo>
                      <a:pt x="68" y="145"/>
                    </a:lnTo>
                    <a:lnTo>
                      <a:pt x="67" y="145"/>
                    </a:lnTo>
                    <a:lnTo>
                      <a:pt x="67" y="145"/>
                    </a:lnTo>
                    <a:lnTo>
                      <a:pt x="65" y="146"/>
                    </a:lnTo>
                    <a:lnTo>
                      <a:pt x="65" y="146"/>
                    </a:lnTo>
                    <a:lnTo>
                      <a:pt x="68" y="148"/>
                    </a:lnTo>
                    <a:lnTo>
                      <a:pt x="68" y="148"/>
                    </a:lnTo>
                    <a:lnTo>
                      <a:pt x="65" y="150"/>
                    </a:lnTo>
                    <a:lnTo>
                      <a:pt x="65" y="150"/>
                    </a:lnTo>
                    <a:lnTo>
                      <a:pt x="64" y="151"/>
                    </a:lnTo>
                    <a:lnTo>
                      <a:pt x="64" y="151"/>
                    </a:lnTo>
                    <a:lnTo>
                      <a:pt x="65" y="151"/>
                    </a:lnTo>
                    <a:lnTo>
                      <a:pt x="65" y="151"/>
                    </a:lnTo>
                    <a:lnTo>
                      <a:pt x="67" y="154"/>
                    </a:lnTo>
                    <a:lnTo>
                      <a:pt x="67" y="154"/>
                    </a:lnTo>
                    <a:lnTo>
                      <a:pt x="67" y="161"/>
                    </a:lnTo>
                    <a:lnTo>
                      <a:pt x="67" y="161"/>
                    </a:lnTo>
                    <a:lnTo>
                      <a:pt x="62" y="162"/>
                    </a:lnTo>
                    <a:lnTo>
                      <a:pt x="62" y="162"/>
                    </a:lnTo>
                    <a:lnTo>
                      <a:pt x="56" y="165"/>
                    </a:lnTo>
                    <a:lnTo>
                      <a:pt x="56" y="165"/>
                    </a:lnTo>
                    <a:lnTo>
                      <a:pt x="52" y="167"/>
                    </a:lnTo>
                    <a:lnTo>
                      <a:pt x="52" y="167"/>
                    </a:lnTo>
                    <a:lnTo>
                      <a:pt x="51" y="167"/>
                    </a:lnTo>
                    <a:lnTo>
                      <a:pt x="51" y="167"/>
                    </a:lnTo>
                    <a:lnTo>
                      <a:pt x="49" y="169"/>
                    </a:lnTo>
                    <a:lnTo>
                      <a:pt x="49" y="169"/>
                    </a:lnTo>
                    <a:lnTo>
                      <a:pt x="48" y="172"/>
                    </a:lnTo>
                    <a:lnTo>
                      <a:pt x="48" y="172"/>
                    </a:lnTo>
                    <a:lnTo>
                      <a:pt x="48" y="173"/>
                    </a:lnTo>
                    <a:lnTo>
                      <a:pt x="48" y="173"/>
                    </a:lnTo>
                    <a:lnTo>
                      <a:pt x="46" y="175"/>
                    </a:lnTo>
                    <a:lnTo>
                      <a:pt x="46" y="175"/>
                    </a:lnTo>
                    <a:lnTo>
                      <a:pt x="40" y="175"/>
                    </a:lnTo>
                    <a:lnTo>
                      <a:pt x="40" y="175"/>
                    </a:lnTo>
                    <a:lnTo>
                      <a:pt x="35" y="175"/>
                    </a:lnTo>
                    <a:lnTo>
                      <a:pt x="35" y="175"/>
                    </a:lnTo>
                    <a:lnTo>
                      <a:pt x="33" y="175"/>
                    </a:lnTo>
                    <a:lnTo>
                      <a:pt x="33" y="175"/>
                    </a:lnTo>
                    <a:lnTo>
                      <a:pt x="32" y="177"/>
                    </a:lnTo>
                    <a:lnTo>
                      <a:pt x="32" y="177"/>
                    </a:lnTo>
                    <a:lnTo>
                      <a:pt x="32" y="180"/>
                    </a:lnTo>
                    <a:lnTo>
                      <a:pt x="32" y="180"/>
                    </a:lnTo>
                    <a:lnTo>
                      <a:pt x="30" y="183"/>
                    </a:lnTo>
                    <a:lnTo>
                      <a:pt x="30" y="183"/>
                    </a:lnTo>
                    <a:lnTo>
                      <a:pt x="29" y="183"/>
                    </a:lnTo>
                    <a:lnTo>
                      <a:pt x="29" y="183"/>
                    </a:lnTo>
                    <a:lnTo>
                      <a:pt x="24" y="183"/>
                    </a:lnTo>
                    <a:lnTo>
                      <a:pt x="24" y="183"/>
                    </a:lnTo>
                    <a:lnTo>
                      <a:pt x="22" y="183"/>
                    </a:lnTo>
                    <a:lnTo>
                      <a:pt x="22" y="183"/>
                    </a:lnTo>
                    <a:lnTo>
                      <a:pt x="21" y="183"/>
                    </a:lnTo>
                    <a:lnTo>
                      <a:pt x="21" y="183"/>
                    </a:lnTo>
                    <a:lnTo>
                      <a:pt x="19" y="181"/>
                    </a:lnTo>
                    <a:lnTo>
                      <a:pt x="19" y="181"/>
                    </a:lnTo>
                    <a:lnTo>
                      <a:pt x="18" y="181"/>
                    </a:lnTo>
                    <a:lnTo>
                      <a:pt x="18" y="181"/>
                    </a:lnTo>
                    <a:lnTo>
                      <a:pt x="16" y="183"/>
                    </a:lnTo>
                    <a:lnTo>
                      <a:pt x="16" y="183"/>
                    </a:lnTo>
                    <a:lnTo>
                      <a:pt x="13" y="183"/>
                    </a:lnTo>
                    <a:lnTo>
                      <a:pt x="13" y="183"/>
                    </a:lnTo>
                    <a:lnTo>
                      <a:pt x="11" y="183"/>
                    </a:lnTo>
                    <a:lnTo>
                      <a:pt x="11" y="183"/>
                    </a:lnTo>
                    <a:lnTo>
                      <a:pt x="11" y="183"/>
                    </a:lnTo>
                    <a:lnTo>
                      <a:pt x="11" y="183"/>
                    </a:lnTo>
                    <a:lnTo>
                      <a:pt x="8" y="186"/>
                    </a:lnTo>
                    <a:lnTo>
                      <a:pt x="8" y="186"/>
                    </a:lnTo>
                    <a:lnTo>
                      <a:pt x="8" y="186"/>
                    </a:lnTo>
                    <a:lnTo>
                      <a:pt x="8" y="186"/>
                    </a:lnTo>
                    <a:lnTo>
                      <a:pt x="5" y="189"/>
                    </a:lnTo>
                    <a:lnTo>
                      <a:pt x="5" y="189"/>
                    </a:lnTo>
                    <a:lnTo>
                      <a:pt x="3" y="189"/>
                    </a:lnTo>
                    <a:lnTo>
                      <a:pt x="3" y="189"/>
                    </a:lnTo>
                    <a:lnTo>
                      <a:pt x="3" y="192"/>
                    </a:lnTo>
                    <a:lnTo>
                      <a:pt x="3" y="192"/>
                    </a:lnTo>
                    <a:lnTo>
                      <a:pt x="3" y="192"/>
                    </a:lnTo>
                    <a:lnTo>
                      <a:pt x="3" y="192"/>
                    </a:lnTo>
                    <a:lnTo>
                      <a:pt x="5" y="196"/>
                    </a:lnTo>
                    <a:lnTo>
                      <a:pt x="5" y="196"/>
                    </a:lnTo>
                    <a:lnTo>
                      <a:pt x="3" y="196"/>
                    </a:lnTo>
                    <a:lnTo>
                      <a:pt x="3" y="196"/>
                    </a:lnTo>
                    <a:lnTo>
                      <a:pt x="0" y="197"/>
                    </a:lnTo>
                    <a:lnTo>
                      <a:pt x="0" y="197"/>
                    </a:lnTo>
                    <a:lnTo>
                      <a:pt x="2" y="197"/>
                    </a:lnTo>
                    <a:lnTo>
                      <a:pt x="2" y="197"/>
                    </a:lnTo>
                    <a:lnTo>
                      <a:pt x="2" y="200"/>
                    </a:lnTo>
                    <a:lnTo>
                      <a:pt x="2" y="200"/>
                    </a:lnTo>
                    <a:lnTo>
                      <a:pt x="5" y="204"/>
                    </a:lnTo>
                    <a:lnTo>
                      <a:pt x="5" y="204"/>
                    </a:lnTo>
                    <a:lnTo>
                      <a:pt x="5" y="205"/>
                    </a:lnTo>
                    <a:lnTo>
                      <a:pt x="5" y="205"/>
                    </a:lnTo>
                    <a:lnTo>
                      <a:pt x="5" y="207"/>
                    </a:lnTo>
                    <a:lnTo>
                      <a:pt x="5" y="207"/>
                    </a:lnTo>
                    <a:lnTo>
                      <a:pt x="5" y="208"/>
                    </a:lnTo>
                    <a:lnTo>
                      <a:pt x="5" y="208"/>
                    </a:lnTo>
                    <a:lnTo>
                      <a:pt x="8" y="210"/>
                    </a:lnTo>
                    <a:lnTo>
                      <a:pt x="8" y="210"/>
                    </a:lnTo>
                    <a:lnTo>
                      <a:pt x="8" y="210"/>
                    </a:lnTo>
                    <a:lnTo>
                      <a:pt x="8" y="210"/>
                    </a:lnTo>
                    <a:lnTo>
                      <a:pt x="11" y="208"/>
                    </a:lnTo>
                    <a:lnTo>
                      <a:pt x="11" y="208"/>
                    </a:lnTo>
                    <a:lnTo>
                      <a:pt x="13" y="208"/>
                    </a:lnTo>
                    <a:lnTo>
                      <a:pt x="13" y="208"/>
                    </a:lnTo>
                    <a:lnTo>
                      <a:pt x="18" y="210"/>
                    </a:lnTo>
                    <a:lnTo>
                      <a:pt x="18" y="210"/>
                    </a:lnTo>
                    <a:lnTo>
                      <a:pt x="19" y="212"/>
                    </a:lnTo>
                    <a:lnTo>
                      <a:pt x="19" y="212"/>
                    </a:lnTo>
                    <a:lnTo>
                      <a:pt x="19" y="215"/>
                    </a:lnTo>
                    <a:lnTo>
                      <a:pt x="19" y="215"/>
                    </a:lnTo>
                    <a:lnTo>
                      <a:pt x="19" y="215"/>
                    </a:lnTo>
                    <a:lnTo>
                      <a:pt x="19" y="215"/>
                    </a:lnTo>
                    <a:lnTo>
                      <a:pt x="19" y="216"/>
                    </a:lnTo>
                    <a:lnTo>
                      <a:pt x="19" y="216"/>
                    </a:lnTo>
                    <a:lnTo>
                      <a:pt x="21" y="218"/>
                    </a:lnTo>
                    <a:lnTo>
                      <a:pt x="21" y="218"/>
                    </a:lnTo>
                    <a:lnTo>
                      <a:pt x="22" y="218"/>
                    </a:lnTo>
                    <a:lnTo>
                      <a:pt x="22" y="218"/>
                    </a:lnTo>
                    <a:lnTo>
                      <a:pt x="22" y="221"/>
                    </a:lnTo>
                    <a:lnTo>
                      <a:pt x="22" y="221"/>
                    </a:lnTo>
                    <a:lnTo>
                      <a:pt x="22" y="223"/>
                    </a:lnTo>
                    <a:lnTo>
                      <a:pt x="22" y="223"/>
                    </a:lnTo>
                    <a:lnTo>
                      <a:pt x="22" y="224"/>
                    </a:lnTo>
                    <a:lnTo>
                      <a:pt x="22" y="224"/>
                    </a:lnTo>
                    <a:lnTo>
                      <a:pt x="24" y="224"/>
                    </a:lnTo>
                    <a:lnTo>
                      <a:pt x="24" y="224"/>
                    </a:lnTo>
                    <a:lnTo>
                      <a:pt x="25" y="227"/>
                    </a:lnTo>
                    <a:lnTo>
                      <a:pt x="25" y="227"/>
                    </a:lnTo>
                    <a:lnTo>
                      <a:pt x="25" y="227"/>
                    </a:lnTo>
                    <a:lnTo>
                      <a:pt x="25" y="227"/>
                    </a:lnTo>
                    <a:lnTo>
                      <a:pt x="24" y="229"/>
                    </a:lnTo>
                    <a:lnTo>
                      <a:pt x="24" y="229"/>
                    </a:lnTo>
                    <a:lnTo>
                      <a:pt x="21" y="229"/>
                    </a:lnTo>
                    <a:lnTo>
                      <a:pt x="21" y="229"/>
                    </a:lnTo>
                    <a:lnTo>
                      <a:pt x="19" y="229"/>
                    </a:lnTo>
                    <a:lnTo>
                      <a:pt x="19" y="229"/>
                    </a:lnTo>
                    <a:lnTo>
                      <a:pt x="19" y="231"/>
                    </a:lnTo>
                    <a:lnTo>
                      <a:pt x="19" y="231"/>
                    </a:lnTo>
                    <a:lnTo>
                      <a:pt x="19" y="231"/>
                    </a:lnTo>
                    <a:lnTo>
                      <a:pt x="21" y="232"/>
                    </a:lnTo>
                    <a:lnTo>
                      <a:pt x="21" y="232"/>
                    </a:lnTo>
                    <a:lnTo>
                      <a:pt x="24" y="232"/>
                    </a:lnTo>
                    <a:lnTo>
                      <a:pt x="24" y="232"/>
                    </a:lnTo>
                    <a:lnTo>
                      <a:pt x="24" y="234"/>
                    </a:lnTo>
                    <a:lnTo>
                      <a:pt x="24" y="234"/>
                    </a:lnTo>
                    <a:lnTo>
                      <a:pt x="25" y="232"/>
                    </a:lnTo>
                    <a:lnTo>
                      <a:pt x="25" y="232"/>
                    </a:lnTo>
                    <a:lnTo>
                      <a:pt x="29" y="232"/>
                    </a:lnTo>
                    <a:lnTo>
                      <a:pt x="29" y="232"/>
                    </a:lnTo>
                    <a:lnTo>
                      <a:pt x="32" y="235"/>
                    </a:lnTo>
                    <a:lnTo>
                      <a:pt x="32" y="235"/>
                    </a:lnTo>
                    <a:lnTo>
                      <a:pt x="33" y="235"/>
                    </a:lnTo>
                    <a:lnTo>
                      <a:pt x="33" y="235"/>
                    </a:lnTo>
                    <a:lnTo>
                      <a:pt x="37" y="237"/>
                    </a:lnTo>
                    <a:lnTo>
                      <a:pt x="37" y="237"/>
                    </a:lnTo>
                    <a:lnTo>
                      <a:pt x="40" y="242"/>
                    </a:lnTo>
                    <a:lnTo>
                      <a:pt x="40" y="242"/>
                    </a:lnTo>
                    <a:lnTo>
                      <a:pt x="40" y="245"/>
                    </a:lnTo>
                    <a:lnTo>
                      <a:pt x="40" y="245"/>
                    </a:lnTo>
                    <a:lnTo>
                      <a:pt x="43" y="248"/>
                    </a:lnTo>
                    <a:lnTo>
                      <a:pt x="43" y="248"/>
                    </a:lnTo>
                    <a:lnTo>
                      <a:pt x="46" y="248"/>
                    </a:lnTo>
                    <a:lnTo>
                      <a:pt x="46" y="248"/>
                    </a:lnTo>
                    <a:lnTo>
                      <a:pt x="48" y="248"/>
                    </a:lnTo>
                    <a:lnTo>
                      <a:pt x="48" y="248"/>
                    </a:lnTo>
                    <a:lnTo>
                      <a:pt x="48" y="251"/>
                    </a:lnTo>
                    <a:lnTo>
                      <a:pt x="48" y="251"/>
                    </a:lnTo>
                    <a:lnTo>
                      <a:pt x="49" y="251"/>
                    </a:lnTo>
                    <a:lnTo>
                      <a:pt x="49" y="251"/>
                    </a:lnTo>
                    <a:lnTo>
                      <a:pt x="54" y="253"/>
                    </a:lnTo>
                    <a:lnTo>
                      <a:pt x="54" y="253"/>
                    </a:lnTo>
                    <a:lnTo>
                      <a:pt x="60" y="253"/>
                    </a:lnTo>
                    <a:lnTo>
                      <a:pt x="60" y="253"/>
                    </a:lnTo>
                    <a:lnTo>
                      <a:pt x="64" y="253"/>
                    </a:lnTo>
                    <a:lnTo>
                      <a:pt x="64" y="253"/>
                    </a:lnTo>
                    <a:lnTo>
                      <a:pt x="64" y="254"/>
                    </a:lnTo>
                    <a:lnTo>
                      <a:pt x="64" y="254"/>
                    </a:lnTo>
                    <a:lnTo>
                      <a:pt x="65" y="254"/>
                    </a:lnTo>
                    <a:lnTo>
                      <a:pt x="65" y="254"/>
                    </a:lnTo>
                    <a:lnTo>
                      <a:pt x="68" y="258"/>
                    </a:lnTo>
                    <a:lnTo>
                      <a:pt x="68" y="258"/>
                    </a:lnTo>
                    <a:lnTo>
                      <a:pt x="70" y="261"/>
                    </a:lnTo>
                    <a:lnTo>
                      <a:pt x="70" y="261"/>
                    </a:lnTo>
                    <a:lnTo>
                      <a:pt x="72" y="264"/>
                    </a:lnTo>
                    <a:lnTo>
                      <a:pt x="72" y="264"/>
                    </a:lnTo>
                    <a:lnTo>
                      <a:pt x="72" y="266"/>
                    </a:lnTo>
                    <a:lnTo>
                      <a:pt x="72" y="266"/>
                    </a:lnTo>
                    <a:lnTo>
                      <a:pt x="78" y="269"/>
                    </a:lnTo>
                    <a:lnTo>
                      <a:pt x="78" y="269"/>
                    </a:lnTo>
                    <a:lnTo>
                      <a:pt x="81" y="272"/>
                    </a:lnTo>
                    <a:lnTo>
                      <a:pt x="81" y="272"/>
                    </a:lnTo>
                    <a:lnTo>
                      <a:pt x="83" y="272"/>
                    </a:lnTo>
                    <a:lnTo>
                      <a:pt x="83" y="272"/>
                    </a:lnTo>
                    <a:lnTo>
                      <a:pt x="83" y="273"/>
                    </a:lnTo>
                    <a:lnTo>
                      <a:pt x="83" y="273"/>
                    </a:lnTo>
                    <a:lnTo>
                      <a:pt x="81" y="273"/>
                    </a:lnTo>
                    <a:lnTo>
                      <a:pt x="81" y="273"/>
                    </a:lnTo>
                    <a:lnTo>
                      <a:pt x="81" y="273"/>
                    </a:lnTo>
                    <a:lnTo>
                      <a:pt x="81" y="273"/>
                    </a:lnTo>
                    <a:lnTo>
                      <a:pt x="81" y="277"/>
                    </a:lnTo>
                    <a:lnTo>
                      <a:pt x="81" y="277"/>
                    </a:lnTo>
                    <a:lnTo>
                      <a:pt x="81" y="280"/>
                    </a:lnTo>
                    <a:lnTo>
                      <a:pt x="81" y="280"/>
                    </a:lnTo>
                    <a:lnTo>
                      <a:pt x="84" y="283"/>
                    </a:lnTo>
                    <a:lnTo>
                      <a:pt x="84" y="283"/>
                    </a:lnTo>
                    <a:lnTo>
                      <a:pt x="84" y="283"/>
                    </a:lnTo>
                    <a:lnTo>
                      <a:pt x="84" y="283"/>
                    </a:lnTo>
                    <a:lnTo>
                      <a:pt x="87" y="286"/>
                    </a:lnTo>
                    <a:lnTo>
                      <a:pt x="87" y="286"/>
                    </a:lnTo>
                    <a:lnTo>
                      <a:pt x="91" y="286"/>
                    </a:lnTo>
                    <a:lnTo>
                      <a:pt x="91" y="286"/>
                    </a:lnTo>
                    <a:lnTo>
                      <a:pt x="91" y="288"/>
                    </a:lnTo>
                    <a:lnTo>
                      <a:pt x="91" y="288"/>
                    </a:lnTo>
                    <a:lnTo>
                      <a:pt x="92" y="291"/>
                    </a:lnTo>
                    <a:lnTo>
                      <a:pt x="92" y="291"/>
                    </a:lnTo>
                    <a:lnTo>
                      <a:pt x="94" y="293"/>
                    </a:lnTo>
                    <a:lnTo>
                      <a:pt x="94" y="293"/>
                    </a:lnTo>
                    <a:lnTo>
                      <a:pt x="94" y="294"/>
                    </a:lnTo>
                    <a:lnTo>
                      <a:pt x="94" y="294"/>
                    </a:lnTo>
                    <a:lnTo>
                      <a:pt x="94" y="296"/>
                    </a:lnTo>
                    <a:lnTo>
                      <a:pt x="94" y="296"/>
                    </a:lnTo>
                    <a:lnTo>
                      <a:pt x="92" y="297"/>
                    </a:lnTo>
                    <a:lnTo>
                      <a:pt x="92" y="297"/>
                    </a:lnTo>
                    <a:lnTo>
                      <a:pt x="91" y="297"/>
                    </a:lnTo>
                    <a:lnTo>
                      <a:pt x="91" y="297"/>
                    </a:lnTo>
                    <a:lnTo>
                      <a:pt x="89" y="297"/>
                    </a:lnTo>
                    <a:lnTo>
                      <a:pt x="89" y="297"/>
                    </a:lnTo>
                    <a:lnTo>
                      <a:pt x="87" y="299"/>
                    </a:lnTo>
                    <a:lnTo>
                      <a:pt x="87" y="299"/>
                    </a:lnTo>
                    <a:lnTo>
                      <a:pt x="86" y="297"/>
                    </a:lnTo>
                    <a:lnTo>
                      <a:pt x="86" y="297"/>
                    </a:lnTo>
                    <a:lnTo>
                      <a:pt x="84" y="296"/>
                    </a:lnTo>
                    <a:lnTo>
                      <a:pt x="84" y="296"/>
                    </a:lnTo>
                    <a:lnTo>
                      <a:pt x="83" y="296"/>
                    </a:lnTo>
                    <a:lnTo>
                      <a:pt x="83" y="296"/>
                    </a:lnTo>
                    <a:lnTo>
                      <a:pt x="81" y="296"/>
                    </a:lnTo>
                    <a:lnTo>
                      <a:pt x="81" y="296"/>
                    </a:lnTo>
                    <a:lnTo>
                      <a:pt x="81" y="299"/>
                    </a:lnTo>
                    <a:lnTo>
                      <a:pt x="81" y="299"/>
                    </a:lnTo>
                    <a:lnTo>
                      <a:pt x="83" y="302"/>
                    </a:lnTo>
                    <a:lnTo>
                      <a:pt x="83" y="302"/>
                    </a:lnTo>
                    <a:lnTo>
                      <a:pt x="84" y="304"/>
                    </a:lnTo>
                    <a:lnTo>
                      <a:pt x="84" y="304"/>
                    </a:lnTo>
                    <a:lnTo>
                      <a:pt x="86" y="305"/>
                    </a:lnTo>
                    <a:lnTo>
                      <a:pt x="86" y="305"/>
                    </a:lnTo>
                    <a:lnTo>
                      <a:pt x="87" y="308"/>
                    </a:lnTo>
                    <a:lnTo>
                      <a:pt x="87" y="308"/>
                    </a:lnTo>
                    <a:lnTo>
                      <a:pt x="89" y="312"/>
                    </a:lnTo>
                    <a:lnTo>
                      <a:pt x="89" y="312"/>
                    </a:lnTo>
                    <a:lnTo>
                      <a:pt x="89" y="315"/>
                    </a:lnTo>
                    <a:lnTo>
                      <a:pt x="89" y="315"/>
                    </a:lnTo>
                    <a:lnTo>
                      <a:pt x="91" y="315"/>
                    </a:lnTo>
                    <a:lnTo>
                      <a:pt x="91" y="315"/>
                    </a:lnTo>
                    <a:lnTo>
                      <a:pt x="92" y="312"/>
                    </a:lnTo>
                    <a:lnTo>
                      <a:pt x="92" y="312"/>
                    </a:lnTo>
                    <a:lnTo>
                      <a:pt x="94" y="315"/>
                    </a:lnTo>
                    <a:lnTo>
                      <a:pt x="94" y="315"/>
                    </a:lnTo>
                    <a:lnTo>
                      <a:pt x="95" y="315"/>
                    </a:lnTo>
                    <a:lnTo>
                      <a:pt x="95" y="315"/>
                    </a:lnTo>
                    <a:lnTo>
                      <a:pt x="97" y="318"/>
                    </a:lnTo>
                    <a:lnTo>
                      <a:pt x="97" y="318"/>
                    </a:lnTo>
                    <a:lnTo>
                      <a:pt x="100" y="318"/>
                    </a:lnTo>
                    <a:lnTo>
                      <a:pt x="100" y="318"/>
                    </a:lnTo>
                    <a:lnTo>
                      <a:pt x="103" y="318"/>
                    </a:lnTo>
                    <a:lnTo>
                      <a:pt x="103" y="318"/>
                    </a:lnTo>
                    <a:lnTo>
                      <a:pt x="103" y="321"/>
                    </a:lnTo>
                    <a:lnTo>
                      <a:pt x="103" y="321"/>
                    </a:lnTo>
                    <a:lnTo>
                      <a:pt x="106" y="321"/>
                    </a:lnTo>
                    <a:lnTo>
                      <a:pt x="106" y="321"/>
                    </a:lnTo>
                    <a:lnTo>
                      <a:pt x="110" y="323"/>
                    </a:lnTo>
                    <a:lnTo>
                      <a:pt x="110" y="323"/>
                    </a:lnTo>
                    <a:lnTo>
                      <a:pt x="110" y="324"/>
                    </a:lnTo>
                    <a:lnTo>
                      <a:pt x="110" y="324"/>
                    </a:lnTo>
                    <a:lnTo>
                      <a:pt x="113" y="326"/>
                    </a:lnTo>
                    <a:lnTo>
                      <a:pt x="113" y="326"/>
                    </a:lnTo>
                    <a:lnTo>
                      <a:pt x="116" y="327"/>
                    </a:lnTo>
                    <a:lnTo>
                      <a:pt x="116" y="327"/>
                    </a:lnTo>
                    <a:lnTo>
                      <a:pt x="116" y="327"/>
                    </a:lnTo>
                    <a:lnTo>
                      <a:pt x="116" y="327"/>
                    </a:lnTo>
                    <a:lnTo>
                      <a:pt x="118" y="329"/>
                    </a:lnTo>
                    <a:lnTo>
                      <a:pt x="118" y="329"/>
                    </a:lnTo>
                    <a:lnTo>
                      <a:pt x="119" y="331"/>
                    </a:lnTo>
                    <a:lnTo>
                      <a:pt x="119" y="331"/>
                    </a:lnTo>
                    <a:lnTo>
                      <a:pt x="121" y="332"/>
                    </a:lnTo>
                    <a:lnTo>
                      <a:pt x="121" y="332"/>
                    </a:lnTo>
                    <a:lnTo>
                      <a:pt x="122" y="332"/>
                    </a:lnTo>
                    <a:lnTo>
                      <a:pt x="122" y="332"/>
                    </a:lnTo>
                    <a:lnTo>
                      <a:pt x="124" y="331"/>
                    </a:lnTo>
                    <a:lnTo>
                      <a:pt x="124" y="331"/>
                    </a:lnTo>
                    <a:lnTo>
                      <a:pt x="124" y="327"/>
                    </a:lnTo>
                    <a:lnTo>
                      <a:pt x="124" y="327"/>
                    </a:lnTo>
                    <a:lnTo>
                      <a:pt x="126" y="327"/>
                    </a:lnTo>
                    <a:lnTo>
                      <a:pt x="126" y="327"/>
                    </a:lnTo>
                    <a:lnTo>
                      <a:pt x="127" y="327"/>
                    </a:lnTo>
                    <a:lnTo>
                      <a:pt x="127" y="327"/>
                    </a:lnTo>
                    <a:lnTo>
                      <a:pt x="130" y="327"/>
                    </a:lnTo>
                    <a:lnTo>
                      <a:pt x="130" y="327"/>
                    </a:lnTo>
                    <a:lnTo>
                      <a:pt x="132" y="329"/>
                    </a:lnTo>
                    <a:lnTo>
                      <a:pt x="132" y="329"/>
                    </a:lnTo>
                    <a:lnTo>
                      <a:pt x="141" y="335"/>
                    </a:lnTo>
                    <a:lnTo>
                      <a:pt x="141" y="335"/>
                    </a:lnTo>
                    <a:lnTo>
                      <a:pt x="148" y="339"/>
                    </a:lnTo>
                    <a:lnTo>
                      <a:pt x="148" y="339"/>
                    </a:lnTo>
                    <a:lnTo>
                      <a:pt x="149" y="339"/>
                    </a:lnTo>
                    <a:lnTo>
                      <a:pt x="149" y="339"/>
                    </a:lnTo>
                    <a:lnTo>
                      <a:pt x="152" y="342"/>
                    </a:lnTo>
                    <a:lnTo>
                      <a:pt x="152" y="342"/>
                    </a:lnTo>
                    <a:lnTo>
                      <a:pt x="154" y="343"/>
                    </a:lnTo>
                    <a:lnTo>
                      <a:pt x="154" y="343"/>
                    </a:lnTo>
                    <a:lnTo>
                      <a:pt x="156" y="343"/>
                    </a:lnTo>
                    <a:lnTo>
                      <a:pt x="156" y="343"/>
                    </a:lnTo>
                    <a:lnTo>
                      <a:pt x="157" y="343"/>
                    </a:lnTo>
                    <a:lnTo>
                      <a:pt x="157" y="343"/>
                    </a:lnTo>
                    <a:lnTo>
                      <a:pt x="160" y="343"/>
                    </a:lnTo>
                    <a:lnTo>
                      <a:pt x="160" y="343"/>
                    </a:lnTo>
                    <a:lnTo>
                      <a:pt x="162" y="346"/>
                    </a:lnTo>
                    <a:lnTo>
                      <a:pt x="162" y="346"/>
                    </a:lnTo>
                    <a:lnTo>
                      <a:pt x="162" y="350"/>
                    </a:lnTo>
                    <a:lnTo>
                      <a:pt x="162" y="350"/>
                    </a:lnTo>
                    <a:lnTo>
                      <a:pt x="165" y="351"/>
                    </a:lnTo>
                    <a:lnTo>
                      <a:pt x="165" y="351"/>
                    </a:lnTo>
                    <a:lnTo>
                      <a:pt x="168" y="353"/>
                    </a:lnTo>
                    <a:lnTo>
                      <a:pt x="168" y="353"/>
                    </a:lnTo>
                    <a:lnTo>
                      <a:pt x="172" y="353"/>
                    </a:lnTo>
                    <a:lnTo>
                      <a:pt x="172" y="353"/>
                    </a:lnTo>
                    <a:lnTo>
                      <a:pt x="173" y="353"/>
                    </a:lnTo>
                    <a:lnTo>
                      <a:pt x="173" y="353"/>
                    </a:lnTo>
                    <a:lnTo>
                      <a:pt x="175" y="354"/>
                    </a:lnTo>
                    <a:lnTo>
                      <a:pt x="175" y="354"/>
                    </a:lnTo>
                    <a:lnTo>
                      <a:pt x="173" y="356"/>
                    </a:lnTo>
                    <a:lnTo>
                      <a:pt x="173" y="356"/>
                    </a:lnTo>
                    <a:lnTo>
                      <a:pt x="175" y="358"/>
                    </a:lnTo>
                    <a:lnTo>
                      <a:pt x="175" y="358"/>
                    </a:lnTo>
                    <a:lnTo>
                      <a:pt x="178" y="358"/>
                    </a:lnTo>
                    <a:lnTo>
                      <a:pt x="178" y="358"/>
                    </a:lnTo>
                    <a:lnTo>
                      <a:pt x="179" y="358"/>
                    </a:lnTo>
                    <a:lnTo>
                      <a:pt x="179" y="358"/>
                    </a:lnTo>
                    <a:lnTo>
                      <a:pt x="181" y="356"/>
                    </a:lnTo>
                    <a:lnTo>
                      <a:pt x="181" y="356"/>
                    </a:lnTo>
                    <a:lnTo>
                      <a:pt x="184" y="359"/>
                    </a:lnTo>
                    <a:lnTo>
                      <a:pt x="184" y="359"/>
                    </a:lnTo>
                    <a:lnTo>
                      <a:pt x="186" y="362"/>
                    </a:lnTo>
                    <a:lnTo>
                      <a:pt x="186" y="362"/>
                    </a:lnTo>
                    <a:lnTo>
                      <a:pt x="187" y="362"/>
                    </a:lnTo>
                    <a:lnTo>
                      <a:pt x="187" y="362"/>
                    </a:lnTo>
                    <a:lnTo>
                      <a:pt x="189" y="359"/>
                    </a:lnTo>
                    <a:lnTo>
                      <a:pt x="189" y="359"/>
                    </a:lnTo>
                    <a:lnTo>
                      <a:pt x="191" y="362"/>
                    </a:lnTo>
                    <a:lnTo>
                      <a:pt x="191" y="362"/>
                    </a:lnTo>
                    <a:lnTo>
                      <a:pt x="192" y="362"/>
                    </a:lnTo>
                    <a:lnTo>
                      <a:pt x="192" y="362"/>
                    </a:lnTo>
                    <a:lnTo>
                      <a:pt x="194" y="362"/>
                    </a:lnTo>
                    <a:lnTo>
                      <a:pt x="194" y="362"/>
                    </a:lnTo>
                    <a:lnTo>
                      <a:pt x="194" y="361"/>
                    </a:lnTo>
                    <a:lnTo>
                      <a:pt x="194" y="361"/>
                    </a:lnTo>
                    <a:lnTo>
                      <a:pt x="194" y="361"/>
                    </a:lnTo>
                    <a:lnTo>
                      <a:pt x="194" y="361"/>
                    </a:lnTo>
                    <a:lnTo>
                      <a:pt x="197" y="362"/>
                    </a:lnTo>
                    <a:lnTo>
                      <a:pt x="197" y="362"/>
                    </a:lnTo>
                    <a:lnTo>
                      <a:pt x="200" y="364"/>
                    </a:lnTo>
                    <a:lnTo>
                      <a:pt x="200" y="364"/>
                    </a:lnTo>
                    <a:lnTo>
                      <a:pt x="203" y="364"/>
                    </a:lnTo>
                    <a:lnTo>
                      <a:pt x="203" y="364"/>
                    </a:lnTo>
                    <a:lnTo>
                      <a:pt x="208" y="364"/>
                    </a:lnTo>
                    <a:lnTo>
                      <a:pt x="208" y="364"/>
                    </a:lnTo>
                    <a:lnTo>
                      <a:pt x="213" y="364"/>
                    </a:lnTo>
                    <a:lnTo>
                      <a:pt x="213" y="364"/>
                    </a:lnTo>
                    <a:lnTo>
                      <a:pt x="213" y="362"/>
                    </a:lnTo>
                    <a:lnTo>
                      <a:pt x="213" y="362"/>
                    </a:lnTo>
                    <a:lnTo>
                      <a:pt x="218" y="361"/>
                    </a:lnTo>
                    <a:lnTo>
                      <a:pt x="218" y="361"/>
                    </a:lnTo>
                    <a:lnTo>
                      <a:pt x="219" y="361"/>
                    </a:lnTo>
                    <a:lnTo>
                      <a:pt x="219" y="361"/>
                    </a:lnTo>
                    <a:lnTo>
                      <a:pt x="221" y="361"/>
                    </a:lnTo>
                    <a:lnTo>
                      <a:pt x="221" y="361"/>
                    </a:lnTo>
                    <a:lnTo>
                      <a:pt x="221" y="361"/>
                    </a:lnTo>
                    <a:lnTo>
                      <a:pt x="221" y="361"/>
                    </a:lnTo>
                    <a:lnTo>
                      <a:pt x="222" y="364"/>
                    </a:lnTo>
                    <a:lnTo>
                      <a:pt x="222" y="364"/>
                    </a:lnTo>
                    <a:lnTo>
                      <a:pt x="222" y="366"/>
                    </a:lnTo>
                    <a:lnTo>
                      <a:pt x="222" y="366"/>
                    </a:lnTo>
                    <a:lnTo>
                      <a:pt x="222" y="367"/>
                    </a:lnTo>
                    <a:lnTo>
                      <a:pt x="222" y="367"/>
                    </a:lnTo>
                    <a:lnTo>
                      <a:pt x="222" y="367"/>
                    </a:lnTo>
                    <a:lnTo>
                      <a:pt x="222" y="367"/>
                    </a:lnTo>
                    <a:lnTo>
                      <a:pt x="222" y="367"/>
                    </a:lnTo>
                    <a:lnTo>
                      <a:pt x="222" y="367"/>
                    </a:lnTo>
                    <a:lnTo>
                      <a:pt x="222" y="370"/>
                    </a:lnTo>
                    <a:lnTo>
                      <a:pt x="222" y="370"/>
                    </a:lnTo>
                    <a:lnTo>
                      <a:pt x="224" y="370"/>
                    </a:lnTo>
                    <a:lnTo>
                      <a:pt x="224" y="370"/>
                    </a:lnTo>
                    <a:lnTo>
                      <a:pt x="226" y="367"/>
                    </a:lnTo>
                    <a:lnTo>
                      <a:pt x="226" y="367"/>
                    </a:lnTo>
                    <a:lnTo>
                      <a:pt x="227" y="367"/>
                    </a:lnTo>
                    <a:lnTo>
                      <a:pt x="227" y="367"/>
                    </a:lnTo>
                    <a:lnTo>
                      <a:pt x="229" y="362"/>
                    </a:lnTo>
                    <a:lnTo>
                      <a:pt x="229" y="362"/>
                    </a:lnTo>
                    <a:lnTo>
                      <a:pt x="232" y="359"/>
                    </a:lnTo>
                    <a:lnTo>
                      <a:pt x="232" y="359"/>
                    </a:lnTo>
                    <a:lnTo>
                      <a:pt x="235" y="358"/>
                    </a:lnTo>
                    <a:lnTo>
                      <a:pt x="235" y="358"/>
                    </a:lnTo>
                    <a:lnTo>
                      <a:pt x="238" y="358"/>
                    </a:lnTo>
                    <a:lnTo>
                      <a:pt x="238" y="358"/>
                    </a:lnTo>
                    <a:lnTo>
                      <a:pt x="238" y="359"/>
                    </a:lnTo>
                    <a:lnTo>
                      <a:pt x="238" y="359"/>
                    </a:lnTo>
                    <a:lnTo>
                      <a:pt x="240" y="361"/>
                    </a:lnTo>
                    <a:lnTo>
                      <a:pt x="240" y="361"/>
                    </a:lnTo>
                    <a:lnTo>
                      <a:pt x="246" y="362"/>
                    </a:lnTo>
                    <a:lnTo>
                      <a:pt x="246" y="362"/>
                    </a:lnTo>
                    <a:lnTo>
                      <a:pt x="248" y="362"/>
                    </a:lnTo>
                    <a:lnTo>
                      <a:pt x="248" y="362"/>
                    </a:lnTo>
                    <a:lnTo>
                      <a:pt x="249" y="362"/>
                    </a:lnTo>
                    <a:lnTo>
                      <a:pt x="249" y="362"/>
                    </a:lnTo>
                    <a:lnTo>
                      <a:pt x="251" y="361"/>
                    </a:lnTo>
                    <a:lnTo>
                      <a:pt x="251" y="361"/>
                    </a:lnTo>
                    <a:lnTo>
                      <a:pt x="254" y="362"/>
                    </a:lnTo>
                    <a:lnTo>
                      <a:pt x="254" y="362"/>
                    </a:lnTo>
                    <a:lnTo>
                      <a:pt x="257" y="364"/>
                    </a:lnTo>
                    <a:lnTo>
                      <a:pt x="257" y="364"/>
                    </a:lnTo>
                    <a:lnTo>
                      <a:pt x="257" y="366"/>
                    </a:lnTo>
                    <a:lnTo>
                      <a:pt x="257" y="366"/>
                    </a:lnTo>
                    <a:lnTo>
                      <a:pt x="259" y="366"/>
                    </a:lnTo>
                    <a:lnTo>
                      <a:pt x="259" y="366"/>
                    </a:lnTo>
                    <a:lnTo>
                      <a:pt x="262" y="366"/>
                    </a:lnTo>
                    <a:lnTo>
                      <a:pt x="262" y="366"/>
                    </a:lnTo>
                    <a:lnTo>
                      <a:pt x="262" y="364"/>
                    </a:lnTo>
                    <a:lnTo>
                      <a:pt x="262" y="364"/>
                    </a:lnTo>
                    <a:lnTo>
                      <a:pt x="264" y="364"/>
                    </a:lnTo>
                    <a:lnTo>
                      <a:pt x="264" y="364"/>
                    </a:lnTo>
                    <a:lnTo>
                      <a:pt x="267" y="364"/>
                    </a:lnTo>
                    <a:lnTo>
                      <a:pt x="267" y="364"/>
                    </a:lnTo>
                    <a:lnTo>
                      <a:pt x="267" y="364"/>
                    </a:lnTo>
                    <a:lnTo>
                      <a:pt x="267" y="364"/>
                    </a:lnTo>
                    <a:lnTo>
                      <a:pt x="270" y="361"/>
                    </a:lnTo>
                    <a:lnTo>
                      <a:pt x="270" y="361"/>
                    </a:lnTo>
                    <a:lnTo>
                      <a:pt x="270" y="358"/>
                    </a:lnTo>
                    <a:lnTo>
                      <a:pt x="270" y="358"/>
                    </a:lnTo>
                    <a:lnTo>
                      <a:pt x="270" y="358"/>
                    </a:lnTo>
                    <a:lnTo>
                      <a:pt x="273" y="356"/>
                    </a:lnTo>
                    <a:lnTo>
                      <a:pt x="273" y="356"/>
                    </a:lnTo>
                    <a:lnTo>
                      <a:pt x="273" y="354"/>
                    </a:lnTo>
                    <a:lnTo>
                      <a:pt x="273" y="354"/>
                    </a:lnTo>
                    <a:lnTo>
                      <a:pt x="273" y="353"/>
                    </a:lnTo>
                    <a:lnTo>
                      <a:pt x="273" y="353"/>
                    </a:lnTo>
                    <a:lnTo>
                      <a:pt x="275" y="351"/>
                    </a:lnTo>
                    <a:lnTo>
                      <a:pt x="275" y="351"/>
                    </a:lnTo>
                    <a:lnTo>
                      <a:pt x="276" y="351"/>
                    </a:lnTo>
                    <a:lnTo>
                      <a:pt x="276" y="351"/>
                    </a:lnTo>
                    <a:lnTo>
                      <a:pt x="278" y="351"/>
                    </a:lnTo>
                    <a:lnTo>
                      <a:pt x="278" y="351"/>
                    </a:lnTo>
                    <a:lnTo>
                      <a:pt x="280" y="351"/>
                    </a:lnTo>
                    <a:lnTo>
                      <a:pt x="280" y="351"/>
                    </a:lnTo>
                    <a:lnTo>
                      <a:pt x="281" y="350"/>
                    </a:lnTo>
                    <a:lnTo>
                      <a:pt x="281" y="350"/>
                    </a:lnTo>
                    <a:lnTo>
                      <a:pt x="284" y="346"/>
                    </a:lnTo>
                    <a:lnTo>
                      <a:pt x="284" y="346"/>
                    </a:lnTo>
                    <a:lnTo>
                      <a:pt x="286" y="343"/>
                    </a:lnTo>
                    <a:lnTo>
                      <a:pt x="286" y="343"/>
                    </a:lnTo>
                    <a:lnTo>
                      <a:pt x="287" y="343"/>
                    </a:lnTo>
                    <a:lnTo>
                      <a:pt x="287" y="343"/>
                    </a:lnTo>
                    <a:lnTo>
                      <a:pt x="289" y="342"/>
                    </a:lnTo>
                    <a:lnTo>
                      <a:pt x="289" y="342"/>
                    </a:lnTo>
                    <a:lnTo>
                      <a:pt x="291" y="342"/>
                    </a:lnTo>
                    <a:lnTo>
                      <a:pt x="291" y="342"/>
                    </a:lnTo>
                    <a:lnTo>
                      <a:pt x="292" y="343"/>
                    </a:lnTo>
                    <a:lnTo>
                      <a:pt x="292" y="343"/>
                    </a:lnTo>
                    <a:lnTo>
                      <a:pt x="294" y="345"/>
                    </a:lnTo>
                    <a:lnTo>
                      <a:pt x="294" y="345"/>
                    </a:lnTo>
                    <a:lnTo>
                      <a:pt x="294" y="343"/>
                    </a:lnTo>
                    <a:lnTo>
                      <a:pt x="294" y="343"/>
                    </a:lnTo>
                    <a:lnTo>
                      <a:pt x="295" y="345"/>
                    </a:lnTo>
                    <a:lnTo>
                      <a:pt x="295" y="345"/>
                    </a:lnTo>
                    <a:lnTo>
                      <a:pt x="297" y="345"/>
                    </a:lnTo>
                    <a:lnTo>
                      <a:pt x="297" y="345"/>
                    </a:lnTo>
                    <a:lnTo>
                      <a:pt x="297" y="346"/>
                    </a:lnTo>
                    <a:lnTo>
                      <a:pt x="297" y="346"/>
                    </a:lnTo>
                    <a:lnTo>
                      <a:pt x="297" y="346"/>
                    </a:lnTo>
                    <a:lnTo>
                      <a:pt x="297" y="346"/>
                    </a:lnTo>
                    <a:lnTo>
                      <a:pt x="299" y="346"/>
                    </a:lnTo>
                    <a:lnTo>
                      <a:pt x="299" y="346"/>
                    </a:lnTo>
                    <a:lnTo>
                      <a:pt x="300" y="343"/>
                    </a:lnTo>
                    <a:lnTo>
                      <a:pt x="300" y="343"/>
                    </a:lnTo>
                    <a:lnTo>
                      <a:pt x="303" y="342"/>
                    </a:lnTo>
                    <a:lnTo>
                      <a:pt x="303" y="342"/>
                    </a:lnTo>
                    <a:lnTo>
                      <a:pt x="305" y="342"/>
                    </a:lnTo>
                    <a:lnTo>
                      <a:pt x="305" y="342"/>
                    </a:lnTo>
                    <a:lnTo>
                      <a:pt x="306" y="342"/>
                    </a:lnTo>
                    <a:lnTo>
                      <a:pt x="306" y="342"/>
                    </a:lnTo>
                    <a:lnTo>
                      <a:pt x="310" y="343"/>
                    </a:lnTo>
                    <a:lnTo>
                      <a:pt x="310" y="343"/>
                    </a:lnTo>
                    <a:lnTo>
                      <a:pt x="308" y="345"/>
                    </a:lnTo>
                    <a:lnTo>
                      <a:pt x="308" y="345"/>
                    </a:lnTo>
                    <a:lnTo>
                      <a:pt x="308" y="346"/>
                    </a:lnTo>
                    <a:lnTo>
                      <a:pt x="308" y="346"/>
                    </a:lnTo>
                    <a:lnTo>
                      <a:pt x="310" y="346"/>
                    </a:lnTo>
                    <a:lnTo>
                      <a:pt x="310" y="346"/>
                    </a:lnTo>
                    <a:lnTo>
                      <a:pt x="311" y="346"/>
                    </a:lnTo>
                    <a:lnTo>
                      <a:pt x="311" y="346"/>
                    </a:lnTo>
                    <a:lnTo>
                      <a:pt x="313" y="345"/>
                    </a:lnTo>
                    <a:lnTo>
                      <a:pt x="313" y="345"/>
                    </a:lnTo>
                    <a:lnTo>
                      <a:pt x="313" y="346"/>
                    </a:lnTo>
                    <a:lnTo>
                      <a:pt x="313" y="346"/>
                    </a:lnTo>
                    <a:lnTo>
                      <a:pt x="313" y="348"/>
                    </a:lnTo>
                    <a:lnTo>
                      <a:pt x="313" y="348"/>
                    </a:lnTo>
                    <a:lnTo>
                      <a:pt x="314" y="350"/>
                    </a:lnTo>
                    <a:lnTo>
                      <a:pt x="314" y="350"/>
                    </a:lnTo>
                    <a:lnTo>
                      <a:pt x="313" y="353"/>
                    </a:lnTo>
                    <a:lnTo>
                      <a:pt x="313" y="353"/>
                    </a:lnTo>
                    <a:lnTo>
                      <a:pt x="311" y="354"/>
                    </a:lnTo>
                    <a:lnTo>
                      <a:pt x="311" y="354"/>
                    </a:lnTo>
                    <a:lnTo>
                      <a:pt x="311" y="354"/>
                    </a:lnTo>
                    <a:lnTo>
                      <a:pt x="311" y="354"/>
                    </a:lnTo>
                    <a:lnTo>
                      <a:pt x="313" y="356"/>
                    </a:lnTo>
                    <a:lnTo>
                      <a:pt x="313" y="356"/>
                    </a:lnTo>
                    <a:lnTo>
                      <a:pt x="314" y="356"/>
                    </a:lnTo>
                    <a:lnTo>
                      <a:pt x="314" y="356"/>
                    </a:lnTo>
                    <a:lnTo>
                      <a:pt x="316" y="354"/>
                    </a:lnTo>
                    <a:lnTo>
                      <a:pt x="316" y="354"/>
                    </a:lnTo>
                    <a:lnTo>
                      <a:pt x="316" y="354"/>
                    </a:lnTo>
                    <a:lnTo>
                      <a:pt x="316" y="354"/>
                    </a:lnTo>
                    <a:lnTo>
                      <a:pt x="316" y="354"/>
                    </a:lnTo>
                    <a:lnTo>
                      <a:pt x="316" y="354"/>
                    </a:lnTo>
                    <a:lnTo>
                      <a:pt x="319" y="356"/>
                    </a:lnTo>
                    <a:lnTo>
                      <a:pt x="319" y="356"/>
                    </a:lnTo>
                    <a:lnTo>
                      <a:pt x="322" y="356"/>
                    </a:lnTo>
                    <a:lnTo>
                      <a:pt x="322" y="356"/>
                    </a:lnTo>
                    <a:lnTo>
                      <a:pt x="322" y="356"/>
                    </a:lnTo>
                    <a:lnTo>
                      <a:pt x="322" y="358"/>
                    </a:lnTo>
                    <a:lnTo>
                      <a:pt x="322" y="358"/>
                    </a:lnTo>
                    <a:lnTo>
                      <a:pt x="326" y="359"/>
                    </a:lnTo>
                    <a:lnTo>
                      <a:pt x="326" y="359"/>
                    </a:lnTo>
                    <a:lnTo>
                      <a:pt x="326" y="358"/>
                    </a:lnTo>
                    <a:lnTo>
                      <a:pt x="326" y="358"/>
                    </a:lnTo>
                    <a:lnTo>
                      <a:pt x="326" y="353"/>
                    </a:lnTo>
                    <a:lnTo>
                      <a:pt x="326" y="353"/>
                    </a:lnTo>
                    <a:lnTo>
                      <a:pt x="332" y="356"/>
                    </a:lnTo>
                    <a:lnTo>
                      <a:pt x="332" y="356"/>
                    </a:lnTo>
                    <a:lnTo>
                      <a:pt x="333" y="359"/>
                    </a:lnTo>
                    <a:lnTo>
                      <a:pt x="333" y="359"/>
                    </a:lnTo>
                    <a:lnTo>
                      <a:pt x="335" y="361"/>
                    </a:lnTo>
                    <a:lnTo>
                      <a:pt x="335" y="361"/>
                    </a:lnTo>
                    <a:lnTo>
                      <a:pt x="335" y="362"/>
                    </a:lnTo>
                    <a:lnTo>
                      <a:pt x="335" y="362"/>
                    </a:lnTo>
                    <a:lnTo>
                      <a:pt x="338" y="367"/>
                    </a:lnTo>
                    <a:lnTo>
                      <a:pt x="338" y="367"/>
                    </a:lnTo>
                    <a:lnTo>
                      <a:pt x="340" y="367"/>
                    </a:lnTo>
                    <a:lnTo>
                      <a:pt x="340" y="367"/>
                    </a:lnTo>
                    <a:lnTo>
                      <a:pt x="343" y="367"/>
                    </a:lnTo>
                    <a:lnTo>
                      <a:pt x="343" y="367"/>
                    </a:lnTo>
                    <a:lnTo>
                      <a:pt x="345" y="370"/>
                    </a:lnTo>
                    <a:lnTo>
                      <a:pt x="345" y="370"/>
                    </a:lnTo>
                    <a:lnTo>
                      <a:pt x="346" y="377"/>
                    </a:lnTo>
                    <a:lnTo>
                      <a:pt x="346" y="377"/>
                    </a:lnTo>
                    <a:lnTo>
                      <a:pt x="348" y="385"/>
                    </a:lnTo>
                    <a:lnTo>
                      <a:pt x="348" y="385"/>
                    </a:lnTo>
                    <a:lnTo>
                      <a:pt x="348" y="388"/>
                    </a:lnTo>
                    <a:lnTo>
                      <a:pt x="348" y="388"/>
                    </a:lnTo>
                    <a:lnTo>
                      <a:pt x="348" y="389"/>
                    </a:lnTo>
                    <a:lnTo>
                      <a:pt x="348" y="389"/>
                    </a:lnTo>
                    <a:lnTo>
                      <a:pt x="346" y="389"/>
                    </a:lnTo>
                    <a:lnTo>
                      <a:pt x="346" y="389"/>
                    </a:lnTo>
                    <a:lnTo>
                      <a:pt x="348" y="391"/>
                    </a:lnTo>
                    <a:lnTo>
                      <a:pt x="348" y="391"/>
                    </a:lnTo>
                    <a:lnTo>
                      <a:pt x="349" y="393"/>
                    </a:lnTo>
                    <a:lnTo>
                      <a:pt x="349" y="393"/>
                    </a:lnTo>
                    <a:lnTo>
                      <a:pt x="348" y="393"/>
                    </a:lnTo>
                    <a:lnTo>
                      <a:pt x="348" y="393"/>
                    </a:lnTo>
                    <a:lnTo>
                      <a:pt x="346" y="393"/>
                    </a:lnTo>
                    <a:lnTo>
                      <a:pt x="346" y="393"/>
                    </a:lnTo>
                    <a:lnTo>
                      <a:pt x="345" y="394"/>
                    </a:lnTo>
                    <a:lnTo>
                      <a:pt x="345" y="394"/>
                    </a:lnTo>
                    <a:lnTo>
                      <a:pt x="345" y="396"/>
                    </a:lnTo>
                    <a:lnTo>
                      <a:pt x="345" y="396"/>
                    </a:lnTo>
                    <a:lnTo>
                      <a:pt x="345" y="397"/>
                    </a:lnTo>
                    <a:lnTo>
                      <a:pt x="345" y="397"/>
                    </a:lnTo>
                    <a:lnTo>
                      <a:pt x="343" y="397"/>
                    </a:lnTo>
                    <a:lnTo>
                      <a:pt x="343" y="397"/>
                    </a:lnTo>
                    <a:lnTo>
                      <a:pt x="341" y="399"/>
                    </a:lnTo>
                    <a:lnTo>
                      <a:pt x="341" y="399"/>
                    </a:lnTo>
                    <a:lnTo>
                      <a:pt x="341" y="402"/>
                    </a:lnTo>
                    <a:lnTo>
                      <a:pt x="341" y="402"/>
                    </a:lnTo>
                    <a:lnTo>
                      <a:pt x="340" y="402"/>
                    </a:lnTo>
                    <a:lnTo>
                      <a:pt x="340" y="402"/>
                    </a:lnTo>
                    <a:lnTo>
                      <a:pt x="338" y="405"/>
                    </a:lnTo>
                    <a:lnTo>
                      <a:pt x="338" y="405"/>
                    </a:lnTo>
                    <a:lnTo>
                      <a:pt x="340" y="408"/>
                    </a:lnTo>
                    <a:lnTo>
                      <a:pt x="340" y="408"/>
                    </a:lnTo>
                    <a:lnTo>
                      <a:pt x="337" y="408"/>
                    </a:lnTo>
                    <a:lnTo>
                      <a:pt x="337" y="408"/>
                    </a:lnTo>
                    <a:lnTo>
                      <a:pt x="337" y="412"/>
                    </a:lnTo>
                    <a:lnTo>
                      <a:pt x="337" y="412"/>
                    </a:lnTo>
                    <a:lnTo>
                      <a:pt x="338" y="412"/>
                    </a:lnTo>
                    <a:lnTo>
                      <a:pt x="338" y="412"/>
                    </a:lnTo>
                    <a:lnTo>
                      <a:pt x="340" y="413"/>
                    </a:lnTo>
                    <a:lnTo>
                      <a:pt x="340" y="413"/>
                    </a:lnTo>
                    <a:lnTo>
                      <a:pt x="340" y="415"/>
                    </a:lnTo>
                    <a:lnTo>
                      <a:pt x="340" y="415"/>
                    </a:lnTo>
                    <a:lnTo>
                      <a:pt x="340" y="418"/>
                    </a:lnTo>
                    <a:lnTo>
                      <a:pt x="340" y="418"/>
                    </a:lnTo>
                    <a:lnTo>
                      <a:pt x="340" y="420"/>
                    </a:lnTo>
                    <a:lnTo>
                      <a:pt x="340" y="420"/>
                    </a:lnTo>
                    <a:lnTo>
                      <a:pt x="340" y="421"/>
                    </a:lnTo>
                    <a:lnTo>
                      <a:pt x="340" y="421"/>
                    </a:lnTo>
                    <a:lnTo>
                      <a:pt x="343" y="420"/>
                    </a:lnTo>
                    <a:lnTo>
                      <a:pt x="343" y="420"/>
                    </a:lnTo>
                    <a:lnTo>
                      <a:pt x="346" y="418"/>
                    </a:lnTo>
                    <a:lnTo>
                      <a:pt x="346" y="418"/>
                    </a:lnTo>
                    <a:lnTo>
                      <a:pt x="348" y="418"/>
                    </a:lnTo>
                    <a:lnTo>
                      <a:pt x="348" y="418"/>
                    </a:lnTo>
                    <a:lnTo>
                      <a:pt x="351" y="418"/>
                    </a:lnTo>
                    <a:lnTo>
                      <a:pt x="351" y="418"/>
                    </a:lnTo>
                    <a:lnTo>
                      <a:pt x="353" y="418"/>
                    </a:lnTo>
                    <a:lnTo>
                      <a:pt x="353" y="418"/>
                    </a:lnTo>
                    <a:lnTo>
                      <a:pt x="354" y="416"/>
                    </a:lnTo>
                    <a:lnTo>
                      <a:pt x="354" y="416"/>
                    </a:lnTo>
                    <a:lnTo>
                      <a:pt x="354" y="420"/>
                    </a:lnTo>
                    <a:lnTo>
                      <a:pt x="354" y="420"/>
                    </a:lnTo>
                    <a:lnTo>
                      <a:pt x="354" y="421"/>
                    </a:lnTo>
                    <a:lnTo>
                      <a:pt x="354" y="421"/>
                    </a:lnTo>
                    <a:lnTo>
                      <a:pt x="354" y="424"/>
                    </a:lnTo>
                    <a:lnTo>
                      <a:pt x="354" y="424"/>
                    </a:lnTo>
                    <a:lnTo>
                      <a:pt x="354" y="426"/>
                    </a:lnTo>
                    <a:lnTo>
                      <a:pt x="354" y="426"/>
                    </a:lnTo>
                    <a:lnTo>
                      <a:pt x="357" y="427"/>
                    </a:lnTo>
                    <a:lnTo>
                      <a:pt x="357" y="427"/>
                    </a:lnTo>
                    <a:lnTo>
                      <a:pt x="357" y="431"/>
                    </a:lnTo>
                    <a:lnTo>
                      <a:pt x="357" y="431"/>
                    </a:lnTo>
                    <a:lnTo>
                      <a:pt x="357" y="432"/>
                    </a:lnTo>
                    <a:lnTo>
                      <a:pt x="357" y="432"/>
                    </a:lnTo>
                    <a:lnTo>
                      <a:pt x="360" y="432"/>
                    </a:lnTo>
                    <a:lnTo>
                      <a:pt x="360" y="432"/>
                    </a:lnTo>
                    <a:lnTo>
                      <a:pt x="364" y="432"/>
                    </a:lnTo>
                    <a:lnTo>
                      <a:pt x="364" y="432"/>
                    </a:lnTo>
                    <a:lnTo>
                      <a:pt x="365" y="434"/>
                    </a:lnTo>
                    <a:lnTo>
                      <a:pt x="365" y="434"/>
                    </a:lnTo>
                    <a:lnTo>
                      <a:pt x="364" y="435"/>
                    </a:lnTo>
                    <a:lnTo>
                      <a:pt x="364" y="435"/>
                    </a:lnTo>
                    <a:lnTo>
                      <a:pt x="364" y="437"/>
                    </a:lnTo>
                    <a:lnTo>
                      <a:pt x="364" y="437"/>
                    </a:lnTo>
                    <a:lnTo>
                      <a:pt x="364" y="440"/>
                    </a:lnTo>
                    <a:lnTo>
                      <a:pt x="364" y="440"/>
                    </a:lnTo>
                    <a:lnTo>
                      <a:pt x="364" y="445"/>
                    </a:lnTo>
                    <a:lnTo>
                      <a:pt x="364" y="445"/>
                    </a:lnTo>
                    <a:lnTo>
                      <a:pt x="364" y="447"/>
                    </a:lnTo>
                    <a:lnTo>
                      <a:pt x="364" y="447"/>
                    </a:lnTo>
                    <a:lnTo>
                      <a:pt x="364" y="447"/>
                    </a:lnTo>
                    <a:lnTo>
                      <a:pt x="364" y="447"/>
                    </a:lnTo>
                    <a:lnTo>
                      <a:pt x="368" y="447"/>
                    </a:lnTo>
                    <a:lnTo>
                      <a:pt x="368" y="447"/>
                    </a:lnTo>
                    <a:lnTo>
                      <a:pt x="373" y="447"/>
                    </a:lnTo>
                    <a:lnTo>
                      <a:pt x="373" y="447"/>
                    </a:lnTo>
                    <a:lnTo>
                      <a:pt x="373" y="448"/>
                    </a:lnTo>
                    <a:lnTo>
                      <a:pt x="373" y="448"/>
                    </a:lnTo>
                    <a:lnTo>
                      <a:pt x="373" y="450"/>
                    </a:lnTo>
                    <a:lnTo>
                      <a:pt x="373" y="450"/>
                    </a:lnTo>
                    <a:lnTo>
                      <a:pt x="373" y="451"/>
                    </a:lnTo>
                    <a:lnTo>
                      <a:pt x="373" y="451"/>
                    </a:lnTo>
                    <a:lnTo>
                      <a:pt x="375" y="451"/>
                    </a:lnTo>
                    <a:lnTo>
                      <a:pt x="375" y="451"/>
                    </a:lnTo>
                    <a:lnTo>
                      <a:pt x="376" y="453"/>
                    </a:lnTo>
                    <a:lnTo>
                      <a:pt x="376" y="453"/>
                    </a:lnTo>
                    <a:lnTo>
                      <a:pt x="376" y="454"/>
                    </a:lnTo>
                    <a:lnTo>
                      <a:pt x="376" y="454"/>
                    </a:lnTo>
                    <a:lnTo>
                      <a:pt x="376" y="456"/>
                    </a:lnTo>
                    <a:lnTo>
                      <a:pt x="376" y="456"/>
                    </a:lnTo>
                    <a:lnTo>
                      <a:pt x="378" y="456"/>
                    </a:lnTo>
                    <a:lnTo>
                      <a:pt x="378" y="456"/>
                    </a:lnTo>
                    <a:lnTo>
                      <a:pt x="380" y="456"/>
                    </a:lnTo>
                    <a:lnTo>
                      <a:pt x="380" y="456"/>
                    </a:lnTo>
                    <a:lnTo>
                      <a:pt x="383" y="456"/>
                    </a:lnTo>
                    <a:lnTo>
                      <a:pt x="383" y="456"/>
                    </a:lnTo>
                    <a:lnTo>
                      <a:pt x="384" y="454"/>
                    </a:lnTo>
                    <a:lnTo>
                      <a:pt x="384" y="454"/>
                    </a:lnTo>
                    <a:lnTo>
                      <a:pt x="389" y="451"/>
                    </a:lnTo>
                    <a:lnTo>
                      <a:pt x="389" y="451"/>
                    </a:lnTo>
                    <a:lnTo>
                      <a:pt x="389" y="458"/>
                    </a:lnTo>
                    <a:lnTo>
                      <a:pt x="389" y="458"/>
                    </a:lnTo>
                    <a:lnTo>
                      <a:pt x="392" y="458"/>
                    </a:lnTo>
                    <a:lnTo>
                      <a:pt x="392" y="458"/>
                    </a:lnTo>
                    <a:lnTo>
                      <a:pt x="392" y="458"/>
                    </a:lnTo>
                    <a:lnTo>
                      <a:pt x="392" y="458"/>
                    </a:lnTo>
                    <a:lnTo>
                      <a:pt x="395" y="461"/>
                    </a:lnTo>
                    <a:lnTo>
                      <a:pt x="395" y="461"/>
                    </a:lnTo>
                    <a:lnTo>
                      <a:pt x="399" y="461"/>
                    </a:lnTo>
                    <a:lnTo>
                      <a:pt x="399" y="461"/>
                    </a:lnTo>
                    <a:lnTo>
                      <a:pt x="399" y="458"/>
                    </a:lnTo>
                    <a:lnTo>
                      <a:pt x="399" y="458"/>
                    </a:lnTo>
                    <a:lnTo>
                      <a:pt x="395" y="456"/>
                    </a:lnTo>
                    <a:lnTo>
                      <a:pt x="395" y="456"/>
                    </a:lnTo>
                    <a:lnTo>
                      <a:pt x="399" y="454"/>
                    </a:lnTo>
                    <a:lnTo>
                      <a:pt x="399" y="454"/>
                    </a:lnTo>
                    <a:lnTo>
                      <a:pt x="395" y="453"/>
                    </a:lnTo>
                    <a:lnTo>
                      <a:pt x="395" y="453"/>
                    </a:lnTo>
                    <a:lnTo>
                      <a:pt x="392" y="448"/>
                    </a:lnTo>
                    <a:lnTo>
                      <a:pt x="392" y="448"/>
                    </a:lnTo>
                    <a:lnTo>
                      <a:pt x="392" y="443"/>
                    </a:lnTo>
                    <a:lnTo>
                      <a:pt x="392" y="443"/>
                    </a:lnTo>
                    <a:lnTo>
                      <a:pt x="392" y="442"/>
                    </a:lnTo>
                    <a:lnTo>
                      <a:pt x="392" y="442"/>
                    </a:lnTo>
                    <a:lnTo>
                      <a:pt x="395" y="440"/>
                    </a:lnTo>
                    <a:lnTo>
                      <a:pt x="395" y="440"/>
                    </a:lnTo>
                    <a:lnTo>
                      <a:pt x="395" y="442"/>
                    </a:lnTo>
                    <a:lnTo>
                      <a:pt x="395" y="442"/>
                    </a:lnTo>
                    <a:lnTo>
                      <a:pt x="395" y="442"/>
                    </a:lnTo>
                    <a:lnTo>
                      <a:pt x="395" y="442"/>
                    </a:lnTo>
                    <a:lnTo>
                      <a:pt x="399" y="442"/>
                    </a:lnTo>
                    <a:lnTo>
                      <a:pt x="399" y="442"/>
                    </a:lnTo>
                    <a:lnTo>
                      <a:pt x="399" y="442"/>
                    </a:lnTo>
                    <a:lnTo>
                      <a:pt x="399" y="442"/>
                    </a:lnTo>
                    <a:lnTo>
                      <a:pt x="400" y="442"/>
                    </a:lnTo>
                    <a:lnTo>
                      <a:pt x="400" y="442"/>
                    </a:lnTo>
                    <a:lnTo>
                      <a:pt x="402" y="437"/>
                    </a:lnTo>
                    <a:lnTo>
                      <a:pt x="402" y="437"/>
                    </a:lnTo>
                    <a:lnTo>
                      <a:pt x="403" y="437"/>
                    </a:lnTo>
                    <a:lnTo>
                      <a:pt x="403" y="437"/>
                    </a:lnTo>
                    <a:lnTo>
                      <a:pt x="405" y="437"/>
                    </a:lnTo>
                    <a:lnTo>
                      <a:pt x="405" y="437"/>
                    </a:lnTo>
                    <a:lnTo>
                      <a:pt x="407" y="437"/>
                    </a:lnTo>
                    <a:lnTo>
                      <a:pt x="407" y="437"/>
                    </a:lnTo>
                    <a:lnTo>
                      <a:pt x="408" y="440"/>
                    </a:lnTo>
                    <a:lnTo>
                      <a:pt x="408" y="440"/>
                    </a:lnTo>
                    <a:lnTo>
                      <a:pt x="410" y="440"/>
                    </a:lnTo>
                    <a:lnTo>
                      <a:pt x="410" y="440"/>
                    </a:lnTo>
                    <a:lnTo>
                      <a:pt x="411" y="439"/>
                    </a:lnTo>
                    <a:lnTo>
                      <a:pt x="411" y="439"/>
                    </a:lnTo>
                    <a:lnTo>
                      <a:pt x="413" y="439"/>
                    </a:lnTo>
                    <a:lnTo>
                      <a:pt x="413" y="439"/>
                    </a:lnTo>
                    <a:lnTo>
                      <a:pt x="414" y="437"/>
                    </a:lnTo>
                    <a:lnTo>
                      <a:pt x="414" y="437"/>
                    </a:lnTo>
                    <a:lnTo>
                      <a:pt x="416" y="439"/>
                    </a:lnTo>
                    <a:lnTo>
                      <a:pt x="416" y="439"/>
                    </a:lnTo>
                    <a:lnTo>
                      <a:pt x="418" y="437"/>
                    </a:lnTo>
                    <a:lnTo>
                      <a:pt x="418" y="437"/>
                    </a:lnTo>
                    <a:lnTo>
                      <a:pt x="419" y="437"/>
                    </a:lnTo>
                    <a:lnTo>
                      <a:pt x="419" y="437"/>
                    </a:lnTo>
                    <a:lnTo>
                      <a:pt x="422" y="440"/>
                    </a:lnTo>
                    <a:lnTo>
                      <a:pt x="422" y="440"/>
                    </a:lnTo>
                    <a:lnTo>
                      <a:pt x="422" y="439"/>
                    </a:lnTo>
                    <a:lnTo>
                      <a:pt x="422" y="439"/>
                    </a:lnTo>
                    <a:lnTo>
                      <a:pt x="424" y="435"/>
                    </a:lnTo>
                    <a:lnTo>
                      <a:pt x="424" y="435"/>
                    </a:lnTo>
                    <a:lnTo>
                      <a:pt x="424" y="435"/>
                    </a:lnTo>
                    <a:lnTo>
                      <a:pt x="424" y="435"/>
                    </a:lnTo>
                    <a:lnTo>
                      <a:pt x="424" y="437"/>
                    </a:lnTo>
                    <a:lnTo>
                      <a:pt x="424" y="437"/>
                    </a:lnTo>
                    <a:lnTo>
                      <a:pt x="427" y="437"/>
                    </a:lnTo>
                    <a:lnTo>
                      <a:pt x="427" y="437"/>
                    </a:lnTo>
                    <a:lnTo>
                      <a:pt x="430" y="434"/>
                    </a:lnTo>
                    <a:lnTo>
                      <a:pt x="430" y="434"/>
                    </a:lnTo>
                    <a:lnTo>
                      <a:pt x="434" y="432"/>
                    </a:lnTo>
                    <a:lnTo>
                      <a:pt x="434" y="432"/>
                    </a:lnTo>
                    <a:lnTo>
                      <a:pt x="434" y="432"/>
                    </a:lnTo>
                    <a:lnTo>
                      <a:pt x="434" y="432"/>
                    </a:lnTo>
                    <a:lnTo>
                      <a:pt x="434" y="431"/>
                    </a:lnTo>
                    <a:lnTo>
                      <a:pt x="434" y="431"/>
                    </a:lnTo>
                    <a:lnTo>
                      <a:pt x="437" y="429"/>
                    </a:lnTo>
                    <a:lnTo>
                      <a:pt x="437" y="429"/>
                    </a:lnTo>
                    <a:lnTo>
                      <a:pt x="440" y="432"/>
                    </a:lnTo>
                    <a:lnTo>
                      <a:pt x="440" y="432"/>
                    </a:lnTo>
                    <a:lnTo>
                      <a:pt x="443" y="434"/>
                    </a:lnTo>
                    <a:lnTo>
                      <a:pt x="443" y="434"/>
                    </a:lnTo>
                    <a:lnTo>
                      <a:pt x="445" y="434"/>
                    </a:lnTo>
                    <a:lnTo>
                      <a:pt x="445" y="434"/>
                    </a:lnTo>
                    <a:lnTo>
                      <a:pt x="448" y="434"/>
                    </a:lnTo>
                    <a:lnTo>
                      <a:pt x="448" y="434"/>
                    </a:lnTo>
                    <a:lnTo>
                      <a:pt x="448" y="434"/>
                    </a:lnTo>
                    <a:lnTo>
                      <a:pt x="448" y="434"/>
                    </a:lnTo>
                    <a:lnTo>
                      <a:pt x="451" y="434"/>
                    </a:lnTo>
                    <a:lnTo>
                      <a:pt x="451" y="434"/>
                    </a:lnTo>
                    <a:lnTo>
                      <a:pt x="454" y="434"/>
                    </a:lnTo>
                    <a:lnTo>
                      <a:pt x="454" y="434"/>
                    </a:lnTo>
                    <a:lnTo>
                      <a:pt x="454" y="437"/>
                    </a:lnTo>
                    <a:lnTo>
                      <a:pt x="454" y="437"/>
                    </a:lnTo>
                    <a:lnTo>
                      <a:pt x="454" y="439"/>
                    </a:lnTo>
                    <a:lnTo>
                      <a:pt x="454" y="439"/>
                    </a:lnTo>
                    <a:lnTo>
                      <a:pt x="454" y="439"/>
                    </a:lnTo>
                    <a:lnTo>
                      <a:pt x="454" y="439"/>
                    </a:lnTo>
                    <a:lnTo>
                      <a:pt x="454" y="443"/>
                    </a:lnTo>
                    <a:lnTo>
                      <a:pt x="454" y="443"/>
                    </a:lnTo>
                    <a:lnTo>
                      <a:pt x="456" y="448"/>
                    </a:lnTo>
                    <a:lnTo>
                      <a:pt x="456" y="448"/>
                    </a:lnTo>
                    <a:lnTo>
                      <a:pt x="459" y="448"/>
                    </a:lnTo>
                    <a:lnTo>
                      <a:pt x="459" y="448"/>
                    </a:lnTo>
                    <a:lnTo>
                      <a:pt x="461" y="450"/>
                    </a:lnTo>
                    <a:lnTo>
                      <a:pt x="461" y="450"/>
                    </a:lnTo>
                    <a:lnTo>
                      <a:pt x="461" y="451"/>
                    </a:lnTo>
                    <a:lnTo>
                      <a:pt x="461" y="451"/>
                    </a:lnTo>
                    <a:lnTo>
                      <a:pt x="464" y="453"/>
                    </a:lnTo>
                    <a:lnTo>
                      <a:pt x="464" y="453"/>
                    </a:lnTo>
                    <a:lnTo>
                      <a:pt x="465" y="454"/>
                    </a:lnTo>
                    <a:lnTo>
                      <a:pt x="465" y="454"/>
                    </a:lnTo>
                    <a:lnTo>
                      <a:pt x="467" y="453"/>
                    </a:lnTo>
                    <a:lnTo>
                      <a:pt x="467" y="453"/>
                    </a:lnTo>
                    <a:lnTo>
                      <a:pt x="467" y="454"/>
                    </a:lnTo>
                    <a:lnTo>
                      <a:pt x="467" y="454"/>
                    </a:lnTo>
                    <a:lnTo>
                      <a:pt x="468" y="454"/>
                    </a:lnTo>
                    <a:lnTo>
                      <a:pt x="468" y="454"/>
                    </a:lnTo>
                    <a:lnTo>
                      <a:pt x="470" y="453"/>
                    </a:lnTo>
                    <a:lnTo>
                      <a:pt x="470" y="453"/>
                    </a:lnTo>
                    <a:lnTo>
                      <a:pt x="473" y="453"/>
                    </a:lnTo>
                    <a:lnTo>
                      <a:pt x="473" y="453"/>
                    </a:lnTo>
                    <a:lnTo>
                      <a:pt x="475" y="454"/>
                    </a:lnTo>
                    <a:lnTo>
                      <a:pt x="475" y="454"/>
                    </a:lnTo>
                    <a:lnTo>
                      <a:pt x="476" y="456"/>
                    </a:lnTo>
                    <a:lnTo>
                      <a:pt x="476" y="456"/>
                    </a:lnTo>
                    <a:lnTo>
                      <a:pt x="478" y="454"/>
                    </a:lnTo>
                    <a:lnTo>
                      <a:pt x="478" y="454"/>
                    </a:lnTo>
                    <a:lnTo>
                      <a:pt x="478" y="453"/>
                    </a:lnTo>
                    <a:lnTo>
                      <a:pt x="478" y="453"/>
                    </a:lnTo>
                    <a:lnTo>
                      <a:pt x="480" y="453"/>
                    </a:lnTo>
                    <a:lnTo>
                      <a:pt x="480" y="453"/>
                    </a:lnTo>
                    <a:lnTo>
                      <a:pt x="480" y="454"/>
                    </a:lnTo>
                    <a:lnTo>
                      <a:pt x="480" y="454"/>
                    </a:lnTo>
                    <a:lnTo>
                      <a:pt x="480" y="453"/>
                    </a:lnTo>
                    <a:lnTo>
                      <a:pt x="480" y="453"/>
                    </a:lnTo>
                    <a:lnTo>
                      <a:pt x="480" y="451"/>
                    </a:lnTo>
                    <a:lnTo>
                      <a:pt x="480" y="451"/>
                    </a:lnTo>
                    <a:lnTo>
                      <a:pt x="480" y="450"/>
                    </a:lnTo>
                    <a:lnTo>
                      <a:pt x="480" y="450"/>
                    </a:lnTo>
                    <a:lnTo>
                      <a:pt x="480" y="448"/>
                    </a:lnTo>
                    <a:lnTo>
                      <a:pt x="480" y="448"/>
                    </a:lnTo>
                    <a:lnTo>
                      <a:pt x="480" y="450"/>
                    </a:lnTo>
                    <a:lnTo>
                      <a:pt x="480" y="450"/>
                    </a:lnTo>
                    <a:lnTo>
                      <a:pt x="480" y="451"/>
                    </a:lnTo>
                    <a:lnTo>
                      <a:pt x="480" y="451"/>
                    </a:lnTo>
                    <a:lnTo>
                      <a:pt x="483" y="451"/>
                    </a:lnTo>
                    <a:lnTo>
                      <a:pt x="483" y="451"/>
                    </a:lnTo>
                    <a:lnTo>
                      <a:pt x="483" y="453"/>
                    </a:lnTo>
                    <a:lnTo>
                      <a:pt x="483" y="453"/>
                    </a:lnTo>
                    <a:lnTo>
                      <a:pt x="483" y="451"/>
                    </a:lnTo>
                    <a:lnTo>
                      <a:pt x="483" y="451"/>
                    </a:lnTo>
                    <a:lnTo>
                      <a:pt x="486" y="451"/>
                    </a:lnTo>
                    <a:lnTo>
                      <a:pt x="486" y="451"/>
                    </a:lnTo>
                    <a:lnTo>
                      <a:pt x="483" y="453"/>
                    </a:lnTo>
                    <a:lnTo>
                      <a:pt x="483" y="453"/>
                    </a:lnTo>
                    <a:lnTo>
                      <a:pt x="486" y="453"/>
                    </a:lnTo>
                    <a:lnTo>
                      <a:pt x="486" y="453"/>
                    </a:lnTo>
                    <a:lnTo>
                      <a:pt x="486" y="453"/>
                    </a:lnTo>
                    <a:lnTo>
                      <a:pt x="486" y="453"/>
                    </a:lnTo>
                    <a:lnTo>
                      <a:pt x="489" y="456"/>
                    </a:lnTo>
                    <a:lnTo>
                      <a:pt x="489" y="456"/>
                    </a:lnTo>
                    <a:lnTo>
                      <a:pt x="489" y="458"/>
                    </a:lnTo>
                    <a:lnTo>
                      <a:pt x="489" y="458"/>
                    </a:lnTo>
                    <a:lnTo>
                      <a:pt x="489" y="456"/>
                    </a:lnTo>
                    <a:lnTo>
                      <a:pt x="489" y="456"/>
                    </a:lnTo>
                    <a:lnTo>
                      <a:pt x="491" y="456"/>
                    </a:lnTo>
                    <a:lnTo>
                      <a:pt x="491" y="456"/>
                    </a:lnTo>
                    <a:lnTo>
                      <a:pt x="492" y="454"/>
                    </a:lnTo>
                    <a:lnTo>
                      <a:pt x="492" y="454"/>
                    </a:lnTo>
                    <a:lnTo>
                      <a:pt x="492" y="453"/>
                    </a:lnTo>
                    <a:lnTo>
                      <a:pt x="492" y="453"/>
                    </a:lnTo>
                    <a:lnTo>
                      <a:pt x="492" y="451"/>
                    </a:lnTo>
                    <a:lnTo>
                      <a:pt x="492" y="451"/>
                    </a:lnTo>
                    <a:lnTo>
                      <a:pt x="494" y="454"/>
                    </a:lnTo>
                    <a:lnTo>
                      <a:pt x="494" y="454"/>
                    </a:lnTo>
                    <a:lnTo>
                      <a:pt x="494" y="456"/>
                    </a:lnTo>
                    <a:lnTo>
                      <a:pt x="494" y="456"/>
                    </a:lnTo>
                    <a:lnTo>
                      <a:pt x="495" y="456"/>
                    </a:lnTo>
                    <a:lnTo>
                      <a:pt x="495" y="456"/>
                    </a:lnTo>
                    <a:lnTo>
                      <a:pt x="495" y="454"/>
                    </a:lnTo>
                    <a:lnTo>
                      <a:pt x="495" y="454"/>
                    </a:lnTo>
                    <a:lnTo>
                      <a:pt x="497" y="456"/>
                    </a:lnTo>
                    <a:lnTo>
                      <a:pt x="497" y="456"/>
                    </a:lnTo>
                    <a:lnTo>
                      <a:pt x="499" y="456"/>
                    </a:lnTo>
                    <a:lnTo>
                      <a:pt x="499" y="456"/>
                    </a:lnTo>
                    <a:lnTo>
                      <a:pt x="497" y="458"/>
                    </a:lnTo>
                    <a:lnTo>
                      <a:pt x="497" y="458"/>
                    </a:lnTo>
                    <a:lnTo>
                      <a:pt x="497" y="458"/>
                    </a:lnTo>
                    <a:lnTo>
                      <a:pt x="497" y="458"/>
                    </a:lnTo>
                    <a:lnTo>
                      <a:pt x="495" y="461"/>
                    </a:lnTo>
                    <a:lnTo>
                      <a:pt x="495" y="461"/>
                    </a:lnTo>
                    <a:lnTo>
                      <a:pt x="495" y="461"/>
                    </a:lnTo>
                    <a:lnTo>
                      <a:pt x="495" y="461"/>
                    </a:lnTo>
                    <a:lnTo>
                      <a:pt x="497" y="464"/>
                    </a:lnTo>
                    <a:lnTo>
                      <a:pt x="497" y="464"/>
                    </a:lnTo>
                    <a:lnTo>
                      <a:pt x="497" y="467"/>
                    </a:lnTo>
                    <a:lnTo>
                      <a:pt x="497" y="467"/>
                    </a:lnTo>
                    <a:lnTo>
                      <a:pt x="499" y="467"/>
                    </a:lnTo>
                    <a:lnTo>
                      <a:pt x="499" y="467"/>
                    </a:lnTo>
                    <a:lnTo>
                      <a:pt x="499" y="467"/>
                    </a:lnTo>
                    <a:lnTo>
                      <a:pt x="499" y="467"/>
                    </a:lnTo>
                    <a:lnTo>
                      <a:pt x="499" y="469"/>
                    </a:lnTo>
                    <a:lnTo>
                      <a:pt x="499" y="469"/>
                    </a:lnTo>
                    <a:lnTo>
                      <a:pt x="502" y="470"/>
                    </a:lnTo>
                    <a:lnTo>
                      <a:pt x="502" y="470"/>
                    </a:lnTo>
                    <a:lnTo>
                      <a:pt x="500" y="470"/>
                    </a:lnTo>
                    <a:lnTo>
                      <a:pt x="500" y="470"/>
                    </a:lnTo>
                    <a:lnTo>
                      <a:pt x="500" y="472"/>
                    </a:lnTo>
                    <a:lnTo>
                      <a:pt x="500" y="472"/>
                    </a:lnTo>
                    <a:lnTo>
                      <a:pt x="505" y="472"/>
                    </a:lnTo>
                    <a:lnTo>
                      <a:pt x="505" y="472"/>
                    </a:lnTo>
                    <a:lnTo>
                      <a:pt x="507" y="472"/>
                    </a:lnTo>
                    <a:lnTo>
                      <a:pt x="507" y="472"/>
                    </a:lnTo>
                    <a:lnTo>
                      <a:pt x="508" y="470"/>
                    </a:lnTo>
                    <a:lnTo>
                      <a:pt x="508" y="470"/>
                    </a:lnTo>
                    <a:lnTo>
                      <a:pt x="507" y="467"/>
                    </a:lnTo>
                    <a:lnTo>
                      <a:pt x="507" y="467"/>
                    </a:lnTo>
                    <a:lnTo>
                      <a:pt x="505" y="464"/>
                    </a:lnTo>
                    <a:lnTo>
                      <a:pt x="505" y="464"/>
                    </a:lnTo>
                    <a:lnTo>
                      <a:pt x="503" y="464"/>
                    </a:lnTo>
                    <a:lnTo>
                      <a:pt x="503" y="464"/>
                    </a:lnTo>
                    <a:lnTo>
                      <a:pt x="502" y="464"/>
                    </a:lnTo>
                    <a:lnTo>
                      <a:pt x="502" y="464"/>
                    </a:lnTo>
                    <a:lnTo>
                      <a:pt x="503" y="461"/>
                    </a:lnTo>
                    <a:lnTo>
                      <a:pt x="503" y="461"/>
                    </a:lnTo>
                    <a:lnTo>
                      <a:pt x="505" y="461"/>
                    </a:lnTo>
                    <a:lnTo>
                      <a:pt x="505" y="461"/>
                    </a:lnTo>
                    <a:lnTo>
                      <a:pt x="505" y="458"/>
                    </a:lnTo>
                    <a:lnTo>
                      <a:pt x="505" y="458"/>
                    </a:lnTo>
                    <a:lnTo>
                      <a:pt x="507" y="458"/>
                    </a:lnTo>
                    <a:lnTo>
                      <a:pt x="507" y="458"/>
                    </a:lnTo>
                    <a:lnTo>
                      <a:pt x="508" y="458"/>
                    </a:lnTo>
                    <a:lnTo>
                      <a:pt x="508" y="458"/>
                    </a:lnTo>
                    <a:lnTo>
                      <a:pt x="508" y="458"/>
                    </a:lnTo>
                    <a:lnTo>
                      <a:pt x="508" y="458"/>
                    </a:lnTo>
                    <a:lnTo>
                      <a:pt x="510" y="456"/>
                    </a:lnTo>
                    <a:lnTo>
                      <a:pt x="510" y="456"/>
                    </a:lnTo>
                    <a:lnTo>
                      <a:pt x="513" y="456"/>
                    </a:lnTo>
                    <a:lnTo>
                      <a:pt x="513" y="456"/>
                    </a:lnTo>
                    <a:lnTo>
                      <a:pt x="514" y="456"/>
                    </a:lnTo>
                    <a:lnTo>
                      <a:pt x="514" y="456"/>
                    </a:lnTo>
                    <a:lnTo>
                      <a:pt x="514" y="456"/>
                    </a:lnTo>
                    <a:lnTo>
                      <a:pt x="514" y="456"/>
                    </a:lnTo>
                    <a:lnTo>
                      <a:pt x="518" y="454"/>
                    </a:lnTo>
                    <a:lnTo>
                      <a:pt x="518" y="454"/>
                    </a:lnTo>
                    <a:lnTo>
                      <a:pt x="518" y="454"/>
                    </a:lnTo>
                    <a:lnTo>
                      <a:pt x="518" y="454"/>
                    </a:lnTo>
                    <a:lnTo>
                      <a:pt x="521" y="454"/>
                    </a:lnTo>
                    <a:lnTo>
                      <a:pt x="521" y="454"/>
                    </a:lnTo>
                    <a:lnTo>
                      <a:pt x="521" y="453"/>
                    </a:lnTo>
                    <a:lnTo>
                      <a:pt x="521" y="453"/>
                    </a:lnTo>
                    <a:lnTo>
                      <a:pt x="521" y="451"/>
                    </a:lnTo>
                    <a:lnTo>
                      <a:pt x="521" y="451"/>
                    </a:lnTo>
                    <a:lnTo>
                      <a:pt x="521" y="451"/>
                    </a:lnTo>
                    <a:lnTo>
                      <a:pt x="521" y="451"/>
                    </a:lnTo>
                    <a:lnTo>
                      <a:pt x="524" y="451"/>
                    </a:lnTo>
                    <a:lnTo>
                      <a:pt x="524" y="451"/>
                    </a:lnTo>
                    <a:lnTo>
                      <a:pt x="521" y="450"/>
                    </a:lnTo>
                    <a:lnTo>
                      <a:pt x="521" y="450"/>
                    </a:lnTo>
                    <a:lnTo>
                      <a:pt x="524" y="451"/>
                    </a:lnTo>
                    <a:lnTo>
                      <a:pt x="524" y="451"/>
                    </a:lnTo>
                    <a:lnTo>
                      <a:pt x="526" y="453"/>
                    </a:lnTo>
                    <a:lnTo>
                      <a:pt x="526" y="453"/>
                    </a:lnTo>
                    <a:lnTo>
                      <a:pt x="527" y="451"/>
                    </a:lnTo>
                    <a:lnTo>
                      <a:pt x="527" y="451"/>
                    </a:lnTo>
                    <a:lnTo>
                      <a:pt x="527" y="448"/>
                    </a:lnTo>
                    <a:lnTo>
                      <a:pt x="527" y="448"/>
                    </a:lnTo>
                    <a:lnTo>
                      <a:pt x="529" y="448"/>
                    </a:lnTo>
                    <a:lnTo>
                      <a:pt x="529" y="448"/>
                    </a:lnTo>
                    <a:lnTo>
                      <a:pt x="529" y="450"/>
                    </a:lnTo>
                    <a:lnTo>
                      <a:pt x="529" y="450"/>
                    </a:lnTo>
                    <a:lnTo>
                      <a:pt x="529" y="451"/>
                    </a:lnTo>
                    <a:lnTo>
                      <a:pt x="529" y="451"/>
                    </a:lnTo>
                    <a:lnTo>
                      <a:pt x="530" y="451"/>
                    </a:lnTo>
                    <a:lnTo>
                      <a:pt x="530" y="451"/>
                    </a:lnTo>
                    <a:lnTo>
                      <a:pt x="532" y="450"/>
                    </a:lnTo>
                    <a:lnTo>
                      <a:pt x="532" y="450"/>
                    </a:lnTo>
                    <a:lnTo>
                      <a:pt x="534" y="448"/>
                    </a:lnTo>
                    <a:lnTo>
                      <a:pt x="534" y="448"/>
                    </a:lnTo>
                    <a:lnTo>
                      <a:pt x="535" y="450"/>
                    </a:lnTo>
                    <a:lnTo>
                      <a:pt x="535" y="450"/>
                    </a:lnTo>
                    <a:lnTo>
                      <a:pt x="535" y="447"/>
                    </a:lnTo>
                    <a:lnTo>
                      <a:pt x="535" y="447"/>
                    </a:lnTo>
                    <a:lnTo>
                      <a:pt x="537" y="445"/>
                    </a:lnTo>
                    <a:lnTo>
                      <a:pt x="537" y="445"/>
                    </a:lnTo>
                    <a:lnTo>
                      <a:pt x="538" y="447"/>
                    </a:lnTo>
                    <a:lnTo>
                      <a:pt x="538" y="447"/>
                    </a:lnTo>
                    <a:lnTo>
                      <a:pt x="540" y="445"/>
                    </a:lnTo>
                    <a:lnTo>
                      <a:pt x="540" y="445"/>
                    </a:lnTo>
                    <a:lnTo>
                      <a:pt x="541" y="445"/>
                    </a:lnTo>
                    <a:lnTo>
                      <a:pt x="541" y="445"/>
                    </a:lnTo>
                    <a:lnTo>
                      <a:pt x="543" y="442"/>
                    </a:lnTo>
                    <a:lnTo>
                      <a:pt x="543" y="442"/>
                    </a:lnTo>
                    <a:lnTo>
                      <a:pt x="541" y="440"/>
                    </a:lnTo>
                    <a:lnTo>
                      <a:pt x="541" y="440"/>
                    </a:lnTo>
                    <a:lnTo>
                      <a:pt x="538" y="437"/>
                    </a:lnTo>
                    <a:lnTo>
                      <a:pt x="538" y="437"/>
                    </a:lnTo>
                    <a:lnTo>
                      <a:pt x="540" y="437"/>
                    </a:lnTo>
                    <a:lnTo>
                      <a:pt x="540" y="437"/>
                    </a:lnTo>
                    <a:lnTo>
                      <a:pt x="538" y="435"/>
                    </a:lnTo>
                    <a:lnTo>
                      <a:pt x="538" y="435"/>
                    </a:lnTo>
                    <a:lnTo>
                      <a:pt x="535" y="434"/>
                    </a:lnTo>
                    <a:lnTo>
                      <a:pt x="535" y="434"/>
                    </a:lnTo>
                    <a:lnTo>
                      <a:pt x="538" y="434"/>
                    </a:lnTo>
                    <a:lnTo>
                      <a:pt x="538" y="434"/>
                    </a:lnTo>
                    <a:lnTo>
                      <a:pt x="538" y="432"/>
                    </a:lnTo>
                    <a:lnTo>
                      <a:pt x="538" y="432"/>
                    </a:lnTo>
                    <a:lnTo>
                      <a:pt x="540" y="432"/>
                    </a:lnTo>
                    <a:lnTo>
                      <a:pt x="540" y="432"/>
                    </a:lnTo>
                    <a:lnTo>
                      <a:pt x="541" y="432"/>
                    </a:lnTo>
                    <a:lnTo>
                      <a:pt x="541" y="432"/>
                    </a:lnTo>
                    <a:lnTo>
                      <a:pt x="540" y="432"/>
                    </a:lnTo>
                    <a:lnTo>
                      <a:pt x="540" y="432"/>
                    </a:lnTo>
                    <a:lnTo>
                      <a:pt x="540" y="434"/>
                    </a:lnTo>
                    <a:lnTo>
                      <a:pt x="540" y="434"/>
                    </a:lnTo>
                    <a:lnTo>
                      <a:pt x="541" y="432"/>
                    </a:lnTo>
                    <a:lnTo>
                      <a:pt x="541" y="432"/>
                    </a:lnTo>
                    <a:lnTo>
                      <a:pt x="541" y="435"/>
                    </a:lnTo>
                    <a:lnTo>
                      <a:pt x="541" y="435"/>
                    </a:lnTo>
                    <a:lnTo>
                      <a:pt x="543" y="437"/>
                    </a:lnTo>
                    <a:lnTo>
                      <a:pt x="543" y="437"/>
                    </a:lnTo>
                    <a:lnTo>
                      <a:pt x="545" y="439"/>
                    </a:lnTo>
                    <a:lnTo>
                      <a:pt x="545" y="439"/>
                    </a:lnTo>
                    <a:lnTo>
                      <a:pt x="545" y="440"/>
                    </a:lnTo>
                    <a:lnTo>
                      <a:pt x="545" y="440"/>
                    </a:lnTo>
                    <a:lnTo>
                      <a:pt x="546" y="440"/>
                    </a:lnTo>
                    <a:lnTo>
                      <a:pt x="546" y="440"/>
                    </a:lnTo>
                    <a:lnTo>
                      <a:pt x="549" y="439"/>
                    </a:lnTo>
                    <a:lnTo>
                      <a:pt x="549" y="439"/>
                    </a:lnTo>
                    <a:lnTo>
                      <a:pt x="553" y="440"/>
                    </a:lnTo>
                    <a:lnTo>
                      <a:pt x="553" y="440"/>
                    </a:lnTo>
                    <a:lnTo>
                      <a:pt x="553" y="442"/>
                    </a:lnTo>
                    <a:lnTo>
                      <a:pt x="553" y="442"/>
                    </a:lnTo>
                    <a:lnTo>
                      <a:pt x="556" y="440"/>
                    </a:lnTo>
                    <a:lnTo>
                      <a:pt x="556" y="440"/>
                    </a:lnTo>
                    <a:lnTo>
                      <a:pt x="553" y="439"/>
                    </a:lnTo>
                    <a:lnTo>
                      <a:pt x="553" y="439"/>
                    </a:lnTo>
                    <a:lnTo>
                      <a:pt x="553" y="439"/>
                    </a:lnTo>
                    <a:lnTo>
                      <a:pt x="553" y="439"/>
                    </a:lnTo>
                    <a:lnTo>
                      <a:pt x="553" y="437"/>
                    </a:lnTo>
                    <a:lnTo>
                      <a:pt x="553" y="437"/>
                    </a:lnTo>
                    <a:lnTo>
                      <a:pt x="556" y="435"/>
                    </a:lnTo>
                    <a:lnTo>
                      <a:pt x="556" y="435"/>
                    </a:lnTo>
                    <a:lnTo>
                      <a:pt x="556" y="437"/>
                    </a:lnTo>
                    <a:lnTo>
                      <a:pt x="556" y="437"/>
                    </a:lnTo>
                    <a:lnTo>
                      <a:pt x="556" y="439"/>
                    </a:lnTo>
                    <a:lnTo>
                      <a:pt x="556" y="439"/>
                    </a:lnTo>
                    <a:lnTo>
                      <a:pt x="559" y="439"/>
                    </a:lnTo>
                    <a:lnTo>
                      <a:pt x="559" y="439"/>
                    </a:lnTo>
                    <a:lnTo>
                      <a:pt x="559" y="437"/>
                    </a:lnTo>
                    <a:lnTo>
                      <a:pt x="559" y="437"/>
                    </a:lnTo>
                    <a:lnTo>
                      <a:pt x="559" y="437"/>
                    </a:lnTo>
                    <a:lnTo>
                      <a:pt x="559" y="437"/>
                    </a:lnTo>
                    <a:lnTo>
                      <a:pt x="561" y="435"/>
                    </a:lnTo>
                    <a:lnTo>
                      <a:pt x="561" y="435"/>
                    </a:lnTo>
                    <a:lnTo>
                      <a:pt x="562" y="437"/>
                    </a:lnTo>
                    <a:lnTo>
                      <a:pt x="562" y="437"/>
                    </a:lnTo>
                    <a:lnTo>
                      <a:pt x="564" y="437"/>
                    </a:lnTo>
                    <a:lnTo>
                      <a:pt x="564" y="437"/>
                    </a:lnTo>
                    <a:lnTo>
                      <a:pt x="565" y="439"/>
                    </a:lnTo>
                    <a:lnTo>
                      <a:pt x="565" y="439"/>
                    </a:lnTo>
                    <a:lnTo>
                      <a:pt x="565" y="437"/>
                    </a:lnTo>
                    <a:lnTo>
                      <a:pt x="565" y="437"/>
                    </a:lnTo>
                    <a:lnTo>
                      <a:pt x="565" y="435"/>
                    </a:lnTo>
                    <a:lnTo>
                      <a:pt x="565" y="435"/>
                    </a:lnTo>
                    <a:lnTo>
                      <a:pt x="564" y="434"/>
                    </a:lnTo>
                    <a:lnTo>
                      <a:pt x="564" y="434"/>
                    </a:lnTo>
                    <a:lnTo>
                      <a:pt x="565" y="434"/>
                    </a:lnTo>
                    <a:lnTo>
                      <a:pt x="565" y="434"/>
                    </a:lnTo>
                    <a:lnTo>
                      <a:pt x="567" y="434"/>
                    </a:lnTo>
                    <a:lnTo>
                      <a:pt x="567" y="434"/>
                    </a:lnTo>
                    <a:lnTo>
                      <a:pt x="567" y="435"/>
                    </a:lnTo>
                    <a:lnTo>
                      <a:pt x="567" y="435"/>
                    </a:lnTo>
                    <a:lnTo>
                      <a:pt x="568" y="435"/>
                    </a:lnTo>
                    <a:lnTo>
                      <a:pt x="568" y="435"/>
                    </a:lnTo>
                    <a:lnTo>
                      <a:pt x="570" y="435"/>
                    </a:lnTo>
                    <a:lnTo>
                      <a:pt x="570" y="435"/>
                    </a:lnTo>
                    <a:lnTo>
                      <a:pt x="570" y="434"/>
                    </a:lnTo>
                    <a:lnTo>
                      <a:pt x="570" y="434"/>
                    </a:lnTo>
                    <a:lnTo>
                      <a:pt x="573" y="434"/>
                    </a:lnTo>
                    <a:lnTo>
                      <a:pt x="573" y="434"/>
                    </a:lnTo>
                    <a:lnTo>
                      <a:pt x="576" y="434"/>
                    </a:lnTo>
                    <a:lnTo>
                      <a:pt x="576" y="434"/>
                    </a:lnTo>
                    <a:lnTo>
                      <a:pt x="576" y="432"/>
                    </a:lnTo>
                    <a:lnTo>
                      <a:pt x="576" y="432"/>
                    </a:lnTo>
                    <a:lnTo>
                      <a:pt x="578" y="431"/>
                    </a:lnTo>
                    <a:lnTo>
                      <a:pt x="578" y="431"/>
                    </a:lnTo>
                    <a:lnTo>
                      <a:pt x="580" y="431"/>
                    </a:lnTo>
                    <a:lnTo>
                      <a:pt x="580" y="431"/>
                    </a:lnTo>
                    <a:lnTo>
                      <a:pt x="578" y="429"/>
                    </a:lnTo>
                    <a:lnTo>
                      <a:pt x="578" y="429"/>
                    </a:lnTo>
                    <a:lnTo>
                      <a:pt x="580" y="429"/>
                    </a:lnTo>
                    <a:lnTo>
                      <a:pt x="580" y="429"/>
                    </a:lnTo>
                    <a:lnTo>
                      <a:pt x="580" y="426"/>
                    </a:lnTo>
                    <a:lnTo>
                      <a:pt x="580" y="426"/>
                    </a:lnTo>
                    <a:lnTo>
                      <a:pt x="581" y="424"/>
                    </a:lnTo>
                    <a:lnTo>
                      <a:pt x="581" y="424"/>
                    </a:lnTo>
                    <a:lnTo>
                      <a:pt x="581" y="426"/>
                    </a:lnTo>
                    <a:lnTo>
                      <a:pt x="581" y="426"/>
                    </a:lnTo>
                    <a:lnTo>
                      <a:pt x="584" y="424"/>
                    </a:lnTo>
                    <a:lnTo>
                      <a:pt x="584" y="424"/>
                    </a:lnTo>
                    <a:lnTo>
                      <a:pt x="584" y="423"/>
                    </a:lnTo>
                    <a:lnTo>
                      <a:pt x="584" y="423"/>
                    </a:lnTo>
                    <a:lnTo>
                      <a:pt x="588" y="421"/>
                    </a:lnTo>
                    <a:lnTo>
                      <a:pt x="588" y="421"/>
                    </a:lnTo>
                    <a:lnTo>
                      <a:pt x="588" y="421"/>
                    </a:lnTo>
                    <a:lnTo>
                      <a:pt x="588" y="421"/>
                    </a:lnTo>
                    <a:lnTo>
                      <a:pt x="588" y="418"/>
                    </a:lnTo>
                    <a:lnTo>
                      <a:pt x="588" y="418"/>
                    </a:lnTo>
                    <a:lnTo>
                      <a:pt x="589" y="418"/>
                    </a:lnTo>
                    <a:lnTo>
                      <a:pt x="589" y="418"/>
                    </a:lnTo>
                    <a:lnTo>
                      <a:pt x="589" y="420"/>
                    </a:lnTo>
                    <a:lnTo>
                      <a:pt x="589" y="420"/>
                    </a:lnTo>
                    <a:lnTo>
                      <a:pt x="591" y="418"/>
                    </a:lnTo>
                    <a:lnTo>
                      <a:pt x="591" y="418"/>
                    </a:lnTo>
                    <a:lnTo>
                      <a:pt x="591" y="416"/>
                    </a:lnTo>
                    <a:lnTo>
                      <a:pt x="591" y="416"/>
                    </a:lnTo>
                    <a:lnTo>
                      <a:pt x="592" y="415"/>
                    </a:lnTo>
                    <a:lnTo>
                      <a:pt x="592" y="415"/>
                    </a:lnTo>
                    <a:lnTo>
                      <a:pt x="592" y="413"/>
                    </a:lnTo>
                    <a:lnTo>
                      <a:pt x="592" y="413"/>
                    </a:lnTo>
                    <a:lnTo>
                      <a:pt x="589" y="413"/>
                    </a:lnTo>
                    <a:lnTo>
                      <a:pt x="589" y="413"/>
                    </a:lnTo>
                    <a:lnTo>
                      <a:pt x="588" y="412"/>
                    </a:lnTo>
                    <a:lnTo>
                      <a:pt x="588" y="412"/>
                    </a:lnTo>
                    <a:lnTo>
                      <a:pt x="591" y="412"/>
                    </a:lnTo>
                    <a:lnTo>
                      <a:pt x="591" y="412"/>
                    </a:lnTo>
                    <a:lnTo>
                      <a:pt x="592" y="412"/>
                    </a:lnTo>
                    <a:lnTo>
                      <a:pt x="592" y="412"/>
                    </a:lnTo>
                    <a:lnTo>
                      <a:pt x="594" y="412"/>
                    </a:lnTo>
                    <a:lnTo>
                      <a:pt x="594" y="412"/>
                    </a:lnTo>
                    <a:lnTo>
                      <a:pt x="595" y="412"/>
                    </a:lnTo>
                    <a:lnTo>
                      <a:pt x="595" y="412"/>
                    </a:lnTo>
                    <a:lnTo>
                      <a:pt x="597" y="408"/>
                    </a:lnTo>
                    <a:lnTo>
                      <a:pt x="597" y="408"/>
                    </a:lnTo>
                    <a:lnTo>
                      <a:pt x="599" y="412"/>
                    </a:lnTo>
                    <a:lnTo>
                      <a:pt x="599" y="412"/>
                    </a:lnTo>
                    <a:lnTo>
                      <a:pt x="600" y="412"/>
                    </a:lnTo>
                    <a:lnTo>
                      <a:pt x="600" y="412"/>
                    </a:lnTo>
                    <a:lnTo>
                      <a:pt x="599" y="408"/>
                    </a:lnTo>
                    <a:lnTo>
                      <a:pt x="599" y="408"/>
                    </a:lnTo>
                    <a:lnTo>
                      <a:pt x="600" y="405"/>
                    </a:lnTo>
                    <a:lnTo>
                      <a:pt x="600" y="405"/>
                    </a:lnTo>
                    <a:lnTo>
                      <a:pt x="602" y="405"/>
                    </a:lnTo>
                    <a:lnTo>
                      <a:pt x="602" y="405"/>
                    </a:lnTo>
                    <a:lnTo>
                      <a:pt x="602" y="402"/>
                    </a:lnTo>
                    <a:lnTo>
                      <a:pt x="602" y="402"/>
                    </a:lnTo>
                    <a:lnTo>
                      <a:pt x="600" y="402"/>
                    </a:lnTo>
                    <a:lnTo>
                      <a:pt x="600" y="402"/>
                    </a:lnTo>
                    <a:lnTo>
                      <a:pt x="602" y="402"/>
                    </a:lnTo>
                    <a:lnTo>
                      <a:pt x="602" y="402"/>
                    </a:lnTo>
                    <a:lnTo>
                      <a:pt x="603" y="402"/>
                    </a:lnTo>
                    <a:lnTo>
                      <a:pt x="603" y="402"/>
                    </a:lnTo>
                    <a:lnTo>
                      <a:pt x="603" y="402"/>
                    </a:lnTo>
                    <a:lnTo>
                      <a:pt x="603" y="402"/>
                    </a:lnTo>
                    <a:lnTo>
                      <a:pt x="605" y="402"/>
                    </a:lnTo>
                    <a:lnTo>
                      <a:pt x="605" y="402"/>
                    </a:lnTo>
                    <a:lnTo>
                      <a:pt x="605" y="402"/>
                    </a:lnTo>
                    <a:lnTo>
                      <a:pt x="605" y="402"/>
                    </a:lnTo>
                    <a:lnTo>
                      <a:pt x="605" y="399"/>
                    </a:lnTo>
                    <a:lnTo>
                      <a:pt x="605" y="399"/>
                    </a:lnTo>
                    <a:lnTo>
                      <a:pt x="602" y="399"/>
                    </a:lnTo>
                    <a:lnTo>
                      <a:pt x="602" y="399"/>
                    </a:lnTo>
                    <a:lnTo>
                      <a:pt x="603" y="397"/>
                    </a:lnTo>
                    <a:lnTo>
                      <a:pt x="603" y="397"/>
                    </a:lnTo>
                    <a:lnTo>
                      <a:pt x="605" y="399"/>
                    </a:lnTo>
                    <a:lnTo>
                      <a:pt x="605" y="399"/>
                    </a:lnTo>
                    <a:lnTo>
                      <a:pt x="608" y="399"/>
                    </a:lnTo>
                    <a:lnTo>
                      <a:pt x="608" y="399"/>
                    </a:lnTo>
                    <a:lnTo>
                      <a:pt x="608" y="397"/>
                    </a:lnTo>
                    <a:lnTo>
                      <a:pt x="608" y="397"/>
                    </a:lnTo>
                    <a:lnTo>
                      <a:pt x="605" y="397"/>
                    </a:lnTo>
                    <a:lnTo>
                      <a:pt x="605" y="397"/>
                    </a:lnTo>
                    <a:lnTo>
                      <a:pt x="605" y="396"/>
                    </a:lnTo>
                    <a:lnTo>
                      <a:pt x="605" y="396"/>
                    </a:lnTo>
                    <a:lnTo>
                      <a:pt x="605" y="393"/>
                    </a:lnTo>
                    <a:lnTo>
                      <a:pt x="605" y="393"/>
                    </a:lnTo>
                    <a:lnTo>
                      <a:pt x="608" y="391"/>
                    </a:lnTo>
                    <a:lnTo>
                      <a:pt x="608" y="391"/>
                    </a:lnTo>
                    <a:lnTo>
                      <a:pt x="605" y="391"/>
                    </a:lnTo>
                    <a:lnTo>
                      <a:pt x="605" y="391"/>
                    </a:lnTo>
                    <a:lnTo>
                      <a:pt x="605" y="391"/>
                    </a:lnTo>
                    <a:lnTo>
                      <a:pt x="605" y="391"/>
                    </a:lnTo>
                    <a:lnTo>
                      <a:pt x="603" y="391"/>
                    </a:lnTo>
                    <a:lnTo>
                      <a:pt x="603" y="391"/>
                    </a:lnTo>
                    <a:lnTo>
                      <a:pt x="602" y="391"/>
                    </a:lnTo>
                    <a:lnTo>
                      <a:pt x="602" y="391"/>
                    </a:lnTo>
                    <a:lnTo>
                      <a:pt x="600" y="388"/>
                    </a:lnTo>
                    <a:lnTo>
                      <a:pt x="600" y="388"/>
                    </a:lnTo>
                    <a:lnTo>
                      <a:pt x="605" y="391"/>
                    </a:lnTo>
                    <a:lnTo>
                      <a:pt x="605" y="391"/>
                    </a:lnTo>
                    <a:lnTo>
                      <a:pt x="605" y="386"/>
                    </a:lnTo>
                    <a:lnTo>
                      <a:pt x="605" y="386"/>
                    </a:lnTo>
                    <a:lnTo>
                      <a:pt x="608" y="386"/>
                    </a:lnTo>
                    <a:lnTo>
                      <a:pt x="608" y="386"/>
                    </a:lnTo>
                    <a:lnTo>
                      <a:pt x="608" y="385"/>
                    </a:lnTo>
                    <a:lnTo>
                      <a:pt x="608" y="385"/>
                    </a:lnTo>
                    <a:lnTo>
                      <a:pt x="605" y="385"/>
                    </a:lnTo>
                    <a:lnTo>
                      <a:pt x="605" y="385"/>
                    </a:lnTo>
                    <a:lnTo>
                      <a:pt x="605" y="385"/>
                    </a:lnTo>
                    <a:lnTo>
                      <a:pt x="605" y="385"/>
                    </a:lnTo>
                    <a:lnTo>
                      <a:pt x="605" y="383"/>
                    </a:lnTo>
                    <a:lnTo>
                      <a:pt x="605" y="383"/>
                    </a:lnTo>
                    <a:lnTo>
                      <a:pt x="605" y="381"/>
                    </a:lnTo>
                    <a:lnTo>
                      <a:pt x="605" y="381"/>
                    </a:lnTo>
                    <a:lnTo>
                      <a:pt x="603" y="378"/>
                    </a:lnTo>
                    <a:lnTo>
                      <a:pt x="603" y="378"/>
                    </a:lnTo>
                    <a:lnTo>
                      <a:pt x="605" y="378"/>
                    </a:lnTo>
                    <a:lnTo>
                      <a:pt x="605" y="378"/>
                    </a:lnTo>
                    <a:lnTo>
                      <a:pt x="605" y="378"/>
                    </a:lnTo>
                    <a:lnTo>
                      <a:pt x="605" y="378"/>
                    </a:lnTo>
                    <a:lnTo>
                      <a:pt x="608" y="380"/>
                    </a:lnTo>
                    <a:lnTo>
                      <a:pt x="608" y="380"/>
                    </a:lnTo>
                    <a:lnTo>
                      <a:pt x="608" y="378"/>
                    </a:lnTo>
                    <a:lnTo>
                      <a:pt x="608" y="378"/>
                    </a:lnTo>
                    <a:lnTo>
                      <a:pt x="608" y="380"/>
                    </a:lnTo>
                    <a:lnTo>
                      <a:pt x="608" y="380"/>
                    </a:lnTo>
                    <a:lnTo>
                      <a:pt x="608" y="381"/>
                    </a:lnTo>
                    <a:lnTo>
                      <a:pt x="608" y="381"/>
                    </a:lnTo>
                    <a:lnTo>
                      <a:pt x="608" y="381"/>
                    </a:lnTo>
                    <a:lnTo>
                      <a:pt x="608" y="381"/>
                    </a:lnTo>
                    <a:lnTo>
                      <a:pt x="611" y="381"/>
                    </a:lnTo>
                    <a:lnTo>
                      <a:pt x="611" y="381"/>
                    </a:lnTo>
                    <a:lnTo>
                      <a:pt x="608" y="377"/>
                    </a:lnTo>
                    <a:lnTo>
                      <a:pt x="608" y="377"/>
                    </a:lnTo>
                    <a:lnTo>
                      <a:pt x="611" y="377"/>
                    </a:lnTo>
                    <a:lnTo>
                      <a:pt x="611" y="377"/>
                    </a:lnTo>
                    <a:lnTo>
                      <a:pt x="611" y="373"/>
                    </a:lnTo>
                    <a:lnTo>
                      <a:pt x="611" y="373"/>
                    </a:lnTo>
                    <a:lnTo>
                      <a:pt x="611" y="373"/>
                    </a:lnTo>
                    <a:lnTo>
                      <a:pt x="611" y="373"/>
                    </a:lnTo>
                    <a:lnTo>
                      <a:pt x="611" y="373"/>
                    </a:lnTo>
                    <a:lnTo>
                      <a:pt x="611" y="373"/>
                    </a:lnTo>
                    <a:lnTo>
                      <a:pt x="615" y="373"/>
                    </a:lnTo>
                    <a:lnTo>
                      <a:pt x="615" y="373"/>
                    </a:lnTo>
                    <a:lnTo>
                      <a:pt x="615" y="370"/>
                    </a:lnTo>
                    <a:lnTo>
                      <a:pt x="615" y="370"/>
                    </a:lnTo>
                    <a:lnTo>
                      <a:pt x="615" y="370"/>
                    </a:lnTo>
                    <a:lnTo>
                      <a:pt x="615" y="370"/>
                    </a:lnTo>
                    <a:lnTo>
                      <a:pt x="615" y="367"/>
                    </a:lnTo>
                    <a:lnTo>
                      <a:pt x="615" y="367"/>
                    </a:lnTo>
                    <a:lnTo>
                      <a:pt x="615" y="367"/>
                    </a:lnTo>
                    <a:lnTo>
                      <a:pt x="615" y="367"/>
                    </a:lnTo>
                    <a:lnTo>
                      <a:pt x="615" y="364"/>
                    </a:lnTo>
                    <a:lnTo>
                      <a:pt x="615" y="364"/>
                    </a:lnTo>
                    <a:lnTo>
                      <a:pt x="615" y="362"/>
                    </a:lnTo>
                    <a:lnTo>
                      <a:pt x="615" y="362"/>
                    </a:lnTo>
                    <a:lnTo>
                      <a:pt x="615" y="361"/>
                    </a:lnTo>
                    <a:lnTo>
                      <a:pt x="615" y="361"/>
                    </a:lnTo>
                    <a:lnTo>
                      <a:pt x="616" y="359"/>
                    </a:lnTo>
                    <a:lnTo>
                      <a:pt x="616" y="359"/>
                    </a:lnTo>
                    <a:lnTo>
                      <a:pt x="615" y="358"/>
                    </a:lnTo>
                    <a:lnTo>
                      <a:pt x="615" y="358"/>
                    </a:lnTo>
                    <a:lnTo>
                      <a:pt x="616" y="356"/>
                    </a:lnTo>
                    <a:lnTo>
                      <a:pt x="616" y="356"/>
                    </a:lnTo>
                    <a:lnTo>
                      <a:pt x="618" y="358"/>
                    </a:lnTo>
                    <a:lnTo>
                      <a:pt x="618" y="358"/>
                    </a:lnTo>
                    <a:lnTo>
                      <a:pt x="619" y="359"/>
                    </a:lnTo>
                    <a:lnTo>
                      <a:pt x="619" y="359"/>
                    </a:lnTo>
                    <a:lnTo>
                      <a:pt x="619" y="358"/>
                    </a:lnTo>
                    <a:lnTo>
                      <a:pt x="619" y="358"/>
                    </a:lnTo>
                    <a:lnTo>
                      <a:pt x="621" y="358"/>
                    </a:lnTo>
                    <a:lnTo>
                      <a:pt x="621" y="358"/>
                    </a:lnTo>
                    <a:lnTo>
                      <a:pt x="622" y="356"/>
                    </a:lnTo>
                    <a:lnTo>
                      <a:pt x="622" y="356"/>
                    </a:lnTo>
                    <a:lnTo>
                      <a:pt x="621" y="354"/>
                    </a:lnTo>
                    <a:lnTo>
                      <a:pt x="621" y="354"/>
                    </a:lnTo>
                    <a:lnTo>
                      <a:pt x="619" y="353"/>
                    </a:lnTo>
                    <a:lnTo>
                      <a:pt x="619" y="353"/>
                    </a:lnTo>
                    <a:lnTo>
                      <a:pt x="619" y="351"/>
                    </a:lnTo>
                    <a:lnTo>
                      <a:pt x="619" y="351"/>
                    </a:lnTo>
                    <a:lnTo>
                      <a:pt x="621" y="351"/>
                    </a:lnTo>
                    <a:lnTo>
                      <a:pt x="621" y="351"/>
                    </a:lnTo>
                    <a:lnTo>
                      <a:pt x="621" y="350"/>
                    </a:lnTo>
                    <a:lnTo>
                      <a:pt x="621" y="350"/>
                    </a:lnTo>
                    <a:lnTo>
                      <a:pt x="619" y="348"/>
                    </a:lnTo>
                    <a:lnTo>
                      <a:pt x="619" y="348"/>
                    </a:lnTo>
                    <a:lnTo>
                      <a:pt x="621" y="348"/>
                    </a:lnTo>
                    <a:lnTo>
                      <a:pt x="621" y="348"/>
                    </a:lnTo>
                    <a:lnTo>
                      <a:pt x="619" y="346"/>
                    </a:lnTo>
                    <a:lnTo>
                      <a:pt x="619" y="346"/>
                    </a:lnTo>
                    <a:lnTo>
                      <a:pt x="616" y="345"/>
                    </a:lnTo>
                    <a:lnTo>
                      <a:pt x="616" y="345"/>
                    </a:lnTo>
                    <a:lnTo>
                      <a:pt x="618" y="342"/>
                    </a:lnTo>
                    <a:lnTo>
                      <a:pt x="618" y="342"/>
                    </a:lnTo>
                    <a:lnTo>
                      <a:pt x="618" y="343"/>
                    </a:lnTo>
                    <a:lnTo>
                      <a:pt x="618" y="343"/>
                    </a:lnTo>
                    <a:lnTo>
                      <a:pt x="619" y="342"/>
                    </a:lnTo>
                    <a:lnTo>
                      <a:pt x="619" y="342"/>
                    </a:lnTo>
                    <a:lnTo>
                      <a:pt x="619" y="343"/>
                    </a:lnTo>
                    <a:lnTo>
                      <a:pt x="619" y="343"/>
                    </a:lnTo>
                    <a:lnTo>
                      <a:pt x="621" y="343"/>
                    </a:lnTo>
                    <a:lnTo>
                      <a:pt x="621" y="343"/>
                    </a:lnTo>
                    <a:lnTo>
                      <a:pt x="621" y="342"/>
                    </a:lnTo>
                    <a:lnTo>
                      <a:pt x="621" y="342"/>
                    </a:lnTo>
                    <a:lnTo>
                      <a:pt x="622" y="343"/>
                    </a:lnTo>
                    <a:lnTo>
                      <a:pt x="622" y="343"/>
                    </a:lnTo>
                    <a:lnTo>
                      <a:pt x="622" y="342"/>
                    </a:lnTo>
                    <a:lnTo>
                      <a:pt x="622" y="342"/>
                    </a:lnTo>
                    <a:lnTo>
                      <a:pt x="621" y="339"/>
                    </a:lnTo>
                    <a:lnTo>
                      <a:pt x="621" y="339"/>
                    </a:lnTo>
                    <a:lnTo>
                      <a:pt x="621" y="339"/>
                    </a:lnTo>
                    <a:lnTo>
                      <a:pt x="621" y="339"/>
                    </a:lnTo>
                    <a:lnTo>
                      <a:pt x="619" y="339"/>
                    </a:lnTo>
                    <a:lnTo>
                      <a:pt x="619" y="339"/>
                    </a:lnTo>
                    <a:lnTo>
                      <a:pt x="622" y="335"/>
                    </a:lnTo>
                    <a:lnTo>
                      <a:pt x="622" y="335"/>
                    </a:lnTo>
                    <a:lnTo>
                      <a:pt x="618" y="332"/>
                    </a:lnTo>
                    <a:lnTo>
                      <a:pt x="618" y="332"/>
                    </a:lnTo>
                    <a:lnTo>
                      <a:pt x="615" y="332"/>
                    </a:lnTo>
                    <a:lnTo>
                      <a:pt x="615" y="332"/>
                    </a:lnTo>
                    <a:lnTo>
                      <a:pt x="615" y="331"/>
                    </a:lnTo>
                    <a:lnTo>
                      <a:pt x="615" y="331"/>
                    </a:lnTo>
                    <a:lnTo>
                      <a:pt x="611" y="329"/>
                    </a:lnTo>
                    <a:lnTo>
                      <a:pt x="611" y="329"/>
                    </a:lnTo>
                    <a:lnTo>
                      <a:pt x="608" y="329"/>
                    </a:lnTo>
                    <a:lnTo>
                      <a:pt x="608" y="329"/>
                    </a:lnTo>
                    <a:lnTo>
                      <a:pt x="608" y="331"/>
                    </a:lnTo>
                    <a:lnTo>
                      <a:pt x="608" y="331"/>
                    </a:lnTo>
                    <a:lnTo>
                      <a:pt x="605" y="331"/>
                    </a:lnTo>
                    <a:lnTo>
                      <a:pt x="605" y="331"/>
                    </a:lnTo>
                    <a:lnTo>
                      <a:pt x="605" y="331"/>
                    </a:lnTo>
                    <a:lnTo>
                      <a:pt x="605" y="331"/>
                    </a:lnTo>
                    <a:lnTo>
                      <a:pt x="605" y="332"/>
                    </a:lnTo>
                    <a:lnTo>
                      <a:pt x="605" y="332"/>
                    </a:lnTo>
                    <a:lnTo>
                      <a:pt x="605" y="332"/>
                    </a:lnTo>
                    <a:lnTo>
                      <a:pt x="605" y="332"/>
                    </a:lnTo>
                    <a:lnTo>
                      <a:pt x="603" y="331"/>
                    </a:lnTo>
                    <a:lnTo>
                      <a:pt x="603" y="331"/>
                    </a:lnTo>
                    <a:lnTo>
                      <a:pt x="602" y="327"/>
                    </a:lnTo>
                    <a:lnTo>
                      <a:pt x="602" y="327"/>
                    </a:lnTo>
                    <a:lnTo>
                      <a:pt x="603" y="327"/>
                    </a:lnTo>
                    <a:lnTo>
                      <a:pt x="603" y="327"/>
                    </a:lnTo>
                    <a:lnTo>
                      <a:pt x="605" y="327"/>
                    </a:lnTo>
                    <a:lnTo>
                      <a:pt x="605" y="327"/>
                    </a:lnTo>
                    <a:lnTo>
                      <a:pt x="605" y="327"/>
                    </a:lnTo>
                    <a:lnTo>
                      <a:pt x="605" y="327"/>
                    </a:lnTo>
                    <a:lnTo>
                      <a:pt x="605" y="326"/>
                    </a:lnTo>
                    <a:lnTo>
                      <a:pt x="605" y="326"/>
                    </a:lnTo>
                    <a:lnTo>
                      <a:pt x="605" y="324"/>
                    </a:lnTo>
                    <a:lnTo>
                      <a:pt x="605" y="324"/>
                    </a:lnTo>
                    <a:lnTo>
                      <a:pt x="608" y="323"/>
                    </a:lnTo>
                    <a:lnTo>
                      <a:pt x="608" y="323"/>
                    </a:lnTo>
                    <a:lnTo>
                      <a:pt x="611" y="321"/>
                    </a:lnTo>
                    <a:lnTo>
                      <a:pt x="611" y="321"/>
                    </a:lnTo>
                    <a:lnTo>
                      <a:pt x="611" y="321"/>
                    </a:lnTo>
                    <a:lnTo>
                      <a:pt x="611" y="321"/>
                    </a:lnTo>
                    <a:lnTo>
                      <a:pt x="615" y="321"/>
                    </a:lnTo>
                    <a:lnTo>
                      <a:pt x="615" y="321"/>
                    </a:lnTo>
                    <a:lnTo>
                      <a:pt x="615" y="321"/>
                    </a:lnTo>
                    <a:lnTo>
                      <a:pt x="615" y="321"/>
                    </a:lnTo>
                    <a:lnTo>
                      <a:pt x="615" y="318"/>
                    </a:lnTo>
                    <a:lnTo>
                      <a:pt x="615" y="318"/>
                    </a:lnTo>
                    <a:lnTo>
                      <a:pt x="611" y="315"/>
                    </a:lnTo>
                    <a:lnTo>
                      <a:pt x="611" y="315"/>
                    </a:lnTo>
                    <a:lnTo>
                      <a:pt x="605" y="312"/>
                    </a:lnTo>
                    <a:lnTo>
                      <a:pt x="605" y="312"/>
                    </a:lnTo>
                    <a:lnTo>
                      <a:pt x="602" y="308"/>
                    </a:lnTo>
                    <a:lnTo>
                      <a:pt x="602" y="308"/>
                    </a:lnTo>
                    <a:lnTo>
                      <a:pt x="597" y="308"/>
                    </a:lnTo>
                    <a:lnTo>
                      <a:pt x="597" y="308"/>
                    </a:lnTo>
                    <a:lnTo>
                      <a:pt x="597" y="305"/>
                    </a:lnTo>
                    <a:lnTo>
                      <a:pt x="597" y="305"/>
                    </a:lnTo>
                    <a:lnTo>
                      <a:pt x="594" y="304"/>
                    </a:lnTo>
                    <a:lnTo>
                      <a:pt x="594" y="304"/>
                    </a:lnTo>
                    <a:lnTo>
                      <a:pt x="595" y="304"/>
                    </a:lnTo>
                    <a:lnTo>
                      <a:pt x="595" y="304"/>
                    </a:lnTo>
                    <a:lnTo>
                      <a:pt x="599" y="305"/>
                    </a:lnTo>
                    <a:lnTo>
                      <a:pt x="599" y="305"/>
                    </a:lnTo>
                    <a:lnTo>
                      <a:pt x="600" y="307"/>
                    </a:lnTo>
                    <a:lnTo>
                      <a:pt x="600" y="307"/>
                    </a:lnTo>
                    <a:lnTo>
                      <a:pt x="603" y="307"/>
                    </a:lnTo>
                    <a:lnTo>
                      <a:pt x="603" y="307"/>
                    </a:lnTo>
                    <a:lnTo>
                      <a:pt x="605" y="307"/>
                    </a:lnTo>
                    <a:lnTo>
                      <a:pt x="605" y="307"/>
                    </a:lnTo>
                    <a:lnTo>
                      <a:pt x="605" y="307"/>
                    </a:lnTo>
                    <a:lnTo>
                      <a:pt x="605" y="307"/>
                    </a:lnTo>
                    <a:lnTo>
                      <a:pt x="611" y="308"/>
                    </a:lnTo>
                    <a:lnTo>
                      <a:pt x="611" y="308"/>
                    </a:lnTo>
                    <a:lnTo>
                      <a:pt x="611" y="307"/>
                    </a:lnTo>
                    <a:lnTo>
                      <a:pt x="611" y="307"/>
                    </a:lnTo>
                    <a:lnTo>
                      <a:pt x="608" y="305"/>
                    </a:lnTo>
                    <a:lnTo>
                      <a:pt x="608" y="305"/>
                    </a:lnTo>
                    <a:lnTo>
                      <a:pt x="605" y="304"/>
                    </a:lnTo>
                    <a:lnTo>
                      <a:pt x="605" y="304"/>
                    </a:lnTo>
                    <a:lnTo>
                      <a:pt x="605" y="302"/>
                    </a:lnTo>
                    <a:lnTo>
                      <a:pt x="605" y="302"/>
                    </a:lnTo>
                    <a:lnTo>
                      <a:pt x="603" y="302"/>
                    </a:lnTo>
                    <a:lnTo>
                      <a:pt x="603" y="302"/>
                    </a:lnTo>
                    <a:lnTo>
                      <a:pt x="603" y="299"/>
                    </a:lnTo>
                    <a:lnTo>
                      <a:pt x="603" y="299"/>
                    </a:lnTo>
                    <a:lnTo>
                      <a:pt x="602" y="297"/>
                    </a:lnTo>
                    <a:lnTo>
                      <a:pt x="602" y="297"/>
                    </a:lnTo>
                    <a:lnTo>
                      <a:pt x="597" y="296"/>
                    </a:lnTo>
                    <a:lnTo>
                      <a:pt x="597" y="296"/>
                    </a:lnTo>
                    <a:lnTo>
                      <a:pt x="595" y="296"/>
                    </a:lnTo>
                    <a:lnTo>
                      <a:pt x="595" y="296"/>
                    </a:lnTo>
                    <a:lnTo>
                      <a:pt x="594" y="293"/>
                    </a:lnTo>
                    <a:lnTo>
                      <a:pt x="594" y="293"/>
                    </a:lnTo>
                    <a:lnTo>
                      <a:pt x="592" y="289"/>
                    </a:lnTo>
                    <a:lnTo>
                      <a:pt x="592" y="289"/>
                    </a:lnTo>
                    <a:lnTo>
                      <a:pt x="591" y="286"/>
                    </a:lnTo>
                    <a:lnTo>
                      <a:pt x="591" y="286"/>
                    </a:lnTo>
                    <a:lnTo>
                      <a:pt x="588" y="283"/>
                    </a:lnTo>
                    <a:lnTo>
                      <a:pt x="588" y="283"/>
                    </a:lnTo>
                    <a:lnTo>
                      <a:pt x="584" y="277"/>
                    </a:lnTo>
                    <a:lnTo>
                      <a:pt x="584" y="277"/>
                    </a:lnTo>
                    <a:lnTo>
                      <a:pt x="581" y="275"/>
                    </a:lnTo>
                    <a:lnTo>
                      <a:pt x="581" y="275"/>
                    </a:lnTo>
                    <a:lnTo>
                      <a:pt x="580" y="272"/>
                    </a:lnTo>
                    <a:lnTo>
                      <a:pt x="580" y="272"/>
                    </a:lnTo>
                    <a:lnTo>
                      <a:pt x="575" y="269"/>
                    </a:lnTo>
                    <a:lnTo>
                      <a:pt x="575" y="269"/>
                    </a:lnTo>
                    <a:lnTo>
                      <a:pt x="570" y="267"/>
                    </a:lnTo>
                    <a:lnTo>
                      <a:pt x="570" y="267"/>
                    </a:lnTo>
                    <a:lnTo>
                      <a:pt x="567" y="266"/>
                    </a:lnTo>
                    <a:lnTo>
                      <a:pt x="567" y="266"/>
                    </a:lnTo>
                    <a:lnTo>
                      <a:pt x="565" y="264"/>
                    </a:lnTo>
                    <a:lnTo>
                      <a:pt x="565" y="264"/>
                    </a:lnTo>
                    <a:lnTo>
                      <a:pt x="564" y="266"/>
                    </a:lnTo>
                    <a:lnTo>
                      <a:pt x="564" y="266"/>
                    </a:lnTo>
                    <a:lnTo>
                      <a:pt x="562" y="262"/>
                    </a:lnTo>
                    <a:lnTo>
                      <a:pt x="562" y="262"/>
                    </a:lnTo>
                    <a:lnTo>
                      <a:pt x="564" y="259"/>
                    </a:lnTo>
                    <a:lnTo>
                      <a:pt x="564" y="259"/>
                    </a:lnTo>
                    <a:lnTo>
                      <a:pt x="565" y="251"/>
                    </a:lnTo>
                    <a:lnTo>
                      <a:pt x="565" y="251"/>
                    </a:lnTo>
                    <a:lnTo>
                      <a:pt x="567" y="251"/>
                    </a:lnTo>
                    <a:lnTo>
                      <a:pt x="567" y="251"/>
                    </a:lnTo>
                    <a:lnTo>
                      <a:pt x="568" y="251"/>
                    </a:lnTo>
                    <a:lnTo>
                      <a:pt x="568" y="251"/>
                    </a:lnTo>
                    <a:lnTo>
                      <a:pt x="568" y="248"/>
                    </a:lnTo>
                    <a:lnTo>
                      <a:pt x="568" y="248"/>
                    </a:lnTo>
                    <a:lnTo>
                      <a:pt x="570" y="248"/>
                    </a:lnTo>
                    <a:lnTo>
                      <a:pt x="570" y="248"/>
                    </a:lnTo>
                    <a:lnTo>
                      <a:pt x="568" y="245"/>
                    </a:lnTo>
                    <a:lnTo>
                      <a:pt x="568" y="245"/>
                    </a:lnTo>
                    <a:lnTo>
                      <a:pt x="567" y="242"/>
                    </a:lnTo>
                    <a:lnTo>
                      <a:pt x="567" y="242"/>
                    </a:lnTo>
                    <a:lnTo>
                      <a:pt x="568" y="245"/>
                    </a:lnTo>
                    <a:lnTo>
                      <a:pt x="568" y="245"/>
                    </a:lnTo>
                    <a:lnTo>
                      <a:pt x="568" y="242"/>
                    </a:lnTo>
                    <a:lnTo>
                      <a:pt x="568" y="242"/>
                    </a:lnTo>
                    <a:lnTo>
                      <a:pt x="570" y="245"/>
                    </a:lnTo>
                    <a:lnTo>
                      <a:pt x="570" y="245"/>
                    </a:lnTo>
                    <a:lnTo>
                      <a:pt x="572" y="245"/>
                    </a:lnTo>
                    <a:lnTo>
                      <a:pt x="572" y="245"/>
                    </a:lnTo>
                    <a:lnTo>
                      <a:pt x="573" y="245"/>
                    </a:lnTo>
                    <a:lnTo>
                      <a:pt x="573" y="245"/>
                    </a:lnTo>
                    <a:lnTo>
                      <a:pt x="573" y="242"/>
                    </a:lnTo>
                    <a:lnTo>
                      <a:pt x="573" y="242"/>
                    </a:lnTo>
                    <a:lnTo>
                      <a:pt x="573" y="240"/>
                    </a:lnTo>
                    <a:lnTo>
                      <a:pt x="573" y="240"/>
                    </a:lnTo>
                    <a:lnTo>
                      <a:pt x="575" y="242"/>
                    </a:lnTo>
                    <a:lnTo>
                      <a:pt x="575" y="242"/>
                    </a:lnTo>
                    <a:lnTo>
                      <a:pt x="575" y="239"/>
                    </a:lnTo>
                    <a:lnTo>
                      <a:pt x="575" y="239"/>
                    </a:lnTo>
                    <a:lnTo>
                      <a:pt x="576" y="239"/>
                    </a:lnTo>
                    <a:lnTo>
                      <a:pt x="576" y="239"/>
                    </a:lnTo>
                    <a:lnTo>
                      <a:pt x="580" y="237"/>
                    </a:lnTo>
                    <a:lnTo>
                      <a:pt x="580" y="237"/>
                    </a:lnTo>
                    <a:lnTo>
                      <a:pt x="581" y="234"/>
                    </a:lnTo>
                    <a:lnTo>
                      <a:pt x="581" y="234"/>
                    </a:lnTo>
                    <a:lnTo>
                      <a:pt x="581" y="235"/>
                    </a:lnTo>
                    <a:lnTo>
                      <a:pt x="581" y="235"/>
                    </a:lnTo>
                    <a:lnTo>
                      <a:pt x="584" y="234"/>
                    </a:lnTo>
                    <a:lnTo>
                      <a:pt x="584" y="234"/>
                    </a:lnTo>
                    <a:lnTo>
                      <a:pt x="584" y="232"/>
                    </a:lnTo>
                    <a:lnTo>
                      <a:pt x="584" y="232"/>
                    </a:lnTo>
                    <a:lnTo>
                      <a:pt x="584" y="234"/>
                    </a:lnTo>
                    <a:lnTo>
                      <a:pt x="584" y="234"/>
                    </a:lnTo>
                    <a:lnTo>
                      <a:pt x="588" y="232"/>
                    </a:lnTo>
                    <a:lnTo>
                      <a:pt x="588" y="232"/>
                    </a:lnTo>
                    <a:lnTo>
                      <a:pt x="588" y="234"/>
                    </a:lnTo>
                    <a:lnTo>
                      <a:pt x="588" y="234"/>
                    </a:lnTo>
                    <a:lnTo>
                      <a:pt x="588" y="235"/>
                    </a:lnTo>
                    <a:lnTo>
                      <a:pt x="588" y="235"/>
                    </a:lnTo>
                    <a:lnTo>
                      <a:pt x="589" y="234"/>
                    </a:lnTo>
                    <a:lnTo>
                      <a:pt x="589" y="234"/>
                    </a:lnTo>
                    <a:lnTo>
                      <a:pt x="591" y="234"/>
                    </a:lnTo>
                    <a:lnTo>
                      <a:pt x="591" y="234"/>
                    </a:lnTo>
                    <a:lnTo>
                      <a:pt x="591" y="232"/>
                    </a:lnTo>
                    <a:lnTo>
                      <a:pt x="591" y="232"/>
                    </a:lnTo>
                    <a:lnTo>
                      <a:pt x="589" y="231"/>
                    </a:lnTo>
                    <a:lnTo>
                      <a:pt x="589" y="231"/>
                    </a:lnTo>
                    <a:lnTo>
                      <a:pt x="589" y="229"/>
                    </a:lnTo>
                    <a:lnTo>
                      <a:pt x="589" y="229"/>
                    </a:lnTo>
                    <a:lnTo>
                      <a:pt x="589" y="227"/>
                    </a:lnTo>
                    <a:lnTo>
                      <a:pt x="589" y="227"/>
                    </a:lnTo>
                    <a:lnTo>
                      <a:pt x="591" y="227"/>
                    </a:lnTo>
                    <a:lnTo>
                      <a:pt x="591" y="227"/>
                    </a:lnTo>
                    <a:lnTo>
                      <a:pt x="588" y="227"/>
                    </a:lnTo>
                    <a:lnTo>
                      <a:pt x="588" y="227"/>
                    </a:lnTo>
                    <a:lnTo>
                      <a:pt x="581" y="224"/>
                    </a:lnTo>
                    <a:lnTo>
                      <a:pt x="581" y="224"/>
                    </a:lnTo>
                    <a:lnTo>
                      <a:pt x="581" y="227"/>
                    </a:lnTo>
                    <a:lnTo>
                      <a:pt x="581" y="227"/>
                    </a:lnTo>
                    <a:lnTo>
                      <a:pt x="581" y="224"/>
                    </a:lnTo>
                    <a:lnTo>
                      <a:pt x="581" y="224"/>
                    </a:lnTo>
                    <a:lnTo>
                      <a:pt x="580" y="227"/>
                    </a:lnTo>
                    <a:lnTo>
                      <a:pt x="580" y="227"/>
                    </a:lnTo>
                    <a:lnTo>
                      <a:pt x="578" y="227"/>
                    </a:lnTo>
                    <a:lnTo>
                      <a:pt x="578" y="227"/>
                    </a:lnTo>
                    <a:lnTo>
                      <a:pt x="576" y="224"/>
                    </a:lnTo>
                    <a:lnTo>
                      <a:pt x="576" y="224"/>
                    </a:lnTo>
                    <a:lnTo>
                      <a:pt x="575" y="224"/>
                    </a:lnTo>
                    <a:lnTo>
                      <a:pt x="575" y="224"/>
                    </a:lnTo>
                    <a:lnTo>
                      <a:pt x="573" y="224"/>
                    </a:lnTo>
                    <a:lnTo>
                      <a:pt x="573" y="224"/>
                    </a:lnTo>
                    <a:lnTo>
                      <a:pt x="572" y="224"/>
                    </a:lnTo>
                    <a:lnTo>
                      <a:pt x="572" y="224"/>
                    </a:lnTo>
                    <a:lnTo>
                      <a:pt x="570" y="224"/>
                    </a:lnTo>
                    <a:lnTo>
                      <a:pt x="570" y="224"/>
                    </a:lnTo>
                    <a:lnTo>
                      <a:pt x="568" y="221"/>
                    </a:lnTo>
                    <a:lnTo>
                      <a:pt x="568" y="221"/>
                    </a:lnTo>
                    <a:lnTo>
                      <a:pt x="565" y="221"/>
                    </a:lnTo>
                    <a:lnTo>
                      <a:pt x="565" y="221"/>
                    </a:lnTo>
                    <a:lnTo>
                      <a:pt x="562" y="221"/>
                    </a:lnTo>
                    <a:lnTo>
                      <a:pt x="562" y="221"/>
                    </a:lnTo>
                    <a:lnTo>
                      <a:pt x="559" y="221"/>
                    </a:lnTo>
                    <a:lnTo>
                      <a:pt x="559" y="221"/>
                    </a:lnTo>
                    <a:lnTo>
                      <a:pt x="561" y="224"/>
                    </a:lnTo>
                    <a:lnTo>
                      <a:pt x="561" y="224"/>
                    </a:lnTo>
                    <a:lnTo>
                      <a:pt x="559" y="224"/>
                    </a:lnTo>
                    <a:lnTo>
                      <a:pt x="559" y="224"/>
                    </a:lnTo>
                    <a:lnTo>
                      <a:pt x="559" y="227"/>
                    </a:lnTo>
                    <a:lnTo>
                      <a:pt x="559" y="227"/>
                    </a:lnTo>
                    <a:lnTo>
                      <a:pt x="559" y="227"/>
                    </a:lnTo>
                    <a:lnTo>
                      <a:pt x="559" y="227"/>
                    </a:lnTo>
                    <a:lnTo>
                      <a:pt x="559" y="229"/>
                    </a:lnTo>
                    <a:lnTo>
                      <a:pt x="559" y="229"/>
                    </a:lnTo>
                    <a:lnTo>
                      <a:pt x="556" y="231"/>
                    </a:lnTo>
                    <a:lnTo>
                      <a:pt x="556" y="231"/>
                    </a:lnTo>
                    <a:lnTo>
                      <a:pt x="553" y="231"/>
                    </a:lnTo>
                    <a:lnTo>
                      <a:pt x="553" y="231"/>
                    </a:lnTo>
                    <a:lnTo>
                      <a:pt x="546" y="227"/>
                    </a:lnTo>
                    <a:lnTo>
                      <a:pt x="546" y="227"/>
                    </a:lnTo>
                    <a:lnTo>
                      <a:pt x="546" y="227"/>
                    </a:lnTo>
                    <a:lnTo>
                      <a:pt x="546" y="227"/>
                    </a:lnTo>
                    <a:lnTo>
                      <a:pt x="546" y="224"/>
                    </a:lnTo>
                    <a:lnTo>
                      <a:pt x="546" y="224"/>
                    </a:lnTo>
                    <a:lnTo>
                      <a:pt x="546" y="221"/>
                    </a:lnTo>
                    <a:lnTo>
                      <a:pt x="546" y="221"/>
                    </a:lnTo>
                    <a:lnTo>
                      <a:pt x="543" y="218"/>
                    </a:lnTo>
                    <a:lnTo>
                      <a:pt x="543" y="218"/>
                    </a:lnTo>
                    <a:lnTo>
                      <a:pt x="538" y="216"/>
                    </a:lnTo>
                    <a:lnTo>
                      <a:pt x="538" y="216"/>
                    </a:lnTo>
                    <a:lnTo>
                      <a:pt x="538" y="218"/>
                    </a:lnTo>
                    <a:lnTo>
                      <a:pt x="538" y="218"/>
                    </a:lnTo>
                    <a:lnTo>
                      <a:pt x="537" y="218"/>
                    </a:lnTo>
                    <a:lnTo>
                      <a:pt x="537" y="218"/>
                    </a:lnTo>
                    <a:lnTo>
                      <a:pt x="535" y="216"/>
                    </a:lnTo>
                    <a:lnTo>
                      <a:pt x="535" y="216"/>
                    </a:lnTo>
                    <a:lnTo>
                      <a:pt x="530" y="216"/>
                    </a:lnTo>
                    <a:lnTo>
                      <a:pt x="530" y="216"/>
                    </a:lnTo>
                    <a:lnTo>
                      <a:pt x="526" y="213"/>
                    </a:lnTo>
                    <a:lnTo>
                      <a:pt x="526" y="213"/>
                    </a:lnTo>
                    <a:lnTo>
                      <a:pt x="524" y="212"/>
                    </a:lnTo>
                    <a:lnTo>
                      <a:pt x="524" y="212"/>
                    </a:lnTo>
                    <a:lnTo>
                      <a:pt x="524" y="208"/>
                    </a:lnTo>
                    <a:lnTo>
                      <a:pt x="524" y="208"/>
                    </a:lnTo>
                    <a:lnTo>
                      <a:pt x="521" y="204"/>
                    </a:lnTo>
                    <a:lnTo>
                      <a:pt x="521" y="204"/>
                    </a:lnTo>
                    <a:lnTo>
                      <a:pt x="521" y="202"/>
                    </a:lnTo>
                    <a:lnTo>
                      <a:pt x="521" y="202"/>
                    </a:lnTo>
                    <a:lnTo>
                      <a:pt x="524" y="200"/>
                    </a:lnTo>
                    <a:lnTo>
                      <a:pt x="524" y="200"/>
                    </a:lnTo>
                    <a:lnTo>
                      <a:pt x="526" y="202"/>
                    </a:lnTo>
                    <a:lnTo>
                      <a:pt x="526" y="202"/>
                    </a:lnTo>
                    <a:lnTo>
                      <a:pt x="527" y="202"/>
                    </a:lnTo>
                    <a:lnTo>
                      <a:pt x="527" y="202"/>
                    </a:lnTo>
                    <a:lnTo>
                      <a:pt x="529" y="202"/>
                    </a:lnTo>
                    <a:lnTo>
                      <a:pt x="529" y="202"/>
                    </a:lnTo>
                    <a:lnTo>
                      <a:pt x="534" y="200"/>
                    </a:lnTo>
                    <a:lnTo>
                      <a:pt x="534" y="200"/>
                    </a:lnTo>
                    <a:lnTo>
                      <a:pt x="537" y="200"/>
                    </a:lnTo>
                    <a:lnTo>
                      <a:pt x="537" y="200"/>
                    </a:lnTo>
                    <a:lnTo>
                      <a:pt x="538" y="197"/>
                    </a:lnTo>
                    <a:lnTo>
                      <a:pt x="538" y="197"/>
                    </a:lnTo>
                    <a:lnTo>
                      <a:pt x="537" y="196"/>
                    </a:lnTo>
                    <a:lnTo>
                      <a:pt x="537" y="196"/>
                    </a:lnTo>
                    <a:lnTo>
                      <a:pt x="537" y="192"/>
                    </a:lnTo>
                    <a:lnTo>
                      <a:pt x="537" y="192"/>
                    </a:lnTo>
                    <a:lnTo>
                      <a:pt x="540" y="189"/>
                    </a:lnTo>
                    <a:lnTo>
                      <a:pt x="540" y="189"/>
                    </a:lnTo>
                    <a:lnTo>
                      <a:pt x="545" y="189"/>
                    </a:lnTo>
                    <a:lnTo>
                      <a:pt x="545" y="189"/>
                    </a:lnTo>
                    <a:lnTo>
                      <a:pt x="546" y="186"/>
                    </a:lnTo>
                    <a:lnTo>
                      <a:pt x="546" y="186"/>
                    </a:lnTo>
                    <a:lnTo>
                      <a:pt x="546" y="186"/>
                    </a:lnTo>
                    <a:lnTo>
                      <a:pt x="546" y="186"/>
                    </a:lnTo>
                    <a:lnTo>
                      <a:pt x="546" y="181"/>
                    </a:lnTo>
                    <a:lnTo>
                      <a:pt x="546" y="181"/>
                    </a:lnTo>
                    <a:lnTo>
                      <a:pt x="549" y="180"/>
                    </a:lnTo>
                    <a:lnTo>
                      <a:pt x="549" y="180"/>
                    </a:lnTo>
                    <a:lnTo>
                      <a:pt x="549" y="180"/>
                    </a:lnTo>
                    <a:lnTo>
                      <a:pt x="549" y="180"/>
                    </a:lnTo>
                    <a:lnTo>
                      <a:pt x="549" y="178"/>
                    </a:lnTo>
                    <a:lnTo>
                      <a:pt x="549" y="178"/>
                    </a:lnTo>
                    <a:lnTo>
                      <a:pt x="549" y="177"/>
                    </a:lnTo>
                    <a:lnTo>
                      <a:pt x="549" y="177"/>
                    </a:lnTo>
                    <a:lnTo>
                      <a:pt x="553" y="177"/>
                    </a:lnTo>
                    <a:lnTo>
                      <a:pt x="553" y="177"/>
                    </a:lnTo>
                    <a:lnTo>
                      <a:pt x="556" y="177"/>
                    </a:lnTo>
                    <a:lnTo>
                      <a:pt x="556" y="177"/>
                    </a:lnTo>
                    <a:lnTo>
                      <a:pt x="559" y="177"/>
                    </a:lnTo>
                    <a:lnTo>
                      <a:pt x="559" y="177"/>
                    </a:lnTo>
                    <a:lnTo>
                      <a:pt x="559" y="175"/>
                    </a:lnTo>
                    <a:lnTo>
                      <a:pt x="559" y="175"/>
                    </a:lnTo>
                    <a:lnTo>
                      <a:pt x="559" y="178"/>
                    </a:lnTo>
                    <a:lnTo>
                      <a:pt x="559" y="178"/>
                    </a:lnTo>
                    <a:lnTo>
                      <a:pt x="562" y="180"/>
                    </a:lnTo>
                    <a:lnTo>
                      <a:pt x="562" y="180"/>
                    </a:lnTo>
                    <a:lnTo>
                      <a:pt x="565" y="181"/>
                    </a:lnTo>
                    <a:lnTo>
                      <a:pt x="565" y="181"/>
                    </a:lnTo>
                    <a:lnTo>
                      <a:pt x="565" y="183"/>
                    </a:lnTo>
                    <a:lnTo>
                      <a:pt x="565" y="183"/>
                    </a:lnTo>
                    <a:lnTo>
                      <a:pt x="565" y="186"/>
                    </a:lnTo>
                    <a:lnTo>
                      <a:pt x="565" y="186"/>
                    </a:lnTo>
                    <a:lnTo>
                      <a:pt x="564" y="189"/>
                    </a:lnTo>
                    <a:lnTo>
                      <a:pt x="564" y="189"/>
                    </a:lnTo>
                    <a:lnTo>
                      <a:pt x="562" y="192"/>
                    </a:lnTo>
                    <a:lnTo>
                      <a:pt x="562" y="192"/>
                    </a:lnTo>
                    <a:lnTo>
                      <a:pt x="562" y="196"/>
                    </a:lnTo>
                    <a:lnTo>
                      <a:pt x="562" y="196"/>
                    </a:lnTo>
                    <a:lnTo>
                      <a:pt x="559" y="196"/>
                    </a:lnTo>
                    <a:lnTo>
                      <a:pt x="559" y="196"/>
                    </a:lnTo>
                    <a:lnTo>
                      <a:pt x="564" y="197"/>
                    </a:lnTo>
                    <a:lnTo>
                      <a:pt x="564" y="197"/>
                    </a:lnTo>
                    <a:lnTo>
                      <a:pt x="567" y="197"/>
                    </a:lnTo>
                    <a:lnTo>
                      <a:pt x="567" y="197"/>
                    </a:lnTo>
                    <a:lnTo>
                      <a:pt x="568" y="197"/>
                    </a:lnTo>
                    <a:lnTo>
                      <a:pt x="568" y="197"/>
                    </a:lnTo>
                    <a:lnTo>
                      <a:pt x="568" y="199"/>
                    </a:lnTo>
                    <a:lnTo>
                      <a:pt x="568" y="199"/>
                    </a:lnTo>
                    <a:lnTo>
                      <a:pt x="567" y="200"/>
                    </a:lnTo>
                    <a:lnTo>
                      <a:pt x="567" y="200"/>
                    </a:lnTo>
                    <a:lnTo>
                      <a:pt x="567" y="202"/>
                    </a:lnTo>
                    <a:lnTo>
                      <a:pt x="567" y="202"/>
                    </a:lnTo>
                    <a:lnTo>
                      <a:pt x="565" y="204"/>
                    </a:lnTo>
                    <a:lnTo>
                      <a:pt x="565" y="204"/>
                    </a:lnTo>
                    <a:lnTo>
                      <a:pt x="564" y="204"/>
                    </a:lnTo>
                    <a:lnTo>
                      <a:pt x="564" y="204"/>
                    </a:lnTo>
                    <a:lnTo>
                      <a:pt x="564" y="205"/>
                    </a:lnTo>
                    <a:lnTo>
                      <a:pt x="564" y="205"/>
                    </a:lnTo>
                    <a:lnTo>
                      <a:pt x="565" y="207"/>
                    </a:lnTo>
                    <a:lnTo>
                      <a:pt x="565" y="207"/>
                    </a:lnTo>
                    <a:lnTo>
                      <a:pt x="567" y="207"/>
                    </a:lnTo>
                    <a:lnTo>
                      <a:pt x="567" y="207"/>
                    </a:lnTo>
                    <a:lnTo>
                      <a:pt x="568" y="205"/>
                    </a:lnTo>
                    <a:lnTo>
                      <a:pt x="568" y="205"/>
                    </a:lnTo>
                    <a:lnTo>
                      <a:pt x="568" y="204"/>
                    </a:lnTo>
                    <a:lnTo>
                      <a:pt x="568" y="204"/>
                    </a:lnTo>
                    <a:lnTo>
                      <a:pt x="572" y="204"/>
                    </a:lnTo>
                    <a:lnTo>
                      <a:pt x="572" y="204"/>
                    </a:lnTo>
                    <a:lnTo>
                      <a:pt x="572" y="202"/>
                    </a:lnTo>
                    <a:lnTo>
                      <a:pt x="572" y="202"/>
                    </a:lnTo>
                    <a:lnTo>
                      <a:pt x="573" y="200"/>
                    </a:lnTo>
                    <a:lnTo>
                      <a:pt x="573" y="200"/>
                    </a:lnTo>
                    <a:lnTo>
                      <a:pt x="575" y="199"/>
                    </a:lnTo>
                    <a:lnTo>
                      <a:pt x="575" y="199"/>
                    </a:lnTo>
                    <a:lnTo>
                      <a:pt x="576" y="197"/>
                    </a:lnTo>
                    <a:lnTo>
                      <a:pt x="576" y="197"/>
                    </a:lnTo>
                    <a:lnTo>
                      <a:pt x="578" y="196"/>
                    </a:lnTo>
                    <a:lnTo>
                      <a:pt x="578" y="196"/>
                    </a:lnTo>
                    <a:lnTo>
                      <a:pt x="581" y="196"/>
                    </a:lnTo>
                    <a:lnTo>
                      <a:pt x="581" y="196"/>
                    </a:lnTo>
                    <a:lnTo>
                      <a:pt x="581" y="192"/>
                    </a:lnTo>
                    <a:lnTo>
                      <a:pt x="581" y="192"/>
                    </a:lnTo>
                    <a:lnTo>
                      <a:pt x="584" y="192"/>
                    </a:lnTo>
                    <a:lnTo>
                      <a:pt x="584" y="192"/>
                    </a:lnTo>
                    <a:lnTo>
                      <a:pt x="588" y="192"/>
                    </a:lnTo>
                    <a:lnTo>
                      <a:pt x="588" y="192"/>
                    </a:lnTo>
                    <a:lnTo>
                      <a:pt x="588" y="192"/>
                    </a:lnTo>
                    <a:lnTo>
                      <a:pt x="588" y="192"/>
                    </a:lnTo>
                    <a:lnTo>
                      <a:pt x="591" y="192"/>
                    </a:lnTo>
                    <a:lnTo>
                      <a:pt x="591" y="192"/>
                    </a:lnTo>
                    <a:lnTo>
                      <a:pt x="592" y="192"/>
                    </a:lnTo>
                    <a:lnTo>
                      <a:pt x="592" y="192"/>
                    </a:lnTo>
                    <a:lnTo>
                      <a:pt x="595" y="191"/>
                    </a:lnTo>
                    <a:lnTo>
                      <a:pt x="595" y="191"/>
                    </a:lnTo>
                    <a:lnTo>
                      <a:pt x="594" y="189"/>
                    </a:lnTo>
                    <a:lnTo>
                      <a:pt x="594" y="189"/>
                    </a:lnTo>
                    <a:lnTo>
                      <a:pt x="594" y="189"/>
                    </a:lnTo>
                    <a:lnTo>
                      <a:pt x="594" y="189"/>
                    </a:lnTo>
                    <a:lnTo>
                      <a:pt x="592" y="189"/>
                    </a:lnTo>
                    <a:lnTo>
                      <a:pt x="592" y="189"/>
                    </a:lnTo>
                    <a:lnTo>
                      <a:pt x="595" y="183"/>
                    </a:lnTo>
                    <a:lnTo>
                      <a:pt x="595" y="183"/>
                    </a:lnTo>
                    <a:lnTo>
                      <a:pt x="597" y="183"/>
                    </a:lnTo>
                    <a:lnTo>
                      <a:pt x="597" y="183"/>
                    </a:lnTo>
                    <a:lnTo>
                      <a:pt x="599" y="183"/>
                    </a:lnTo>
                    <a:lnTo>
                      <a:pt x="599" y="183"/>
                    </a:lnTo>
                    <a:lnTo>
                      <a:pt x="599" y="181"/>
                    </a:lnTo>
                    <a:lnTo>
                      <a:pt x="599" y="181"/>
                    </a:lnTo>
                    <a:lnTo>
                      <a:pt x="602" y="180"/>
                    </a:lnTo>
                    <a:lnTo>
                      <a:pt x="602" y="180"/>
                    </a:lnTo>
                    <a:lnTo>
                      <a:pt x="603" y="180"/>
                    </a:lnTo>
                    <a:lnTo>
                      <a:pt x="603" y="180"/>
                    </a:lnTo>
                    <a:lnTo>
                      <a:pt x="603" y="178"/>
                    </a:lnTo>
                    <a:lnTo>
                      <a:pt x="603" y="178"/>
                    </a:lnTo>
                    <a:lnTo>
                      <a:pt x="605" y="177"/>
                    </a:lnTo>
                    <a:lnTo>
                      <a:pt x="605" y="177"/>
                    </a:lnTo>
                    <a:lnTo>
                      <a:pt x="605" y="177"/>
                    </a:lnTo>
                    <a:lnTo>
                      <a:pt x="605" y="177"/>
                    </a:lnTo>
                    <a:lnTo>
                      <a:pt x="608" y="175"/>
                    </a:lnTo>
                    <a:lnTo>
                      <a:pt x="608" y="175"/>
                    </a:lnTo>
                    <a:lnTo>
                      <a:pt x="608" y="173"/>
                    </a:lnTo>
                    <a:lnTo>
                      <a:pt x="608" y="173"/>
                    </a:lnTo>
                    <a:lnTo>
                      <a:pt x="608" y="169"/>
                    </a:lnTo>
                    <a:lnTo>
                      <a:pt x="608" y="169"/>
                    </a:lnTo>
                    <a:lnTo>
                      <a:pt x="608" y="165"/>
                    </a:lnTo>
                    <a:lnTo>
                      <a:pt x="608" y="165"/>
                    </a:lnTo>
                    <a:lnTo>
                      <a:pt x="608" y="164"/>
                    </a:lnTo>
                    <a:lnTo>
                      <a:pt x="608" y="164"/>
                    </a:lnTo>
                    <a:lnTo>
                      <a:pt x="611" y="164"/>
                    </a:lnTo>
                    <a:lnTo>
                      <a:pt x="611" y="164"/>
                    </a:lnTo>
                    <a:lnTo>
                      <a:pt x="611" y="164"/>
                    </a:lnTo>
                    <a:lnTo>
                      <a:pt x="611" y="164"/>
                    </a:lnTo>
                    <a:lnTo>
                      <a:pt x="616" y="167"/>
                    </a:lnTo>
                    <a:lnTo>
                      <a:pt x="616" y="167"/>
                    </a:lnTo>
                    <a:lnTo>
                      <a:pt x="619" y="169"/>
                    </a:lnTo>
                    <a:lnTo>
                      <a:pt x="619" y="169"/>
                    </a:lnTo>
                    <a:lnTo>
                      <a:pt x="624" y="169"/>
                    </a:lnTo>
                    <a:lnTo>
                      <a:pt x="624" y="169"/>
                    </a:lnTo>
                    <a:lnTo>
                      <a:pt x="627" y="169"/>
                    </a:lnTo>
                    <a:lnTo>
                      <a:pt x="627" y="169"/>
                    </a:lnTo>
                    <a:lnTo>
                      <a:pt x="629" y="169"/>
                    </a:lnTo>
                    <a:lnTo>
                      <a:pt x="629" y="169"/>
                    </a:lnTo>
                    <a:lnTo>
                      <a:pt x="629" y="167"/>
                    </a:lnTo>
                    <a:lnTo>
                      <a:pt x="629" y="167"/>
                    </a:lnTo>
                    <a:lnTo>
                      <a:pt x="627" y="165"/>
                    </a:lnTo>
                    <a:lnTo>
                      <a:pt x="627" y="165"/>
                    </a:lnTo>
                    <a:lnTo>
                      <a:pt x="626" y="164"/>
                    </a:lnTo>
                    <a:lnTo>
                      <a:pt x="626" y="164"/>
                    </a:lnTo>
                    <a:lnTo>
                      <a:pt x="622" y="161"/>
                    </a:lnTo>
                    <a:lnTo>
                      <a:pt x="622" y="161"/>
                    </a:lnTo>
                    <a:lnTo>
                      <a:pt x="630" y="161"/>
                    </a:lnTo>
                    <a:lnTo>
                      <a:pt x="630" y="161"/>
                    </a:lnTo>
                    <a:lnTo>
                      <a:pt x="634" y="161"/>
                    </a:lnTo>
                    <a:lnTo>
                      <a:pt x="634" y="161"/>
                    </a:lnTo>
                    <a:lnTo>
                      <a:pt x="634" y="158"/>
                    </a:lnTo>
                    <a:lnTo>
                      <a:pt x="634" y="158"/>
                    </a:lnTo>
                    <a:lnTo>
                      <a:pt x="634" y="154"/>
                    </a:lnTo>
                    <a:lnTo>
                      <a:pt x="634" y="154"/>
                    </a:lnTo>
                    <a:lnTo>
                      <a:pt x="635" y="154"/>
                    </a:lnTo>
                    <a:lnTo>
                      <a:pt x="635" y="154"/>
                    </a:lnTo>
                    <a:lnTo>
                      <a:pt x="638" y="154"/>
                    </a:lnTo>
                    <a:lnTo>
                      <a:pt x="638" y="154"/>
                    </a:lnTo>
                    <a:lnTo>
                      <a:pt x="638" y="154"/>
                    </a:lnTo>
                    <a:lnTo>
                      <a:pt x="638" y="154"/>
                    </a:lnTo>
                    <a:lnTo>
                      <a:pt x="638" y="151"/>
                    </a:lnTo>
                    <a:lnTo>
                      <a:pt x="638" y="151"/>
                    </a:lnTo>
                    <a:lnTo>
                      <a:pt x="637" y="146"/>
                    </a:lnTo>
                    <a:lnTo>
                      <a:pt x="637" y="146"/>
                    </a:lnTo>
                    <a:lnTo>
                      <a:pt x="640" y="148"/>
                    </a:lnTo>
                    <a:lnTo>
                      <a:pt x="640" y="148"/>
                    </a:lnTo>
                    <a:lnTo>
                      <a:pt x="643" y="150"/>
                    </a:lnTo>
                    <a:lnTo>
                      <a:pt x="643" y="150"/>
                    </a:lnTo>
                    <a:lnTo>
                      <a:pt x="643" y="151"/>
                    </a:lnTo>
                    <a:lnTo>
                      <a:pt x="643" y="151"/>
                    </a:lnTo>
                    <a:lnTo>
                      <a:pt x="646" y="154"/>
                    </a:lnTo>
                    <a:lnTo>
                      <a:pt x="646" y="154"/>
                    </a:lnTo>
                    <a:lnTo>
                      <a:pt x="651" y="158"/>
                    </a:lnTo>
                    <a:lnTo>
                      <a:pt x="651" y="158"/>
                    </a:lnTo>
                    <a:lnTo>
                      <a:pt x="649" y="154"/>
                    </a:lnTo>
                    <a:lnTo>
                      <a:pt x="649" y="154"/>
                    </a:lnTo>
                    <a:lnTo>
                      <a:pt x="645" y="151"/>
                    </a:lnTo>
                    <a:lnTo>
                      <a:pt x="645" y="151"/>
                    </a:lnTo>
                    <a:lnTo>
                      <a:pt x="645" y="151"/>
                    </a:lnTo>
                    <a:lnTo>
                      <a:pt x="643" y="151"/>
                    </a:lnTo>
                    <a:lnTo>
                      <a:pt x="643" y="151"/>
                    </a:lnTo>
                    <a:lnTo>
                      <a:pt x="646" y="150"/>
                    </a:lnTo>
                    <a:lnTo>
                      <a:pt x="646" y="150"/>
                    </a:lnTo>
                    <a:lnTo>
                      <a:pt x="649" y="148"/>
                    </a:lnTo>
                    <a:lnTo>
                      <a:pt x="649" y="148"/>
                    </a:lnTo>
                    <a:lnTo>
                      <a:pt x="649" y="146"/>
                    </a:lnTo>
                    <a:lnTo>
                      <a:pt x="649" y="146"/>
                    </a:lnTo>
                    <a:lnTo>
                      <a:pt x="649" y="143"/>
                    </a:lnTo>
                    <a:lnTo>
                      <a:pt x="649" y="143"/>
                    </a:lnTo>
                    <a:lnTo>
                      <a:pt x="649" y="140"/>
                    </a:lnTo>
                    <a:lnTo>
                      <a:pt x="649" y="140"/>
                    </a:lnTo>
                    <a:lnTo>
                      <a:pt x="646" y="135"/>
                    </a:lnTo>
                    <a:lnTo>
                      <a:pt x="646" y="135"/>
                    </a:lnTo>
                    <a:lnTo>
                      <a:pt x="640" y="131"/>
                    </a:lnTo>
                    <a:lnTo>
                      <a:pt x="640" y="131"/>
                    </a:lnTo>
                    <a:lnTo>
                      <a:pt x="637" y="124"/>
                    </a:lnTo>
                    <a:lnTo>
                      <a:pt x="637" y="124"/>
                    </a:lnTo>
                    <a:lnTo>
                      <a:pt x="635" y="123"/>
                    </a:lnTo>
                    <a:lnTo>
                      <a:pt x="635" y="123"/>
                    </a:lnTo>
                    <a:lnTo>
                      <a:pt x="634" y="121"/>
                    </a:lnTo>
                    <a:lnTo>
                      <a:pt x="634" y="121"/>
                    </a:lnTo>
                    <a:lnTo>
                      <a:pt x="634" y="119"/>
                    </a:lnTo>
                    <a:lnTo>
                      <a:pt x="634" y="119"/>
                    </a:lnTo>
                    <a:lnTo>
                      <a:pt x="637" y="119"/>
                    </a:lnTo>
                    <a:lnTo>
                      <a:pt x="637" y="119"/>
                    </a:lnTo>
                    <a:lnTo>
                      <a:pt x="638" y="118"/>
                    </a:lnTo>
                    <a:lnTo>
                      <a:pt x="638" y="118"/>
                    </a:lnTo>
                    <a:lnTo>
                      <a:pt x="640" y="116"/>
                    </a:lnTo>
                    <a:lnTo>
                      <a:pt x="640" y="116"/>
                    </a:lnTo>
                    <a:lnTo>
                      <a:pt x="640" y="115"/>
                    </a:lnTo>
                    <a:lnTo>
                      <a:pt x="640" y="115"/>
                    </a:lnTo>
                    <a:lnTo>
                      <a:pt x="643" y="115"/>
                    </a:lnTo>
                    <a:lnTo>
                      <a:pt x="643" y="115"/>
                    </a:lnTo>
                    <a:lnTo>
                      <a:pt x="646" y="116"/>
                    </a:lnTo>
                    <a:lnTo>
                      <a:pt x="646" y="116"/>
                    </a:lnTo>
                    <a:lnTo>
                      <a:pt x="651" y="118"/>
                    </a:lnTo>
                    <a:lnTo>
                      <a:pt x="651" y="118"/>
                    </a:lnTo>
                    <a:lnTo>
                      <a:pt x="654" y="118"/>
                    </a:lnTo>
                    <a:lnTo>
                      <a:pt x="654" y="118"/>
                    </a:lnTo>
                    <a:lnTo>
                      <a:pt x="654" y="116"/>
                    </a:lnTo>
                    <a:lnTo>
                      <a:pt x="654" y="116"/>
                    </a:lnTo>
                    <a:lnTo>
                      <a:pt x="653" y="113"/>
                    </a:lnTo>
                    <a:lnTo>
                      <a:pt x="653" y="113"/>
                    </a:lnTo>
                    <a:lnTo>
                      <a:pt x="653" y="112"/>
                    </a:lnTo>
                    <a:lnTo>
                      <a:pt x="653" y="112"/>
                    </a:lnTo>
                    <a:lnTo>
                      <a:pt x="654" y="110"/>
                    </a:lnTo>
                    <a:lnTo>
                      <a:pt x="654" y="110"/>
                    </a:lnTo>
                    <a:lnTo>
                      <a:pt x="654" y="108"/>
                    </a:lnTo>
                    <a:lnTo>
                      <a:pt x="654" y="108"/>
                    </a:lnTo>
                    <a:lnTo>
                      <a:pt x="654" y="107"/>
                    </a:lnTo>
                    <a:lnTo>
                      <a:pt x="654" y="107"/>
                    </a:lnTo>
                    <a:lnTo>
                      <a:pt x="654" y="105"/>
                    </a:lnTo>
                    <a:lnTo>
                      <a:pt x="654" y="105"/>
                    </a:lnTo>
                    <a:lnTo>
                      <a:pt x="654" y="102"/>
                    </a:lnTo>
                    <a:lnTo>
                      <a:pt x="654" y="102"/>
                    </a:lnTo>
                    <a:lnTo>
                      <a:pt x="653" y="102"/>
                    </a:lnTo>
                    <a:lnTo>
                      <a:pt x="653" y="102"/>
                    </a:lnTo>
                    <a:lnTo>
                      <a:pt x="654" y="102"/>
                    </a:lnTo>
                    <a:lnTo>
                      <a:pt x="654" y="99"/>
                    </a:lnTo>
                    <a:lnTo>
                      <a:pt x="654" y="99"/>
                    </a:lnTo>
                    <a:lnTo>
                      <a:pt x="654" y="99"/>
                    </a:lnTo>
                    <a:close/>
                    <a:moveTo>
                      <a:pt x="537" y="439"/>
                    </a:moveTo>
                    <a:lnTo>
                      <a:pt x="537" y="439"/>
                    </a:lnTo>
                    <a:lnTo>
                      <a:pt x="538" y="443"/>
                    </a:lnTo>
                    <a:lnTo>
                      <a:pt x="538" y="443"/>
                    </a:lnTo>
                    <a:lnTo>
                      <a:pt x="537" y="442"/>
                    </a:lnTo>
                    <a:lnTo>
                      <a:pt x="537" y="439"/>
                    </a:lnTo>
                    <a:lnTo>
                      <a:pt x="537" y="439"/>
                    </a:lnTo>
                    <a:lnTo>
                      <a:pt x="537" y="439"/>
                    </a:lnTo>
                    <a:close/>
                    <a:moveTo>
                      <a:pt x="608" y="312"/>
                    </a:moveTo>
                    <a:lnTo>
                      <a:pt x="608" y="312"/>
                    </a:lnTo>
                    <a:lnTo>
                      <a:pt x="611" y="312"/>
                    </a:lnTo>
                    <a:lnTo>
                      <a:pt x="611" y="312"/>
                    </a:lnTo>
                    <a:lnTo>
                      <a:pt x="611" y="312"/>
                    </a:lnTo>
                    <a:lnTo>
                      <a:pt x="611" y="312"/>
                    </a:lnTo>
                    <a:lnTo>
                      <a:pt x="608" y="308"/>
                    </a:lnTo>
                    <a:lnTo>
                      <a:pt x="608" y="308"/>
                    </a:lnTo>
                    <a:lnTo>
                      <a:pt x="605" y="307"/>
                    </a:lnTo>
                    <a:lnTo>
                      <a:pt x="605" y="307"/>
                    </a:lnTo>
                    <a:lnTo>
                      <a:pt x="603" y="308"/>
                    </a:lnTo>
                    <a:lnTo>
                      <a:pt x="608" y="312"/>
                    </a:lnTo>
                    <a:lnTo>
                      <a:pt x="608" y="312"/>
                    </a:lnTo>
                    <a:lnTo>
                      <a:pt x="608" y="312"/>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25" name="Freeform 365">
                <a:extLst>
                  <a:ext uri="{FF2B5EF4-FFF2-40B4-BE49-F238E27FC236}">
                    <a16:creationId xmlns:a16="http://schemas.microsoft.com/office/drawing/2014/main" id="{B9C5BC4A-3C34-5526-3E84-632A039B473C}"/>
                  </a:ext>
                </a:extLst>
              </p:cNvPr>
              <p:cNvSpPr>
                <a:spLocks noEditPoints="1"/>
              </p:cNvSpPr>
              <p:nvPr/>
            </p:nvSpPr>
            <p:spPr bwMode="auto">
              <a:xfrm>
                <a:off x="7202494" y="1633995"/>
                <a:ext cx="2723089" cy="1018354"/>
              </a:xfrm>
              <a:custGeom>
                <a:avLst/>
                <a:gdLst>
                  <a:gd name="T0" fmla="*/ 1203 w 1214"/>
                  <a:gd name="T1" fmla="*/ 135 h 454"/>
                  <a:gd name="T2" fmla="*/ 1162 w 1214"/>
                  <a:gd name="T3" fmla="*/ 132 h 454"/>
                  <a:gd name="T4" fmla="*/ 1043 w 1214"/>
                  <a:gd name="T5" fmla="*/ 95 h 454"/>
                  <a:gd name="T6" fmla="*/ 965 w 1214"/>
                  <a:gd name="T7" fmla="*/ 102 h 454"/>
                  <a:gd name="T8" fmla="*/ 801 w 1214"/>
                  <a:gd name="T9" fmla="*/ 76 h 454"/>
                  <a:gd name="T10" fmla="*/ 706 w 1214"/>
                  <a:gd name="T11" fmla="*/ 62 h 454"/>
                  <a:gd name="T12" fmla="*/ 647 w 1214"/>
                  <a:gd name="T13" fmla="*/ 70 h 454"/>
                  <a:gd name="T14" fmla="*/ 585 w 1214"/>
                  <a:gd name="T15" fmla="*/ 78 h 454"/>
                  <a:gd name="T16" fmla="*/ 533 w 1214"/>
                  <a:gd name="T17" fmla="*/ 56 h 454"/>
                  <a:gd name="T18" fmla="*/ 485 w 1214"/>
                  <a:gd name="T19" fmla="*/ 54 h 454"/>
                  <a:gd name="T20" fmla="*/ 368 w 1214"/>
                  <a:gd name="T21" fmla="*/ 41 h 454"/>
                  <a:gd name="T22" fmla="*/ 346 w 1214"/>
                  <a:gd name="T23" fmla="*/ 43 h 454"/>
                  <a:gd name="T24" fmla="*/ 355 w 1214"/>
                  <a:gd name="T25" fmla="*/ 19 h 454"/>
                  <a:gd name="T26" fmla="*/ 282 w 1214"/>
                  <a:gd name="T27" fmla="*/ 5 h 454"/>
                  <a:gd name="T28" fmla="*/ 230 w 1214"/>
                  <a:gd name="T29" fmla="*/ 19 h 454"/>
                  <a:gd name="T30" fmla="*/ 150 w 1214"/>
                  <a:gd name="T31" fmla="*/ 32 h 454"/>
                  <a:gd name="T32" fmla="*/ 107 w 1214"/>
                  <a:gd name="T33" fmla="*/ 51 h 454"/>
                  <a:gd name="T34" fmla="*/ 84 w 1214"/>
                  <a:gd name="T35" fmla="*/ 65 h 454"/>
                  <a:gd name="T36" fmla="*/ 68 w 1214"/>
                  <a:gd name="T37" fmla="*/ 56 h 454"/>
                  <a:gd name="T38" fmla="*/ 122 w 1214"/>
                  <a:gd name="T39" fmla="*/ 110 h 454"/>
                  <a:gd name="T40" fmla="*/ 92 w 1214"/>
                  <a:gd name="T41" fmla="*/ 119 h 454"/>
                  <a:gd name="T42" fmla="*/ 79 w 1214"/>
                  <a:gd name="T43" fmla="*/ 116 h 454"/>
                  <a:gd name="T44" fmla="*/ 47 w 1214"/>
                  <a:gd name="T45" fmla="*/ 64 h 454"/>
                  <a:gd name="T46" fmla="*/ 9 w 1214"/>
                  <a:gd name="T47" fmla="*/ 84 h 454"/>
                  <a:gd name="T48" fmla="*/ 34 w 1214"/>
                  <a:gd name="T49" fmla="*/ 113 h 454"/>
                  <a:gd name="T50" fmla="*/ 44 w 1214"/>
                  <a:gd name="T51" fmla="*/ 237 h 454"/>
                  <a:gd name="T52" fmla="*/ 55 w 1214"/>
                  <a:gd name="T53" fmla="*/ 286 h 454"/>
                  <a:gd name="T54" fmla="*/ 90 w 1214"/>
                  <a:gd name="T55" fmla="*/ 286 h 454"/>
                  <a:gd name="T56" fmla="*/ 142 w 1214"/>
                  <a:gd name="T57" fmla="*/ 294 h 454"/>
                  <a:gd name="T58" fmla="*/ 181 w 1214"/>
                  <a:gd name="T59" fmla="*/ 300 h 454"/>
                  <a:gd name="T60" fmla="*/ 260 w 1214"/>
                  <a:gd name="T61" fmla="*/ 337 h 454"/>
                  <a:gd name="T62" fmla="*/ 308 w 1214"/>
                  <a:gd name="T63" fmla="*/ 346 h 454"/>
                  <a:gd name="T64" fmla="*/ 360 w 1214"/>
                  <a:gd name="T65" fmla="*/ 356 h 454"/>
                  <a:gd name="T66" fmla="*/ 401 w 1214"/>
                  <a:gd name="T67" fmla="*/ 341 h 454"/>
                  <a:gd name="T68" fmla="*/ 450 w 1214"/>
                  <a:gd name="T69" fmla="*/ 330 h 454"/>
                  <a:gd name="T70" fmla="*/ 541 w 1214"/>
                  <a:gd name="T71" fmla="*/ 345 h 454"/>
                  <a:gd name="T72" fmla="*/ 628 w 1214"/>
                  <a:gd name="T73" fmla="*/ 353 h 454"/>
                  <a:gd name="T74" fmla="*/ 690 w 1214"/>
                  <a:gd name="T75" fmla="*/ 338 h 454"/>
                  <a:gd name="T76" fmla="*/ 730 w 1214"/>
                  <a:gd name="T77" fmla="*/ 307 h 454"/>
                  <a:gd name="T78" fmla="*/ 812 w 1214"/>
                  <a:gd name="T79" fmla="*/ 359 h 454"/>
                  <a:gd name="T80" fmla="*/ 873 w 1214"/>
                  <a:gd name="T81" fmla="*/ 375 h 454"/>
                  <a:gd name="T82" fmla="*/ 882 w 1214"/>
                  <a:gd name="T83" fmla="*/ 418 h 454"/>
                  <a:gd name="T84" fmla="*/ 892 w 1214"/>
                  <a:gd name="T85" fmla="*/ 443 h 454"/>
                  <a:gd name="T86" fmla="*/ 938 w 1214"/>
                  <a:gd name="T87" fmla="*/ 408 h 454"/>
                  <a:gd name="T88" fmla="*/ 920 w 1214"/>
                  <a:gd name="T89" fmla="*/ 334 h 454"/>
                  <a:gd name="T90" fmla="*/ 870 w 1214"/>
                  <a:gd name="T91" fmla="*/ 292 h 454"/>
                  <a:gd name="T92" fmla="*/ 841 w 1214"/>
                  <a:gd name="T93" fmla="*/ 288 h 454"/>
                  <a:gd name="T94" fmla="*/ 839 w 1214"/>
                  <a:gd name="T95" fmla="*/ 237 h 454"/>
                  <a:gd name="T96" fmla="*/ 906 w 1214"/>
                  <a:gd name="T97" fmla="*/ 221 h 454"/>
                  <a:gd name="T98" fmla="*/ 973 w 1214"/>
                  <a:gd name="T99" fmla="*/ 226 h 454"/>
                  <a:gd name="T100" fmla="*/ 962 w 1214"/>
                  <a:gd name="T101" fmla="*/ 191 h 454"/>
                  <a:gd name="T102" fmla="*/ 1011 w 1214"/>
                  <a:gd name="T103" fmla="*/ 195 h 454"/>
                  <a:gd name="T104" fmla="*/ 1025 w 1214"/>
                  <a:gd name="T105" fmla="*/ 191 h 454"/>
                  <a:gd name="T106" fmla="*/ 1027 w 1214"/>
                  <a:gd name="T107" fmla="*/ 234 h 454"/>
                  <a:gd name="T108" fmla="*/ 1076 w 1214"/>
                  <a:gd name="T109" fmla="*/ 316 h 454"/>
                  <a:gd name="T110" fmla="*/ 1103 w 1214"/>
                  <a:gd name="T111" fmla="*/ 303 h 454"/>
                  <a:gd name="T112" fmla="*/ 1095 w 1214"/>
                  <a:gd name="T113" fmla="*/ 268 h 454"/>
                  <a:gd name="T114" fmla="*/ 1055 w 1214"/>
                  <a:gd name="T115" fmla="*/ 226 h 454"/>
                  <a:gd name="T116" fmla="*/ 1076 w 1214"/>
                  <a:gd name="T117" fmla="*/ 216 h 454"/>
                  <a:gd name="T118" fmla="*/ 1122 w 1214"/>
                  <a:gd name="T119" fmla="*/ 197 h 454"/>
                  <a:gd name="T120" fmla="*/ 1165 w 1214"/>
                  <a:gd name="T121" fmla="*/ 183 h 454"/>
                  <a:gd name="T122" fmla="*/ 1124 w 1214"/>
                  <a:gd name="T123" fmla="*/ 156 h 454"/>
                  <a:gd name="T124" fmla="*/ 1154 w 1214"/>
                  <a:gd name="T125" fmla="*/ 143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4" h="454">
                    <a:moveTo>
                      <a:pt x="1212" y="157"/>
                    </a:moveTo>
                    <a:lnTo>
                      <a:pt x="1212" y="157"/>
                    </a:lnTo>
                    <a:lnTo>
                      <a:pt x="1214" y="157"/>
                    </a:lnTo>
                    <a:lnTo>
                      <a:pt x="1214" y="157"/>
                    </a:lnTo>
                    <a:lnTo>
                      <a:pt x="1211" y="154"/>
                    </a:lnTo>
                    <a:lnTo>
                      <a:pt x="1211" y="154"/>
                    </a:lnTo>
                    <a:lnTo>
                      <a:pt x="1208" y="154"/>
                    </a:lnTo>
                    <a:lnTo>
                      <a:pt x="1208" y="154"/>
                    </a:lnTo>
                    <a:lnTo>
                      <a:pt x="1205" y="154"/>
                    </a:lnTo>
                    <a:lnTo>
                      <a:pt x="1205" y="154"/>
                    </a:lnTo>
                    <a:lnTo>
                      <a:pt x="1205" y="153"/>
                    </a:lnTo>
                    <a:lnTo>
                      <a:pt x="1205" y="153"/>
                    </a:lnTo>
                    <a:lnTo>
                      <a:pt x="1203" y="153"/>
                    </a:lnTo>
                    <a:lnTo>
                      <a:pt x="1203" y="153"/>
                    </a:lnTo>
                    <a:lnTo>
                      <a:pt x="1203" y="151"/>
                    </a:lnTo>
                    <a:lnTo>
                      <a:pt x="1203" y="151"/>
                    </a:lnTo>
                    <a:lnTo>
                      <a:pt x="1206" y="151"/>
                    </a:lnTo>
                    <a:lnTo>
                      <a:pt x="1206" y="151"/>
                    </a:lnTo>
                    <a:lnTo>
                      <a:pt x="1206" y="149"/>
                    </a:lnTo>
                    <a:lnTo>
                      <a:pt x="1206" y="149"/>
                    </a:lnTo>
                    <a:lnTo>
                      <a:pt x="1203" y="148"/>
                    </a:lnTo>
                    <a:lnTo>
                      <a:pt x="1203" y="148"/>
                    </a:lnTo>
                    <a:lnTo>
                      <a:pt x="1200" y="146"/>
                    </a:lnTo>
                    <a:lnTo>
                      <a:pt x="1200" y="146"/>
                    </a:lnTo>
                    <a:lnTo>
                      <a:pt x="1203" y="146"/>
                    </a:lnTo>
                    <a:lnTo>
                      <a:pt x="1203" y="146"/>
                    </a:lnTo>
                    <a:lnTo>
                      <a:pt x="1200" y="143"/>
                    </a:lnTo>
                    <a:lnTo>
                      <a:pt x="1200" y="143"/>
                    </a:lnTo>
                    <a:lnTo>
                      <a:pt x="1197" y="143"/>
                    </a:lnTo>
                    <a:lnTo>
                      <a:pt x="1197" y="143"/>
                    </a:lnTo>
                    <a:lnTo>
                      <a:pt x="1193" y="143"/>
                    </a:lnTo>
                    <a:lnTo>
                      <a:pt x="1193" y="143"/>
                    </a:lnTo>
                    <a:lnTo>
                      <a:pt x="1197" y="143"/>
                    </a:lnTo>
                    <a:lnTo>
                      <a:pt x="1197" y="143"/>
                    </a:lnTo>
                    <a:lnTo>
                      <a:pt x="1200" y="143"/>
                    </a:lnTo>
                    <a:lnTo>
                      <a:pt x="1200" y="143"/>
                    </a:lnTo>
                    <a:lnTo>
                      <a:pt x="1205" y="143"/>
                    </a:lnTo>
                    <a:lnTo>
                      <a:pt x="1205" y="143"/>
                    </a:lnTo>
                    <a:lnTo>
                      <a:pt x="1209" y="143"/>
                    </a:lnTo>
                    <a:lnTo>
                      <a:pt x="1209" y="143"/>
                    </a:lnTo>
                    <a:lnTo>
                      <a:pt x="1206" y="143"/>
                    </a:lnTo>
                    <a:lnTo>
                      <a:pt x="1206" y="143"/>
                    </a:lnTo>
                    <a:lnTo>
                      <a:pt x="1205" y="141"/>
                    </a:lnTo>
                    <a:lnTo>
                      <a:pt x="1205" y="141"/>
                    </a:lnTo>
                    <a:lnTo>
                      <a:pt x="1211" y="143"/>
                    </a:lnTo>
                    <a:lnTo>
                      <a:pt x="1211" y="143"/>
                    </a:lnTo>
                    <a:lnTo>
                      <a:pt x="1208" y="140"/>
                    </a:lnTo>
                    <a:lnTo>
                      <a:pt x="1208" y="140"/>
                    </a:lnTo>
                    <a:lnTo>
                      <a:pt x="1208" y="138"/>
                    </a:lnTo>
                    <a:lnTo>
                      <a:pt x="1208" y="138"/>
                    </a:lnTo>
                    <a:lnTo>
                      <a:pt x="1209" y="137"/>
                    </a:lnTo>
                    <a:lnTo>
                      <a:pt x="1209" y="137"/>
                    </a:lnTo>
                    <a:lnTo>
                      <a:pt x="1206" y="137"/>
                    </a:lnTo>
                    <a:lnTo>
                      <a:pt x="1206" y="137"/>
                    </a:lnTo>
                    <a:lnTo>
                      <a:pt x="1203" y="135"/>
                    </a:lnTo>
                    <a:lnTo>
                      <a:pt x="1203" y="135"/>
                    </a:lnTo>
                    <a:lnTo>
                      <a:pt x="1200" y="134"/>
                    </a:lnTo>
                    <a:lnTo>
                      <a:pt x="1200" y="134"/>
                    </a:lnTo>
                    <a:lnTo>
                      <a:pt x="1200" y="135"/>
                    </a:lnTo>
                    <a:lnTo>
                      <a:pt x="1200" y="135"/>
                    </a:lnTo>
                    <a:lnTo>
                      <a:pt x="1197" y="134"/>
                    </a:lnTo>
                    <a:lnTo>
                      <a:pt x="1197" y="134"/>
                    </a:lnTo>
                    <a:lnTo>
                      <a:pt x="1193" y="132"/>
                    </a:lnTo>
                    <a:lnTo>
                      <a:pt x="1193" y="132"/>
                    </a:lnTo>
                    <a:lnTo>
                      <a:pt x="1187" y="130"/>
                    </a:lnTo>
                    <a:lnTo>
                      <a:pt x="1187" y="130"/>
                    </a:lnTo>
                    <a:lnTo>
                      <a:pt x="1179" y="127"/>
                    </a:lnTo>
                    <a:lnTo>
                      <a:pt x="1179" y="127"/>
                    </a:lnTo>
                    <a:lnTo>
                      <a:pt x="1171" y="126"/>
                    </a:lnTo>
                    <a:lnTo>
                      <a:pt x="1171" y="126"/>
                    </a:lnTo>
                    <a:lnTo>
                      <a:pt x="1168" y="126"/>
                    </a:lnTo>
                    <a:lnTo>
                      <a:pt x="1168" y="126"/>
                    </a:lnTo>
                    <a:lnTo>
                      <a:pt x="1162" y="124"/>
                    </a:lnTo>
                    <a:lnTo>
                      <a:pt x="1162" y="124"/>
                    </a:lnTo>
                    <a:lnTo>
                      <a:pt x="1165" y="126"/>
                    </a:lnTo>
                    <a:lnTo>
                      <a:pt x="1165" y="126"/>
                    </a:lnTo>
                    <a:lnTo>
                      <a:pt x="1162" y="126"/>
                    </a:lnTo>
                    <a:lnTo>
                      <a:pt x="1162" y="126"/>
                    </a:lnTo>
                    <a:lnTo>
                      <a:pt x="1165" y="127"/>
                    </a:lnTo>
                    <a:lnTo>
                      <a:pt x="1165" y="127"/>
                    </a:lnTo>
                    <a:lnTo>
                      <a:pt x="1162" y="126"/>
                    </a:lnTo>
                    <a:lnTo>
                      <a:pt x="1162" y="126"/>
                    </a:lnTo>
                    <a:lnTo>
                      <a:pt x="1159" y="124"/>
                    </a:lnTo>
                    <a:lnTo>
                      <a:pt x="1159" y="124"/>
                    </a:lnTo>
                    <a:lnTo>
                      <a:pt x="1157" y="124"/>
                    </a:lnTo>
                    <a:lnTo>
                      <a:pt x="1157" y="124"/>
                    </a:lnTo>
                    <a:lnTo>
                      <a:pt x="1155" y="124"/>
                    </a:lnTo>
                    <a:lnTo>
                      <a:pt x="1155" y="124"/>
                    </a:lnTo>
                    <a:lnTo>
                      <a:pt x="1146" y="124"/>
                    </a:lnTo>
                    <a:lnTo>
                      <a:pt x="1146" y="124"/>
                    </a:lnTo>
                    <a:lnTo>
                      <a:pt x="1154" y="126"/>
                    </a:lnTo>
                    <a:lnTo>
                      <a:pt x="1154" y="126"/>
                    </a:lnTo>
                    <a:lnTo>
                      <a:pt x="1159" y="129"/>
                    </a:lnTo>
                    <a:lnTo>
                      <a:pt x="1159" y="129"/>
                    </a:lnTo>
                    <a:lnTo>
                      <a:pt x="1159" y="129"/>
                    </a:lnTo>
                    <a:lnTo>
                      <a:pt x="1159" y="129"/>
                    </a:lnTo>
                    <a:lnTo>
                      <a:pt x="1159" y="130"/>
                    </a:lnTo>
                    <a:lnTo>
                      <a:pt x="1159" y="130"/>
                    </a:lnTo>
                    <a:lnTo>
                      <a:pt x="1162" y="130"/>
                    </a:lnTo>
                    <a:lnTo>
                      <a:pt x="1162" y="130"/>
                    </a:lnTo>
                    <a:lnTo>
                      <a:pt x="1165" y="132"/>
                    </a:lnTo>
                    <a:lnTo>
                      <a:pt x="1165" y="132"/>
                    </a:lnTo>
                    <a:lnTo>
                      <a:pt x="1168" y="134"/>
                    </a:lnTo>
                    <a:lnTo>
                      <a:pt x="1168" y="134"/>
                    </a:lnTo>
                    <a:lnTo>
                      <a:pt x="1168" y="135"/>
                    </a:lnTo>
                    <a:lnTo>
                      <a:pt x="1168" y="135"/>
                    </a:lnTo>
                    <a:lnTo>
                      <a:pt x="1165" y="134"/>
                    </a:lnTo>
                    <a:lnTo>
                      <a:pt x="1165" y="134"/>
                    </a:lnTo>
                    <a:lnTo>
                      <a:pt x="1162" y="132"/>
                    </a:lnTo>
                    <a:lnTo>
                      <a:pt x="1162" y="132"/>
                    </a:lnTo>
                    <a:lnTo>
                      <a:pt x="1162" y="134"/>
                    </a:lnTo>
                    <a:lnTo>
                      <a:pt x="1162" y="134"/>
                    </a:lnTo>
                    <a:lnTo>
                      <a:pt x="1159" y="132"/>
                    </a:lnTo>
                    <a:lnTo>
                      <a:pt x="1159" y="132"/>
                    </a:lnTo>
                    <a:lnTo>
                      <a:pt x="1154" y="130"/>
                    </a:lnTo>
                    <a:lnTo>
                      <a:pt x="1154" y="130"/>
                    </a:lnTo>
                    <a:lnTo>
                      <a:pt x="1151" y="129"/>
                    </a:lnTo>
                    <a:lnTo>
                      <a:pt x="1151" y="129"/>
                    </a:lnTo>
                    <a:lnTo>
                      <a:pt x="1152" y="129"/>
                    </a:lnTo>
                    <a:lnTo>
                      <a:pt x="1152" y="129"/>
                    </a:lnTo>
                    <a:lnTo>
                      <a:pt x="1143" y="122"/>
                    </a:lnTo>
                    <a:lnTo>
                      <a:pt x="1143" y="122"/>
                    </a:lnTo>
                    <a:lnTo>
                      <a:pt x="1138" y="122"/>
                    </a:lnTo>
                    <a:lnTo>
                      <a:pt x="1138" y="122"/>
                    </a:lnTo>
                    <a:lnTo>
                      <a:pt x="1136" y="119"/>
                    </a:lnTo>
                    <a:lnTo>
                      <a:pt x="1136" y="119"/>
                    </a:lnTo>
                    <a:lnTo>
                      <a:pt x="1133" y="119"/>
                    </a:lnTo>
                    <a:lnTo>
                      <a:pt x="1133" y="119"/>
                    </a:lnTo>
                    <a:lnTo>
                      <a:pt x="1130" y="119"/>
                    </a:lnTo>
                    <a:lnTo>
                      <a:pt x="1130" y="119"/>
                    </a:lnTo>
                    <a:lnTo>
                      <a:pt x="1127" y="116"/>
                    </a:lnTo>
                    <a:lnTo>
                      <a:pt x="1127" y="116"/>
                    </a:lnTo>
                    <a:lnTo>
                      <a:pt x="1114" y="113"/>
                    </a:lnTo>
                    <a:lnTo>
                      <a:pt x="1114" y="113"/>
                    </a:lnTo>
                    <a:lnTo>
                      <a:pt x="1106" y="111"/>
                    </a:lnTo>
                    <a:lnTo>
                      <a:pt x="1106" y="111"/>
                    </a:lnTo>
                    <a:lnTo>
                      <a:pt x="1101" y="111"/>
                    </a:lnTo>
                    <a:lnTo>
                      <a:pt x="1101" y="111"/>
                    </a:lnTo>
                    <a:lnTo>
                      <a:pt x="1101" y="111"/>
                    </a:lnTo>
                    <a:lnTo>
                      <a:pt x="1101" y="111"/>
                    </a:lnTo>
                    <a:lnTo>
                      <a:pt x="1098" y="110"/>
                    </a:lnTo>
                    <a:lnTo>
                      <a:pt x="1098" y="110"/>
                    </a:lnTo>
                    <a:lnTo>
                      <a:pt x="1087" y="107"/>
                    </a:lnTo>
                    <a:lnTo>
                      <a:pt x="1087" y="107"/>
                    </a:lnTo>
                    <a:lnTo>
                      <a:pt x="1095" y="110"/>
                    </a:lnTo>
                    <a:lnTo>
                      <a:pt x="1095" y="110"/>
                    </a:lnTo>
                    <a:lnTo>
                      <a:pt x="1092" y="110"/>
                    </a:lnTo>
                    <a:lnTo>
                      <a:pt x="1092" y="110"/>
                    </a:lnTo>
                    <a:lnTo>
                      <a:pt x="1092" y="110"/>
                    </a:lnTo>
                    <a:lnTo>
                      <a:pt x="1092" y="110"/>
                    </a:lnTo>
                    <a:lnTo>
                      <a:pt x="1087" y="108"/>
                    </a:lnTo>
                    <a:lnTo>
                      <a:pt x="1087" y="108"/>
                    </a:lnTo>
                    <a:lnTo>
                      <a:pt x="1082" y="107"/>
                    </a:lnTo>
                    <a:lnTo>
                      <a:pt x="1082" y="107"/>
                    </a:lnTo>
                    <a:lnTo>
                      <a:pt x="1068" y="102"/>
                    </a:lnTo>
                    <a:lnTo>
                      <a:pt x="1068" y="102"/>
                    </a:lnTo>
                    <a:lnTo>
                      <a:pt x="1055" y="99"/>
                    </a:lnTo>
                    <a:lnTo>
                      <a:pt x="1055" y="99"/>
                    </a:lnTo>
                    <a:lnTo>
                      <a:pt x="1051" y="97"/>
                    </a:lnTo>
                    <a:lnTo>
                      <a:pt x="1051" y="97"/>
                    </a:lnTo>
                    <a:lnTo>
                      <a:pt x="1046" y="97"/>
                    </a:lnTo>
                    <a:lnTo>
                      <a:pt x="1046" y="97"/>
                    </a:lnTo>
                    <a:lnTo>
                      <a:pt x="1043" y="97"/>
                    </a:lnTo>
                    <a:lnTo>
                      <a:pt x="1043" y="97"/>
                    </a:lnTo>
                    <a:lnTo>
                      <a:pt x="1043" y="95"/>
                    </a:lnTo>
                    <a:lnTo>
                      <a:pt x="1043" y="95"/>
                    </a:lnTo>
                    <a:lnTo>
                      <a:pt x="1039" y="95"/>
                    </a:lnTo>
                    <a:lnTo>
                      <a:pt x="1039" y="95"/>
                    </a:lnTo>
                    <a:lnTo>
                      <a:pt x="1030" y="94"/>
                    </a:lnTo>
                    <a:lnTo>
                      <a:pt x="1030" y="94"/>
                    </a:lnTo>
                    <a:lnTo>
                      <a:pt x="1012" y="91"/>
                    </a:lnTo>
                    <a:lnTo>
                      <a:pt x="1012" y="91"/>
                    </a:lnTo>
                    <a:lnTo>
                      <a:pt x="1005" y="89"/>
                    </a:lnTo>
                    <a:lnTo>
                      <a:pt x="1005" y="89"/>
                    </a:lnTo>
                    <a:lnTo>
                      <a:pt x="998" y="89"/>
                    </a:lnTo>
                    <a:lnTo>
                      <a:pt x="998" y="89"/>
                    </a:lnTo>
                    <a:lnTo>
                      <a:pt x="990" y="89"/>
                    </a:lnTo>
                    <a:lnTo>
                      <a:pt x="990" y="89"/>
                    </a:lnTo>
                    <a:lnTo>
                      <a:pt x="985" y="89"/>
                    </a:lnTo>
                    <a:lnTo>
                      <a:pt x="985" y="89"/>
                    </a:lnTo>
                    <a:lnTo>
                      <a:pt x="982" y="89"/>
                    </a:lnTo>
                    <a:lnTo>
                      <a:pt x="982" y="89"/>
                    </a:lnTo>
                    <a:lnTo>
                      <a:pt x="985" y="91"/>
                    </a:lnTo>
                    <a:lnTo>
                      <a:pt x="985" y="91"/>
                    </a:lnTo>
                    <a:lnTo>
                      <a:pt x="984" y="91"/>
                    </a:lnTo>
                    <a:lnTo>
                      <a:pt x="984" y="91"/>
                    </a:lnTo>
                    <a:lnTo>
                      <a:pt x="982" y="91"/>
                    </a:lnTo>
                    <a:lnTo>
                      <a:pt x="982" y="91"/>
                    </a:lnTo>
                    <a:lnTo>
                      <a:pt x="979" y="89"/>
                    </a:lnTo>
                    <a:lnTo>
                      <a:pt x="979" y="89"/>
                    </a:lnTo>
                    <a:lnTo>
                      <a:pt x="973" y="87"/>
                    </a:lnTo>
                    <a:lnTo>
                      <a:pt x="973" y="87"/>
                    </a:lnTo>
                    <a:lnTo>
                      <a:pt x="963" y="87"/>
                    </a:lnTo>
                    <a:lnTo>
                      <a:pt x="963" y="87"/>
                    </a:lnTo>
                    <a:lnTo>
                      <a:pt x="952" y="87"/>
                    </a:lnTo>
                    <a:lnTo>
                      <a:pt x="952" y="87"/>
                    </a:lnTo>
                    <a:lnTo>
                      <a:pt x="957" y="87"/>
                    </a:lnTo>
                    <a:lnTo>
                      <a:pt x="957" y="87"/>
                    </a:lnTo>
                    <a:lnTo>
                      <a:pt x="960" y="91"/>
                    </a:lnTo>
                    <a:lnTo>
                      <a:pt x="960" y="91"/>
                    </a:lnTo>
                    <a:lnTo>
                      <a:pt x="958" y="92"/>
                    </a:lnTo>
                    <a:lnTo>
                      <a:pt x="958" y="92"/>
                    </a:lnTo>
                    <a:lnTo>
                      <a:pt x="960" y="94"/>
                    </a:lnTo>
                    <a:lnTo>
                      <a:pt x="960" y="94"/>
                    </a:lnTo>
                    <a:lnTo>
                      <a:pt x="966" y="94"/>
                    </a:lnTo>
                    <a:lnTo>
                      <a:pt x="966" y="94"/>
                    </a:lnTo>
                    <a:lnTo>
                      <a:pt x="973" y="97"/>
                    </a:lnTo>
                    <a:lnTo>
                      <a:pt x="973" y="97"/>
                    </a:lnTo>
                    <a:lnTo>
                      <a:pt x="976" y="100"/>
                    </a:lnTo>
                    <a:lnTo>
                      <a:pt x="976" y="100"/>
                    </a:lnTo>
                    <a:lnTo>
                      <a:pt x="976" y="102"/>
                    </a:lnTo>
                    <a:lnTo>
                      <a:pt x="976" y="102"/>
                    </a:lnTo>
                    <a:lnTo>
                      <a:pt x="978" y="103"/>
                    </a:lnTo>
                    <a:lnTo>
                      <a:pt x="978" y="103"/>
                    </a:lnTo>
                    <a:lnTo>
                      <a:pt x="973" y="103"/>
                    </a:lnTo>
                    <a:lnTo>
                      <a:pt x="973" y="103"/>
                    </a:lnTo>
                    <a:lnTo>
                      <a:pt x="966" y="103"/>
                    </a:lnTo>
                    <a:lnTo>
                      <a:pt x="966" y="103"/>
                    </a:lnTo>
                    <a:lnTo>
                      <a:pt x="965" y="102"/>
                    </a:lnTo>
                    <a:lnTo>
                      <a:pt x="965" y="102"/>
                    </a:lnTo>
                    <a:lnTo>
                      <a:pt x="962" y="100"/>
                    </a:lnTo>
                    <a:lnTo>
                      <a:pt x="962" y="100"/>
                    </a:lnTo>
                    <a:lnTo>
                      <a:pt x="952" y="99"/>
                    </a:lnTo>
                    <a:lnTo>
                      <a:pt x="952" y="99"/>
                    </a:lnTo>
                    <a:lnTo>
                      <a:pt x="949" y="97"/>
                    </a:lnTo>
                    <a:lnTo>
                      <a:pt x="949" y="97"/>
                    </a:lnTo>
                    <a:lnTo>
                      <a:pt x="944" y="95"/>
                    </a:lnTo>
                    <a:lnTo>
                      <a:pt x="944" y="95"/>
                    </a:lnTo>
                    <a:lnTo>
                      <a:pt x="938" y="92"/>
                    </a:lnTo>
                    <a:lnTo>
                      <a:pt x="938" y="92"/>
                    </a:lnTo>
                    <a:lnTo>
                      <a:pt x="935" y="91"/>
                    </a:lnTo>
                    <a:lnTo>
                      <a:pt x="935" y="91"/>
                    </a:lnTo>
                    <a:lnTo>
                      <a:pt x="935" y="92"/>
                    </a:lnTo>
                    <a:lnTo>
                      <a:pt x="935" y="92"/>
                    </a:lnTo>
                    <a:lnTo>
                      <a:pt x="931" y="94"/>
                    </a:lnTo>
                    <a:lnTo>
                      <a:pt x="931" y="94"/>
                    </a:lnTo>
                    <a:lnTo>
                      <a:pt x="930" y="94"/>
                    </a:lnTo>
                    <a:lnTo>
                      <a:pt x="930" y="94"/>
                    </a:lnTo>
                    <a:lnTo>
                      <a:pt x="924" y="94"/>
                    </a:lnTo>
                    <a:lnTo>
                      <a:pt x="924" y="94"/>
                    </a:lnTo>
                    <a:lnTo>
                      <a:pt x="914" y="94"/>
                    </a:lnTo>
                    <a:lnTo>
                      <a:pt x="914" y="94"/>
                    </a:lnTo>
                    <a:lnTo>
                      <a:pt x="904" y="92"/>
                    </a:lnTo>
                    <a:lnTo>
                      <a:pt x="904" y="92"/>
                    </a:lnTo>
                    <a:lnTo>
                      <a:pt x="900" y="92"/>
                    </a:lnTo>
                    <a:lnTo>
                      <a:pt x="900" y="92"/>
                    </a:lnTo>
                    <a:lnTo>
                      <a:pt x="893" y="92"/>
                    </a:lnTo>
                    <a:lnTo>
                      <a:pt x="893" y="92"/>
                    </a:lnTo>
                    <a:lnTo>
                      <a:pt x="885" y="92"/>
                    </a:lnTo>
                    <a:lnTo>
                      <a:pt x="885" y="92"/>
                    </a:lnTo>
                    <a:lnTo>
                      <a:pt x="879" y="94"/>
                    </a:lnTo>
                    <a:lnTo>
                      <a:pt x="879" y="94"/>
                    </a:lnTo>
                    <a:lnTo>
                      <a:pt x="876" y="94"/>
                    </a:lnTo>
                    <a:lnTo>
                      <a:pt x="876" y="94"/>
                    </a:lnTo>
                    <a:lnTo>
                      <a:pt x="866" y="91"/>
                    </a:lnTo>
                    <a:lnTo>
                      <a:pt x="866" y="91"/>
                    </a:lnTo>
                    <a:lnTo>
                      <a:pt x="863" y="91"/>
                    </a:lnTo>
                    <a:lnTo>
                      <a:pt x="863" y="91"/>
                    </a:lnTo>
                    <a:lnTo>
                      <a:pt x="858" y="89"/>
                    </a:lnTo>
                    <a:lnTo>
                      <a:pt x="858" y="89"/>
                    </a:lnTo>
                    <a:lnTo>
                      <a:pt x="858" y="87"/>
                    </a:lnTo>
                    <a:lnTo>
                      <a:pt x="858" y="87"/>
                    </a:lnTo>
                    <a:lnTo>
                      <a:pt x="855" y="87"/>
                    </a:lnTo>
                    <a:lnTo>
                      <a:pt x="855" y="87"/>
                    </a:lnTo>
                    <a:lnTo>
                      <a:pt x="857" y="87"/>
                    </a:lnTo>
                    <a:lnTo>
                      <a:pt x="857" y="87"/>
                    </a:lnTo>
                    <a:lnTo>
                      <a:pt x="854" y="84"/>
                    </a:lnTo>
                    <a:lnTo>
                      <a:pt x="854" y="84"/>
                    </a:lnTo>
                    <a:lnTo>
                      <a:pt x="847" y="81"/>
                    </a:lnTo>
                    <a:lnTo>
                      <a:pt x="847" y="81"/>
                    </a:lnTo>
                    <a:lnTo>
                      <a:pt x="838" y="78"/>
                    </a:lnTo>
                    <a:lnTo>
                      <a:pt x="838" y="78"/>
                    </a:lnTo>
                    <a:lnTo>
                      <a:pt x="812" y="76"/>
                    </a:lnTo>
                    <a:lnTo>
                      <a:pt x="812" y="76"/>
                    </a:lnTo>
                    <a:lnTo>
                      <a:pt x="801" y="76"/>
                    </a:lnTo>
                    <a:lnTo>
                      <a:pt x="801" y="76"/>
                    </a:lnTo>
                    <a:lnTo>
                      <a:pt x="789" y="78"/>
                    </a:lnTo>
                    <a:lnTo>
                      <a:pt x="789" y="78"/>
                    </a:lnTo>
                    <a:lnTo>
                      <a:pt x="779" y="78"/>
                    </a:lnTo>
                    <a:lnTo>
                      <a:pt x="779" y="78"/>
                    </a:lnTo>
                    <a:lnTo>
                      <a:pt x="768" y="76"/>
                    </a:lnTo>
                    <a:lnTo>
                      <a:pt x="768" y="76"/>
                    </a:lnTo>
                    <a:lnTo>
                      <a:pt x="773" y="76"/>
                    </a:lnTo>
                    <a:lnTo>
                      <a:pt x="773" y="76"/>
                    </a:lnTo>
                    <a:lnTo>
                      <a:pt x="766" y="75"/>
                    </a:lnTo>
                    <a:lnTo>
                      <a:pt x="766" y="75"/>
                    </a:lnTo>
                    <a:lnTo>
                      <a:pt x="762" y="73"/>
                    </a:lnTo>
                    <a:lnTo>
                      <a:pt x="762" y="73"/>
                    </a:lnTo>
                    <a:lnTo>
                      <a:pt x="757" y="72"/>
                    </a:lnTo>
                    <a:lnTo>
                      <a:pt x="757" y="72"/>
                    </a:lnTo>
                    <a:lnTo>
                      <a:pt x="754" y="73"/>
                    </a:lnTo>
                    <a:lnTo>
                      <a:pt x="754" y="73"/>
                    </a:lnTo>
                    <a:lnTo>
                      <a:pt x="750" y="75"/>
                    </a:lnTo>
                    <a:lnTo>
                      <a:pt x="750" y="75"/>
                    </a:lnTo>
                    <a:lnTo>
                      <a:pt x="750" y="72"/>
                    </a:lnTo>
                    <a:lnTo>
                      <a:pt x="750" y="72"/>
                    </a:lnTo>
                    <a:lnTo>
                      <a:pt x="750" y="70"/>
                    </a:lnTo>
                    <a:lnTo>
                      <a:pt x="750" y="70"/>
                    </a:lnTo>
                    <a:lnTo>
                      <a:pt x="746" y="70"/>
                    </a:lnTo>
                    <a:lnTo>
                      <a:pt x="746" y="70"/>
                    </a:lnTo>
                    <a:lnTo>
                      <a:pt x="744" y="70"/>
                    </a:lnTo>
                    <a:lnTo>
                      <a:pt x="744" y="70"/>
                    </a:lnTo>
                    <a:lnTo>
                      <a:pt x="741" y="68"/>
                    </a:lnTo>
                    <a:lnTo>
                      <a:pt x="741" y="68"/>
                    </a:lnTo>
                    <a:lnTo>
                      <a:pt x="736" y="68"/>
                    </a:lnTo>
                    <a:lnTo>
                      <a:pt x="736" y="68"/>
                    </a:lnTo>
                    <a:lnTo>
                      <a:pt x="733" y="68"/>
                    </a:lnTo>
                    <a:lnTo>
                      <a:pt x="733" y="68"/>
                    </a:lnTo>
                    <a:lnTo>
                      <a:pt x="730" y="67"/>
                    </a:lnTo>
                    <a:lnTo>
                      <a:pt x="730" y="67"/>
                    </a:lnTo>
                    <a:lnTo>
                      <a:pt x="733" y="67"/>
                    </a:lnTo>
                    <a:lnTo>
                      <a:pt x="733" y="67"/>
                    </a:lnTo>
                    <a:lnTo>
                      <a:pt x="738" y="67"/>
                    </a:lnTo>
                    <a:lnTo>
                      <a:pt x="738" y="67"/>
                    </a:lnTo>
                    <a:lnTo>
                      <a:pt x="739" y="67"/>
                    </a:lnTo>
                    <a:lnTo>
                      <a:pt x="739" y="67"/>
                    </a:lnTo>
                    <a:lnTo>
                      <a:pt x="738" y="65"/>
                    </a:lnTo>
                    <a:lnTo>
                      <a:pt x="738" y="65"/>
                    </a:lnTo>
                    <a:lnTo>
                      <a:pt x="736" y="64"/>
                    </a:lnTo>
                    <a:lnTo>
                      <a:pt x="736" y="64"/>
                    </a:lnTo>
                    <a:lnTo>
                      <a:pt x="727" y="62"/>
                    </a:lnTo>
                    <a:lnTo>
                      <a:pt x="727" y="62"/>
                    </a:lnTo>
                    <a:lnTo>
                      <a:pt x="719" y="60"/>
                    </a:lnTo>
                    <a:lnTo>
                      <a:pt x="719" y="60"/>
                    </a:lnTo>
                    <a:lnTo>
                      <a:pt x="709" y="60"/>
                    </a:lnTo>
                    <a:lnTo>
                      <a:pt x="709" y="60"/>
                    </a:lnTo>
                    <a:lnTo>
                      <a:pt x="708" y="60"/>
                    </a:lnTo>
                    <a:lnTo>
                      <a:pt x="708" y="60"/>
                    </a:lnTo>
                    <a:lnTo>
                      <a:pt x="706" y="62"/>
                    </a:lnTo>
                    <a:lnTo>
                      <a:pt x="706" y="62"/>
                    </a:lnTo>
                    <a:lnTo>
                      <a:pt x="706" y="65"/>
                    </a:lnTo>
                    <a:lnTo>
                      <a:pt x="706" y="65"/>
                    </a:lnTo>
                    <a:lnTo>
                      <a:pt x="704" y="67"/>
                    </a:lnTo>
                    <a:lnTo>
                      <a:pt x="704" y="67"/>
                    </a:lnTo>
                    <a:lnTo>
                      <a:pt x="704" y="62"/>
                    </a:lnTo>
                    <a:lnTo>
                      <a:pt x="704" y="62"/>
                    </a:lnTo>
                    <a:lnTo>
                      <a:pt x="703" y="60"/>
                    </a:lnTo>
                    <a:lnTo>
                      <a:pt x="703" y="60"/>
                    </a:lnTo>
                    <a:lnTo>
                      <a:pt x="695" y="59"/>
                    </a:lnTo>
                    <a:lnTo>
                      <a:pt x="695" y="59"/>
                    </a:lnTo>
                    <a:lnTo>
                      <a:pt x="687" y="57"/>
                    </a:lnTo>
                    <a:lnTo>
                      <a:pt x="687" y="57"/>
                    </a:lnTo>
                    <a:lnTo>
                      <a:pt x="671" y="56"/>
                    </a:lnTo>
                    <a:lnTo>
                      <a:pt x="671" y="56"/>
                    </a:lnTo>
                    <a:lnTo>
                      <a:pt x="655" y="56"/>
                    </a:lnTo>
                    <a:lnTo>
                      <a:pt x="655" y="56"/>
                    </a:lnTo>
                    <a:lnTo>
                      <a:pt x="647" y="56"/>
                    </a:lnTo>
                    <a:lnTo>
                      <a:pt x="647" y="56"/>
                    </a:lnTo>
                    <a:lnTo>
                      <a:pt x="639" y="56"/>
                    </a:lnTo>
                    <a:lnTo>
                      <a:pt x="639" y="56"/>
                    </a:lnTo>
                    <a:lnTo>
                      <a:pt x="644" y="56"/>
                    </a:lnTo>
                    <a:lnTo>
                      <a:pt x="644" y="56"/>
                    </a:lnTo>
                    <a:lnTo>
                      <a:pt x="647" y="57"/>
                    </a:lnTo>
                    <a:lnTo>
                      <a:pt x="647" y="57"/>
                    </a:lnTo>
                    <a:lnTo>
                      <a:pt x="649" y="57"/>
                    </a:lnTo>
                    <a:lnTo>
                      <a:pt x="649" y="57"/>
                    </a:lnTo>
                    <a:lnTo>
                      <a:pt x="643" y="59"/>
                    </a:lnTo>
                    <a:lnTo>
                      <a:pt x="643" y="59"/>
                    </a:lnTo>
                    <a:lnTo>
                      <a:pt x="636" y="59"/>
                    </a:lnTo>
                    <a:lnTo>
                      <a:pt x="636" y="59"/>
                    </a:lnTo>
                    <a:lnTo>
                      <a:pt x="636" y="60"/>
                    </a:lnTo>
                    <a:lnTo>
                      <a:pt x="636" y="60"/>
                    </a:lnTo>
                    <a:lnTo>
                      <a:pt x="639" y="64"/>
                    </a:lnTo>
                    <a:lnTo>
                      <a:pt x="639" y="64"/>
                    </a:lnTo>
                    <a:lnTo>
                      <a:pt x="639" y="62"/>
                    </a:lnTo>
                    <a:lnTo>
                      <a:pt x="639" y="62"/>
                    </a:lnTo>
                    <a:lnTo>
                      <a:pt x="643" y="62"/>
                    </a:lnTo>
                    <a:lnTo>
                      <a:pt x="643" y="62"/>
                    </a:lnTo>
                    <a:lnTo>
                      <a:pt x="644" y="62"/>
                    </a:lnTo>
                    <a:lnTo>
                      <a:pt x="644" y="62"/>
                    </a:lnTo>
                    <a:lnTo>
                      <a:pt x="644" y="64"/>
                    </a:lnTo>
                    <a:lnTo>
                      <a:pt x="644" y="64"/>
                    </a:lnTo>
                    <a:lnTo>
                      <a:pt x="646" y="65"/>
                    </a:lnTo>
                    <a:lnTo>
                      <a:pt x="646" y="65"/>
                    </a:lnTo>
                    <a:lnTo>
                      <a:pt x="643" y="65"/>
                    </a:lnTo>
                    <a:lnTo>
                      <a:pt x="643" y="65"/>
                    </a:lnTo>
                    <a:lnTo>
                      <a:pt x="650" y="67"/>
                    </a:lnTo>
                    <a:lnTo>
                      <a:pt x="650" y="67"/>
                    </a:lnTo>
                    <a:lnTo>
                      <a:pt x="655" y="72"/>
                    </a:lnTo>
                    <a:lnTo>
                      <a:pt x="655" y="72"/>
                    </a:lnTo>
                    <a:lnTo>
                      <a:pt x="652" y="72"/>
                    </a:lnTo>
                    <a:lnTo>
                      <a:pt x="652" y="72"/>
                    </a:lnTo>
                    <a:lnTo>
                      <a:pt x="649" y="72"/>
                    </a:lnTo>
                    <a:lnTo>
                      <a:pt x="649" y="72"/>
                    </a:lnTo>
                    <a:lnTo>
                      <a:pt x="647" y="70"/>
                    </a:lnTo>
                    <a:lnTo>
                      <a:pt x="647" y="70"/>
                    </a:lnTo>
                    <a:lnTo>
                      <a:pt x="644" y="70"/>
                    </a:lnTo>
                    <a:lnTo>
                      <a:pt x="644" y="70"/>
                    </a:lnTo>
                    <a:lnTo>
                      <a:pt x="643" y="68"/>
                    </a:lnTo>
                    <a:lnTo>
                      <a:pt x="643" y="68"/>
                    </a:lnTo>
                    <a:lnTo>
                      <a:pt x="641" y="70"/>
                    </a:lnTo>
                    <a:lnTo>
                      <a:pt x="641" y="70"/>
                    </a:lnTo>
                    <a:lnTo>
                      <a:pt x="639" y="70"/>
                    </a:lnTo>
                    <a:lnTo>
                      <a:pt x="639" y="70"/>
                    </a:lnTo>
                    <a:lnTo>
                      <a:pt x="638" y="70"/>
                    </a:lnTo>
                    <a:lnTo>
                      <a:pt x="638" y="70"/>
                    </a:lnTo>
                    <a:lnTo>
                      <a:pt x="639" y="72"/>
                    </a:lnTo>
                    <a:lnTo>
                      <a:pt x="639" y="72"/>
                    </a:lnTo>
                    <a:lnTo>
                      <a:pt x="644" y="73"/>
                    </a:lnTo>
                    <a:lnTo>
                      <a:pt x="644" y="73"/>
                    </a:lnTo>
                    <a:lnTo>
                      <a:pt x="641" y="73"/>
                    </a:lnTo>
                    <a:lnTo>
                      <a:pt x="641" y="73"/>
                    </a:lnTo>
                    <a:lnTo>
                      <a:pt x="643" y="75"/>
                    </a:lnTo>
                    <a:lnTo>
                      <a:pt x="643" y="75"/>
                    </a:lnTo>
                    <a:lnTo>
                      <a:pt x="631" y="73"/>
                    </a:lnTo>
                    <a:lnTo>
                      <a:pt x="631" y="73"/>
                    </a:lnTo>
                    <a:lnTo>
                      <a:pt x="622" y="70"/>
                    </a:lnTo>
                    <a:lnTo>
                      <a:pt x="622" y="70"/>
                    </a:lnTo>
                    <a:lnTo>
                      <a:pt x="616" y="68"/>
                    </a:lnTo>
                    <a:lnTo>
                      <a:pt x="616" y="68"/>
                    </a:lnTo>
                    <a:lnTo>
                      <a:pt x="611" y="72"/>
                    </a:lnTo>
                    <a:lnTo>
                      <a:pt x="611" y="72"/>
                    </a:lnTo>
                    <a:lnTo>
                      <a:pt x="609" y="72"/>
                    </a:lnTo>
                    <a:lnTo>
                      <a:pt x="609" y="72"/>
                    </a:lnTo>
                    <a:lnTo>
                      <a:pt x="606" y="72"/>
                    </a:lnTo>
                    <a:lnTo>
                      <a:pt x="606" y="72"/>
                    </a:lnTo>
                    <a:lnTo>
                      <a:pt x="601" y="72"/>
                    </a:lnTo>
                    <a:lnTo>
                      <a:pt x="601" y="72"/>
                    </a:lnTo>
                    <a:lnTo>
                      <a:pt x="596" y="70"/>
                    </a:lnTo>
                    <a:lnTo>
                      <a:pt x="596" y="70"/>
                    </a:lnTo>
                    <a:lnTo>
                      <a:pt x="590" y="68"/>
                    </a:lnTo>
                    <a:lnTo>
                      <a:pt x="590" y="68"/>
                    </a:lnTo>
                    <a:lnTo>
                      <a:pt x="585" y="67"/>
                    </a:lnTo>
                    <a:lnTo>
                      <a:pt x="585" y="67"/>
                    </a:lnTo>
                    <a:lnTo>
                      <a:pt x="584" y="67"/>
                    </a:lnTo>
                    <a:lnTo>
                      <a:pt x="584" y="67"/>
                    </a:lnTo>
                    <a:lnTo>
                      <a:pt x="584" y="68"/>
                    </a:lnTo>
                    <a:lnTo>
                      <a:pt x="584" y="68"/>
                    </a:lnTo>
                    <a:lnTo>
                      <a:pt x="585" y="72"/>
                    </a:lnTo>
                    <a:lnTo>
                      <a:pt x="585" y="72"/>
                    </a:lnTo>
                    <a:lnTo>
                      <a:pt x="589" y="75"/>
                    </a:lnTo>
                    <a:lnTo>
                      <a:pt x="589" y="75"/>
                    </a:lnTo>
                    <a:lnTo>
                      <a:pt x="589" y="76"/>
                    </a:lnTo>
                    <a:lnTo>
                      <a:pt x="589" y="76"/>
                    </a:lnTo>
                    <a:lnTo>
                      <a:pt x="589" y="78"/>
                    </a:lnTo>
                    <a:lnTo>
                      <a:pt x="589" y="78"/>
                    </a:lnTo>
                    <a:lnTo>
                      <a:pt x="587" y="78"/>
                    </a:lnTo>
                    <a:lnTo>
                      <a:pt x="587" y="78"/>
                    </a:lnTo>
                    <a:lnTo>
                      <a:pt x="585" y="78"/>
                    </a:lnTo>
                    <a:lnTo>
                      <a:pt x="585" y="78"/>
                    </a:lnTo>
                    <a:lnTo>
                      <a:pt x="574" y="76"/>
                    </a:lnTo>
                    <a:lnTo>
                      <a:pt x="574" y="76"/>
                    </a:lnTo>
                    <a:lnTo>
                      <a:pt x="568" y="75"/>
                    </a:lnTo>
                    <a:lnTo>
                      <a:pt x="568" y="75"/>
                    </a:lnTo>
                    <a:lnTo>
                      <a:pt x="562" y="72"/>
                    </a:lnTo>
                    <a:lnTo>
                      <a:pt x="562" y="72"/>
                    </a:lnTo>
                    <a:lnTo>
                      <a:pt x="558" y="70"/>
                    </a:lnTo>
                    <a:lnTo>
                      <a:pt x="558" y="70"/>
                    </a:lnTo>
                    <a:lnTo>
                      <a:pt x="555" y="70"/>
                    </a:lnTo>
                    <a:lnTo>
                      <a:pt x="555" y="70"/>
                    </a:lnTo>
                    <a:lnTo>
                      <a:pt x="555" y="70"/>
                    </a:lnTo>
                    <a:lnTo>
                      <a:pt x="555" y="70"/>
                    </a:lnTo>
                    <a:lnTo>
                      <a:pt x="554" y="68"/>
                    </a:lnTo>
                    <a:lnTo>
                      <a:pt x="554" y="68"/>
                    </a:lnTo>
                    <a:lnTo>
                      <a:pt x="555" y="68"/>
                    </a:lnTo>
                    <a:lnTo>
                      <a:pt x="555" y="68"/>
                    </a:lnTo>
                    <a:lnTo>
                      <a:pt x="558" y="68"/>
                    </a:lnTo>
                    <a:lnTo>
                      <a:pt x="558" y="68"/>
                    </a:lnTo>
                    <a:lnTo>
                      <a:pt x="550" y="65"/>
                    </a:lnTo>
                    <a:lnTo>
                      <a:pt x="550" y="65"/>
                    </a:lnTo>
                    <a:lnTo>
                      <a:pt x="554" y="67"/>
                    </a:lnTo>
                    <a:lnTo>
                      <a:pt x="554" y="67"/>
                    </a:lnTo>
                    <a:lnTo>
                      <a:pt x="552" y="67"/>
                    </a:lnTo>
                    <a:lnTo>
                      <a:pt x="552" y="67"/>
                    </a:lnTo>
                    <a:lnTo>
                      <a:pt x="547" y="67"/>
                    </a:lnTo>
                    <a:lnTo>
                      <a:pt x="547" y="67"/>
                    </a:lnTo>
                    <a:lnTo>
                      <a:pt x="539" y="62"/>
                    </a:lnTo>
                    <a:lnTo>
                      <a:pt x="539" y="62"/>
                    </a:lnTo>
                    <a:lnTo>
                      <a:pt x="546" y="64"/>
                    </a:lnTo>
                    <a:lnTo>
                      <a:pt x="546" y="64"/>
                    </a:lnTo>
                    <a:lnTo>
                      <a:pt x="549" y="64"/>
                    </a:lnTo>
                    <a:lnTo>
                      <a:pt x="549" y="64"/>
                    </a:lnTo>
                    <a:lnTo>
                      <a:pt x="552" y="64"/>
                    </a:lnTo>
                    <a:lnTo>
                      <a:pt x="552" y="64"/>
                    </a:lnTo>
                    <a:lnTo>
                      <a:pt x="550" y="62"/>
                    </a:lnTo>
                    <a:lnTo>
                      <a:pt x="550" y="62"/>
                    </a:lnTo>
                    <a:lnTo>
                      <a:pt x="552" y="62"/>
                    </a:lnTo>
                    <a:lnTo>
                      <a:pt x="552" y="62"/>
                    </a:lnTo>
                    <a:lnTo>
                      <a:pt x="544" y="59"/>
                    </a:lnTo>
                    <a:lnTo>
                      <a:pt x="544" y="59"/>
                    </a:lnTo>
                    <a:lnTo>
                      <a:pt x="541" y="59"/>
                    </a:lnTo>
                    <a:lnTo>
                      <a:pt x="541" y="59"/>
                    </a:lnTo>
                    <a:lnTo>
                      <a:pt x="536" y="57"/>
                    </a:lnTo>
                    <a:lnTo>
                      <a:pt x="536" y="57"/>
                    </a:lnTo>
                    <a:lnTo>
                      <a:pt x="539" y="57"/>
                    </a:lnTo>
                    <a:lnTo>
                      <a:pt x="539" y="57"/>
                    </a:lnTo>
                    <a:lnTo>
                      <a:pt x="541" y="57"/>
                    </a:lnTo>
                    <a:lnTo>
                      <a:pt x="541" y="57"/>
                    </a:lnTo>
                    <a:lnTo>
                      <a:pt x="539" y="56"/>
                    </a:lnTo>
                    <a:lnTo>
                      <a:pt x="539" y="56"/>
                    </a:lnTo>
                    <a:lnTo>
                      <a:pt x="536" y="56"/>
                    </a:lnTo>
                    <a:lnTo>
                      <a:pt x="536" y="56"/>
                    </a:lnTo>
                    <a:lnTo>
                      <a:pt x="541" y="56"/>
                    </a:lnTo>
                    <a:lnTo>
                      <a:pt x="541" y="56"/>
                    </a:lnTo>
                    <a:lnTo>
                      <a:pt x="533" y="56"/>
                    </a:lnTo>
                    <a:lnTo>
                      <a:pt x="533" y="56"/>
                    </a:lnTo>
                    <a:lnTo>
                      <a:pt x="535" y="54"/>
                    </a:lnTo>
                    <a:lnTo>
                      <a:pt x="535" y="54"/>
                    </a:lnTo>
                    <a:lnTo>
                      <a:pt x="535" y="53"/>
                    </a:lnTo>
                    <a:lnTo>
                      <a:pt x="535" y="53"/>
                    </a:lnTo>
                    <a:lnTo>
                      <a:pt x="533" y="53"/>
                    </a:lnTo>
                    <a:lnTo>
                      <a:pt x="533" y="53"/>
                    </a:lnTo>
                    <a:lnTo>
                      <a:pt x="533" y="51"/>
                    </a:lnTo>
                    <a:lnTo>
                      <a:pt x="533" y="51"/>
                    </a:lnTo>
                    <a:lnTo>
                      <a:pt x="523" y="49"/>
                    </a:lnTo>
                    <a:lnTo>
                      <a:pt x="523" y="49"/>
                    </a:lnTo>
                    <a:lnTo>
                      <a:pt x="520" y="48"/>
                    </a:lnTo>
                    <a:lnTo>
                      <a:pt x="520" y="48"/>
                    </a:lnTo>
                    <a:lnTo>
                      <a:pt x="516" y="48"/>
                    </a:lnTo>
                    <a:lnTo>
                      <a:pt x="516" y="48"/>
                    </a:lnTo>
                    <a:lnTo>
                      <a:pt x="511" y="48"/>
                    </a:lnTo>
                    <a:lnTo>
                      <a:pt x="511" y="48"/>
                    </a:lnTo>
                    <a:lnTo>
                      <a:pt x="512" y="49"/>
                    </a:lnTo>
                    <a:lnTo>
                      <a:pt x="512" y="49"/>
                    </a:lnTo>
                    <a:lnTo>
                      <a:pt x="509" y="49"/>
                    </a:lnTo>
                    <a:lnTo>
                      <a:pt x="509" y="49"/>
                    </a:lnTo>
                    <a:lnTo>
                      <a:pt x="506" y="49"/>
                    </a:lnTo>
                    <a:lnTo>
                      <a:pt x="506" y="49"/>
                    </a:lnTo>
                    <a:lnTo>
                      <a:pt x="506" y="48"/>
                    </a:lnTo>
                    <a:lnTo>
                      <a:pt x="506" y="48"/>
                    </a:lnTo>
                    <a:lnTo>
                      <a:pt x="503" y="48"/>
                    </a:lnTo>
                    <a:lnTo>
                      <a:pt x="503" y="48"/>
                    </a:lnTo>
                    <a:lnTo>
                      <a:pt x="500" y="49"/>
                    </a:lnTo>
                    <a:lnTo>
                      <a:pt x="500" y="49"/>
                    </a:lnTo>
                    <a:lnTo>
                      <a:pt x="500" y="48"/>
                    </a:lnTo>
                    <a:lnTo>
                      <a:pt x="500" y="48"/>
                    </a:lnTo>
                    <a:lnTo>
                      <a:pt x="496" y="46"/>
                    </a:lnTo>
                    <a:lnTo>
                      <a:pt x="496" y="46"/>
                    </a:lnTo>
                    <a:lnTo>
                      <a:pt x="489" y="45"/>
                    </a:lnTo>
                    <a:lnTo>
                      <a:pt x="489" y="45"/>
                    </a:lnTo>
                    <a:lnTo>
                      <a:pt x="484" y="45"/>
                    </a:lnTo>
                    <a:lnTo>
                      <a:pt x="484" y="45"/>
                    </a:lnTo>
                    <a:lnTo>
                      <a:pt x="481" y="45"/>
                    </a:lnTo>
                    <a:lnTo>
                      <a:pt x="481" y="45"/>
                    </a:lnTo>
                    <a:lnTo>
                      <a:pt x="482" y="46"/>
                    </a:lnTo>
                    <a:lnTo>
                      <a:pt x="482" y="46"/>
                    </a:lnTo>
                    <a:lnTo>
                      <a:pt x="481" y="46"/>
                    </a:lnTo>
                    <a:lnTo>
                      <a:pt x="481" y="46"/>
                    </a:lnTo>
                    <a:lnTo>
                      <a:pt x="479" y="45"/>
                    </a:lnTo>
                    <a:lnTo>
                      <a:pt x="479" y="45"/>
                    </a:lnTo>
                    <a:lnTo>
                      <a:pt x="479" y="48"/>
                    </a:lnTo>
                    <a:lnTo>
                      <a:pt x="479" y="48"/>
                    </a:lnTo>
                    <a:lnTo>
                      <a:pt x="481" y="49"/>
                    </a:lnTo>
                    <a:lnTo>
                      <a:pt x="481" y="49"/>
                    </a:lnTo>
                    <a:lnTo>
                      <a:pt x="485" y="51"/>
                    </a:lnTo>
                    <a:lnTo>
                      <a:pt x="485" y="51"/>
                    </a:lnTo>
                    <a:lnTo>
                      <a:pt x="485" y="53"/>
                    </a:lnTo>
                    <a:lnTo>
                      <a:pt x="485" y="53"/>
                    </a:lnTo>
                    <a:lnTo>
                      <a:pt x="485" y="54"/>
                    </a:lnTo>
                    <a:lnTo>
                      <a:pt x="485" y="54"/>
                    </a:lnTo>
                    <a:lnTo>
                      <a:pt x="479" y="54"/>
                    </a:lnTo>
                    <a:lnTo>
                      <a:pt x="479" y="54"/>
                    </a:lnTo>
                    <a:lnTo>
                      <a:pt x="465" y="54"/>
                    </a:lnTo>
                    <a:lnTo>
                      <a:pt x="465" y="54"/>
                    </a:lnTo>
                    <a:lnTo>
                      <a:pt x="449" y="53"/>
                    </a:lnTo>
                    <a:lnTo>
                      <a:pt x="449" y="53"/>
                    </a:lnTo>
                    <a:lnTo>
                      <a:pt x="442" y="53"/>
                    </a:lnTo>
                    <a:lnTo>
                      <a:pt x="442" y="53"/>
                    </a:lnTo>
                    <a:lnTo>
                      <a:pt x="439" y="51"/>
                    </a:lnTo>
                    <a:lnTo>
                      <a:pt x="439" y="51"/>
                    </a:lnTo>
                    <a:lnTo>
                      <a:pt x="436" y="49"/>
                    </a:lnTo>
                    <a:lnTo>
                      <a:pt x="436" y="49"/>
                    </a:lnTo>
                    <a:lnTo>
                      <a:pt x="439" y="48"/>
                    </a:lnTo>
                    <a:lnTo>
                      <a:pt x="439" y="48"/>
                    </a:lnTo>
                    <a:lnTo>
                      <a:pt x="442" y="48"/>
                    </a:lnTo>
                    <a:lnTo>
                      <a:pt x="442" y="48"/>
                    </a:lnTo>
                    <a:lnTo>
                      <a:pt x="436" y="46"/>
                    </a:lnTo>
                    <a:lnTo>
                      <a:pt x="436" y="46"/>
                    </a:lnTo>
                    <a:lnTo>
                      <a:pt x="433" y="46"/>
                    </a:lnTo>
                    <a:lnTo>
                      <a:pt x="433" y="46"/>
                    </a:lnTo>
                    <a:lnTo>
                      <a:pt x="423" y="46"/>
                    </a:lnTo>
                    <a:lnTo>
                      <a:pt x="423" y="46"/>
                    </a:lnTo>
                    <a:lnTo>
                      <a:pt x="408" y="46"/>
                    </a:lnTo>
                    <a:lnTo>
                      <a:pt x="408" y="46"/>
                    </a:lnTo>
                    <a:lnTo>
                      <a:pt x="393" y="48"/>
                    </a:lnTo>
                    <a:lnTo>
                      <a:pt x="393" y="48"/>
                    </a:lnTo>
                    <a:lnTo>
                      <a:pt x="396" y="49"/>
                    </a:lnTo>
                    <a:lnTo>
                      <a:pt x="396" y="49"/>
                    </a:lnTo>
                    <a:lnTo>
                      <a:pt x="393" y="49"/>
                    </a:lnTo>
                    <a:lnTo>
                      <a:pt x="393" y="49"/>
                    </a:lnTo>
                    <a:lnTo>
                      <a:pt x="392" y="48"/>
                    </a:lnTo>
                    <a:lnTo>
                      <a:pt x="392" y="48"/>
                    </a:lnTo>
                    <a:lnTo>
                      <a:pt x="392" y="46"/>
                    </a:lnTo>
                    <a:lnTo>
                      <a:pt x="392" y="46"/>
                    </a:lnTo>
                    <a:lnTo>
                      <a:pt x="387" y="45"/>
                    </a:lnTo>
                    <a:lnTo>
                      <a:pt x="387" y="45"/>
                    </a:lnTo>
                    <a:lnTo>
                      <a:pt x="382" y="41"/>
                    </a:lnTo>
                    <a:lnTo>
                      <a:pt x="382" y="41"/>
                    </a:lnTo>
                    <a:lnTo>
                      <a:pt x="385" y="45"/>
                    </a:lnTo>
                    <a:lnTo>
                      <a:pt x="385" y="45"/>
                    </a:lnTo>
                    <a:lnTo>
                      <a:pt x="384" y="46"/>
                    </a:lnTo>
                    <a:lnTo>
                      <a:pt x="384" y="46"/>
                    </a:lnTo>
                    <a:lnTo>
                      <a:pt x="381" y="46"/>
                    </a:lnTo>
                    <a:lnTo>
                      <a:pt x="381" y="46"/>
                    </a:lnTo>
                    <a:lnTo>
                      <a:pt x="376" y="46"/>
                    </a:lnTo>
                    <a:lnTo>
                      <a:pt x="376" y="46"/>
                    </a:lnTo>
                    <a:lnTo>
                      <a:pt x="373" y="43"/>
                    </a:lnTo>
                    <a:lnTo>
                      <a:pt x="373" y="43"/>
                    </a:lnTo>
                    <a:lnTo>
                      <a:pt x="369" y="43"/>
                    </a:lnTo>
                    <a:lnTo>
                      <a:pt x="369" y="43"/>
                    </a:lnTo>
                    <a:lnTo>
                      <a:pt x="371" y="41"/>
                    </a:lnTo>
                    <a:lnTo>
                      <a:pt x="371" y="41"/>
                    </a:lnTo>
                    <a:lnTo>
                      <a:pt x="369" y="41"/>
                    </a:lnTo>
                    <a:lnTo>
                      <a:pt x="369" y="41"/>
                    </a:lnTo>
                    <a:lnTo>
                      <a:pt x="368" y="41"/>
                    </a:lnTo>
                    <a:lnTo>
                      <a:pt x="368" y="41"/>
                    </a:lnTo>
                    <a:lnTo>
                      <a:pt x="368" y="43"/>
                    </a:lnTo>
                    <a:lnTo>
                      <a:pt x="368" y="43"/>
                    </a:lnTo>
                    <a:lnTo>
                      <a:pt x="366" y="43"/>
                    </a:lnTo>
                    <a:lnTo>
                      <a:pt x="366" y="43"/>
                    </a:lnTo>
                    <a:lnTo>
                      <a:pt x="363" y="41"/>
                    </a:lnTo>
                    <a:lnTo>
                      <a:pt x="363" y="41"/>
                    </a:lnTo>
                    <a:lnTo>
                      <a:pt x="360" y="41"/>
                    </a:lnTo>
                    <a:lnTo>
                      <a:pt x="360" y="41"/>
                    </a:lnTo>
                    <a:lnTo>
                      <a:pt x="357" y="41"/>
                    </a:lnTo>
                    <a:lnTo>
                      <a:pt x="357" y="41"/>
                    </a:lnTo>
                    <a:lnTo>
                      <a:pt x="357" y="43"/>
                    </a:lnTo>
                    <a:lnTo>
                      <a:pt x="357" y="43"/>
                    </a:lnTo>
                    <a:lnTo>
                      <a:pt x="355" y="45"/>
                    </a:lnTo>
                    <a:lnTo>
                      <a:pt x="355" y="45"/>
                    </a:lnTo>
                    <a:lnTo>
                      <a:pt x="357" y="45"/>
                    </a:lnTo>
                    <a:lnTo>
                      <a:pt x="357" y="45"/>
                    </a:lnTo>
                    <a:lnTo>
                      <a:pt x="358" y="46"/>
                    </a:lnTo>
                    <a:lnTo>
                      <a:pt x="358" y="46"/>
                    </a:lnTo>
                    <a:lnTo>
                      <a:pt x="362" y="45"/>
                    </a:lnTo>
                    <a:lnTo>
                      <a:pt x="362" y="45"/>
                    </a:lnTo>
                    <a:lnTo>
                      <a:pt x="366" y="45"/>
                    </a:lnTo>
                    <a:lnTo>
                      <a:pt x="366" y="45"/>
                    </a:lnTo>
                    <a:lnTo>
                      <a:pt x="369" y="46"/>
                    </a:lnTo>
                    <a:lnTo>
                      <a:pt x="369" y="46"/>
                    </a:lnTo>
                    <a:lnTo>
                      <a:pt x="363" y="48"/>
                    </a:lnTo>
                    <a:lnTo>
                      <a:pt x="363" y="48"/>
                    </a:lnTo>
                    <a:lnTo>
                      <a:pt x="355" y="48"/>
                    </a:lnTo>
                    <a:lnTo>
                      <a:pt x="355" y="48"/>
                    </a:lnTo>
                    <a:lnTo>
                      <a:pt x="358" y="49"/>
                    </a:lnTo>
                    <a:lnTo>
                      <a:pt x="358" y="49"/>
                    </a:lnTo>
                    <a:lnTo>
                      <a:pt x="355" y="49"/>
                    </a:lnTo>
                    <a:lnTo>
                      <a:pt x="355" y="49"/>
                    </a:lnTo>
                    <a:lnTo>
                      <a:pt x="354" y="49"/>
                    </a:lnTo>
                    <a:lnTo>
                      <a:pt x="354" y="49"/>
                    </a:lnTo>
                    <a:lnTo>
                      <a:pt x="349" y="51"/>
                    </a:lnTo>
                    <a:lnTo>
                      <a:pt x="349" y="51"/>
                    </a:lnTo>
                    <a:lnTo>
                      <a:pt x="346" y="53"/>
                    </a:lnTo>
                    <a:lnTo>
                      <a:pt x="346" y="53"/>
                    </a:lnTo>
                    <a:lnTo>
                      <a:pt x="339" y="53"/>
                    </a:lnTo>
                    <a:lnTo>
                      <a:pt x="339" y="53"/>
                    </a:lnTo>
                    <a:lnTo>
                      <a:pt x="335" y="51"/>
                    </a:lnTo>
                    <a:lnTo>
                      <a:pt x="335" y="51"/>
                    </a:lnTo>
                    <a:lnTo>
                      <a:pt x="336" y="49"/>
                    </a:lnTo>
                    <a:lnTo>
                      <a:pt x="336" y="49"/>
                    </a:lnTo>
                    <a:lnTo>
                      <a:pt x="338" y="48"/>
                    </a:lnTo>
                    <a:lnTo>
                      <a:pt x="338" y="48"/>
                    </a:lnTo>
                    <a:lnTo>
                      <a:pt x="339" y="46"/>
                    </a:lnTo>
                    <a:lnTo>
                      <a:pt x="339" y="46"/>
                    </a:lnTo>
                    <a:lnTo>
                      <a:pt x="346" y="46"/>
                    </a:lnTo>
                    <a:lnTo>
                      <a:pt x="346" y="46"/>
                    </a:lnTo>
                    <a:lnTo>
                      <a:pt x="346" y="45"/>
                    </a:lnTo>
                    <a:lnTo>
                      <a:pt x="346" y="45"/>
                    </a:lnTo>
                    <a:lnTo>
                      <a:pt x="346" y="43"/>
                    </a:lnTo>
                    <a:lnTo>
                      <a:pt x="346" y="43"/>
                    </a:lnTo>
                    <a:lnTo>
                      <a:pt x="352" y="41"/>
                    </a:lnTo>
                    <a:lnTo>
                      <a:pt x="352" y="41"/>
                    </a:lnTo>
                    <a:lnTo>
                      <a:pt x="352" y="40"/>
                    </a:lnTo>
                    <a:lnTo>
                      <a:pt x="352" y="40"/>
                    </a:lnTo>
                    <a:lnTo>
                      <a:pt x="354" y="38"/>
                    </a:lnTo>
                    <a:lnTo>
                      <a:pt x="354" y="38"/>
                    </a:lnTo>
                    <a:lnTo>
                      <a:pt x="349" y="38"/>
                    </a:lnTo>
                    <a:lnTo>
                      <a:pt x="349" y="38"/>
                    </a:lnTo>
                    <a:lnTo>
                      <a:pt x="355" y="37"/>
                    </a:lnTo>
                    <a:lnTo>
                      <a:pt x="355" y="37"/>
                    </a:lnTo>
                    <a:lnTo>
                      <a:pt x="354" y="37"/>
                    </a:lnTo>
                    <a:lnTo>
                      <a:pt x="354" y="37"/>
                    </a:lnTo>
                    <a:lnTo>
                      <a:pt x="360" y="33"/>
                    </a:lnTo>
                    <a:lnTo>
                      <a:pt x="360" y="33"/>
                    </a:lnTo>
                    <a:lnTo>
                      <a:pt x="363" y="33"/>
                    </a:lnTo>
                    <a:lnTo>
                      <a:pt x="363" y="33"/>
                    </a:lnTo>
                    <a:lnTo>
                      <a:pt x="365" y="33"/>
                    </a:lnTo>
                    <a:lnTo>
                      <a:pt x="365" y="33"/>
                    </a:lnTo>
                    <a:lnTo>
                      <a:pt x="365" y="32"/>
                    </a:lnTo>
                    <a:lnTo>
                      <a:pt x="365" y="32"/>
                    </a:lnTo>
                    <a:lnTo>
                      <a:pt x="366" y="32"/>
                    </a:lnTo>
                    <a:lnTo>
                      <a:pt x="366" y="32"/>
                    </a:lnTo>
                    <a:lnTo>
                      <a:pt x="368" y="32"/>
                    </a:lnTo>
                    <a:lnTo>
                      <a:pt x="368" y="32"/>
                    </a:lnTo>
                    <a:lnTo>
                      <a:pt x="369" y="32"/>
                    </a:lnTo>
                    <a:lnTo>
                      <a:pt x="369" y="32"/>
                    </a:lnTo>
                    <a:lnTo>
                      <a:pt x="373" y="29"/>
                    </a:lnTo>
                    <a:lnTo>
                      <a:pt x="373" y="29"/>
                    </a:lnTo>
                    <a:lnTo>
                      <a:pt x="373" y="26"/>
                    </a:lnTo>
                    <a:lnTo>
                      <a:pt x="373" y="26"/>
                    </a:lnTo>
                    <a:lnTo>
                      <a:pt x="371" y="26"/>
                    </a:lnTo>
                    <a:lnTo>
                      <a:pt x="371" y="26"/>
                    </a:lnTo>
                    <a:lnTo>
                      <a:pt x="366" y="22"/>
                    </a:lnTo>
                    <a:lnTo>
                      <a:pt x="366" y="22"/>
                    </a:lnTo>
                    <a:lnTo>
                      <a:pt x="363" y="22"/>
                    </a:lnTo>
                    <a:lnTo>
                      <a:pt x="363" y="22"/>
                    </a:lnTo>
                    <a:lnTo>
                      <a:pt x="362" y="22"/>
                    </a:lnTo>
                    <a:lnTo>
                      <a:pt x="362" y="22"/>
                    </a:lnTo>
                    <a:lnTo>
                      <a:pt x="358" y="22"/>
                    </a:lnTo>
                    <a:lnTo>
                      <a:pt x="358" y="22"/>
                    </a:lnTo>
                    <a:lnTo>
                      <a:pt x="362" y="22"/>
                    </a:lnTo>
                    <a:lnTo>
                      <a:pt x="362" y="22"/>
                    </a:lnTo>
                    <a:lnTo>
                      <a:pt x="369" y="22"/>
                    </a:lnTo>
                    <a:lnTo>
                      <a:pt x="369" y="22"/>
                    </a:lnTo>
                    <a:lnTo>
                      <a:pt x="368" y="22"/>
                    </a:lnTo>
                    <a:lnTo>
                      <a:pt x="368" y="22"/>
                    </a:lnTo>
                    <a:lnTo>
                      <a:pt x="366" y="21"/>
                    </a:lnTo>
                    <a:lnTo>
                      <a:pt x="366" y="21"/>
                    </a:lnTo>
                    <a:lnTo>
                      <a:pt x="363" y="21"/>
                    </a:lnTo>
                    <a:lnTo>
                      <a:pt x="363" y="21"/>
                    </a:lnTo>
                    <a:lnTo>
                      <a:pt x="358" y="18"/>
                    </a:lnTo>
                    <a:lnTo>
                      <a:pt x="358" y="18"/>
                    </a:lnTo>
                    <a:lnTo>
                      <a:pt x="357" y="18"/>
                    </a:lnTo>
                    <a:lnTo>
                      <a:pt x="357" y="18"/>
                    </a:lnTo>
                    <a:lnTo>
                      <a:pt x="355" y="19"/>
                    </a:lnTo>
                    <a:lnTo>
                      <a:pt x="355" y="19"/>
                    </a:lnTo>
                    <a:lnTo>
                      <a:pt x="352" y="18"/>
                    </a:lnTo>
                    <a:lnTo>
                      <a:pt x="352" y="18"/>
                    </a:lnTo>
                    <a:lnTo>
                      <a:pt x="352" y="16"/>
                    </a:lnTo>
                    <a:lnTo>
                      <a:pt x="352" y="16"/>
                    </a:lnTo>
                    <a:lnTo>
                      <a:pt x="349" y="14"/>
                    </a:lnTo>
                    <a:lnTo>
                      <a:pt x="349" y="14"/>
                    </a:lnTo>
                    <a:lnTo>
                      <a:pt x="346" y="14"/>
                    </a:lnTo>
                    <a:lnTo>
                      <a:pt x="346" y="14"/>
                    </a:lnTo>
                    <a:lnTo>
                      <a:pt x="346" y="16"/>
                    </a:lnTo>
                    <a:lnTo>
                      <a:pt x="346" y="16"/>
                    </a:lnTo>
                    <a:lnTo>
                      <a:pt x="342" y="14"/>
                    </a:lnTo>
                    <a:lnTo>
                      <a:pt x="342" y="14"/>
                    </a:lnTo>
                    <a:lnTo>
                      <a:pt x="342" y="13"/>
                    </a:lnTo>
                    <a:lnTo>
                      <a:pt x="342" y="13"/>
                    </a:lnTo>
                    <a:lnTo>
                      <a:pt x="338" y="11"/>
                    </a:lnTo>
                    <a:lnTo>
                      <a:pt x="338" y="11"/>
                    </a:lnTo>
                    <a:lnTo>
                      <a:pt x="328" y="11"/>
                    </a:lnTo>
                    <a:lnTo>
                      <a:pt x="328" y="11"/>
                    </a:lnTo>
                    <a:lnTo>
                      <a:pt x="317" y="11"/>
                    </a:lnTo>
                    <a:lnTo>
                      <a:pt x="317" y="11"/>
                    </a:lnTo>
                    <a:lnTo>
                      <a:pt x="308" y="11"/>
                    </a:lnTo>
                    <a:lnTo>
                      <a:pt x="308" y="11"/>
                    </a:lnTo>
                    <a:lnTo>
                      <a:pt x="308" y="13"/>
                    </a:lnTo>
                    <a:lnTo>
                      <a:pt x="308" y="13"/>
                    </a:lnTo>
                    <a:lnTo>
                      <a:pt x="304" y="14"/>
                    </a:lnTo>
                    <a:lnTo>
                      <a:pt x="304" y="14"/>
                    </a:lnTo>
                    <a:lnTo>
                      <a:pt x="300" y="14"/>
                    </a:lnTo>
                    <a:lnTo>
                      <a:pt x="300" y="14"/>
                    </a:lnTo>
                    <a:lnTo>
                      <a:pt x="295" y="14"/>
                    </a:lnTo>
                    <a:lnTo>
                      <a:pt x="295" y="14"/>
                    </a:lnTo>
                    <a:lnTo>
                      <a:pt x="296" y="13"/>
                    </a:lnTo>
                    <a:lnTo>
                      <a:pt x="296" y="13"/>
                    </a:lnTo>
                    <a:lnTo>
                      <a:pt x="298" y="11"/>
                    </a:lnTo>
                    <a:lnTo>
                      <a:pt x="298" y="11"/>
                    </a:lnTo>
                    <a:lnTo>
                      <a:pt x="298" y="10"/>
                    </a:lnTo>
                    <a:lnTo>
                      <a:pt x="298" y="10"/>
                    </a:lnTo>
                    <a:lnTo>
                      <a:pt x="296" y="8"/>
                    </a:lnTo>
                    <a:lnTo>
                      <a:pt x="296" y="8"/>
                    </a:lnTo>
                    <a:lnTo>
                      <a:pt x="288" y="8"/>
                    </a:lnTo>
                    <a:lnTo>
                      <a:pt x="288" y="8"/>
                    </a:lnTo>
                    <a:lnTo>
                      <a:pt x="282" y="10"/>
                    </a:lnTo>
                    <a:lnTo>
                      <a:pt x="282" y="10"/>
                    </a:lnTo>
                    <a:lnTo>
                      <a:pt x="282" y="8"/>
                    </a:lnTo>
                    <a:lnTo>
                      <a:pt x="282" y="8"/>
                    </a:lnTo>
                    <a:lnTo>
                      <a:pt x="282" y="7"/>
                    </a:lnTo>
                    <a:lnTo>
                      <a:pt x="282" y="7"/>
                    </a:lnTo>
                    <a:lnTo>
                      <a:pt x="269" y="8"/>
                    </a:lnTo>
                    <a:lnTo>
                      <a:pt x="269" y="8"/>
                    </a:lnTo>
                    <a:lnTo>
                      <a:pt x="276" y="7"/>
                    </a:lnTo>
                    <a:lnTo>
                      <a:pt x="276" y="7"/>
                    </a:lnTo>
                    <a:lnTo>
                      <a:pt x="279" y="5"/>
                    </a:lnTo>
                    <a:lnTo>
                      <a:pt x="279" y="5"/>
                    </a:lnTo>
                    <a:lnTo>
                      <a:pt x="282" y="5"/>
                    </a:lnTo>
                    <a:lnTo>
                      <a:pt x="282" y="5"/>
                    </a:lnTo>
                    <a:lnTo>
                      <a:pt x="279" y="3"/>
                    </a:lnTo>
                    <a:lnTo>
                      <a:pt x="279" y="3"/>
                    </a:lnTo>
                    <a:lnTo>
                      <a:pt x="273" y="2"/>
                    </a:lnTo>
                    <a:lnTo>
                      <a:pt x="273" y="2"/>
                    </a:lnTo>
                    <a:lnTo>
                      <a:pt x="263" y="0"/>
                    </a:lnTo>
                    <a:lnTo>
                      <a:pt x="263" y="0"/>
                    </a:lnTo>
                    <a:lnTo>
                      <a:pt x="258" y="0"/>
                    </a:lnTo>
                    <a:lnTo>
                      <a:pt x="258" y="0"/>
                    </a:lnTo>
                    <a:lnTo>
                      <a:pt x="254" y="2"/>
                    </a:lnTo>
                    <a:lnTo>
                      <a:pt x="254" y="2"/>
                    </a:lnTo>
                    <a:lnTo>
                      <a:pt x="250" y="3"/>
                    </a:lnTo>
                    <a:lnTo>
                      <a:pt x="250" y="3"/>
                    </a:lnTo>
                    <a:lnTo>
                      <a:pt x="247" y="5"/>
                    </a:lnTo>
                    <a:lnTo>
                      <a:pt x="247" y="5"/>
                    </a:lnTo>
                    <a:lnTo>
                      <a:pt x="249" y="5"/>
                    </a:lnTo>
                    <a:lnTo>
                      <a:pt x="249" y="5"/>
                    </a:lnTo>
                    <a:lnTo>
                      <a:pt x="244" y="8"/>
                    </a:lnTo>
                    <a:lnTo>
                      <a:pt x="244" y="8"/>
                    </a:lnTo>
                    <a:lnTo>
                      <a:pt x="244" y="10"/>
                    </a:lnTo>
                    <a:lnTo>
                      <a:pt x="244" y="10"/>
                    </a:lnTo>
                    <a:lnTo>
                      <a:pt x="247" y="11"/>
                    </a:lnTo>
                    <a:lnTo>
                      <a:pt x="247" y="11"/>
                    </a:lnTo>
                    <a:lnTo>
                      <a:pt x="249" y="11"/>
                    </a:lnTo>
                    <a:lnTo>
                      <a:pt x="249" y="11"/>
                    </a:lnTo>
                    <a:lnTo>
                      <a:pt x="249" y="13"/>
                    </a:lnTo>
                    <a:lnTo>
                      <a:pt x="249" y="13"/>
                    </a:lnTo>
                    <a:lnTo>
                      <a:pt x="255" y="14"/>
                    </a:lnTo>
                    <a:lnTo>
                      <a:pt x="255" y="14"/>
                    </a:lnTo>
                    <a:lnTo>
                      <a:pt x="263" y="16"/>
                    </a:lnTo>
                    <a:lnTo>
                      <a:pt x="263" y="16"/>
                    </a:lnTo>
                    <a:lnTo>
                      <a:pt x="254" y="14"/>
                    </a:lnTo>
                    <a:lnTo>
                      <a:pt x="254" y="14"/>
                    </a:lnTo>
                    <a:lnTo>
                      <a:pt x="249" y="14"/>
                    </a:lnTo>
                    <a:lnTo>
                      <a:pt x="249" y="14"/>
                    </a:lnTo>
                    <a:lnTo>
                      <a:pt x="241" y="14"/>
                    </a:lnTo>
                    <a:lnTo>
                      <a:pt x="241" y="14"/>
                    </a:lnTo>
                    <a:lnTo>
                      <a:pt x="234" y="14"/>
                    </a:lnTo>
                    <a:lnTo>
                      <a:pt x="234" y="14"/>
                    </a:lnTo>
                    <a:lnTo>
                      <a:pt x="236" y="16"/>
                    </a:lnTo>
                    <a:lnTo>
                      <a:pt x="236" y="16"/>
                    </a:lnTo>
                    <a:lnTo>
                      <a:pt x="241" y="16"/>
                    </a:lnTo>
                    <a:lnTo>
                      <a:pt x="241" y="16"/>
                    </a:lnTo>
                    <a:lnTo>
                      <a:pt x="244" y="18"/>
                    </a:lnTo>
                    <a:lnTo>
                      <a:pt x="244" y="18"/>
                    </a:lnTo>
                    <a:lnTo>
                      <a:pt x="247" y="19"/>
                    </a:lnTo>
                    <a:lnTo>
                      <a:pt x="247" y="19"/>
                    </a:lnTo>
                    <a:lnTo>
                      <a:pt x="238" y="18"/>
                    </a:lnTo>
                    <a:lnTo>
                      <a:pt x="238" y="18"/>
                    </a:lnTo>
                    <a:lnTo>
                      <a:pt x="234" y="18"/>
                    </a:lnTo>
                    <a:lnTo>
                      <a:pt x="234" y="18"/>
                    </a:lnTo>
                    <a:lnTo>
                      <a:pt x="230" y="18"/>
                    </a:lnTo>
                    <a:lnTo>
                      <a:pt x="230" y="18"/>
                    </a:lnTo>
                    <a:lnTo>
                      <a:pt x="231" y="19"/>
                    </a:lnTo>
                    <a:lnTo>
                      <a:pt x="231" y="19"/>
                    </a:lnTo>
                    <a:lnTo>
                      <a:pt x="230" y="19"/>
                    </a:lnTo>
                    <a:lnTo>
                      <a:pt x="230" y="19"/>
                    </a:lnTo>
                    <a:lnTo>
                      <a:pt x="227" y="21"/>
                    </a:lnTo>
                    <a:lnTo>
                      <a:pt x="227" y="21"/>
                    </a:lnTo>
                    <a:lnTo>
                      <a:pt x="223" y="21"/>
                    </a:lnTo>
                    <a:lnTo>
                      <a:pt x="223" y="21"/>
                    </a:lnTo>
                    <a:lnTo>
                      <a:pt x="220" y="21"/>
                    </a:lnTo>
                    <a:lnTo>
                      <a:pt x="220" y="21"/>
                    </a:lnTo>
                    <a:lnTo>
                      <a:pt x="220" y="21"/>
                    </a:lnTo>
                    <a:lnTo>
                      <a:pt x="220" y="21"/>
                    </a:lnTo>
                    <a:lnTo>
                      <a:pt x="217" y="21"/>
                    </a:lnTo>
                    <a:lnTo>
                      <a:pt x="217" y="21"/>
                    </a:lnTo>
                    <a:lnTo>
                      <a:pt x="214" y="21"/>
                    </a:lnTo>
                    <a:lnTo>
                      <a:pt x="214" y="21"/>
                    </a:lnTo>
                    <a:lnTo>
                      <a:pt x="214" y="19"/>
                    </a:lnTo>
                    <a:lnTo>
                      <a:pt x="214" y="19"/>
                    </a:lnTo>
                    <a:lnTo>
                      <a:pt x="211" y="18"/>
                    </a:lnTo>
                    <a:lnTo>
                      <a:pt x="211" y="18"/>
                    </a:lnTo>
                    <a:lnTo>
                      <a:pt x="204" y="18"/>
                    </a:lnTo>
                    <a:lnTo>
                      <a:pt x="204" y="18"/>
                    </a:lnTo>
                    <a:lnTo>
                      <a:pt x="193" y="19"/>
                    </a:lnTo>
                    <a:lnTo>
                      <a:pt x="193" y="19"/>
                    </a:lnTo>
                    <a:lnTo>
                      <a:pt x="192" y="19"/>
                    </a:lnTo>
                    <a:lnTo>
                      <a:pt x="192" y="19"/>
                    </a:lnTo>
                    <a:lnTo>
                      <a:pt x="188" y="19"/>
                    </a:lnTo>
                    <a:lnTo>
                      <a:pt x="188" y="19"/>
                    </a:lnTo>
                    <a:lnTo>
                      <a:pt x="188" y="21"/>
                    </a:lnTo>
                    <a:lnTo>
                      <a:pt x="188" y="21"/>
                    </a:lnTo>
                    <a:lnTo>
                      <a:pt x="192" y="21"/>
                    </a:lnTo>
                    <a:lnTo>
                      <a:pt x="192" y="21"/>
                    </a:lnTo>
                    <a:lnTo>
                      <a:pt x="193" y="21"/>
                    </a:lnTo>
                    <a:lnTo>
                      <a:pt x="193" y="21"/>
                    </a:lnTo>
                    <a:lnTo>
                      <a:pt x="200" y="21"/>
                    </a:lnTo>
                    <a:lnTo>
                      <a:pt x="200" y="21"/>
                    </a:lnTo>
                    <a:lnTo>
                      <a:pt x="192" y="22"/>
                    </a:lnTo>
                    <a:lnTo>
                      <a:pt x="192" y="22"/>
                    </a:lnTo>
                    <a:lnTo>
                      <a:pt x="185" y="22"/>
                    </a:lnTo>
                    <a:lnTo>
                      <a:pt x="185" y="22"/>
                    </a:lnTo>
                    <a:lnTo>
                      <a:pt x="168" y="26"/>
                    </a:lnTo>
                    <a:lnTo>
                      <a:pt x="168" y="26"/>
                    </a:lnTo>
                    <a:lnTo>
                      <a:pt x="165" y="26"/>
                    </a:lnTo>
                    <a:lnTo>
                      <a:pt x="165" y="26"/>
                    </a:lnTo>
                    <a:lnTo>
                      <a:pt x="161" y="26"/>
                    </a:lnTo>
                    <a:lnTo>
                      <a:pt x="161" y="26"/>
                    </a:lnTo>
                    <a:lnTo>
                      <a:pt x="158" y="29"/>
                    </a:lnTo>
                    <a:lnTo>
                      <a:pt x="158" y="29"/>
                    </a:lnTo>
                    <a:lnTo>
                      <a:pt x="157" y="29"/>
                    </a:lnTo>
                    <a:lnTo>
                      <a:pt x="157" y="29"/>
                    </a:lnTo>
                    <a:lnTo>
                      <a:pt x="150" y="29"/>
                    </a:lnTo>
                    <a:lnTo>
                      <a:pt x="150" y="29"/>
                    </a:lnTo>
                    <a:lnTo>
                      <a:pt x="154" y="32"/>
                    </a:lnTo>
                    <a:lnTo>
                      <a:pt x="154" y="32"/>
                    </a:lnTo>
                    <a:lnTo>
                      <a:pt x="150" y="32"/>
                    </a:lnTo>
                    <a:lnTo>
                      <a:pt x="150" y="32"/>
                    </a:lnTo>
                    <a:lnTo>
                      <a:pt x="150" y="32"/>
                    </a:lnTo>
                    <a:lnTo>
                      <a:pt x="150" y="32"/>
                    </a:lnTo>
                    <a:lnTo>
                      <a:pt x="150" y="32"/>
                    </a:lnTo>
                    <a:lnTo>
                      <a:pt x="150" y="32"/>
                    </a:lnTo>
                    <a:lnTo>
                      <a:pt x="150" y="33"/>
                    </a:lnTo>
                    <a:lnTo>
                      <a:pt x="150" y="33"/>
                    </a:lnTo>
                    <a:lnTo>
                      <a:pt x="147" y="35"/>
                    </a:lnTo>
                    <a:lnTo>
                      <a:pt x="147" y="35"/>
                    </a:lnTo>
                    <a:lnTo>
                      <a:pt x="150" y="35"/>
                    </a:lnTo>
                    <a:lnTo>
                      <a:pt x="150" y="35"/>
                    </a:lnTo>
                    <a:lnTo>
                      <a:pt x="154" y="37"/>
                    </a:lnTo>
                    <a:lnTo>
                      <a:pt x="154" y="37"/>
                    </a:lnTo>
                    <a:lnTo>
                      <a:pt x="157" y="37"/>
                    </a:lnTo>
                    <a:lnTo>
                      <a:pt x="157" y="37"/>
                    </a:lnTo>
                    <a:lnTo>
                      <a:pt x="154" y="38"/>
                    </a:lnTo>
                    <a:lnTo>
                      <a:pt x="154" y="38"/>
                    </a:lnTo>
                    <a:lnTo>
                      <a:pt x="154" y="38"/>
                    </a:lnTo>
                    <a:lnTo>
                      <a:pt x="154" y="38"/>
                    </a:lnTo>
                    <a:lnTo>
                      <a:pt x="150" y="37"/>
                    </a:lnTo>
                    <a:lnTo>
                      <a:pt x="150" y="37"/>
                    </a:lnTo>
                    <a:lnTo>
                      <a:pt x="146" y="37"/>
                    </a:lnTo>
                    <a:lnTo>
                      <a:pt x="146" y="37"/>
                    </a:lnTo>
                    <a:lnTo>
                      <a:pt x="147" y="38"/>
                    </a:lnTo>
                    <a:lnTo>
                      <a:pt x="147" y="38"/>
                    </a:lnTo>
                    <a:lnTo>
                      <a:pt x="154" y="40"/>
                    </a:lnTo>
                    <a:lnTo>
                      <a:pt x="154" y="40"/>
                    </a:lnTo>
                    <a:lnTo>
                      <a:pt x="160" y="41"/>
                    </a:lnTo>
                    <a:lnTo>
                      <a:pt x="160" y="41"/>
                    </a:lnTo>
                    <a:lnTo>
                      <a:pt x="157" y="41"/>
                    </a:lnTo>
                    <a:lnTo>
                      <a:pt x="157" y="41"/>
                    </a:lnTo>
                    <a:lnTo>
                      <a:pt x="160" y="43"/>
                    </a:lnTo>
                    <a:lnTo>
                      <a:pt x="160" y="43"/>
                    </a:lnTo>
                    <a:lnTo>
                      <a:pt x="157" y="43"/>
                    </a:lnTo>
                    <a:lnTo>
                      <a:pt x="157" y="43"/>
                    </a:lnTo>
                    <a:lnTo>
                      <a:pt x="150" y="43"/>
                    </a:lnTo>
                    <a:lnTo>
                      <a:pt x="150" y="43"/>
                    </a:lnTo>
                    <a:lnTo>
                      <a:pt x="146" y="46"/>
                    </a:lnTo>
                    <a:lnTo>
                      <a:pt x="146" y="46"/>
                    </a:lnTo>
                    <a:lnTo>
                      <a:pt x="138" y="45"/>
                    </a:lnTo>
                    <a:lnTo>
                      <a:pt x="138" y="45"/>
                    </a:lnTo>
                    <a:lnTo>
                      <a:pt x="128" y="46"/>
                    </a:lnTo>
                    <a:lnTo>
                      <a:pt x="128" y="46"/>
                    </a:lnTo>
                    <a:lnTo>
                      <a:pt x="119" y="46"/>
                    </a:lnTo>
                    <a:lnTo>
                      <a:pt x="119" y="46"/>
                    </a:lnTo>
                    <a:lnTo>
                      <a:pt x="112" y="46"/>
                    </a:lnTo>
                    <a:lnTo>
                      <a:pt x="112" y="46"/>
                    </a:lnTo>
                    <a:lnTo>
                      <a:pt x="107" y="46"/>
                    </a:lnTo>
                    <a:lnTo>
                      <a:pt x="107" y="46"/>
                    </a:lnTo>
                    <a:lnTo>
                      <a:pt x="106" y="48"/>
                    </a:lnTo>
                    <a:lnTo>
                      <a:pt x="106" y="48"/>
                    </a:lnTo>
                    <a:lnTo>
                      <a:pt x="106" y="49"/>
                    </a:lnTo>
                    <a:lnTo>
                      <a:pt x="106" y="49"/>
                    </a:lnTo>
                    <a:lnTo>
                      <a:pt x="104" y="49"/>
                    </a:lnTo>
                    <a:lnTo>
                      <a:pt x="104" y="49"/>
                    </a:lnTo>
                    <a:lnTo>
                      <a:pt x="106" y="51"/>
                    </a:lnTo>
                    <a:lnTo>
                      <a:pt x="106" y="51"/>
                    </a:lnTo>
                    <a:lnTo>
                      <a:pt x="107" y="51"/>
                    </a:lnTo>
                    <a:lnTo>
                      <a:pt x="107" y="51"/>
                    </a:lnTo>
                    <a:lnTo>
                      <a:pt x="106" y="53"/>
                    </a:lnTo>
                    <a:lnTo>
                      <a:pt x="106" y="53"/>
                    </a:lnTo>
                    <a:lnTo>
                      <a:pt x="111" y="53"/>
                    </a:lnTo>
                    <a:lnTo>
                      <a:pt x="111" y="53"/>
                    </a:lnTo>
                    <a:lnTo>
                      <a:pt x="112" y="56"/>
                    </a:lnTo>
                    <a:lnTo>
                      <a:pt x="112" y="56"/>
                    </a:lnTo>
                    <a:lnTo>
                      <a:pt x="112" y="57"/>
                    </a:lnTo>
                    <a:lnTo>
                      <a:pt x="112" y="57"/>
                    </a:lnTo>
                    <a:lnTo>
                      <a:pt x="115" y="59"/>
                    </a:lnTo>
                    <a:lnTo>
                      <a:pt x="115" y="59"/>
                    </a:lnTo>
                    <a:lnTo>
                      <a:pt x="122" y="60"/>
                    </a:lnTo>
                    <a:lnTo>
                      <a:pt x="122" y="60"/>
                    </a:lnTo>
                    <a:lnTo>
                      <a:pt x="127" y="60"/>
                    </a:lnTo>
                    <a:lnTo>
                      <a:pt x="127" y="60"/>
                    </a:lnTo>
                    <a:lnTo>
                      <a:pt x="131" y="62"/>
                    </a:lnTo>
                    <a:lnTo>
                      <a:pt x="131" y="62"/>
                    </a:lnTo>
                    <a:lnTo>
                      <a:pt x="136" y="65"/>
                    </a:lnTo>
                    <a:lnTo>
                      <a:pt x="136" y="65"/>
                    </a:lnTo>
                    <a:lnTo>
                      <a:pt x="139" y="67"/>
                    </a:lnTo>
                    <a:lnTo>
                      <a:pt x="139" y="67"/>
                    </a:lnTo>
                    <a:lnTo>
                      <a:pt x="133" y="68"/>
                    </a:lnTo>
                    <a:lnTo>
                      <a:pt x="133" y="68"/>
                    </a:lnTo>
                    <a:lnTo>
                      <a:pt x="127" y="67"/>
                    </a:lnTo>
                    <a:lnTo>
                      <a:pt x="127" y="67"/>
                    </a:lnTo>
                    <a:lnTo>
                      <a:pt x="119" y="64"/>
                    </a:lnTo>
                    <a:lnTo>
                      <a:pt x="119" y="64"/>
                    </a:lnTo>
                    <a:lnTo>
                      <a:pt x="112" y="62"/>
                    </a:lnTo>
                    <a:lnTo>
                      <a:pt x="112" y="62"/>
                    </a:lnTo>
                    <a:lnTo>
                      <a:pt x="104" y="60"/>
                    </a:lnTo>
                    <a:lnTo>
                      <a:pt x="104" y="60"/>
                    </a:lnTo>
                    <a:lnTo>
                      <a:pt x="95" y="60"/>
                    </a:lnTo>
                    <a:lnTo>
                      <a:pt x="95" y="60"/>
                    </a:lnTo>
                    <a:lnTo>
                      <a:pt x="92" y="62"/>
                    </a:lnTo>
                    <a:lnTo>
                      <a:pt x="92" y="62"/>
                    </a:lnTo>
                    <a:lnTo>
                      <a:pt x="90" y="62"/>
                    </a:lnTo>
                    <a:lnTo>
                      <a:pt x="90" y="62"/>
                    </a:lnTo>
                    <a:lnTo>
                      <a:pt x="90" y="62"/>
                    </a:lnTo>
                    <a:lnTo>
                      <a:pt x="90" y="62"/>
                    </a:lnTo>
                    <a:lnTo>
                      <a:pt x="90" y="64"/>
                    </a:lnTo>
                    <a:lnTo>
                      <a:pt x="90" y="64"/>
                    </a:lnTo>
                    <a:lnTo>
                      <a:pt x="92" y="64"/>
                    </a:lnTo>
                    <a:lnTo>
                      <a:pt x="92" y="64"/>
                    </a:lnTo>
                    <a:lnTo>
                      <a:pt x="95" y="64"/>
                    </a:lnTo>
                    <a:lnTo>
                      <a:pt x="95" y="64"/>
                    </a:lnTo>
                    <a:lnTo>
                      <a:pt x="96" y="65"/>
                    </a:lnTo>
                    <a:lnTo>
                      <a:pt x="96" y="65"/>
                    </a:lnTo>
                    <a:lnTo>
                      <a:pt x="95" y="67"/>
                    </a:lnTo>
                    <a:lnTo>
                      <a:pt x="95" y="67"/>
                    </a:lnTo>
                    <a:lnTo>
                      <a:pt x="92" y="67"/>
                    </a:lnTo>
                    <a:lnTo>
                      <a:pt x="92" y="67"/>
                    </a:lnTo>
                    <a:lnTo>
                      <a:pt x="88" y="65"/>
                    </a:lnTo>
                    <a:lnTo>
                      <a:pt x="88" y="65"/>
                    </a:lnTo>
                    <a:lnTo>
                      <a:pt x="84" y="65"/>
                    </a:lnTo>
                    <a:lnTo>
                      <a:pt x="84" y="65"/>
                    </a:lnTo>
                    <a:lnTo>
                      <a:pt x="79" y="65"/>
                    </a:lnTo>
                    <a:lnTo>
                      <a:pt x="79" y="65"/>
                    </a:lnTo>
                    <a:lnTo>
                      <a:pt x="80" y="68"/>
                    </a:lnTo>
                    <a:lnTo>
                      <a:pt x="80" y="68"/>
                    </a:lnTo>
                    <a:lnTo>
                      <a:pt x="85" y="70"/>
                    </a:lnTo>
                    <a:lnTo>
                      <a:pt x="85" y="70"/>
                    </a:lnTo>
                    <a:lnTo>
                      <a:pt x="90" y="72"/>
                    </a:lnTo>
                    <a:lnTo>
                      <a:pt x="90" y="72"/>
                    </a:lnTo>
                    <a:lnTo>
                      <a:pt x="93" y="73"/>
                    </a:lnTo>
                    <a:lnTo>
                      <a:pt x="93" y="73"/>
                    </a:lnTo>
                    <a:lnTo>
                      <a:pt x="96" y="73"/>
                    </a:lnTo>
                    <a:lnTo>
                      <a:pt x="96" y="73"/>
                    </a:lnTo>
                    <a:lnTo>
                      <a:pt x="100" y="73"/>
                    </a:lnTo>
                    <a:lnTo>
                      <a:pt x="100" y="73"/>
                    </a:lnTo>
                    <a:lnTo>
                      <a:pt x="101" y="73"/>
                    </a:lnTo>
                    <a:lnTo>
                      <a:pt x="101" y="73"/>
                    </a:lnTo>
                    <a:lnTo>
                      <a:pt x="103" y="73"/>
                    </a:lnTo>
                    <a:lnTo>
                      <a:pt x="103" y="73"/>
                    </a:lnTo>
                    <a:lnTo>
                      <a:pt x="104" y="76"/>
                    </a:lnTo>
                    <a:lnTo>
                      <a:pt x="104" y="76"/>
                    </a:lnTo>
                    <a:lnTo>
                      <a:pt x="107" y="76"/>
                    </a:lnTo>
                    <a:lnTo>
                      <a:pt x="107" y="76"/>
                    </a:lnTo>
                    <a:lnTo>
                      <a:pt x="107" y="78"/>
                    </a:lnTo>
                    <a:lnTo>
                      <a:pt x="107" y="78"/>
                    </a:lnTo>
                    <a:lnTo>
                      <a:pt x="101" y="76"/>
                    </a:lnTo>
                    <a:lnTo>
                      <a:pt x="101" y="76"/>
                    </a:lnTo>
                    <a:lnTo>
                      <a:pt x="95" y="75"/>
                    </a:lnTo>
                    <a:lnTo>
                      <a:pt x="95" y="75"/>
                    </a:lnTo>
                    <a:lnTo>
                      <a:pt x="93" y="75"/>
                    </a:lnTo>
                    <a:lnTo>
                      <a:pt x="93" y="75"/>
                    </a:lnTo>
                    <a:lnTo>
                      <a:pt x="92" y="76"/>
                    </a:lnTo>
                    <a:lnTo>
                      <a:pt x="92" y="76"/>
                    </a:lnTo>
                    <a:lnTo>
                      <a:pt x="90" y="75"/>
                    </a:lnTo>
                    <a:lnTo>
                      <a:pt x="90" y="75"/>
                    </a:lnTo>
                    <a:lnTo>
                      <a:pt x="88" y="75"/>
                    </a:lnTo>
                    <a:lnTo>
                      <a:pt x="88" y="75"/>
                    </a:lnTo>
                    <a:lnTo>
                      <a:pt x="84" y="75"/>
                    </a:lnTo>
                    <a:lnTo>
                      <a:pt x="84" y="75"/>
                    </a:lnTo>
                    <a:lnTo>
                      <a:pt x="79" y="73"/>
                    </a:lnTo>
                    <a:lnTo>
                      <a:pt x="79" y="73"/>
                    </a:lnTo>
                    <a:lnTo>
                      <a:pt x="74" y="72"/>
                    </a:lnTo>
                    <a:lnTo>
                      <a:pt x="74" y="72"/>
                    </a:lnTo>
                    <a:lnTo>
                      <a:pt x="76" y="72"/>
                    </a:lnTo>
                    <a:lnTo>
                      <a:pt x="76" y="72"/>
                    </a:lnTo>
                    <a:lnTo>
                      <a:pt x="76" y="70"/>
                    </a:lnTo>
                    <a:lnTo>
                      <a:pt x="76" y="70"/>
                    </a:lnTo>
                    <a:lnTo>
                      <a:pt x="74" y="68"/>
                    </a:lnTo>
                    <a:lnTo>
                      <a:pt x="74" y="68"/>
                    </a:lnTo>
                    <a:lnTo>
                      <a:pt x="73" y="67"/>
                    </a:lnTo>
                    <a:lnTo>
                      <a:pt x="73" y="67"/>
                    </a:lnTo>
                    <a:lnTo>
                      <a:pt x="73" y="64"/>
                    </a:lnTo>
                    <a:lnTo>
                      <a:pt x="73" y="64"/>
                    </a:lnTo>
                    <a:lnTo>
                      <a:pt x="71" y="60"/>
                    </a:lnTo>
                    <a:lnTo>
                      <a:pt x="71" y="60"/>
                    </a:lnTo>
                    <a:lnTo>
                      <a:pt x="68" y="56"/>
                    </a:lnTo>
                    <a:lnTo>
                      <a:pt x="68" y="56"/>
                    </a:lnTo>
                    <a:lnTo>
                      <a:pt x="63" y="56"/>
                    </a:lnTo>
                    <a:lnTo>
                      <a:pt x="63" y="56"/>
                    </a:lnTo>
                    <a:lnTo>
                      <a:pt x="60" y="56"/>
                    </a:lnTo>
                    <a:lnTo>
                      <a:pt x="60" y="56"/>
                    </a:lnTo>
                    <a:lnTo>
                      <a:pt x="66" y="59"/>
                    </a:lnTo>
                    <a:lnTo>
                      <a:pt x="66" y="59"/>
                    </a:lnTo>
                    <a:lnTo>
                      <a:pt x="66" y="62"/>
                    </a:lnTo>
                    <a:lnTo>
                      <a:pt x="66" y="62"/>
                    </a:lnTo>
                    <a:lnTo>
                      <a:pt x="66" y="64"/>
                    </a:lnTo>
                    <a:lnTo>
                      <a:pt x="66" y="64"/>
                    </a:lnTo>
                    <a:lnTo>
                      <a:pt x="63" y="65"/>
                    </a:lnTo>
                    <a:lnTo>
                      <a:pt x="63" y="65"/>
                    </a:lnTo>
                    <a:lnTo>
                      <a:pt x="57" y="67"/>
                    </a:lnTo>
                    <a:lnTo>
                      <a:pt x="57" y="67"/>
                    </a:lnTo>
                    <a:lnTo>
                      <a:pt x="57" y="68"/>
                    </a:lnTo>
                    <a:lnTo>
                      <a:pt x="57" y="68"/>
                    </a:lnTo>
                    <a:lnTo>
                      <a:pt x="55" y="72"/>
                    </a:lnTo>
                    <a:lnTo>
                      <a:pt x="55" y="72"/>
                    </a:lnTo>
                    <a:lnTo>
                      <a:pt x="63" y="75"/>
                    </a:lnTo>
                    <a:lnTo>
                      <a:pt x="63" y="75"/>
                    </a:lnTo>
                    <a:lnTo>
                      <a:pt x="68" y="78"/>
                    </a:lnTo>
                    <a:lnTo>
                      <a:pt x="68" y="78"/>
                    </a:lnTo>
                    <a:lnTo>
                      <a:pt x="71" y="81"/>
                    </a:lnTo>
                    <a:lnTo>
                      <a:pt x="71" y="81"/>
                    </a:lnTo>
                    <a:lnTo>
                      <a:pt x="73" y="81"/>
                    </a:lnTo>
                    <a:lnTo>
                      <a:pt x="73" y="81"/>
                    </a:lnTo>
                    <a:lnTo>
                      <a:pt x="71" y="84"/>
                    </a:lnTo>
                    <a:lnTo>
                      <a:pt x="71" y="84"/>
                    </a:lnTo>
                    <a:lnTo>
                      <a:pt x="71" y="89"/>
                    </a:lnTo>
                    <a:lnTo>
                      <a:pt x="71" y="89"/>
                    </a:lnTo>
                    <a:lnTo>
                      <a:pt x="73" y="92"/>
                    </a:lnTo>
                    <a:lnTo>
                      <a:pt x="73" y="92"/>
                    </a:lnTo>
                    <a:lnTo>
                      <a:pt x="76" y="94"/>
                    </a:lnTo>
                    <a:lnTo>
                      <a:pt x="76" y="94"/>
                    </a:lnTo>
                    <a:lnTo>
                      <a:pt x="77" y="97"/>
                    </a:lnTo>
                    <a:lnTo>
                      <a:pt x="77" y="97"/>
                    </a:lnTo>
                    <a:lnTo>
                      <a:pt x="79" y="99"/>
                    </a:lnTo>
                    <a:lnTo>
                      <a:pt x="79" y="99"/>
                    </a:lnTo>
                    <a:lnTo>
                      <a:pt x="90" y="99"/>
                    </a:lnTo>
                    <a:lnTo>
                      <a:pt x="90" y="99"/>
                    </a:lnTo>
                    <a:lnTo>
                      <a:pt x="92" y="97"/>
                    </a:lnTo>
                    <a:lnTo>
                      <a:pt x="92" y="97"/>
                    </a:lnTo>
                    <a:lnTo>
                      <a:pt x="96" y="97"/>
                    </a:lnTo>
                    <a:lnTo>
                      <a:pt x="96" y="97"/>
                    </a:lnTo>
                    <a:lnTo>
                      <a:pt x="106" y="99"/>
                    </a:lnTo>
                    <a:lnTo>
                      <a:pt x="106" y="99"/>
                    </a:lnTo>
                    <a:lnTo>
                      <a:pt x="112" y="102"/>
                    </a:lnTo>
                    <a:lnTo>
                      <a:pt x="112" y="102"/>
                    </a:lnTo>
                    <a:lnTo>
                      <a:pt x="115" y="103"/>
                    </a:lnTo>
                    <a:lnTo>
                      <a:pt x="115" y="103"/>
                    </a:lnTo>
                    <a:lnTo>
                      <a:pt x="119" y="107"/>
                    </a:lnTo>
                    <a:lnTo>
                      <a:pt x="119" y="107"/>
                    </a:lnTo>
                    <a:lnTo>
                      <a:pt x="122" y="110"/>
                    </a:lnTo>
                    <a:lnTo>
                      <a:pt x="122" y="110"/>
                    </a:lnTo>
                    <a:lnTo>
                      <a:pt x="122" y="111"/>
                    </a:lnTo>
                    <a:lnTo>
                      <a:pt x="122" y="111"/>
                    </a:lnTo>
                    <a:lnTo>
                      <a:pt x="119" y="111"/>
                    </a:lnTo>
                    <a:lnTo>
                      <a:pt x="119" y="111"/>
                    </a:lnTo>
                    <a:lnTo>
                      <a:pt x="122" y="113"/>
                    </a:lnTo>
                    <a:lnTo>
                      <a:pt x="122" y="113"/>
                    </a:lnTo>
                    <a:lnTo>
                      <a:pt x="122" y="116"/>
                    </a:lnTo>
                    <a:lnTo>
                      <a:pt x="122" y="116"/>
                    </a:lnTo>
                    <a:lnTo>
                      <a:pt x="131" y="116"/>
                    </a:lnTo>
                    <a:lnTo>
                      <a:pt x="131" y="116"/>
                    </a:lnTo>
                    <a:lnTo>
                      <a:pt x="133" y="116"/>
                    </a:lnTo>
                    <a:lnTo>
                      <a:pt x="133" y="116"/>
                    </a:lnTo>
                    <a:lnTo>
                      <a:pt x="134" y="116"/>
                    </a:lnTo>
                    <a:lnTo>
                      <a:pt x="134" y="116"/>
                    </a:lnTo>
                    <a:lnTo>
                      <a:pt x="136" y="119"/>
                    </a:lnTo>
                    <a:lnTo>
                      <a:pt x="136" y="119"/>
                    </a:lnTo>
                    <a:lnTo>
                      <a:pt x="127" y="119"/>
                    </a:lnTo>
                    <a:lnTo>
                      <a:pt x="127" y="119"/>
                    </a:lnTo>
                    <a:lnTo>
                      <a:pt x="122" y="116"/>
                    </a:lnTo>
                    <a:lnTo>
                      <a:pt x="122" y="116"/>
                    </a:lnTo>
                    <a:lnTo>
                      <a:pt x="119" y="116"/>
                    </a:lnTo>
                    <a:lnTo>
                      <a:pt x="119" y="116"/>
                    </a:lnTo>
                    <a:lnTo>
                      <a:pt x="119" y="113"/>
                    </a:lnTo>
                    <a:lnTo>
                      <a:pt x="119" y="113"/>
                    </a:lnTo>
                    <a:lnTo>
                      <a:pt x="119" y="113"/>
                    </a:lnTo>
                    <a:lnTo>
                      <a:pt x="119" y="113"/>
                    </a:lnTo>
                    <a:lnTo>
                      <a:pt x="115" y="110"/>
                    </a:lnTo>
                    <a:lnTo>
                      <a:pt x="115" y="110"/>
                    </a:lnTo>
                    <a:lnTo>
                      <a:pt x="112" y="107"/>
                    </a:lnTo>
                    <a:lnTo>
                      <a:pt x="112" y="107"/>
                    </a:lnTo>
                    <a:lnTo>
                      <a:pt x="111" y="105"/>
                    </a:lnTo>
                    <a:lnTo>
                      <a:pt x="111" y="105"/>
                    </a:lnTo>
                    <a:lnTo>
                      <a:pt x="104" y="102"/>
                    </a:lnTo>
                    <a:lnTo>
                      <a:pt x="104" y="102"/>
                    </a:lnTo>
                    <a:lnTo>
                      <a:pt x="98" y="102"/>
                    </a:lnTo>
                    <a:lnTo>
                      <a:pt x="98" y="102"/>
                    </a:lnTo>
                    <a:lnTo>
                      <a:pt x="92" y="103"/>
                    </a:lnTo>
                    <a:lnTo>
                      <a:pt x="92" y="103"/>
                    </a:lnTo>
                    <a:lnTo>
                      <a:pt x="90" y="103"/>
                    </a:lnTo>
                    <a:lnTo>
                      <a:pt x="90" y="103"/>
                    </a:lnTo>
                    <a:lnTo>
                      <a:pt x="88" y="103"/>
                    </a:lnTo>
                    <a:lnTo>
                      <a:pt x="88" y="103"/>
                    </a:lnTo>
                    <a:lnTo>
                      <a:pt x="88" y="105"/>
                    </a:lnTo>
                    <a:lnTo>
                      <a:pt x="88" y="105"/>
                    </a:lnTo>
                    <a:lnTo>
                      <a:pt x="88" y="108"/>
                    </a:lnTo>
                    <a:lnTo>
                      <a:pt x="88" y="108"/>
                    </a:lnTo>
                    <a:lnTo>
                      <a:pt x="90" y="110"/>
                    </a:lnTo>
                    <a:lnTo>
                      <a:pt x="90" y="110"/>
                    </a:lnTo>
                    <a:lnTo>
                      <a:pt x="95" y="113"/>
                    </a:lnTo>
                    <a:lnTo>
                      <a:pt x="95" y="113"/>
                    </a:lnTo>
                    <a:lnTo>
                      <a:pt x="96" y="116"/>
                    </a:lnTo>
                    <a:lnTo>
                      <a:pt x="96" y="116"/>
                    </a:lnTo>
                    <a:lnTo>
                      <a:pt x="93" y="119"/>
                    </a:lnTo>
                    <a:lnTo>
                      <a:pt x="93" y="119"/>
                    </a:lnTo>
                    <a:lnTo>
                      <a:pt x="92" y="119"/>
                    </a:lnTo>
                    <a:lnTo>
                      <a:pt x="92" y="119"/>
                    </a:lnTo>
                    <a:lnTo>
                      <a:pt x="92" y="122"/>
                    </a:lnTo>
                    <a:lnTo>
                      <a:pt x="92" y="122"/>
                    </a:lnTo>
                    <a:lnTo>
                      <a:pt x="92" y="124"/>
                    </a:lnTo>
                    <a:lnTo>
                      <a:pt x="92" y="124"/>
                    </a:lnTo>
                    <a:lnTo>
                      <a:pt x="90" y="126"/>
                    </a:lnTo>
                    <a:lnTo>
                      <a:pt x="90" y="126"/>
                    </a:lnTo>
                    <a:lnTo>
                      <a:pt x="90" y="127"/>
                    </a:lnTo>
                    <a:lnTo>
                      <a:pt x="90" y="127"/>
                    </a:lnTo>
                    <a:lnTo>
                      <a:pt x="87" y="129"/>
                    </a:lnTo>
                    <a:lnTo>
                      <a:pt x="87" y="129"/>
                    </a:lnTo>
                    <a:lnTo>
                      <a:pt x="84" y="130"/>
                    </a:lnTo>
                    <a:lnTo>
                      <a:pt x="84" y="130"/>
                    </a:lnTo>
                    <a:lnTo>
                      <a:pt x="82" y="130"/>
                    </a:lnTo>
                    <a:lnTo>
                      <a:pt x="82" y="130"/>
                    </a:lnTo>
                    <a:lnTo>
                      <a:pt x="82" y="132"/>
                    </a:lnTo>
                    <a:lnTo>
                      <a:pt x="82" y="132"/>
                    </a:lnTo>
                    <a:lnTo>
                      <a:pt x="82" y="134"/>
                    </a:lnTo>
                    <a:lnTo>
                      <a:pt x="82" y="134"/>
                    </a:lnTo>
                    <a:lnTo>
                      <a:pt x="80" y="135"/>
                    </a:lnTo>
                    <a:lnTo>
                      <a:pt x="80" y="135"/>
                    </a:lnTo>
                    <a:lnTo>
                      <a:pt x="74" y="134"/>
                    </a:lnTo>
                    <a:lnTo>
                      <a:pt x="74" y="134"/>
                    </a:lnTo>
                    <a:lnTo>
                      <a:pt x="66" y="134"/>
                    </a:lnTo>
                    <a:lnTo>
                      <a:pt x="66" y="134"/>
                    </a:lnTo>
                    <a:lnTo>
                      <a:pt x="55" y="132"/>
                    </a:lnTo>
                    <a:lnTo>
                      <a:pt x="55" y="132"/>
                    </a:lnTo>
                    <a:lnTo>
                      <a:pt x="52" y="130"/>
                    </a:lnTo>
                    <a:lnTo>
                      <a:pt x="52" y="130"/>
                    </a:lnTo>
                    <a:lnTo>
                      <a:pt x="47" y="127"/>
                    </a:lnTo>
                    <a:lnTo>
                      <a:pt x="47" y="127"/>
                    </a:lnTo>
                    <a:lnTo>
                      <a:pt x="52" y="127"/>
                    </a:lnTo>
                    <a:lnTo>
                      <a:pt x="52" y="127"/>
                    </a:lnTo>
                    <a:lnTo>
                      <a:pt x="57" y="127"/>
                    </a:lnTo>
                    <a:lnTo>
                      <a:pt x="57" y="127"/>
                    </a:lnTo>
                    <a:lnTo>
                      <a:pt x="60" y="129"/>
                    </a:lnTo>
                    <a:lnTo>
                      <a:pt x="60" y="129"/>
                    </a:lnTo>
                    <a:lnTo>
                      <a:pt x="63" y="129"/>
                    </a:lnTo>
                    <a:lnTo>
                      <a:pt x="63" y="129"/>
                    </a:lnTo>
                    <a:lnTo>
                      <a:pt x="69" y="126"/>
                    </a:lnTo>
                    <a:lnTo>
                      <a:pt x="69" y="126"/>
                    </a:lnTo>
                    <a:lnTo>
                      <a:pt x="74" y="126"/>
                    </a:lnTo>
                    <a:lnTo>
                      <a:pt x="74" y="126"/>
                    </a:lnTo>
                    <a:lnTo>
                      <a:pt x="74" y="124"/>
                    </a:lnTo>
                    <a:lnTo>
                      <a:pt x="74" y="124"/>
                    </a:lnTo>
                    <a:lnTo>
                      <a:pt x="76" y="122"/>
                    </a:lnTo>
                    <a:lnTo>
                      <a:pt x="76" y="122"/>
                    </a:lnTo>
                    <a:lnTo>
                      <a:pt x="74" y="122"/>
                    </a:lnTo>
                    <a:lnTo>
                      <a:pt x="74" y="122"/>
                    </a:lnTo>
                    <a:lnTo>
                      <a:pt x="76" y="122"/>
                    </a:lnTo>
                    <a:lnTo>
                      <a:pt x="76" y="122"/>
                    </a:lnTo>
                    <a:lnTo>
                      <a:pt x="77" y="119"/>
                    </a:lnTo>
                    <a:lnTo>
                      <a:pt x="77" y="119"/>
                    </a:lnTo>
                    <a:lnTo>
                      <a:pt x="79" y="116"/>
                    </a:lnTo>
                    <a:lnTo>
                      <a:pt x="79" y="116"/>
                    </a:lnTo>
                    <a:lnTo>
                      <a:pt x="80" y="116"/>
                    </a:lnTo>
                    <a:lnTo>
                      <a:pt x="80" y="116"/>
                    </a:lnTo>
                    <a:lnTo>
                      <a:pt x="80" y="113"/>
                    </a:lnTo>
                    <a:lnTo>
                      <a:pt x="80" y="113"/>
                    </a:lnTo>
                    <a:lnTo>
                      <a:pt x="79" y="113"/>
                    </a:lnTo>
                    <a:lnTo>
                      <a:pt x="79" y="113"/>
                    </a:lnTo>
                    <a:lnTo>
                      <a:pt x="79" y="111"/>
                    </a:lnTo>
                    <a:lnTo>
                      <a:pt x="79" y="111"/>
                    </a:lnTo>
                    <a:lnTo>
                      <a:pt x="79" y="110"/>
                    </a:lnTo>
                    <a:lnTo>
                      <a:pt x="79" y="110"/>
                    </a:lnTo>
                    <a:lnTo>
                      <a:pt x="80" y="108"/>
                    </a:lnTo>
                    <a:lnTo>
                      <a:pt x="80" y="108"/>
                    </a:lnTo>
                    <a:lnTo>
                      <a:pt x="79" y="107"/>
                    </a:lnTo>
                    <a:lnTo>
                      <a:pt x="79" y="107"/>
                    </a:lnTo>
                    <a:lnTo>
                      <a:pt x="74" y="105"/>
                    </a:lnTo>
                    <a:lnTo>
                      <a:pt x="74" y="105"/>
                    </a:lnTo>
                    <a:lnTo>
                      <a:pt x="69" y="102"/>
                    </a:lnTo>
                    <a:lnTo>
                      <a:pt x="69" y="102"/>
                    </a:lnTo>
                    <a:lnTo>
                      <a:pt x="66" y="100"/>
                    </a:lnTo>
                    <a:lnTo>
                      <a:pt x="66" y="100"/>
                    </a:lnTo>
                    <a:lnTo>
                      <a:pt x="66" y="99"/>
                    </a:lnTo>
                    <a:lnTo>
                      <a:pt x="66" y="99"/>
                    </a:lnTo>
                    <a:lnTo>
                      <a:pt x="66" y="97"/>
                    </a:lnTo>
                    <a:lnTo>
                      <a:pt x="66" y="97"/>
                    </a:lnTo>
                    <a:lnTo>
                      <a:pt x="66" y="94"/>
                    </a:lnTo>
                    <a:lnTo>
                      <a:pt x="66" y="94"/>
                    </a:lnTo>
                    <a:lnTo>
                      <a:pt x="63" y="92"/>
                    </a:lnTo>
                    <a:lnTo>
                      <a:pt x="63" y="92"/>
                    </a:lnTo>
                    <a:lnTo>
                      <a:pt x="63" y="91"/>
                    </a:lnTo>
                    <a:lnTo>
                      <a:pt x="63" y="91"/>
                    </a:lnTo>
                    <a:lnTo>
                      <a:pt x="60" y="87"/>
                    </a:lnTo>
                    <a:lnTo>
                      <a:pt x="60" y="87"/>
                    </a:lnTo>
                    <a:lnTo>
                      <a:pt x="57" y="84"/>
                    </a:lnTo>
                    <a:lnTo>
                      <a:pt x="57" y="84"/>
                    </a:lnTo>
                    <a:lnTo>
                      <a:pt x="60" y="84"/>
                    </a:lnTo>
                    <a:lnTo>
                      <a:pt x="60" y="84"/>
                    </a:lnTo>
                    <a:lnTo>
                      <a:pt x="60" y="81"/>
                    </a:lnTo>
                    <a:lnTo>
                      <a:pt x="60" y="81"/>
                    </a:lnTo>
                    <a:lnTo>
                      <a:pt x="57" y="78"/>
                    </a:lnTo>
                    <a:lnTo>
                      <a:pt x="57" y="78"/>
                    </a:lnTo>
                    <a:lnTo>
                      <a:pt x="55" y="76"/>
                    </a:lnTo>
                    <a:lnTo>
                      <a:pt x="55" y="76"/>
                    </a:lnTo>
                    <a:lnTo>
                      <a:pt x="50" y="75"/>
                    </a:lnTo>
                    <a:lnTo>
                      <a:pt x="50" y="75"/>
                    </a:lnTo>
                    <a:lnTo>
                      <a:pt x="47" y="73"/>
                    </a:lnTo>
                    <a:lnTo>
                      <a:pt x="47" y="73"/>
                    </a:lnTo>
                    <a:lnTo>
                      <a:pt x="44" y="70"/>
                    </a:lnTo>
                    <a:lnTo>
                      <a:pt x="44" y="70"/>
                    </a:lnTo>
                    <a:lnTo>
                      <a:pt x="46" y="70"/>
                    </a:lnTo>
                    <a:lnTo>
                      <a:pt x="46" y="70"/>
                    </a:lnTo>
                    <a:lnTo>
                      <a:pt x="46" y="68"/>
                    </a:lnTo>
                    <a:lnTo>
                      <a:pt x="46" y="68"/>
                    </a:lnTo>
                    <a:lnTo>
                      <a:pt x="46" y="67"/>
                    </a:lnTo>
                    <a:lnTo>
                      <a:pt x="46" y="67"/>
                    </a:lnTo>
                    <a:lnTo>
                      <a:pt x="47" y="64"/>
                    </a:lnTo>
                    <a:lnTo>
                      <a:pt x="47" y="64"/>
                    </a:lnTo>
                    <a:lnTo>
                      <a:pt x="47" y="62"/>
                    </a:lnTo>
                    <a:lnTo>
                      <a:pt x="47" y="62"/>
                    </a:lnTo>
                    <a:lnTo>
                      <a:pt x="46" y="59"/>
                    </a:lnTo>
                    <a:lnTo>
                      <a:pt x="46" y="59"/>
                    </a:lnTo>
                    <a:lnTo>
                      <a:pt x="44" y="57"/>
                    </a:lnTo>
                    <a:lnTo>
                      <a:pt x="44" y="57"/>
                    </a:lnTo>
                    <a:lnTo>
                      <a:pt x="39" y="56"/>
                    </a:lnTo>
                    <a:lnTo>
                      <a:pt x="39" y="56"/>
                    </a:lnTo>
                    <a:lnTo>
                      <a:pt x="33" y="56"/>
                    </a:lnTo>
                    <a:lnTo>
                      <a:pt x="33" y="56"/>
                    </a:lnTo>
                    <a:lnTo>
                      <a:pt x="28" y="56"/>
                    </a:lnTo>
                    <a:lnTo>
                      <a:pt x="28" y="56"/>
                    </a:lnTo>
                    <a:lnTo>
                      <a:pt x="20" y="56"/>
                    </a:lnTo>
                    <a:lnTo>
                      <a:pt x="20" y="56"/>
                    </a:lnTo>
                    <a:lnTo>
                      <a:pt x="14" y="56"/>
                    </a:lnTo>
                    <a:lnTo>
                      <a:pt x="14" y="56"/>
                    </a:lnTo>
                    <a:lnTo>
                      <a:pt x="15" y="54"/>
                    </a:lnTo>
                    <a:lnTo>
                      <a:pt x="15" y="54"/>
                    </a:lnTo>
                    <a:lnTo>
                      <a:pt x="14" y="54"/>
                    </a:lnTo>
                    <a:lnTo>
                      <a:pt x="14" y="54"/>
                    </a:lnTo>
                    <a:lnTo>
                      <a:pt x="12" y="56"/>
                    </a:lnTo>
                    <a:lnTo>
                      <a:pt x="12" y="56"/>
                    </a:lnTo>
                    <a:lnTo>
                      <a:pt x="11" y="57"/>
                    </a:lnTo>
                    <a:lnTo>
                      <a:pt x="11" y="57"/>
                    </a:lnTo>
                    <a:lnTo>
                      <a:pt x="11" y="64"/>
                    </a:lnTo>
                    <a:lnTo>
                      <a:pt x="11" y="64"/>
                    </a:lnTo>
                    <a:lnTo>
                      <a:pt x="11" y="67"/>
                    </a:lnTo>
                    <a:lnTo>
                      <a:pt x="11" y="67"/>
                    </a:lnTo>
                    <a:lnTo>
                      <a:pt x="11" y="68"/>
                    </a:lnTo>
                    <a:lnTo>
                      <a:pt x="11" y="68"/>
                    </a:lnTo>
                    <a:lnTo>
                      <a:pt x="7" y="72"/>
                    </a:lnTo>
                    <a:lnTo>
                      <a:pt x="7" y="72"/>
                    </a:lnTo>
                    <a:lnTo>
                      <a:pt x="3" y="73"/>
                    </a:lnTo>
                    <a:lnTo>
                      <a:pt x="3" y="73"/>
                    </a:lnTo>
                    <a:lnTo>
                      <a:pt x="0" y="75"/>
                    </a:lnTo>
                    <a:lnTo>
                      <a:pt x="0" y="75"/>
                    </a:lnTo>
                    <a:lnTo>
                      <a:pt x="0" y="76"/>
                    </a:lnTo>
                    <a:lnTo>
                      <a:pt x="0" y="76"/>
                    </a:lnTo>
                    <a:lnTo>
                      <a:pt x="1" y="76"/>
                    </a:lnTo>
                    <a:lnTo>
                      <a:pt x="1" y="76"/>
                    </a:lnTo>
                    <a:lnTo>
                      <a:pt x="1" y="78"/>
                    </a:lnTo>
                    <a:lnTo>
                      <a:pt x="1" y="78"/>
                    </a:lnTo>
                    <a:lnTo>
                      <a:pt x="1" y="78"/>
                    </a:lnTo>
                    <a:lnTo>
                      <a:pt x="1" y="78"/>
                    </a:lnTo>
                    <a:lnTo>
                      <a:pt x="4" y="78"/>
                    </a:lnTo>
                    <a:lnTo>
                      <a:pt x="4" y="78"/>
                    </a:lnTo>
                    <a:lnTo>
                      <a:pt x="6" y="78"/>
                    </a:lnTo>
                    <a:lnTo>
                      <a:pt x="6" y="78"/>
                    </a:lnTo>
                    <a:lnTo>
                      <a:pt x="7" y="78"/>
                    </a:lnTo>
                    <a:lnTo>
                      <a:pt x="7" y="78"/>
                    </a:lnTo>
                    <a:lnTo>
                      <a:pt x="9" y="84"/>
                    </a:lnTo>
                    <a:lnTo>
                      <a:pt x="9" y="84"/>
                    </a:lnTo>
                    <a:lnTo>
                      <a:pt x="9" y="84"/>
                    </a:lnTo>
                    <a:lnTo>
                      <a:pt x="9" y="84"/>
                    </a:lnTo>
                    <a:lnTo>
                      <a:pt x="12" y="87"/>
                    </a:lnTo>
                    <a:lnTo>
                      <a:pt x="12" y="87"/>
                    </a:lnTo>
                    <a:lnTo>
                      <a:pt x="12" y="87"/>
                    </a:lnTo>
                    <a:lnTo>
                      <a:pt x="12" y="87"/>
                    </a:lnTo>
                    <a:lnTo>
                      <a:pt x="11" y="87"/>
                    </a:lnTo>
                    <a:lnTo>
                      <a:pt x="11" y="87"/>
                    </a:lnTo>
                    <a:lnTo>
                      <a:pt x="9" y="87"/>
                    </a:lnTo>
                    <a:lnTo>
                      <a:pt x="9" y="87"/>
                    </a:lnTo>
                    <a:lnTo>
                      <a:pt x="9" y="91"/>
                    </a:lnTo>
                    <a:lnTo>
                      <a:pt x="9" y="91"/>
                    </a:lnTo>
                    <a:lnTo>
                      <a:pt x="9" y="92"/>
                    </a:lnTo>
                    <a:lnTo>
                      <a:pt x="9" y="92"/>
                    </a:lnTo>
                    <a:lnTo>
                      <a:pt x="11" y="94"/>
                    </a:lnTo>
                    <a:lnTo>
                      <a:pt x="11" y="94"/>
                    </a:lnTo>
                    <a:lnTo>
                      <a:pt x="12" y="92"/>
                    </a:lnTo>
                    <a:lnTo>
                      <a:pt x="12" y="92"/>
                    </a:lnTo>
                    <a:lnTo>
                      <a:pt x="14" y="92"/>
                    </a:lnTo>
                    <a:lnTo>
                      <a:pt x="14" y="92"/>
                    </a:lnTo>
                    <a:lnTo>
                      <a:pt x="17" y="94"/>
                    </a:lnTo>
                    <a:lnTo>
                      <a:pt x="17" y="94"/>
                    </a:lnTo>
                    <a:lnTo>
                      <a:pt x="20" y="94"/>
                    </a:lnTo>
                    <a:lnTo>
                      <a:pt x="20" y="94"/>
                    </a:lnTo>
                    <a:lnTo>
                      <a:pt x="22" y="94"/>
                    </a:lnTo>
                    <a:lnTo>
                      <a:pt x="22" y="94"/>
                    </a:lnTo>
                    <a:lnTo>
                      <a:pt x="22" y="95"/>
                    </a:lnTo>
                    <a:lnTo>
                      <a:pt x="22" y="95"/>
                    </a:lnTo>
                    <a:lnTo>
                      <a:pt x="25" y="97"/>
                    </a:lnTo>
                    <a:lnTo>
                      <a:pt x="25" y="97"/>
                    </a:lnTo>
                    <a:lnTo>
                      <a:pt x="28" y="100"/>
                    </a:lnTo>
                    <a:lnTo>
                      <a:pt x="28" y="100"/>
                    </a:lnTo>
                    <a:lnTo>
                      <a:pt x="31" y="102"/>
                    </a:lnTo>
                    <a:lnTo>
                      <a:pt x="31" y="102"/>
                    </a:lnTo>
                    <a:lnTo>
                      <a:pt x="33" y="102"/>
                    </a:lnTo>
                    <a:lnTo>
                      <a:pt x="33" y="102"/>
                    </a:lnTo>
                    <a:lnTo>
                      <a:pt x="34" y="102"/>
                    </a:lnTo>
                    <a:lnTo>
                      <a:pt x="34" y="102"/>
                    </a:lnTo>
                    <a:lnTo>
                      <a:pt x="34" y="103"/>
                    </a:lnTo>
                    <a:lnTo>
                      <a:pt x="34" y="103"/>
                    </a:lnTo>
                    <a:lnTo>
                      <a:pt x="36" y="105"/>
                    </a:lnTo>
                    <a:lnTo>
                      <a:pt x="36" y="105"/>
                    </a:lnTo>
                    <a:lnTo>
                      <a:pt x="34" y="107"/>
                    </a:lnTo>
                    <a:lnTo>
                      <a:pt x="34" y="107"/>
                    </a:lnTo>
                    <a:lnTo>
                      <a:pt x="34" y="108"/>
                    </a:lnTo>
                    <a:lnTo>
                      <a:pt x="34" y="108"/>
                    </a:lnTo>
                    <a:lnTo>
                      <a:pt x="34" y="111"/>
                    </a:lnTo>
                    <a:lnTo>
                      <a:pt x="34" y="111"/>
                    </a:lnTo>
                    <a:lnTo>
                      <a:pt x="31" y="110"/>
                    </a:lnTo>
                    <a:lnTo>
                      <a:pt x="31" y="110"/>
                    </a:lnTo>
                    <a:lnTo>
                      <a:pt x="33" y="111"/>
                    </a:lnTo>
                    <a:lnTo>
                      <a:pt x="33" y="111"/>
                    </a:lnTo>
                    <a:lnTo>
                      <a:pt x="33" y="111"/>
                    </a:lnTo>
                    <a:lnTo>
                      <a:pt x="33" y="113"/>
                    </a:lnTo>
                    <a:lnTo>
                      <a:pt x="33" y="113"/>
                    </a:lnTo>
                    <a:lnTo>
                      <a:pt x="33" y="113"/>
                    </a:lnTo>
                    <a:lnTo>
                      <a:pt x="34" y="113"/>
                    </a:lnTo>
                    <a:lnTo>
                      <a:pt x="34" y="113"/>
                    </a:lnTo>
                    <a:lnTo>
                      <a:pt x="36" y="116"/>
                    </a:lnTo>
                    <a:lnTo>
                      <a:pt x="36" y="116"/>
                    </a:lnTo>
                    <a:lnTo>
                      <a:pt x="39" y="129"/>
                    </a:lnTo>
                    <a:lnTo>
                      <a:pt x="39" y="129"/>
                    </a:lnTo>
                    <a:lnTo>
                      <a:pt x="38" y="138"/>
                    </a:lnTo>
                    <a:lnTo>
                      <a:pt x="38" y="138"/>
                    </a:lnTo>
                    <a:lnTo>
                      <a:pt x="36" y="140"/>
                    </a:lnTo>
                    <a:lnTo>
                      <a:pt x="36" y="140"/>
                    </a:lnTo>
                    <a:lnTo>
                      <a:pt x="34" y="143"/>
                    </a:lnTo>
                    <a:lnTo>
                      <a:pt x="33" y="146"/>
                    </a:lnTo>
                    <a:lnTo>
                      <a:pt x="33" y="146"/>
                    </a:lnTo>
                    <a:lnTo>
                      <a:pt x="30" y="153"/>
                    </a:lnTo>
                    <a:lnTo>
                      <a:pt x="30" y="157"/>
                    </a:lnTo>
                    <a:lnTo>
                      <a:pt x="30" y="157"/>
                    </a:lnTo>
                    <a:lnTo>
                      <a:pt x="30" y="161"/>
                    </a:lnTo>
                    <a:lnTo>
                      <a:pt x="31" y="164"/>
                    </a:lnTo>
                    <a:lnTo>
                      <a:pt x="33" y="167"/>
                    </a:lnTo>
                    <a:lnTo>
                      <a:pt x="33" y="167"/>
                    </a:lnTo>
                    <a:lnTo>
                      <a:pt x="34" y="172"/>
                    </a:lnTo>
                    <a:lnTo>
                      <a:pt x="34" y="172"/>
                    </a:lnTo>
                    <a:lnTo>
                      <a:pt x="34" y="175"/>
                    </a:lnTo>
                    <a:lnTo>
                      <a:pt x="34" y="175"/>
                    </a:lnTo>
                    <a:lnTo>
                      <a:pt x="34" y="175"/>
                    </a:lnTo>
                    <a:lnTo>
                      <a:pt x="34" y="175"/>
                    </a:lnTo>
                    <a:lnTo>
                      <a:pt x="36" y="181"/>
                    </a:lnTo>
                    <a:lnTo>
                      <a:pt x="36" y="181"/>
                    </a:lnTo>
                    <a:lnTo>
                      <a:pt x="38" y="186"/>
                    </a:lnTo>
                    <a:lnTo>
                      <a:pt x="38" y="186"/>
                    </a:lnTo>
                    <a:lnTo>
                      <a:pt x="39" y="191"/>
                    </a:lnTo>
                    <a:lnTo>
                      <a:pt x="39" y="191"/>
                    </a:lnTo>
                    <a:lnTo>
                      <a:pt x="38" y="192"/>
                    </a:lnTo>
                    <a:lnTo>
                      <a:pt x="38" y="195"/>
                    </a:lnTo>
                    <a:lnTo>
                      <a:pt x="38" y="195"/>
                    </a:lnTo>
                    <a:lnTo>
                      <a:pt x="38" y="200"/>
                    </a:lnTo>
                    <a:lnTo>
                      <a:pt x="38" y="200"/>
                    </a:lnTo>
                    <a:lnTo>
                      <a:pt x="38" y="203"/>
                    </a:lnTo>
                    <a:lnTo>
                      <a:pt x="38" y="203"/>
                    </a:lnTo>
                    <a:lnTo>
                      <a:pt x="38" y="207"/>
                    </a:lnTo>
                    <a:lnTo>
                      <a:pt x="38" y="210"/>
                    </a:lnTo>
                    <a:lnTo>
                      <a:pt x="41" y="210"/>
                    </a:lnTo>
                    <a:lnTo>
                      <a:pt x="41" y="210"/>
                    </a:lnTo>
                    <a:lnTo>
                      <a:pt x="41" y="213"/>
                    </a:lnTo>
                    <a:lnTo>
                      <a:pt x="41" y="213"/>
                    </a:lnTo>
                    <a:lnTo>
                      <a:pt x="44" y="222"/>
                    </a:lnTo>
                    <a:lnTo>
                      <a:pt x="44" y="222"/>
                    </a:lnTo>
                    <a:lnTo>
                      <a:pt x="46" y="224"/>
                    </a:lnTo>
                    <a:lnTo>
                      <a:pt x="46" y="224"/>
                    </a:lnTo>
                    <a:lnTo>
                      <a:pt x="41" y="222"/>
                    </a:lnTo>
                    <a:lnTo>
                      <a:pt x="41" y="222"/>
                    </a:lnTo>
                    <a:lnTo>
                      <a:pt x="41" y="227"/>
                    </a:lnTo>
                    <a:lnTo>
                      <a:pt x="42" y="232"/>
                    </a:lnTo>
                    <a:lnTo>
                      <a:pt x="44" y="235"/>
                    </a:lnTo>
                    <a:lnTo>
                      <a:pt x="44" y="235"/>
                    </a:lnTo>
                    <a:lnTo>
                      <a:pt x="44" y="237"/>
                    </a:lnTo>
                    <a:lnTo>
                      <a:pt x="44" y="238"/>
                    </a:lnTo>
                    <a:lnTo>
                      <a:pt x="41" y="237"/>
                    </a:lnTo>
                    <a:lnTo>
                      <a:pt x="41" y="237"/>
                    </a:lnTo>
                    <a:lnTo>
                      <a:pt x="44" y="240"/>
                    </a:lnTo>
                    <a:lnTo>
                      <a:pt x="44" y="240"/>
                    </a:lnTo>
                    <a:lnTo>
                      <a:pt x="50" y="240"/>
                    </a:lnTo>
                    <a:lnTo>
                      <a:pt x="50" y="240"/>
                    </a:lnTo>
                    <a:lnTo>
                      <a:pt x="54" y="243"/>
                    </a:lnTo>
                    <a:lnTo>
                      <a:pt x="54" y="243"/>
                    </a:lnTo>
                    <a:lnTo>
                      <a:pt x="52" y="243"/>
                    </a:lnTo>
                    <a:lnTo>
                      <a:pt x="52" y="243"/>
                    </a:lnTo>
                    <a:lnTo>
                      <a:pt x="47" y="246"/>
                    </a:lnTo>
                    <a:lnTo>
                      <a:pt x="47" y="246"/>
                    </a:lnTo>
                    <a:lnTo>
                      <a:pt x="44" y="246"/>
                    </a:lnTo>
                    <a:lnTo>
                      <a:pt x="44" y="246"/>
                    </a:lnTo>
                    <a:lnTo>
                      <a:pt x="41" y="246"/>
                    </a:lnTo>
                    <a:lnTo>
                      <a:pt x="41" y="246"/>
                    </a:lnTo>
                    <a:lnTo>
                      <a:pt x="41" y="246"/>
                    </a:lnTo>
                    <a:lnTo>
                      <a:pt x="34" y="246"/>
                    </a:lnTo>
                    <a:lnTo>
                      <a:pt x="34" y="246"/>
                    </a:lnTo>
                    <a:lnTo>
                      <a:pt x="34" y="249"/>
                    </a:lnTo>
                    <a:lnTo>
                      <a:pt x="34" y="249"/>
                    </a:lnTo>
                    <a:lnTo>
                      <a:pt x="33" y="253"/>
                    </a:lnTo>
                    <a:lnTo>
                      <a:pt x="33" y="253"/>
                    </a:lnTo>
                    <a:lnTo>
                      <a:pt x="30" y="257"/>
                    </a:lnTo>
                    <a:lnTo>
                      <a:pt x="30" y="257"/>
                    </a:lnTo>
                    <a:lnTo>
                      <a:pt x="31" y="264"/>
                    </a:lnTo>
                    <a:lnTo>
                      <a:pt x="31" y="264"/>
                    </a:lnTo>
                    <a:lnTo>
                      <a:pt x="36" y="264"/>
                    </a:lnTo>
                    <a:lnTo>
                      <a:pt x="36" y="264"/>
                    </a:lnTo>
                    <a:lnTo>
                      <a:pt x="41" y="264"/>
                    </a:lnTo>
                    <a:lnTo>
                      <a:pt x="41" y="264"/>
                    </a:lnTo>
                    <a:lnTo>
                      <a:pt x="46" y="262"/>
                    </a:lnTo>
                    <a:lnTo>
                      <a:pt x="46" y="262"/>
                    </a:lnTo>
                    <a:lnTo>
                      <a:pt x="50" y="261"/>
                    </a:lnTo>
                    <a:lnTo>
                      <a:pt x="50" y="261"/>
                    </a:lnTo>
                    <a:lnTo>
                      <a:pt x="57" y="257"/>
                    </a:lnTo>
                    <a:lnTo>
                      <a:pt x="57" y="257"/>
                    </a:lnTo>
                    <a:lnTo>
                      <a:pt x="58" y="262"/>
                    </a:lnTo>
                    <a:lnTo>
                      <a:pt x="58" y="262"/>
                    </a:lnTo>
                    <a:lnTo>
                      <a:pt x="50" y="270"/>
                    </a:lnTo>
                    <a:lnTo>
                      <a:pt x="50" y="270"/>
                    </a:lnTo>
                    <a:lnTo>
                      <a:pt x="49" y="276"/>
                    </a:lnTo>
                    <a:lnTo>
                      <a:pt x="49" y="276"/>
                    </a:lnTo>
                    <a:lnTo>
                      <a:pt x="49" y="276"/>
                    </a:lnTo>
                    <a:lnTo>
                      <a:pt x="50" y="281"/>
                    </a:lnTo>
                    <a:lnTo>
                      <a:pt x="50" y="281"/>
                    </a:lnTo>
                    <a:lnTo>
                      <a:pt x="55" y="283"/>
                    </a:lnTo>
                    <a:lnTo>
                      <a:pt x="55" y="283"/>
                    </a:lnTo>
                    <a:lnTo>
                      <a:pt x="55" y="283"/>
                    </a:lnTo>
                    <a:lnTo>
                      <a:pt x="54" y="284"/>
                    </a:lnTo>
                    <a:lnTo>
                      <a:pt x="54" y="284"/>
                    </a:lnTo>
                    <a:lnTo>
                      <a:pt x="54" y="284"/>
                    </a:lnTo>
                    <a:lnTo>
                      <a:pt x="55" y="286"/>
                    </a:lnTo>
                    <a:lnTo>
                      <a:pt x="55" y="286"/>
                    </a:lnTo>
                    <a:lnTo>
                      <a:pt x="55" y="286"/>
                    </a:lnTo>
                    <a:lnTo>
                      <a:pt x="55" y="288"/>
                    </a:lnTo>
                    <a:lnTo>
                      <a:pt x="55" y="288"/>
                    </a:lnTo>
                    <a:lnTo>
                      <a:pt x="57" y="288"/>
                    </a:lnTo>
                    <a:lnTo>
                      <a:pt x="57" y="288"/>
                    </a:lnTo>
                    <a:lnTo>
                      <a:pt x="57" y="288"/>
                    </a:lnTo>
                    <a:lnTo>
                      <a:pt x="57" y="288"/>
                    </a:lnTo>
                    <a:lnTo>
                      <a:pt x="57" y="288"/>
                    </a:lnTo>
                    <a:lnTo>
                      <a:pt x="58" y="288"/>
                    </a:lnTo>
                    <a:lnTo>
                      <a:pt x="58" y="288"/>
                    </a:lnTo>
                    <a:lnTo>
                      <a:pt x="58" y="288"/>
                    </a:lnTo>
                    <a:lnTo>
                      <a:pt x="58" y="288"/>
                    </a:lnTo>
                    <a:lnTo>
                      <a:pt x="57" y="288"/>
                    </a:lnTo>
                    <a:lnTo>
                      <a:pt x="57" y="288"/>
                    </a:lnTo>
                    <a:lnTo>
                      <a:pt x="57" y="289"/>
                    </a:lnTo>
                    <a:lnTo>
                      <a:pt x="57" y="289"/>
                    </a:lnTo>
                    <a:lnTo>
                      <a:pt x="57" y="289"/>
                    </a:lnTo>
                    <a:lnTo>
                      <a:pt x="57" y="289"/>
                    </a:lnTo>
                    <a:lnTo>
                      <a:pt x="57" y="291"/>
                    </a:lnTo>
                    <a:lnTo>
                      <a:pt x="57" y="291"/>
                    </a:lnTo>
                    <a:lnTo>
                      <a:pt x="60" y="289"/>
                    </a:lnTo>
                    <a:lnTo>
                      <a:pt x="60" y="289"/>
                    </a:lnTo>
                    <a:lnTo>
                      <a:pt x="61" y="289"/>
                    </a:lnTo>
                    <a:lnTo>
                      <a:pt x="61" y="289"/>
                    </a:lnTo>
                    <a:lnTo>
                      <a:pt x="63" y="291"/>
                    </a:lnTo>
                    <a:lnTo>
                      <a:pt x="63" y="291"/>
                    </a:lnTo>
                    <a:lnTo>
                      <a:pt x="63" y="291"/>
                    </a:lnTo>
                    <a:lnTo>
                      <a:pt x="63" y="291"/>
                    </a:lnTo>
                    <a:lnTo>
                      <a:pt x="61" y="292"/>
                    </a:lnTo>
                    <a:lnTo>
                      <a:pt x="61" y="292"/>
                    </a:lnTo>
                    <a:lnTo>
                      <a:pt x="60" y="292"/>
                    </a:lnTo>
                    <a:lnTo>
                      <a:pt x="60" y="292"/>
                    </a:lnTo>
                    <a:lnTo>
                      <a:pt x="63" y="292"/>
                    </a:lnTo>
                    <a:lnTo>
                      <a:pt x="63" y="292"/>
                    </a:lnTo>
                    <a:lnTo>
                      <a:pt x="66" y="292"/>
                    </a:lnTo>
                    <a:lnTo>
                      <a:pt x="66" y="292"/>
                    </a:lnTo>
                    <a:lnTo>
                      <a:pt x="66" y="291"/>
                    </a:lnTo>
                    <a:lnTo>
                      <a:pt x="66" y="291"/>
                    </a:lnTo>
                    <a:lnTo>
                      <a:pt x="68" y="291"/>
                    </a:lnTo>
                    <a:lnTo>
                      <a:pt x="68" y="291"/>
                    </a:lnTo>
                    <a:lnTo>
                      <a:pt x="73" y="291"/>
                    </a:lnTo>
                    <a:lnTo>
                      <a:pt x="73" y="291"/>
                    </a:lnTo>
                    <a:lnTo>
                      <a:pt x="74" y="291"/>
                    </a:lnTo>
                    <a:lnTo>
                      <a:pt x="74" y="291"/>
                    </a:lnTo>
                    <a:lnTo>
                      <a:pt x="76" y="291"/>
                    </a:lnTo>
                    <a:lnTo>
                      <a:pt x="76" y="291"/>
                    </a:lnTo>
                    <a:lnTo>
                      <a:pt x="77" y="291"/>
                    </a:lnTo>
                    <a:lnTo>
                      <a:pt x="77" y="291"/>
                    </a:lnTo>
                    <a:lnTo>
                      <a:pt x="77" y="289"/>
                    </a:lnTo>
                    <a:lnTo>
                      <a:pt x="77" y="289"/>
                    </a:lnTo>
                    <a:lnTo>
                      <a:pt x="79" y="288"/>
                    </a:lnTo>
                    <a:lnTo>
                      <a:pt x="79" y="288"/>
                    </a:lnTo>
                    <a:lnTo>
                      <a:pt x="84" y="286"/>
                    </a:lnTo>
                    <a:lnTo>
                      <a:pt x="84" y="286"/>
                    </a:lnTo>
                    <a:lnTo>
                      <a:pt x="90" y="286"/>
                    </a:lnTo>
                    <a:lnTo>
                      <a:pt x="90" y="286"/>
                    </a:lnTo>
                    <a:lnTo>
                      <a:pt x="98" y="284"/>
                    </a:lnTo>
                    <a:lnTo>
                      <a:pt x="98" y="284"/>
                    </a:lnTo>
                    <a:lnTo>
                      <a:pt x="103" y="283"/>
                    </a:lnTo>
                    <a:lnTo>
                      <a:pt x="103" y="283"/>
                    </a:lnTo>
                    <a:lnTo>
                      <a:pt x="107" y="281"/>
                    </a:lnTo>
                    <a:lnTo>
                      <a:pt x="107" y="281"/>
                    </a:lnTo>
                    <a:lnTo>
                      <a:pt x="106" y="280"/>
                    </a:lnTo>
                    <a:lnTo>
                      <a:pt x="106" y="280"/>
                    </a:lnTo>
                    <a:lnTo>
                      <a:pt x="107" y="280"/>
                    </a:lnTo>
                    <a:lnTo>
                      <a:pt x="107" y="280"/>
                    </a:lnTo>
                    <a:lnTo>
                      <a:pt x="109" y="278"/>
                    </a:lnTo>
                    <a:lnTo>
                      <a:pt x="109" y="278"/>
                    </a:lnTo>
                    <a:lnTo>
                      <a:pt x="111" y="278"/>
                    </a:lnTo>
                    <a:lnTo>
                      <a:pt x="111" y="278"/>
                    </a:lnTo>
                    <a:lnTo>
                      <a:pt x="111" y="276"/>
                    </a:lnTo>
                    <a:lnTo>
                      <a:pt x="111" y="276"/>
                    </a:lnTo>
                    <a:lnTo>
                      <a:pt x="112" y="276"/>
                    </a:lnTo>
                    <a:lnTo>
                      <a:pt x="112" y="276"/>
                    </a:lnTo>
                    <a:lnTo>
                      <a:pt x="112" y="275"/>
                    </a:lnTo>
                    <a:lnTo>
                      <a:pt x="112" y="275"/>
                    </a:lnTo>
                    <a:lnTo>
                      <a:pt x="115" y="276"/>
                    </a:lnTo>
                    <a:lnTo>
                      <a:pt x="115" y="276"/>
                    </a:lnTo>
                    <a:lnTo>
                      <a:pt x="115" y="276"/>
                    </a:lnTo>
                    <a:lnTo>
                      <a:pt x="115" y="276"/>
                    </a:lnTo>
                    <a:lnTo>
                      <a:pt x="122" y="276"/>
                    </a:lnTo>
                    <a:lnTo>
                      <a:pt x="122" y="276"/>
                    </a:lnTo>
                    <a:lnTo>
                      <a:pt x="123" y="278"/>
                    </a:lnTo>
                    <a:lnTo>
                      <a:pt x="123" y="278"/>
                    </a:lnTo>
                    <a:lnTo>
                      <a:pt x="127" y="280"/>
                    </a:lnTo>
                    <a:lnTo>
                      <a:pt x="127" y="280"/>
                    </a:lnTo>
                    <a:lnTo>
                      <a:pt x="128" y="278"/>
                    </a:lnTo>
                    <a:lnTo>
                      <a:pt x="128" y="278"/>
                    </a:lnTo>
                    <a:lnTo>
                      <a:pt x="131" y="276"/>
                    </a:lnTo>
                    <a:lnTo>
                      <a:pt x="131" y="276"/>
                    </a:lnTo>
                    <a:lnTo>
                      <a:pt x="133" y="278"/>
                    </a:lnTo>
                    <a:lnTo>
                      <a:pt x="133" y="278"/>
                    </a:lnTo>
                    <a:lnTo>
                      <a:pt x="136" y="280"/>
                    </a:lnTo>
                    <a:lnTo>
                      <a:pt x="136" y="280"/>
                    </a:lnTo>
                    <a:lnTo>
                      <a:pt x="138" y="283"/>
                    </a:lnTo>
                    <a:lnTo>
                      <a:pt x="138" y="283"/>
                    </a:lnTo>
                    <a:lnTo>
                      <a:pt x="139" y="284"/>
                    </a:lnTo>
                    <a:lnTo>
                      <a:pt x="139" y="284"/>
                    </a:lnTo>
                    <a:lnTo>
                      <a:pt x="141" y="286"/>
                    </a:lnTo>
                    <a:lnTo>
                      <a:pt x="141" y="286"/>
                    </a:lnTo>
                    <a:lnTo>
                      <a:pt x="141" y="288"/>
                    </a:lnTo>
                    <a:lnTo>
                      <a:pt x="141" y="288"/>
                    </a:lnTo>
                    <a:lnTo>
                      <a:pt x="142" y="289"/>
                    </a:lnTo>
                    <a:lnTo>
                      <a:pt x="142" y="289"/>
                    </a:lnTo>
                    <a:lnTo>
                      <a:pt x="142" y="291"/>
                    </a:lnTo>
                    <a:lnTo>
                      <a:pt x="142" y="291"/>
                    </a:lnTo>
                    <a:lnTo>
                      <a:pt x="141" y="292"/>
                    </a:lnTo>
                    <a:lnTo>
                      <a:pt x="141" y="292"/>
                    </a:lnTo>
                    <a:lnTo>
                      <a:pt x="142" y="294"/>
                    </a:lnTo>
                    <a:lnTo>
                      <a:pt x="142" y="294"/>
                    </a:lnTo>
                    <a:lnTo>
                      <a:pt x="144" y="294"/>
                    </a:lnTo>
                    <a:lnTo>
                      <a:pt x="144" y="294"/>
                    </a:lnTo>
                    <a:lnTo>
                      <a:pt x="147" y="294"/>
                    </a:lnTo>
                    <a:lnTo>
                      <a:pt x="147" y="294"/>
                    </a:lnTo>
                    <a:lnTo>
                      <a:pt x="147" y="294"/>
                    </a:lnTo>
                    <a:lnTo>
                      <a:pt x="147" y="294"/>
                    </a:lnTo>
                    <a:lnTo>
                      <a:pt x="150" y="292"/>
                    </a:lnTo>
                    <a:lnTo>
                      <a:pt x="150" y="292"/>
                    </a:lnTo>
                    <a:lnTo>
                      <a:pt x="150" y="292"/>
                    </a:lnTo>
                    <a:lnTo>
                      <a:pt x="150" y="292"/>
                    </a:lnTo>
                    <a:lnTo>
                      <a:pt x="154" y="292"/>
                    </a:lnTo>
                    <a:lnTo>
                      <a:pt x="154" y="292"/>
                    </a:lnTo>
                    <a:lnTo>
                      <a:pt x="154" y="291"/>
                    </a:lnTo>
                    <a:lnTo>
                      <a:pt x="154" y="291"/>
                    </a:lnTo>
                    <a:lnTo>
                      <a:pt x="154" y="292"/>
                    </a:lnTo>
                    <a:lnTo>
                      <a:pt x="154" y="292"/>
                    </a:lnTo>
                    <a:lnTo>
                      <a:pt x="157" y="294"/>
                    </a:lnTo>
                    <a:lnTo>
                      <a:pt x="157" y="294"/>
                    </a:lnTo>
                    <a:lnTo>
                      <a:pt x="157" y="294"/>
                    </a:lnTo>
                    <a:lnTo>
                      <a:pt x="157" y="294"/>
                    </a:lnTo>
                    <a:lnTo>
                      <a:pt x="157" y="297"/>
                    </a:lnTo>
                    <a:lnTo>
                      <a:pt x="157" y="297"/>
                    </a:lnTo>
                    <a:lnTo>
                      <a:pt x="160" y="294"/>
                    </a:lnTo>
                    <a:lnTo>
                      <a:pt x="160" y="294"/>
                    </a:lnTo>
                    <a:lnTo>
                      <a:pt x="158" y="294"/>
                    </a:lnTo>
                    <a:lnTo>
                      <a:pt x="158" y="294"/>
                    </a:lnTo>
                    <a:lnTo>
                      <a:pt x="158" y="294"/>
                    </a:lnTo>
                    <a:lnTo>
                      <a:pt x="158" y="294"/>
                    </a:lnTo>
                    <a:lnTo>
                      <a:pt x="160" y="294"/>
                    </a:lnTo>
                    <a:lnTo>
                      <a:pt x="160" y="294"/>
                    </a:lnTo>
                    <a:lnTo>
                      <a:pt x="163" y="294"/>
                    </a:lnTo>
                    <a:lnTo>
                      <a:pt x="163" y="294"/>
                    </a:lnTo>
                    <a:lnTo>
                      <a:pt x="168" y="297"/>
                    </a:lnTo>
                    <a:lnTo>
                      <a:pt x="168" y="297"/>
                    </a:lnTo>
                    <a:lnTo>
                      <a:pt x="169" y="294"/>
                    </a:lnTo>
                    <a:lnTo>
                      <a:pt x="169" y="294"/>
                    </a:lnTo>
                    <a:lnTo>
                      <a:pt x="171" y="294"/>
                    </a:lnTo>
                    <a:lnTo>
                      <a:pt x="171" y="294"/>
                    </a:lnTo>
                    <a:lnTo>
                      <a:pt x="173" y="297"/>
                    </a:lnTo>
                    <a:lnTo>
                      <a:pt x="173" y="297"/>
                    </a:lnTo>
                    <a:lnTo>
                      <a:pt x="169" y="297"/>
                    </a:lnTo>
                    <a:lnTo>
                      <a:pt x="169" y="297"/>
                    </a:lnTo>
                    <a:lnTo>
                      <a:pt x="168" y="300"/>
                    </a:lnTo>
                    <a:lnTo>
                      <a:pt x="168" y="300"/>
                    </a:lnTo>
                    <a:lnTo>
                      <a:pt x="169" y="300"/>
                    </a:lnTo>
                    <a:lnTo>
                      <a:pt x="169" y="300"/>
                    </a:lnTo>
                    <a:lnTo>
                      <a:pt x="171" y="303"/>
                    </a:lnTo>
                    <a:lnTo>
                      <a:pt x="171" y="303"/>
                    </a:lnTo>
                    <a:lnTo>
                      <a:pt x="174" y="300"/>
                    </a:lnTo>
                    <a:lnTo>
                      <a:pt x="174" y="300"/>
                    </a:lnTo>
                    <a:lnTo>
                      <a:pt x="177" y="300"/>
                    </a:lnTo>
                    <a:lnTo>
                      <a:pt x="177" y="300"/>
                    </a:lnTo>
                    <a:lnTo>
                      <a:pt x="179" y="300"/>
                    </a:lnTo>
                    <a:lnTo>
                      <a:pt x="179" y="300"/>
                    </a:lnTo>
                    <a:lnTo>
                      <a:pt x="181" y="300"/>
                    </a:lnTo>
                    <a:lnTo>
                      <a:pt x="181" y="300"/>
                    </a:lnTo>
                    <a:lnTo>
                      <a:pt x="182" y="303"/>
                    </a:lnTo>
                    <a:lnTo>
                      <a:pt x="182" y="303"/>
                    </a:lnTo>
                    <a:lnTo>
                      <a:pt x="182" y="300"/>
                    </a:lnTo>
                    <a:lnTo>
                      <a:pt x="182" y="300"/>
                    </a:lnTo>
                    <a:lnTo>
                      <a:pt x="182" y="300"/>
                    </a:lnTo>
                    <a:lnTo>
                      <a:pt x="182" y="300"/>
                    </a:lnTo>
                    <a:lnTo>
                      <a:pt x="185" y="297"/>
                    </a:lnTo>
                    <a:lnTo>
                      <a:pt x="185" y="297"/>
                    </a:lnTo>
                    <a:lnTo>
                      <a:pt x="188" y="297"/>
                    </a:lnTo>
                    <a:lnTo>
                      <a:pt x="188" y="297"/>
                    </a:lnTo>
                    <a:lnTo>
                      <a:pt x="188" y="294"/>
                    </a:lnTo>
                    <a:lnTo>
                      <a:pt x="188" y="294"/>
                    </a:lnTo>
                    <a:lnTo>
                      <a:pt x="188" y="294"/>
                    </a:lnTo>
                    <a:lnTo>
                      <a:pt x="188" y="294"/>
                    </a:lnTo>
                    <a:lnTo>
                      <a:pt x="195" y="292"/>
                    </a:lnTo>
                    <a:lnTo>
                      <a:pt x="195" y="292"/>
                    </a:lnTo>
                    <a:lnTo>
                      <a:pt x="196" y="291"/>
                    </a:lnTo>
                    <a:lnTo>
                      <a:pt x="196" y="291"/>
                    </a:lnTo>
                    <a:lnTo>
                      <a:pt x="200" y="291"/>
                    </a:lnTo>
                    <a:lnTo>
                      <a:pt x="200" y="291"/>
                    </a:lnTo>
                    <a:lnTo>
                      <a:pt x="203" y="289"/>
                    </a:lnTo>
                    <a:lnTo>
                      <a:pt x="203" y="289"/>
                    </a:lnTo>
                    <a:lnTo>
                      <a:pt x="201" y="291"/>
                    </a:lnTo>
                    <a:lnTo>
                      <a:pt x="201" y="291"/>
                    </a:lnTo>
                    <a:lnTo>
                      <a:pt x="203" y="292"/>
                    </a:lnTo>
                    <a:lnTo>
                      <a:pt x="203" y="292"/>
                    </a:lnTo>
                    <a:lnTo>
                      <a:pt x="203" y="294"/>
                    </a:lnTo>
                    <a:lnTo>
                      <a:pt x="203" y="294"/>
                    </a:lnTo>
                    <a:lnTo>
                      <a:pt x="201" y="294"/>
                    </a:lnTo>
                    <a:lnTo>
                      <a:pt x="201" y="294"/>
                    </a:lnTo>
                    <a:lnTo>
                      <a:pt x="200" y="294"/>
                    </a:lnTo>
                    <a:lnTo>
                      <a:pt x="200" y="294"/>
                    </a:lnTo>
                    <a:lnTo>
                      <a:pt x="208" y="297"/>
                    </a:lnTo>
                    <a:lnTo>
                      <a:pt x="208" y="297"/>
                    </a:lnTo>
                    <a:lnTo>
                      <a:pt x="217" y="303"/>
                    </a:lnTo>
                    <a:lnTo>
                      <a:pt x="217" y="303"/>
                    </a:lnTo>
                    <a:lnTo>
                      <a:pt x="223" y="308"/>
                    </a:lnTo>
                    <a:lnTo>
                      <a:pt x="223" y="308"/>
                    </a:lnTo>
                    <a:lnTo>
                      <a:pt x="231" y="314"/>
                    </a:lnTo>
                    <a:lnTo>
                      <a:pt x="231" y="314"/>
                    </a:lnTo>
                    <a:lnTo>
                      <a:pt x="233" y="316"/>
                    </a:lnTo>
                    <a:lnTo>
                      <a:pt x="233" y="316"/>
                    </a:lnTo>
                    <a:lnTo>
                      <a:pt x="247" y="329"/>
                    </a:lnTo>
                    <a:lnTo>
                      <a:pt x="247" y="329"/>
                    </a:lnTo>
                    <a:lnTo>
                      <a:pt x="252" y="335"/>
                    </a:lnTo>
                    <a:lnTo>
                      <a:pt x="252" y="335"/>
                    </a:lnTo>
                    <a:lnTo>
                      <a:pt x="255" y="338"/>
                    </a:lnTo>
                    <a:lnTo>
                      <a:pt x="255" y="338"/>
                    </a:lnTo>
                    <a:lnTo>
                      <a:pt x="258" y="340"/>
                    </a:lnTo>
                    <a:lnTo>
                      <a:pt x="258" y="340"/>
                    </a:lnTo>
                    <a:lnTo>
                      <a:pt x="258" y="338"/>
                    </a:lnTo>
                    <a:lnTo>
                      <a:pt x="258" y="338"/>
                    </a:lnTo>
                    <a:lnTo>
                      <a:pt x="260" y="337"/>
                    </a:lnTo>
                    <a:lnTo>
                      <a:pt x="260" y="337"/>
                    </a:lnTo>
                    <a:lnTo>
                      <a:pt x="260" y="335"/>
                    </a:lnTo>
                    <a:lnTo>
                      <a:pt x="260" y="335"/>
                    </a:lnTo>
                    <a:lnTo>
                      <a:pt x="260" y="334"/>
                    </a:lnTo>
                    <a:lnTo>
                      <a:pt x="260" y="334"/>
                    </a:lnTo>
                    <a:lnTo>
                      <a:pt x="260" y="332"/>
                    </a:lnTo>
                    <a:lnTo>
                      <a:pt x="260" y="332"/>
                    </a:lnTo>
                    <a:lnTo>
                      <a:pt x="261" y="332"/>
                    </a:lnTo>
                    <a:lnTo>
                      <a:pt x="261" y="332"/>
                    </a:lnTo>
                    <a:lnTo>
                      <a:pt x="265" y="332"/>
                    </a:lnTo>
                    <a:lnTo>
                      <a:pt x="265" y="332"/>
                    </a:lnTo>
                    <a:lnTo>
                      <a:pt x="266" y="334"/>
                    </a:lnTo>
                    <a:lnTo>
                      <a:pt x="266" y="334"/>
                    </a:lnTo>
                    <a:lnTo>
                      <a:pt x="268" y="334"/>
                    </a:lnTo>
                    <a:lnTo>
                      <a:pt x="268" y="334"/>
                    </a:lnTo>
                    <a:lnTo>
                      <a:pt x="268" y="337"/>
                    </a:lnTo>
                    <a:lnTo>
                      <a:pt x="268" y="337"/>
                    </a:lnTo>
                    <a:lnTo>
                      <a:pt x="269" y="337"/>
                    </a:lnTo>
                    <a:lnTo>
                      <a:pt x="269" y="337"/>
                    </a:lnTo>
                    <a:lnTo>
                      <a:pt x="271" y="337"/>
                    </a:lnTo>
                    <a:lnTo>
                      <a:pt x="271" y="337"/>
                    </a:lnTo>
                    <a:lnTo>
                      <a:pt x="273" y="337"/>
                    </a:lnTo>
                    <a:lnTo>
                      <a:pt x="273" y="337"/>
                    </a:lnTo>
                    <a:lnTo>
                      <a:pt x="273" y="338"/>
                    </a:lnTo>
                    <a:lnTo>
                      <a:pt x="273" y="338"/>
                    </a:lnTo>
                    <a:lnTo>
                      <a:pt x="276" y="340"/>
                    </a:lnTo>
                    <a:lnTo>
                      <a:pt x="276" y="340"/>
                    </a:lnTo>
                    <a:lnTo>
                      <a:pt x="276" y="340"/>
                    </a:lnTo>
                    <a:lnTo>
                      <a:pt x="276" y="340"/>
                    </a:lnTo>
                    <a:lnTo>
                      <a:pt x="279" y="340"/>
                    </a:lnTo>
                    <a:lnTo>
                      <a:pt x="279" y="340"/>
                    </a:lnTo>
                    <a:lnTo>
                      <a:pt x="279" y="340"/>
                    </a:lnTo>
                    <a:lnTo>
                      <a:pt x="279" y="340"/>
                    </a:lnTo>
                    <a:lnTo>
                      <a:pt x="282" y="340"/>
                    </a:lnTo>
                    <a:lnTo>
                      <a:pt x="282" y="340"/>
                    </a:lnTo>
                    <a:lnTo>
                      <a:pt x="282" y="340"/>
                    </a:lnTo>
                    <a:lnTo>
                      <a:pt x="282" y="340"/>
                    </a:lnTo>
                    <a:lnTo>
                      <a:pt x="284" y="340"/>
                    </a:lnTo>
                    <a:lnTo>
                      <a:pt x="284" y="340"/>
                    </a:lnTo>
                    <a:lnTo>
                      <a:pt x="285" y="338"/>
                    </a:lnTo>
                    <a:lnTo>
                      <a:pt x="285" y="338"/>
                    </a:lnTo>
                    <a:lnTo>
                      <a:pt x="287" y="337"/>
                    </a:lnTo>
                    <a:lnTo>
                      <a:pt x="287" y="337"/>
                    </a:lnTo>
                    <a:lnTo>
                      <a:pt x="288" y="337"/>
                    </a:lnTo>
                    <a:lnTo>
                      <a:pt x="288" y="337"/>
                    </a:lnTo>
                    <a:lnTo>
                      <a:pt x="290" y="335"/>
                    </a:lnTo>
                    <a:lnTo>
                      <a:pt x="290" y="335"/>
                    </a:lnTo>
                    <a:lnTo>
                      <a:pt x="295" y="337"/>
                    </a:lnTo>
                    <a:lnTo>
                      <a:pt x="295" y="337"/>
                    </a:lnTo>
                    <a:lnTo>
                      <a:pt x="300" y="338"/>
                    </a:lnTo>
                    <a:lnTo>
                      <a:pt x="300" y="338"/>
                    </a:lnTo>
                    <a:lnTo>
                      <a:pt x="304" y="343"/>
                    </a:lnTo>
                    <a:lnTo>
                      <a:pt x="304" y="343"/>
                    </a:lnTo>
                    <a:lnTo>
                      <a:pt x="308" y="345"/>
                    </a:lnTo>
                    <a:lnTo>
                      <a:pt x="308" y="345"/>
                    </a:lnTo>
                    <a:lnTo>
                      <a:pt x="308" y="346"/>
                    </a:lnTo>
                    <a:lnTo>
                      <a:pt x="308" y="346"/>
                    </a:lnTo>
                    <a:lnTo>
                      <a:pt x="311" y="348"/>
                    </a:lnTo>
                    <a:lnTo>
                      <a:pt x="311" y="348"/>
                    </a:lnTo>
                    <a:lnTo>
                      <a:pt x="314" y="348"/>
                    </a:lnTo>
                    <a:lnTo>
                      <a:pt x="314" y="348"/>
                    </a:lnTo>
                    <a:lnTo>
                      <a:pt x="317" y="349"/>
                    </a:lnTo>
                    <a:lnTo>
                      <a:pt x="317" y="349"/>
                    </a:lnTo>
                    <a:lnTo>
                      <a:pt x="317" y="349"/>
                    </a:lnTo>
                    <a:lnTo>
                      <a:pt x="317" y="349"/>
                    </a:lnTo>
                    <a:lnTo>
                      <a:pt x="319" y="353"/>
                    </a:lnTo>
                    <a:lnTo>
                      <a:pt x="319" y="353"/>
                    </a:lnTo>
                    <a:lnTo>
                      <a:pt x="320" y="356"/>
                    </a:lnTo>
                    <a:lnTo>
                      <a:pt x="320" y="356"/>
                    </a:lnTo>
                    <a:lnTo>
                      <a:pt x="327" y="356"/>
                    </a:lnTo>
                    <a:lnTo>
                      <a:pt x="327" y="356"/>
                    </a:lnTo>
                    <a:lnTo>
                      <a:pt x="330" y="356"/>
                    </a:lnTo>
                    <a:lnTo>
                      <a:pt x="330" y="356"/>
                    </a:lnTo>
                    <a:lnTo>
                      <a:pt x="331" y="356"/>
                    </a:lnTo>
                    <a:lnTo>
                      <a:pt x="331" y="356"/>
                    </a:lnTo>
                    <a:lnTo>
                      <a:pt x="333" y="356"/>
                    </a:lnTo>
                    <a:lnTo>
                      <a:pt x="333" y="356"/>
                    </a:lnTo>
                    <a:lnTo>
                      <a:pt x="335" y="356"/>
                    </a:lnTo>
                    <a:lnTo>
                      <a:pt x="335" y="356"/>
                    </a:lnTo>
                    <a:lnTo>
                      <a:pt x="336" y="353"/>
                    </a:lnTo>
                    <a:lnTo>
                      <a:pt x="336" y="353"/>
                    </a:lnTo>
                    <a:lnTo>
                      <a:pt x="338" y="353"/>
                    </a:lnTo>
                    <a:lnTo>
                      <a:pt x="338" y="353"/>
                    </a:lnTo>
                    <a:lnTo>
                      <a:pt x="338" y="356"/>
                    </a:lnTo>
                    <a:lnTo>
                      <a:pt x="338" y="356"/>
                    </a:lnTo>
                    <a:lnTo>
                      <a:pt x="339" y="356"/>
                    </a:lnTo>
                    <a:lnTo>
                      <a:pt x="339" y="356"/>
                    </a:lnTo>
                    <a:lnTo>
                      <a:pt x="339" y="356"/>
                    </a:lnTo>
                    <a:lnTo>
                      <a:pt x="339" y="356"/>
                    </a:lnTo>
                    <a:lnTo>
                      <a:pt x="342" y="359"/>
                    </a:lnTo>
                    <a:lnTo>
                      <a:pt x="342" y="359"/>
                    </a:lnTo>
                    <a:lnTo>
                      <a:pt x="344" y="361"/>
                    </a:lnTo>
                    <a:lnTo>
                      <a:pt x="344" y="361"/>
                    </a:lnTo>
                    <a:lnTo>
                      <a:pt x="346" y="362"/>
                    </a:lnTo>
                    <a:lnTo>
                      <a:pt x="346" y="362"/>
                    </a:lnTo>
                    <a:lnTo>
                      <a:pt x="346" y="362"/>
                    </a:lnTo>
                    <a:lnTo>
                      <a:pt x="346" y="362"/>
                    </a:lnTo>
                    <a:lnTo>
                      <a:pt x="349" y="362"/>
                    </a:lnTo>
                    <a:lnTo>
                      <a:pt x="349" y="362"/>
                    </a:lnTo>
                    <a:lnTo>
                      <a:pt x="352" y="362"/>
                    </a:lnTo>
                    <a:lnTo>
                      <a:pt x="352" y="362"/>
                    </a:lnTo>
                    <a:lnTo>
                      <a:pt x="354" y="362"/>
                    </a:lnTo>
                    <a:lnTo>
                      <a:pt x="354" y="362"/>
                    </a:lnTo>
                    <a:lnTo>
                      <a:pt x="355" y="359"/>
                    </a:lnTo>
                    <a:lnTo>
                      <a:pt x="355" y="359"/>
                    </a:lnTo>
                    <a:lnTo>
                      <a:pt x="355" y="359"/>
                    </a:lnTo>
                    <a:lnTo>
                      <a:pt x="355" y="359"/>
                    </a:lnTo>
                    <a:lnTo>
                      <a:pt x="357" y="356"/>
                    </a:lnTo>
                    <a:lnTo>
                      <a:pt x="357" y="356"/>
                    </a:lnTo>
                    <a:lnTo>
                      <a:pt x="360" y="356"/>
                    </a:lnTo>
                    <a:lnTo>
                      <a:pt x="360" y="356"/>
                    </a:lnTo>
                    <a:lnTo>
                      <a:pt x="362" y="359"/>
                    </a:lnTo>
                    <a:lnTo>
                      <a:pt x="362" y="359"/>
                    </a:lnTo>
                    <a:lnTo>
                      <a:pt x="362" y="356"/>
                    </a:lnTo>
                    <a:lnTo>
                      <a:pt x="362" y="356"/>
                    </a:lnTo>
                    <a:lnTo>
                      <a:pt x="365" y="356"/>
                    </a:lnTo>
                    <a:lnTo>
                      <a:pt x="365" y="356"/>
                    </a:lnTo>
                    <a:lnTo>
                      <a:pt x="366" y="356"/>
                    </a:lnTo>
                    <a:lnTo>
                      <a:pt x="366" y="356"/>
                    </a:lnTo>
                    <a:lnTo>
                      <a:pt x="365" y="356"/>
                    </a:lnTo>
                    <a:lnTo>
                      <a:pt x="365" y="356"/>
                    </a:lnTo>
                    <a:lnTo>
                      <a:pt x="371" y="353"/>
                    </a:lnTo>
                    <a:lnTo>
                      <a:pt x="371" y="353"/>
                    </a:lnTo>
                    <a:lnTo>
                      <a:pt x="369" y="353"/>
                    </a:lnTo>
                    <a:lnTo>
                      <a:pt x="369" y="353"/>
                    </a:lnTo>
                    <a:lnTo>
                      <a:pt x="371" y="349"/>
                    </a:lnTo>
                    <a:lnTo>
                      <a:pt x="371" y="349"/>
                    </a:lnTo>
                    <a:lnTo>
                      <a:pt x="373" y="349"/>
                    </a:lnTo>
                    <a:lnTo>
                      <a:pt x="373" y="349"/>
                    </a:lnTo>
                    <a:lnTo>
                      <a:pt x="373" y="349"/>
                    </a:lnTo>
                    <a:lnTo>
                      <a:pt x="373" y="349"/>
                    </a:lnTo>
                    <a:lnTo>
                      <a:pt x="373" y="348"/>
                    </a:lnTo>
                    <a:lnTo>
                      <a:pt x="373" y="348"/>
                    </a:lnTo>
                    <a:lnTo>
                      <a:pt x="374" y="348"/>
                    </a:lnTo>
                    <a:lnTo>
                      <a:pt x="374" y="348"/>
                    </a:lnTo>
                    <a:lnTo>
                      <a:pt x="377" y="348"/>
                    </a:lnTo>
                    <a:lnTo>
                      <a:pt x="377" y="348"/>
                    </a:lnTo>
                    <a:lnTo>
                      <a:pt x="379" y="346"/>
                    </a:lnTo>
                    <a:lnTo>
                      <a:pt x="379" y="346"/>
                    </a:lnTo>
                    <a:lnTo>
                      <a:pt x="382" y="345"/>
                    </a:lnTo>
                    <a:lnTo>
                      <a:pt x="382" y="345"/>
                    </a:lnTo>
                    <a:lnTo>
                      <a:pt x="384" y="343"/>
                    </a:lnTo>
                    <a:lnTo>
                      <a:pt x="384" y="343"/>
                    </a:lnTo>
                    <a:lnTo>
                      <a:pt x="385" y="341"/>
                    </a:lnTo>
                    <a:lnTo>
                      <a:pt x="385" y="341"/>
                    </a:lnTo>
                    <a:lnTo>
                      <a:pt x="387" y="341"/>
                    </a:lnTo>
                    <a:lnTo>
                      <a:pt x="387" y="341"/>
                    </a:lnTo>
                    <a:lnTo>
                      <a:pt x="390" y="340"/>
                    </a:lnTo>
                    <a:lnTo>
                      <a:pt x="390" y="340"/>
                    </a:lnTo>
                    <a:lnTo>
                      <a:pt x="392" y="340"/>
                    </a:lnTo>
                    <a:lnTo>
                      <a:pt x="392" y="340"/>
                    </a:lnTo>
                    <a:lnTo>
                      <a:pt x="392" y="338"/>
                    </a:lnTo>
                    <a:lnTo>
                      <a:pt x="392" y="338"/>
                    </a:lnTo>
                    <a:lnTo>
                      <a:pt x="395" y="340"/>
                    </a:lnTo>
                    <a:lnTo>
                      <a:pt x="395" y="340"/>
                    </a:lnTo>
                    <a:lnTo>
                      <a:pt x="396" y="340"/>
                    </a:lnTo>
                    <a:lnTo>
                      <a:pt x="396" y="340"/>
                    </a:lnTo>
                    <a:lnTo>
                      <a:pt x="398" y="340"/>
                    </a:lnTo>
                    <a:lnTo>
                      <a:pt x="398" y="340"/>
                    </a:lnTo>
                    <a:lnTo>
                      <a:pt x="398" y="340"/>
                    </a:lnTo>
                    <a:lnTo>
                      <a:pt x="398" y="340"/>
                    </a:lnTo>
                    <a:lnTo>
                      <a:pt x="401" y="340"/>
                    </a:lnTo>
                    <a:lnTo>
                      <a:pt x="401" y="340"/>
                    </a:lnTo>
                    <a:lnTo>
                      <a:pt x="401" y="341"/>
                    </a:lnTo>
                    <a:lnTo>
                      <a:pt x="401" y="341"/>
                    </a:lnTo>
                    <a:lnTo>
                      <a:pt x="401" y="341"/>
                    </a:lnTo>
                    <a:lnTo>
                      <a:pt x="401" y="341"/>
                    </a:lnTo>
                    <a:lnTo>
                      <a:pt x="404" y="341"/>
                    </a:lnTo>
                    <a:lnTo>
                      <a:pt x="404" y="341"/>
                    </a:lnTo>
                    <a:lnTo>
                      <a:pt x="408" y="341"/>
                    </a:lnTo>
                    <a:lnTo>
                      <a:pt x="408" y="341"/>
                    </a:lnTo>
                    <a:lnTo>
                      <a:pt x="409" y="341"/>
                    </a:lnTo>
                    <a:lnTo>
                      <a:pt x="409" y="341"/>
                    </a:lnTo>
                    <a:lnTo>
                      <a:pt x="411" y="341"/>
                    </a:lnTo>
                    <a:lnTo>
                      <a:pt x="411" y="341"/>
                    </a:lnTo>
                    <a:lnTo>
                      <a:pt x="414" y="341"/>
                    </a:lnTo>
                    <a:lnTo>
                      <a:pt x="414" y="341"/>
                    </a:lnTo>
                    <a:lnTo>
                      <a:pt x="417" y="345"/>
                    </a:lnTo>
                    <a:lnTo>
                      <a:pt x="417" y="345"/>
                    </a:lnTo>
                    <a:lnTo>
                      <a:pt x="420" y="348"/>
                    </a:lnTo>
                    <a:lnTo>
                      <a:pt x="420" y="348"/>
                    </a:lnTo>
                    <a:lnTo>
                      <a:pt x="423" y="349"/>
                    </a:lnTo>
                    <a:lnTo>
                      <a:pt x="423" y="349"/>
                    </a:lnTo>
                    <a:lnTo>
                      <a:pt x="430" y="349"/>
                    </a:lnTo>
                    <a:lnTo>
                      <a:pt x="430" y="349"/>
                    </a:lnTo>
                    <a:lnTo>
                      <a:pt x="430" y="349"/>
                    </a:lnTo>
                    <a:lnTo>
                      <a:pt x="430" y="349"/>
                    </a:lnTo>
                    <a:lnTo>
                      <a:pt x="433" y="349"/>
                    </a:lnTo>
                    <a:lnTo>
                      <a:pt x="433" y="349"/>
                    </a:lnTo>
                    <a:lnTo>
                      <a:pt x="436" y="349"/>
                    </a:lnTo>
                    <a:lnTo>
                      <a:pt x="436" y="349"/>
                    </a:lnTo>
                    <a:lnTo>
                      <a:pt x="439" y="349"/>
                    </a:lnTo>
                    <a:lnTo>
                      <a:pt x="439" y="349"/>
                    </a:lnTo>
                    <a:lnTo>
                      <a:pt x="439" y="349"/>
                    </a:lnTo>
                    <a:lnTo>
                      <a:pt x="439" y="349"/>
                    </a:lnTo>
                    <a:lnTo>
                      <a:pt x="449" y="353"/>
                    </a:lnTo>
                    <a:lnTo>
                      <a:pt x="449" y="353"/>
                    </a:lnTo>
                    <a:lnTo>
                      <a:pt x="454" y="353"/>
                    </a:lnTo>
                    <a:lnTo>
                      <a:pt x="454" y="353"/>
                    </a:lnTo>
                    <a:lnTo>
                      <a:pt x="455" y="353"/>
                    </a:lnTo>
                    <a:lnTo>
                      <a:pt x="455" y="353"/>
                    </a:lnTo>
                    <a:lnTo>
                      <a:pt x="457" y="349"/>
                    </a:lnTo>
                    <a:lnTo>
                      <a:pt x="457" y="349"/>
                    </a:lnTo>
                    <a:lnTo>
                      <a:pt x="460" y="349"/>
                    </a:lnTo>
                    <a:lnTo>
                      <a:pt x="460" y="349"/>
                    </a:lnTo>
                    <a:lnTo>
                      <a:pt x="462" y="349"/>
                    </a:lnTo>
                    <a:lnTo>
                      <a:pt x="462" y="349"/>
                    </a:lnTo>
                    <a:lnTo>
                      <a:pt x="462" y="346"/>
                    </a:lnTo>
                    <a:lnTo>
                      <a:pt x="462" y="346"/>
                    </a:lnTo>
                    <a:lnTo>
                      <a:pt x="460" y="343"/>
                    </a:lnTo>
                    <a:lnTo>
                      <a:pt x="460" y="343"/>
                    </a:lnTo>
                    <a:lnTo>
                      <a:pt x="458" y="343"/>
                    </a:lnTo>
                    <a:lnTo>
                      <a:pt x="458" y="343"/>
                    </a:lnTo>
                    <a:lnTo>
                      <a:pt x="455" y="340"/>
                    </a:lnTo>
                    <a:lnTo>
                      <a:pt x="455" y="340"/>
                    </a:lnTo>
                    <a:lnTo>
                      <a:pt x="452" y="337"/>
                    </a:lnTo>
                    <a:lnTo>
                      <a:pt x="452" y="337"/>
                    </a:lnTo>
                    <a:lnTo>
                      <a:pt x="450" y="332"/>
                    </a:lnTo>
                    <a:lnTo>
                      <a:pt x="450" y="332"/>
                    </a:lnTo>
                    <a:lnTo>
                      <a:pt x="450" y="330"/>
                    </a:lnTo>
                    <a:lnTo>
                      <a:pt x="450" y="330"/>
                    </a:lnTo>
                    <a:lnTo>
                      <a:pt x="452" y="329"/>
                    </a:lnTo>
                    <a:lnTo>
                      <a:pt x="452" y="329"/>
                    </a:lnTo>
                    <a:lnTo>
                      <a:pt x="452" y="327"/>
                    </a:lnTo>
                    <a:lnTo>
                      <a:pt x="452" y="327"/>
                    </a:lnTo>
                    <a:lnTo>
                      <a:pt x="454" y="327"/>
                    </a:lnTo>
                    <a:lnTo>
                      <a:pt x="454" y="327"/>
                    </a:lnTo>
                    <a:lnTo>
                      <a:pt x="455" y="324"/>
                    </a:lnTo>
                    <a:lnTo>
                      <a:pt x="455" y="324"/>
                    </a:lnTo>
                    <a:lnTo>
                      <a:pt x="455" y="324"/>
                    </a:lnTo>
                    <a:lnTo>
                      <a:pt x="455" y="324"/>
                    </a:lnTo>
                    <a:lnTo>
                      <a:pt x="455" y="321"/>
                    </a:lnTo>
                    <a:lnTo>
                      <a:pt x="455" y="321"/>
                    </a:lnTo>
                    <a:lnTo>
                      <a:pt x="468" y="324"/>
                    </a:lnTo>
                    <a:lnTo>
                      <a:pt x="468" y="324"/>
                    </a:lnTo>
                    <a:lnTo>
                      <a:pt x="476" y="327"/>
                    </a:lnTo>
                    <a:lnTo>
                      <a:pt x="476" y="327"/>
                    </a:lnTo>
                    <a:lnTo>
                      <a:pt x="482" y="327"/>
                    </a:lnTo>
                    <a:lnTo>
                      <a:pt x="482" y="327"/>
                    </a:lnTo>
                    <a:lnTo>
                      <a:pt x="489" y="329"/>
                    </a:lnTo>
                    <a:lnTo>
                      <a:pt x="489" y="329"/>
                    </a:lnTo>
                    <a:lnTo>
                      <a:pt x="492" y="329"/>
                    </a:lnTo>
                    <a:lnTo>
                      <a:pt x="492" y="329"/>
                    </a:lnTo>
                    <a:lnTo>
                      <a:pt x="496" y="330"/>
                    </a:lnTo>
                    <a:lnTo>
                      <a:pt x="496" y="330"/>
                    </a:lnTo>
                    <a:lnTo>
                      <a:pt x="498" y="332"/>
                    </a:lnTo>
                    <a:lnTo>
                      <a:pt x="498" y="332"/>
                    </a:lnTo>
                    <a:lnTo>
                      <a:pt x="500" y="335"/>
                    </a:lnTo>
                    <a:lnTo>
                      <a:pt x="500" y="335"/>
                    </a:lnTo>
                    <a:lnTo>
                      <a:pt x="500" y="338"/>
                    </a:lnTo>
                    <a:lnTo>
                      <a:pt x="500" y="338"/>
                    </a:lnTo>
                    <a:lnTo>
                      <a:pt x="503" y="340"/>
                    </a:lnTo>
                    <a:lnTo>
                      <a:pt x="503" y="340"/>
                    </a:lnTo>
                    <a:lnTo>
                      <a:pt x="506" y="343"/>
                    </a:lnTo>
                    <a:lnTo>
                      <a:pt x="506" y="343"/>
                    </a:lnTo>
                    <a:lnTo>
                      <a:pt x="509" y="345"/>
                    </a:lnTo>
                    <a:lnTo>
                      <a:pt x="509" y="345"/>
                    </a:lnTo>
                    <a:lnTo>
                      <a:pt x="512" y="346"/>
                    </a:lnTo>
                    <a:lnTo>
                      <a:pt x="512" y="346"/>
                    </a:lnTo>
                    <a:lnTo>
                      <a:pt x="517" y="348"/>
                    </a:lnTo>
                    <a:lnTo>
                      <a:pt x="517" y="348"/>
                    </a:lnTo>
                    <a:lnTo>
                      <a:pt x="519" y="348"/>
                    </a:lnTo>
                    <a:lnTo>
                      <a:pt x="519" y="348"/>
                    </a:lnTo>
                    <a:lnTo>
                      <a:pt x="520" y="348"/>
                    </a:lnTo>
                    <a:lnTo>
                      <a:pt x="520" y="348"/>
                    </a:lnTo>
                    <a:lnTo>
                      <a:pt x="523" y="348"/>
                    </a:lnTo>
                    <a:lnTo>
                      <a:pt x="523" y="348"/>
                    </a:lnTo>
                    <a:lnTo>
                      <a:pt x="523" y="348"/>
                    </a:lnTo>
                    <a:lnTo>
                      <a:pt x="523" y="348"/>
                    </a:lnTo>
                    <a:lnTo>
                      <a:pt x="527" y="346"/>
                    </a:lnTo>
                    <a:lnTo>
                      <a:pt x="527" y="346"/>
                    </a:lnTo>
                    <a:lnTo>
                      <a:pt x="535" y="345"/>
                    </a:lnTo>
                    <a:lnTo>
                      <a:pt x="535" y="345"/>
                    </a:lnTo>
                    <a:lnTo>
                      <a:pt x="536" y="345"/>
                    </a:lnTo>
                    <a:lnTo>
                      <a:pt x="536" y="345"/>
                    </a:lnTo>
                    <a:lnTo>
                      <a:pt x="541" y="345"/>
                    </a:lnTo>
                    <a:lnTo>
                      <a:pt x="541" y="345"/>
                    </a:lnTo>
                    <a:lnTo>
                      <a:pt x="544" y="345"/>
                    </a:lnTo>
                    <a:lnTo>
                      <a:pt x="544" y="345"/>
                    </a:lnTo>
                    <a:lnTo>
                      <a:pt x="546" y="345"/>
                    </a:lnTo>
                    <a:lnTo>
                      <a:pt x="546" y="345"/>
                    </a:lnTo>
                    <a:lnTo>
                      <a:pt x="554" y="345"/>
                    </a:lnTo>
                    <a:lnTo>
                      <a:pt x="554" y="345"/>
                    </a:lnTo>
                    <a:lnTo>
                      <a:pt x="555" y="346"/>
                    </a:lnTo>
                    <a:lnTo>
                      <a:pt x="555" y="346"/>
                    </a:lnTo>
                    <a:lnTo>
                      <a:pt x="558" y="349"/>
                    </a:lnTo>
                    <a:lnTo>
                      <a:pt x="558" y="349"/>
                    </a:lnTo>
                    <a:lnTo>
                      <a:pt x="565" y="349"/>
                    </a:lnTo>
                    <a:lnTo>
                      <a:pt x="565" y="349"/>
                    </a:lnTo>
                    <a:lnTo>
                      <a:pt x="568" y="349"/>
                    </a:lnTo>
                    <a:lnTo>
                      <a:pt x="568" y="349"/>
                    </a:lnTo>
                    <a:lnTo>
                      <a:pt x="568" y="349"/>
                    </a:lnTo>
                    <a:lnTo>
                      <a:pt x="568" y="349"/>
                    </a:lnTo>
                    <a:lnTo>
                      <a:pt x="571" y="353"/>
                    </a:lnTo>
                    <a:lnTo>
                      <a:pt x="571" y="353"/>
                    </a:lnTo>
                    <a:lnTo>
                      <a:pt x="573" y="353"/>
                    </a:lnTo>
                    <a:lnTo>
                      <a:pt x="573" y="353"/>
                    </a:lnTo>
                    <a:lnTo>
                      <a:pt x="574" y="356"/>
                    </a:lnTo>
                    <a:lnTo>
                      <a:pt x="574" y="356"/>
                    </a:lnTo>
                    <a:lnTo>
                      <a:pt x="577" y="356"/>
                    </a:lnTo>
                    <a:lnTo>
                      <a:pt x="577" y="356"/>
                    </a:lnTo>
                    <a:lnTo>
                      <a:pt x="582" y="359"/>
                    </a:lnTo>
                    <a:lnTo>
                      <a:pt x="582" y="359"/>
                    </a:lnTo>
                    <a:lnTo>
                      <a:pt x="585" y="359"/>
                    </a:lnTo>
                    <a:lnTo>
                      <a:pt x="585" y="359"/>
                    </a:lnTo>
                    <a:lnTo>
                      <a:pt x="590" y="359"/>
                    </a:lnTo>
                    <a:lnTo>
                      <a:pt x="590" y="359"/>
                    </a:lnTo>
                    <a:lnTo>
                      <a:pt x="593" y="359"/>
                    </a:lnTo>
                    <a:lnTo>
                      <a:pt x="593" y="359"/>
                    </a:lnTo>
                    <a:lnTo>
                      <a:pt x="596" y="362"/>
                    </a:lnTo>
                    <a:lnTo>
                      <a:pt x="596" y="362"/>
                    </a:lnTo>
                    <a:lnTo>
                      <a:pt x="603" y="362"/>
                    </a:lnTo>
                    <a:lnTo>
                      <a:pt x="603" y="362"/>
                    </a:lnTo>
                    <a:lnTo>
                      <a:pt x="606" y="362"/>
                    </a:lnTo>
                    <a:lnTo>
                      <a:pt x="606" y="362"/>
                    </a:lnTo>
                    <a:lnTo>
                      <a:pt x="609" y="362"/>
                    </a:lnTo>
                    <a:lnTo>
                      <a:pt x="609" y="362"/>
                    </a:lnTo>
                    <a:lnTo>
                      <a:pt x="612" y="359"/>
                    </a:lnTo>
                    <a:lnTo>
                      <a:pt x="612" y="359"/>
                    </a:lnTo>
                    <a:lnTo>
                      <a:pt x="616" y="359"/>
                    </a:lnTo>
                    <a:lnTo>
                      <a:pt x="616" y="359"/>
                    </a:lnTo>
                    <a:lnTo>
                      <a:pt x="623" y="356"/>
                    </a:lnTo>
                    <a:lnTo>
                      <a:pt x="623" y="356"/>
                    </a:lnTo>
                    <a:lnTo>
                      <a:pt x="625" y="356"/>
                    </a:lnTo>
                    <a:lnTo>
                      <a:pt x="625" y="356"/>
                    </a:lnTo>
                    <a:lnTo>
                      <a:pt x="625" y="356"/>
                    </a:lnTo>
                    <a:lnTo>
                      <a:pt x="625" y="356"/>
                    </a:lnTo>
                    <a:lnTo>
                      <a:pt x="628" y="356"/>
                    </a:lnTo>
                    <a:lnTo>
                      <a:pt x="628" y="356"/>
                    </a:lnTo>
                    <a:lnTo>
                      <a:pt x="628" y="353"/>
                    </a:lnTo>
                    <a:lnTo>
                      <a:pt x="628" y="353"/>
                    </a:lnTo>
                    <a:lnTo>
                      <a:pt x="631" y="349"/>
                    </a:lnTo>
                    <a:lnTo>
                      <a:pt x="631" y="349"/>
                    </a:lnTo>
                    <a:lnTo>
                      <a:pt x="635" y="349"/>
                    </a:lnTo>
                    <a:lnTo>
                      <a:pt x="635" y="349"/>
                    </a:lnTo>
                    <a:lnTo>
                      <a:pt x="636" y="348"/>
                    </a:lnTo>
                    <a:lnTo>
                      <a:pt x="636" y="348"/>
                    </a:lnTo>
                    <a:lnTo>
                      <a:pt x="639" y="346"/>
                    </a:lnTo>
                    <a:lnTo>
                      <a:pt x="639" y="346"/>
                    </a:lnTo>
                    <a:lnTo>
                      <a:pt x="643" y="346"/>
                    </a:lnTo>
                    <a:lnTo>
                      <a:pt x="643" y="346"/>
                    </a:lnTo>
                    <a:lnTo>
                      <a:pt x="647" y="348"/>
                    </a:lnTo>
                    <a:lnTo>
                      <a:pt x="647" y="348"/>
                    </a:lnTo>
                    <a:lnTo>
                      <a:pt x="652" y="349"/>
                    </a:lnTo>
                    <a:lnTo>
                      <a:pt x="652" y="349"/>
                    </a:lnTo>
                    <a:lnTo>
                      <a:pt x="655" y="353"/>
                    </a:lnTo>
                    <a:lnTo>
                      <a:pt x="655" y="353"/>
                    </a:lnTo>
                    <a:lnTo>
                      <a:pt x="658" y="353"/>
                    </a:lnTo>
                    <a:lnTo>
                      <a:pt x="658" y="353"/>
                    </a:lnTo>
                    <a:lnTo>
                      <a:pt x="660" y="349"/>
                    </a:lnTo>
                    <a:lnTo>
                      <a:pt x="660" y="349"/>
                    </a:lnTo>
                    <a:lnTo>
                      <a:pt x="662" y="349"/>
                    </a:lnTo>
                    <a:lnTo>
                      <a:pt x="662" y="349"/>
                    </a:lnTo>
                    <a:lnTo>
                      <a:pt x="665" y="349"/>
                    </a:lnTo>
                    <a:lnTo>
                      <a:pt x="665" y="349"/>
                    </a:lnTo>
                    <a:lnTo>
                      <a:pt x="668" y="353"/>
                    </a:lnTo>
                    <a:lnTo>
                      <a:pt x="668" y="353"/>
                    </a:lnTo>
                    <a:lnTo>
                      <a:pt x="670" y="353"/>
                    </a:lnTo>
                    <a:lnTo>
                      <a:pt x="670" y="353"/>
                    </a:lnTo>
                    <a:lnTo>
                      <a:pt x="673" y="356"/>
                    </a:lnTo>
                    <a:lnTo>
                      <a:pt x="673" y="356"/>
                    </a:lnTo>
                    <a:lnTo>
                      <a:pt x="677" y="356"/>
                    </a:lnTo>
                    <a:lnTo>
                      <a:pt x="677" y="356"/>
                    </a:lnTo>
                    <a:lnTo>
                      <a:pt x="681" y="356"/>
                    </a:lnTo>
                    <a:lnTo>
                      <a:pt x="681" y="356"/>
                    </a:lnTo>
                    <a:lnTo>
                      <a:pt x="684" y="356"/>
                    </a:lnTo>
                    <a:lnTo>
                      <a:pt x="684" y="356"/>
                    </a:lnTo>
                    <a:lnTo>
                      <a:pt x="684" y="356"/>
                    </a:lnTo>
                    <a:lnTo>
                      <a:pt x="684" y="356"/>
                    </a:lnTo>
                    <a:lnTo>
                      <a:pt x="687" y="353"/>
                    </a:lnTo>
                    <a:lnTo>
                      <a:pt x="687" y="353"/>
                    </a:lnTo>
                    <a:lnTo>
                      <a:pt x="690" y="353"/>
                    </a:lnTo>
                    <a:lnTo>
                      <a:pt x="690" y="353"/>
                    </a:lnTo>
                    <a:lnTo>
                      <a:pt x="692" y="349"/>
                    </a:lnTo>
                    <a:lnTo>
                      <a:pt x="692" y="349"/>
                    </a:lnTo>
                    <a:lnTo>
                      <a:pt x="693" y="349"/>
                    </a:lnTo>
                    <a:lnTo>
                      <a:pt x="693" y="349"/>
                    </a:lnTo>
                    <a:lnTo>
                      <a:pt x="693" y="348"/>
                    </a:lnTo>
                    <a:lnTo>
                      <a:pt x="693" y="348"/>
                    </a:lnTo>
                    <a:lnTo>
                      <a:pt x="692" y="346"/>
                    </a:lnTo>
                    <a:lnTo>
                      <a:pt x="692" y="346"/>
                    </a:lnTo>
                    <a:lnTo>
                      <a:pt x="690" y="345"/>
                    </a:lnTo>
                    <a:lnTo>
                      <a:pt x="690" y="345"/>
                    </a:lnTo>
                    <a:lnTo>
                      <a:pt x="690" y="340"/>
                    </a:lnTo>
                    <a:lnTo>
                      <a:pt x="690" y="340"/>
                    </a:lnTo>
                    <a:lnTo>
                      <a:pt x="690" y="338"/>
                    </a:lnTo>
                    <a:lnTo>
                      <a:pt x="690" y="338"/>
                    </a:lnTo>
                    <a:lnTo>
                      <a:pt x="690" y="337"/>
                    </a:lnTo>
                    <a:lnTo>
                      <a:pt x="690" y="337"/>
                    </a:lnTo>
                    <a:lnTo>
                      <a:pt x="690" y="334"/>
                    </a:lnTo>
                    <a:lnTo>
                      <a:pt x="690" y="334"/>
                    </a:lnTo>
                    <a:lnTo>
                      <a:pt x="690" y="330"/>
                    </a:lnTo>
                    <a:lnTo>
                      <a:pt x="690" y="330"/>
                    </a:lnTo>
                    <a:lnTo>
                      <a:pt x="690" y="327"/>
                    </a:lnTo>
                    <a:lnTo>
                      <a:pt x="690" y="327"/>
                    </a:lnTo>
                    <a:lnTo>
                      <a:pt x="692" y="324"/>
                    </a:lnTo>
                    <a:lnTo>
                      <a:pt x="692" y="324"/>
                    </a:lnTo>
                    <a:lnTo>
                      <a:pt x="692" y="324"/>
                    </a:lnTo>
                    <a:lnTo>
                      <a:pt x="692" y="324"/>
                    </a:lnTo>
                    <a:lnTo>
                      <a:pt x="692" y="321"/>
                    </a:lnTo>
                    <a:lnTo>
                      <a:pt x="692" y="321"/>
                    </a:lnTo>
                    <a:lnTo>
                      <a:pt x="690" y="318"/>
                    </a:lnTo>
                    <a:lnTo>
                      <a:pt x="690" y="318"/>
                    </a:lnTo>
                    <a:lnTo>
                      <a:pt x="690" y="316"/>
                    </a:lnTo>
                    <a:lnTo>
                      <a:pt x="690" y="316"/>
                    </a:lnTo>
                    <a:lnTo>
                      <a:pt x="687" y="314"/>
                    </a:lnTo>
                    <a:lnTo>
                      <a:pt x="687" y="314"/>
                    </a:lnTo>
                    <a:lnTo>
                      <a:pt x="684" y="314"/>
                    </a:lnTo>
                    <a:lnTo>
                      <a:pt x="684" y="314"/>
                    </a:lnTo>
                    <a:lnTo>
                      <a:pt x="681" y="314"/>
                    </a:lnTo>
                    <a:lnTo>
                      <a:pt x="681" y="314"/>
                    </a:lnTo>
                    <a:lnTo>
                      <a:pt x="679" y="313"/>
                    </a:lnTo>
                    <a:lnTo>
                      <a:pt x="679" y="313"/>
                    </a:lnTo>
                    <a:lnTo>
                      <a:pt x="681" y="310"/>
                    </a:lnTo>
                    <a:lnTo>
                      <a:pt x="681" y="310"/>
                    </a:lnTo>
                    <a:lnTo>
                      <a:pt x="681" y="308"/>
                    </a:lnTo>
                    <a:lnTo>
                      <a:pt x="681" y="308"/>
                    </a:lnTo>
                    <a:lnTo>
                      <a:pt x="684" y="305"/>
                    </a:lnTo>
                    <a:lnTo>
                      <a:pt x="684" y="305"/>
                    </a:lnTo>
                    <a:lnTo>
                      <a:pt x="687" y="305"/>
                    </a:lnTo>
                    <a:lnTo>
                      <a:pt x="687" y="305"/>
                    </a:lnTo>
                    <a:lnTo>
                      <a:pt x="692" y="303"/>
                    </a:lnTo>
                    <a:lnTo>
                      <a:pt x="692" y="303"/>
                    </a:lnTo>
                    <a:lnTo>
                      <a:pt x="700" y="303"/>
                    </a:lnTo>
                    <a:lnTo>
                      <a:pt x="700" y="303"/>
                    </a:lnTo>
                    <a:lnTo>
                      <a:pt x="708" y="303"/>
                    </a:lnTo>
                    <a:lnTo>
                      <a:pt x="708" y="303"/>
                    </a:lnTo>
                    <a:lnTo>
                      <a:pt x="711" y="303"/>
                    </a:lnTo>
                    <a:lnTo>
                      <a:pt x="711" y="303"/>
                    </a:lnTo>
                    <a:lnTo>
                      <a:pt x="716" y="303"/>
                    </a:lnTo>
                    <a:lnTo>
                      <a:pt x="716" y="303"/>
                    </a:lnTo>
                    <a:lnTo>
                      <a:pt x="719" y="303"/>
                    </a:lnTo>
                    <a:lnTo>
                      <a:pt x="719" y="303"/>
                    </a:lnTo>
                    <a:lnTo>
                      <a:pt x="722" y="305"/>
                    </a:lnTo>
                    <a:lnTo>
                      <a:pt x="722" y="305"/>
                    </a:lnTo>
                    <a:lnTo>
                      <a:pt x="728" y="308"/>
                    </a:lnTo>
                    <a:lnTo>
                      <a:pt x="728" y="308"/>
                    </a:lnTo>
                    <a:lnTo>
                      <a:pt x="728" y="307"/>
                    </a:lnTo>
                    <a:lnTo>
                      <a:pt x="728" y="307"/>
                    </a:lnTo>
                    <a:lnTo>
                      <a:pt x="730" y="307"/>
                    </a:lnTo>
                    <a:lnTo>
                      <a:pt x="730" y="307"/>
                    </a:lnTo>
                    <a:lnTo>
                      <a:pt x="731" y="307"/>
                    </a:lnTo>
                    <a:lnTo>
                      <a:pt x="731" y="307"/>
                    </a:lnTo>
                    <a:lnTo>
                      <a:pt x="735" y="308"/>
                    </a:lnTo>
                    <a:lnTo>
                      <a:pt x="735" y="308"/>
                    </a:lnTo>
                    <a:lnTo>
                      <a:pt x="738" y="308"/>
                    </a:lnTo>
                    <a:lnTo>
                      <a:pt x="738" y="308"/>
                    </a:lnTo>
                    <a:lnTo>
                      <a:pt x="739" y="311"/>
                    </a:lnTo>
                    <a:lnTo>
                      <a:pt x="739" y="311"/>
                    </a:lnTo>
                    <a:lnTo>
                      <a:pt x="743" y="311"/>
                    </a:lnTo>
                    <a:lnTo>
                      <a:pt x="743" y="311"/>
                    </a:lnTo>
                    <a:lnTo>
                      <a:pt x="746" y="314"/>
                    </a:lnTo>
                    <a:lnTo>
                      <a:pt x="746" y="314"/>
                    </a:lnTo>
                    <a:lnTo>
                      <a:pt x="747" y="314"/>
                    </a:lnTo>
                    <a:lnTo>
                      <a:pt x="747" y="314"/>
                    </a:lnTo>
                    <a:lnTo>
                      <a:pt x="749" y="316"/>
                    </a:lnTo>
                    <a:lnTo>
                      <a:pt x="749" y="316"/>
                    </a:lnTo>
                    <a:lnTo>
                      <a:pt x="754" y="321"/>
                    </a:lnTo>
                    <a:lnTo>
                      <a:pt x="754" y="321"/>
                    </a:lnTo>
                    <a:lnTo>
                      <a:pt x="757" y="321"/>
                    </a:lnTo>
                    <a:lnTo>
                      <a:pt x="757" y="321"/>
                    </a:lnTo>
                    <a:lnTo>
                      <a:pt x="760" y="324"/>
                    </a:lnTo>
                    <a:lnTo>
                      <a:pt x="760" y="324"/>
                    </a:lnTo>
                    <a:lnTo>
                      <a:pt x="763" y="329"/>
                    </a:lnTo>
                    <a:lnTo>
                      <a:pt x="763" y="329"/>
                    </a:lnTo>
                    <a:lnTo>
                      <a:pt x="768" y="332"/>
                    </a:lnTo>
                    <a:lnTo>
                      <a:pt x="768" y="332"/>
                    </a:lnTo>
                    <a:lnTo>
                      <a:pt x="771" y="335"/>
                    </a:lnTo>
                    <a:lnTo>
                      <a:pt x="771" y="335"/>
                    </a:lnTo>
                    <a:lnTo>
                      <a:pt x="774" y="337"/>
                    </a:lnTo>
                    <a:lnTo>
                      <a:pt x="774" y="337"/>
                    </a:lnTo>
                    <a:lnTo>
                      <a:pt x="777" y="340"/>
                    </a:lnTo>
                    <a:lnTo>
                      <a:pt x="777" y="340"/>
                    </a:lnTo>
                    <a:lnTo>
                      <a:pt x="779" y="343"/>
                    </a:lnTo>
                    <a:lnTo>
                      <a:pt x="779" y="343"/>
                    </a:lnTo>
                    <a:lnTo>
                      <a:pt x="782" y="346"/>
                    </a:lnTo>
                    <a:lnTo>
                      <a:pt x="782" y="346"/>
                    </a:lnTo>
                    <a:lnTo>
                      <a:pt x="785" y="348"/>
                    </a:lnTo>
                    <a:lnTo>
                      <a:pt x="785" y="348"/>
                    </a:lnTo>
                    <a:lnTo>
                      <a:pt x="785" y="349"/>
                    </a:lnTo>
                    <a:lnTo>
                      <a:pt x="785" y="349"/>
                    </a:lnTo>
                    <a:lnTo>
                      <a:pt x="789" y="353"/>
                    </a:lnTo>
                    <a:lnTo>
                      <a:pt x="789" y="353"/>
                    </a:lnTo>
                    <a:lnTo>
                      <a:pt x="792" y="356"/>
                    </a:lnTo>
                    <a:lnTo>
                      <a:pt x="792" y="356"/>
                    </a:lnTo>
                    <a:lnTo>
                      <a:pt x="793" y="356"/>
                    </a:lnTo>
                    <a:lnTo>
                      <a:pt x="793" y="356"/>
                    </a:lnTo>
                    <a:lnTo>
                      <a:pt x="801" y="356"/>
                    </a:lnTo>
                    <a:lnTo>
                      <a:pt x="801" y="356"/>
                    </a:lnTo>
                    <a:lnTo>
                      <a:pt x="804" y="356"/>
                    </a:lnTo>
                    <a:lnTo>
                      <a:pt x="804" y="356"/>
                    </a:lnTo>
                    <a:lnTo>
                      <a:pt x="806" y="359"/>
                    </a:lnTo>
                    <a:lnTo>
                      <a:pt x="806" y="359"/>
                    </a:lnTo>
                    <a:lnTo>
                      <a:pt x="809" y="359"/>
                    </a:lnTo>
                    <a:lnTo>
                      <a:pt x="809" y="359"/>
                    </a:lnTo>
                    <a:lnTo>
                      <a:pt x="812" y="359"/>
                    </a:lnTo>
                    <a:lnTo>
                      <a:pt x="812" y="359"/>
                    </a:lnTo>
                    <a:lnTo>
                      <a:pt x="812" y="359"/>
                    </a:lnTo>
                    <a:lnTo>
                      <a:pt x="812" y="359"/>
                    </a:lnTo>
                    <a:lnTo>
                      <a:pt x="812" y="359"/>
                    </a:lnTo>
                    <a:lnTo>
                      <a:pt x="812" y="359"/>
                    </a:lnTo>
                    <a:lnTo>
                      <a:pt x="816" y="359"/>
                    </a:lnTo>
                    <a:lnTo>
                      <a:pt x="816" y="359"/>
                    </a:lnTo>
                    <a:lnTo>
                      <a:pt x="819" y="362"/>
                    </a:lnTo>
                    <a:lnTo>
                      <a:pt x="819" y="362"/>
                    </a:lnTo>
                    <a:lnTo>
                      <a:pt x="824" y="365"/>
                    </a:lnTo>
                    <a:lnTo>
                      <a:pt x="824" y="365"/>
                    </a:lnTo>
                    <a:lnTo>
                      <a:pt x="828" y="365"/>
                    </a:lnTo>
                    <a:lnTo>
                      <a:pt x="828" y="365"/>
                    </a:lnTo>
                    <a:lnTo>
                      <a:pt x="831" y="365"/>
                    </a:lnTo>
                    <a:lnTo>
                      <a:pt x="831" y="365"/>
                    </a:lnTo>
                    <a:lnTo>
                      <a:pt x="831" y="367"/>
                    </a:lnTo>
                    <a:lnTo>
                      <a:pt x="831" y="367"/>
                    </a:lnTo>
                    <a:lnTo>
                      <a:pt x="831" y="368"/>
                    </a:lnTo>
                    <a:lnTo>
                      <a:pt x="831" y="368"/>
                    </a:lnTo>
                    <a:lnTo>
                      <a:pt x="833" y="370"/>
                    </a:lnTo>
                    <a:lnTo>
                      <a:pt x="833" y="370"/>
                    </a:lnTo>
                    <a:lnTo>
                      <a:pt x="836" y="373"/>
                    </a:lnTo>
                    <a:lnTo>
                      <a:pt x="836" y="373"/>
                    </a:lnTo>
                    <a:lnTo>
                      <a:pt x="838" y="375"/>
                    </a:lnTo>
                    <a:lnTo>
                      <a:pt x="838" y="375"/>
                    </a:lnTo>
                    <a:lnTo>
                      <a:pt x="838" y="376"/>
                    </a:lnTo>
                    <a:lnTo>
                      <a:pt x="838" y="376"/>
                    </a:lnTo>
                    <a:lnTo>
                      <a:pt x="839" y="378"/>
                    </a:lnTo>
                    <a:lnTo>
                      <a:pt x="839" y="378"/>
                    </a:lnTo>
                    <a:lnTo>
                      <a:pt x="841" y="381"/>
                    </a:lnTo>
                    <a:lnTo>
                      <a:pt x="841" y="381"/>
                    </a:lnTo>
                    <a:lnTo>
                      <a:pt x="847" y="383"/>
                    </a:lnTo>
                    <a:lnTo>
                      <a:pt x="847" y="383"/>
                    </a:lnTo>
                    <a:lnTo>
                      <a:pt x="851" y="383"/>
                    </a:lnTo>
                    <a:lnTo>
                      <a:pt x="851" y="383"/>
                    </a:lnTo>
                    <a:lnTo>
                      <a:pt x="851" y="383"/>
                    </a:lnTo>
                    <a:lnTo>
                      <a:pt x="851" y="383"/>
                    </a:lnTo>
                    <a:lnTo>
                      <a:pt x="852" y="383"/>
                    </a:lnTo>
                    <a:lnTo>
                      <a:pt x="852" y="383"/>
                    </a:lnTo>
                    <a:lnTo>
                      <a:pt x="854" y="383"/>
                    </a:lnTo>
                    <a:lnTo>
                      <a:pt x="854" y="383"/>
                    </a:lnTo>
                    <a:lnTo>
                      <a:pt x="858" y="383"/>
                    </a:lnTo>
                    <a:lnTo>
                      <a:pt x="858" y="383"/>
                    </a:lnTo>
                    <a:lnTo>
                      <a:pt x="862" y="383"/>
                    </a:lnTo>
                    <a:lnTo>
                      <a:pt x="862" y="383"/>
                    </a:lnTo>
                    <a:lnTo>
                      <a:pt x="862" y="381"/>
                    </a:lnTo>
                    <a:lnTo>
                      <a:pt x="862" y="381"/>
                    </a:lnTo>
                    <a:lnTo>
                      <a:pt x="863" y="380"/>
                    </a:lnTo>
                    <a:lnTo>
                      <a:pt x="863" y="380"/>
                    </a:lnTo>
                    <a:lnTo>
                      <a:pt x="865" y="378"/>
                    </a:lnTo>
                    <a:lnTo>
                      <a:pt x="865" y="378"/>
                    </a:lnTo>
                    <a:lnTo>
                      <a:pt x="870" y="378"/>
                    </a:lnTo>
                    <a:lnTo>
                      <a:pt x="870" y="378"/>
                    </a:lnTo>
                    <a:lnTo>
                      <a:pt x="873" y="375"/>
                    </a:lnTo>
                    <a:lnTo>
                      <a:pt x="873" y="375"/>
                    </a:lnTo>
                    <a:lnTo>
                      <a:pt x="876" y="373"/>
                    </a:lnTo>
                    <a:lnTo>
                      <a:pt x="876" y="373"/>
                    </a:lnTo>
                    <a:lnTo>
                      <a:pt x="879" y="373"/>
                    </a:lnTo>
                    <a:lnTo>
                      <a:pt x="879" y="373"/>
                    </a:lnTo>
                    <a:lnTo>
                      <a:pt x="882" y="375"/>
                    </a:lnTo>
                    <a:lnTo>
                      <a:pt x="882" y="375"/>
                    </a:lnTo>
                    <a:lnTo>
                      <a:pt x="882" y="376"/>
                    </a:lnTo>
                    <a:lnTo>
                      <a:pt x="882" y="376"/>
                    </a:lnTo>
                    <a:lnTo>
                      <a:pt x="882" y="380"/>
                    </a:lnTo>
                    <a:lnTo>
                      <a:pt x="882" y="380"/>
                    </a:lnTo>
                    <a:lnTo>
                      <a:pt x="885" y="381"/>
                    </a:lnTo>
                    <a:lnTo>
                      <a:pt x="885" y="381"/>
                    </a:lnTo>
                    <a:lnTo>
                      <a:pt x="887" y="384"/>
                    </a:lnTo>
                    <a:lnTo>
                      <a:pt x="887" y="384"/>
                    </a:lnTo>
                    <a:lnTo>
                      <a:pt x="887" y="384"/>
                    </a:lnTo>
                    <a:lnTo>
                      <a:pt x="887" y="384"/>
                    </a:lnTo>
                    <a:lnTo>
                      <a:pt x="885" y="388"/>
                    </a:lnTo>
                    <a:lnTo>
                      <a:pt x="885" y="388"/>
                    </a:lnTo>
                    <a:lnTo>
                      <a:pt x="885" y="388"/>
                    </a:lnTo>
                    <a:lnTo>
                      <a:pt x="885" y="388"/>
                    </a:lnTo>
                    <a:lnTo>
                      <a:pt x="885" y="391"/>
                    </a:lnTo>
                    <a:lnTo>
                      <a:pt x="885" y="391"/>
                    </a:lnTo>
                    <a:lnTo>
                      <a:pt x="885" y="394"/>
                    </a:lnTo>
                    <a:lnTo>
                      <a:pt x="885" y="394"/>
                    </a:lnTo>
                    <a:lnTo>
                      <a:pt x="889" y="397"/>
                    </a:lnTo>
                    <a:lnTo>
                      <a:pt x="889" y="397"/>
                    </a:lnTo>
                    <a:lnTo>
                      <a:pt x="889" y="400"/>
                    </a:lnTo>
                    <a:lnTo>
                      <a:pt x="889" y="400"/>
                    </a:lnTo>
                    <a:lnTo>
                      <a:pt x="890" y="402"/>
                    </a:lnTo>
                    <a:lnTo>
                      <a:pt x="890" y="402"/>
                    </a:lnTo>
                    <a:lnTo>
                      <a:pt x="890" y="403"/>
                    </a:lnTo>
                    <a:lnTo>
                      <a:pt x="890" y="403"/>
                    </a:lnTo>
                    <a:lnTo>
                      <a:pt x="889" y="405"/>
                    </a:lnTo>
                    <a:lnTo>
                      <a:pt x="889" y="405"/>
                    </a:lnTo>
                    <a:lnTo>
                      <a:pt x="890" y="405"/>
                    </a:lnTo>
                    <a:lnTo>
                      <a:pt x="890" y="405"/>
                    </a:lnTo>
                    <a:lnTo>
                      <a:pt x="890" y="407"/>
                    </a:lnTo>
                    <a:lnTo>
                      <a:pt x="890" y="407"/>
                    </a:lnTo>
                    <a:lnTo>
                      <a:pt x="890" y="408"/>
                    </a:lnTo>
                    <a:lnTo>
                      <a:pt x="890" y="408"/>
                    </a:lnTo>
                    <a:lnTo>
                      <a:pt x="890" y="411"/>
                    </a:lnTo>
                    <a:lnTo>
                      <a:pt x="890" y="411"/>
                    </a:lnTo>
                    <a:lnTo>
                      <a:pt x="890" y="411"/>
                    </a:lnTo>
                    <a:lnTo>
                      <a:pt x="890" y="411"/>
                    </a:lnTo>
                    <a:lnTo>
                      <a:pt x="889" y="415"/>
                    </a:lnTo>
                    <a:lnTo>
                      <a:pt x="889" y="415"/>
                    </a:lnTo>
                    <a:lnTo>
                      <a:pt x="889" y="415"/>
                    </a:lnTo>
                    <a:lnTo>
                      <a:pt x="889" y="415"/>
                    </a:lnTo>
                    <a:lnTo>
                      <a:pt x="890" y="418"/>
                    </a:lnTo>
                    <a:lnTo>
                      <a:pt x="890" y="418"/>
                    </a:lnTo>
                    <a:lnTo>
                      <a:pt x="890" y="419"/>
                    </a:lnTo>
                    <a:lnTo>
                      <a:pt x="890" y="419"/>
                    </a:lnTo>
                    <a:lnTo>
                      <a:pt x="887" y="419"/>
                    </a:lnTo>
                    <a:lnTo>
                      <a:pt x="887" y="419"/>
                    </a:lnTo>
                    <a:lnTo>
                      <a:pt x="882" y="418"/>
                    </a:lnTo>
                    <a:lnTo>
                      <a:pt x="882" y="418"/>
                    </a:lnTo>
                    <a:lnTo>
                      <a:pt x="879" y="418"/>
                    </a:lnTo>
                    <a:lnTo>
                      <a:pt x="879" y="418"/>
                    </a:lnTo>
                    <a:lnTo>
                      <a:pt x="876" y="418"/>
                    </a:lnTo>
                    <a:lnTo>
                      <a:pt x="876" y="418"/>
                    </a:lnTo>
                    <a:lnTo>
                      <a:pt x="876" y="418"/>
                    </a:lnTo>
                    <a:lnTo>
                      <a:pt x="876" y="418"/>
                    </a:lnTo>
                    <a:lnTo>
                      <a:pt x="874" y="419"/>
                    </a:lnTo>
                    <a:lnTo>
                      <a:pt x="874" y="419"/>
                    </a:lnTo>
                    <a:lnTo>
                      <a:pt x="873" y="421"/>
                    </a:lnTo>
                    <a:lnTo>
                      <a:pt x="873" y="421"/>
                    </a:lnTo>
                    <a:lnTo>
                      <a:pt x="870" y="421"/>
                    </a:lnTo>
                    <a:lnTo>
                      <a:pt x="870" y="421"/>
                    </a:lnTo>
                    <a:lnTo>
                      <a:pt x="870" y="422"/>
                    </a:lnTo>
                    <a:lnTo>
                      <a:pt x="870" y="422"/>
                    </a:lnTo>
                    <a:lnTo>
                      <a:pt x="871" y="424"/>
                    </a:lnTo>
                    <a:lnTo>
                      <a:pt x="871" y="424"/>
                    </a:lnTo>
                    <a:lnTo>
                      <a:pt x="873" y="426"/>
                    </a:lnTo>
                    <a:lnTo>
                      <a:pt x="873" y="426"/>
                    </a:lnTo>
                    <a:lnTo>
                      <a:pt x="876" y="432"/>
                    </a:lnTo>
                    <a:lnTo>
                      <a:pt x="876" y="432"/>
                    </a:lnTo>
                    <a:lnTo>
                      <a:pt x="882" y="438"/>
                    </a:lnTo>
                    <a:lnTo>
                      <a:pt x="882" y="438"/>
                    </a:lnTo>
                    <a:lnTo>
                      <a:pt x="885" y="443"/>
                    </a:lnTo>
                    <a:lnTo>
                      <a:pt x="885" y="443"/>
                    </a:lnTo>
                    <a:lnTo>
                      <a:pt x="885" y="446"/>
                    </a:lnTo>
                    <a:lnTo>
                      <a:pt x="885" y="446"/>
                    </a:lnTo>
                    <a:lnTo>
                      <a:pt x="885" y="449"/>
                    </a:lnTo>
                    <a:lnTo>
                      <a:pt x="885" y="449"/>
                    </a:lnTo>
                    <a:lnTo>
                      <a:pt x="885" y="449"/>
                    </a:lnTo>
                    <a:lnTo>
                      <a:pt x="885" y="449"/>
                    </a:lnTo>
                    <a:lnTo>
                      <a:pt x="882" y="453"/>
                    </a:lnTo>
                    <a:lnTo>
                      <a:pt x="882" y="453"/>
                    </a:lnTo>
                    <a:lnTo>
                      <a:pt x="879" y="453"/>
                    </a:lnTo>
                    <a:lnTo>
                      <a:pt x="879" y="453"/>
                    </a:lnTo>
                    <a:lnTo>
                      <a:pt x="881" y="453"/>
                    </a:lnTo>
                    <a:lnTo>
                      <a:pt x="881" y="453"/>
                    </a:lnTo>
                    <a:lnTo>
                      <a:pt x="885" y="454"/>
                    </a:lnTo>
                    <a:lnTo>
                      <a:pt x="885" y="454"/>
                    </a:lnTo>
                    <a:lnTo>
                      <a:pt x="887" y="453"/>
                    </a:lnTo>
                    <a:lnTo>
                      <a:pt x="887" y="453"/>
                    </a:lnTo>
                    <a:lnTo>
                      <a:pt x="890" y="454"/>
                    </a:lnTo>
                    <a:lnTo>
                      <a:pt x="890" y="454"/>
                    </a:lnTo>
                    <a:lnTo>
                      <a:pt x="890" y="453"/>
                    </a:lnTo>
                    <a:lnTo>
                      <a:pt x="890" y="453"/>
                    </a:lnTo>
                    <a:lnTo>
                      <a:pt x="889" y="449"/>
                    </a:lnTo>
                    <a:lnTo>
                      <a:pt x="889" y="449"/>
                    </a:lnTo>
                    <a:lnTo>
                      <a:pt x="890" y="449"/>
                    </a:lnTo>
                    <a:lnTo>
                      <a:pt x="890" y="449"/>
                    </a:lnTo>
                    <a:lnTo>
                      <a:pt x="890" y="446"/>
                    </a:lnTo>
                    <a:lnTo>
                      <a:pt x="890" y="446"/>
                    </a:lnTo>
                    <a:lnTo>
                      <a:pt x="892" y="446"/>
                    </a:lnTo>
                    <a:lnTo>
                      <a:pt x="892" y="446"/>
                    </a:lnTo>
                    <a:lnTo>
                      <a:pt x="892" y="443"/>
                    </a:lnTo>
                    <a:lnTo>
                      <a:pt x="892" y="443"/>
                    </a:lnTo>
                    <a:lnTo>
                      <a:pt x="893" y="446"/>
                    </a:lnTo>
                    <a:lnTo>
                      <a:pt x="893" y="446"/>
                    </a:lnTo>
                    <a:lnTo>
                      <a:pt x="893" y="446"/>
                    </a:lnTo>
                    <a:lnTo>
                      <a:pt x="893" y="446"/>
                    </a:lnTo>
                    <a:lnTo>
                      <a:pt x="895" y="449"/>
                    </a:lnTo>
                    <a:lnTo>
                      <a:pt x="895" y="449"/>
                    </a:lnTo>
                    <a:lnTo>
                      <a:pt x="897" y="446"/>
                    </a:lnTo>
                    <a:lnTo>
                      <a:pt x="897" y="446"/>
                    </a:lnTo>
                    <a:lnTo>
                      <a:pt x="897" y="443"/>
                    </a:lnTo>
                    <a:lnTo>
                      <a:pt x="897" y="443"/>
                    </a:lnTo>
                    <a:lnTo>
                      <a:pt x="900" y="446"/>
                    </a:lnTo>
                    <a:lnTo>
                      <a:pt x="900" y="446"/>
                    </a:lnTo>
                    <a:lnTo>
                      <a:pt x="901" y="449"/>
                    </a:lnTo>
                    <a:lnTo>
                      <a:pt x="901" y="449"/>
                    </a:lnTo>
                    <a:lnTo>
                      <a:pt x="903" y="449"/>
                    </a:lnTo>
                    <a:lnTo>
                      <a:pt x="903" y="449"/>
                    </a:lnTo>
                    <a:lnTo>
                      <a:pt x="906" y="453"/>
                    </a:lnTo>
                    <a:lnTo>
                      <a:pt x="906" y="453"/>
                    </a:lnTo>
                    <a:lnTo>
                      <a:pt x="911" y="453"/>
                    </a:lnTo>
                    <a:lnTo>
                      <a:pt x="911" y="453"/>
                    </a:lnTo>
                    <a:lnTo>
                      <a:pt x="911" y="453"/>
                    </a:lnTo>
                    <a:lnTo>
                      <a:pt x="911" y="453"/>
                    </a:lnTo>
                    <a:lnTo>
                      <a:pt x="914" y="453"/>
                    </a:lnTo>
                    <a:lnTo>
                      <a:pt x="914" y="453"/>
                    </a:lnTo>
                    <a:lnTo>
                      <a:pt x="920" y="449"/>
                    </a:lnTo>
                    <a:lnTo>
                      <a:pt x="920" y="449"/>
                    </a:lnTo>
                    <a:lnTo>
                      <a:pt x="927" y="443"/>
                    </a:lnTo>
                    <a:lnTo>
                      <a:pt x="927" y="443"/>
                    </a:lnTo>
                    <a:lnTo>
                      <a:pt x="928" y="440"/>
                    </a:lnTo>
                    <a:lnTo>
                      <a:pt x="928" y="440"/>
                    </a:lnTo>
                    <a:lnTo>
                      <a:pt x="930" y="437"/>
                    </a:lnTo>
                    <a:lnTo>
                      <a:pt x="930" y="437"/>
                    </a:lnTo>
                    <a:lnTo>
                      <a:pt x="928" y="435"/>
                    </a:lnTo>
                    <a:lnTo>
                      <a:pt x="928" y="435"/>
                    </a:lnTo>
                    <a:lnTo>
                      <a:pt x="930" y="434"/>
                    </a:lnTo>
                    <a:lnTo>
                      <a:pt x="930" y="434"/>
                    </a:lnTo>
                    <a:lnTo>
                      <a:pt x="930" y="430"/>
                    </a:lnTo>
                    <a:lnTo>
                      <a:pt x="930" y="430"/>
                    </a:lnTo>
                    <a:lnTo>
                      <a:pt x="930" y="429"/>
                    </a:lnTo>
                    <a:lnTo>
                      <a:pt x="930" y="429"/>
                    </a:lnTo>
                    <a:lnTo>
                      <a:pt x="931" y="427"/>
                    </a:lnTo>
                    <a:lnTo>
                      <a:pt x="931" y="427"/>
                    </a:lnTo>
                    <a:lnTo>
                      <a:pt x="931" y="426"/>
                    </a:lnTo>
                    <a:lnTo>
                      <a:pt x="931" y="426"/>
                    </a:lnTo>
                    <a:lnTo>
                      <a:pt x="931" y="424"/>
                    </a:lnTo>
                    <a:lnTo>
                      <a:pt x="931" y="424"/>
                    </a:lnTo>
                    <a:lnTo>
                      <a:pt x="933" y="422"/>
                    </a:lnTo>
                    <a:lnTo>
                      <a:pt x="933" y="422"/>
                    </a:lnTo>
                    <a:lnTo>
                      <a:pt x="933" y="419"/>
                    </a:lnTo>
                    <a:lnTo>
                      <a:pt x="933" y="419"/>
                    </a:lnTo>
                    <a:lnTo>
                      <a:pt x="935" y="415"/>
                    </a:lnTo>
                    <a:lnTo>
                      <a:pt x="935" y="415"/>
                    </a:lnTo>
                    <a:lnTo>
                      <a:pt x="935" y="411"/>
                    </a:lnTo>
                    <a:lnTo>
                      <a:pt x="935" y="411"/>
                    </a:lnTo>
                    <a:lnTo>
                      <a:pt x="938" y="408"/>
                    </a:lnTo>
                    <a:lnTo>
                      <a:pt x="938" y="408"/>
                    </a:lnTo>
                    <a:lnTo>
                      <a:pt x="938" y="402"/>
                    </a:lnTo>
                    <a:lnTo>
                      <a:pt x="938" y="402"/>
                    </a:lnTo>
                    <a:lnTo>
                      <a:pt x="938" y="399"/>
                    </a:lnTo>
                    <a:lnTo>
                      <a:pt x="938" y="399"/>
                    </a:lnTo>
                    <a:lnTo>
                      <a:pt x="938" y="395"/>
                    </a:lnTo>
                    <a:lnTo>
                      <a:pt x="938" y="395"/>
                    </a:lnTo>
                    <a:lnTo>
                      <a:pt x="935" y="394"/>
                    </a:lnTo>
                    <a:lnTo>
                      <a:pt x="935" y="394"/>
                    </a:lnTo>
                    <a:lnTo>
                      <a:pt x="938" y="391"/>
                    </a:lnTo>
                    <a:lnTo>
                      <a:pt x="938" y="391"/>
                    </a:lnTo>
                    <a:lnTo>
                      <a:pt x="938" y="388"/>
                    </a:lnTo>
                    <a:lnTo>
                      <a:pt x="938" y="388"/>
                    </a:lnTo>
                    <a:lnTo>
                      <a:pt x="938" y="384"/>
                    </a:lnTo>
                    <a:lnTo>
                      <a:pt x="938" y="384"/>
                    </a:lnTo>
                    <a:lnTo>
                      <a:pt x="938" y="383"/>
                    </a:lnTo>
                    <a:lnTo>
                      <a:pt x="938" y="383"/>
                    </a:lnTo>
                    <a:lnTo>
                      <a:pt x="938" y="380"/>
                    </a:lnTo>
                    <a:lnTo>
                      <a:pt x="938" y="380"/>
                    </a:lnTo>
                    <a:lnTo>
                      <a:pt x="941" y="375"/>
                    </a:lnTo>
                    <a:lnTo>
                      <a:pt x="941" y="375"/>
                    </a:lnTo>
                    <a:lnTo>
                      <a:pt x="941" y="372"/>
                    </a:lnTo>
                    <a:lnTo>
                      <a:pt x="941" y="372"/>
                    </a:lnTo>
                    <a:lnTo>
                      <a:pt x="941" y="368"/>
                    </a:lnTo>
                    <a:lnTo>
                      <a:pt x="941" y="368"/>
                    </a:lnTo>
                    <a:lnTo>
                      <a:pt x="938" y="365"/>
                    </a:lnTo>
                    <a:lnTo>
                      <a:pt x="938" y="365"/>
                    </a:lnTo>
                    <a:lnTo>
                      <a:pt x="938" y="364"/>
                    </a:lnTo>
                    <a:lnTo>
                      <a:pt x="938" y="364"/>
                    </a:lnTo>
                    <a:lnTo>
                      <a:pt x="938" y="362"/>
                    </a:lnTo>
                    <a:lnTo>
                      <a:pt x="938" y="362"/>
                    </a:lnTo>
                    <a:lnTo>
                      <a:pt x="935" y="362"/>
                    </a:lnTo>
                    <a:lnTo>
                      <a:pt x="935" y="362"/>
                    </a:lnTo>
                    <a:lnTo>
                      <a:pt x="935" y="359"/>
                    </a:lnTo>
                    <a:lnTo>
                      <a:pt x="935" y="359"/>
                    </a:lnTo>
                    <a:lnTo>
                      <a:pt x="935" y="356"/>
                    </a:lnTo>
                    <a:lnTo>
                      <a:pt x="935" y="356"/>
                    </a:lnTo>
                    <a:lnTo>
                      <a:pt x="931" y="353"/>
                    </a:lnTo>
                    <a:lnTo>
                      <a:pt x="931" y="353"/>
                    </a:lnTo>
                    <a:lnTo>
                      <a:pt x="930" y="349"/>
                    </a:lnTo>
                    <a:lnTo>
                      <a:pt x="930" y="349"/>
                    </a:lnTo>
                    <a:lnTo>
                      <a:pt x="931" y="349"/>
                    </a:lnTo>
                    <a:lnTo>
                      <a:pt x="931" y="349"/>
                    </a:lnTo>
                    <a:lnTo>
                      <a:pt x="928" y="349"/>
                    </a:lnTo>
                    <a:lnTo>
                      <a:pt x="928" y="349"/>
                    </a:lnTo>
                    <a:lnTo>
                      <a:pt x="927" y="346"/>
                    </a:lnTo>
                    <a:lnTo>
                      <a:pt x="927" y="346"/>
                    </a:lnTo>
                    <a:lnTo>
                      <a:pt x="922" y="341"/>
                    </a:lnTo>
                    <a:lnTo>
                      <a:pt x="922" y="341"/>
                    </a:lnTo>
                    <a:lnTo>
                      <a:pt x="922" y="338"/>
                    </a:lnTo>
                    <a:lnTo>
                      <a:pt x="922" y="338"/>
                    </a:lnTo>
                    <a:lnTo>
                      <a:pt x="920" y="335"/>
                    </a:lnTo>
                    <a:lnTo>
                      <a:pt x="920" y="335"/>
                    </a:lnTo>
                    <a:lnTo>
                      <a:pt x="920" y="334"/>
                    </a:lnTo>
                    <a:lnTo>
                      <a:pt x="920" y="334"/>
                    </a:lnTo>
                    <a:lnTo>
                      <a:pt x="920" y="332"/>
                    </a:lnTo>
                    <a:lnTo>
                      <a:pt x="920" y="332"/>
                    </a:lnTo>
                    <a:lnTo>
                      <a:pt x="920" y="330"/>
                    </a:lnTo>
                    <a:lnTo>
                      <a:pt x="920" y="330"/>
                    </a:lnTo>
                    <a:lnTo>
                      <a:pt x="917" y="329"/>
                    </a:lnTo>
                    <a:lnTo>
                      <a:pt x="917" y="329"/>
                    </a:lnTo>
                    <a:lnTo>
                      <a:pt x="917" y="327"/>
                    </a:lnTo>
                    <a:lnTo>
                      <a:pt x="917" y="327"/>
                    </a:lnTo>
                    <a:lnTo>
                      <a:pt x="920" y="324"/>
                    </a:lnTo>
                    <a:lnTo>
                      <a:pt x="920" y="324"/>
                    </a:lnTo>
                    <a:lnTo>
                      <a:pt x="920" y="324"/>
                    </a:lnTo>
                    <a:lnTo>
                      <a:pt x="920" y="324"/>
                    </a:lnTo>
                    <a:lnTo>
                      <a:pt x="917" y="321"/>
                    </a:lnTo>
                    <a:lnTo>
                      <a:pt x="917" y="321"/>
                    </a:lnTo>
                    <a:lnTo>
                      <a:pt x="917" y="321"/>
                    </a:lnTo>
                    <a:lnTo>
                      <a:pt x="917" y="321"/>
                    </a:lnTo>
                    <a:lnTo>
                      <a:pt x="917" y="318"/>
                    </a:lnTo>
                    <a:lnTo>
                      <a:pt x="917" y="318"/>
                    </a:lnTo>
                    <a:lnTo>
                      <a:pt x="914" y="318"/>
                    </a:lnTo>
                    <a:lnTo>
                      <a:pt x="914" y="318"/>
                    </a:lnTo>
                    <a:lnTo>
                      <a:pt x="911" y="318"/>
                    </a:lnTo>
                    <a:lnTo>
                      <a:pt x="911" y="318"/>
                    </a:lnTo>
                    <a:lnTo>
                      <a:pt x="911" y="316"/>
                    </a:lnTo>
                    <a:lnTo>
                      <a:pt x="911" y="316"/>
                    </a:lnTo>
                    <a:lnTo>
                      <a:pt x="911" y="313"/>
                    </a:lnTo>
                    <a:lnTo>
                      <a:pt x="911" y="313"/>
                    </a:lnTo>
                    <a:lnTo>
                      <a:pt x="906" y="311"/>
                    </a:lnTo>
                    <a:lnTo>
                      <a:pt x="906" y="311"/>
                    </a:lnTo>
                    <a:lnTo>
                      <a:pt x="900" y="307"/>
                    </a:lnTo>
                    <a:lnTo>
                      <a:pt x="900" y="307"/>
                    </a:lnTo>
                    <a:lnTo>
                      <a:pt x="903" y="308"/>
                    </a:lnTo>
                    <a:lnTo>
                      <a:pt x="903" y="308"/>
                    </a:lnTo>
                    <a:lnTo>
                      <a:pt x="906" y="310"/>
                    </a:lnTo>
                    <a:lnTo>
                      <a:pt x="906" y="310"/>
                    </a:lnTo>
                    <a:lnTo>
                      <a:pt x="906" y="308"/>
                    </a:lnTo>
                    <a:lnTo>
                      <a:pt x="906" y="308"/>
                    </a:lnTo>
                    <a:lnTo>
                      <a:pt x="906" y="305"/>
                    </a:lnTo>
                    <a:lnTo>
                      <a:pt x="906" y="305"/>
                    </a:lnTo>
                    <a:lnTo>
                      <a:pt x="903" y="305"/>
                    </a:lnTo>
                    <a:lnTo>
                      <a:pt x="903" y="305"/>
                    </a:lnTo>
                    <a:lnTo>
                      <a:pt x="898" y="303"/>
                    </a:lnTo>
                    <a:lnTo>
                      <a:pt x="898" y="303"/>
                    </a:lnTo>
                    <a:lnTo>
                      <a:pt x="892" y="300"/>
                    </a:lnTo>
                    <a:lnTo>
                      <a:pt x="892" y="300"/>
                    </a:lnTo>
                    <a:lnTo>
                      <a:pt x="885" y="297"/>
                    </a:lnTo>
                    <a:lnTo>
                      <a:pt x="885" y="297"/>
                    </a:lnTo>
                    <a:lnTo>
                      <a:pt x="882" y="294"/>
                    </a:lnTo>
                    <a:lnTo>
                      <a:pt x="882" y="294"/>
                    </a:lnTo>
                    <a:lnTo>
                      <a:pt x="879" y="292"/>
                    </a:lnTo>
                    <a:lnTo>
                      <a:pt x="879" y="292"/>
                    </a:lnTo>
                    <a:lnTo>
                      <a:pt x="876" y="292"/>
                    </a:lnTo>
                    <a:lnTo>
                      <a:pt x="876" y="292"/>
                    </a:lnTo>
                    <a:lnTo>
                      <a:pt x="873" y="292"/>
                    </a:lnTo>
                    <a:lnTo>
                      <a:pt x="873" y="292"/>
                    </a:lnTo>
                    <a:lnTo>
                      <a:pt x="870" y="292"/>
                    </a:lnTo>
                    <a:lnTo>
                      <a:pt x="870" y="292"/>
                    </a:lnTo>
                    <a:lnTo>
                      <a:pt x="866" y="292"/>
                    </a:lnTo>
                    <a:lnTo>
                      <a:pt x="866" y="292"/>
                    </a:lnTo>
                    <a:lnTo>
                      <a:pt x="865" y="292"/>
                    </a:lnTo>
                    <a:lnTo>
                      <a:pt x="865" y="292"/>
                    </a:lnTo>
                    <a:lnTo>
                      <a:pt x="866" y="294"/>
                    </a:lnTo>
                    <a:lnTo>
                      <a:pt x="866" y="294"/>
                    </a:lnTo>
                    <a:lnTo>
                      <a:pt x="868" y="297"/>
                    </a:lnTo>
                    <a:lnTo>
                      <a:pt x="868" y="297"/>
                    </a:lnTo>
                    <a:lnTo>
                      <a:pt x="866" y="297"/>
                    </a:lnTo>
                    <a:lnTo>
                      <a:pt x="866" y="297"/>
                    </a:lnTo>
                    <a:lnTo>
                      <a:pt x="865" y="297"/>
                    </a:lnTo>
                    <a:lnTo>
                      <a:pt x="865" y="297"/>
                    </a:lnTo>
                    <a:lnTo>
                      <a:pt x="865" y="300"/>
                    </a:lnTo>
                    <a:lnTo>
                      <a:pt x="865" y="300"/>
                    </a:lnTo>
                    <a:lnTo>
                      <a:pt x="865" y="300"/>
                    </a:lnTo>
                    <a:lnTo>
                      <a:pt x="865" y="300"/>
                    </a:lnTo>
                    <a:lnTo>
                      <a:pt x="860" y="303"/>
                    </a:lnTo>
                    <a:lnTo>
                      <a:pt x="860" y="303"/>
                    </a:lnTo>
                    <a:lnTo>
                      <a:pt x="857" y="300"/>
                    </a:lnTo>
                    <a:lnTo>
                      <a:pt x="857" y="300"/>
                    </a:lnTo>
                    <a:lnTo>
                      <a:pt x="857" y="300"/>
                    </a:lnTo>
                    <a:lnTo>
                      <a:pt x="857" y="300"/>
                    </a:lnTo>
                    <a:lnTo>
                      <a:pt x="858" y="297"/>
                    </a:lnTo>
                    <a:lnTo>
                      <a:pt x="858" y="297"/>
                    </a:lnTo>
                    <a:lnTo>
                      <a:pt x="854" y="294"/>
                    </a:lnTo>
                    <a:lnTo>
                      <a:pt x="854" y="294"/>
                    </a:lnTo>
                    <a:lnTo>
                      <a:pt x="851" y="294"/>
                    </a:lnTo>
                    <a:lnTo>
                      <a:pt x="851" y="294"/>
                    </a:lnTo>
                    <a:lnTo>
                      <a:pt x="852" y="294"/>
                    </a:lnTo>
                    <a:lnTo>
                      <a:pt x="852" y="294"/>
                    </a:lnTo>
                    <a:lnTo>
                      <a:pt x="854" y="291"/>
                    </a:lnTo>
                    <a:lnTo>
                      <a:pt x="854" y="291"/>
                    </a:lnTo>
                    <a:lnTo>
                      <a:pt x="851" y="292"/>
                    </a:lnTo>
                    <a:lnTo>
                      <a:pt x="851" y="292"/>
                    </a:lnTo>
                    <a:lnTo>
                      <a:pt x="851" y="294"/>
                    </a:lnTo>
                    <a:lnTo>
                      <a:pt x="851" y="294"/>
                    </a:lnTo>
                    <a:lnTo>
                      <a:pt x="851" y="294"/>
                    </a:lnTo>
                    <a:lnTo>
                      <a:pt x="851" y="294"/>
                    </a:lnTo>
                    <a:lnTo>
                      <a:pt x="851" y="294"/>
                    </a:lnTo>
                    <a:lnTo>
                      <a:pt x="851" y="294"/>
                    </a:lnTo>
                    <a:lnTo>
                      <a:pt x="852" y="297"/>
                    </a:lnTo>
                    <a:lnTo>
                      <a:pt x="852" y="297"/>
                    </a:lnTo>
                    <a:lnTo>
                      <a:pt x="851" y="297"/>
                    </a:lnTo>
                    <a:lnTo>
                      <a:pt x="851" y="297"/>
                    </a:lnTo>
                    <a:lnTo>
                      <a:pt x="847" y="297"/>
                    </a:lnTo>
                    <a:lnTo>
                      <a:pt x="847" y="297"/>
                    </a:lnTo>
                    <a:lnTo>
                      <a:pt x="847" y="297"/>
                    </a:lnTo>
                    <a:lnTo>
                      <a:pt x="847" y="297"/>
                    </a:lnTo>
                    <a:lnTo>
                      <a:pt x="844" y="292"/>
                    </a:lnTo>
                    <a:lnTo>
                      <a:pt x="844" y="292"/>
                    </a:lnTo>
                    <a:lnTo>
                      <a:pt x="841" y="291"/>
                    </a:lnTo>
                    <a:lnTo>
                      <a:pt x="841" y="291"/>
                    </a:lnTo>
                    <a:lnTo>
                      <a:pt x="841" y="288"/>
                    </a:lnTo>
                    <a:lnTo>
                      <a:pt x="841" y="288"/>
                    </a:lnTo>
                    <a:lnTo>
                      <a:pt x="839" y="288"/>
                    </a:lnTo>
                    <a:lnTo>
                      <a:pt x="839" y="288"/>
                    </a:lnTo>
                    <a:lnTo>
                      <a:pt x="835" y="288"/>
                    </a:lnTo>
                    <a:lnTo>
                      <a:pt x="835" y="288"/>
                    </a:lnTo>
                    <a:lnTo>
                      <a:pt x="830" y="288"/>
                    </a:lnTo>
                    <a:lnTo>
                      <a:pt x="830" y="288"/>
                    </a:lnTo>
                    <a:lnTo>
                      <a:pt x="824" y="286"/>
                    </a:lnTo>
                    <a:lnTo>
                      <a:pt x="824" y="286"/>
                    </a:lnTo>
                    <a:lnTo>
                      <a:pt x="820" y="284"/>
                    </a:lnTo>
                    <a:lnTo>
                      <a:pt x="820" y="284"/>
                    </a:lnTo>
                    <a:lnTo>
                      <a:pt x="819" y="283"/>
                    </a:lnTo>
                    <a:lnTo>
                      <a:pt x="819" y="283"/>
                    </a:lnTo>
                    <a:lnTo>
                      <a:pt x="820" y="280"/>
                    </a:lnTo>
                    <a:lnTo>
                      <a:pt x="820" y="280"/>
                    </a:lnTo>
                    <a:lnTo>
                      <a:pt x="825" y="276"/>
                    </a:lnTo>
                    <a:lnTo>
                      <a:pt x="825" y="276"/>
                    </a:lnTo>
                    <a:lnTo>
                      <a:pt x="825" y="273"/>
                    </a:lnTo>
                    <a:lnTo>
                      <a:pt x="825" y="273"/>
                    </a:lnTo>
                    <a:lnTo>
                      <a:pt x="827" y="273"/>
                    </a:lnTo>
                    <a:lnTo>
                      <a:pt x="827" y="273"/>
                    </a:lnTo>
                    <a:lnTo>
                      <a:pt x="828" y="272"/>
                    </a:lnTo>
                    <a:lnTo>
                      <a:pt x="828" y="272"/>
                    </a:lnTo>
                    <a:lnTo>
                      <a:pt x="830" y="268"/>
                    </a:lnTo>
                    <a:lnTo>
                      <a:pt x="830" y="268"/>
                    </a:lnTo>
                    <a:lnTo>
                      <a:pt x="831" y="265"/>
                    </a:lnTo>
                    <a:lnTo>
                      <a:pt x="831" y="265"/>
                    </a:lnTo>
                    <a:lnTo>
                      <a:pt x="833" y="262"/>
                    </a:lnTo>
                    <a:lnTo>
                      <a:pt x="833" y="262"/>
                    </a:lnTo>
                    <a:lnTo>
                      <a:pt x="835" y="262"/>
                    </a:lnTo>
                    <a:lnTo>
                      <a:pt x="835" y="262"/>
                    </a:lnTo>
                    <a:lnTo>
                      <a:pt x="833" y="262"/>
                    </a:lnTo>
                    <a:lnTo>
                      <a:pt x="833" y="262"/>
                    </a:lnTo>
                    <a:lnTo>
                      <a:pt x="833" y="259"/>
                    </a:lnTo>
                    <a:lnTo>
                      <a:pt x="833" y="259"/>
                    </a:lnTo>
                    <a:lnTo>
                      <a:pt x="833" y="257"/>
                    </a:lnTo>
                    <a:lnTo>
                      <a:pt x="833" y="257"/>
                    </a:lnTo>
                    <a:lnTo>
                      <a:pt x="833" y="256"/>
                    </a:lnTo>
                    <a:lnTo>
                      <a:pt x="833" y="256"/>
                    </a:lnTo>
                    <a:lnTo>
                      <a:pt x="835" y="251"/>
                    </a:lnTo>
                    <a:lnTo>
                      <a:pt x="835" y="251"/>
                    </a:lnTo>
                    <a:lnTo>
                      <a:pt x="838" y="249"/>
                    </a:lnTo>
                    <a:lnTo>
                      <a:pt x="838" y="249"/>
                    </a:lnTo>
                    <a:lnTo>
                      <a:pt x="838" y="248"/>
                    </a:lnTo>
                    <a:lnTo>
                      <a:pt x="838" y="248"/>
                    </a:lnTo>
                    <a:lnTo>
                      <a:pt x="838" y="246"/>
                    </a:lnTo>
                    <a:lnTo>
                      <a:pt x="838" y="246"/>
                    </a:lnTo>
                    <a:lnTo>
                      <a:pt x="839" y="245"/>
                    </a:lnTo>
                    <a:lnTo>
                      <a:pt x="839" y="245"/>
                    </a:lnTo>
                    <a:lnTo>
                      <a:pt x="841" y="243"/>
                    </a:lnTo>
                    <a:lnTo>
                      <a:pt x="841" y="243"/>
                    </a:lnTo>
                    <a:lnTo>
                      <a:pt x="841" y="241"/>
                    </a:lnTo>
                    <a:lnTo>
                      <a:pt x="841" y="241"/>
                    </a:lnTo>
                    <a:lnTo>
                      <a:pt x="839" y="238"/>
                    </a:lnTo>
                    <a:lnTo>
                      <a:pt x="839" y="238"/>
                    </a:lnTo>
                    <a:lnTo>
                      <a:pt x="839" y="237"/>
                    </a:lnTo>
                    <a:lnTo>
                      <a:pt x="839" y="237"/>
                    </a:lnTo>
                    <a:lnTo>
                      <a:pt x="841" y="234"/>
                    </a:lnTo>
                    <a:lnTo>
                      <a:pt x="841" y="234"/>
                    </a:lnTo>
                    <a:lnTo>
                      <a:pt x="844" y="234"/>
                    </a:lnTo>
                    <a:lnTo>
                      <a:pt x="844" y="234"/>
                    </a:lnTo>
                    <a:lnTo>
                      <a:pt x="844" y="230"/>
                    </a:lnTo>
                    <a:lnTo>
                      <a:pt x="844" y="230"/>
                    </a:lnTo>
                    <a:lnTo>
                      <a:pt x="844" y="227"/>
                    </a:lnTo>
                    <a:lnTo>
                      <a:pt x="844" y="227"/>
                    </a:lnTo>
                    <a:lnTo>
                      <a:pt x="844" y="226"/>
                    </a:lnTo>
                    <a:lnTo>
                      <a:pt x="844" y="226"/>
                    </a:lnTo>
                    <a:lnTo>
                      <a:pt x="847" y="224"/>
                    </a:lnTo>
                    <a:lnTo>
                      <a:pt x="847" y="224"/>
                    </a:lnTo>
                    <a:lnTo>
                      <a:pt x="854" y="224"/>
                    </a:lnTo>
                    <a:lnTo>
                      <a:pt x="854" y="224"/>
                    </a:lnTo>
                    <a:lnTo>
                      <a:pt x="860" y="222"/>
                    </a:lnTo>
                    <a:lnTo>
                      <a:pt x="860" y="222"/>
                    </a:lnTo>
                    <a:lnTo>
                      <a:pt x="868" y="222"/>
                    </a:lnTo>
                    <a:lnTo>
                      <a:pt x="868" y="222"/>
                    </a:lnTo>
                    <a:lnTo>
                      <a:pt x="876" y="222"/>
                    </a:lnTo>
                    <a:lnTo>
                      <a:pt x="876" y="222"/>
                    </a:lnTo>
                    <a:lnTo>
                      <a:pt x="876" y="224"/>
                    </a:lnTo>
                    <a:lnTo>
                      <a:pt x="876" y="224"/>
                    </a:lnTo>
                    <a:lnTo>
                      <a:pt x="879" y="226"/>
                    </a:lnTo>
                    <a:lnTo>
                      <a:pt x="879" y="226"/>
                    </a:lnTo>
                    <a:lnTo>
                      <a:pt x="882" y="226"/>
                    </a:lnTo>
                    <a:lnTo>
                      <a:pt x="882" y="226"/>
                    </a:lnTo>
                    <a:lnTo>
                      <a:pt x="885" y="226"/>
                    </a:lnTo>
                    <a:lnTo>
                      <a:pt x="885" y="226"/>
                    </a:lnTo>
                    <a:lnTo>
                      <a:pt x="882" y="224"/>
                    </a:lnTo>
                    <a:lnTo>
                      <a:pt x="882" y="224"/>
                    </a:lnTo>
                    <a:lnTo>
                      <a:pt x="882" y="222"/>
                    </a:lnTo>
                    <a:lnTo>
                      <a:pt x="882" y="222"/>
                    </a:lnTo>
                    <a:lnTo>
                      <a:pt x="889" y="224"/>
                    </a:lnTo>
                    <a:lnTo>
                      <a:pt x="889" y="224"/>
                    </a:lnTo>
                    <a:lnTo>
                      <a:pt x="893" y="224"/>
                    </a:lnTo>
                    <a:lnTo>
                      <a:pt x="893" y="224"/>
                    </a:lnTo>
                    <a:lnTo>
                      <a:pt x="897" y="224"/>
                    </a:lnTo>
                    <a:lnTo>
                      <a:pt x="897" y="224"/>
                    </a:lnTo>
                    <a:lnTo>
                      <a:pt x="901" y="222"/>
                    </a:lnTo>
                    <a:lnTo>
                      <a:pt x="901" y="222"/>
                    </a:lnTo>
                    <a:lnTo>
                      <a:pt x="906" y="224"/>
                    </a:lnTo>
                    <a:lnTo>
                      <a:pt x="906" y="224"/>
                    </a:lnTo>
                    <a:lnTo>
                      <a:pt x="908" y="224"/>
                    </a:lnTo>
                    <a:lnTo>
                      <a:pt x="908" y="224"/>
                    </a:lnTo>
                    <a:lnTo>
                      <a:pt x="911" y="226"/>
                    </a:lnTo>
                    <a:lnTo>
                      <a:pt x="911" y="226"/>
                    </a:lnTo>
                    <a:lnTo>
                      <a:pt x="908" y="224"/>
                    </a:lnTo>
                    <a:lnTo>
                      <a:pt x="908" y="224"/>
                    </a:lnTo>
                    <a:lnTo>
                      <a:pt x="908" y="222"/>
                    </a:lnTo>
                    <a:lnTo>
                      <a:pt x="908" y="222"/>
                    </a:lnTo>
                    <a:lnTo>
                      <a:pt x="906" y="222"/>
                    </a:lnTo>
                    <a:lnTo>
                      <a:pt x="906" y="222"/>
                    </a:lnTo>
                    <a:lnTo>
                      <a:pt x="906" y="221"/>
                    </a:lnTo>
                    <a:lnTo>
                      <a:pt x="906" y="221"/>
                    </a:lnTo>
                    <a:lnTo>
                      <a:pt x="908" y="221"/>
                    </a:lnTo>
                    <a:lnTo>
                      <a:pt x="908" y="221"/>
                    </a:lnTo>
                    <a:lnTo>
                      <a:pt x="908" y="219"/>
                    </a:lnTo>
                    <a:lnTo>
                      <a:pt x="908" y="219"/>
                    </a:lnTo>
                    <a:lnTo>
                      <a:pt x="908" y="218"/>
                    </a:lnTo>
                    <a:lnTo>
                      <a:pt x="908" y="218"/>
                    </a:lnTo>
                    <a:lnTo>
                      <a:pt x="911" y="218"/>
                    </a:lnTo>
                    <a:lnTo>
                      <a:pt x="911" y="218"/>
                    </a:lnTo>
                    <a:lnTo>
                      <a:pt x="911" y="218"/>
                    </a:lnTo>
                    <a:lnTo>
                      <a:pt x="911" y="218"/>
                    </a:lnTo>
                    <a:lnTo>
                      <a:pt x="917" y="219"/>
                    </a:lnTo>
                    <a:lnTo>
                      <a:pt x="917" y="219"/>
                    </a:lnTo>
                    <a:lnTo>
                      <a:pt x="924" y="221"/>
                    </a:lnTo>
                    <a:lnTo>
                      <a:pt x="924" y="221"/>
                    </a:lnTo>
                    <a:lnTo>
                      <a:pt x="927" y="221"/>
                    </a:lnTo>
                    <a:lnTo>
                      <a:pt x="927" y="221"/>
                    </a:lnTo>
                    <a:lnTo>
                      <a:pt x="933" y="221"/>
                    </a:lnTo>
                    <a:lnTo>
                      <a:pt x="933" y="221"/>
                    </a:lnTo>
                    <a:lnTo>
                      <a:pt x="938" y="224"/>
                    </a:lnTo>
                    <a:lnTo>
                      <a:pt x="938" y="224"/>
                    </a:lnTo>
                    <a:lnTo>
                      <a:pt x="941" y="224"/>
                    </a:lnTo>
                    <a:lnTo>
                      <a:pt x="941" y="224"/>
                    </a:lnTo>
                    <a:lnTo>
                      <a:pt x="944" y="226"/>
                    </a:lnTo>
                    <a:lnTo>
                      <a:pt x="944" y="226"/>
                    </a:lnTo>
                    <a:lnTo>
                      <a:pt x="941" y="226"/>
                    </a:lnTo>
                    <a:lnTo>
                      <a:pt x="941" y="226"/>
                    </a:lnTo>
                    <a:lnTo>
                      <a:pt x="938" y="226"/>
                    </a:lnTo>
                    <a:lnTo>
                      <a:pt x="938" y="226"/>
                    </a:lnTo>
                    <a:lnTo>
                      <a:pt x="935" y="227"/>
                    </a:lnTo>
                    <a:lnTo>
                      <a:pt x="935" y="227"/>
                    </a:lnTo>
                    <a:lnTo>
                      <a:pt x="941" y="230"/>
                    </a:lnTo>
                    <a:lnTo>
                      <a:pt x="941" y="230"/>
                    </a:lnTo>
                    <a:lnTo>
                      <a:pt x="947" y="230"/>
                    </a:lnTo>
                    <a:lnTo>
                      <a:pt x="947" y="230"/>
                    </a:lnTo>
                    <a:lnTo>
                      <a:pt x="946" y="229"/>
                    </a:lnTo>
                    <a:lnTo>
                      <a:pt x="946" y="229"/>
                    </a:lnTo>
                    <a:lnTo>
                      <a:pt x="951" y="229"/>
                    </a:lnTo>
                    <a:lnTo>
                      <a:pt x="951" y="229"/>
                    </a:lnTo>
                    <a:lnTo>
                      <a:pt x="955" y="230"/>
                    </a:lnTo>
                    <a:lnTo>
                      <a:pt x="955" y="230"/>
                    </a:lnTo>
                    <a:lnTo>
                      <a:pt x="955" y="227"/>
                    </a:lnTo>
                    <a:lnTo>
                      <a:pt x="955" y="227"/>
                    </a:lnTo>
                    <a:lnTo>
                      <a:pt x="957" y="226"/>
                    </a:lnTo>
                    <a:lnTo>
                      <a:pt x="957" y="226"/>
                    </a:lnTo>
                    <a:lnTo>
                      <a:pt x="960" y="226"/>
                    </a:lnTo>
                    <a:lnTo>
                      <a:pt x="960" y="226"/>
                    </a:lnTo>
                    <a:lnTo>
                      <a:pt x="965" y="227"/>
                    </a:lnTo>
                    <a:lnTo>
                      <a:pt x="965" y="227"/>
                    </a:lnTo>
                    <a:lnTo>
                      <a:pt x="966" y="227"/>
                    </a:lnTo>
                    <a:lnTo>
                      <a:pt x="966" y="227"/>
                    </a:lnTo>
                    <a:lnTo>
                      <a:pt x="966" y="226"/>
                    </a:lnTo>
                    <a:lnTo>
                      <a:pt x="966" y="226"/>
                    </a:lnTo>
                    <a:lnTo>
                      <a:pt x="970" y="226"/>
                    </a:lnTo>
                    <a:lnTo>
                      <a:pt x="970" y="226"/>
                    </a:lnTo>
                    <a:lnTo>
                      <a:pt x="973" y="226"/>
                    </a:lnTo>
                    <a:lnTo>
                      <a:pt x="973" y="226"/>
                    </a:lnTo>
                    <a:lnTo>
                      <a:pt x="976" y="226"/>
                    </a:lnTo>
                    <a:lnTo>
                      <a:pt x="976" y="226"/>
                    </a:lnTo>
                    <a:lnTo>
                      <a:pt x="970" y="222"/>
                    </a:lnTo>
                    <a:lnTo>
                      <a:pt x="970" y="222"/>
                    </a:lnTo>
                    <a:lnTo>
                      <a:pt x="966" y="221"/>
                    </a:lnTo>
                    <a:lnTo>
                      <a:pt x="966" y="221"/>
                    </a:lnTo>
                    <a:lnTo>
                      <a:pt x="963" y="221"/>
                    </a:lnTo>
                    <a:lnTo>
                      <a:pt x="963" y="221"/>
                    </a:lnTo>
                    <a:lnTo>
                      <a:pt x="965" y="222"/>
                    </a:lnTo>
                    <a:lnTo>
                      <a:pt x="965" y="222"/>
                    </a:lnTo>
                    <a:lnTo>
                      <a:pt x="962" y="222"/>
                    </a:lnTo>
                    <a:lnTo>
                      <a:pt x="962" y="222"/>
                    </a:lnTo>
                    <a:lnTo>
                      <a:pt x="960" y="221"/>
                    </a:lnTo>
                    <a:lnTo>
                      <a:pt x="960" y="221"/>
                    </a:lnTo>
                    <a:lnTo>
                      <a:pt x="960" y="219"/>
                    </a:lnTo>
                    <a:lnTo>
                      <a:pt x="960" y="219"/>
                    </a:lnTo>
                    <a:lnTo>
                      <a:pt x="962" y="219"/>
                    </a:lnTo>
                    <a:lnTo>
                      <a:pt x="962" y="219"/>
                    </a:lnTo>
                    <a:lnTo>
                      <a:pt x="957" y="218"/>
                    </a:lnTo>
                    <a:lnTo>
                      <a:pt x="957" y="218"/>
                    </a:lnTo>
                    <a:lnTo>
                      <a:pt x="957" y="216"/>
                    </a:lnTo>
                    <a:lnTo>
                      <a:pt x="957" y="216"/>
                    </a:lnTo>
                    <a:lnTo>
                      <a:pt x="958" y="216"/>
                    </a:lnTo>
                    <a:lnTo>
                      <a:pt x="958" y="216"/>
                    </a:lnTo>
                    <a:lnTo>
                      <a:pt x="957" y="213"/>
                    </a:lnTo>
                    <a:lnTo>
                      <a:pt x="957" y="213"/>
                    </a:lnTo>
                    <a:lnTo>
                      <a:pt x="955" y="213"/>
                    </a:lnTo>
                    <a:lnTo>
                      <a:pt x="955" y="213"/>
                    </a:lnTo>
                    <a:lnTo>
                      <a:pt x="957" y="210"/>
                    </a:lnTo>
                    <a:lnTo>
                      <a:pt x="957" y="210"/>
                    </a:lnTo>
                    <a:lnTo>
                      <a:pt x="958" y="207"/>
                    </a:lnTo>
                    <a:lnTo>
                      <a:pt x="958" y="207"/>
                    </a:lnTo>
                    <a:lnTo>
                      <a:pt x="960" y="207"/>
                    </a:lnTo>
                    <a:lnTo>
                      <a:pt x="960" y="207"/>
                    </a:lnTo>
                    <a:lnTo>
                      <a:pt x="960" y="203"/>
                    </a:lnTo>
                    <a:lnTo>
                      <a:pt x="960" y="203"/>
                    </a:lnTo>
                    <a:lnTo>
                      <a:pt x="958" y="202"/>
                    </a:lnTo>
                    <a:lnTo>
                      <a:pt x="958" y="202"/>
                    </a:lnTo>
                    <a:lnTo>
                      <a:pt x="958" y="200"/>
                    </a:lnTo>
                    <a:lnTo>
                      <a:pt x="958" y="200"/>
                    </a:lnTo>
                    <a:lnTo>
                      <a:pt x="960" y="199"/>
                    </a:lnTo>
                    <a:lnTo>
                      <a:pt x="960" y="199"/>
                    </a:lnTo>
                    <a:lnTo>
                      <a:pt x="960" y="197"/>
                    </a:lnTo>
                    <a:lnTo>
                      <a:pt x="960" y="197"/>
                    </a:lnTo>
                    <a:lnTo>
                      <a:pt x="958" y="195"/>
                    </a:lnTo>
                    <a:lnTo>
                      <a:pt x="958" y="195"/>
                    </a:lnTo>
                    <a:lnTo>
                      <a:pt x="960" y="194"/>
                    </a:lnTo>
                    <a:lnTo>
                      <a:pt x="960" y="194"/>
                    </a:lnTo>
                    <a:lnTo>
                      <a:pt x="960" y="192"/>
                    </a:lnTo>
                    <a:lnTo>
                      <a:pt x="960" y="192"/>
                    </a:lnTo>
                    <a:lnTo>
                      <a:pt x="962" y="192"/>
                    </a:lnTo>
                    <a:lnTo>
                      <a:pt x="962" y="192"/>
                    </a:lnTo>
                    <a:lnTo>
                      <a:pt x="962" y="191"/>
                    </a:lnTo>
                    <a:lnTo>
                      <a:pt x="962" y="191"/>
                    </a:lnTo>
                    <a:lnTo>
                      <a:pt x="966" y="192"/>
                    </a:lnTo>
                    <a:lnTo>
                      <a:pt x="966" y="192"/>
                    </a:lnTo>
                    <a:lnTo>
                      <a:pt x="973" y="191"/>
                    </a:lnTo>
                    <a:lnTo>
                      <a:pt x="973" y="191"/>
                    </a:lnTo>
                    <a:lnTo>
                      <a:pt x="976" y="189"/>
                    </a:lnTo>
                    <a:lnTo>
                      <a:pt x="976" y="189"/>
                    </a:lnTo>
                    <a:lnTo>
                      <a:pt x="979" y="191"/>
                    </a:lnTo>
                    <a:lnTo>
                      <a:pt x="979" y="191"/>
                    </a:lnTo>
                    <a:lnTo>
                      <a:pt x="981" y="191"/>
                    </a:lnTo>
                    <a:lnTo>
                      <a:pt x="981" y="191"/>
                    </a:lnTo>
                    <a:lnTo>
                      <a:pt x="984" y="192"/>
                    </a:lnTo>
                    <a:lnTo>
                      <a:pt x="984" y="192"/>
                    </a:lnTo>
                    <a:lnTo>
                      <a:pt x="985" y="192"/>
                    </a:lnTo>
                    <a:lnTo>
                      <a:pt x="985" y="192"/>
                    </a:lnTo>
                    <a:lnTo>
                      <a:pt x="987" y="189"/>
                    </a:lnTo>
                    <a:lnTo>
                      <a:pt x="987" y="189"/>
                    </a:lnTo>
                    <a:lnTo>
                      <a:pt x="989" y="191"/>
                    </a:lnTo>
                    <a:lnTo>
                      <a:pt x="989" y="191"/>
                    </a:lnTo>
                    <a:lnTo>
                      <a:pt x="992" y="194"/>
                    </a:lnTo>
                    <a:lnTo>
                      <a:pt x="992" y="194"/>
                    </a:lnTo>
                    <a:lnTo>
                      <a:pt x="992" y="195"/>
                    </a:lnTo>
                    <a:lnTo>
                      <a:pt x="992" y="195"/>
                    </a:lnTo>
                    <a:lnTo>
                      <a:pt x="993" y="197"/>
                    </a:lnTo>
                    <a:lnTo>
                      <a:pt x="993" y="197"/>
                    </a:lnTo>
                    <a:lnTo>
                      <a:pt x="993" y="199"/>
                    </a:lnTo>
                    <a:lnTo>
                      <a:pt x="993" y="199"/>
                    </a:lnTo>
                    <a:lnTo>
                      <a:pt x="992" y="199"/>
                    </a:lnTo>
                    <a:lnTo>
                      <a:pt x="992" y="199"/>
                    </a:lnTo>
                    <a:lnTo>
                      <a:pt x="997" y="202"/>
                    </a:lnTo>
                    <a:lnTo>
                      <a:pt x="997" y="202"/>
                    </a:lnTo>
                    <a:lnTo>
                      <a:pt x="998" y="203"/>
                    </a:lnTo>
                    <a:lnTo>
                      <a:pt x="998" y="203"/>
                    </a:lnTo>
                    <a:lnTo>
                      <a:pt x="998" y="202"/>
                    </a:lnTo>
                    <a:lnTo>
                      <a:pt x="998" y="202"/>
                    </a:lnTo>
                    <a:lnTo>
                      <a:pt x="1001" y="202"/>
                    </a:lnTo>
                    <a:lnTo>
                      <a:pt x="1001" y="202"/>
                    </a:lnTo>
                    <a:lnTo>
                      <a:pt x="1001" y="203"/>
                    </a:lnTo>
                    <a:lnTo>
                      <a:pt x="1001" y="203"/>
                    </a:lnTo>
                    <a:lnTo>
                      <a:pt x="1005" y="203"/>
                    </a:lnTo>
                    <a:lnTo>
                      <a:pt x="1005" y="203"/>
                    </a:lnTo>
                    <a:lnTo>
                      <a:pt x="1005" y="207"/>
                    </a:lnTo>
                    <a:lnTo>
                      <a:pt x="1005" y="207"/>
                    </a:lnTo>
                    <a:lnTo>
                      <a:pt x="1005" y="207"/>
                    </a:lnTo>
                    <a:lnTo>
                      <a:pt x="1005" y="207"/>
                    </a:lnTo>
                    <a:lnTo>
                      <a:pt x="1008" y="207"/>
                    </a:lnTo>
                    <a:lnTo>
                      <a:pt x="1008" y="207"/>
                    </a:lnTo>
                    <a:lnTo>
                      <a:pt x="1011" y="207"/>
                    </a:lnTo>
                    <a:lnTo>
                      <a:pt x="1011" y="207"/>
                    </a:lnTo>
                    <a:lnTo>
                      <a:pt x="1011" y="203"/>
                    </a:lnTo>
                    <a:lnTo>
                      <a:pt x="1011" y="203"/>
                    </a:lnTo>
                    <a:lnTo>
                      <a:pt x="1011" y="202"/>
                    </a:lnTo>
                    <a:lnTo>
                      <a:pt x="1011" y="202"/>
                    </a:lnTo>
                    <a:lnTo>
                      <a:pt x="1011" y="197"/>
                    </a:lnTo>
                    <a:lnTo>
                      <a:pt x="1011" y="197"/>
                    </a:lnTo>
                    <a:lnTo>
                      <a:pt x="1011" y="195"/>
                    </a:lnTo>
                    <a:lnTo>
                      <a:pt x="1011" y="195"/>
                    </a:lnTo>
                    <a:lnTo>
                      <a:pt x="1012" y="194"/>
                    </a:lnTo>
                    <a:lnTo>
                      <a:pt x="1012" y="194"/>
                    </a:lnTo>
                    <a:lnTo>
                      <a:pt x="1014" y="194"/>
                    </a:lnTo>
                    <a:lnTo>
                      <a:pt x="1014" y="194"/>
                    </a:lnTo>
                    <a:lnTo>
                      <a:pt x="1016" y="192"/>
                    </a:lnTo>
                    <a:lnTo>
                      <a:pt x="1016" y="192"/>
                    </a:lnTo>
                    <a:lnTo>
                      <a:pt x="1017" y="192"/>
                    </a:lnTo>
                    <a:lnTo>
                      <a:pt x="1017" y="192"/>
                    </a:lnTo>
                    <a:lnTo>
                      <a:pt x="1020" y="195"/>
                    </a:lnTo>
                    <a:lnTo>
                      <a:pt x="1020" y="195"/>
                    </a:lnTo>
                    <a:lnTo>
                      <a:pt x="1020" y="194"/>
                    </a:lnTo>
                    <a:lnTo>
                      <a:pt x="1020" y="194"/>
                    </a:lnTo>
                    <a:lnTo>
                      <a:pt x="1022" y="194"/>
                    </a:lnTo>
                    <a:lnTo>
                      <a:pt x="1022" y="194"/>
                    </a:lnTo>
                    <a:lnTo>
                      <a:pt x="1017" y="191"/>
                    </a:lnTo>
                    <a:lnTo>
                      <a:pt x="1017" y="191"/>
                    </a:lnTo>
                    <a:lnTo>
                      <a:pt x="1014" y="189"/>
                    </a:lnTo>
                    <a:lnTo>
                      <a:pt x="1014" y="189"/>
                    </a:lnTo>
                    <a:lnTo>
                      <a:pt x="1011" y="186"/>
                    </a:lnTo>
                    <a:lnTo>
                      <a:pt x="1011" y="186"/>
                    </a:lnTo>
                    <a:lnTo>
                      <a:pt x="1011" y="184"/>
                    </a:lnTo>
                    <a:lnTo>
                      <a:pt x="1011" y="184"/>
                    </a:lnTo>
                    <a:lnTo>
                      <a:pt x="1011" y="183"/>
                    </a:lnTo>
                    <a:lnTo>
                      <a:pt x="1011" y="183"/>
                    </a:lnTo>
                    <a:lnTo>
                      <a:pt x="1011" y="183"/>
                    </a:lnTo>
                    <a:lnTo>
                      <a:pt x="1011" y="183"/>
                    </a:lnTo>
                    <a:lnTo>
                      <a:pt x="1008" y="181"/>
                    </a:lnTo>
                    <a:lnTo>
                      <a:pt x="1008" y="181"/>
                    </a:lnTo>
                    <a:lnTo>
                      <a:pt x="1014" y="180"/>
                    </a:lnTo>
                    <a:lnTo>
                      <a:pt x="1014" y="180"/>
                    </a:lnTo>
                    <a:lnTo>
                      <a:pt x="1017" y="180"/>
                    </a:lnTo>
                    <a:lnTo>
                      <a:pt x="1017" y="180"/>
                    </a:lnTo>
                    <a:lnTo>
                      <a:pt x="1020" y="180"/>
                    </a:lnTo>
                    <a:lnTo>
                      <a:pt x="1020" y="180"/>
                    </a:lnTo>
                    <a:lnTo>
                      <a:pt x="1027" y="181"/>
                    </a:lnTo>
                    <a:lnTo>
                      <a:pt x="1027" y="181"/>
                    </a:lnTo>
                    <a:lnTo>
                      <a:pt x="1033" y="183"/>
                    </a:lnTo>
                    <a:lnTo>
                      <a:pt x="1033" y="183"/>
                    </a:lnTo>
                    <a:lnTo>
                      <a:pt x="1028" y="183"/>
                    </a:lnTo>
                    <a:lnTo>
                      <a:pt x="1028" y="183"/>
                    </a:lnTo>
                    <a:lnTo>
                      <a:pt x="1031" y="184"/>
                    </a:lnTo>
                    <a:lnTo>
                      <a:pt x="1031" y="184"/>
                    </a:lnTo>
                    <a:lnTo>
                      <a:pt x="1027" y="183"/>
                    </a:lnTo>
                    <a:lnTo>
                      <a:pt x="1027" y="183"/>
                    </a:lnTo>
                    <a:lnTo>
                      <a:pt x="1025" y="181"/>
                    </a:lnTo>
                    <a:lnTo>
                      <a:pt x="1025" y="181"/>
                    </a:lnTo>
                    <a:lnTo>
                      <a:pt x="1022" y="183"/>
                    </a:lnTo>
                    <a:lnTo>
                      <a:pt x="1022" y="183"/>
                    </a:lnTo>
                    <a:lnTo>
                      <a:pt x="1020" y="184"/>
                    </a:lnTo>
                    <a:lnTo>
                      <a:pt x="1020" y="184"/>
                    </a:lnTo>
                    <a:lnTo>
                      <a:pt x="1022" y="186"/>
                    </a:lnTo>
                    <a:lnTo>
                      <a:pt x="1022" y="186"/>
                    </a:lnTo>
                    <a:lnTo>
                      <a:pt x="1025" y="191"/>
                    </a:lnTo>
                    <a:lnTo>
                      <a:pt x="1025" y="191"/>
                    </a:lnTo>
                    <a:lnTo>
                      <a:pt x="1028" y="192"/>
                    </a:lnTo>
                    <a:lnTo>
                      <a:pt x="1028" y="192"/>
                    </a:lnTo>
                    <a:lnTo>
                      <a:pt x="1028" y="194"/>
                    </a:lnTo>
                    <a:lnTo>
                      <a:pt x="1028" y="194"/>
                    </a:lnTo>
                    <a:lnTo>
                      <a:pt x="1030" y="195"/>
                    </a:lnTo>
                    <a:lnTo>
                      <a:pt x="1030" y="195"/>
                    </a:lnTo>
                    <a:lnTo>
                      <a:pt x="1033" y="197"/>
                    </a:lnTo>
                    <a:lnTo>
                      <a:pt x="1033" y="197"/>
                    </a:lnTo>
                    <a:lnTo>
                      <a:pt x="1033" y="199"/>
                    </a:lnTo>
                    <a:lnTo>
                      <a:pt x="1033" y="199"/>
                    </a:lnTo>
                    <a:lnTo>
                      <a:pt x="1033" y="200"/>
                    </a:lnTo>
                    <a:lnTo>
                      <a:pt x="1033" y="200"/>
                    </a:lnTo>
                    <a:lnTo>
                      <a:pt x="1036" y="202"/>
                    </a:lnTo>
                    <a:lnTo>
                      <a:pt x="1036" y="202"/>
                    </a:lnTo>
                    <a:lnTo>
                      <a:pt x="1036" y="203"/>
                    </a:lnTo>
                    <a:lnTo>
                      <a:pt x="1036" y="203"/>
                    </a:lnTo>
                    <a:lnTo>
                      <a:pt x="1033" y="203"/>
                    </a:lnTo>
                    <a:lnTo>
                      <a:pt x="1033" y="203"/>
                    </a:lnTo>
                    <a:lnTo>
                      <a:pt x="1033" y="203"/>
                    </a:lnTo>
                    <a:lnTo>
                      <a:pt x="1033" y="203"/>
                    </a:lnTo>
                    <a:lnTo>
                      <a:pt x="1031" y="203"/>
                    </a:lnTo>
                    <a:lnTo>
                      <a:pt x="1031" y="203"/>
                    </a:lnTo>
                    <a:lnTo>
                      <a:pt x="1030" y="207"/>
                    </a:lnTo>
                    <a:lnTo>
                      <a:pt x="1030" y="207"/>
                    </a:lnTo>
                    <a:lnTo>
                      <a:pt x="1027" y="210"/>
                    </a:lnTo>
                    <a:lnTo>
                      <a:pt x="1027" y="210"/>
                    </a:lnTo>
                    <a:lnTo>
                      <a:pt x="1028" y="213"/>
                    </a:lnTo>
                    <a:lnTo>
                      <a:pt x="1028" y="213"/>
                    </a:lnTo>
                    <a:lnTo>
                      <a:pt x="1028" y="213"/>
                    </a:lnTo>
                    <a:lnTo>
                      <a:pt x="1028" y="213"/>
                    </a:lnTo>
                    <a:lnTo>
                      <a:pt x="1027" y="214"/>
                    </a:lnTo>
                    <a:lnTo>
                      <a:pt x="1027" y="214"/>
                    </a:lnTo>
                    <a:lnTo>
                      <a:pt x="1027" y="216"/>
                    </a:lnTo>
                    <a:lnTo>
                      <a:pt x="1027" y="216"/>
                    </a:lnTo>
                    <a:lnTo>
                      <a:pt x="1027" y="219"/>
                    </a:lnTo>
                    <a:lnTo>
                      <a:pt x="1027" y="219"/>
                    </a:lnTo>
                    <a:lnTo>
                      <a:pt x="1025" y="221"/>
                    </a:lnTo>
                    <a:lnTo>
                      <a:pt x="1025" y="221"/>
                    </a:lnTo>
                    <a:lnTo>
                      <a:pt x="1025" y="222"/>
                    </a:lnTo>
                    <a:lnTo>
                      <a:pt x="1025" y="222"/>
                    </a:lnTo>
                    <a:lnTo>
                      <a:pt x="1025" y="224"/>
                    </a:lnTo>
                    <a:lnTo>
                      <a:pt x="1025" y="224"/>
                    </a:lnTo>
                    <a:lnTo>
                      <a:pt x="1025" y="226"/>
                    </a:lnTo>
                    <a:lnTo>
                      <a:pt x="1025" y="226"/>
                    </a:lnTo>
                    <a:lnTo>
                      <a:pt x="1024" y="227"/>
                    </a:lnTo>
                    <a:lnTo>
                      <a:pt x="1024" y="227"/>
                    </a:lnTo>
                    <a:lnTo>
                      <a:pt x="1025" y="229"/>
                    </a:lnTo>
                    <a:lnTo>
                      <a:pt x="1025" y="229"/>
                    </a:lnTo>
                    <a:lnTo>
                      <a:pt x="1027" y="230"/>
                    </a:lnTo>
                    <a:lnTo>
                      <a:pt x="1027" y="230"/>
                    </a:lnTo>
                    <a:lnTo>
                      <a:pt x="1027" y="230"/>
                    </a:lnTo>
                    <a:lnTo>
                      <a:pt x="1027" y="230"/>
                    </a:lnTo>
                    <a:lnTo>
                      <a:pt x="1027" y="234"/>
                    </a:lnTo>
                    <a:lnTo>
                      <a:pt x="1027" y="234"/>
                    </a:lnTo>
                    <a:lnTo>
                      <a:pt x="1027" y="234"/>
                    </a:lnTo>
                    <a:lnTo>
                      <a:pt x="1027" y="234"/>
                    </a:lnTo>
                    <a:lnTo>
                      <a:pt x="1025" y="234"/>
                    </a:lnTo>
                    <a:lnTo>
                      <a:pt x="1025" y="234"/>
                    </a:lnTo>
                    <a:lnTo>
                      <a:pt x="1025" y="237"/>
                    </a:lnTo>
                    <a:lnTo>
                      <a:pt x="1025" y="237"/>
                    </a:lnTo>
                    <a:lnTo>
                      <a:pt x="1024" y="238"/>
                    </a:lnTo>
                    <a:lnTo>
                      <a:pt x="1024" y="238"/>
                    </a:lnTo>
                    <a:lnTo>
                      <a:pt x="1024" y="240"/>
                    </a:lnTo>
                    <a:lnTo>
                      <a:pt x="1024" y="240"/>
                    </a:lnTo>
                    <a:lnTo>
                      <a:pt x="1024" y="241"/>
                    </a:lnTo>
                    <a:lnTo>
                      <a:pt x="1024" y="241"/>
                    </a:lnTo>
                    <a:lnTo>
                      <a:pt x="1020" y="240"/>
                    </a:lnTo>
                    <a:lnTo>
                      <a:pt x="1020" y="240"/>
                    </a:lnTo>
                    <a:lnTo>
                      <a:pt x="1017" y="240"/>
                    </a:lnTo>
                    <a:lnTo>
                      <a:pt x="1017" y="240"/>
                    </a:lnTo>
                    <a:lnTo>
                      <a:pt x="1017" y="243"/>
                    </a:lnTo>
                    <a:lnTo>
                      <a:pt x="1017" y="243"/>
                    </a:lnTo>
                    <a:lnTo>
                      <a:pt x="1017" y="245"/>
                    </a:lnTo>
                    <a:lnTo>
                      <a:pt x="1017" y="245"/>
                    </a:lnTo>
                    <a:lnTo>
                      <a:pt x="1014" y="243"/>
                    </a:lnTo>
                    <a:lnTo>
                      <a:pt x="1014" y="243"/>
                    </a:lnTo>
                    <a:lnTo>
                      <a:pt x="1011" y="243"/>
                    </a:lnTo>
                    <a:lnTo>
                      <a:pt x="1011" y="243"/>
                    </a:lnTo>
                    <a:lnTo>
                      <a:pt x="1014" y="246"/>
                    </a:lnTo>
                    <a:lnTo>
                      <a:pt x="1014" y="246"/>
                    </a:lnTo>
                    <a:lnTo>
                      <a:pt x="1017" y="248"/>
                    </a:lnTo>
                    <a:lnTo>
                      <a:pt x="1017" y="248"/>
                    </a:lnTo>
                    <a:lnTo>
                      <a:pt x="1019" y="251"/>
                    </a:lnTo>
                    <a:lnTo>
                      <a:pt x="1019" y="251"/>
                    </a:lnTo>
                    <a:lnTo>
                      <a:pt x="1020" y="254"/>
                    </a:lnTo>
                    <a:lnTo>
                      <a:pt x="1020" y="254"/>
                    </a:lnTo>
                    <a:lnTo>
                      <a:pt x="1019" y="254"/>
                    </a:lnTo>
                    <a:lnTo>
                      <a:pt x="1019" y="254"/>
                    </a:lnTo>
                    <a:lnTo>
                      <a:pt x="1019" y="256"/>
                    </a:lnTo>
                    <a:lnTo>
                      <a:pt x="1019" y="256"/>
                    </a:lnTo>
                    <a:lnTo>
                      <a:pt x="1017" y="259"/>
                    </a:lnTo>
                    <a:lnTo>
                      <a:pt x="1017" y="259"/>
                    </a:lnTo>
                    <a:lnTo>
                      <a:pt x="1017" y="259"/>
                    </a:lnTo>
                    <a:lnTo>
                      <a:pt x="1017" y="259"/>
                    </a:lnTo>
                    <a:lnTo>
                      <a:pt x="1020" y="262"/>
                    </a:lnTo>
                    <a:lnTo>
                      <a:pt x="1020" y="262"/>
                    </a:lnTo>
                    <a:lnTo>
                      <a:pt x="1025" y="268"/>
                    </a:lnTo>
                    <a:lnTo>
                      <a:pt x="1025" y="268"/>
                    </a:lnTo>
                    <a:lnTo>
                      <a:pt x="1033" y="278"/>
                    </a:lnTo>
                    <a:lnTo>
                      <a:pt x="1033" y="278"/>
                    </a:lnTo>
                    <a:lnTo>
                      <a:pt x="1039" y="286"/>
                    </a:lnTo>
                    <a:lnTo>
                      <a:pt x="1039" y="286"/>
                    </a:lnTo>
                    <a:lnTo>
                      <a:pt x="1060" y="303"/>
                    </a:lnTo>
                    <a:lnTo>
                      <a:pt x="1060" y="303"/>
                    </a:lnTo>
                    <a:lnTo>
                      <a:pt x="1068" y="310"/>
                    </a:lnTo>
                    <a:lnTo>
                      <a:pt x="1068" y="310"/>
                    </a:lnTo>
                    <a:lnTo>
                      <a:pt x="1071" y="314"/>
                    </a:lnTo>
                    <a:lnTo>
                      <a:pt x="1071" y="314"/>
                    </a:lnTo>
                    <a:lnTo>
                      <a:pt x="1076" y="316"/>
                    </a:lnTo>
                    <a:lnTo>
                      <a:pt x="1076" y="316"/>
                    </a:lnTo>
                    <a:lnTo>
                      <a:pt x="1074" y="316"/>
                    </a:lnTo>
                    <a:lnTo>
                      <a:pt x="1074" y="316"/>
                    </a:lnTo>
                    <a:lnTo>
                      <a:pt x="1076" y="318"/>
                    </a:lnTo>
                    <a:lnTo>
                      <a:pt x="1076" y="318"/>
                    </a:lnTo>
                    <a:lnTo>
                      <a:pt x="1079" y="321"/>
                    </a:lnTo>
                    <a:lnTo>
                      <a:pt x="1079" y="321"/>
                    </a:lnTo>
                    <a:lnTo>
                      <a:pt x="1087" y="327"/>
                    </a:lnTo>
                    <a:lnTo>
                      <a:pt x="1087" y="327"/>
                    </a:lnTo>
                    <a:lnTo>
                      <a:pt x="1089" y="329"/>
                    </a:lnTo>
                    <a:lnTo>
                      <a:pt x="1089" y="329"/>
                    </a:lnTo>
                    <a:lnTo>
                      <a:pt x="1092" y="332"/>
                    </a:lnTo>
                    <a:lnTo>
                      <a:pt x="1092" y="332"/>
                    </a:lnTo>
                    <a:lnTo>
                      <a:pt x="1095" y="334"/>
                    </a:lnTo>
                    <a:lnTo>
                      <a:pt x="1095" y="334"/>
                    </a:lnTo>
                    <a:lnTo>
                      <a:pt x="1098" y="337"/>
                    </a:lnTo>
                    <a:lnTo>
                      <a:pt x="1098" y="337"/>
                    </a:lnTo>
                    <a:lnTo>
                      <a:pt x="1101" y="332"/>
                    </a:lnTo>
                    <a:lnTo>
                      <a:pt x="1101" y="332"/>
                    </a:lnTo>
                    <a:lnTo>
                      <a:pt x="1101" y="330"/>
                    </a:lnTo>
                    <a:lnTo>
                      <a:pt x="1101" y="330"/>
                    </a:lnTo>
                    <a:lnTo>
                      <a:pt x="1101" y="329"/>
                    </a:lnTo>
                    <a:lnTo>
                      <a:pt x="1101" y="329"/>
                    </a:lnTo>
                    <a:lnTo>
                      <a:pt x="1101" y="327"/>
                    </a:lnTo>
                    <a:lnTo>
                      <a:pt x="1101" y="327"/>
                    </a:lnTo>
                    <a:lnTo>
                      <a:pt x="1101" y="324"/>
                    </a:lnTo>
                    <a:lnTo>
                      <a:pt x="1101" y="324"/>
                    </a:lnTo>
                    <a:lnTo>
                      <a:pt x="1101" y="318"/>
                    </a:lnTo>
                    <a:lnTo>
                      <a:pt x="1101" y="318"/>
                    </a:lnTo>
                    <a:lnTo>
                      <a:pt x="1098" y="314"/>
                    </a:lnTo>
                    <a:lnTo>
                      <a:pt x="1098" y="314"/>
                    </a:lnTo>
                    <a:lnTo>
                      <a:pt x="1095" y="313"/>
                    </a:lnTo>
                    <a:lnTo>
                      <a:pt x="1095" y="313"/>
                    </a:lnTo>
                    <a:lnTo>
                      <a:pt x="1095" y="311"/>
                    </a:lnTo>
                    <a:lnTo>
                      <a:pt x="1095" y="311"/>
                    </a:lnTo>
                    <a:lnTo>
                      <a:pt x="1092" y="310"/>
                    </a:lnTo>
                    <a:lnTo>
                      <a:pt x="1092" y="310"/>
                    </a:lnTo>
                    <a:lnTo>
                      <a:pt x="1092" y="308"/>
                    </a:lnTo>
                    <a:lnTo>
                      <a:pt x="1092" y="308"/>
                    </a:lnTo>
                    <a:lnTo>
                      <a:pt x="1092" y="308"/>
                    </a:lnTo>
                    <a:lnTo>
                      <a:pt x="1092" y="308"/>
                    </a:lnTo>
                    <a:lnTo>
                      <a:pt x="1095" y="310"/>
                    </a:lnTo>
                    <a:lnTo>
                      <a:pt x="1095" y="310"/>
                    </a:lnTo>
                    <a:lnTo>
                      <a:pt x="1098" y="307"/>
                    </a:lnTo>
                    <a:lnTo>
                      <a:pt x="1098" y="307"/>
                    </a:lnTo>
                    <a:lnTo>
                      <a:pt x="1101" y="305"/>
                    </a:lnTo>
                    <a:lnTo>
                      <a:pt x="1101" y="305"/>
                    </a:lnTo>
                    <a:lnTo>
                      <a:pt x="1101" y="305"/>
                    </a:lnTo>
                    <a:lnTo>
                      <a:pt x="1101" y="305"/>
                    </a:lnTo>
                    <a:lnTo>
                      <a:pt x="1103" y="305"/>
                    </a:lnTo>
                    <a:lnTo>
                      <a:pt x="1103" y="305"/>
                    </a:lnTo>
                    <a:lnTo>
                      <a:pt x="1105" y="307"/>
                    </a:lnTo>
                    <a:lnTo>
                      <a:pt x="1105" y="307"/>
                    </a:lnTo>
                    <a:lnTo>
                      <a:pt x="1106" y="307"/>
                    </a:lnTo>
                    <a:lnTo>
                      <a:pt x="1106" y="307"/>
                    </a:lnTo>
                    <a:lnTo>
                      <a:pt x="1103" y="303"/>
                    </a:lnTo>
                    <a:lnTo>
                      <a:pt x="1103" y="303"/>
                    </a:lnTo>
                    <a:lnTo>
                      <a:pt x="1101" y="303"/>
                    </a:lnTo>
                    <a:lnTo>
                      <a:pt x="1101" y="303"/>
                    </a:lnTo>
                    <a:lnTo>
                      <a:pt x="1098" y="300"/>
                    </a:lnTo>
                    <a:lnTo>
                      <a:pt x="1098" y="300"/>
                    </a:lnTo>
                    <a:lnTo>
                      <a:pt x="1095" y="297"/>
                    </a:lnTo>
                    <a:lnTo>
                      <a:pt x="1095" y="297"/>
                    </a:lnTo>
                    <a:lnTo>
                      <a:pt x="1095" y="294"/>
                    </a:lnTo>
                    <a:lnTo>
                      <a:pt x="1095" y="294"/>
                    </a:lnTo>
                    <a:lnTo>
                      <a:pt x="1095" y="294"/>
                    </a:lnTo>
                    <a:lnTo>
                      <a:pt x="1095" y="294"/>
                    </a:lnTo>
                    <a:lnTo>
                      <a:pt x="1095" y="292"/>
                    </a:lnTo>
                    <a:lnTo>
                      <a:pt x="1095" y="292"/>
                    </a:lnTo>
                    <a:lnTo>
                      <a:pt x="1095" y="289"/>
                    </a:lnTo>
                    <a:lnTo>
                      <a:pt x="1095" y="289"/>
                    </a:lnTo>
                    <a:lnTo>
                      <a:pt x="1098" y="288"/>
                    </a:lnTo>
                    <a:lnTo>
                      <a:pt x="1098" y="288"/>
                    </a:lnTo>
                    <a:lnTo>
                      <a:pt x="1098" y="288"/>
                    </a:lnTo>
                    <a:lnTo>
                      <a:pt x="1098" y="288"/>
                    </a:lnTo>
                    <a:lnTo>
                      <a:pt x="1103" y="289"/>
                    </a:lnTo>
                    <a:lnTo>
                      <a:pt x="1103" y="289"/>
                    </a:lnTo>
                    <a:lnTo>
                      <a:pt x="1106" y="289"/>
                    </a:lnTo>
                    <a:lnTo>
                      <a:pt x="1106" y="289"/>
                    </a:lnTo>
                    <a:lnTo>
                      <a:pt x="1108" y="286"/>
                    </a:lnTo>
                    <a:lnTo>
                      <a:pt x="1108" y="286"/>
                    </a:lnTo>
                    <a:lnTo>
                      <a:pt x="1108" y="284"/>
                    </a:lnTo>
                    <a:lnTo>
                      <a:pt x="1108" y="284"/>
                    </a:lnTo>
                    <a:lnTo>
                      <a:pt x="1101" y="281"/>
                    </a:lnTo>
                    <a:lnTo>
                      <a:pt x="1101" y="281"/>
                    </a:lnTo>
                    <a:lnTo>
                      <a:pt x="1098" y="278"/>
                    </a:lnTo>
                    <a:lnTo>
                      <a:pt x="1098" y="278"/>
                    </a:lnTo>
                    <a:lnTo>
                      <a:pt x="1095" y="275"/>
                    </a:lnTo>
                    <a:lnTo>
                      <a:pt x="1095" y="275"/>
                    </a:lnTo>
                    <a:lnTo>
                      <a:pt x="1092" y="272"/>
                    </a:lnTo>
                    <a:lnTo>
                      <a:pt x="1092" y="272"/>
                    </a:lnTo>
                    <a:lnTo>
                      <a:pt x="1089" y="268"/>
                    </a:lnTo>
                    <a:lnTo>
                      <a:pt x="1089" y="268"/>
                    </a:lnTo>
                    <a:lnTo>
                      <a:pt x="1089" y="265"/>
                    </a:lnTo>
                    <a:lnTo>
                      <a:pt x="1089" y="265"/>
                    </a:lnTo>
                    <a:lnTo>
                      <a:pt x="1092" y="265"/>
                    </a:lnTo>
                    <a:lnTo>
                      <a:pt x="1092" y="265"/>
                    </a:lnTo>
                    <a:lnTo>
                      <a:pt x="1089" y="262"/>
                    </a:lnTo>
                    <a:lnTo>
                      <a:pt x="1089" y="262"/>
                    </a:lnTo>
                    <a:lnTo>
                      <a:pt x="1089" y="262"/>
                    </a:lnTo>
                    <a:lnTo>
                      <a:pt x="1089" y="262"/>
                    </a:lnTo>
                    <a:lnTo>
                      <a:pt x="1092" y="262"/>
                    </a:lnTo>
                    <a:lnTo>
                      <a:pt x="1092" y="262"/>
                    </a:lnTo>
                    <a:lnTo>
                      <a:pt x="1095" y="262"/>
                    </a:lnTo>
                    <a:lnTo>
                      <a:pt x="1095" y="262"/>
                    </a:lnTo>
                    <a:lnTo>
                      <a:pt x="1092" y="262"/>
                    </a:lnTo>
                    <a:lnTo>
                      <a:pt x="1092" y="262"/>
                    </a:lnTo>
                    <a:lnTo>
                      <a:pt x="1092" y="265"/>
                    </a:lnTo>
                    <a:lnTo>
                      <a:pt x="1092" y="265"/>
                    </a:lnTo>
                    <a:lnTo>
                      <a:pt x="1095" y="268"/>
                    </a:lnTo>
                    <a:lnTo>
                      <a:pt x="1095" y="268"/>
                    </a:lnTo>
                    <a:lnTo>
                      <a:pt x="1098" y="268"/>
                    </a:lnTo>
                    <a:lnTo>
                      <a:pt x="1098" y="268"/>
                    </a:lnTo>
                    <a:lnTo>
                      <a:pt x="1101" y="265"/>
                    </a:lnTo>
                    <a:lnTo>
                      <a:pt x="1101" y="265"/>
                    </a:lnTo>
                    <a:lnTo>
                      <a:pt x="1101" y="265"/>
                    </a:lnTo>
                    <a:lnTo>
                      <a:pt x="1101" y="265"/>
                    </a:lnTo>
                    <a:lnTo>
                      <a:pt x="1098" y="262"/>
                    </a:lnTo>
                    <a:lnTo>
                      <a:pt x="1098" y="262"/>
                    </a:lnTo>
                    <a:lnTo>
                      <a:pt x="1092" y="259"/>
                    </a:lnTo>
                    <a:lnTo>
                      <a:pt x="1092" y="259"/>
                    </a:lnTo>
                    <a:lnTo>
                      <a:pt x="1089" y="257"/>
                    </a:lnTo>
                    <a:lnTo>
                      <a:pt x="1089" y="257"/>
                    </a:lnTo>
                    <a:lnTo>
                      <a:pt x="1085" y="256"/>
                    </a:lnTo>
                    <a:lnTo>
                      <a:pt x="1085" y="256"/>
                    </a:lnTo>
                    <a:lnTo>
                      <a:pt x="1081" y="253"/>
                    </a:lnTo>
                    <a:lnTo>
                      <a:pt x="1081" y="253"/>
                    </a:lnTo>
                    <a:lnTo>
                      <a:pt x="1079" y="251"/>
                    </a:lnTo>
                    <a:lnTo>
                      <a:pt x="1079" y="251"/>
                    </a:lnTo>
                    <a:lnTo>
                      <a:pt x="1079" y="249"/>
                    </a:lnTo>
                    <a:lnTo>
                      <a:pt x="1079" y="249"/>
                    </a:lnTo>
                    <a:lnTo>
                      <a:pt x="1079" y="246"/>
                    </a:lnTo>
                    <a:lnTo>
                      <a:pt x="1079" y="246"/>
                    </a:lnTo>
                    <a:lnTo>
                      <a:pt x="1079" y="245"/>
                    </a:lnTo>
                    <a:lnTo>
                      <a:pt x="1079" y="245"/>
                    </a:lnTo>
                    <a:lnTo>
                      <a:pt x="1074" y="243"/>
                    </a:lnTo>
                    <a:lnTo>
                      <a:pt x="1074" y="243"/>
                    </a:lnTo>
                    <a:lnTo>
                      <a:pt x="1071" y="241"/>
                    </a:lnTo>
                    <a:lnTo>
                      <a:pt x="1071" y="241"/>
                    </a:lnTo>
                    <a:lnTo>
                      <a:pt x="1068" y="241"/>
                    </a:lnTo>
                    <a:lnTo>
                      <a:pt x="1068" y="241"/>
                    </a:lnTo>
                    <a:lnTo>
                      <a:pt x="1071" y="245"/>
                    </a:lnTo>
                    <a:lnTo>
                      <a:pt x="1071" y="245"/>
                    </a:lnTo>
                    <a:lnTo>
                      <a:pt x="1068" y="245"/>
                    </a:lnTo>
                    <a:lnTo>
                      <a:pt x="1068" y="245"/>
                    </a:lnTo>
                    <a:lnTo>
                      <a:pt x="1068" y="243"/>
                    </a:lnTo>
                    <a:lnTo>
                      <a:pt x="1068" y="243"/>
                    </a:lnTo>
                    <a:lnTo>
                      <a:pt x="1065" y="243"/>
                    </a:lnTo>
                    <a:lnTo>
                      <a:pt x="1065" y="243"/>
                    </a:lnTo>
                    <a:lnTo>
                      <a:pt x="1062" y="240"/>
                    </a:lnTo>
                    <a:lnTo>
                      <a:pt x="1062" y="240"/>
                    </a:lnTo>
                    <a:lnTo>
                      <a:pt x="1058" y="237"/>
                    </a:lnTo>
                    <a:lnTo>
                      <a:pt x="1058" y="237"/>
                    </a:lnTo>
                    <a:lnTo>
                      <a:pt x="1057" y="234"/>
                    </a:lnTo>
                    <a:lnTo>
                      <a:pt x="1057" y="234"/>
                    </a:lnTo>
                    <a:lnTo>
                      <a:pt x="1057" y="230"/>
                    </a:lnTo>
                    <a:lnTo>
                      <a:pt x="1057" y="230"/>
                    </a:lnTo>
                    <a:lnTo>
                      <a:pt x="1057" y="229"/>
                    </a:lnTo>
                    <a:lnTo>
                      <a:pt x="1057" y="229"/>
                    </a:lnTo>
                    <a:lnTo>
                      <a:pt x="1058" y="229"/>
                    </a:lnTo>
                    <a:lnTo>
                      <a:pt x="1058" y="229"/>
                    </a:lnTo>
                    <a:lnTo>
                      <a:pt x="1055" y="227"/>
                    </a:lnTo>
                    <a:lnTo>
                      <a:pt x="1055" y="227"/>
                    </a:lnTo>
                    <a:lnTo>
                      <a:pt x="1058" y="227"/>
                    </a:lnTo>
                    <a:lnTo>
                      <a:pt x="1058" y="227"/>
                    </a:lnTo>
                    <a:lnTo>
                      <a:pt x="1055" y="226"/>
                    </a:lnTo>
                    <a:lnTo>
                      <a:pt x="1055" y="226"/>
                    </a:lnTo>
                    <a:lnTo>
                      <a:pt x="1055" y="224"/>
                    </a:lnTo>
                    <a:lnTo>
                      <a:pt x="1055" y="224"/>
                    </a:lnTo>
                    <a:lnTo>
                      <a:pt x="1057" y="224"/>
                    </a:lnTo>
                    <a:lnTo>
                      <a:pt x="1057" y="224"/>
                    </a:lnTo>
                    <a:lnTo>
                      <a:pt x="1054" y="222"/>
                    </a:lnTo>
                    <a:lnTo>
                      <a:pt x="1054" y="222"/>
                    </a:lnTo>
                    <a:lnTo>
                      <a:pt x="1052" y="221"/>
                    </a:lnTo>
                    <a:lnTo>
                      <a:pt x="1052" y="221"/>
                    </a:lnTo>
                    <a:lnTo>
                      <a:pt x="1052" y="219"/>
                    </a:lnTo>
                    <a:lnTo>
                      <a:pt x="1052" y="219"/>
                    </a:lnTo>
                    <a:lnTo>
                      <a:pt x="1051" y="218"/>
                    </a:lnTo>
                    <a:lnTo>
                      <a:pt x="1051" y="218"/>
                    </a:lnTo>
                    <a:lnTo>
                      <a:pt x="1049" y="216"/>
                    </a:lnTo>
                    <a:lnTo>
                      <a:pt x="1049" y="216"/>
                    </a:lnTo>
                    <a:lnTo>
                      <a:pt x="1051" y="216"/>
                    </a:lnTo>
                    <a:lnTo>
                      <a:pt x="1051" y="216"/>
                    </a:lnTo>
                    <a:lnTo>
                      <a:pt x="1052" y="214"/>
                    </a:lnTo>
                    <a:lnTo>
                      <a:pt x="1052" y="214"/>
                    </a:lnTo>
                    <a:lnTo>
                      <a:pt x="1054" y="214"/>
                    </a:lnTo>
                    <a:lnTo>
                      <a:pt x="1054" y="214"/>
                    </a:lnTo>
                    <a:lnTo>
                      <a:pt x="1055" y="214"/>
                    </a:lnTo>
                    <a:lnTo>
                      <a:pt x="1055" y="214"/>
                    </a:lnTo>
                    <a:lnTo>
                      <a:pt x="1057" y="214"/>
                    </a:lnTo>
                    <a:lnTo>
                      <a:pt x="1057" y="214"/>
                    </a:lnTo>
                    <a:lnTo>
                      <a:pt x="1057" y="213"/>
                    </a:lnTo>
                    <a:lnTo>
                      <a:pt x="1057" y="213"/>
                    </a:lnTo>
                    <a:lnTo>
                      <a:pt x="1060" y="214"/>
                    </a:lnTo>
                    <a:lnTo>
                      <a:pt x="1060" y="214"/>
                    </a:lnTo>
                    <a:lnTo>
                      <a:pt x="1063" y="216"/>
                    </a:lnTo>
                    <a:lnTo>
                      <a:pt x="1063" y="216"/>
                    </a:lnTo>
                    <a:lnTo>
                      <a:pt x="1066" y="216"/>
                    </a:lnTo>
                    <a:lnTo>
                      <a:pt x="1066" y="216"/>
                    </a:lnTo>
                    <a:lnTo>
                      <a:pt x="1066" y="214"/>
                    </a:lnTo>
                    <a:lnTo>
                      <a:pt x="1066" y="214"/>
                    </a:lnTo>
                    <a:lnTo>
                      <a:pt x="1065" y="213"/>
                    </a:lnTo>
                    <a:lnTo>
                      <a:pt x="1065" y="213"/>
                    </a:lnTo>
                    <a:lnTo>
                      <a:pt x="1063" y="213"/>
                    </a:lnTo>
                    <a:lnTo>
                      <a:pt x="1063" y="213"/>
                    </a:lnTo>
                    <a:lnTo>
                      <a:pt x="1066" y="213"/>
                    </a:lnTo>
                    <a:lnTo>
                      <a:pt x="1066" y="213"/>
                    </a:lnTo>
                    <a:lnTo>
                      <a:pt x="1066" y="210"/>
                    </a:lnTo>
                    <a:lnTo>
                      <a:pt x="1066" y="210"/>
                    </a:lnTo>
                    <a:lnTo>
                      <a:pt x="1068" y="210"/>
                    </a:lnTo>
                    <a:lnTo>
                      <a:pt x="1068" y="210"/>
                    </a:lnTo>
                    <a:lnTo>
                      <a:pt x="1068" y="210"/>
                    </a:lnTo>
                    <a:lnTo>
                      <a:pt x="1068" y="210"/>
                    </a:lnTo>
                    <a:lnTo>
                      <a:pt x="1071" y="210"/>
                    </a:lnTo>
                    <a:lnTo>
                      <a:pt x="1071" y="210"/>
                    </a:lnTo>
                    <a:lnTo>
                      <a:pt x="1071" y="213"/>
                    </a:lnTo>
                    <a:lnTo>
                      <a:pt x="1071" y="213"/>
                    </a:lnTo>
                    <a:lnTo>
                      <a:pt x="1074" y="214"/>
                    </a:lnTo>
                    <a:lnTo>
                      <a:pt x="1074" y="214"/>
                    </a:lnTo>
                    <a:lnTo>
                      <a:pt x="1076" y="216"/>
                    </a:lnTo>
                    <a:lnTo>
                      <a:pt x="1076" y="216"/>
                    </a:lnTo>
                    <a:lnTo>
                      <a:pt x="1078" y="216"/>
                    </a:lnTo>
                    <a:lnTo>
                      <a:pt x="1078" y="216"/>
                    </a:lnTo>
                    <a:lnTo>
                      <a:pt x="1079" y="213"/>
                    </a:lnTo>
                    <a:lnTo>
                      <a:pt x="1079" y="213"/>
                    </a:lnTo>
                    <a:lnTo>
                      <a:pt x="1079" y="210"/>
                    </a:lnTo>
                    <a:lnTo>
                      <a:pt x="1079" y="210"/>
                    </a:lnTo>
                    <a:lnTo>
                      <a:pt x="1081" y="210"/>
                    </a:lnTo>
                    <a:lnTo>
                      <a:pt x="1081" y="210"/>
                    </a:lnTo>
                    <a:lnTo>
                      <a:pt x="1079" y="210"/>
                    </a:lnTo>
                    <a:lnTo>
                      <a:pt x="1079" y="210"/>
                    </a:lnTo>
                    <a:lnTo>
                      <a:pt x="1082" y="210"/>
                    </a:lnTo>
                    <a:lnTo>
                      <a:pt x="1082" y="210"/>
                    </a:lnTo>
                    <a:lnTo>
                      <a:pt x="1084" y="210"/>
                    </a:lnTo>
                    <a:lnTo>
                      <a:pt x="1084" y="210"/>
                    </a:lnTo>
                    <a:lnTo>
                      <a:pt x="1089" y="207"/>
                    </a:lnTo>
                    <a:lnTo>
                      <a:pt x="1089" y="207"/>
                    </a:lnTo>
                    <a:lnTo>
                      <a:pt x="1098" y="207"/>
                    </a:lnTo>
                    <a:lnTo>
                      <a:pt x="1098" y="207"/>
                    </a:lnTo>
                    <a:lnTo>
                      <a:pt x="1108" y="210"/>
                    </a:lnTo>
                    <a:lnTo>
                      <a:pt x="1108" y="210"/>
                    </a:lnTo>
                    <a:lnTo>
                      <a:pt x="1119" y="216"/>
                    </a:lnTo>
                    <a:lnTo>
                      <a:pt x="1119" y="216"/>
                    </a:lnTo>
                    <a:lnTo>
                      <a:pt x="1119" y="214"/>
                    </a:lnTo>
                    <a:lnTo>
                      <a:pt x="1119" y="214"/>
                    </a:lnTo>
                    <a:lnTo>
                      <a:pt x="1117" y="213"/>
                    </a:lnTo>
                    <a:lnTo>
                      <a:pt x="1117" y="213"/>
                    </a:lnTo>
                    <a:lnTo>
                      <a:pt x="1112" y="210"/>
                    </a:lnTo>
                    <a:lnTo>
                      <a:pt x="1112" y="210"/>
                    </a:lnTo>
                    <a:lnTo>
                      <a:pt x="1114" y="210"/>
                    </a:lnTo>
                    <a:lnTo>
                      <a:pt x="1114" y="210"/>
                    </a:lnTo>
                    <a:lnTo>
                      <a:pt x="1114" y="207"/>
                    </a:lnTo>
                    <a:lnTo>
                      <a:pt x="1114" y="207"/>
                    </a:lnTo>
                    <a:lnTo>
                      <a:pt x="1117" y="207"/>
                    </a:lnTo>
                    <a:lnTo>
                      <a:pt x="1117" y="207"/>
                    </a:lnTo>
                    <a:lnTo>
                      <a:pt x="1119" y="207"/>
                    </a:lnTo>
                    <a:lnTo>
                      <a:pt x="1119" y="207"/>
                    </a:lnTo>
                    <a:lnTo>
                      <a:pt x="1117" y="207"/>
                    </a:lnTo>
                    <a:lnTo>
                      <a:pt x="1117" y="207"/>
                    </a:lnTo>
                    <a:lnTo>
                      <a:pt x="1119" y="203"/>
                    </a:lnTo>
                    <a:lnTo>
                      <a:pt x="1119" y="203"/>
                    </a:lnTo>
                    <a:lnTo>
                      <a:pt x="1120" y="203"/>
                    </a:lnTo>
                    <a:lnTo>
                      <a:pt x="1120" y="203"/>
                    </a:lnTo>
                    <a:lnTo>
                      <a:pt x="1122" y="203"/>
                    </a:lnTo>
                    <a:lnTo>
                      <a:pt x="1122" y="203"/>
                    </a:lnTo>
                    <a:lnTo>
                      <a:pt x="1120" y="202"/>
                    </a:lnTo>
                    <a:lnTo>
                      <a:pt x="1120" y="202"/>
                    </a:lnTo>
                    <a:lnTo>
                      <a:pt x="1122" y="202"/>
                    </a:lnTo>
                    <a:lnTo>
                      <a:pt x="1122" y="202"/>
                    </a:lnTo>
                    <a:lnTo>
                      <a:pt x="1120" y="200"/>
                    </a:lnTo>
                    <a:lnTo>
                      <a:pt x="1120" y="200"/>
                    </a:lnTo>
                    <a:lnTo>
                      <a:pt x="1122" y="200"/>
                    </a:lnTo>
                    <a:lnTo>
                      <a:pt x="1122" y="200"/>
                    </a:lnTo>
                    <a:lnTo>
                      <a:pt x="1122" y="199"/>
                    </a:lnTo>
                    <a:lnTo>
                      <a:pt x="1122" y="199"/>
                    </a:lnTo>
                    <a:lnTo>
                      <a:pt x="1122" y="197"/>
                    </a:lnTo>
                    <a:lnTo>
                      <a:pt x="1122" y="197"/>
                    </a:lnTo>
                    <a:lnTo>
                      <a:pt x="1124" y="195"/>
                    </a:lnTo>
                    <a:lnTo>
                      <a:pt x="1124" y="195"/>
                    </a:lnTo>
                    <a:lnTo>
                      <a:pt x="1124" y="192"/>
                    </a:lnTo>
                    <a:lnTo>
                      <a:pt x="1124" y="192"/>
                    </a:lnTo>
                    <a:lnTo>
                      <a:pt x="1127" y="192"/>
                    </a:lnTo>
                    <a:lnTo>
                      <a:pt x="1127" y="192"/>
                    </a:lnTo>
                    <a:lnTo>
                      <a:pt x="1127" y="192"/>
                    </a:lnTo>
                    <a:lnTo>
                      <a:pt x="1127" y="192"/>
                    </a:lnTo>
                    <a:lnTo>
                      <a:pt x="1127" y="191"/>
                    </a:lnTo>
                    <a:lnTo>
                      <a:pt x="1127" y="191"/>
                    </a:lnTo>
                    <a:lnTo>
                      <a:pt x="1130" y="191"/>
                    </a:lnTo>
                    <a:lnTo>
                      <a:pt x="1130" y="191"/>
                    </a:lnTo>
                    <a:lnTo>
                      <a:pt x="1133" y="191"/>
                    </a:lnTo>
                    <a:lnTo>
                      <a:pt x="1133" y="191"/>
                    </a:lnTo>
                    <a:lnTo>
                      <a:pt x="1130" y="189"/>
                    </a:lnTo>
                    <a:lnTo>
                      <a:pt x="1130" y="189"/>
                    </a:lnTo>
                    <a:lnTo>
                      <a:pt x="1133" y="189"/>
                    </a:lnTo>
                    <a:lnTo>
                      <a:pt x="1133" y="189"/>
                    </a:lnTo>
                    <a:lnTo>
                      <a:pt x="1133" y="187"/>
                    </a:lnTo>
                    <a:lnTo>
                      <a:pt x="1133" y="187"/>
                    </a:lnTo>
                    <a:lnTo>
                      <a:pt x="1136" y="186"/>
                    </a:lnTo>
                    <a:lnTo>
                      <a:pt x="1136" y="186"/>
                    </a:lnTo>
                    <a:lnTo>
                      <a:pt x="1139" y="184"/>
                    </a:lnTo>
                    <a:lnTo>
                      <a:pt x="1139" y="184"/>
                    </a:lnTo>
                    <a:lnTo>
                      <a:pt x="1143" y="181"/>
                    </a:lnTo>
                    <a:lnTo>
                      <a:pt x="1143" y="181"/>
                    </a:lnTo>
                    <a:lnTo>
                      <a:pt x="1146" y="181"/>
                    </a:lnTo>
                    <a:lnTo>
                      <a:pt x="1146" y="181"/>
                    </a:lnTo>
                    <a:lnTo>
                      <a:pt x="1143" y="180"/>
                    </a:lnTo>
                    <a:lnTo>
                      <a:pt x="1143" y="180"/>
                    </a:lnTo>
                    <a:lnTo>
                      <a:pt x="1141" y="180"/>
                    </a:lnTo>
                    <a:lnTo>
                      <a:pt x="1141" y="180"/>
                    </a:lnTo>
                    <a:lnTo>
                      <a:pt x="1138" y="178"/>
                    </a:lnTo>
                    <a:lnTo>
                      <a:pt x="1138" y="178"/>
                    </a:lnTo>
                    <a:lnTo>
                      <a:pt x="1141" y="178"/>
                    </a:lnTo>
                    <a:lnTo>
                      <a:pt x="1141" y="178"/>
                    </a:lnTo>
                    <a:lnTo>
                      <a:pt x="1144" y="180"/>
                    </a:lnTo>
                    <a:lnTo>
                      <a:pt x="1144" y="180"/>
                    </a:lnTo>
                    <a:lnTo>
                      <a:pt x="1143" y="178"/>
                    </a:lnTo>
                    <a:lnTo>
                      <a:pt x="1143" y="178"/>
                    </a:lnTo>
                    <a:lnTo>
                      <a:pt x="1144" y="178"/>
                    </a:lnTo>
                    <a:lnTo>
                      <a:pt x="1144" y="178"/>
                    </a:lnTo>
                    <a:lnTo>
                      <a:pt x="1146" y="180"/>
                    </a:lnTo>
                    <a:lnTo>
                      <a:pt x="1146" y="180"/>
                    </a:lnTo>
                    <a:lnTo>
                      <a:pt x="1151" y="181"/>
                    </a:lnTo>
                    <a:lnTo>
                      <a:pt x="1151" y="181"/>
                    </a:lnTo>
                    <a:lnTo>
                      <a:pt x="1154" y="181"/>
                    </a:lnTo>
                    <a:lnTo>
                      <a:pt x="1154" y="181"/>
                    </a:lnTo>
                    <a:lnTo>
                      <a:pt x="1162" y="183"/>
                    </a:lnTo>
                    <a:lnTo>
                      <a:pt x="1162" y="183"/>
                    </a:lnTo>
                    <a:lnTo>
                      <a:pt x="1168" y="184"/>
                    </a:lnTo>
                    <a:lnTo>
                      <a:pt x="1168" y="184"/>
                    </a:lnTo>
                    <a:lnTo>
                      <a:pt x="1165" y="183"/>
                    </a:lnTo>
                    <a:lnTo>
                      <a:pt x="1165" y="183"/>
                    </a:lnTo>
                    <a:lnTo>
                      <a:pt x="1168" y="181"/>
                    </a:lnTo>
                    <a:lnTo>
                      <a:pt x="1168" y="181"/>
                    </a:lnTo>
                    <a:lnTo>
                      <a:pt x="1168" y="178"/>
                    </a:lnTo>
                    <a:lnTo>
                      <a:pt x="1168" y="178"/>
                    </a:lnTo>
                    <a:lnTo>
                      <a:pt x="1162" y="178"/>
                    </a:lnTo>
                    <a:lnTo>
                      <a:pt x="1162" y="178"/>
                    </a:lnTo>
                    <a:lnTo>
                      <a:pt x="1159" y="175"/>
                    </a:lnTo>
                    <a:lnTo>
                      <a:pt x="1159" y="175"/>
                    </a:lnTo>
                    <a:lnTo>
                      <a:pt x="1159" y="175"/>
                    </a:lnTo>
                    <a:lnTo>
                      <a:pt x="1159" y="175"/>
                    </a:lnTo>
                    <a:lnTo>
                      <a:pt x="1155" y="172"/>
                    </a:lnTo>
                    <a:lnTo>
                      <a:pt x="1155" y="172"/>
                    </a:lnTo>
                    <a:lnTo>
                      <a:pt x="1149" y="172"/>
                    </a:lnTo>
                    <a:lnTo>
                      <a:pt x="1149" y="172"/>
                    </a:lnTo>
                    <a:lnTo>
                      <a:pt x="1151" y="172"/>
                    </a:lnTo>
                    <a:lnTo>
                      <a:pt x="1151" y="172"/>
                    </a:lnTo>
                    <a:lnTo>
                      <a:pt x="1146" y="168"/>
                    </a:lnTo>
                    <a:lnTo>
                      <a:pt x="1146" y="168"/>
                    </a:lnTo>
                    <a:lnTo>
                      <a:pt x="1144" y="168"/>
                    </a:lnTo>
                    <a:lnTo>
                      <a:pt x="1144" y="168"/>
                    </a:lnTo>
                    <a:lnTo>
                      <a:pt x="1143" y="168"/>
                    </a:lnTo>
                    <a:lnTo>
                      <a:pt x="1143" y="168"/>
                    </a:lnTo>
                    <a:lnTo>
                      <a:pt x="1141" y="168"/>
                    </a:lnTo>
                    <a:lnTo>
                      <a:pt x="1141" y="168"/>
                    </a:lnTo>
                    <a:lnTo>
                      <a:pt x="1143" y="168"/>
                    </a:lnTo>
                    <a:lnTo>
                      <a:pt x="1143" y="168"/>
                    </a:lnTo>
                    <a:lnTo>
                      <a:pt x="1141" y="167"/>
                    </a:lnTo>
                    <a:lnTo>
                      <a:pt x="1141" y="167"/>
                    </a:lnTo>
                    <a:lnTo>
                      <a:pt x="1136" y="164"/>
                    </a:lnTo>
                    <a:lnTo>
                      <a:pt x="1136" y="164"/>
                    </a:lnTo>
                    <a:lnTo>
                      <a:pt x="1133" y="164"/>
                    </a:lnTo>
                    <a:lnTo>
                      <a:pt x="1133" y="164"/>
                    </a:lnTo>
                    <a:lnTo>
                      <a:pt x="1133" y="162"/>
                    </a:lnTo>
                    <a:lnTo>
                      <a:pt x="1133" y="162"/>
                    </a:lnTo>
                    <a:lnTo>
                      <a:pt x="1133" y="162"/>
                    </a:lnTo>
                    <a:lnTo>
                      <a:pt x="1133" y="162"/>
                    </a:lnTo>
                    <a:lnTo>
                      <a:pt x="1127" y="159"/>
                    </a:lnTo>
                    <a:lnTo>
                      <a:pt x="1127" y="159"/>
                    </a:lnTo>
                    <a:lnTo>
                      <a:pt x="1127" y="161"/>
                    </a:lnTo>
                    <a:lnTo>
                      <a:pt x="1127" y="161"/>
                    </a:lnTo>
                    <a:lnTo>
                      <a:pt x="1120" y="159"/>
                    </a:lnTo>
                    <a:lnTo>
                      <a:pt x="1120" y="159"/>
                    </a:lnTo>
                    <a:lnTo>
                      <a:pt x="1116" y="157"/>
                    </a:lnTo>
                    <a:lnTo>
                      <a:pt x="1116" y="157"/>
                    </a:lnTo>
                    <a:lnTo>
                      <a:pt x="1114" y="156"/>
                    </a:lnTo>
                    <a:lnTo>
                      <a:pt x="1114" y="156"/>
                    </a:lnTo>
                    <a:lnTo>
                      <a:pt x="1111" y="153"/>
                    </a:lnTo>
                    <a:lnTo>
                      <a:pt x="1111" y="153"/>
                    </a:lnTo>
                    <a:lnTo>
                      <a:pt x="1114" y="154"/>
                    </a:lnTo>
                    <a:lnTo>
                      <a:pt x="1114" y="154"/>
                    </a:lnTo>
                    <a:lnTo>
                      <a:pt x="1117" y="154"/>
                    </a:lnTo>
                    <a:lnTo>
                      <a:pt x="1117" y="154"/>
                    </a:lnTo>
                    <a:lnTo>
                      <a:pt x="1124" y="154"/>
                    </a:lnTo>
                    <a:lnTo>
                      <a:pt x="1124" y="154"/>
                    </a:lnTo>
                    <a:lnTo>
                      <a:pt x="1124" y="156"/>
                    </a:lnTo>
                    <a:lnTo>
                      <a:pt x="1124" y="156"/>
                    </a:lnTo>
                    <a:lnTo>
                      <a:pt x="1130" y="153"/>
                    </a:lnTo>
                    <a:lnTo>
                      <a:pt x="1130" y="153"/>
                    </a:lnTo>
                    <a:lnTo>
                      <a:pt x="1130" y="149"/>
                    </a:lnTo>
                    <a:lnTo>
                      <a:pt x="1130" y="149"/>
                    </a:lnTo>
                    <a:lnTo>
                      <a:pt x="1130" y="149"/>
                    </a:lnTo>
                    <a:lnTo>
                      <a:pt x="1130" y="149"/>
                    </a:lnTo>
                    <a:lnTo>
                      <a:pt x="1133" y="148"/>
                    </a:lnTo>
                    <a:lnTo>
                      <a:pt x="1133" y="148"/>
                    </a:lnTo>
                    <a:lnTo>
                      <a:pt x="1133" y="146"/>
                    </a:lnTo>
                    <a:lnTo>
                      <a:pt x="1133" y="146"/>
                    </a:lnTo>
                    <a:lnTo>
                      <a:pt x="1130" y="146"/>
                    </a:lnTo>
                    <a:lnTo>
                      <a:pt x="1130" y="146"/>
                    </a:lnTo>
                    <a:lnTo>
                      <a:pt x="1127" y="146"/>
                    </a:lnTo>
                    <a:lnTo>
                      <a:pt x="1127" y="146"/>
                    </a:lnTo>
                    <a:lnTo>
                      <a:pt x="1130" y="143"/>
                    </a:lnTo>
                    <a:lnTo>
                      <a:pt x="1130" y="143"/>
                    </a:lnTo>
                    <a:lnTo>
                      <a:pt x="1127" y="143"/>
                    </a:lnTo>
                    <a:lnTo>
                      <a:pt x="1127" y="143"/>
                    </a:lnTo>
                    <a:lnTo>
                      <a:pt x="1124" y="141"/>
                    </a:lnTo>
                    <a:lnTo>
                      <a:pt x="1124" y="141"/>
                    </a:lnTo>
                    <a:lnTo>
                      <a:pt x="1120" y="141"/>
                    </a:lnTo>
                    <a:lnTo>
                      <a:pt x="1120" y="141"/>
                    </a:lnTo>
                    <a:lnTo>
                      <a:pt x="1117" y="138"/>
                    </a:lnTo>
                    <a:lnTo>
                      <a:pt x="1117" y="138"/>
                    </a:lnTo>
                    <a:lnTo>
                      <a:pt x="1116" y="137"/>
                    </a:lnTo>
                    <a:lnTo>
                      <a:pt x="1116" y="137"/>
                    </a:lnTo>
                    <a:lnTo>
                      <a:pt x="1119" y="135"/>
                    </a:lnTo>
                    <a:lnTo>
                      <a:pt x="1119" y="135"/>
                    </a:lnTo>
                    <a:lnTo>
                      <a:pt x="1122" y="135"/>
                    </a:lnTo>
                    <a:lnTo>
                      <a:pt x="1122" y="135"/>
                    </a:lnTo>
                    <a:lnTo>
                      <a:pt x="1122" y="134"/>
                    </a:lnTo>
                    <a:lnTo>
                      <a:pt x="1122" y="134"/>
                    </a:lnTo>
                    <a:lnTo>
                      <a:pt x="1124" y="134"/>
                    </a:lnTo>
                    <a:lnTo>
                      <a:pt x="1124" y="134"/>
                    </a:lnTo>
                    <a:lnTo>
                      <a:pt x="1124" y="135"/>
                    </a:lnTo>
                    <a:lnTo>
                      <a:pt x="1124" y="135"/>
                    </a:lnTo>
                    <a:lnTo>
                      <a:pt x="1124" y="137"/>
                    </a:lnTo>
                    <a:lnTo>
                      <a:pt x="1124" y="137"/>
                    </a:lnTo>
                    <a:lnTo>
                      <a:pt x="1124" y="138"/>
                    </a:lnTo>
                    <a:lnTo>
                      <a:pt x="1124" y="138"/>
                    </a:lnTo>
                    <a:lnTo>
                      <a:pt x="1133" y="141"/>
                    </a:lnTo>
                    <a:lnTo>
                      <a:pt x="1133" y="141"/>
                    </a:lnTo>
                    <a:lnTo>
                      <a:pt x="1136" y="143"/>
                    </a:lnTo>
                    <a:lnTo>
                      <a:pt x="1136" y="143"/>
                    </a:lnTo>
                    <a:lnTo>
                      <a:pt x="1138" y="143"/>
                    </a:lnTo>
                    <a:lnTo>
                      <a:pt x="1138" y="143"/>
                    </a:lnTo>
                    <a:lnTo>
                      <a:pt x="1143" y="143"/>
                    </a:lnTo>
                    <a:lnTo>
                      <a:pt x="1143" y="143"/>
                    </a:lnTo>
                    <a:lnTo>
                      <a:pt x="1147" y="143"/>
                    </a:lnTo>
                    <a:lnTo>
                      <a:pt x="1147" y="143"/>
                    </a:lnTo>
                    <a:lnTo>
                      <a:pt x="1151" y="143"/>
                    </a:lnTo>
                    <a:lnTo>
                      <a:pt x="1151" y="143"/>
                    </a:lnTo>
                    <a:lnTo>
                      <a:pt x="1154" y="143"/>
                    </a:lnTo>
                    <a:lnTo>
                      <a:pt x="1154" y="143"/>
                    </a:lnTo>
                    <a:lnTo>
                      <a:pt x="1162" y="146"/>
                    </a:lnTo>
                    <a:lnTo>
                      <a:pt x="1162" y="146"/>
                    </a:lnTo>
                    <a:lnTo>
                      <a:pt x="1171" y="148"/>
                    </a:lnTo>
                    <a:lnTo>
                      <a:pt x="1171" y="148"/>
                    </a:lnTo>
                    <a:lnTo>
                      <a:pt x="1179" y="151"/>
                    </a:lnTo>
                    <a:lnTo>
                      <a:pt x="1179" y="151"/>
                    </a:lnTo>
                    <a:lnTo>
                      <a:pt x="1182" y="153"/>
                    </a:lnTo>
                    <a:lnTo>
                      <a:pt x="1182" y="153"/>
                    </a:lnTo>
                    <a:lnTo>
                      <a:pt x="1184" y="153"/>
                    </a:lnTo>
                    <a:lnTo>
                      <a:pt x="1184" y="153"/>
                    </a:lnTo>
                    <a:lnTo>
                      <a:pt x="1182" y="151"/>
                    </a:lnTo>
                    <a:lnTo>
                      <a:pt x="1182" y="151"/>
                    </a:lnTo>
                    <a:lnTo>
                      <a:pt x="1190" y="154"/>
                    </a:lnTo>
                    <a:lnTo>
                      <a:pt x="1190" y="154"/>
                    </a:lnTo>
                    <a:lnTo>
                      <a:pt x="1200" y="156"/>
                    </a:lnTo>
                    <a:lnTo>
                      <a:pt x="1200" y="156"/>
                    </a:lnTo>
                    <a:lnTo>
                      <a:pt x="1205" y="157"/>
                    </a:lnTo>
                    <a:lnTo>
                      <a:pt x="1205" y="157"/>
                    </a:lnTo>
                    <a:lnTo>
                      <a:pt x="1203" y="154"/>
                    </a:lnTo>
                    <a:lnTo>
                      <a:pt x="1203" y="154"/>
                    </a:lnTo>
                    <a:lnTo>
                      <a:pt x="1205" y="156"/>
                    </a:lnTo>
                    <a:lnTo>
                      <a:pt x="1205" y="156"/>
                    </a:lnTo>
                    <a:lnTo>
                      <a:pt x="1208" y="157"/>
                    </a:lnTo>
                    <a:lnTo>
                      <a:pt x="1208" y="157"/>
                    </a:lnTo>
                    <a:lnTo>
                      <a:pt x="1209" y="159"/>
                    </a:lnTo>
                    <a:lnTo>
                      <a:pt x="1209" y="159"/>
                    </a:lnTo>
                    <a:lnTo>
                      <a:pt x="1212" y="159"/>
                    </a:lnTo>
                    <a:lnTo>
                      <a:pt x="1212" y="159"/>
                    </a:lnTo>
                    <a:lnTo>
                      <a:pt x="1211" y="157"/>
                    </a:lnTo>
                    <a:lnTo>
                      <a:pt x="1211" y="157"/>
                    </a:lnTo>
                    <a:lnTo>
                      <a:pt x="1209" y="157"/>
                    </a:lnTo>
                    <a:lnTo>
                      <a:pt x="1209" y="157"/>
                    </a:lnTo>
                    <a:lnTo>
                      <a:pt x="1211" y="156"/>
                    </a:lnTo>
                    <a:lnTo>
                      <a:pt x="1212" y="157"/>
                    </a:lnTo>
                    <a:lnTo>
                      <a:pt x="1212" y="157"/>
                    </a:lnTo>
                    <a:lnTo>
                      <a:pt x="1212" y="157"/>
                    </a:lnTo>
                    <a:close/>
                    <a:moveTo>
                      <a:pt x="38" y="143"/>
                    </a:moveTo>
                    <a:lnTo>
                      <a:pt x="38" y="143"/>
                    </a:lnTo>
                    <a:lnTo>
                      <a:pt x="38" y="143"/>
                    </a:lnTo>
                    <a:lnTo>
                      <a:pt x="36" y="141"/>
                    </a:lnTo>
                    <a:lnTo>
                      <a:pt x="36" y="141"/>
                    </a:lnTo>
                    <a:lnTo>
                      <a:pt x="38" y="143"/>
                    </a:lnTo>
                    <a:lnTo>
                      <a:pt x="38" y="143"/>
                    </a:lnTo>
                    <a:lnTo>
                      <a:pt x="38" y="143"/>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26" name="Freeform 231">
                <a:extLst>
                  <a:ext uri="{FF2B5EF4-FFF2-40B4-BE49-F238E27FC236}">
                    <a16:creationId xmlns:a16="http://schemas.microsoft.com/office/drawing/2014/main" id="{9CB56304-923C-629A-612C-7DF5D4D2FEEB}"/>
                  </a:ext>
                </a:extLst>
              </p:cNvPr>
              <p:cNvSpPr>
                <a:spLocks noEditPoints="1"/>
              </p:cNvSpPr>
              <p:nvPr/>
            </p:nvSpPr>
            <p:spPr bwMode="auto">
              <a:xfrm>
                <a:off x="6071986" y="1571190"/>
                <a:ext cx="289357" cy="91967"/>
              </a:xfrm>
              <a:custGeom>
                <a:avLst/>
                <a:gdLst>
                  <a:gd name="T0" fmla="*/ 67 w 129"/>
                  <a:gd name="T1" fmla="*/ 14 h 41"/>
                  <a:gd name="T2" fmla="*/ 59 w 129"/>
                  <a:gd name="T3" fmla="*/ 9 h 41"/>
                  <a:gd name="T4" fmla="*/ 54 w 129"/>
                  <a:gd name="T5" fmla="*/ 8 h 41"/>
                  <a:gd name="T6" fmla="*/ 40 w 129"/>
                  <a:gd name="T7" fmla="*/ 6 h 41"/>
                  <a:gd name="T8" fmla="*/ 42 w 129"/>
                  <a:gd name="T9" fmla="*/ 14 h 41"/>
                  <a:gd name="T10" fmla="*/ 32 w 129"/>
                  <a:gd name="T11" fmla="*/ 8 h 41"/>
                  <a:gd name="T12" fmla="*/ 22 w 129"/>
                  <a:gd name="T13" fmla="*/ 11 h 41"/>
                  <a:gd name="T14" fmla="*/ 24 w 129"/>
                  <a:gd name="T15" fmla="*/ 8 h 41"/>
                  <a:gd name="T16" fmla="*/ 10 w 129"/>
                  <a:gd name="T17" fmla="*/ 8 h 41"/>
                  <a:gd name="T18" fmla="*/ 3 w 129"/>
                  <a:gd name="T19" fmla="*/ 9 h 41"/>
                  <a:gd name="T20" fmla="*/ 0 w 129"/>
                  <a:gd name="T21" fmla="*/ 12 h 41"/>
                  <a:gd name="T22" fmla="*/ 7 w 129"/>
                  <a:gd name="T23" fmla="*/ 14 h 41"/>
                  <a:gd name="T24" fmla="*/ 10 w 129"/>
                  <a:gd name="T25" fmla="*/ 15 h 41"/>
                  <a:gd name="T26" fmla="*/ 7 w 129"/>
                  <a:gd name="T27" fmla="*/ 19 h 41"/>
                  <a:gd name="T28" fmla="*/ 15 w 129"/>
                  <a:gd name="T29" fmla="*/ 22 h 41"/>
                  <a:gd name="T30" fmla="*/ 27 w 129"/>
                  <a:gd name="T31" fmla="*/ 22 h 41"/>
                  <a:gd name="T32" fmla="*/ 37 w 129"/>
                  <a:gd name="T33" fmla="*/ 19 h 41"/>
                  <a:gd name="T34" fmla="*/ 45 w 129"/>
                  <a:gd name="T35" fmla="*/ 19 h 41"/>
                  <a:gd name="T36" fmla="*/ 42 w 129"/>
                  <a:gd name="T37" fmla="*/ 22 h 41"/>
                  <a:gd name="T38" fmla="*/ 27 w 129"/>
                  <a:gd name="T39" fmla="*/ 27 h 41"/>
                  <a:gd name="T40" fmla="*/ 26 w 129"/>
                  <a:gd name="T41" fmla="*/ 28 h 41"/>
                  <a:gd name="T42" fmla="*/ 45 w 129"/>
                  <a:gd name="T43" fmla="*/ 28 h 41"/>
                  <a:gd name="T44" fmla="*/ 43 w 129"/>
                  <a:gd name="T45" fmla="*/ 31 h 41"/>
                  <a:gd name="T46" fmla="*/ 27 w 129"/>
                  <a:gd name="T47" fmla="*/ 30 h 41"/>
                  <a:gd name="T48" fmla="*/ 38 w 129"/>
                  <a:gd name="T49" fmla="*/ 36 h 41"/>
                  <a:gd name="T50" fmla="*/ 45 w 129"/>
                  <a:gd name="T51" fmla="*/ 41 h 41"/>
                  <a:gd name="T52" fmla="*/ 51 w 129"/>
                  <a:gd name="T53" fmla="*/ 38 h 41"/>
                  <a:gd name="T54" fmla="*/ 61 w 129"/>
                  <a:gd name="T55" fmla="*/ 30 h 41"/>
                  <a:gd name="T56" fmla="*/ 65 w 129"/>
                  <a:gd name="T57" fmla="*/ 25 h 41"/>
                  <a:gd name="T58" fmla="*/ 83 w 129"/>
                  <a:gd name="T59" fmla="*/ 19 h 41"/>
                  <a:gd name="T60" fmla="*/ 83 w 129"/>
                  <a:gd name="T61" fmla="*/ 19 h 41"/>
                  <a:gd name="T62" fmla="*/ 129 w 129"/>
                  <a:gd name="T63" fmla="*/ 6 h 41"/>
                  <a:gd name="T64" fmla="*/ 107 w 129"/>
                  <a:gd name="T65" fmla="*/ 3 h 41"/>
                  <a:gd name="T66" fmla="*/ 94 w 129"/>
                  <a:gd name="T67" fmla="*/ 4 h 41"/>
                  <a:gd name="T68" fmla="*/ 92 w 129"/>
                  <a:gd name="T69" fmla="*/ 1 h 41"/>
                  <a:gd name="T70" fmla="*/ 86 w 129"/>
                  <a:gd name="T71" fmla="*/ 4 h 41"/>
                  <a:gd name="T72" fmla="*/ 81 w 129"/>
                  <a:gd name="T73" fmla="*/ 3 h 41"/>
                  <a:gd name="T74" fmla="*/ 69 w 129"/>
                  <a:gd name="T75" fmla="*/ 3 h 41"/>
                  <a:gd name="T76" fmla="*/ 54 w 129"/>
                  <a:gd name="T77" fmla="*/ 4 h 41"/>
                  <a:gd name="T78" fmla="*/ 57 w 129"/>
                  <a:gd name="T79" fmla="*/ 6 h 41"/>
                  <a:gd name="T80" fmla="*/ 83 w 129"/>
                  <a:gd name="T81" fmla="*/ 9 h 41"/>
                  <a:gd name="T82" fmla="*/ 75 w 129"/>
                  <a:gd name="T83" fmla="*/ 11 h 41"/>
                  <a:gd name="T84" fmla="*/ 110 w 129"/>
                  <a:gd name="T85" fmla="*/ 12 h 41"/>
                  <a:gd name="T86" fmla="*/ 129 w 129"/>
                  <a:gd name="T87" fmla="*/ 6 h 41"/>
                  <a:gd name="T88" fmla="*/ 129 w 129"/>
                  <a:gd name="T89" fmla="*/ 6 h 41"/>
                  <a:gd name="T90" fmla="*/ 67 w 129"/>
                  <a:gd name="T91" fmla="*/ 3 h 41"/>
                  <a:gd name="T92" fmla="*/ 65 w 129"/>
                  <a:gd name="T93" fmla="*/ 3 h 41"/>
                  <a:gd name="T94" fmla="*/ 65 w 129"/>
                  <a:gd name="T95" fmla="*/ 3 h 41"/>
                  <a:gd name="T96" fmla="*/ 97 w 129"/>
                  <a:gd name="T97" fmla="*/ 25 h 41"/>
                  <a:gd name="T98" fmla="*/ 86 w 129"/>
                  <a:gd name="T99" fmla="*/ 30 h 41"/>
                  <a:gd name="T100" fmla="*/ 89 w 129"/>
                  <a:gd name="T101" fmla="*/ 31 h 41"/>
                  <a:gd name="T102" fmla="*/ 100 w 129"/>
                  <a:gd name="T103" fmla="*/ 33 h 41"/>
                  <a:gd name="T104" fmla="*/ 111 w 129"/>
                  <a:gd name="T105" fmla="*/ 27 h 41"/>
                  <a:gd name="T106" fmla="*/ 108 w 129"/>
                  <a:gd name="T107"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 h="41">
                    <a:moveTo>
                      <a:pt x="83" y="19"/>
                    </a:moveTo>
                    <a:lnTo>
                      <a:pt x="86" y="15"/>
                    </a:lnTo>
                    <a:lnTo>
                      <a:pt x="78" y="15"/>
                    </a:lnTo>
                    <a:lnTo>
                      <a:pt x="72" y="15"/>
                    </a:lnTo>
                    <a:lnTo>
                      <a:pt x="67" y="14"/>
                    </a:lnTo>
                    <a:lnTo>
                      <a:pt x="64" y="14"/>
                    </a:lnTo>
                    <a:lnTo>
                      <a:pt x="61" y="14"/>
                    </a:lnTo>
                    <a:lnTo>
                      <a:pt x="62" y="12"/>
                    </a:lnTo>
                    <a:lnTo>
                      <a:pt x="62" y="11"/>
                    </a:lnTo>
                    <a:lnTo>
                      <a:pt x="59" y="9"/>
                    </a:lnTo>
                    <a:lnTo>
                      <a:pt x="57" y="9"/>
                    </a:lnTo>
                    <a:lnTo>
                      <a:pt x="54" y="11"/>
                    </a:lnTo>
                    <a:lnTo>
                      <a:pt x="54" y="11"/>
                    </a:lnTo>
                    <a:lnTo>
                      <a:pt x="54" y="9"/>
                    </a:lnTo>
                    <a:lnTo>
                      <a:pt x="54" y="8"/>
                    </a:lnTo>
                    <a:lnTo>
                      <a:pt x="51" y="6"/>
                    </a:lnTo>
                    <a:lnTo>
                      <a:pt x="46" y="6"/>
                    </a:lnTo>
                    <a:lnTo>
                      <a:pt x="43" y="4"/>
                    </a:lnTo>
                    <a:lnTo>
                      <a:pt x="42" y="6"/>
                    </a:lnTo>
                    <a:lnTo>
                      <a:pt x="40" y="6"/>
                    </a:lnTo>
                    <a:lnTo>
                      <a:pt x="40" y="8"/>
                    </a:lnTo>
                    <a:lnTo>
                      <a:pt x="42" y="11"/>
                    </a:lnTo>
                    <a:lnTo>
                      <a:pt x="46" y="15"/>
                    </a:lnTo>
                    <a:lnTo>
                      <a:pt x="43" y="15"/>
                    </a:lnTo>
                    <a:lnTo>
                      <a:pt x="42" y="14"/>
                    </a:lnTo>
                    <a:lnTo>
                      <a:pt x="38" y="14"/>
                    </a:lnTo>
                    <a:lnTo>
                      <a:pt x="38" y="12"/>
                    </a:lnTo>
                    <a:lnTo>
                      <a:pt x="38" y="11"/>
                    </a:lnTo>
                    <a:lnTo>
                      <a:pt x="34" y="8"/>
                    </a:lnTo>
                    <a:lnTo>
                      <a:pt x="32" y="8"/>
                    </a:lnTo>
                    <a:lnTo>
                      <a:pt x="29" y="9"/>
                    </a:lnTo>
                    <a:lnTo>
                      <a:pt x="26" y="11"/>
                    </a:lnTo>
                    <a:lnTo>
                      <a:pt x="26" y="12"/>
                    </a:lnTo>
                    <a:lnTo>
                      <a:pt x="24" y="12"/>
                    </a:lnTo>
                    <a:lnTo>
                      <a:pt x="22" y="11"/>
                    </a:lnTo>
                    <a:lnTo>
                      <a:pt x="19" y="11"/>
                    </a:lnTo>
                    <a:lnTo>
                      <a:pt x="21" y="9"/>
                    </a:lnTo>
                    <a:lnTo>
                      <a:pt x="19" y="9"/>
                    </a:lnTo>
                    <a:lnTo>
                      <a:pt x="26" y="8"/>
                    </a:lnTo>
                    <a:lnTo>
                      <a:pt x="24" y="8"/>
                    </a:lnTo>
                    <a:lnTo>
                      <a:pt x="22" y="6"/>
                    </a:lnTo>
                    <a:lnTo>
                      <a:pt x="19" y="8"/>
                    </a:lnTo>
                    <a:lnTo>
                      <a:pt x="15" y="8"/>
                    </a:lnTo>
                    <a:lnTo>
                      <a:pt x="13" y="8"/>
                    </a:lnTo>
                    <a:lnTo>
                      <a:pt x="10" y="8"/>
                    </a:lnTo>
                    <a:lnTo>
                      <a:pt x="10" y="9"/>
                    </a:lnTo>
                    <a:lnTo>
                      <a:pt x="10" y="8"/>
                    </a:lnTo>
                    <a:lnTo>
                      <a:pt x="7" y="8"/>
                    </a:lnTo>
                    <a:lnTo>
                      <a:pt x="3" y="8"/>
                    </a:lnTo>
                    <a:lnTo>
                      <a:pt x="3" y="9"/>
                    </a:lnTo>
                    <a:lnTo>
                      <a:pt x="2" y="9"/>
                    </a:lnTo>
                    <a:lnTo>
                      <a:pt x="0" y="9"/>
                    </a:lnTo>
                    <a:lnTo>
                      <a:pt x="2" y="11"/>
                    </a:lnTo>
                    <a:lnTo>
                      <a:pt x="0" y="11"/>
                    </a:lnTo>
                    <a:lnTo>
                      <a:pt x="0" y="12"/>
                    </a:lnTo>
                    <a:lnTo>
                      <a:pt x="2" y="12"/>
                    </a:lnTo>
                    <a:lnTo>
                      <a:pt x="3" y="14"/>
                    </a:lnTo>
                    <a:lnTo>
                      <a:pt x="3" y="15"/>
                    </a:lnTo>
                    <a:lnTo>
                      <a:pt x="3" y="15"/>
                    </a:lnTo>
                    <a:lnTo>
                      <a:pt x="7" y="14"/>
                    </a:lnTo>
                    <a:lnTo>
                      <a:pt x="7" y="12"/>
                    </a:lnTo>
                    <a:lnTo>
                      <a:pt x="7" y="12"/>
                    </a:lnTo>
                    <a:lnTo>
                      <a:pt x="10" y="14"/>
                    </a:lnTo>
                    <a:lnTo>
                      <a:pt x="7" y="15"/>
                    </a:lnTo>
                    <a:lnTo>
                      <a:pt x="10" y="15"/>
                    </a:lnTo>
                    <a:lnTo>
                      <a:pt x="10" y="15"/>
                    </a:lnTo>
                    <a:lnTo>
                      <a:pt x="7" y="15"/>
                    </a:lnTo>
                    <a:lnTo>
                      <a:pt x="3" y="15"/>
                    </a:lnTo>
                    <a:lnTo>
                      <a:pt x="3" y="15"/>
                    </a:lnTo>
                    <a:lnTo>
                      <a:pt x="7" y="19"/>
                    </a:lnTo>
                    <a:lnTo>
                      <a:pt x="10" y="19"/>
                    </a:lnTo>
                    <a:lnTo>
                      <a:pt x="16" y="22"/>
                    </a:lnTo>
                    <a:lnTo>
                      <a:pt x="13" y="22"/>
                    </a:lnTo>
                    <a:lnTo>
                      <a:pt x="10" y="22"/>
                    </a:lnTo>
                    <a:lnTo>
                      <a:pt x="15" y="22"/>
                    </a:lnTo>
                    <a:lnTo>
                      <a:pt x="19" y="25"/>
                    </a:lnTo>
                    <a:lnTo>
                      <a:pt x="26" y="22"/>
                    </a:lnTo>
                    <a:lnTo>
                      <a:pt x="27" y="22"/>
                    </a:lnTo>
                    <a:lnTo>
                      <a:pt x="30" y="22"/>
                    </a:lnTo>
                    <a:lnTo>
                      <a:pt x="27" y="22"/>
                    </a:lnTo>
                    <a:lnTo>
                      <a:pt x="29" y="19"/>
                    </a:lnTo>
                    <a:lnTo>
                      <a:pt x="32" y="19"/>
                    </a:lnTo>
                    <a:lnTo>
                      <a:pt x="35" y="19"/>
                    </a:lnTo>
                    <a:lnTo>
                      <a:pt x="35" y="19"/>
                    </a:lnTo>
                    <a:lnTo>
                      <a:pt x="37" y="19"/>
                    </a:lnTo>
                    <a:lnTo>
                      <a:pt x="35" y="19"/>
                    </a:lnTo>
                    <a:lnTo>
                      <a:pt x="38" y="22"/>
                    </a:lnTo>
                    <a:lnTo>
                      <a:pt x="40" y="22"/>
                    </a:lnTo>
                    <a:lnTo>
                      <a:pt x="43" y="19"/>
                    </a:lnTo>
                    <a:lnTo>
                      <a:pt x="45" y="19"/>
                    </a:lnTo>
                    <a:lnTo>
                      <a:pt x="48" y="19"/>
                    </a:lnTo>
                    <a:lnTo>
                      <a:pt x="43" y="22"/>
                    </a:lnTo>
                    <a:lnTo>
                      <a:pt x="51" y="22"/>
                    </a:lnTo>
                    <a:lnTo>
                      <a:pt x="45" y="22"/>
                    </a:lnTo>
                    <a:lnTo>
                      <a:pt x="42" y="22"/>
                    </a:lnTo>
                    <a:lnTo>
                      <a:pt x="38" y="22"/>
                    </a:lnTo>
                    <a:lnTo>
                      <a:pt x="35" y="25"/>
                    </a:lnTo>
                    <a:lnTo>
                      <a:pt x="30" y="25"/>
                    </a:lnTo>
                    <a:lnTo>
                      <a:pt x="27" y="25"/>
                    </a:lnTo>
                    <a:lnTo>
                      <a:pt x="27" y="27"/>
                    </a:lnTo>
                    <a:lnTo>
                      <a:pt x="24" y="25"/>
                    </a:lnTo>
                    <a:lnTo>
                      <a:pt x="21" y="25"/>
                    </a:lnTo>
                    <a:lnTo>
                      <a:pt x="21" y="27"/>
                    </a:lnTo>
                    <a:lnTo>
                      <a:pt x="22" y="28"/>
                    </a:lnTo>
                    <a:lnTo>
                      <a:pt x="26" y="28"/>
                    </a:lnTo>
                    <a:lnTo>
                      <a:pt x="38" y="27"/>
                    </a:lnTo>
                    <a:lnTo>
                      <a:pt x="43" y="27"/>
                    </a:lnTo>
                    <a:lnTo>
                      <a:pt x="48" y="27"/>
                    </a:lnTo>
                    <a:lnTo>
                      <a:pt x="48" y="28"/>
                    </a:lnTo>
                    <a:lnTo>
                      <a:pt x="45" y="28"/>
                    </a:lnTo>
                    <a:lnTo>
                      <a:pt x="40" y="28"/>
                    </a:lnTo>
                    <a:lnTo>
                      <a:pt x="32" y="30"/>
                    </a:lnTo>
                    <a:lnTo>
                      <a:pt x="35" y="30"/>
                    </a:lnTo>
                    <a:lnTo>
                      <a:pt x="38" y="30"/>
                    </a:lnTo>
                    <a:lnTo>
                      <a:pt x="43" y="31"/>
                    </a:lnTo>
                    <a:lnTo>
                      <a:pt x="38" y="31"/>
                    </a:lnTo>
                    <a:lnTo>
                      <a:pt x="35" y="30"/>
                    </a:lnTo>
                    <a:lnTo>
                      <a:pt x="32" y="31"/>
                    </a:lnTo>
                    <a:lnTo>
                      <a:pt x="29" y="30"/>
                    </a:lnTo>
                    <a:lnTo>
                      <a:pt x="27" y="30"/>
                    </a:lnTo>
                    <a:lnTo>
                      <a:pt x="26" y="31"/>
                    </a:lnTo>
                    <a:lnTo>
                      <a:pt x="27" y="33"/>
                    </a:lnTo>
                    <a:lnTo>
                      <a:pt x="32" y="36"/>
                    </a:lnTo>
                    <a:lnTo>
                      <a:pt x="37" y="36"/>
                    </a:lnTo>
                    <a:lnTo>
                      <a:pt x="38" y="36"/>
                    </a:lnTo>
                    <a:lnTo>
                      <a:pt x="42" y="36"/>
                    </a:lnTo>
                    <a:lnTo>
                      <a:pt x="46" y="36"/>
                    </a:lnTo>
                    <a:lnTo>
                      <a:pt x="42" y="38"/>
                    </a:lnTo>
                    <a:lnTo>
                      <a:pt x="38" y="38"/>
                    </a:lnTo>
                    <a:lnTo>
                      <a:pt x="45" y="41"/>
                    </a:lnTo>
                    <a:lnTo>
                      <a:pt x="48" y="41"/>
                    </a:lnTo>
                    <a:lnTo>
                      <a:pt x="48" y="41"/>
                    </a:lnTo>
                    <a:lnTo>
                      <a:pt x="51" y="39"/>
                    </a:lnTo>
                    <a:lnTo>
                      <a:pt x="48" y="39"/>
                    </a:lnTo>
                    <a:lnTo>
                      <a:pt x="51" y="38"/>
                    </a:lnTo>
                    <a:lnTo>
                      <a:pt x="51" y="36"/>
                    </a:lnTo>
                    <a:lnTo>
                      <a:pt x="54" y="35"/>
                    </a:lnTo>
                    <a:lnTo>
                      <a:pt x="54" y="31"/>
                    </a:lnTo>
                    <a:lnTo>
                      <a:pt x="57" y="31"/>
                    </a:lnTo>
                    <a:lnTo>
                      <a:pt x="61" y="30"/>
                    </a:lnTo>
                    <a:lnTo>
                      <a:pt x="61" y="28"/>
                    </a:lnTo>
                    <a:lnTo>
                      <a:pt x="61" y="27"/>
                    </a:lnTo>
                    <a:lnTo>
                      <a:pt x="61" y="25"/>
                    </a:lnTo>
                    <a:lnTo>
                      <a:pt x="62" y="25"/>
                    </a:lnTo>
                    <a:lnTo>
                      <a:pt x="65" y="25"/>
                    </a:lnTo>
                    <a:lnTo>
                      <a:pt x="65" y="22"/>
                    </a:lnTo>
                    <a:lnTo>
                      <a:pt x="65" y="22"/>
                    </a:lnTo>
                    <a:lnTo>
                      <a:pt x="72" y="19"/>
                    </a:lnTo>
                    <a:lnTo>
                      <a:pt x="78" y="19"/>
                    </a:lnTo>
                    <a:lnTo>
                      <a:pt x="83" y="19"/>
                    </a:lnTo>
                    <a:lnTo>
                      <a:pt x="83" y="19"/>
                    </a:lnTo>
                    <a:lnTo>
                      <a:pt x="83" y="19"/>
                    </a:lnTo>
                    <a:lnTo>
                      <a:pt x="83" y="19"/>
                    </a:lnTo>
                    <a:lnTo>
                      <a:pt x="83" y="19"/>
                    </a:lnTo>
                    <a:lnTo>
                      <a:pt x="83" y="19"/>
                    </a:lnTo>
                    <a:lnTo>
                      <a:pt x="83" y="19"/>
                    </a:lnTo>
                    <a:lnTo>
                      <a:pt x="83" y="19"/>
                    </a:lnTo>
                    <a:lnTo>
                      <a:pt x="83" y="19"/>
                    </a:lnTo>
                    <a:lnTo>
                      <a:pt x="83" y="19"/>
                    </a:lnTo>
                    <a:close/>
                    <a:moveTo>
                      <a:pt x="129" y="6"/>
                    </a:moveTo>
                    <a:lnTo>
                      <a:pt x="127" y="4"/>
                    </a:lnTo>
                    <a:lnTo>
                      <a:pt x="124" y="3"/>
                    </a:lnTo>
                    <a:lnTo>
                      <a:pt x="118" y="4"/>
                    </a:lnTo>
                    <a:lnTo>
                      <a:pt x="111" y="3"/>
                    </a:lnTo>
                    <a:lnTo>
                      <a:pt x="107" y="3"/>
                    </a:lnTo>
                    <a:lnTo>
                      <a:pt x="105" y="3"/>
                    </a:lnTo>
                    <a:lnTo>
                      <a:pt x="103" y="3"/>
                    </a:lnTo>
                    <a:lnTo>
                      <a:pt x="100" y="3"/>
                    </a:lnTo>
                    <a:lnTo>
                      <a:pt x="97" y="4"/>
                    </a:lnTo>
                    <a:lnTo>
                      <a:pt x="94" y="4"/>
                    </a:lnTo>
                    <a:lnTo>
                      <a:pt x="95" y="3"/>
                    </a:lnTo>
                    <a:lnTo>
                      <a:pt x="95" y="1"/>
                    </a:lnTo>
                    <a:lnTo>
                      <a:pt x="97" y="1"/>
                    </a:lnTo>
                    <a:lnTo>
                      <a:pt x="92" y="0"/>
                    </a:lnTo>
                    <a:lnTo>
                      <a:pt x="92" y="1"/>
                    </a:lnTo>
                    <a:lnTo>
                      <a:pt x="92" y="1"/>
                    </a:lnTo>
                    <a:lnTo>
                      <a:pt x="92" y="3"/>
                    </a:lnTo>
                    <a:lnTo>
                      <a:pt x="89" y="6"/>
                    </a:lnTo>
                    <a:lnTo>
                      <a:pt x="89" y="6"/>
                    </a:lnTo>
                    <a:lnTo>
                      <a:pt x="86" y="4"/>
                    </a:lnTo>
                    <a:lnTo>
                      <a:pt x="86" y="4"/>
                    </a:lnTo>
                    <a:lnTo>
                      <a:pt x="83" y="4"/>
                    </a:lnTo>
                    <a:lnTo>
                      <a:pt x="86" y="3"/>
                    </a:lnTo>
                    <a:lnTo>
                      <a:pt x="83" y="3"/>
                    </a:lnTo>
                    <a:lnTo>
                      <a:pt x="81" y="3"/>
                    </a:lnTo>
                    <a:lnTo>
                      <a:pt x="80" y="3"/>
                    </a:lnTo>
                    <a:lnTo>
                      <a:pt x="76" y="3"/>
                    </a:lnTo>
                    <a:lnTo>
                      <a:pt x="72" y="1"/>
                    </a:lnTo>
                    <a:lnTo>
                      <a:pt x="70" y="1"/>
                    </a:lnTo>
                    <a:lnTo>
                      <a:pt x="69" y="3"/>
                    </a:lnTo>
                    <a:lnTo>
                      <a:pt x="67" y="3"/>
                    </a:lnTo>
                    <a:lnTo>
                      <a:pt x="64" y="4"/>
                    </a:lnTo>
                    <a:lnTo>
                      <a:pt x="61" y="3"/>
                    </a:lnTo>
                    <a:lnTo>
                      <a:pt x="57" y="3"/>
                    </a:lnTo>
                    <a:lnTo>
                      <a:pt x="54" y="4"/>
                    </a:lnTo>
                    <a:lnTo>
                      <a:pt x="57" y="4"/>
                    </a:lnTo>
                    <a:lnTo>
                      <a:pt x="57" y="4"/>
                    </a:lnTo>
                    <a:lnTo>
                      <a:pt x="62" y="4"/>
                    </a:lnTo>
                    <a:lnTo>
                      <a:pt x="61" y="6"/>
                    </a:lnTo>
                    <a:lnTo>
                      <a:pt x="57" y="6"/>
                    </a:lnTo>
                    <a:lnTo>
                      <a:pt x="64" y="8"/>
                    </a:lnTo>
                    <a:lnTo>
                      <a:pt x="72" y="8"/>
                    </a:lnTo>
                    <a:lnTo>
                      <a:pt x="81" y="8"/>
                    </a:lnTo>
                    <a:lnTo>
                      <a:pt x="89" y="8"/>
                    </a:lnTo>
                    <a:lnTo>
                      <a:pt x="83" y="9"/>
                    </a:lnTo>
                    <a:lnTo>
                      <a:pt x="81" y="9"/>
                    </a:lnTo>
                    <a:lnTo>
                      <a:pt x="76" y="9"/>
                    </a:lnTo>
                    <a:lnTo>
                      <a:pt x="69" y="9"/>
                    </a:lnTo>
                    <a:lnTo>
                      <a:pt x="72" y="11"/>
                    </a:lnTo>
                    <a:lnTo>
                      <a:pt x="75" y="11"/>
                    </a:lnTo>
                    <a:lnTo>
                      <a:pt x="81" y="12"/>
                    </a:lnTo>
                    <a:lnTo>
                      <a:pt x="92" y="12"/>
                    </a:lnTo>
                    <a:lnTo>
                      <a:pt x="100" y="14"/>
                    </a:lnTo>
                    <a:lnTo>
                      <a:pt x="107" y="14"/>
                    </a:lnTo>
                    <a:lnTo>
                      <a:pt x="110" y="12"/>
                    </a:lnTo>
                    <a:lnTo>
                      <a:pt x="113" y="12"/>
                    </a:lnTo>
                    <a:lnTo>
                      <a:pt x="116" y="12"/>
                    </a:lnTo>
                    <a:lnTo>
                      <a:pt x="119" y="11"/>
                    </a:lnTo>
                    <a:lnTo>
                      <a:pt x="118" y="9"/>
                    </a:lnTo>
                    <a:lnTo>
                      <a:pt x="129" y="6"/>
                    </a:lnTo>
                    <a:lnTo>
                      <a:pt x="129" y="6"/>
                    </a:lnTo>
                    <a:lnTo>
                      <a:pt x="129" y="6"/>
                    </a:lnTo>
                    <a:lnTo>
                      <a:pt x="129" y="6"/>
                    </a:lnTo>
                    <a:lnTo>
                      <a:pt x="129" y="6"/>
                    </a:lnTo>
                    <a:lnTo>
                      <a:pt x="129" y="6"/>
                    </a:lnTo>
                    <a:lnTo>
                      <a:pt x="129" y="6"/>
                    </a:lnTo>
                    <a:lnTo>
                      <a:pt x="129" y="6"/>
                    </a:lnTo>
                    <a:lnTo>
                      <a:pt x="129" y="6"/>
                    </a:lnTo>
                    <a:close/>
                    <a:moveTo>
                      <a:pt x="65" y="3"/>
                    </a:moveTo>
                    <a:lnTo>
                      <a:pt x="67" y="3"/>
                    </a:lnTo>
                    <a:lnTo>
                      <a:pt x="64" y="1"/>
                    </a:lnTo>
                    <a:lnTo>
                      <a:pt x="65" y="3"/>
                    </a:lnTo>
                    <a:lnTo>
                      <a:pt x="65" y="3"/>
                    </a:lnTo>
                    <a:lnTo>
                      <a:pt x="65" y="3"/>
                    </a:lnTo>
                    <a:lnTo>
                      <a:pt x="65" y="3"/>
                    </a:lnTo>
                    <a:lnTo>
                      <a:pt x="65" y="3"/>
                    </a:lnTo>
                    <a:lnTo>
                      <a:pt x="65" y="3"/>
                    </a:lnTo>
                    <a:lnTo>
                      <a:pt x="65" y="3"/>
                    </a:lnTo>
                    <a:lnTo>
                      <a:pt x="65" y="3"/>
                    </a:lnTo>
                    <a:lnTo>
                      <a:pt x="65" y="3"/>
                    </a:lnTo>
                    <a:close/>
                    <a:moveTo>
                      <a:pt x="108" y="27"/>
                    </a:moveTo>
                    <a:lnTo>
                      <a:pt x="103" y="27"/>
                    </a:lnTo>
                    <a:lnTo>
                      <a:pt x="100" y="25"/>
                    </a:lnTo>
                    <a:lnTo>
                      <a:pt x="102" y="25"/>
                    </a:lnTo>
                    <a:lnTo>
                      <a:pt x="97" y="25"/>
                    </a:lnTo>
                    <a:lnTo>
                      <a:pt x="92" y="25"/>
                    </a:lnTo>
                    <a:lnTo>
                      <a:pt x="83" y="25"/>
                    </a:lnTo>
                    <a:lnTo>
                      <a:pt x="83" y="25"/>
                    </a:lnTo>
                    <a:lnTo>
                      <a:pt x="86" y="27"/>
                    </a:lnTo>
                    <a:lnTo>
                      <a:pt x="86" y="30"/>
                    </a:lnTo>
                    <a:lnTo>
                      <a:pt x="83" y="30"/>
                    </a:lnTo>
                    <a:lnTo>
                      <a:pt x="83" y="30"/>
                    </a:lnTo>
                    <a:lnTo>
                      <a:pt x="83" y="31"/>
                    </a:lnTo>
                    <a:lnTo>
                      <a:pt x="86" y="31"/>
                    </a:lnTo>
                    <a:lnTo>
                      <a:pt x="89" y="31"/>
                    </a:lnTo>
                    <a:lnTo>
                      <a:pt x="97" y="30"/>
                    </a:lnTo>
                    <a:lnTo>
                      <a:pt x="95" y="31"/>
                    </a:lnTo>
                    <a:lnTo>
                      <a:pt x="94" y="33"/>
                    </a:lnTo>
                    <a:lnTo>
                      <a:pt x="97" y="33"/>
                    </a:lnTo>
                    <a:lnTo>
                      <a:pt x="100" y="33"/>
                    </a:lnTo>
                    <a:lnTo>
                      <a:pt x="103" y="31"/>
                    </a:lnTo>
                    <a:lnTo>
                      <a:pt x="107" y="31"/>
                    </a:lnTo>
                    <a:lnTo>
                      <a:pt x="110" y="30"/>
                    </a:lnTo>
                    <a:lnTo>
                      <a:pt x="113" y="28"/>
                    </a:lnTo>
                    <a:lnTo>
                      <a:pt x="111" y="27"/>
                    </a:lnTo>
                    <a:lnTo>
                      <a:pt x="108" y="27"/>
                    </a:lnTo>
                    <a:lnTo>
                      <a:pt x="108" y="27"/>
                    </a:lnTo>
                    <a:lnTo>
                      <a:pt x="108" y="27"/>
                    </a:lnTo>
                    <a:lnTo>
                      <a:pt x="108" y="27"/>
                    </a:lnTo>
                    <a:lnTo>
                      <a:pt x="108" y="27"/>
                    </a:lnTo>
                    <a:lnTo>
                      <a:pt x="108" y="27"/>
                    </a:lnTo>
                    <a:lnTo>
                      <a:pt x="108" y="27"/>
                    </a:lnTo>
                    <a:lnTo>
                      <a:pt x="108" y="27"/>
                    </a:lnTo>
                    <a:lnTo>
                      <a:pt x="108" y="27"/>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27" name="Freeform 360">
                <a:extLst>
                  <a:ext uri="{FF2B5EF4-FFF2-40B4-BE49-F238E27FC236}">
                    <a16:creationId xmlns:a16="http://schemas.microsoft.com/office/drawing/2014/main" id="{1FD20998-2332-7BB5-C625-B8ACE651E128}"/>
                  </a:ext>
                </a:extLst>
              </p:cNvPr>
              <p:cNvSpPr>
                <a:spLocks/>
              </p:cNvSpPr>
              <p:nvPr/>
            </p:nvSpPr>
            <p:spPr bwMode="auto">
              <a:xfrm>
                <a:off x="7289975" y="2313645"/>
                <a:ext cx="0" cy="4486"/>
              </a:xfrm>
              <a:custGeom>
                <a:avLst/>
                <a:gdLst>
                  <a:gd name="T0" fmla="*/ 2 h 2"/>
                  <a:gd name="T1" fmla="*/ 2 h 2"/>
                  <a:gd name="T2" fmla="*/ 0 h 2"/>
                  <a:gd name="T3" fmla="*/ 0 h 2"/>
                  <a:gd name="T4" fmla="*/ 2 h 2"/>
                  <a:gd name="T5" fmla="*/ 2 h 2"/>
                  <a:gd name="T6" fmla="*/ 2 h 2"/>
                  <a:gd name="T7" fmla="*/ 2 h 2"/>
                  <a:gd name="T8" fmla="*/ 2 h 2"/>
                  <a:gd name="T9" fmla="*/ 2 h 2"/>
                  <a:gd name="T10" fmla="*/ 2 h 2"/>
                  <a:gd name="T11"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2">
                    <a:moveTo>
                      <a:pt x="0" y="2"/>
                    </a:moveTo>
                    <a:lnTo>
                      <a:pt x="0" y="2"/>
                    </a:lnTo>
                    <a:lnTo>
                      <a:pt x="0" y="0"/>
                    </a:lnTo>
                    <a:lnTo>
                      <a:pt x="0" y="0"/>
                    </a:lnTo>
                    <a:lnTo>
                      <a:pt x="0" y="2"/>
                    </a:lnTo>
                    <a:lnTo>
                      <a:pt x="0" y="2"/>
                    </a:lnTo>
                    <a:lnTo>
                      <a:pt x="0" y="2"/>
                    </a:lnTo>
                    <a:lnTo>
                      <a:pt x="0" y="2"/>
                    </a:lnTo>
                    <a:lnTo>
                      <a:pt x="0" y="2"/>
                    </a:lnTo>
                    <a:lnTo>
                      <a:pt x="0" y="2"/>
                    </a:lnTo>
                    <a:lnTo>
                      <a:pt x="0" y="2"/>
                    </a:lnTo>
                    <a:lnTo>
                      <a:pt x="0" y="2"/>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28" name="Freeform 362">
                <a:extLst>
                  <a:ext uri="{FF2B5EF4-FFF2-40B4-BE49-F238E27FC236}">
                    <a16:creationId xmlns:a16="http://schemas.microsoft.com/office/drawing/2014/main" id="{BAC107CE-FA9E-29A1-AF0E-97ECFC413033}"/>
                  </a:ext>
                </a:extLst>
              </p:cNvPr>
              <p:cNvSpPr>
                <a:spLocks/>
              </p:cNvSpPr>
              <p:nvPr/>
            </p:nvSpPr>
            <p:spPr bwMode="auto">
              <a:xfrm>
                <a:off x="7276515" y="2349534"/>
                <a:ext cx="20189" cy="22431"/>
              </a:xfrm>
              <a:custGeom>
                <a:avLst/>
                <a:gdLst>
                  <a:gd name="T0" fmla="*/ 5 w 9"/>
                  <a:gd name="T1" fmla="*/ 2 h 10"/>
                  <a:gd name="T2" fmla="*/ 0 w 9"/>
                  <a:gd name="T3" fmla="*/ 5 h 10"/>
                  <a:gd name="T4" fmla="*/ 0 w 9"/>
                  <a:gd name="T5" fmla="*/ 7 h 10"/>
                  <a:gd name="T6" fmla="*/ 1 w 9"/>
                  <a:gd name="T7" fmla="*/ 7 h 10"/>
                  <a:gd name="T8" fmla="*/ 5 w 9"/>
                  <a:gd name="T9" fmla="*/ 8 h 10"/>
                  <a:gd name="T10" fmla="*/ 8 w 9"/>
                  <a:gd name="T11" fmla="*/ 10 h 10"/>
                  <a:gd name="T12" fmla="*/ 9 w 9"/>
                  <a:gd name="T13" fmla="*/ 10 h 10"/>
                  <a:gd name="T14" fmla="*/ 9 w 9"/>
                  <a:gd name="T15" fmla="*/ 10 h 10"/>
                  <a:gd name="T16" fmla="*/ 8 w 9"/>
                  <a:gd name="T17" fmla="*/ 0 h 10"/>
                  <a:gd name="T18" fmla="*/ 6 w 9"/>
                  <a:gd name="T19" fmla="*/ 2 h 10"/>
                  <a:gd name="T20" fmla="*/ 5 w 9"/>
                  <a:gd name="T21" fmla="*/ 2 h 10"/>
                  <a:gd name="T22" fmla="*/ 5 w 9"/>
                  <a:gd name="T23" fmla="*/ 2 h 10"/>
                  <a:gd name="T24" fmla="*/ 5 w 9"/>
                  <a:gd name="T25" fmla="*/ 2 h 10"/>
                  <a:gd name="T26" fmla="*/ 5 w 9"/>
                  <a:gd name="T27" fmla="*/ 2 h 10"/>
                  <a:gd name="T28" fmla="*/ 5 w 9"/>
                  <a:gd name="T29" fmla="*/ 2 h 10"/>
                  <a:gd name="T30" fmla="*/ 5 w 9"/>
                  <a:gd name="T31" fmla="*/ 2 h 10"/>
                  <a:gd name="T32" fmla="*/ 5 w 9"/>
                  <a:gd name="T33" fmla="*/ 2 h 10"/>
                  <a:gd name="T34" fmla="*/ 5 w 9"/>
                  <a:gd name="T3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0">
                    <a:moveTo>
                      <a:pt x="5" y="2"/>
                    </a:moveTo>
                    <a:lnTo>
                      <a:pt x="0" y="5"/>
                    </a:lnTo>
                    <a:lnTo>
                      <a:pt x="0" y="7"/>
                    </a:lnTo>
                    <a:lnTo>
                      <a:pt x="1" y="7"/>
                    </a:lnTo>
                    <a:lnTo>
                      <a:pt x="5" y="8"/>
                    </a:lnTo>
                    <a:lnTo>
                      <a:pt x="8" y="10"/>
                    </a:lnTo>
                    <a:lnTo>
                      <a:pt x="9" y="10"/>
                    </a:lnTo>
                    <a:lnTo>
                      <a:pt x="9" y="10"/>
                    </a:lnTo>
                    <a:lnTo>
                      <a:pt x="8" y="0"/>
                    </a:lnTo>
                    <a:lnTo>
                      <a:pt x="6" y="2"/>
                    </a:lnTo>
                    <a:lnTo>
                      <a:pt x="5" y="2"/>
                    </a:lnTo>
                    <a:lnTo>
                      <a:pt x="5" y="2"/>
                    </a:lnTo>
                    <a:lnTo>
                      <a:pt x="5" y="2"/>
                    </a:lnTo>
                    <a:lnTo>
                      <a:pt x="5" y="2"/>
                    </a:lnTo>
                    <a:lnTo>
                      <a:pt x="5" y="2"/>
                    </a:lnTo>
                    <a:lnTo>
                      <a:pt x="5" y="2"/>
                    </a:lnTo>
                    <a:lnTo>
                      <a:pt x="5" y="2"/>
                    </a:lnTo>
                    <a:lnTo>
                      <a:pt x="5" y="2"/>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29" name="Freeform 75">
                <a:extLst>
                  <a:ext uri="{FF2B5EF4-FFF2-40B4-BE49-F238E27FC236}">
                    <a16:creationId xmlns:a16="http://schemas.microsoft.com/office/drawing/2014/main" id="{273B8771-83E1-1F3F-CB3C-9AFC08EA6583}"/>
                  </a:ext>
                </a:extLst>
              </p:cNvPr>
              <p:cNvSpPr>
                <a:spLocks/>
              </p:cNvSpPr>
              <p:nvPr/>
            </p:nvSpPr>
            <p:spPr bwMode="auto">
              <a:xfrm>
                <a:off x="6482469" y="2724127"/>
                <a:ext cx="11216" cy="11216"/>
              </a:xfrm>
              <a:custGeom>
                <a:avLst/>
                <a:gdLst>
                  <a:gd name="T0" fmla="*/ 0 w 5"/>
                  <a:gd name="T1" fmla="*/ 3 h 5"/>
                  <a:gd name="T2" fmla="*/ 0 w 5"/>
                  <a:gd name="T3" fmla="*/ 5 h 5"/>
                  <a:gd name="T4" fmla="*/ 1 w 5"/>
                  <a:gd name="T5" fmla="*/ 3 h 5"/>
                  <a:gd name="T6" fmla="*/ 5 w 5"/>
                  <a:gd name="T7" fmla="*/ 0 h 5"/>
                  <a:gd name="T8" fmla="*/ 1 w 5"/>
                  <a:gd name="T9" fmla="*/ 0 h 5"/>
                  <a:gd name="T10" fmla="*/ 0 w 5"/>
                  <a:gd name="T11" fmla="*/ 3 h 5"/>
                  <a:gd name="T12" fmla="*/ 0 w 5"/>
                  <a:gd name="T13" fmla="*/ 3 h 5"/>
                  <a:gd name="T14" fmla="*/ 0 w 5"/>
                  <a:gd name="T15" fmla="*/ 3 h 5"/>
                  <a:gd name="T16" fmla="*/ 0 w 5"/>
                  <a:gd name="T17" fmla="*/ 3 h 5"/>
                  <a:gd name="T18" fmla="*/ 0 w 5"/>
                  <a:gd name="T19" fmla="*/ 3 h 5"/>
                  <a:gd name="T20" fmla="*/ 0 w 5"/>
                  <a:gd name="T21" fmla="*/ 3 h 5"/>
                  <a:gd name="T22" fmla="*/ 0 w 5"/>
                  <a:gd name="T23" fmla="*/ 3 h 5"/>
                  <a:gd name="T24" fmla="*/ 0 w 5"/>
                  <a:gd name="T25" fmla="*/ 3 h 5"/>
                  <a:gd name="T26" fmla="*/ 0 w 5"/>
                  <a:gd name="T2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0" y="3"/>
                    </a:moveTo>
                    <a:lnTo>
                      <a:pt x="0" y="5"/>
                    </a:lnTo>
                    <a:lnTo>
                      <a:pt x="1" y="3"/>
                    </a:lnTo>
                    <a:lnTo>
                      <a:pt x="5" y="0"/>
                    </a:lnTo>
                    <a:lnTo>
                      <a:pt x="1" y="0"/>
                    </a:lnTo>
                    <a:lnTo>
                      <a:pt x="0" y="3"/>
                    </a:lnTo>
                    <a:lnTo>
                      <a:pt x="0" y="3"/>
                    </a:lnTo>
                    <a:lnTo>
                      <a:pt x="0" y="3"/>
                    </a:lnTo>
                    <a:lnTo>
                      <a:pt x="0" y="3"/>
                    </a:lnTo>
                    <a:lnTo>
                      <a:pt x="0" y="3"/>
                    </a:lnTo>
                    <a:lnTo>
                      <a:pt x="0" y="3"/>
                    </a:lnTo>
                    <a:lnTo>
                      <a:pt x="0" y="3"/>
                    </a:lnTo>
                    <a:lnTo>
                      <a:pt x="0" y="3"/>
                    </a:lnTo>
                    <a:lnTo>
                      <a:pt x="0" y="3"/>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30" name="Freeform 78">
                <a:extLst>
                  <a:ext uri="{FF2B5EF4-FFF2-40B4-BE49-F238E27FC236}">
                    <a16:creationId xmlns:a16="http://schemas.microsoft.com/office/drawing/2014/main" id="{DCAFEA7E-CFF8-9BA8-AA9C-3000A6A4B854}"/>
                  </a:ext>
                </a:extLst>
              </p:cNvPr>
              <p:cNvSpPr>
                <a:spLocks/>
              </p:cNvSpPr>
              <p:nvPr/>
            </p:nvSpPr>
            <p:spPr bwMode="auto">
              <a:xfrm>
                <a:off x="6475740" y="2674780"/>
                <a:ext cx="78508" cy="49347"/>
              </a:xfrm>
              <a:custGeom>
                <a:avLst/>
                <a:gdLst>
                  <a:gd name="T0" fmla="*/ 35 w 35"/>
                  <a:gd name="T1" fmla="*/ 11 h 22"/>
                  <a:gd name="T2" fmla="*/ 27 w 35"/>
                  <a:gd name="T3" fmla="*/ 8 h 22"/>
                  <a:gd name="T4" fmla="*/ 22 w 35"/>
                  <a:gd name="T5" fmla="*/ 3 h 22"/>
                  <a:gd name="T6" fmla="*/ 22 w 35"/>
                  <a:gd name="T7" fmla="*/ 1 h 22"/>
                  <a:gd name="T8" fmla="*/ 22 w 35"/>
                  <a:gd name="T9" fmla="*/ 0 h 22"/>
                  <a:gd name="T10" fmla="*/ 20 w 35"/>
                  <a:gd name="T11" fmla="*/ 0 h 22"/>
                  <a:gd name="T12" fmla="*/ 19 w 35"/>
                  <a:gd name="T13" fmla="*/ 0 h 22"/>
                  <a:gd name="T14" fmla="*/ 17 w 35"/>
                  <a:gd name="T15" fmla="*/ 0 h 22"/>
                  <a:gd name="T16" fmla="*/ 16 w 35"/>
                  <a:gd name="T17" fmla="*/ 0 h 22"/>
                  <a:gd name="T18" fmla="*/ 14 w 35"/>
                  <a:gd name="T19" fmla="*/ 0 h 22"/>
                  <a:gd name="T20" fmla="*/ 12 w 35"/>
                  <a:gd name="T21" fmla="*/ 0 h 22"/>
                  <a:gd name="T22" fmla="*/ 11 w 35"/>
                  <a:gd name="T23" fmla="*/ 0 h 22"/>
                  <a:gd name="T24" fmla="*/ 6 w 35"/>
                  <a:gd name="T25" fmla="*/ 0 h 22"/>
                  <a:gd name="T26" fmla="*/ 4 w 35"/>
                  <a:gd name="T27" fmla="*/ 1 h 22"/>
                  <a:gd name="T28" fmla="*/ 3 w 35"/>
                  <a:gd name="T29" fmla="*/ 3 h 22"/>
                  <a:gd name="T30" fmla="*/ 3 w 35"/>
                  <a:gd name="T31" fmla="*/ 3 h 22"/>
                  <a:gd name="T32" fmla="*/ 3 w 35"/>
                  <a:gd name="T33" fmla="*/ 4 h 22"/>
                  <a:gd name="T34" fmla="*/ 4 w 35"/>
                  <a:gd name="T35" fmla="*/ 4 h 22"/>
                  <a:gd name="T36" fmla="*/ 4 w 35"/>
                  <a:gd name="T37" fmla="*/ 6 h 22"/>
                  <a:gd name="T38" fmla="*/ 6 w 35"/>
                  <a:gd name="T39" fmla="*/ 8 h 22"/>
                  <a:gd name="T40" fmla="*/ 4 w 35"/>
                  <a:gd name="T41" fmla="*/ 9 h 22"/>
                  <a:gd name="T42" fmla="*/ 3 w 35"/>
                  <a:gd name="T43" fmla="*/ 9 h 22"/>
                  <a:gd name="T44" fmla="*/ 3 w 35"/>
                  <a:gd name="T45" fmla="*/ 11 h 22"/>
                  <a:gd name="T46" fmla="*/ 3 w 35"/>
                  <a:gd name="T47" fmla="*/ 14 h 22"/>
                  <a:gd name="T48" fmla="*/ 3 w 35"/>
                  <a:gd name="T49" fmla="*/ 14 h 22"/>
                  <a:gd name="T50" fmla="*/ 3 w 35"/>
                  <a:gd name="T51" fmla="*/ 16 h 22"/>
                  <a:gd name="T52" fmla="*/ 0 w 35"/>
                  <a:gd name="T53" fmla="*/ 19 h 22"/>
                  <a:gd name="T54" fmla="*/ 3 w 35"/>
                  <a:gd name="T55" fmla="*/ 20 h 22"/>
                  <a:gd name="T56" fmla="*/ 3 w 35"/>
                  <a:gd name="T57" fmla="*/ 20 h 22"/>
                  <a:gd name="T58" fmla="*/ 6 w 35"/>
                  <a:gd name="T59" fmla="*/ 19 h 22"/>
                  <a:gd name="T60" fmla="*/ 8 w 35"/>
                  <a:gd name="T61" fmla="*/ 19 h 22"/>
                  <a:gd name="T62" fmla="*/ 8 w 35"/>
                  <a:gd name="T63" fmla="*/ 20 h 22"/>
                  <a:gd name="T64" fmla="*/ 8 w 35"/>
                  <a:gd name="T65" fmla="*/ 22 h 22"/>
                  <a:gd name="T66" fmla="*/ 11 w 35"/>
                  <a:gd name="T67" fmla="*/ 20 h 22"/>
                  <a:gd name="T68" fmla="*/ 14 w 35"/>
                  <a:gd name="T69" fmla="*/ 17 h 22"/>
                  <a:gd name="T70" fmla="*/ 16 w 35"/>
                  <a:gd name="T71" fmla="*/ 16 h 22"/>
                  <a:gd name="T72" fmla="*/ 19 w 35"/>
                  <a:gd name="T73" fmla="*/ 14 h 22"/>
                  <a:gd name="T74" fmla="*/ 20 w 35"/>
                  <a:gd name="T75" fmla="*/ 14 h 22"/>
                  <a:gd name="T76" fmla="*/ 22 w 35"/>
                  <a:gd name="T77" fmla="*/ 14 h 22"/>
                  <a:gd name="T78" fmla="*/ 25 w 35"/>
                  <a:gd name="T79" fmla="*/ 12 h 22"/>
                  <a:gd name="T80" fmla="*/ 28 w 35"/>
                  <a:gd name="T81" fmla="*/ 14 h 22"/>
                  <a:gd name="T82" fmla="*/ 31 w 35"/>
                  <a:gd name="T83" fmla="*/ 14 h 22"/>
                  <a:gd name="T84" fmla="*/ 35 w 35"/>
                  <a:gd name="T85" fmla="*/ 12 h 22"/>
                  <a:gd name="T86" fmla="*/ 35 w 35"/>
                  <a:gd name="T87" fmla="*/ 11 h 22"/>
                  <a:gd name="T88" fmla="*/ 35 w 35"/>
                  <a:gd name="T89" fmla="*/ 11 h 22"/>
                  <a:gd name="T90" fmla="*/ 35 w 35"/>
                  <a:gd name="T91" fmla="*/ 11 h 22"/>
                  <a:gd name="T92" fmla="*/ 35 w 35"/>
                  <a:gd name="T93" fmla="*/ 11 h 22"/>
                  <a:gd name="T94" fmla="*/ 35 w 35"/>
                  <a:gd name="T95" fmla="*/ 11 h 22"/>
                  <a:gd name="T96" fmla="*/ 35 w 35"/>
                  <a:gd name="T97" fmla="*/ 11 h 22"/>
                  <a:gd name="T98" fmla="*/ 35 w 35"/>
                  <a:gd name="T99" fmla="*/ 11 h 22"/>
                  <a:gd name="T100" fmla="*/ 35 w 35"/>
                  <a:gd name="T101" fmla="*/ 11 h 22"/>
                  <a:gd name="T102" fmla="*/ 35 w 35"/>
                  <a:gd name="T103" fmla="*/ 11 h 22"/>
                  <a:gd name="T104" fmla="*/ 35 w 35"/>
                  <a:gd name="T105"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 h="22">
                    <a:moveTo>
                      <a:pt x="35" y="11"/>
                    </a:moveTo>
                    <a:lnTo>
                      <a:pt x="27" y="8"/>
                    </a:lnTo>
                    <a:lnTo>
                      <a:pt x="22" y="3"/>
                    </a:lnTo>
                    <a:lnTo>
                      <a:pt x="22" y="1"/>
                    </a:lnTo>
                    <a:lnTo>
                      <a:pt x="22" y="0"/>
                    </a:lnTo>
                    <a:lnTo>
                      <a:pt x="20" y="0"/>
                    </a:lnTo>
                    <a:lnTo>
                      <a:pt x="19" y="0"/>
                    </a:lnTo>
                    <a:lnTo>
                      <a:pt x="17" y="0"/>
                    </a:lnTo>
                    <a:lnTo>
                      <a:pt x="16" y="0"/>
                    </a:lnTo>
                    <a:lnTo>
                      <a:pt x="14" y="0"/>
                    </a:lnTo>
                    <a:lnTo>
                      <a:pt x="12" y="0"/>
                    </a:lnTo>
                    <a:lnTo>
                      <a:pt x="11" y="0"/>
                    </a:lnTo>
                    <a:lnTo>
                      <a:pt x="6" y="0"/>
                    </a:lnTo>
                    <a:lnTo>
                      <a:pt x="4" y="1"/>
                    </a:lnTo>
                    <a:lnTo>
                      <a:pt x="3" y="3"/>
                    </a:lnTo>
                    <a:lnTo>
                      <a:pt x="3" y="3"/>
                    </a:lnTo>
                    <a:lnTo>
                      <a:pt x="3" y="4"/>
                    </a:lnTo>
                    <a:lnTo>
                      <a:pt x="4" y="4"/>
                    </a:lnTo>
                    <a:lnTo>
                      <a:pt x="4" y="6"/>
                    </a:lnTo>
                    <a:lnTo>
                      <a:pt x="6" y="8"/>
                    </a:lnTo>
                    <a:lnTo>
                      <a:pt x="4" y="9"/>
                    </a:lnTo>
                    <a:lnTo>
                      <a:pt x="3" y="9"/>
                    </a:lnTo>
                    <a:lnTo>
                      <a:pt x="3" y="11"/>
                    </a:lnTo>
                    <a:lnTo>
                      <a:pt x="3" y="14"/>
                    </a:lnTo>
                    <a:lnTo>
                      <a:pt x="3" y="14"/>
                    </a:lnTo>
                    <a:lnTo>
                      <a:pt x="3" y="16"/>
                    </a:lnTo>
                    <a:lnTo>
                      <a:pt x="0" y="19"/>
                    </a:lnTo>
                    <a:lnTo>
                      <a:pt x="3" y="20"/>
                    </a:lnTo>
                    <a:lnTo>
                      <a:pt x="3" y="20"/>
                    </a:lnTo>
                    <a:lnTo>
                      <a:pt x="6" y="19"/>
                    </a:lnTo>
                    <a:lnTo>
                      <a:pt x="8" y="19"/>
                    </a:lnTo>
                    <a:lnTo>
                      <a:pt x="8" y="20"/>
                    </a:lnTo>
                    <a:lnTo>
                      <a:pt x="8" y="22"/>
                    </a:lnTo>
                    <a:lnTo>
                      <a:pt x="11" y="20"/>
                    </a:lnTo>
                    <a:lnTo>
                      <a:pt x="14" y="17"/>
                    </a:lnTo>
                    <a:lnTo>
                      <a:pt x="16" y="16"/>
                    </a:lnTo>
                    <a:lnTo>
                      <a:pt x="19" y="14"/>
                    </a:lnTo>
                    <a:lnTo>
                      <a:pt x="20" y="14"/>
                    </a:lnTo>
                    <a:lnTo>
                      <a:pt x="22" y="14"/>
                    </a:lnTo>
                    <a:lnTo>
                      <a:pt x="25" y="12"/>
                    </a:lnTo>
                    <a:lnTo>
                      <a:pt x="28" y="14"/>
                    </a:lnTo>
                    <a:lnTo>
                      <a:pt x="31" y="14"/>
                    </a:lnTo>
                    <a:lnTo>
                      <a:pt x="35" y="12"/>
                    </a:lnTo>
                    <a:lnTo>
                      <a:pt x="35" y="11"/>
                    </a:lnTo>
                    <a:lnTo>
                      <a:pt x="35" y="11"/>
                    </a:lnTo>
                    <a:lnTo>
                      <a:pt x="35" y="11"/>
                    </a:lnTo>
                    <a:lnTo>
                      <a:pt x="35" y="11"/>
                    </a:lnTo>
                    <a:lnTo>
                      <a:pt x="35" y="11"/>
                    </a:lnTo>
                    <a:lnTo>
                      <a:pt x="35" y="11"/>
                    </a:lnTo>
                    <a:lnTo>
                      <a:pt x="35" y="11"/>
                    </a:lnTo>
                    <a:lnTo>
                      <a:pt x="35" y="11"/>
                    </a:lnTo>
                    <a:lnTo>
                      <a:pt x="35" y="11"/>
                    </a:lnTo>
                    <a:lnTo>
                      <a:pt x="35" y="1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31" name="Freeform 81">
                <a:extLst>
                  <a:ext uri="{FF2B5EF4-FFF2-40B4-BE49-F238E27FC236}">
                    <a16:creationId xmlns:a16="http://schemas.microsoft.com/office/drawing/2014/main" id="{B129A2E8-73F2-76CE-FCD6-D4CF8B418D9E}"/>
                  </a:ext>
                </a:extLst>
              </p:cNvPr>
              <p:cNvSpPr>
                <a:spLocks/>
              </p:cNvSpPr>
              <p:nvPr/>
            </p:nvSpPr>
            <p:spPr bwMode="auto">
              <a:xfrm>
                <a:off x="6329940" y="2659079"/>
                <a:ext cx="60563" cy="51591"/>
              </a:xfrm>
              <a:custGeom>
                <a:avLst/>
                <a:gdLst>
                  <a:gd name="T0" fmla="*/ 1 w 27"/>
                  <a:gd name="T1" fmla="*/ 11 h 23"/>
                  <a:gd name="T2" fmla="*/ 1 w 27"/>
                  <a:gd name="T3" fmla="*/ 11 h 23"/>
                  <a:gd name="T4" fmla="*/ 0 w 27"/>
                  <a:gd name="T5" fmla="*/ 13 h 23"/>
                  <a:gd name="T6" fmla="*/ 1 w 27"/>
                  <a:gd name="T7" fmla="*/ 15 h 23"/>
                  <a:gd name="T8" fmla="*/ 1 w 27"/>
                  <a:gd name="T9" fmla="*/ 16 h 23"/>
                  <a:gd name="T10" fmla="*/ 1 w 27"/>
                  <a:gd name="T11" fmla="*/ 18 h 23"/>
                  <a:gd name="T12" fmla="*/ 3 w 27"/>
                  <a:gd name="T13" fmla="*/ 19 h 23"/>
                  <a:gd name="T14" fmla="*/ 3 w 27"/>
                  <a:gd name="T15" fmla="*/ 21 h 23"/>
                  <a:gd name="T16" fmla="*/ 4 w 27"/>
                  <a:gd name="T17" fmla="*/ 23 h 23"/>
                  <a:gd name="T18" fmla="*/ 6 w 27"/>
                  <a:gd name="T19" fmla="*/ 23 h 23"/>
                  <a:gd name="T20" fmla="*/ 9 w 27"/>
                  <a:gd name="T21" fmla="*/ 23 h 23"/>
                  <a:gd name="T22" fmla="*/ 11 w 27"/>
                  <a:gd name="T23" fmla="*/ 23 h 23"/>
                  <a:gd name="T24" fmla="*/ 14 w 27"/>
                  <a:gd name="T25" fmla="*/ 21 h 23"/>
                  <a:gd name="T26" fmla="*/ 19 w 27"/>
                  <a:gd name="T27" fmla="*/ 19 h 23"/>
                  <a:gd name="T28" fmla="*/ 22 w 27"/>
                  <a:gd name="T29" fmla="*/ 18 h 23"/>
                  <a:gd name="T30" fmla="*/ 23 w 27"/>
                  <a:gd name="T31" fmla="*/ 18 h 23"/>
                  <a:gd name="T32" fmla="*/ 27 w 27"/>
                  <a:gd name="T33" fmla="*/ 16 h 23"/>
                  <a:gd name="T34" fmla="*/ 27 w 27"/>
                  <a:gd name="T35" fmla="*/ 16 h 23"/>
                  <a:gd name="T36" fmla="*/ 27 w 27"/>
                  <a:gd name="T37" fmla="*/ 13 h 23"/>
                  <a:gd name="T38" fmla="*/ 27 w 27"/>
                  <a:gd name="T39" fmla="*/ 11 h 23"/>
                  <a:gd name="T40" fmla="*/ 27 w 27"/>
                  <a:gd name="T41" fmla="*/ 10 h 23"/>
                  <a:gd name="T42" fmla="*/ 27 w 27"/>
                  <a:gd name="T43" fmla="*/ 7 h 23"/>
                  <a:gd name="T44" fmla="*/ 23 w 27"/>
                  <a:gd name="T45" fmla="*/ 7 h 23"/>
                  <a:gd name="T46" fmla="*/ 23 w 27"/>
                  <a:gd name="T47" fmla="*/ 4 h 23"/>
                  <a:gd name="T48" fmla="*/ 22 w 27"/>
                  <a:gd name="T49" fmla="*/ 4 h 23"/>
                  <a:gd name="T50" fmla="*/ 20 w 27"/>
                  <a:gd name="T51" fmla="*/ 2 h 23"/>
                  <a:gd name="T52" fmla="*/ 20 w 27"/>
                  <a:gd name="T53" fmla="*/ 0 h 23"/>
                  <a:gd name="T54" fmla="*/ 19 w 27"/>
                  <a:gd name="T55" fmla="*/ 0 h 23"/>
                  <a:gd name="T56" fmla="*/ 17 w 27"/>
                  <a:gd name="T57" fmla="*/ 4 h 23"/>
                  <a:gd name="T58" fmla="*/ 14 w 27"/>
                  <a:gd name="T59" fmla="*/ 4 h 23"/>
                  <a:gd name="T60" fmla="*/ 12 w 27"/>
                  <a:gd name="T61" fmla="*/ 4 h 23"/>
                  <a:gd name="T62" fmla="*/ 12 w 27"/>
                  <a:gd name="T63" fmla="*/ 4 h 23"/>
                  <a:gd name="T64" fmla="*/ 11 w 27"/>
                  <a:gd name="T65" fmla="*/ 4 h 23"/>
                  <a:gd name="T66" fmla="*/ 11 w 27"/>
                  <a:gd name="T67" fmla="*/ 7 h 23"/>
                  <a:gd name="T68" fmla="*/ 7 w 27"/>
                  <a:gd name="T69" fmla="*/ 4 h 23"/>
                  <a:gd name="T70" fmla="*/ 6 w 27"/>
                  <a:gd name="T71" fmla="*/ 4 h 23"/>
                  <a:gd name="T72" fmla="*/ 4 w 27"/>
                  <a:gd name="T73" fmla="*/ 7 h 23"/>
                  <a:gd name="T74" fmla="*/ 3 w 27"/>
                  <a:gd name="T75" fmla="*/ 7 h 23"/>
                  <a:gd name="T76" fmla="*/ 1 w 27"/>
                  <a:gd name="T77" fmla="*/ 8 h 23"/>
                  <a:gd name="T78" fmla="*/ 1 w 27"/>
                  <a:gd name="T79" fmla="*/ 10 h 23"/>
                  <a:gd name="T80" fmla="*/ 1 w 27"/>
                  <a:gd name="T81" fmla="*/ 11 h 23"/>
                  <a:gd name="T82" fmla="*/ 1 w 27"/>
                  <a:gd name="T83" fmla="*/ 11 h 23"/>
                  <a:gd name="T84" fmla="*/ 1 w 27"/>
                  <a:gd name="T85" fmla="*/ 11 h 23"/>
                  <a:gd name="T86" fmla="*/ 1 w 27"/>
                  <a:gd name="T87" fmla="*/ 11 h 23"/>
                  <a:gd name="T88" fmla="*/ 1 w 27"/>
                  <a:gd name="T89" fmla="*/ 11 h 23"/>
                  <a:gd name="T90" fmla="*/ 1 w 27"/>
                  <a:gd name="T91" fmla="*/ 11 h 23"/>
                  <a:gd name="T92" fmla="*/ 1 w 27"/>
                  <a:gd name="T93" fmla="*/ 11 h 23"/>
                  <a:gd name="T94" fmla="*/ 1 w 27"/>
                  <a:gd name="T95" fmla="*/ 11 h 23"/>
                  <a:gd name="T96" fmla="*/ 1 w 27"/>
                  <a:gd name="T9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 h="23">
                    <a:moveTo>
                      <a:pt x="1" y="11"/>
                    </a:moveTo>
                    <a:lnTo>
                      <a:pt x="1" y="11"/>
                    </a:lnTo>
                    <a:lnTo>
                      <a:pt x="0" y="13"/>
                    </a:lnTo>
                    <a:lnTo>
                      <a:pt x="1" y="15"/>
                    </a:lnTo>
                    <a:lnTo>
                      <a:pt x="1" y="16"/>
                    </a:lnTo>
                    <a:lnTo>
                      <a:pt x="1" y="18"/>
                    </a:lnTo>
                    <a:lnTo>
                      <a:pt x="3" y="19"/>
                    </a:lnTo>
                    <a:lnTo>
                      <a:pt x="3" y="21"/>
                    </a:lnTo>
                    <a:lnTo>
                      <a:pt x="4" y="23"/>
                    </a:lnTo>
                    <a:lnTo>
                      <a:pt x="6" y="23"/>
                    </a:lnTo>
                    <a:lnTo>
                      <a:pt x="9" y="23"/>
                    </a:lnTo>
                    <a:lnTo>
                      <a:pt x="11" y="23"/>
                    </a:lnTo>
                    <a:lnTo>
                      <a:pt x="14" y="21"/>
                    </a:lnTo>
                    <a:lnTo>
                      <a:pt x="19" y="19"/>
                    </a:lnTo>
                    <a:lnTo>
                      <a:pt x="22" y="18"/>
                    </a:lnTo>
                    <a:lnTo>
                      <a:pt x="23" y="18"/>
                    </a:lnTo>
                    <a:lnTo>
                      <a:pt x="27" y="16"/>
                    </a:lnTo>
                    <a:lnTo>
                      <a:pt x="27" y="16"/>
                    </a:lnTo>
                    <a:lnTo>
                      <a:pt x="27" y="13"/>
                    </a:lnTo>
                    <a:lnTo>
                      <a:pt x="27" y="11"/>
                    </a:lnTo>
                    <a:lnTo>
                      <a:pt x="27" y="10"/>
                    </a:lnTo>
                    <a:lnTo>
                      <a:pt x="27" y="7"/>
                    </a:lnTo>
                    <a:lnTo>
                      <a:pt x="23" y="7"/>
                    </a:lnTo>
                    <a:lnTo>
                      <a:pt x="23" y="4"/>
                    </a:lnTo>
                    <a:lnTo>
                      <a:pt x="22" y="4"/>
                    </a:lnTo>
                    <a:lnTo>
                      <a:pt x="20" y="2"/>
                    </a:lnTo>
                    <a:lnTo>
                      <a:pt x="20" y="0"/>
                    </a:lnTo>
                    <a:lnTo>
                      <a:pt x="19" y="0"/>
                    </a:lnTo>
                    <a:lnTo>
                      <a:pt x="17" y="4"/>
                    </a:lnTo>
                    <a:lnTo>
                      <a:pt x="14" y="4"/>
                    </a:lnTo>
                    <a:lnTo>
                      <a:pt x="12" y="4"/>
                    </a:lnTo>
                    <a:lnTo>
                      <a:pt x="12" y="4"/>
                    </a:lnTo>
                    <a:lnTo>
                      <a:pt x="11" y="4"/>
                    </a:lnTo>
                    <a:lnTo>
                      <a:pt x="11" y="7"/>
                    </a:lnTo>
                    <a:lnTo>
                      <a:pt x="7" y="4"/>
                    </a:lnTo>
                    <a:lnTo>
                      <a:pt x="6" y="4"/>
                    </a:lnTo>
                    <a:lnTo>
                      <a:pt x="4" y="7"/>
                    </a:lnTo>
                    <a:lnTo>
                      <a:pt x="3" y="7"/>
                    </a:lnTo>
                    <a:lnTo>
                      <a:pt x="1" y="8"/>
                    </a:lnTo>
                    <a:lnTo>
                      <a:pt x="1" y="10"/>
                    </a:lnTo>
                    <a:lnTo>
                      <a:pt x="1" y="11"/>
                    </a:lnTo>
                    <a:lnTo>
                      <a:pt x="1" y="11"/>
                    </a:lnTo>
                    <a:lnTo>
                      <a:pt x="1" y="11"/>
                    </a:lnTo>
                    <a:lnTo>
                      <a:pt x="1" y="11"/>
                    </a:lnTo>
                    <a:lnTo>
                      <a:pt x="1" y="11"/>
                    </a:lnTo>
                    <a:lnTo>
                      <a:pt x="1" y="11"/>
                    </a:lnTo>
                    <a:lnTo>
                      <a:pt x="1" y="11"/>
                    </a:lnTo>
                    <a:lnTo>
                      <a:pt x="1" y="11"/>
                    </a:lnTo>
                    <a:lnTo>
                      <a:pt x="1" y="11"/>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32" name="Freeform 83">
                <a:extLst>
                  <a:ext uri="{FF2B5EF4-FFF2-40B4-BE49-F238E27FC236}">
                    <a16:creationId xmlns:a16="http://schemas.microsoft.com/office/drawing/2014/main" id="{9CD12852-88E9-C502-E8B5-B0C0C29B8D32}"/>
                  </a:ext>
                </a:extLst>
              </p:cNvPr>
              <p:cNvSpPr>
                <a:spLocks/>
              </p:cNvSpPr>
              <p:nvPr/>
            </p:nvSpPr>
            <p:spPr bwMode="auto">
              <a:xfrm>
                <a:off x="6296294" y="2652349"/>
                <a:ext cx="47105" cy="100938"/>
              </a:xfrm>
              <a:custGeom>
                <a:avLst/>
                <a:gdLst>
                  <a:gd name="T0" fmla="*/ 15 w 21"/>
                  <a:gd name="T1" fmla="*/ 41 h 45"/>
                  <a:gd name="T2" fmla="*/ 15 w 21"/>
                  <a:gd name="T3" fmla="*/ 41 h 45"/>
                  <a:gd name="T4" fmla="*/ 15 w 21"/>
                  <a:gd name="T5" fmla="*/ 40 h 45"/>
                  <a:gd name="T6" fmla="*/ 15 w 21"/>
                  <a:gd name="T7" fmla="*/ 38 h 45"/>
                  <a:gd name="T8" fmla="*/ 16 w 21"/>
                  <a:gd name="T9" fmla="*/ 38 h 45"/>
                  <a:gd name="T10" fmla="*/ 18 w 21"/>
                  <a:gd name="T11" fmla="*/ 32 h 45"/>
                  <a:gd name="T12" fmla="*/ 21 w 21"/>
                  <a:gd name="T13" fmla="*/ 32 h 45"/>
                  <a:gd name="T14" fmla="*/ 21 w 21"/>
                  <a:gd name="T15" fmla="*/ 30 h 45"/>
                  <a:gd name="T16" fmla="*/ 21 w 21"/>
                  <a:gd name="T17" fmla="*/ 29 h 45"/>
                  <a:gd name="T18" fmla="*/ 21 w 21"/>
                  <a:gd name="T19" fmla="*/ 27 h 45"/>
                  <a:gd name="T20" fmla="*/ 21 w 21"/>
                  <a:gd name="T21" fmla="*/ 26 h 45"/>
                  <a:gd name="T22" fmla="*/ 18 w 21"/>
                  <a:gd name="T23" fmla="*/ 26 h 45"/>
                  <a:gd name="T24" fmla="*/ 18 w 21"/>
                  <a:gd name="T25" fmla="*/ 24 h 45"/>
                  <a:gd name="T26" fmla="*/ 18 w 21"/>
                  <a:gd name="T27" fmla="*/ 22 h 45"/>
                  <a:gd name="T28" fmla="*/ 16 w 21"/>
                  <a:gd name="T29" fmla="*/ 21 h 45"/>
                  <a:gd name="T30" fmla="*/ 16 w 21"/>
                  <a:gd name="T31" fmla="*/ 19 h 45"/>
                  <a:gd name="T32" fmla="*/ 16 w 21"/>
                  <a:gd name="T33" fmla="*/ 18 h 45"/>
                  <a:gd name="T34" fmla="*/ 15 w 21"/>
                  <a:gd name="T35" fmla="*/ 16 h 45"/>
                  <a:gd name="T36" fmla="*/ 16 w 21"/>
                  <a:gd name="T37" fmla="*/ 14 h 45"/>
                  <a:gd name="T38" fmla="*/ 16 w 21"/>
                  <a:gd name="T39" fmla="*/ 13 h 45"/>
                  <a:gd name="T40" fmla="*/ 16 w 21"/>
                  <a:gd name="T41" fmla="*/ 11 h 45"/>
                  <a:gd name="T42" fmla="*/ 16 w 21"/>
                  <a:gd name="T43" fmla="*/ 10 h 45"/>
                  <a:gd name="T44" fmla="*/ 16 w 21"/>
                  <a:gd name="T45" fmla="*/ 8 h 45"/>
                  <a:gd name="T46" fmla="*/ 16 w 21"/>
                  <a:gd name="T47" fmla="*/ 7 h 45"/>
                  <a:gd name="T48" fmla="*/ 15 w 21"/>
                  <a:gd name="T49" fmla="*/ 5 h 45"/>
                  <a:gd name="T50" fmla="*/ 15 w 21"/>
                  <a:gd name="T51" fmla="*/ 5 h 45"/>
                  <a:gd name="T52" fmla="*/ 11 w 21"/>
                  <a:gd name="T53" fmla="*/ 3 h 45"/>
                  <a:gd name="T54" fmla="*/ 11 w 21"/>
                  <a:gd name="T55" fmla="*/ 2 h 45"/>
                  <a:gd name="T56" fmla="*/ 11 w 21"/>
                  <a:gd name="T57" fmla="*/ 2 h 45"/>
                  <a:gd name="T58" fmla="*/ 10 w 21"/>
                  <a:gd name="T59" fmla="*/ 0 h 45"/>
                  <a:gd name="T60" fmla="*/ 8 w 21"/>
                  <a:gd name="T61" fmla="*/ 2 h 45"/>
                  <a:gd name="T62" fmla="*/ 7 w 21"/>
                  <a:gd name="T63" fmla="*/ 2 h 45"/>
                  <a:gd name="T64" fmla="*/ 5 w 21"/>
                  <a:gd name="T65" fmla="*/ 2 h 45"/>
                  <a:gd name="T66" fmla="*/ 5 w 21"/>
                  <a:gd name="T67" fmla="*/ 0 h 45"/>
                  <a:gd name="T68" fmla="*/ 3 w 21"/>
                  <a:gd name="T69" fmla="*/ 0 h 45"/>
                  <a:gd name="T70" fmla="*/ 2 w 21"/>
                  <a:gd name="T71" fmla="*/ 3 h 45"/>
                  <a:gd name="T72" fmla="*/ 0 w 21"/>
                  <a:gd name="T73" fmla="*/ 7 h 45"/>
                  <a:gd name="T74" fmla="*/ 2 w 21"/>
                  <a:gd name="T75" fmla="*/ 11 h 45"/>
                  <a:gd name="T76" fmla="*/ 3 w 21"/>
                  <a:gd name="T77" fmla="*/ 11 h 45"/>
                  <a:gd name="T78" fmla="*/ 3 w 21"/>
                  <a:gd name="T79" fmla="*/ 14 h 45"/>
                  <a:gd name="T80" fmla="*/ 2 w 21"/>
                  <a:gd name="T81" fmla="*/ 18 h 45"/>
                  <a:gd name="T82" fmla="*/ 3 w 21"/>
                  <a:gd name="T83" fmla="*/ 19 h 45"/>
                  <a:gd name="T84" fmla="*/ 3 w 21"/>
                  <a:gd name="T85" fmla="*/ 21 h 45"/>
                  <a:gd name="T86" fmla="*/ 3 w 21"/>
                  <a:gd name="T87" fmla="*/ 24 h 45"/>
                  <a:gd name="T88" fmla="*/ 3 w 21"/>
                  <a:gd name="T89" fmla="*/ 26 h 45"/>
                  <a:gd name="T90" fmla="*/ 2 w 21"/>
                  <a:gd name="T91" fmla="*/ 26 h 45"/>
                  <a:gd name="T92" fmla="*/ 2 w 21"/>
                  <a:gd name="T93" fmla="*/ 27 h 45"/>
                  <a:gd name="T94" fmla="*/ 2 w 21"/>
                  <a:gd name="T95" fmla="*/ 29 h 45"/>
                  <a:gd name="T96" fmla="*/ 3 w 21"/>
                  <a:gd name="T97" fmla="*/ 32 h 45"/>
                  <a:gd name="T98" fmla="*/ 3 w 21"/>
                  <a:gd name="T99" fmla="*/ 32 h 45"/>
                  <a:gd name="T100" fmla="*/ 2 w 21"/>
                  <a:gd name="T101" fmla="*/ 32 h 45"/>
                  <a:gd name="T102" fmla="*/ 7 w 21"/>
                  <a:gd name="T103" fmla="*/ 35 h 45"/>
                  <a:gd name="T104" fmla="*/ 8 w 21"/>
                  <a:gd name="T105" fmla="*/ 38 h 45"/>
                  <a:gd name="T106" fmla="*/ 10 w 21"/>
                  <a:gd name="T107" fmla="*/ 41 h 45"/>
                  <a:gd name="T108" fmla="*/ 10 w 21"/>
                  <a:gd name="T109" fmla="*/ 41 h 45"/>
                  <a:gd name="T110" fmla="*/ 11 w 21"/>
                  <a:gd name="T111" fmla="*/ 43 h 45"/>
                  <a:gd name="T112" fmla="*/ 15 w 21"/>
                  <a:gd name="T113" fmla="*/ 41 h 45"/>
                  <a:gd name="T114" fmla="*/ 15 w 21"/>
                  <a:gd name="T115"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 h="45">
                    <a:moveTo>
                      <a:pt x="15" y="41"/>
                    </a:moveTo>
                    <a:lnTo>
                      <a:pt x="15" y="41"/>
                    </a:lnTo>
                    <a:lnTo>
                      <a:pt x="15" y="41"/>
                    </a:lnTo>
                    <a:lnTo>
                      <a:pt x="15" y="41"/>
                    </a:lnTo>
                    <a:lnTo>
                      <a:pt x="15" y="40"/>
                    </a:lnTo>
                    <a:lnTo>
                      <a:pt x="15" y="40"/>
                    </a:lnTo>
                    <a:lnTo>
                      <a:pt x="15" y="38"/>
                    </a:lnTo>
                    <a:lnTo>
                      <a:pt x="15" y="38"/>
                    </a:lnTo>
                    <a:lnTo>
                      <a:pt x="16" y="38"/>
                    </a:lnTo>
                    <a:lnTo>
                      <a:pt x="16" y="38"/>
                    </a:lnTo>
                    <a:lnTo>
                      <a:pt x="18" y="32"/>
                    </a:lnTo>
                    <a:lnTo>
                      <a:pt x="18" y="32"/>
                    </a:lnTo>
                    <a:lnTo>
                      <a:pt x="21" y="32"/>
                    </a:lnTo>
                    <a:lnTo>
                      <a:pt x="21" y="32"/>
                    </a:lnTo>
                    <a:lnTo>
                      <a:pt x="21" y="30"/>
                    </a:lnTo>
                    <a:lnTo>
                      <a:pt x="21" y="30"/>
                    </a:lnTo>
                    <a:lnTo>
                      <a:pt x="21" y="29"/>
                    </a:lnTo>
                    <a:lnTo>
                      <a:pt x="21" y="29"/>
                    </a:lnTo>
                    <a:lnTo>
                      <a:pt x="21" y="27"/>
                    </a:lnTo>
                    <a:lnTo>
                      <a:pt x="21" y="27"/>
                    </a:lnTo>
                    <a:lnTo>
                      <a:pt x="21" y="26"/>
                    </a:lnTo>
                    <a:lnTo>
                      <a:pt x="21" y="26"/>
                    </a:lnTo>
                    <a:lnTo>
                      <a:pt x="18" y="26"/>
                    </a:lnTo>
                    <a:lnTo>
                      <a:pt x="18" y="26"/>
                    </a:lnTo>
                    <a:lnTo>
                      <a:pt x="18" y="24"/>
                    </a:lnTo>
                    <a:lnTo>
                      <a:pt x="18" y="24"/>
                    </a:lnTo>
                    <a:lnTo>
                      <a:pt x="18" y="22"/>
                    </a:lnTo>
                    <a:lnTo>
                      <a:pt x="18" y="22"/>
                    </a:lnTo>
                    <a:lnTo>
                      <a:pt x="16" y="21"/>
                    </a:lnTo>
                    <a:lnTo>
                      <a:pt x="16" y="21"/>
                    </a:lnTo>
                    <a:lnTo>
                      <a:pt x="16" y="19"/>
                    </a:lnTo>
                    <a:lnTo>
                      <a:pt x="16" y="19"/>
                    </a:lnTo>
                    <a:lnTo>
                      <a:pt x="16" y="18"/>
                    </a:lnTo>
                    <a:lnTo>
                      <a:pt x="16" y="18"/>
                    </a:lnTo>
                    <a:lnTo>
                      <a:pt x="15" y="16"/>
                    </a:lnTo>
                    <a:lnTo>
                      <a:pt x="15" y="16"/>
                    </a:lnTo>
                    <a:lnTo>
                      <a:pt x="16" y="14"/>
                    </a:lnTo>
                    <a:lnTo>
                      <a:pt x="16" y="14"/>
                    </a:lnTo>
                    <a:lnTo>
                      <a:pt x="16" y="14"/>
                    </a:lnTo>
                    <a:lnTo>
                      <a:pt x="16" y="13"/>
                    </a:lnTo>
                    <a:lnTo>
                      <a:pt x="16" y="13"/>
                    </a:lnTo>
                    <a:lnTo>
                      <a:pt x="16" y="11"/>
                    </a:lnTo>
                    <a:lnTo>
                      <a:pt x="16" y="11"/>
                    </a:lnTo>
                    <a:lnTo>
                      <a:pt x="16" y="10"/>
                    </a:lnTo>
                    <a:lnTo>
                      <a:pt x="16" y="10"/>
                    </a:lnTo>
                    <a:lnTo>
                      <a:pt x="16" y="8"/>
                    </a:lnTo>
                    <a:lnTo>
                      <a:pt x="16" y="8"/>
                    </a:lnTo>
                    <a:lnTo>
                      <a:pt x="16" y="7"/>
                    </a:lnTo>
                    <a:lnTo>
                      <a:pt x="16" y="7"/>
                    </a:lnTo>
                    <a:lnTo>
                      <a:pt x="15" y="5"/>
                    </a:lnTo>
                    <a:lnTo>
                      <a:pt x="15" y="5"/>
                    </a:lnTo>
                    <a:lnTo>
                      <a:pt x="15" y="5"/>
                    </a:lnTo>
                    <a:lnTo>
                      <a:pt x="11" y="3"/>
                    </a:lnTo>
                    <a:lnTo>
                      <a:pt x="11" y="3"/>
                    </a:lnTo>
                    <a:lnTo>
                      <a:pt x="11" y="2"/>
                    </a:lnTo>
                    <a:lnTo>
                      <a:pt x="11" y="2"/>
                    </a:lnTo>
                    <a:lnTo>
                      <a:pt x="11" y="2"/>
                    </a:lnTo>
                    <a:lnTo>
                      <a:pt x="11" y="2"/>
                    </a:lnTo>
                    <a:lnTo>
                      <a:pt x="10" y="0"/>
                    </a:lnTo>
                    <a:lnTo>
                      <a:pt x="10" y="0"/>
                    </a:lnTo>
                    <a:lnTo>
                      <a:pt x="8" y="2"/>
                    </a:lnTo>
                    <a:lnTo>
                      <a:pt x="8" y="2"/>
                    </a:lnTo>
                    <a:lnTo>
                      <a:pt x="7" y="2"/>
                    </a:lnTo>
                    <a:lnTo>
                      <a:pt x="7" y="2"/>
                    </a:lnTo>
                    <a:lnTo>
                      <a:pt x="5" y="2"/>
                    </a:lnTo>
                    <a:lnTo>
                      <a:pt x="5" y="2"/>
                    </a:lnTo>
                    <a:lnTo>
                      <a:pt x="5" y="0"/>
                    </a:lnTo>
                    <a:lnTo>
                      <a:pt x="5" y="0"/>
                    </a:lnTo>
                    <a:lnTo>
                      <a:pt x="3" y="0"/>
                    </a:lnTo>
                    <a:lnTo>
                      <a:pt x="3" y="0"/>
                    </a:lnTo>
                    <a:lnTo>
                      <a:pt x="2" y="3"/>
                    </a:lnTo>
                    <a:lnTo>
                      <a:pt x="2" y="3"/>
                    </a:lnTo>
                    <a:lnTo>
                      <a:pt x="0" y="7"/>
                    </a:lnTo>
                    <a:lnTo>
                      <a:pt x="0" y="7"/>
                    </a:lnTo>
                    <a:lnTo>
                      <a:pt x="2" y="11"/>
                    </a:lnTo>
                    <a:lnTo>
                      <a:pt x="2" y="11"/>
                    </a:lnTo>
                    <a:lnTo>
                      <a:pt x="3" y="11"/>
                    </a:lnTo>
                    <a:lnTo>
                      <a:pt x="3" y="11"/>
                    </a:lnTo>
                    <a:lnTo>
                      <a:pt x="3" y="14"/>
                    </a:lnTo>
                    <a:lnTo>
                      <a:pt x="3" y="14"/>
                    </a:lnTo>
                    <a:lnTo>
                      <a:pt x="2" y="18"/>
                    </a:lnTo>
                    <a:lnTo>
                      <a:pt x="2" y="18"/>
                    </a:lnTo>
                    <a:lnTo>
                      <a:pt x="3" y="19"/>
                    </a:lnTo>
                    <a:lnTo>
                      <a:pt x="3" y="19"/>
                    </a:lnTo>
                    <a:lnTo>
                      <a:pt x="3" y="21"/>
                    </a:lnTo>
                    <a:lnTo>
                      <a:pt x="3" y="21"/>
                    </a:lnTo>
                    <a:lnTo>
                      <a:pt x="3" y="24"/>
                    </a:lnTo>
                    <a:lnTo>
                      <a:pt x="3" y="24"/>
                    </a:lnTo>
                    <a:lnTo>
                      <a:pt x="3" y="26"/>
                    </a:lnTo>
                    <a:lnTo>
                      <a:pt x="3" y="26"/>
                    </a:lnTo>
                    <a:lnTo>
                      <a:pt x="2" y="26"/>
                    </a:lnTo>
                    <a:lnTo>
                      <a:pt x="2" y="26"/>
                    </a:lnTo>
                    <a:lnTo>
                      <a:pt x="2" y="27"/>
                    </a:lnTo>
                    <a:lnTo>
                      <a:pt x="2" y="27"/>
                    </a:lnTo>
                    <a:lnTo>
                      <a:pt x="2" y="29"/>
                    </a:lnTo>
                    <a:lnTo>
                      <a:pt x="2" y="29"/>
                    </a:lnTo>
                    <a:lnTo>
                      <a:pt x="3" y="32"/>
                    </a:lnTo>
                    <a:lnTo>
                      <a:pt x="3" y="32"/>
                    </a:lnTo>
                    <a:lnTo>
                      <a:pt x="3" y="32"/>
                    </a:lnTo>
                    <a:lnTo>
                      <a:pt x="3" y="32"/>
                    </a:lnTo>
                    <a:lnTo>
                      <a:pt x="2" y="32"/>
                    </a:lnTo>
                    <a:lnTo>
                      <a:pt x="2" y="32"/>
                    </a:lnTo>
                    <a:lnTo>
                      <a:pt x="7" y="35"/>
                    </a:lnTo>
                    <a:lnTo>
                      <a:pt x="7" y="35"/>
                    </a:lnTo>
                    <a:lnTo>
                      <a:pt x="8" y="38"/>
                    </a:lnTo>
                    <a:lnTo>
                      <a:pt x="8" y="38"/>
                    </a:lnTo>
                    <a:lnTo>
                      <a:pt x="10" y="41"/>
                    </a:lnTo>
                    <a:lnTo>
                      <a:pt x="10" y="41"/>
                    </a:lnTo>
                    <a:lnTo>
                      <a:pt x="10" y="41"/>
                    </a:lnTo>
                    <a:lnTo>
                      <a:pt x="10" y="41"/>
                    </a:lnTo>
                    <a:lnTo>
                      <a:pt x="11" y="43"/>
                    </a:lnTo>
                    <a:lnTo>
                      <a:pt x="11" y="43"/>
                    </a:lnTo>
                    <a:lnTo>
                      <a:pt x="13" y="45"/>
                    </a:lnTo>
                    <a:lnTo>
                      <a:pt x="15" y="41"/>
                    </a:lnTo>
                    <a:lnTo>
                      <a:pt x="15" y="41"/>
                    </a:lnTo>
                    <a:lnTo>
                      <a:pt x="15" y="41"/>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33" name="Freeform 86">
                <a:extLst>
                  <a:ext uri="{FF2B5EF4-FFF2-40B4-BE49-F238E27FC236}">
                    <a16:creationId xmlns:a16="http://schemas.microsoft.com/office/drawing/2014/main" id="{76A288C6-6488-1896-17D3-929EE11C8C78}"/>
                  </a:ext>
                </a:extLst>
              </p:cNvPr>
              <p:cNvSpPr>
                <a:spLocks/>
              </p:cNvSpPr>
              <p:nvPr/>
            </p:nvSpPr>
            <p:spPr bwMode="auto">
              <a:xfrm>
                <a:off x="6314238" y="2475147"/>
                <a:ext cx="246738" cy="145800"/>
              </a:xfrm>
              <a:custGeom>
                <a:avLst/>
                <a:gdLst>
                  <a:gd name="T0" fmla="*/ 103 w 110"/>
                  <a:gd name="T1" fmla="*/ 40 h 65"/>
                  <a:gd name="T2" fmla="*/ 100 w 110"/>
                  <a:gd name="T3" fmla="*/ 41 h 65"/>
                  <a:gd name="T4" fmla="*/ 97 w 110"/>
                  <a:gd name="T5" fmla="*/ 43 h 65"/>
                  <a:gd name="T6" fmla="*/ 92 w 110"/>
                  <a:gd name="T7" fmla="*/ 40 h 65"/>
                  <a:gd name="T8" fmla="*/ 91 w 110"/>
                  <a:gd name="T9" fmla="*/ 38 h 65"/>
                  <a:gd name="T10" fmla="*/ 89 w 110"/>
                  <a:gd name="T11" fmla="*/ 32 h 65"/>
                  <a:gd name="T12" fmla="*/ 91 w 110"/>
                  <a:gd name="T13" fmla="*/ 24 h 65"/>
                  <a:gd name="T14" fmla="*/ 86 w 110"/>
                  <a:gd name="T15" fmla="*/ 16 h 65"/>
                  <a:gd name="T16" fmla="*/ 78 w 110"/>
                  <a:gd name="T17" fmla="*/ 8 h 65"/>
                  <a:gd name="T18" fmla="*/ 72 w 110"/>
                  <a:gd name="T19" fmla="*/ 1 h 65"/>
                  <a:gd name="T20" fmla="*/ 68 w 110"/>
                  <a:gd name="T21" fmla="*/ 0 h 65"/>
                  <a:gd name="T22" fmla="*/ 65 w 110"/>
                  <a:gd name="T23" fmla="*/ 3 h 65"/>
                  <a:gd name="T24" fmla="*/ 59 w 110"/>
                  <a:gd name="T25" fmla="*/ 5 h 65"/>
                  <a:gd name="T26" fmla="*/ 56 w 110"/>
                  <a:gd name="T27" fmla="*/ 6 h 65"/>
                  <a:gd name="T28" fmla="*/ 51 w 110"/>
                  <a:gd name="T29" fmla="*/ 8 h 65"/>
                  <a:gd name="T30" fmla="*/ 45 w 110"/>
                  <a:gd name="T31" fmla="*/ 5 h 65"/>
                  <a:gd name="T32" fmla="*/ 37 w 110"/>
                  <a:gd name="T33" fmla="*/ 3 h 65"/>
                  <a:gd name="T34" fmla="*/ 30 w 110"/>
                  <a:gd name="T35" fmla="*/ 3 h 65"/>
                  <a:gd name="T36" fmla="*/ 27 w 110"/>
                  <a:gd name="T37" fmla="*/ 5 h 65"/>
                  <a:gd name="T38" fmla="*/ 24 w 110"/>
                  <a:gd name="T39" fmla="*/ 8 h 65"/>
                  <a:gd name="T40" fmla="*/ 19 w 110"/>
                  <a:gd name="T41" fmla="*/ 9 h 65"/>
                  <a:gd name="T42" fmla="*/ 19 w 110"/>
                  <a:gd name="T43" fmla="*/ 13 h 65"/>
                  <a:gd name="T44" fmla="*/ 14 w 110"/>
                  <a:gd name="T45" fmla="*/ 20 h 65"/>
                  <a:gd name="T46" fmla="*/ 11 w 110"/>
                  <a:gd name="T47" fmla="*/ 25 h 65"/>
                  <a:gd name="T48" fmla="*/ 8 w 110"/>
                  <a:gd name="T49" fmla="*/ 27 h 65"/>
                  <a:gd name="T50" fmla="*/ 5 w 110"/>
                  <a:gd name="T51" fmla="*/ 28 h 65"/>
                  <a:gd name="T52" fmla="*/ 3 w 110"/>
                  <a:gd name="T53" fmla="*/ 28 h 65"/>
                  <a:gd name="T54" fmla="*/ 2 w 110"/>
                  <a:gd name="T55" fmla="*/ 30 h 65"/>
                  <a:gd name="T56" fmla="*/ 5 w 110"/>
                  <a:gd name="T57" fmla="*/ 33 h 65"/>
                  <a:gd name="T58" fmla="*/ 8 w 110"/>
                  <a:gd name="T59" fmla="*/ 36 h 65"/>
                  <a:gd name="T60" fmla="*/ 11 w 110"/>
                  <a:gd name="T61" fmla="*/ 43 h 65"/>
                  <a:gd name="T62" fmla="*/ 14 w 110"/>
                  <a:gd name="T63" fmla="*/ 44 h 65"/>
                  <a:gd name="T64" fmla="*/ 14 w 110"/>
                  <a:gd name="T65" fmla="*/ 47 h 65"/>
                  <a:gd name="T66" fmla="*/ 16 w 110"/>
                  <a:gd name="T67" fmla="*/ 51 h 65"/>
                  <a:gd name="T68" fmla="*/ 24 w 110"/>
                  <a:gd name="T69" fmla="*/ 54 h 65"/>
                  <a:gd name="T70" fmla="*/ 29 w 110"/>
                  <a:gd name="T71" fmla="*/ 51 h 65"/>
                  <a:gd name="T72" fmla="*/ 27 w 110"/>
                  <a:gd name="T73" fmla="*/ 54 h 65"/>
                  <a:gd name="T74" fmla="*/ 30 w 110"/>
                  <a:gd name="T75" fmla="*/ 57 h 65"/>
                  <a:gd name="T76" fmla="*/ 34 w 110"/>
                  <a:gd name="T77" fmla="*/ 60 h 65"/>
                  <a:gd name="T78" fmla="*/ 34 w 110"/>
                  <a:gd name="T79" fmla="*/ 63 h 65"/>
                  <a:gd name="T80" fmla="*/ 40 w 110"/>
                  <a:gd name="T81" fmla="*/ 62 h 65"/>
                  <a:gd name="T82" fmla="*/ 49 w 110"/>
                  <a:gd name="T83" fmla="*/ 63 h 65"/>
                  <a:gd name="T84" fmla="*/ 57 w 110"/>
                  <a:gd name="T85" fmla="*/ 63 h 65"/>
                  <a:gd name="T86" fmla="*/ 64 w 110"/>
                  <a:gd name="T87" fmla="*/ 65 h 65"/>
                  <a:gd name="T88" fmla="*/ 68 w 110"/>
                  <a:gd name="T89" fmla="*/ 60 h 65"/>
                  <a:gd name="T90" fmla="*/ 78 w 110"/>
                  <a:gd name="T91" fmla="*/ 59 h 65"/>
                  <a:gd name="T92" fmla="*/ 83 w 110"/>
                  <a:gd name="T93" fmla="*/ 59 h 65"/>
                  <a:gd name="T94" fmla="*/ 89 w 110"/>
                  <a:gd name="T95" fmla="*/ 60 h 65"/>
                  <a:gd name="T96" fmla="*/ 97 w 110"/>
                  <a:gd name="T97" fmla="*/ 63 h 65"/>
                  <a:gd name="T98" fmla="*/ 99 w 110"/>
                  <a:gd name="T99" fmla="*/ 60 h 65"/>
                  <a:gd name="T100" fmla="*/ 99 w 110"/>
                  <a:gd name="T101" fmla="*/ 55 h 65"/>
                  <a:gd name="T102" fmla="*/ 100 w 110"/>
                  <a:gd name="T103" fmla="*/ 51 h 65"/>
                  <a:gd name="T104" fmla="*/ 100 w 110"/>
                  <a:gd name="T105" fmla="*/ 51 h 65"/>
                  <a:gd name="T106" fmla="*/ 100 w 110"/>
                  <a:gd name="T107" fmla="*/ 47 h 65"/>
                  <a:gd name="T108" fmla="*/ 100 w 110"/>
                  <a:gd name="T109" fmla="*/ 47 h 65"/>
                  <a:gd name="T110" fmla="*/ 103 w 110"/>
                  <a:gd name="T111" fmla="*/ 51 h 65"/>
                  <a:gd name="T112" fmla="*/ 110 w 110"/>
                  <a:gd name="T113" fmla="*/ 44 h 65"/>
                  <a:gd name="T114" fmla="*/ 107 w 110"/>
                  <a:gd name="T115" fmla="*/ 41 h 65"/>
                  <a:gd name="T116" fmla="*/ 107 w 110"/>
                  <a:gd name="T117" fmla="*/ 40 h 65"/>
                  <a:gd name="T118" fmla="*/ 107 w 110"/>
                  <a:gd name="T119" fmla="*/ 40 h 65"/>
                  <a:gd name="T120" fmla="*/ 107 w 110"/>
                  <a:gd name="T121" fmla="*/ 40 h 65"/>
                  <a:gd name="T122" fmla="*/ 107 w 110"/>
                  <a:gd name="T123" fmla="*/ 4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65">
                    <a:moveTo>
                      <a:pt x="107" y="40"/>
                    </a:moveTo>
                    <a:lnTo>
                      <a:pt x="103" y="40"/>
                    </a:lnTo>
                    <a:lnTo>
                      <a:pt x="100" y="41"/>
                    </a:lnTo>
                    <a:lnTo>
                      <a:pt x="100" y="41"/>
                    </a:lnTo>
                    <a:lnTo>
                      <a:pt x="99" y="43"/>
                    </a:lnTo>
                    <a:lnTo>
                      <a:pt x="97" y="43"/>
                    </a:lnTo>
                    <a:lnTo>
                      <a:pt x="94" y="41"/>
                    </a:lnTo>
                    <a:lnTo>
                      <a:pt x="92" y="40"/>
                    </a:lnTo>
                    <a:lnTo>
                      <a:pt x="91" y="38"/>
                    </a:lnTo>
                    <a:lnTo>
                      <a:pt x="91" y="38"/>
                    </a:lnTo>
                    <a:lnTo>
                      <a:pt x="91" y="36"/>
                    </a:lnTo>
                    <a:lnTo>
                      <a:pt x="89" y="32"/>
                    </a:lnTo>
                    <a:lnTo>
                      <a:pt x="89" y="28"/>
                    </a:lnTo>
                    <a:lnTo>
                      <a:pt x="91" y="24"/>
                    </a:lnTo>
                    <a:lnTo>
                      <a:pt x="88" y="19"/>
                    </a:lnTo>
                    <a:lnTo>
                      <a:pt x="86" y="16"/>
                    </a:lnTo>
                    <a:lnTo>
                      <a:pt x="81" y="13"/>
                    </a:lnTo>
                    <a:lnTo>
                      <a:pt x="78" y="8"/>
                    </a:lnTo>
                    <a:lnTo>
                      <a:pt x="75" y="3"/>
                    </a:lnTo>
                    <a:lnTo>
                      <a:pt x="72" y="1"/>
                    </a:lnTo>
                    <a:lnTo>
                      <a:pt x="72" y="0"/>
                    </a:lnTo>
                    <a:lnTo>
                      <a:pt x="68" y="0"/>
                    </a:lnTo>
                    <a:lnTo>
                      <a:pt x="65" y="1"/>
                    </a:lnTo>
                    <a:lnTo>
                      <a:pt x="65" y="3"/>
                    </a:lnTo>
                    <a:lnTo>
                      <a:pt x="65" y="5"/>
                    </a:lnTo>
                    <a:lnTo>
                      <a:pt x="59" y="5"/>
                    </a:lnTo>
                    <a:lnTo>
                      <a:pt x="57" y="5"/>
                    </a:lnTo>
                    <a:lnTo>
                      <a:pt x="56" y="6"/>
                    </a:lnTo>
                    <a:lnTo>
                      <a:pt x="53" y="8"/>
                    </a:lnTo>
                    <a:lnTo>
                      <a:pt x="51" y="8"/>
                    </a:lnTo>
                    <a:lnTo>
                      <a:pt x="48" y="5"/>
                    </a:lnTo>
                    <a:lnTo>
                      <a:pt x="45" y="5"/>
                    </a:lnTo>
                    <a:lnTo>
                      <a:pt x="40" y="5"/>
                    </a:lnTo>
                    <a:lnTo>
                      <a:pt x="37" y="3"/>
                    </a:lnTo>
                    <a:lnTo>
                      <a:pt x="34" y="3"/>
                    </a:lnTo>
                    <a:lnTo>
                      <a:pt x="30" y="3"/>
                    </a:lnTo>
                    <a:lnTo>
                      <a:pt x="29" y="5"/>
                    </a:lnTo>
                    <a:lnTo>
                      <a:pt x="27" y="5"/>
                    </a:lnTo>
                    <a:lnTo>
                      <a:pt x="27" y="6"/>
                    </a:lnTo>
                    <a:lnTo>
                      <a:pt x="24" y="8"/>
                    </a:lnTo>
                    <a:lnTo>
                      <a:pt x="22" y="8"/>
                    </a:lnTo>
                    <a:lnTo>
                      <a:pt x="19" y="9"/>
                    </a:lnTo>
                    <a:lnTo>
                      <a:pt x="19" y="11"/>
                    </a:lnTo>
                    <a:lnTo>
                      <a:pt x="19" y="13"/>
                    </a:lnTo>
                    <a:lnTo>
                      <a:pt x="16" y="16"/>
                    </a:lnTo>
                    <a:lnTo>
                      <a:pt x="14" y="20"/>
                    </a:lnTo>
                    <a:lnTo>
                      <a:pt x="11" y="24"/>
                    </a:lnTo>
                    <a:lnTo>
                      <a:pt x="11" y="25"/>
                    </a:lnTo>
                    <a:lnTo>
                      <a:pt x="10" y="27"/>
                    </a:lnTo>
                    <a:lnTo>
                      <a:pt x="8" y="27"/>
                    </a:lnTo>
                    <a:lnTo>
                      <a:pt x="5" y="27"/>
                    </a:lnTo>
                    <a:lnTo>
                      <a:pt x="5" y="28"/>
                    </a:lnTo>
                    <a:lnTo>
                      <a:pt x="5" y="30"/>
                    </a:lnTo>
                    <a:lnTo>
                      <a:pt x="3" y="28"/>
                    </a:lnTo>
                    <a:lnTo>
                      <a:pt x="0" y="30"/>
                    </a:lnTo>
                    <a:lnTo>
                      <a:pt x="2" y="30"/>
                    </a:lnTo>
                    <a:lnTo>
                      <a:pt x="3" y="32"/>
                    </a:lnTo>
                    <a:lnTo>
                      <a:pt x="5" y="33"/>
                    </a:lnTo>
                    <a:lnTo>
                      <a:pt x="5" y="35"/>
                    </a:lnTo>
                    <a:lnTo>
                      <a:pt x="8" y="36"/>
                    </a:lnTo>
                    <a:lnTo>
                      <a:pt x="5" y="40"/>
                    </a:lnTo>
                    <a:lnTo>
                      <a:pt x="11" y="43"/>
                    </a:lnTo>
                    <a:lnTo>
                      <a:pt x="14" y="44"/>
                    </a:lnTo>
                    <a:lnTo>
                      <a:pt x="14" y="44"/>
                    </a:lnTo>
                    <a:lnTo>
                      <a:pt x="13" y="44"/>
                    </a:lnTo>
                    <a:lnTo>
                      <a:pt x="14" y="47"/>
                    </a:lnTo>
                    <a:lnTo>
                      <a:pt x="13" y="47"/>
                    </a:lnTo>
                    <a:lnTo>
                      <a:pt x="16" y="51"/>
                    </a:lnTo>
                    <a:lnTo>
                      <a:pt x="21" y="51"/>
                    </a:lnTo>
                    <a:lnTo>
                      <a:pt x="24" y="54"/>
                    </a:lnTo>
                    <a:lnTo>
                      <a:pt x="26" y="51"/>
                    </a:lnTo>
                    <a:lnTo>
                      <a:pt x="29" y="51"/>
                    </a:lnTo>
                    <a:lnTo>
                      <a:pt x="30" y="54"/>
                    </a:lnTo>
                    <a:lnTo>
                      <a:pt x="27" y="54"/>
                    </a:lnTo>
                    <a:lnTo>
                      <a:pt x="27" y="54"/>
                    </a:lnTo>
                    <a:lnTo>
                      <a:pt x="30" y="57"/>
                    </a:lnTo>
                    <a:lnTo>
                      <a:pt x="34" y="59"/>
                    </a:lnTo>
                    <a:lnTo>
                      <a:pt x="34" y="60"/>
                    </a:lnTo>
                    <a:lnTo>
                      <a:pt x="30" y="62"/>
                    </a:lnTo>
                    <a:lnTo>
                      <a:pt x="34" y="63"/>
                    </a:lnTo>
                    <a:lnTo>
                      <a:pt x="37" y="63"/>
                    </a:lnTo>
                    <a:lnTo>
                      <a:pt x="40" y="62"/>
                    </a:lnTo>
                    <a:lnTo>
                      <a:pt x="45" y="63"/>
                    </a:lnTo>
                    <a:lnTo>
                      <a:pt x="49" y="63"/>
                    </a:lnTo>
                    <a:lnTo>
                      <a:pt x="53" y="63"/>
                    </a:lnTo>
                    <a:lnTo>
                      <a:pt x="57" y="63"/>
                    </a:lnTo>
                    <a:lnTo>
                      <a:pt x="62" y="65"/>
                    </a:lnTo>
                    <a:lnTo>
                      <a:pt x="64" y="65"/>
                    </a:lnTo>
                    <a:lnTo>
                      <a:pt x="65" y="63"/>
                    </a:lnTo>
                    <a:lnTo>
                      <a:pt x="68" y="60"/>
                    </a:lnTo>
                    <a:lnTo>
                      <a:pt x="75" y="59"/>
                    </a:lnTo>
                    <a:lnTo>
                      <a:pt x="78" y="59"/>
                    </a:lnTo>
                    <a:lnTo>
                      <a:pt x="80" y="57"/>
                    </a:lnTo>
                    <a:lnTo>
                      <a:pt x="83" y="59"/>
                    </a:lnTo>
                    <a:lnTo>
                      <a:pt x="86" y="60"/>
                    </a:lnTo>
                    <a:lnTo>
                      <a:pt x="89" y="60"/>
                    </a:lnTo>
                    <a:lnTo>
                      <a:pt x="94" y="63"/>
                    </a:lnTo>
                    <a:lnTo>
                      <a:pt x="97" y="63"/>
                    </a:lnTo>
                    <a:lnTo>
                      <a:pt x="99" y="63"/>
                    </a:lnTo>
                    <a:lnTo>
                      <a:pt x="99" y="60"/>
                    </a:lnTo>
                    <a:lnTo>
                      <a:pt x="99" y="60"/>
                    </a:lnTo>
                    <a:lnTo>
                      <a:pt x="99" y="55"/>
                    </a:lnTo>
                    <a:lnTo>
                      <a:pt x="100" y="54"/>
                    </a:lnTo>
                    <a:lnTo>
                      <a:pt x="100" y="51"/>
                    </a:lnTo>
                    <a:lnTo>
                      <a:pt x="100" y="54"/>
                    </a:lnTo>
                    <a:lnTo>
                      <a:pt x="100" y="51"/>
                    </a:lnTo>
                    <a:lnTo>
                      <a:pt x="100" y="47"/>
                    </a:lnTo>
                    <a:lnTo>
                      <a:pt x="100" y="47"/>
                    </a:lnTo>
                    <a:lnTo>
                      <a:pt x="100" y="44"/>
                    </a:lnTo>
                    <a:lnTo>
                      <a:pt x="100" y="47"/>
                    </a:lnTo>
                    <a:lnTo>
                      <a:pt x="100" y="51"/>
                    </a:lnTo>
                    <a:lnTo>
                      <a:pt x="103" y="51"/>
                    </a:lnTo>
                    <a:lnTo>
                      <a:pt x="107" y="47"/>
                    </a:lnTo>
                    <a:lnTo>
                      <a:pt x="110" y="44"/>
                    </a:lnTo>
                    <a:lnTo>
                      <a:pt x="110" y="43"/>
                    </a:lnTo>
                    <a:lnTo>
                      <a:pt x="107" y="41"/>
                    </a:lnTo>
                    <a:lnTo>
                      <a:pt x="107" y="40"/>
                    </a:lnTo>
                    <a:lnTo>
                      <a:pt x="107" y="40"/>
                    </a:lnTo>
                    <a:lnTo>
                      <a:pt x="107" y="40"/>
                    </a:lnTo>
                    <a:lnTo>
                      <a:pt x="107" y="40"/>
                    </a:lnTo>
                    <a:lnTo>
                      <a:pt x="107" y="40"/>
                    </a:lnTo>
                    <a:lnTo>
                      <a:pt x="107" y="40"/>
                    </a:lnTo>
                    <a:lnTo>
                      <a:pt x="107" y="40"/>
                    </a:lnTo>
                    <a:lnTo>
                      <a:pt x="107" y="40"/>
                    </a:lnTo>
                    <a:lnTo>
                      <a:pt x="107" y="4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34" name="Freeform 88">
                <a:extLst>
                  <a:ext uri="{FF2B5EF4-FFF2-40B4-BE49-F238E27FC236}">
                    <a16:creationId xmlns:a16="http://schemas.microsoft.com/office/drawing/2014/main" id="{77196A28-046F-5166-FF50-F1E1FD9051C4}"/>
                  </a:ext>
                </a:extLst>
              </p:cNvPr>
              <p:cNvSpPr>
                <a:spLocks/>
              </p:cNvSpPr>
              <p:nvPr/>
            </p:nvSpPr>
            <p:spPr bwMode="auto">
              <a:xfrm>
                <a:off x="6475740" y="2470661"/>
                <a:ext cx="87480" cy="94209"/>
              </a:xfrm>
              <a:custGeom>
                <a:avLst/>
                <a:gdLst>
                  <a:gd name="T0" fmla="*/ 3 w 39"/>
                  <a:gd name="T1" fmla="*/ 5 h 42"/>
                  <a:gd name="T2" fmla="*/ 6 w 39"/>
                  <a:gd name="T3" fmla="*/ 10 h 42"/>
                  <a:gd name="T4" fmla="*/ 9 w 39"/>
                  <a:gd name="T5" fmla="*/ 15 h 42"/>
                  <a:gd name="T6" fmla="*/ 14 w 39"/>
                  <a:gd name="T7" fmla="*/ 18 h 42"/>
                  <a:gd name="T8" fmla="*/ 16 w 39"/>
                  <a:gd name="T9" fmla="*/ 21 h 42"/>
                  <a:gd name="T10" fmla="*/ 19 w 39"/>
                  <a:gd name="T11" fmla="*/ 26 h 42"/>
                  <a:gd name="T12" fmla="*/ 17 w 39"/>
                  <a:gd name="T13" fmla="*/ 30 h 42"/>
                  <a:gd name="T14" fmla="*/ 17 w 39"/>
                  <a:gd name="T15" fmla="*/ 34 h 42"/>
                  <a:gd name="T16" fmla="*/ 19 w 39"/>
                  <a:gd name="T17" fmla="*/ 38 h 42"/>
                  <a:gd name="T18" fmla="*/ 19 w 39"/>
                  <a:gd name="T19" fmla="*/ 40 h 42"/>
                  <a:gd name="T20" fmla="*/ 19 w 39"/>
                  <a:gd name="T21" fmla="*/ 40 h 42"/>
                  <a:gd name="T22" fmla="*/ 20 w 39"/>
                  <a:gd name="T23" fmla="*/ 42 h 42"/>
                  <a:gd name="T24" fmla="*/ 22 w 39"/>
                  <a:gd name="T25" fmla="*/ 42 h 42"/>
                  <a:gd name="T26" fmla="*/ 23 w 39"/>
                  <a:gd name="T27" fmla="*/ 40 h 42"/>
                  <a:gd name="T28" fmla="*/ 25 w 39"/>
                  <a:gd name="T29" fmla="*/ 37 h 42"/>
                  <a:gd name="T30" fmla="*/ 27 w 39"/>
                  <a:gd name="T31" fmla="*/ 34 h 42"/>
                  <a:gd name="T32" fmla="*/ 28 w 39"/>
                  <a:gd name="T33" fmla="*/ 32 h 42"/>
                  <a:gd name="T34" fmla="*/ 28 w 39"/>
                  <a:gd name="T35" fmla="*/ 29 h 42"/>
                  <a:gd name="T36" fmla="*/ 28 w 39"/>
                  <a:gd name="T37" fmla="*/ 27 h 42"/>
                  <a:gd name="T38" fmla="*/ 28 w 39"/>
                  <a:gd name="T39" fmla="*/ 26 h 42"/>
                  <a:gd name="T40" fmla="*/ 31 w 39"/>
                  <a:gd name="T41" fmla="*/ 27 h 42"/>
                  <a:gd name="T42" fmla="*/ 31 w 39"/>
                  <a:gd name="T43" fmla="*/ 27 h 42"/>
                  <a:gd name="T44" fmla="*/ 35 w 39"/>
                  <a:gd name="T45" fmla="*/ 27 h 42"/>
                  <a:gd name="T46" fmla="*/ 38 w 39"/>
                  <a:gd name="T47" fmla="*/ 29 h 42"/>
                  <a:gd name="T48" fmla="*/ 39 w 39"/>
                  <a:gd name="T49" fmla="*/ 27 h 42"/>
                  <a:gd name="T50" fmla="*/ 38 w 39"/>
                  <a:gd name="T51" fmla="*/ 26 h 42"/>
                  <a:gd name="T52" fmla="*/ 38 w 39"/>
                  <a:gd name="T53" fmla="*/ 24 h 42"/>
                  <a:gd name="T54" fmla="*/ 35 w 39"/>
                  <a:gd name="T55" fmla="*/ 21 h 42"/>
                  <a:gd name="T56" fmla="*/ 35 w 39"/>
                  <a:gd name="T57" fmla="*/ 18 h 42"/>
                  <a:gd name="T58" fmla="*/ 31 w 39"/>
                  <a:gd name="T59" fmla="*/ 18 h 42"/>
                  <a:gd name="T60" fmla="*/ 31 w 39"/>
                  <a:gd name="T61" fmla="*/ 18 h 42"/>
                  <a:gd name="T62" fmla="*/ 31 w 39"/>
                  <a:gd name="T63" fmla="*/ 16 h 42"/>
                  <a:gd name="T64" fmla="*/ 31 w 39"/>
                  <a:gd name="T65" fmla="*/ 16 h 42"/>
                  <a:gd name="T66" fmla="*/ 28 w 39"/>
                  <a:gd name="T67" fmla="*/ 13 h 42"/>
                  <a:gd name="T68" fmla="*/ 27 w 39"/>
                  <a:gd name="T69" fmla="*/ 8 h 42"/>
                  <a:gd name="T70" fmla="*/ 27 w 39"/>
                  <a:gd name="T71" fmla="*/ 7 h 42"/>
                  <a:gd name="T72" fmla="*/ 25 w 39"/>
                  <a:gd name="T73" fmla="*/ 7 h 42"/>
                  <a:gd name="T74" fmla="*/ 23 w 39"/>
                  <a:gd name="T75" fmla="*/ 7 h 42"/>
                  <a:gd name="T76" fmla="*/ 23 w 39"/>
                  <a:gd name="T77" fmla="*/ 5 h 42"/>
                  <a:gd name="T78" fmla="*/ 20 w 39"/>
                  <a:gd name="T79" fmla="*/ 3 h 42"/>
                  <a:gd name="T80" fmla="*/ 19 w 39"/>
                  <a:gd name="T81" fmla="*/ 5 h 42"/>
                  <a:gd name="T82" fmla="*/ 19 w 39"/>
                  <a:gd name="T83" fmla="*/ 3 h 42"/>
                  <a:gd name="T84" fmla="*/ 17 w 39"/>
                  <a:gd name="T85" fmla="*/ 3 h 42"/>
                  <a:gd name="T86" fmla="*/ 14 w 39"/>
                  <a:gd name="T87" fmla="*/ 3 h 42"/>
                  <a:gd name="T88" fmla="*/ 12 w 39"/>
                  <a:gd name="T89" fmla="*/ 0 h 42"/>
                  <a:gd name="T90" fmla="*/ 9 w 39"/>
                  <a:gd name="T91" fmla="*/ 0 h 42"/>
                  <a:gd name="T92" fmla="*/ 8 w 39"/>
                  <a:gd name="T93" fmla="*/ 0 h 42"/>
                  <a:gd name="T94" fmla="*/ 4 w 39"/>
                  <a:gd name="T95" fmla="*/ 0 h 42"/>
                  <a:gd name="T96" fmla="*/ 3 w 39"/>
                  <a:gd name="T97" fmla="*/ 0 h 42"/>
                  <a:gd name="T98" fmla="*/ 0 w 39"/>
                  <a:gd name="T99" fmla="*/ 0 h 42"/>
                  <a:gd name="T100" fmla="*/ 0 w 39"/>
                  <a:gd name="T101" fmla="*/ 2 h 42"/>
                  <a:gd name="T102" fmla="*/ 0 w 39"/>
                  <a:gd name="T103" fmla="*/ 3 h 42"/>
                  <a:gd name="T104" fmla="*/ 3 w 39"/>
                  <a:gd name="T105" fmla="*/ 5 h 42"/>
                  <a:gd name="T106" fmla="*/ 3 w 39"/>
                  <a:gd name="T107" fmla="*/ 5 h 42"/>
                  <a:gd name="T108" fmla="*/ 3 w 39"/>
                  <a:gd name="T109" fmla="*/ 5 h 42"/>
                  <a:gd name="T110" fmla="*/ 3 w 39"/>
                  <a:gd name="T111" fmla="*/ 5 h 42"/>
                  <a:gd name="T112" fmla="*/ 3 w 39"/>
                  <a:gd name="T113" fmla="*/ 5 h 42"/>
                  <a:gd name="T114" fmla="*/ 3 w 39"/>
                  <a:gd name="T115" fmla="*/ 5 h 42"/>
                  <a:gd name="T116" fmla="*/ 3 w 39"/>
                  <a:gd name="T117" fmla="*/ 5 h 42"/>
                  <a:gd name="T118" fmla="*/ 3 w 39"/>
                  <a:gd name="T119" fmla="*/ 5 h 42"/>
                  <a:gd name="T120" fmla="*/ 3 w 39"/>
                  <a:gd name="T121" fmla="*/ 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 h="42">
                    <a:moveTo>
                      <a:pt x="3" y="5"/>
                    </a:moveTo>
                    <a:lnTo>
                      <a:pt x="6" y="10"/>
                    </a:lnTo>
                    <a:lnTo>
                      <a:pt x="9" y="15"/>
                    </a:lnTo>
                    <a:lnTo>
                      <a:pt x="14" y="18"/>
                    </a:lnTo>
                    <a:lnTo>
                      <a:pt x="16" y="21"/>
                    </a:lnTo>
                    <a:lnTo>
                      <a:pt x="19" y="26"/>
                    </a:lnTo>
                    <a:lnTo>
                      <a:pt x="17" y="30"/>
                    </a:lnTo>
                    <a:lnTo>
                      <a:pt x="17" y="34"/>
                    </a:lnTo>
                    <a:lnTo>
                      <a:pt x="19" y="38"/>
                    </a:lnTo>
                    <a:lnTo>
                      <a:pt x="19" y="40"/>
                    </a:lnTo>
                    <a:lnTo>
                      <a:pt x="19" y="40"/>
                    </a:lnTo>
                    <a:lnTo>
                      <a:pt x="20" y="42"/>
                    </a:lnTo>
                    <a:lnTo>
                      <a:pt x="22" y="42"/>
                    </a:lnTo>
                    <a:lnTo>
                      <a:pt x="23" y="40"/>
                    </a:lnTo>
                    <a:lnTo>
                      <a:pt x="25" y="37"/>
                    </a:lnTo>
                    <a:lnTo>
                      <a:pt x="27" y="34"/>
                    </a:lnTo>
                    <a:lnTo>
                      <a:pt x="28" y="32"/>
                    </a:lnTo>
                    <a:lnTo>
                      <a:pt x="28" y="29"/>
                    </a:lnTo>
                    <a:lnTo>
                      <a:pt x="28" y="27"/>
                    </a:lnTo>
                    <a:lnTo>
                      <a:pt x="28" y="26"/>
                    </a:lnTo>
                    <a:lnTo>
                      <a:pt x="31" y="27"/>
                    </a:lnTo>
                    <a:lnTo>
                      <a:pt x="31" y="27"/>
                    </a:lnTo>
                    <a:lnTo>
                      <a:pt x="35" y="27"/>
                    </a:lnTo>
                    <a:lnTo>
                      <a:pt x="38" y="29"/>
                    </a:lnTo>
                    <a:lnTo>
                      <a:pt x="39" y="27"/>
                    </a:lnTo>
                    <a:lnTo>
                      <a:pt x="38" y="26"/>
                    </a:lnTo>
                    <a:lnTo>
                      <a:pt x="38" y="24"/>
                    </a:lnTo>
                    <a:lnTo>
                      <a:pt x="35" y="21"/>
                    </a:lnTo>
                    <a:lnTo>
                      <a:pt x="35" y="18"/>
                    </a:lnTo>
                    <a:lnTo>
                      <a:pt x="31" y="18"/>
                    </a:lnTo>
                    <a:lnTo>
                      <a:pt x="31" y="18"/>
                    </a:lnTo>
                    <a:lnTo>
                      <a:pt x="31" y="16"/>
                    </a:lnTo>
                    <a:lnTo>
                      <a:pt x="31" y="16"/>
                    </a:lnTo>
                    <a:lnTo>
                      <a:pt x="28" y="13"/>
                    </a:lnTo>
                    <a:lnTo>
                      <a:pt x="27" y="8"/>
                    </a:lnTo>
                    <a:lnTo>
                      <a:pt x="27" y="7"/>
                    </a:lnTo>
                    <a:lnTo>
                      <a:pt x="25" y="7"/>
                    </a:lnTo>
                    <a:lnTo>
                      <a:pt x="23" y="7"/>
                    </a:lnTo>
                    <a:lnTo>
                      <a:pt x="23" y="5"/>
                    </a:lnTo>
                    <a:lnTo>
                      <a:pt x="20" y="3"/>
                    </a:lnTo>
                    <a:lnTo>
                      <a:pt x="19" y="5"/>
                    </a:lnTo>
                    <a:lnTo>
                      <a:pt x="19" y="3"/>
                    </a:lnTo>
                    <a:lnTo>
                      <a:pt x="17" y="3"/>
                    </a:lnTo>
                    <a:lnTo>
                      <a:pt x="14" y="3"/>
                    </a:lnTo>
                    <a:lnTo>
                      <a:pt x="12" y="0"/>
                    </a:lnTo>
                    <a:lnTo>
                      <a:pt x="9" y="0"/>
                    </a:lnTo>
                    <a:lnTo>
                      <a:pt x="8" y="0"/>
                    </a:lnTo>
                    <a:lnTo>
                      <a:pt x="4" y="0"/>
                    </a:lnTo>
                    <a:lnTo>
                      <a:pt x="3" y="0"/>
                    </a:lnTo>
                    <a:lnTo>
                      <a:pt x="0" y="0"/>
                    </a:lnTo>
                    <a:lnTo>
                      <a:pt x="0" y="2"/>
                    </a:lnTo>
                    <a:lnTo>
                      <a:pt x="0" y="3"/>
                    </a:lnTo>
                    <a:lnTo>
                      <a:pt x="3" y="5"/>
                    </a:lnTo>
                    <a:lnTo>
                      <a:pt x="3" y="5"/>
                    </a:lnTo>
                    <a:lnTo>
                      <a:pt x="3" y="5"/>
                    </a:lnTo>
                    <a:lnTo>
                      <a:pt x="3" y="5"/>
                    </a:lnTo>
                    <a:lnTo>
                      <a:pt x="3" y="5"/>
                    </a:lnTo>
                    <a:lnTo>
                      <a:pt x="3" y="5"/>
                    </a:lnTo>
                    <a:lnTo>
                      <a:pt x="3" y="5"/>
                    </a:lnTo>
                    <a:lnTo>
                      <a:pt x="3" y="5"/>
                    </a:lnTo>
                    <a:lnTo>
                      <a:pt x="3" y="5"/>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35" name="Freeform 188">
                <a:extLst>
                  <a:ext uri="{FF2B5EF4-FFF2-40B4-BE49-F238E27FC236}">
                    <a16:creationId xmlns:a16="http://schemas.microsoft.com/office/drawing/2014/main" id="{6788AC61-123E-509D-9286-830739C765C4}"/>
                  </a:ext>
                </a:extLst>
              </p:cNvPr>
              <p:cNvSpPr>
                <a:spLocks/>
              </p:cNvSpPr>
              <p:nvPr/>
            </p:nvSpPr>
            <p:spPr bwMode="auto">
              <a:xfrm>
                <a:off x="6139279" y="2517765"/>
                <a:ext cx="82994" cy="47105"/>
              </a:xfrm>
              <a:custGeom>
                <a:avLst/>
                <a:gdLst>
                  <a:gd name="T0" fmla="*/ 7 w 37"/>
                  <a:gd name="T1" fmla="*/ 21 h 21"/>
                  <a:gd name="T2" fmla="*/ 7 w 37"/>
                  <a:gd name="T3" fmla="*/ 21 h 21"/>
                  <a:gd name="T4" fmla="*/ 8 w 37"/>
                  <a:gd name="T5" fmla="*/ 21 h 21"/>
                  <a:gd name="T6" fmla="*/ 10 w 37"/>
                  <a:gd name="T7" fmla="*/ 21 h 21"/>
                  <a:gd name="T8" fmla="*/ 12 w 37"/>
                  <a:gd name="T9" fmla="*/ 21 h 21"/>
                  <a:gd name="T10" fmla="*/ 15 w 37"/>
                  <a:gd name="T11" fmla="*/ 17 h 21"/>
                  <a:gd name="T12" fmla="*/ 18 w 37"/>
                  <a:gd name="T13" fmla="*/ 19 h 21"/>
                  <a:gd name="T14" fmla="*/ 18 w 37"/>
                  <a:gd name="T15" fmla="*/ 19 h 21"/>
                  <a:gd name="T16" fmla="*/ 21 w 37"/>
                  <a:gd name="T17" fmla="*/ 21 h 21"/>
                  <a:gd name="T18" fmla="*/ 21 w 37"/>
                  <a:gd name="T19" fmla="*/ 21 h 21"/>
                  <a:gd name="T20" fmla="*/ 21 w 37"/>
                  <a:gd name="T21" fmla="*/ 21 h 21"/>
                  <a:gd name="T22" fmla="*/ 24 w 37"/>
                  <a:gd name="T23" fmla="*/ 21 h 21"/>
                  <a:gd name="T24" fmla="*/ 24 w 37"/>
                  <a:gd name="T25" fmla="*/ 19 h 21"/>
                  <a:gd name="T26" fmla="*/ 24 w 37"/>
                  <a:gd name="T27" fmla="*/ 17 h 21"/>
                  <a:gd name="T28" fmla="*/ 21 w 37"/>
                  <a:gd name="T29" fmla="*/ 17 h 21"/>
                  <a:gd name="T30" fmla="*/ 24 w 37"/>
                  <a:gd name="T31" fmla="*/ 16 h 21"/>
                  <a:gd name="T32" fmla="*/ 24 w 37"/>
                  <a:gd name="T33" fmla="*/ 16 h 21"/>
                  <a:gd name="T34" fmla="*/ 27 w 37"/>
                  <a:gd name="T35" fmla="*/ 14 h 21"/>
                  <a:gd name="T36" fmla="*/ 27 w 37"/>
                  <a:gd name="T37" fmla="*/ 11 h 21"/>
                  <a:gd name="T38" fmla="*/ 27 w 37"/>
                  <a:gd name="T39" fmla="*/ 9 h 21"/>
                  <a:gd name="T40" fmla="*/ 29 w 37"/>
                  <a:gd name="T41" fmla="*/ 9 h 21"/>
                  <a:gd name="T42" fmla="*/ 31 w 37"/>
                  <a:gd name="T43" fmla="*/ 8 h 21"/>
                  <a:gd name="T44" fmla="*/ 32 w 37"/>
                  <a:gd name="T45" fmla="*/ 6 h 21"/>
                  <a:gd name="T46" fmla="*/ 34 w 37"/>
                  <a:gd name="T47" fmla="*/ 6 h 21"/>
                  <a:gd name="T48" fmla="*/ 34 w 37"/>
                  <a:gd name="T49" fmla="*/ 5 h 21"/>
                  <a:gd name="T50" fmla="*/ 34 w 37"/>
                  <a:gd name="T51" fmla="*/ 5 h 21"/>
                  <a:gd name="T52" fmla="*/ 37 w 37"/>
                  <a:gd name="T53" fmla="*/ 6 h 21"/>
                  <a:gd name="T54" fmla="*/ 32 w 37"/>
                  <a:gd name="T55" fmla="*/ 0 h 21"/>
                  <a:gd name="T56" fmla="*/ 31 w 37"/>
                  <a:gd name="T57" fmla="*/ 0 h 21"/>
                  <a:gd name="T58" fmla="*/ 29 w 37"/>
                  <a:gd name="T59" fmla="*/ 1 h 21"/>
                  <a:gd name="T60" fmla="*/ 29 w 37"/>
                  <a:gd name="T61" fmla="*/ 1 h 21"/>
                  <a:gd name="T62" fmla="*/ 27 w 37"/>
                  <a:gd name="T63" fmla="*/ 1 h 21"/>
                  <a:gd name="T64" fmla="*/ 27 w 37"/>
                  <a:gd name="T65" fmla="*/ 3 h 21"/>
                  <a:gd name="T66" fmla="*/ 24 w 37"/>
                  <a:gd name="T67" fmla="*/ 3 h 21"/>
                  <a:gd name="T68" fmla="*/ 24 w 37"/>
                  <a:gd name="T69" fmla="*/ 3 h 21"/>
                  <a:gd name="T70" fmla="*/ 21 w 37"/>
                  <a:gd name="T71" fmla="*/ 3 h 21"/>
                  <a:gd name="T72" fmla="*/ 18 w 37"/>
                  <a:gd name="T73" fmla="*/ 3 h 21"/>
                  <a:gd name="T74" fmla="*/ 15 w 37"/>
                  <a:gd name="T75" fmla="*/ 6 h 21"/>
                  <a:gd name="T76" fmla="*/ 10 w 37"/>
                  <a:gd name="T77" fmla="*/ 6 h 21"/>
                  <a:gd name="T78" fmla="*/ 7 w 37"/>
                  <a:gd name="T79" fmla="*/ 5 h 21"/>
                  <a:gd name="T80" fmla="*/ 4 w 37"/>
                  <a:gd name="T81" fmla="*/ 5 h 21"/>
                  <a:gd name="T82" fmla="*/ 4 w 37"/>
                  <a:gd name="T83" fmla="*/ 6 h 21"/>
                  <a:gd name="T84" fmla="*/ 0 w 37"/>
                  <a:gd name="T85" fmla="*/ 8 h 21"/>
                  <a:gd name="T86" fmla="*/ 4 w 37"/>
                  <a:gd name="T87" fmla="*/ 9 h 21"/>
                  <a:gd name="T88" fmla="*/ 4 w 37"/>
                  <a:gd name="T89" fmla="*/ 13 h 21"/>
                  <a:gd name="T90" fmla="*/ 4 w 37"/>
                  <a:gd name="T91" fmla="*/ 14 h 21"/>
                  <a:gd name="T92" fmla="*/ 4 w 37"/>
                  <a:gd name="T93" fmla="*/ 16 h 21"/>
                  <a:gd name="T94" fmla="*/ 2 w 37"/>
                  <a:gd name="T95" fmla="*/ 16 h 21"/>
                  <a:gd name="T96" fmla="*/ 5 w 37"/>
                  <a:gd name="T97" fmla="*/ 19 h 21"/>
                  <a:gd name="T98" fmla="*/ 4 w 37"/>
                  <a:gd name="T99" fmla="*/ 21 h 21"/>
                  <a:gd name="T100" fmla="*/ 7 w 37"/>
                  <a:gd name="T10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 h="21">
                    <a:moveTo>
                      <a:pt x="7" y="21"/>
                    </a:moveTo>
                    <a:lnTo>
                      <a:pt x="7" y="21"/>
                    </a:lnTo>
                    <a:lnTo>
                      <a:pt x="7" y="21"/>
                    </a:lnTo>
                    <a:lnTo>
                      <a:pt x="7" y="21"/>
                    </a:lnTo>
                    <a:lnTo>
                      <a:pt x="8" y="21"/>
                    </a:lnTo>
                    <a:lnTo>
                      <a:pt x="8" y="21"/>
                    </a:lnTo>
                    <a:lnTo>
                      <a:pt x="10" y="21"/>
                    </a:lnTo>
                    <a:lnTo>
                      <a:pt x="10" y="21"/>
                    </a:lnTo>
                    <a:lnTo>
                      <a:pt x="12" y="21"/>
                    </a:lnTo>
                    <a:lnTo>
                      <a:pt x="12" y="21"/>
                    </a:lnTo>
                    <a:lnTo>
                      <a:pt x="15" y="17"/>
                    </a:lnTo>
                    <a:lnTo>
                      <a:pt x="15" y="17"/>
                    </a:lnTo>
                    <a:lnTo>
                      <a:pt x="18" y="19"/>
                    </a:lnTo>
                    <a:lnTo>
                      <a:pt x="18" y="19"/>
                    </a:lnTo>
                    <a:lnTo>
                      <a:pt x="18" y="19"/>
                    </a:lnTo>
                    <a:lnTo>
                      <a:pt x="18" y="19"/>
                    </a:lnTo>
                    <a:lnTo>
                      <a:pt x="21" y="21"/>
                    </a:lnTo>
                    <a:lnTo>
                      <a:pt x="21" y="21"/>
                    </a:lnTo>
                    <a:lnTo>
                      <a:pt x="21" y="21"/>
                    </a:lnTo>
                    <a:lnTo>
                      <a:pt x="21" y="21"/>
                    </a:lnTo>
                    <a:lnTo>
                      <a:pt x="21" y="21"/>
                    </a:lnTo>
                    <a:lnTo>
                      <a:pt x="21" y="21"/>
                    </a:lnTo>
                    <a:lnTo>
                      <a:pt x="24" y="21"/>
                    </a:lnTo>
                    <a:lnTo>
                      <a:pt x="24" y="21"/>
                    </a:lnTo>
                    <a:lnTo>
                      <a:pt x="24" y="19"/>
                    </a:lnTo>
                    <a:lnTo>
                      <a:pt x="24" y="19"/>
                    </a:lnTo>
                    <a:lnTo>
                      <a:pt x="24" y="17"/>
                    </a:lnTo>
                    <a:lnTo>
                      <a:pt x="24" y="17"/>
                    </a:lnTo>
                    <a:lnTo>
                      <a:pt x="21" y="17"/>
                    </a:lnTo>
                    <a:lnTo>
                      <a:pt x="21" y="17"/>
                    </a:lnTo>
                    <a:lnTo>
                      <a:pt x="24" y="16"/>
                    </a:lnTo>
                    <a:lnTo>
                      <a:pt x="24" y="16"/>
                    </a:lnTo>
                    <a:lnTo>
                      <a:pt x="24" y="16"/>
                    </a:lnTo>
                    <a:lnTo>
                      <a:pt x="24" y="16"/>
                    </a:lnTo>
                    <a:lnTo>
                      <a:pt x="27" y="14"/>
                    </a:lnTo>
                    <a:lnTo>
                      <a:pt x="27" y="14"/>
                    </a:lnTo>
                    <a:lnTo>
                      <a:pt x="27" y="11"/>
                    </a:lnTo>
                    <a:lnTo>
                      <a:pt x="27" y="11"/>
                    </a:lnTo>
                    <a:lnTo>
                      <a:pt x="27" y="9"/>
                    </a:lnTo>
                    <a:lnTo>
                      <a:pt x="27" y="9"/>
                    </a:lnTo>
                    <a:lnTo>
                      <a:pt x="29" y="9"/>
                    </a:lnTo>
                    <a:lnTo>
                      <a:pt x="29" y="9"/>
                    </a:lnTo>
                    <a:lnTo>
                      <a:pt x="31" y="8"/>
                    </a:lnTo>
                    <a:lnTo>
                      <a:pt x="31" y="8"/>
                    </a:lnTo>
                    <a:lnTo>
                      <a:pt x="32" y="6"/>
                    </a:lnTo>
                    <a:lnTo>
                      <a:pt x="32" y="6"/>
                    </a:lnTo>
                    <a:lnTo>
                      <a:pt x="34" y="6"/>
                    </a:lnTo>
                    <a:lnTo>
                      <a:pt x="34" y="6"/>
                    </a:lnTo>
                    <a:lnTo>
                      <a:pt x="34" y="5"/>
                    </a:lnTo>
                    <a:lnTo>
                      <a:pt x="34" y="5"/>
                    </a:lnTo>
                    <a:lnTo>
                      <a:pt x="34" y="5"/>
                    </a:lnTo>
                    <a:lnTo>
                      <a:pt x="34" y="5"/>
                    </a:lnTo>
                    <a:lnTo>
                      <a:pt x="37" y="6"/>
                    </a:lnTo>
                    <a:lnTo>
                      <a:pt x="37" y="6"/>
                    </a:lnTo>
                    <a:lnTo>
                      <a:pt x="32" y="0"/>
                    </a:lnTo>
                    <a:lnTo>
                      <a:pt x="32" y="0"/>
                    </a:lnTo>
                    <a:lnTo>
                      <a:pt x="31" y="0"/>
                    </a:lnTo>
                    <a:lnTo>
                      <a:pt x="31" y="0"/>
                    </a:lnTo>
                    <a:lnTo>
                      <a:pt x="29" y="1"/>
                    </a:lnTo>
                    <a:lnTo>
                      <a:pt x="29" y="1"/>
                    </a:lnTo>
                    <a:lnTo>
                      <a:pt x="29" y="1"/>
                    </a:lnTo>
                    <a:lnTo>
                      <a:pt x="29" y="1"/>
                    </a:lnTo>
                    <a:lnTo>
                      <a:pt x="27" y="1"/>
                    </a:lnTo>
                    <a:lnTo>
                      <a:pt x="27" y="1"/>
                    </a:lnTo>
                    <a:lnTo>
                      <a:pt x="27" y="3"/>
                    </a:lnTo>
                    <a:lnTo>
                      <a:pt x="27" y="3"/>
                    </a:lnTo>
                    <a:lnTo>
                      <a:pt x="24" y="3"/>
                    </a:lnTo>
                    <a:lnTo>
                      <a:pt x="24" y="3"/>
                    </a:lnTo>
                    <a:lnTo>
                      <a:pt x="24" y="3"/>
                    </a:lnTo>
                    <a:lnTo>
                      <a:pt x="24" y="3"/>
                    </a:lnTo>
                    <a:lnTo>
                      <a:pt x="21" y="3"/>
                    </a:lnTo>
                    <a:lnTo>
                      <a:pt x="21" y="3"/>
                    </a:lnTo>
                    <a:lnTo>
                      <a:pt x="18" y="3"/>
                    </a:lnTo>
                    <a:lnTo>
                      <a:pt x="18" y="3"/>
                    </a:lnTo>
                    <a:lnTo>
                      <a:pt x="15" y="6"/>
                    </a:lnTo>
                    <a:lnTo>
                      <a:pt x="15" y="6"/>
                    </a:lnTo>
                    <a:lnTo>
                      <a:pt x="10" y="6"/>
                    </a:lnTo>
                    <a:lnTo>
                      <a:pt x="10" y="6"/>
                    </a:lnTo>
                    <a:lnTo>
                      <a:pt x="7" y="5"/>
                    </a:lnTo>
                    <a:lnTo>
                      <a:pt x="7" y="5"/>
                    </a:lnTo>
                    <a:lnTo>
                      <a:pt x="4" y="5"/>
                    </a:lnTo>
                    <a:lnTo>
                      <a:pt x="4" y="5"/>
                    </a:lnTo>
                    <a:lnTo>
                      <a:pt x="4" y="6"/>
                    </a:lnTo>
                    <a:lnTo>
                      <a:pt x="4" y="6"/>
                    </a:lnTo>
                    <a:lnTo>
                      <a:pt x="0" y="8"/>
                    </a:lnTo>
                    <a:lnTo>
                      <a:pt x="0" y="8"/>
                    </a:lnTo>
                    <a:lnTo>
                      <a:pt x="4" y="9"/>
                    </a:lnTo>
                    <a:lnTo>
                      <a:pt x="4" y="9"/>
                    </a:lnTo>
                    <a:lnTo>
                      <a:pt x="4" y="13"/>
                    </a:lnTo>
                    <a:lnTo>
                      <a:pt x="4" y="13"/>
                    </a:lnTo>
                    <a:lnTo>
                      <a:pt x="4" y="14"/>
                    </a:lnTo>
                    <a:lnTo>
                      <a:pt x="4" y="14"/>
                    </a:lnTo>
                    <a:lnTo>
                      <a:pt x="4" y="16"/>
                    </a:lnTo>
                    <a:lnTo>
                      <a:pt x="4" y="16"/>
                    </a:lnTo>
                    <a:lnTo>
                      <a:pt x="2" y="16"/>
                    </a:lnTo>
                    <a:lnTo>
                      <a:pt x="2" y="16"/>
                    </a:lnTo>
                    <a:lnTo>
                      <a:pt x="5" y="19"/>
                    </a:lnTo>
                    <a:lnTo>
                      <a:pt x="5" y="19"/>
                    </a:lnTo>
                    <a:lnTo>
                      <a:pt x="4" y="21"/>
                    </a:lnTo>
                    <a:lnTo>
                      <a:pt x="4" y="21"/>
                    </a:lnTo>
                    <a:lnTo>
                      <a:pt x="7" y="21"/>
                    </a:lnTo>
                    <a:lnTo>
                      <a:pt x="7" y="2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36" name="Freeform 190">
                <a:extLst>
                  <a:ext uri="{FF2B5EF4-FFF2-40B4-BE49-F238E27FC236}">
                    <a16:creationId xmlns:a16="http://schemas.microsoft.com/office/drawing/2014/main" id="{C835444C-63E6-FE0B-ADFA-9A3520710638}"/>
                  </a:ext>
                </a:extLst>
              </p:cNvPr>
              <p:cNvSpPr>
                <a:spLocks/>
              </p:cNvSpPr>
              <p:nvPr/>
            </p:nvSpPr>
            <p:spPr bwMode="auto">
              <a:xfrm>
                <a:off x="6045071" y="2450473"/>
                <a:ext cx="190661" cy="80750"/>
              </a:xfrm>
              <a:custGeom>
                <a:avLst/>
                <a:gdLst>
                  <a:gd name="T0" fmla="*/ 20 w 85"/>
                  <a:gd name="T1" fmla="*/ 30 h 36"/>
                  <a:gd name="T2" fmla="*/ 25 w 85"/>
                  <a:gd name="T3" fmla="*/ 30 h 36"/>
                  <a:gd name="T4" fmla="*/ 30 w 85"/>
                  <a:gd name="T5" fmla="*/ 27 h 36"/>
                  <a:gd name="T6" fmla="*/ 31 w 85"/>
                  <a:gd name="T7" fmla="*/ 30 h 36"/>
                  <a:gd name="T8" fmla="*/ 42 w 85"/>
                  <a:gd name="T9" fmla="*/ 35 h 36"/>
                  <a:gd name="T10" fmla="*/ 47 w 85"/>
                  <a:gd name="T11" fmla="*/ 35 h 36"/>
                  <a:gd name="T12" fmla="*/ 54 w 85"/>
                  <a:gd name="T13" fmla="*/ 36 h 36"/>
                  <a:gd name="T14" fmla="*/ 61 w 85"/>
                  <a:gd name="T15" fmla="*/ 33 h 36"/>
                  <a:gd name="T16" fmla="*/ 66 w 85"/>
                  <a:gd name="T17" fmla="*/ 33 h 36"/>
                  <a:gd name="T18" fmla="*/ 69 w 85"/>
                  <a:gd name="T19" fmla="*/ 33 h 36"/>
                  <a:gd name="T20" fmla="*/ 71 w 85"/>
                  <a:gd name="T21" fmla="*/ 33 h 36"/>
                  <a:gd name="T22" fmla="*/ 74 w 85"/>
                  <a:gd name="T23" fmla="*/ 30 h 36"/>
                  <a:gd name="T24" fmla="*/ 77 w 85"/>
                  <a:gd name="T25" fmla="*/ 30 h 36"/>
                  <a:gd name="T26" fmla="*/ 77 w 85"/>
                  <a:gd name="T27" fmla="*/ 24 h 36"/>
                  <a:gd name="T28" fmla="*/ 81 w 85"/>
                  <a:gd name="T29" fmla="*/ 20 h 36"/>
                  <a:gd name="T30" fmla="*/ 81 w 85"/>
                  <a:gd name="T31" fmla="*/ 19 h 36"/>
                  <a:gd name="T32" fmla="*/ 84 w 85"/>
                  <a:gd name="T33" fmla="*/ 20 h 36"/>
                  <a:gd name="T34" fmla="*/ 84 w 85"/>
                  <a:gd name="T35" fmla="*/ 16 h 36"/>
                  <a:gd name="T36" fmla="*/ 84 w 85"/>
                  <a:gd name="T37" fmla="*/ 12 h 36"/>
                  <a:gd name="T38" fmla="*/ 84 w 85"/>
                  <a:gd name="T39" fmla="*/ 9 h 36"/>
                  <a:gd name="T40" fmla="*/ 81 w 85"/>
                  <a:gd name="T41" fmla="*/ 6 h 36"/>
                  <a:gd name="T42" fmla="*/ 81 w 85"/>
                  <a:gd name="T43" fmla="*/ 3 h 36"/>
                  <a:gd name="T44" fmla="*/ 74 w 85"/>
                  <a:gd name="T45" fmla="*/ 3 h 36"/>
                  <a:gd name="T46" fmla="*/ 71 w 85"/>
                  <a:gd name="T47" fmla="*/ 3 h 36"/>
                  <a:gd name="T48" fmla="*/ 65 w 85"/>
                  <a:gd name="T49" fmla="*/ 0 h 36"/>
                  <a:gd name="T50" fmla="*/ 60 w 85"/>
                  <a:gd name="T51" fmla="*/ 3 h 36"/>
                  <a:gd name="T52" fmla="*/ 58 w 85"/>
                  <a:gd name="T53" fmla="*/ 6 h 36"/>
                  <a:gd name="T54" fmla="*/ 57 w 85"/>
                  <a:gd name="T55" fmla="*/ 6 h 36"/>
                  <a:gd name="T56" fmla="*/ 50 w 85"/>
                  <a:gd name="T57" fmla="*/ 6 h 36"/>
                  <a:gd name="T58" fmla="*/ 47 w 85"/>
                  <a:gd name="T59" fmla="*/ 3 h 36"/>
                  <a:gd name="T60" fmla="*/ 47 w 85"/>
                  <a:gd name="T61" fmla="*/ 3 h 36"/>
                  <a:gd name="T62" fmla="*/ 47 w 85"/>
                  <a:gd name="T63" fmla="*/ 6 h 36"/>
                  <a:gd name="T64" fmla="*/ 46 w 85"/>
                  <a:gd name="T65" fmla="*/ 6 h 36"/>
                  <a:gd name="T66" fmla="*/ 44 w 85"/>
                  <a:gd name="T67" fmla="*/ 9 h 36"/>
                  <a:gd name="T68" fmla="*/ 41 w 85"/>
                  <a:gd name="T69" fmla="*/ 11 h 36"/>
                  <a:gd name="T70" fmla="*/ 38 w 85"/>
                  <a:gd name="T71" fmla="*/ 14 h 36"/>
                  <a:gd name="T72" fmla="*/ 38 w 85"/>
                  <a:gd name="T73" fmla="*/ 16 h 36"/>
                  <a:gd name="T74" fmla="*/ 39 w 85"/>
                  <a:gd name="T75" fmla="*/ 19 h 36"/>
                  <a:gd name="T76" fmla="*/ 39 w 85"/>
                  <a:gd name="T77" fmla="*/ 22 h 36"/>
                  <a:gd name="T78" fmla="*/ 36 w 85"/>
                  <a:gd name="T79" fmla="*/ 20 h 36"/>
                  <a:gd name="T80" fmla="*/ 34 w 85"/>
                  <a:gd name="T81" fmla="*/ 20 h 36"/>
                  <a:gd name="T82" fmla="*/ 33 w 85"/>
                  <a:gd name="T83" fmla="*/ 20 h 36"/>
                  <a:gd name="T84" fmla="*/ 30 w 85"/>
                  <a:gd name="T85" fmla="*/ 20 h 36"/>
                  <a:gd name="T86" fmla="*/ 22 w 85"/>
                  <a:gd name="T87" fmla="*/ 22 h 36"/>
                  <a:gd name="T88" fmla="*/ 19 w 85"/>
                  <a:gd name="T89" fmla="*/ 24 h 36"/>
                  <a:gd name="T90" fmla="*/ 15 w 85"/>
                  <a:gd name="T91" fmla="*/ 22 h 36"/>
                  <a:gd name="T92" fmla="*/ 12 w 85"/>
                  <a:gd name="T93" fmla="*/ 22 h 36"/>
                  <a:gd name="T94" fmla="*/ 7 w 85"/>
                  <a:gd name="T95" fmla="*/ 24 h 36"/>
                  <a:gd name="T96" fmla="*/ 6 w 85"/>
                  <a:gd name="T97" fmla="*/ 25 h 36"/>
                  <a:gd name="T98" fmla="*/ 3 w 85"/>
                  <a:gd name="T99" fmla="*/ 22 h 36"/>
                  <a:gd name="T100" fmla="*/ 0 w 85"/>
                  <a:gd name="T101" fmla="*/ 22 h 36"/>
                  <a:gd name="T102" fmla="*/ 0 w 85"/>
                  <a:gd name="T103" fmla="*/ 24 h 36"/>
                  <a:gd name="T104" fmla="*/ 0 w 85"/>
                  <a:gd name="T105" fmla="*/ 27 h 36"/>
                  <a:gd name="T106" fmla="*/ 3 w 85"/>
                  <a:gd name="T107" fmla="*/ 30 h 36"/>
                  <a:gd name="T108" fmla="*/ 6 w 85"/>
                  <a:gd name="T109" fmla="*/ 30 h 36"/>
                  <a:gd name="T110" fmla="*/ 9 w 85"/>
                  <a:gd name="T111" fmla="*/ 30 h 36"/>
                  <a:gd name="T112" fmla="*/ 14 w 85"/>
                  <a:gd name="T113" fmla="*/ 31 h 36"/>
                  <a:gd name="T114" fmla="*/ 19 w 85"/>
                  <a:gd name="T115" fmla="*/ 30 h 36"/>
                  <a:gd name="T116" fmla="*/ 19 w 85"/>
                  <a:gd name="T117" fmla="*/ 30 h 36"/>
                  <a:gd name="T118" fmla="*/ 19 w 85"/>
                  <a:gd name="T119" fmla="*/ 30 h 36"/>
                  <a:gd name="T120" fmla="*/ 19 w 85"/>
                  <a:gd name="T121" fmla="*/ 30 h 36"/>
                  <a:gd name="T122" fmla="*/ 19 w 85"/>
                  <a:gd name="T123"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 h="36">
                    <a:moveTo>
                      <a:pt x="19" y="30"/>
                    </a:moveTo>
                    <a:lnTo>
                      <a:pt x="20" y="30"/>
                    </a:lnTo>
                    <a:lnTo>
                      <a:pt x="22" y="30"/>
                    </a:lnTo>
                    <a:lnTo>
                      <a:pt x="25" y="30"/>
                    </a:lnTo>
                    <a:lnTo>
                      <a:pt x="28" y="27"/>
                    </a:lnTo>
                    <a:lnTo>
                      <a:pt x="30" y="27"/>
                    </a:lnTo>
                    <a:lnTo>
                      <a:pt x="30" y="30"/>
                    </a:lnTo>
                    <a:lnTo>
                      <a:pt x="31" y="30"/>
                    </a:lnTo>
                    <a:lnTo>
                      <a:pt x="34" y="33"/>
                    </a:lnTo>
                    <a:lnTo>
                      <a:pt x="42" y="35"/>
                    </a:lnTo>
                    <a:lnTo>
                      <a:pt x="46" y="35"/>
                    </a:lnTo>
                    <a:lnTo>
                      <a:pt x="47" y="35"/>
                    </a:lnTo>
                    <a:lnTo>
                      <a:pt x="49" y="35"/>
                    </a:lnTo>
                    <a:lnTo>
                      <a:pt x="54" y="36"/>
                    </a:lnTo>
                    <a:lnTo>
                      <a:pt x="57" y="36"/>
                    </a:lnTo>
                    <a:lnTo>
                      <a:pt x="61" y="33"/>
                    </a:lnTo>
                    <a:lnTo>
                      <a:pt x="63" y="33"/>
                    </a:lnTo>
                    <a:lnTo>
                      <a:pt x="66" y="33"/>
                    </a:lnTo>
                    <a:lnTo>
                      <a:pt x="68" y="33"/>
                    </a:lnTo>
                    <a:lnTo>
                      <a:pt x="69" y="33"/>
                    </a:lnTo>
                    <a:lnTo>
                      <a:pt x="71" y="31"/>
                    </a:lnTo>
                    <a:lnTo>
                      <a:pt x="71" y="33"/>
                    </a:lnTo>
                    <a:lnTo>
                      <a:pt x="71" y="31"/>
                    </a:lnTo>
                    <a:lnTo>
                      <a:pt x="74" y="30"/>
                    </a:lnTo>
                    <a:lnTo>
                      <a:pt x="74" y="30"/>
                    </a:lnTo>
                    <a:lnTo>
                      <a:pt x="77" y="30"/>
                    </a:lnTo>
                    <a:lnTo>
                      <a:pt x="77" y="25"/>
                    </a:lnTo>
                    <a:lnTo>
                      <a:pt x="77" y="24"/>
                    </a:lnTo>
                    <a:lnTo>
                      <a:pt x="81" y="22"/>
                    </a:lnTo>
                    <a:lnTo>
                      <a:pt x="81" y="20"/>
                    </a:lnTo>
                    <a:lnTo>
                      <a:pt x="77" y="19"/>
                    </a:lnTo>
                    <a:lnTo>
                      <a:pt x="81" y="19"/>
                    </a:lnTo>
                    <a:lnTo>
                      <a:pt x="81" y="19"/>
                    </a:lnTo>
                    <a:lnTo>
                      <a:pt x="84" y="20"/>
                    </a:lnTo>
                    <a:lnTo>
                      <a:pt x="84" y="19"/>
                    </a:lnTo>
                    <a:lnTo>
                      <a:pt x="84" y="16"/>
                    </a:lnTo>
                    <a:lnTo>
                      <a:pt x="85" y="14"/>
                    </a:lnTo>
                    <a:lnTo>
                      <a:pt x="84" y="12"/>
                    </a:lnTo>
                    <a:lnTo>
                      <a:pt x="84" y="9"/>
                    </a:lnTo>
                    <a:lnTo>
                      <a:pt x="84" y="9"/>
                    </a:lnTo>
                    <a:lnTo>
                      <a:pt x="84" y="6"/>
                    </a:lnTo>
                    <a:lnTo>
                      <a:pt x="81" y="6"/>
                    </a:lnTo>
                    <a:lnTo>
                      <a:pt x="81" y="4"/>
                    </a:lnTo>
                    <a:lnTo>
                      <a:pt x="81" y="3"/>
                    </a:lnTo>
                    <a:lnTo>
                      <a:pt x="77" y="3"/>
                    </a:lnTo>
                    <a:lnTo>
                      <a:pt x="74" y="3"/>
                    </a:lnTo>
                    <a:lnTo>
                      <a:pt x="74" y="3"/>
                    </a:lnTo>
                    <a:lnTo>
                      <a:pt x="71" y="3"/>
                    </a:lnTo>
                    <a:lnTo>
                      <a:pt x="68" y="3"/>
                    </a:lnTo>
                    <a:lnTo>
                      <a:pt x="65" y="0"/>
                    </a:lnTo>
                    <a:lnTo>
                      <a:pt x="60" y="0"/>
                    </a:lnTo>
                    <a:lnTo>
                      <a:pt x="60" y="3"/>
                    </a:lnTo>
                    <a:lnTo>
                      <a:pt x="58" y="3"/>
                    </a:lnTo>
                    <a:lnTo>
                      <a:pt x="58" y="6"/>
                    </a:lnTo>
                    <a:lnTo>
                      <a:pt x="57" y="6"/>
                    </a:lnTo>
                    <a:lnTo>
                      <a:pt x="57" y="6"/>
                    </a:lnTo>
                    <a:lnTo>
                      <a:pt x="54" y="6"/>
                    </a:lnTo>
                    <a:lnTo>
                      <a:pt x="50" y="6"/>
                    </a:lnTo>
                    <a:lnTo>
                      <a:pt x="49" y="3"/>
                    </a:lnTo>
                    <a:lnTo>
                      <a:pt x="47" y="3"/>
                    </a:lnTo>
                    <a:lnTo>
                      <a:pt x="47" y="3"/>
                    </a:lnTo>
                    <a:lnTo>
                      <a:pt x="47" y="3"/>
                    </a:lnTo>
                    <a:lnTo>
                      <a:pt x="49" y="6"/>
                    </a:lnTo>
                    <a:lnTo>
                      <a:pt x="47" y="6"/>
                    </a:lnTo>
                    <a:lnTo>
                      <a:pt x="46" y="6"/>
                    </a:lnTo>
                    <a:lnTo>
                      <a:pt x="46" y="6"/>
                    </a:lnTo>
                    <a:lnTo>
                      <a:pt x="44" y="6"/>
                    </a:lnTo>
                    <a:lnTo>
                      <a:pt x="44" y="9"/>
                    </a:lnTo>
                    <a:lnTo>
                      <a:pt x="42" y="9"/>
                    </a:lnTo>
                    <a:lnTo>
                      <a:pt x="41" y="11"/>
                    </a:lnTo>
                    <a:lnTo>
                      <a:pt x="38" y="12"/>
                    </a:lnTo>
                    <a:lnTo>
                      <a:pt x="38" y="14"/>
                    </a:lnTo>
                    <a:lnTo>
                      <a:pt x="38" y="14"/>
                    </a:lnTo>
                    <a:lnTo>
                      <a:pt x="38" y="16"/>
                    </a:lnTo>
                    <a:lnTo>
                      <a:pt x="38" y="17"/>
                    </a:lnTo>
                    <a:lnTo>
                      <a:pt x="39" y="19"/>
                    </a:lnTo>
                    <a:lnTo>
                      <a:pt x="39" y="20"/>
                    </a:lnTo>
                    <a:lnTo>
                      <a:pt x="39" y="22"/>
                    </a:lnTo>
                    <a:lnTo>
                      <a:pt x="38" y="22"/>
                    </a:lnTo>
                    <a:lnTo>
                      <a:pt x="36" y="20"/>
                    </a:lnTo>
                    <a:lnTo>
                      <a:pt x="36" y="19"/>
                    </a:lnTo>
                    <a:lnTo>
                      <a:pt x="34" y="20"/>
                    </a:lnTo>
                    <a:lnTo>
                      <a:pt x="34" y="20"/>
                    </a:lnTo>
                    <a:lnTo>
                      <a:pt x="33" y="20"/>
                    </a:lnTo>
                    <a:lnTo>
                      <a:pt x="30" y="19"/>
                    </a:lnTo>
                    <a:lnTo>
                      <a:pt x="30" y="20"/>
                    </a:lnTo>
                    <a:lnTo>
                      <a:pt x="25" y="20"/>
                    </a:lnTo>
                    <a:lnTo>
                      <a:pt x="22" y="22"/>
                    </a:lnTo>
                    <a:lnTo>
                      <a:pt x="19" y="22"/>
                    </a:lnTo>
                    <a:lnTo>
                      <a:pt x="19" y="24"/>
                    </a:lnTo>
                    <a:lnTo>
                      <a:pt x="17" y="24"/>
                    </a:lnTo>
                    <a:lnTo>
                      <a:pt x="15" y="22"/>
                    </a:lnTo>
                    <a:lnTo>
                      <a:pt x="14" y="22"/>
                    </a:lnTo>
                    <a:lnTo>
                      <a:pt x="12" y="22"/>
                    </a:lnTo>
                    <a:lnTo>
                      <a:pt x="9" y="20"/>
                    </a:lnTo>
                    <a:lnTo>
                      <a:pt x="7" y="24"/>
                    </a:lnTo>
                    <a:lnTo>
                      <a:pt x="7" y="25"/>
                    </a:lnTo>
                    <a:lnTo>
                      <a:pt x="6" y="25"/>
                    </a:lnTo>
                    <a:lnTo>
                      <a:pt x="6" y="24"/>
                    </a:lnTo>
                    <a:lnTo>
                      <a:pt x="3" y="22"/>
                    </a:lnTo>
                    <a:lnTo>
                      <a:pt x="3" y="22"/>
                    </a:lnTo>
                    <a:lnTo>
                      <a:pt x="0" y="22"/>
                    </a:lnTo>
                    <a:lnTo>
                      <a:pt x="0" y="22"/>
                    </a:lnTo>
                    <a:lnTo>
                      <a:pt x="0" y="24"/>
                    </a:lnTo>
                    <a:lnTo>
                      <a:pt x="0" y="25"/>
                    </a:lnTo>
                    <a:lnTo>
                      <a:pt x="0" y="27"/>
                    </a:lnTo>
                    <a:lnTo>
                      <a:pt x="0" y="27"/>
                    </a:lnTo>
                    <a:lnTo>
                      <a:pt x="3" y="30"/>
                    </a:lnTo>
                    <a:lnTo>
                      <a:pt x="4" y="30"/>
                    </a:lnTo>
                    <a:lnTo>
                      <a:pt x="6" y="30"/>
                    </a:lnTo>
                    <a:lnTo>
                      <a:pt x="7" y="30"/>
                    </a:lnTo>
                    <a:lnTo>
                      <a:pt x="9" y="30"/>
                    </a:lnTo>
                    <a:lnTo>
                      <a:pt x="11" y="30"/>
                    </a:lnTo>
                    <a:lnTo>
                      <a:pt x="14" y="31"/>
                    </a:lnTo>
                    <a:lnTo>
                      <a:pt x="17" y="30"/>
                    </a:lnTo>
                    <a:lnTo>
                      <a:pt x="19" y="30"/>
                    </a:lnTo>
                    <a:lnTo>
                      <a:pt x="19" y="30"/>
                    </a:lnTo>
                    <a:lnTo>
                      <a:pt x="19" y="30"/>
                    </a:lnTo>
                    <a:lnTo>
                      <a:pt x="19" y="30"/>
                    </a:lnTo>
                    <a:lnTo>
                      <a:pt x="19" y="30"/>
                    </a:lnTo>
                    <a:lnTo>
                      <a:pt x="19" y="30"/>
                    </a:lnTo>
                    <a:lnTo>
                      <a:pt x="19" y="30"/>
                    </a:lnTo>
                    <a:lnTo>
                      <a:pt x="19" y="30"/>
                    </a:lnTo>
                    <a:lnTo>
                      <a:pt x="19" y="3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37" name="Freeform 198">
                <a:extLst>
                  <a:ext uri="{FF2B5EF4-FFF2-40B4-BE49-F238E27FC236}">
                    <a16:creationId xmlns:a16="http://schemas.microsoft.com/office/drawing/2014/main" id="{B2CA24E6-1712-24CD-DF51-71C056999359}"/>
                  </a:ext>
                </a:extLst>
              </p:cNvPr>
              <p:cNvSpPr>
                <a:spLocks/>
              </p:cNvSpPr>
              <p:nvPr/>
            </p:nvSpPr>
            <p:spPr bwMode="auto">
              <a:xfrm>
                <a:off x="6282835" y="2537953"/>
                <a:ext cx="107667" cy="139071"/>
              </a:xfrm>
              <a:custGeom>
                <a:avLst/>
                <a:gdLst>
                  <a:gd name="T0" fmla="*/ 41 w 48"/>
                  <a:gd name="T1" fmla="*/ 37 h 62"/>
                  <a:gd name="T2" fmla="*/ 41 w 48"/>
                  <a:gd name="T3" fmla="*/ 34 h 62"/>
                  <a:gd name="T4" fmla="*/ 44 w 48"/>
                  <a:gd name="T5" fmla="*/ 29 h 62"/>
                  <a:gd name="T6" fmla="*/ 41 w 48"/>
                  <a:gd name="T7" fmla="*/ 26 h 62"/>
                  <a:gd name="T8" fmla="*/ 43 w 48"/>
                  <a:gd name="T9" fmla="*/ 23 h 62"/>
                  <a:gd name="T10" fmla="*/ 38 w 48"/>
                  <a:gd name="T11" fmla="*/ 26 h 62"/>
                  <a:gd name="T12" fmla="*/ 30 w 48"/>
                  <a:gd name="T13" fmla="*/ 23 h 62"/>
                  <a:gd name="T14" fmla="*/ 30 w 48"/>
                  <a:gd name="T15" fmla="*/ 19 h 62"/>
                  <a:gd name="T16" fmla="*/ 30 w 48"/>
                  <a:gd name="T17" fmla="*/ 16 h 62"/>
                  <a:gd name="T18" fmla="*/ 27 w 48"/>
                  <a:gd name="T19" fmla="*/ 15 h 62"/>
                  <a:gd name="T20" fmla="*/ 22 w 48"/>
                  <a:gd name="T21" fmla="*/ 8 h 62"/>
                  <a:gd name="T22" fmla="*/ 19 w 48"/>
                  <a:gd name="T23" fmla="*/ 5 h 62"/>
                  <a:gd name="T24" fmla="*/ 16 w 48"/>
                  <a:gd name="T25" fmla="*/ 2 h 62"/>
                  <a:gd name="T26" fmla="*/ 14 w 48"/>
                  <a:gd name="T27" fmla="*/ 2 h 62"/>
                  <a:gd name="T28" fmla="*/ 9 w 48"/>
                  <a:gd name="T29" fmla="*/ 0 h 62"/>
                  <a:gd name="T30" fmla="*/ 6 w 48"/>
                  <a:gd name="T31" fmla="*/ 4 h 62"/>
                  <a:gd name="T32" fmla="*/ 1 w 48"/>
                  <a:gd name="T33" fmla="*/ 4 h 62"/>
                  <a:gd name="T34" fmla="*/ 0 w 48"/>
                  <a:gd name="T35" fmla="*/ 8 h 62"/>
                  <a:gd name="T36" fmla="*/ 3 w 48"/>
                  <a:gd name="T37" fmla="*/ 10 h 62"/>
                  <a:gd name="T38" fmla="*/ 1 w 48"/>
                  <a:gd name="T39" fmla="*/ 12 h 62"/>
                  <a:gd name="T40" fmla="*/ 6 w 48"/>
                  <a:gd name="T41" fmla="*/ 16 h 62"/>
                  <a:gd name="T42" fmla="*/ 3 w 48"/>
                  <a:gd name="T43" fmla="*/ 16 h 62"/>
                  <a:gd name="T44" fmla="*/ 3 w 48"/>
                  <a:gd name="T45" fmla="*/ 19 h 62"/>
                  <a:gd name="T46" fmla="*/ 6 w 48"/>
                  <a:gd name="T47" fmla="*/ 19 h 62"/>
                  <a:gd name="T48" fmla="*/ 6 w 48"/>
                  <a:gd name="T49" fmla="*/ 23 h 62"/>
                  <a:gd name="T50" fmla="*/ 3 w 48"/>
                  <a:gd name="T51" fmla="*/ 26 h 62"/>
                  <a:gd name="T52" fmla="*/ 9 w 48"/>
                  <a:gd name="T53" fmla="*/ 31 h 62"/>
                  <a:gd name="T54" fmla="*/ 6 w 48"/>
                  <a:gd name="T55" fmla="*/ 32 h 62"/>
                  <a:gd name="T56" fmla="*/ 9 w 48"/>
                  <a:gd name="T57" fmla="*/ 37 h 62"/>
                  <a:gd name="T58" fmla="*/ 0 w 48"/>
                  <a:gd name="T59" fmla="*/ 37 h 62"/>
                  <a:gd name="T60" fmla="*/ 6 w 48"/>
                  <a:gd name="T61" fmla="*/ 43 h 62"/>
                  <a:gd name="T62" fmla="*/ 11 w 48"/>
                  <a:gd name="T63" fmla="*/ 46 h 62"/>
                  <a:gd name="T64" fmla="*/ 16 w 48"/>
                  <a:gd name="T65" fmla="*/ 46 h 62"/>
                  <a:gd name="T66" fmla="*/ 14 w 48"/>
                  <a:gd name="T67" fmla="*/ 50 h 62"/>
                  <a:gd name="T68" fmla="*/ 17 w 48"/>
                  <a:gd name="T69" fmla="*/ 53 h 62"/>
                  <a:gd name="T70" fmla="*/ 17 w 48"/>
                  <a:gd name="T71" fmla="*/ 54 h 62"/>
                  <a:gd name="T72" fmla="*/ 21 w 48"/>
                  <a:gd name="T73" fmla="*/ 56 h 62"/>
                  <a:gd name="T74" fmla="*/ 22 w 48"/>
                  <a:gd name="T75" fmla="*/ 59 h 62"/>
                  <a:gd name="T76" fmla="*/ 22 w 48"/>
                  <a:gd name="T77" fmla="*/ 62 h 62"/>
                  <a:gd name="T78" fmla="*/ 24 w 48"/>
                  <a:gd name="T79" fmla="*/ 59 h 62"/>
                  <a:gd name="T80" fmla="*/ 27 w 48"/>
                  <a:gd name="T81" fmla="*/ 58 h 62"/>
                  <a:gd name="T82" fmla="*/ 30 w 48"/>
                  <a:gd name="T83" fmla="*/ 58 h 62"/>
                  <a:gd name="T84" fmla="*/ 33 w 48"/>
                  <a:gd name="T85" fmla="*/ 56 h 62"/>
                  <a:gd name="T86" fmla="*/ 38 w 48"/>
                  <a:gd name="T87" fmla="*/ 56 h 62"/>
                  <a:gd name="T88" fmla="*/ 41 w 48"/>
                  <a:gd name="T89" fmla="*/ 54 h 62"/>
                  <a:gd name="T90" fmla="*/ 43 w 48"/>
                  <a:gd name="T91" fmla="*/ 53 h 62"/>
                  <a:gd name="T92" fmla="*/ 43 w 48"/>
                  <a:gd name="T93" fmla="*/ 50 h 62"/>
                  <a:gd name="T94" fmla="*/ 44 w 48"/>
                  <a:gd name="T95" fmla="*/ 46 h 62"/>
                  <a:gd name="T96" fmla="*/ 44 w 48"/>
                  <a:gd name="T97" fmla="*/ 4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62">
                    <a:moveTo>
                      <a:pt x="44" y="40"/>
                    </a:moveTo>
                    <a:lnTo>
                      <a:pt x="44" y="40"/>
                    </a:lnTo>
                    <a:lnTo>
                      <a:pt x="41" y="37"/>
                    </a:lnTo>
                    <a:lnTo>
                      <a:pt x="41" y="37"/>
                    </a:lnTo>
                    <a:lnTo>
                      <a:pt x="41" y="35"/>
                    </a:lnTo>
                    <a:lnTo>
                      <a:pt x="41" y="35"/>
                    </a:lnTo>
                    <a:lnTo>
                      <a:pt x="41" y="34"/>
                    </a:lnTo>
                    <a:lnTo>
                      <a:pt x="41" y="34"/>
                    </a:lnTo>
                    <a:lnTo>
                      <a:pt x="41" y="32"/>
                    </a:lnTo>
                    <a:lnTo>
                      <a:pt x="41" y="32"/>
                    </a:lnTo>
                    <a:lnTo>
                      <a:pt x="41" y="32"/>
                    </a:lnTo>
                    <a:lnTo>
                      <a:pt x="44" y="29"/>
                    </a:lnTo>
                    <a:lnTo>
                      <a:pt x="44" y="29"/>
                    </a:lnTo>
                    <a:lnTo>
                      <a:pt x="41" y="26"/>
                    </a:lnTo>
                    <a:lnTo>
                      <a:pt x="41" y="26"/>
                    </a:lnTo>
                    <a:lnTo>
                      <a:pt x="41" y="26"/>
                    </a:lnTo>
                    <a:lnTo>
                      <a:pt x="41" y="26"/>
                    </a:lnTo>
                    <a:lnTo>
                      <a:pt x="44" y="26"/>
                    </a:lnTo>
                    <a:lnTo>
                      <a:pt x="44" y="26"/>
                    </a:lnTo>
                    <a:lnTo>
                      <a:pt x="43" y="23"/>
                    </a:lnTo>
                    <a:lnTo>
                      <a:pt x="43" y="23"/>
                    </a:lnTo>
                    <a:lnTo>
                      <a:pt x="40" y="23"/>
                    </a:lnTo>
                    <a:lnTo>
                      <a:pt x="40" y="23"/>
                    </a:lnTo>
                    <a:lnTo>
                      <a:pt x="38" y="26"/>
                    </a:lnTo>
                    <a:lnTo>
                      <a:pt x="38" y="26"/>
                    </a:lnTo>
                    <a:lnTo>
                      <a:pt x="35" y="23"/>
                    </a:lnTo>
                    <a:lnTo>
                      <a:pt x="35" y="23"/>
                    </a:lnTo>
                    <a:lnTo>
                      <a:pt x="30" y="23"/>
                    </a:lnTo>
                    <a:lnTo>
                      <a:pt x="30" y="23"/>
                    </a:lnTo>
                    <a:lnTo>
                      <a:pt x="27" y="19"/>
                    </a:lnTo>
                    <a:lnTo>
                      <a:pt x="27" y="19"/>
                    </a:lnTo>
                    <a:lnTo>
                      <a:pt x="30" y="19"/>
                    </a:lnTo>
                    <a:lnTo>
                      <a:pt x="30" y="19"/>
                    </a:lnTo>
                    <a:lnTo>
                      <a:pt x="27" y="16"/>
                    </a:lnTo>
                    <a:lnTo>
                      <a:pt x="27" y="16"/>
                    </a:lnTo>
                    <a:lnTo>
                      <a:pt x="30" y="16"/>
                    </a:lnTo>
                    <a:lnTo>
                      <a:pt x="30" y="16"/>
                    </a:lnTo>
                    <a:lnTo>
                      <a:pt x="30" y="16"/>
                    </a:lnTo>
                    <a:lnTo>
                      <a:pt x="30" y="16"/>
                    </a:lnTo>
                    <a:lnTo>
                      <a:pt x="27" y="15"/>
                    </a:lnTo>
                    <a:lnTo>
                      <a:pt x="27" y="15"/>
                    </a:lnTo>
                    <a:lnTo>
                      <a:pt x="21" y="12"/>
                    </a:lnTo>
                    <a:lnTo>
                      <a:pt x="21" y="12"/>
                    </a:lnTo>
                    <a:lnTo>
                      <a:pt x="22" y="8"/>
                    </a:lnTo>
                    <a:lnTo>
                      <a:pt x="22" y="8"/>
                    </a:lnTo>
                    <a:lnTo>
                      <a:pt x="21" y="7"/>
                    </a:lnTo>
                    <a:lnTo>
                      <a:pt x="21" y="7"/>
                    </a:lnTo>
                    <a:lnTo>
                      <a:pt x="19" y="5"/>
                    </a:lnTo>
                    <a:lnTo>
                      <a:pt x="19" y="5"/>
                    </a:lnTo>
                    <a:lnTo>
                      <a:pt x="17" y="4"/>
                    </a:lnTo>
                    <a:lnTo>
                      <a:pt x="17" y="4"/>
                    </a:lnTo>
                    <a:lnTo>
                      <a:pt x="16" y="2"/>
                    </a:lnTo>
                    <a:lnTo>
                      <a:pt x="16" y="2"/>
                    </a:lnTo>
                    <a:lnTo>
                      <a:pt x="14" y="2"/>
                    </a:lnTo>
                    <a:lnTo>
                      <a:pt x="14" y="2"/>
                    </a:lnTo>
                    <a:lnTo>
                      <a:pt x="14" y="2"/>
                    </a:lnTo>
                    <a:lnTo>
                      <a:pt x="14" y="2"/>
                    </a:lnTo>
                    <a:lnTo>
                      <a:pt x="11" y="2"/>
                    </a:lnTo>
                    <a:lnTo>
                      <a:pt x="11" y="2"/>
                    </a:lnTo>
                    <a:lnTo>
                      <a:pt x="9" y="0"/>
                    </a:lnTo>
                    <a:lnTo>
                      <a:pt x="9" y="0"/>
                    </a:lnTo>
                    <a:lnTo>
                      <a:pt x="6" y="2"/>
                    </a:lnTo>
                    <a:lnTo>
                      <a:pt x="6" y="2"/>
                    </a:lnTo>
                    <a:lnTo>
                      <a:pt x="6" y="4"/>
                    </a:lnTo>
                    <a:lnTo>
                      <a:pt x="6" y="4"/>
                    </a:lnTo>
                    <a:lnTo>
                      <a:pt x="3" y="4"/>
                    </a:lnTo>
                    <a:lnTo>
                      <a:pt x="3" y="4"/>
                    </a:lnTo>
                    <a:lnTo>
                      <a:pt x="1" y="4"/>
                    </a:lnTo>
                    <a:lnTo>
                      <a:pt x="1" y="4"/>
                    </a:lnTo>
                    <a:lnTo>
                      <a:pt x="0" y="5"/>
                    </a:lnTo>
                    <a:lnTo>
                      <a:pt x="0" y="5"/>
                    </a:lnTo>
                    <a:lnTo>
                      <a:pt x="0" y="8"/>
                    </a:lnTo>
                    <a:lnTo>
                      <a:pt x="0" y="8"/>
                    </a:lnTo>
                    <a:lnTo>
                      <a:pt x="0" y="10"/>
                    </a:lnTo>
                    <a:lnTo>
                      <a:pt x="0" y="10"/>
                    </a:lnTo>
                    <a:lnTo>
                      <a:pt x="3" y="10"/>
                    </a:lnTo>
                    <a:lnTo>
                      <a:pt x="3" y="10"/>
                    </a:lnTo>
                    <a:lnTo>
                      <a:pt x="0" y="12"/>
                    </a:lnTo>
                    <a:lnTo>
                      <a:pt x="0" y="12"/>
                    </a:lnTo>
                    <a:lnTo>
                      <a:pt x="1" y="12"/>
                    </a:lnTo>
                    <a:lnTo>
                      <a:pt x="1" y="12"/>
                    </a:lnTo>
                    <a:lnTo>
                      <a:pt x="3" y="13"/>
                    </a:lnTo>
                    <a:lnTo>
                      <a:pt x="3" y="13"/>
                    </a:lnTo>
                    <a:lnTo>
                      <a:pt x="6" y="16"/>
                    </a:lnTo>
                    <a:lnTo>
                      <a:pt x="6" y="16"/>
                    </a:lnTo>
                    <a:lnTo>
                      <a:pt x="3" y="16"/>
                    </a:lnTo>
                    <a:lnTo>
                      <a:pt x="3" y="16"/>
                    </a:lnTo>
                    <a:lnTo>
                      <a:pt x="3" y="16"/>
                    </a:lnTo>
                    <a:lnTo>
                      <a:pt x="3" y="16"/>
                    </a:lnTo>
                    <a:lnTo>
                      <a:pt x="3" y="19"/>
                    </a:lnTo>
                    <a:lnTo>
                      <a:pt x="3" y="19"/>
                    </a:lnTo>
                    <a:lnTo>
                      <a:pt x="3" y="19"/>
                    </a:lnTo>
                    <a:lnTo>
                      <a:pt x="3" y="19"/>
                    </a:lnTo>
                    <a:lnTo>
                      <a:pt x="6" y="19"/>
                    </a:lnTo>
                    <a:lnTo>
                      <a:pt x="6" y="19"/>
                    </a:lnTo>
                    <a:lnTo>
                      <a:pt x="6" y="19"/>
                    </a:lnTo>
                    <a:lnTo>
                      <a:pt x="6" y="19"/>
                    </a:lnTo>
                    <a:lnTo>
                      <a:pt x="6" y="19"/>
                    </a:lnTo>
                    <a:lnTo>
                      <a:pt x="6" y="23"/>
                    </a:lnTo>
                    <a:lnTo>
                      <a:pt x="6" y="23"/>
                    </a:lnTo>
                    <a:lnTo>
                      <a:pt x="3" y="26"/>
                    </a:lnTo>
                    <a:lnTo>
                      <a:pt x="3" y="26"/>
                    </a:lnTo>
                    <a:lnTo>
                      <a:pt x="3" y="26"/>
                    </a:lnTo>
                    <a:lnTo>
                      <a:pt x="3" y="26"/>
                    </a:lnTo>
                    <a:lnTo>
                      <a:pt x="3" y="27"/>
                    </a:lnTo>
                    <a:lnTo>
                      <a:pt x="3" y="27"/>
                    </a:lnTo>
                    <a:lnTo>
                      <a:pt x="9" y="31"/>
                    </a:lnTo>
                    <a:lnTo>
                      <a:pt x="9" y="31"/>
                    </a:lnTo>
                    <a:lnTo>
                      <a:pt x="9" y="32"/>
                    </a:lnTo>
                    <a:lnTo>
                      <a:pt x="9" y="32"/>
                    </a:lnTo>
                    <a:lnTo>
                      <a:pt x="6" y="32"/>
                    </a:lnTo>
                    <a:lnTo>
                      <a:pt x="6" y="32"/>
                    </a:lnTo>
                    <a:lnTo>
                      <a:pt x="6" y="35"/>
                    </a:lnTo>
                    <a:lnTo>
                      <a:pt x="6" y="35"/>
                    </a:lnTo>
                    <a:lnTo>
                      <a:pt x="9" y="37"/>
                    </a:lnTo>
                    <a:lnTo>
                      <a:pt x="9" y="37"/>
                    </a:lnTo>
                    <a:lnTo>
                      <a:pt x="3" y="37"/>
                    </a:lnTo>
                    <a:lnTo>
                      <a:pt x="3" y="37"/>
                    </a:lnTo>
                    <a:lnTo>
                      <a:pt x="0" y="37"/>
                    </a:lnTo>
                    <a:lnTo>
                      <a:pt x="0" y="37"/>
                    </a:lnTo>
                    <a:lnTo>
                      <a:pt x="3" y="40"/>
                    </a:lnTo>
                    <a:lnTo>
                      <a:pt x="3" y="40"/>
                    </a:lnTo>
                    <a:lnTo>
                      <a:pt x="6" y="43"/>
                    </a:lnTo>
                    <a:lnTo>
                      <a:pt x="6" y="43"/>
                    </a:lnTo>
                    <a:lnTo>
                      <a:pt x="9" y="43"/>
                    </a:lnTo>
                    <a:lnTo>
                      <a:pt x="9" y="43"/>
                    </a:lnTo>
                    <a:lnTo>
                      <a:pt x="11" y="46"/>
                    </a:lnTo>
                    <a:lnTo>
                      <a:pt x="11" y="46"/>
                    </a:lnTo>
                    <a:lnTo>
                      <a:pt x="14" y="46"/>
                    </a:lnTo>
                    <a:lnTo>
                      <a:pt x="14" y="46"/>
                    </a:lnTo>
                    <a:lnTo>
                      <a:pt x="16" y="46"/>
                    </a:lnTo>
                    <a:lnTo>
                      <a:pt x="16" y="46"/>
                    </a:lnTo>
                    <a:lnTo>
                      <a:pt x="16" y="50"/>
                    </a:lnTo>
                    <a:lnTo>
                      <a:pt x="16" y="50"/>
                    </a:lnTo>
                    <a:lnTo>
                      <a:pt x="14" y="50"/>
                    </a:lnTo>
                    <a:lnTo>
                      <a:pt x="14" y="50"/>
                    </a:lnTo>
                    <a:lnTo>
                      <a:pt x="16" y="51"/>
                    </a:lnTo>
                    <a:lnTo>
                      <a:pt x="16" y="51"/>
                    </a:lnTo>
                    <a:lnTo>
                      <a:pt x="16" y="51"/>
                    </a:lnTo>
                    <a:lnTo>
                      <a:pt x="17" y="53"/>
                    </a:lnTo>
                    <a:lnTo>
                      <a:pt x="17" y="53"/>
                    </a:lnTo>
                    <a:lnTo>
                      <a:pt x="17" y="53"/>
                    </a:lnTo>
                    <a:lnTo>
                      <a:pt x="17" y="53"/>
                    </a:lnTo>
                    <a:lnTo>
                      <a:pt x="17" y="54"/>
                    </a:lnTo>
                    <a:lnTo>
                      <a:pt x="17" y="54"/>
                    </a:lnTo>
                    <a:lnTo>
                      <a:pt x="21" y="56"/>
                    </a:lnTo>
                    <a:lnTo>
                      <a:pt x="21" y="56"/>
                    </a:lnTo>
                    <a:lnTo>
                      <a:pt x="21" y="56"/>
                    </a:lnTo>
                    <a:lnTo>
                      <a:pt x="22" y="58"/>
                    </a:lnTo>
                    <a:lnTo>
                      <a:pt x="22" y="58"/>
                    </a:lnTo>
                    <a:lnTo>
                      <a:pt x="22" y="59"/>
                    </a:lnTo>
                    <a:lnTo>
                      <a:pt x="22" y="59"/>
                    </a:lnTo>
                    <a:lnTo>
                      <a:pt x="22" y="61"/>
                    </a:lnTo>
                    <a:lnTo>
                      <a:pt x="22" y="61"/>
                    </a:lnTo>
                    <a:lnTo>
                      <a:pt x="22" y="62"/>
                    </a:lnTo>
                    <a:lnTo>
                      <a:pt x="22" y="62"/>
                    </a:lnTo>
                    <a:lnTo>
                      <a:pt x="24" y="61"/>
                    </a:lnTo>
                    <a:lnTo>
                      <a:pt x="24" y="61"/>
                    </a:lnTo>
                    <a:lnTo>
                      <a:pt x="24" y="59"/>
                    </a:lnTo>
                    <a:lnTo>
                      <a:pt x="24" y="59"/>
                    </a:lnTo>
                    <a:lnTo>
                      <a:pt x="27" y="58"/>
                    </a:lnTo>
                    <a:lnTo>
                      <a:pt x="27" y="58"/>
                    </a:lnTo>
                    <a:lnTo>
                      <a:pt x="27" y="58"/>
                    </a:lnTo>
                    <a:lnTo>
                      <a:pt x="27" y="58"/>
                    </a:lnTo>
                    <a:lnTo>
                      <a:pt x="30" y="59"/>
                    </a:lnTo>
                    <a:lnTo>
                      <a:pt x="30" y="59"/>
                    </a:lnTo>
                    <a:lnTo>
                      <a:pt x="30" y="58"/>
                    </a:lnTo>
                    <a:lnTo>
                      <a:pt x="30" y="58"/>
                    </a:lnTo>
                    <a:lnTo>
                      <a:pt x="33" y="56"/>
                    </a:lnTo>
                    <a:lnTo>
                      <a:pt x="33" y="56"/>
                    </a:lnTo>
                    <a:lnTo>
                      <a:pt x="33" y="56"/>
                    </a:lnTo>
                    <a:lnTo>
                      <a:pt x="33" y="56"/>
                    </a:lnTo>
                    <a:lnTo>
                      <a:pt x="35" y="56"/>
                    </a:lnTo>
                    <a:lnTo>
                      <a:pt x="35" y="56"/>
                    </a:lnTo>
                    <a:lnTo>
                      <a:pt x="38" y="56"/>
                    </a:lnTo>
                    <a:lnTo>
                      <a:pt x="38" y="56"/>
                    </a:lnTo>
                    <a:lnTo>
                      <a:pt x="40" y="54"/>
                    </a:lnTo>
                    <a:lnTo>
                      <a:pt x="40" y="54"/>
                    </a:lnTo>
                    <a:lnTo>
                      <a:pt x="41" y="54"/>
                    </a:lnTo>
                    <a:lnTo>
                      <a:pt x="41" y="54"/>
                    </a:lnTo>
                    <a:lnTo>
                      <a:pt x="44" y="53"/>
                    </a:lnTo>
                    <a:lnTo>
                      <a:pt x="44" y="53"/>
                    </a:lnTo>
                    <a:lnTo>
                      <a:pt x="43" y="53"/>
                    </a:lnTo>
                    <a:lnTo>
                      <a:pt x="43" y="53"/>
                    </a:lnTo>
                    <a:lnTo>
                      <a:pt x="43" y="50"/>
                    </a:lnTo>
                    <a:lnTo>
                      <a:pt x="43" y="50"/>
                    </a:lnTo>
                    <a:lnTo>
                      <a:pt x="43" y="50"/>
                    </a:lnTo>
                    <a:lnTo>
                      <a:pt x="43" y="50"/>
                    </a:lnTo>
                    <a:lnTo>
                      <a:pt x="44" y="46"/>
                    </a:lnTo>
                    <a:lnTo>
                      <a:pt x="44" y="46"/>
                    </a:lnTo>
                    <a:lnTo>
                      <a:pt x="44" y="46"/>
                    </a:lnTo>
                    <a:lnTo>
                      <a:pt x="44" y="46"/>
                    </a:lnTo>
                    <a:lnTo>
                      <a:pt x="48" y="43"/>
                    </a:lnTo>
                    <a:lnTo>
                      <a:pt x="44" y="40"/>
                    </a:lnTo>
                    <a:lnTo>
                      <a:pt x="44" y="40"/>
                    </a:lnTo>
                    <a:lnTo>
                      <a:pt x="44" y="4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38" name="Freeform 201">
                <a:extLst>
                  <a:ext uri="{FF2B5EF4-FFF2-40B4-BE49-F238E27FC236}">
                    <a16:creationId xmlns:a16="http://schemas.microsoft.com/office/drawing/2014/main" id="{AD0B01F6-D64E-64CA-599E-4B12541E588A}"/>
                  </a:ext>
                </a:extLst>
              </p:cNvPr>
              <p:cNvSpPr>
                <a:spLocks/>
              </p:cNvSpPr>
              <p:nvPr/>
            </p:nvSpPr>
            <p:spPr bwMode="auto">
              <a:xfrm>
                <a:off x="6204329" y="2571599"/>
                <a:ext cx="114397" cy="105424"/>
              </a:xfrm>
              <a:custGeom>
                <a:avLst/>
                <a:gdLst>
                  <a:gd name="T0" fmla="*/ 44 w 51"/>
                  <a:gd name="T1" fmla="*/ 36 h 47"/>
                  <a:gd name="T2" fmla="*/ 44 w 51"/>
                  <a:gd name="T3" fmla="*/ 36 h 47"/>
                  <a:gd name="T4" fmla="*/ 48 w 51"/>
                  <a:gd name="T5" fmla="*/ 39 h 47"/>
                  <a:gd name="T6" fmla="*/ 48 w 51"/>
                  <a:gd name="T7" fmla="*/ 39 h 47"/>
                  <a:gd name="T8" fmla="*/ 51 w 51"/>
                  <a:gd name="T9" fmla="*/ 36 h 47"/>
                  <a:gd name="T10" fmla="*/ 51 w 51"/>
                  <a:gd name="T11" fmla="*/ 35 h 47"/>
                  <a:gd name="T12" fmla="*/ 51 w 51"/>
                  <a:gd name="T13" fmla="*/ 33 h 47"/>
                  <a:gd name="T14" fmla="*/ 44 w 51"/>
                  <a:gd name="T15" fmla="*/ 31 h 47"/>
                  <a:gd name="T16" fmla="*/ 43 w 51"/>
                  <a:gd name="T17" fmla="*/ 30 h 47"/>
                  <a:gd name="T18" fmla="*/ 38 w 51"/>
                  <a:gd name="T19" fmla="*/ 25 h 47"/>
                  <a:gd name="T20" fmla="*/ 35 w 51"/>
                  <a:gd name="T21" fmla="*/ 24 h 47"/>
                  <a:gd name="T22" fmla="*/ 43 w 51"/>
                  <a:gd name="T23" fmla="*/ 22 h 47"/>
                  <a:gd name="T24" fmla="*/ 41 w 51"/>
                  <a:gd name="T25" fmla="*/ 22 h 47"/>
                  <a:gd name="T26" fmla="*/ 43 w 51"/>
                  <a:gd name="T27" fmla="*/ 19 h 47"/>
                  <a:gd name="T28" fmla="*/ 43 w 51"/>
                  <a:gd name="T29" fmla="*/ 16 h 47"/>
                  <a:gd name="T30" fmla="*/ 38 w 51"/>
                  <a:gd name="T31" fmla="*/ 12 h 47"/>
                  <a:gd name="T32" fmla="*/ 38 w 51"/>
                  <a:gd name="T33" fmla="*/ 11 h 47"/>
                  <a:gd name="T34" fmla="*/ 40 w 51"/>
                  <a:gd name="T35" fmla="*/ 6 h 47"/>
                  <a:gd name="T36" fmla="*/ 40 w 51"/>
                  <a:gd name="T37" fmla="*/ 4 h 47"/>
                  <a:gd name="T38" fmla="*/ 38 w 51"/>
                  <a:gd name="T39" fmla="*/ 4 h 47"/>
                  <a:gd name="T40" fmla="*/ 35 w 51"/>
                  <a:gd name="T41" fmla="*/ 6 h 47"/>
                  <a:gd name="T42" fmla="*/ 33 w 51"/>
                  <a:gd name="T43" fmla="*/ 4 h 47"/>
                  <a:gd name="T44" fmla="*/ 30 w 51"/>
                  <a:gd name="T45" fmla="*/ 1 h 47"/>
                  <a:gd name="T46" fmla="*/ 27 w 51"/>
                  <a:gd name="T47" fmla="*/ 3 h 47"/>
                  <a:gd name="T48" fmla="*/ 24 w 51"/>
                  <a:gd name="T49" fmla="*/ 3 h 47"/>
                  <a:gd name="T50" fmla="*/ 22 w 51"/>
                  <a:gd name="T51" fmla="*/ 3 h 47"/>
                  <a:gd name="T52" fmla="*/ 16 w 51"/>
                  <a:gd name="T53" fmla="*/ 1 h 47"/>
                  <a:gd name="T54" fmla="*/ 13 w 51"/>
                  <a:gd name="T55" fmla="*/ 0 h 47"/>
                  <a:gd name="T56" fmla="*/ 10 w 51"/>
                  <a:gd name="T57" fmla="*/ 0 h 47"/>
                  <a:gd name="T58" fmla="*/ 8 w 51"/>
                  <a:gd name="T59" fmla="*/ 0 h 47"/>
                  <a:gd name="T60" fmla="*/ 6 w 51"/>
                  <a:gd name="T61" fmla="*/ 3 h 47"/>
                  <a:gd name="T62" fmla="*/ 3 w 51"/>
                  <a:gd name="T63" fmla="*/ 3 h 47"/>
                  <a:gd name="T64" fmla="*/ 0 w 51"/>
                  <a:gd name="T65" fmla="*/ 0 h 47"/>
                  <a:gd name="T66" fmla="*/ 0 w 51"/>
                  <a:gd name="T67" fmla="*/ 3 h 47"/>
                  <a:gd name="T68" fmla="*/ 0 w 51"/>
                  <a:gd name="T69" fmla="*/ 8 h 47"/>
                  <a:gd name="T70" fmla="*/ 3 w 51"/>
                  <a:gd name="T71" fmla="*/ 9 h 47"/>
                  <a:gd name="T72" fmla="*/ 6 w 51"/>
                  <a:gd name="T73" fmla="*/ 16 h 47"/>
                  <a:gd name="T74" fmla="*/ 10 w 51"/>
                  <a:gd name="T75" fmla="*/ 19 h 47"/>
                  <a:gd name="T76" fmla="*/ 21 w 51"/>
                  <a:gd name="T77" fmla="*/ 30 h 47"/>
                  <a:gd name="T78" fmla="*/ 21 w 51"/>
                  <a:gd name="T79" fmla="*/ 30 h 47"/>
                  <a:gd name="T80" fmla="*/ 21 w 51"/>
                  <a:gd name="T81" fmla="*/ 33 h 47"/>
                  <a:gd name="T82" fmla="*/ 22 w 51"/>
                  <a:gd name="T83" fmla="*/ 33 h 47"/>
                  <a:gd name="T84" fmla="*/ 24 w 51"/>
                  <a:gd name="T85" fmla="*/ 35 h 47"/>
                  <a:gd name="T86" fmla="*/ 27 w 51"/>
                  <a:gd name="T87" fmla="*/ 36 h 47"/>
                  <a:gd name="T88" fmla="*/ 30 w 51"/>
                  <a:gd name="T89" fmla="*/ 39 h 47"/>
                  <a:gd name="T90" fmla="*/ 33 w 51"/>
                  <a:gd name="T91" fmla="*/ 47 h 47"/>
                  <a:gd name="T92" fmla="*/ 43 w 51"/>
                  <a:gd name="T93" fmla="*/ 47 h 47"/>
                  <a:gd name="T94" fmla="*/ 41 w 51"/>
                  <a:gd name="T95"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47">
                    <a:moveTo>
                      <a:pt x="41" y="39"/>
                    </a:moveTo>
                    <a:lnTo>
                      <a:pt x="41" y="39"/>
                    </a:lnTo>
                    <a:lnTo>
                      <a:pt x="44" y="36"/>
                    </a:lnTo>
                    <a:lnTo>
                      <a:pt x="44" y="36"/>
                    </a:lnTo>
                    <a:lnTo>
                      <a:pt x="44" y="36"/>
                    </a:lnTo>
                    <a:lnTo>
                      <a:pt x="44" y="36"/>
                    </a:lnTo>
                    <a:lnTo>
                      <a:pt x="44" y="39"/>
                    </a:lnTo>
                    <a:lnTo>
                      <a:pt x="44" y="39"/>
                    </a:lnTo>
                    <a:lnTo>
                      <a:pt x="48" y="39"/>
                    </a:lnTo>
                    <a:lnTo>
                      <a:pt x="48" y="39"/>
                    </a:lnTo>
                    <a:lnTo>
                      <a:pt x="48" y="39"/>
                    </a:lnTo>
                    <a:lnTo>
                      <a:pt x="48" y="39"/>
                    </a:lnTo>
                    <a:lnTo>
                      <a:pt x="51" y="36"/>
                    </a:lnTo>
                    <a:lnTo>
                      <a:pt x="51" y="36"/>
                    </a:lnTo>
                    <a:lnTo>
                      <a:pt x="51" y="36"/>
                    </a:lnTo>
                    <a:lnTo>
                      <a:pt x="48" y="36"/>
                    </a:lnTo>
                    <a:lnTo>
                      <a:pt x="48" y="36"/>
                    </a:lnTo>
                    <a:lnTo>
                      <a:pt x="51" y="35"/>
                    </a:lnTo>
                    <a:lnTo>
                      <a:pt x="51" y="35"/>
                    </a:lnTo>
                    <a:lnTo>
                      <a:pt x="51" y="33"/>
                    </a:lnTo>
                    <a:lnTo>
                      <a:pt x="51" y="33"/>
                    </a:lnTo>
                    <a:lnTo>
                      <a:pt x="48" y="33"/>
                    </a:lnTo>
                    <a:lnTo>
                      <a:pt x="48" y="33"/>
                    </a:lnTo>
                    <a:lnTo>
                      <a:pt x="44" y="31"/>
                    </a:lnTo>
                    <a:lnTo>
                      <a:pt x="44" y="31"/>
                    </a:lnTo>
                    <a:lnTo>
                      <a:pt x="43" y="30"/>
                    </a:lnTo>
                    <a:lnTo>
                      <a:pt x="43" y="30"/>
                    </a:lnTo>
                    <a:lnTo>
                      <a:pt x="41" y="30"/>
                    </a:lnTo>
                    <a:lnTo>
                      <a:pt x="41" y="30"/>
                    </a:lnTo>
                    <a:lnTo>
                      <a:pt x="38" y="25"/>
                    </a:lnTo>
                    <a:lnTo>
                      <a:pt x="38" y="25"/>
                    </a:lnTo>
                    <a:lnTo>
                      <a:pt x="35" y="24"/>
                    </a:lnTo>
                    <a:lnTo>
                      <a:pt x="35" y="24"/>
                    </a:lnTo>
                    <a:lnTo>
                      <a:pt x="38" y="24"/>
                    </a:lnTo>
                    <a:lnTo>
                      <a:pt x="38" y="24"/>
                    </a:lnTo>
                    <a:lnTo>
                      <a:pt x="43" y="22"/>
                    </a:lnTo>
                    <a:lnTo>
                      <a:pt x="43" y="22"/>
                    </a:lnTo>
                    <a:lnTo>
                      <a:pt x="41" y="22"/>
                    </a:lnTo>
                    <a:lnTo>
                      <a:pt x="41" y="22"/>
                    </a:lnTo>
                    <a:lnTo>
                      <a:pt x="40" y="19"/>
                    </a:lnTo>
                    <a:lnTo>
                      <a:pt x="40" y="19"/>
                    </a:lnTo>
                    <a:lnTo>
                      <a:pt x="43" y="19"/>
                    </a:lnTo>
                    <a:lnTo>
                      <a:pt x="43" y="19"/>
                    </a:lnTo>
                    <a:lnTo>
                      <a:pt x="43" y="16"/>
                    </a:lnTo>
                    <a:lnTo>
                      <a:pt x="43" y="16"/>
                    </a:lnTo>
                    <a:lnTo>
                      <a:pt x="38" y="12"/>
                    </a:lnTo>
                    <a:lnTo>
                      <a:pt x="38" y="12"/>
                    </a:lnTo>
                    <a:lnTo>
                      <a:pt x="38" y="12"/>
                    </a:lnTo>
                    <a:lnTo>
                      <a:pt x="38" y="12"/>
                    </a:lnTo>
                    <a:lnTo>
                      <a:pt x="38" y="11"/>
                    </a:lnTo>
                    <a:lnTo>
                      <a:pt x="38" y="11"/>
                    </a:lnTo>
                    <a:lnTo>
                      <a:pt x="40" y="8"/>
                    </a:lnTo>
                    <a:lnTo>
                      <a:pt x="40" y="8"/>
                    </a:lnTo>
                    <a:lnTo>
                      <a:pt x="40" y="6"/>
                    </a:lnTo>
                    <a:lnTo>
                      <a:pt x="40" y="6"/>
                    </a:lnTo>
                    <a:lnTo>
                      <a:pt x="40" y="4"/>
                    </a:lnTo>
                    <a:lnTo>
                      <a:pt x="40" y="4"/>
                    </a:lnTo>
                    <a:lnTo>
                      <a:pt x="40" y="4"/>
                    </a:lnTo>
                    <a:lnTo>
                      <a:pt x="38" y="4"/>
                    </a:lnTo>
                    <a:lnTo>
                      <a:pt x="38" y="4"/>
                    </a:lnTo>
                    <a:lnTo>
                      <a:pt x="36" y="4"/>
                    </a:lnTo>
                    <a:lnTo>
                      <a:pt x="36" y="4"/>
                    </a:lnTo>
                    <a:lnTo>
                      <a:pt x="35" y="6"/>
                    </a:lnTo>
                    <a:lnTo>
                      <a:pt x="35" y="6"/>
                    </a:lnTo>
                    <a:lnTo>
                      <a:pt x="33" y="4"/>
                    </a:lnTo>
                    <a:lnTo>
                      <a:pt x="33" y="4"/>
                    </a:lnTo>
                    <a:lnTo>
                      <a:pt x="33" y="3"/>
                    </a:lnTo>
                    <a:lnTo>
                      <a:pt x="33" y="3"/>
                    </a:lnTo>
                    <a:lnTo>
                      <a:pt x="30" y="1"/>
                    </a:lnTo>
                    <a:lnTo>
                      <a:pt x="30" y="1"/>
                    </a:lnTo>
                    <a:lnTo>
                      <a:pt x="27" y="3"/>
                    </a:lnTo>
                    <a:lnTo>
                      <a:pt x="27" y="3"/>
                    </a:lnTo>
                    <a:lnTo>
                      <a:pt x="24" y="1"/>
                    </a:lnTo>
                    <a:lnTo>
                      <a:pt x="24" y="1"/>
                    </a:lnTo>
                    <a:lnTo>
                      <a:pt x="24" y="3"/>
                    </a:lnTo>
                    <a:lnTo>
                      <a:pt x="24" y="3"/>
                    </a:lnTo>
                    <a:lnTo>
                      <a:pt x="22" y="3"/>
                    </a:lnTo>
                    <a:lnTo>
                      <a:pt x="22" y="3"/>
                    </a:lnTo>
                    <a:lnTo>
                      <a:pt x="21" y="1"/>
                    </a:lnTo>
                    <a:lnTo>
                      <a:pt x="21" y="1"/>
                    </a:lnTo>
                    <a:lnTo>
                      <a:pt x="16" y="1"/>
                    </a:lnTo>
                    <a:lnTo>
                      <a:pt x="16" y="1"/>
                    </a:lnTo>
                    <a:lnTo>
                      <a:pt x="13" y="0"/>
                    </a:lnTo>
                    <a:lnTo>
                      <a:pt x="13" y="0"/>
                    </a:lnTo>
                    <a:lnTo>
                      <a:pt x="11" y="1"/>
                    </a:lnTo>
                    <a:lnTo>
                      <a:pt x="11" y="1"/>
                    </a:lnTo>
                    <a:lnTo>
                      <a:pt x="10" y="0"/>
                    </a:lnTo>
                    <a:lnTo>
                      <a:pt x="10" y="0"/>
                    </a:lnTo>
                    <a:lnTo>
                      <a:pt x="8" y="0"/>
                    </a:lnTo>
                    <a:lnTo>
                      <a:pt x="8" y="0"/>
                    </a:lnTo>
                    <a:lnTo>
                      <a:pt x="6" y="1"/>
                    </a:lnTo>
                    <a:lnTo>
                      <a:pt x="6" y="1"/>
                    </a:lnTo>
                    <a:lnTo>
                      <a:pt x="6" y="3"/>
                    </a:lnTo>
                    <a:lnTo>
                      <a:pt x="6" y="3"/>
                    </a:lnTo>
                    <a:lnTo>
                      <a:pt x="3" y="3"/>
                    </a:lnTo>
                    <a:lnTo>
                      <a:pt x="3" y="3"/>
                    </a:lnTo>
                    <a:lnTo>
                      <a:pt x="0" y="0"/>
                    </a:lnTo>
                    <a:lnTo>
                      <a:pt x="0" y="0"/>
                    </a:lnTo>
                    <a:lnTo>
                      <a:pt x="0" y="0"/>
                    </a:lnTo>
                    <a:lnTo>
                      <a:pt x="0" y="0"/>
                    </a:lnTo>
                    <a:lnTo>
                      <a:pt x="0" y="3"/>
                    </a:lnTo>
                    <a:lnTo>
                      <a:pt x="0" y="3"/>
                    </a:lnTo>
                    <a:lnTo>
                      <a:pt x="0" y="4"/>
                    </a:lnTo>
                    <a:lnTo>
                      <a:pt x="0" y="4"/>
                    </a:lnTo>
                    <a:lnTo>
                      <a:pt x="0" y="8"/>
                    </a:lnTo>
                    <a:lnTo>
                      <a:pt x="0" y="8"/>
                    </a:lnTo>
                    <a:lnTo>
                      <a:pt x="3" y="9"/>
                    </a:lnTo>
                    <a:lnTo>
                      <a:pt x="3" y="9"/>
                    </a:lnTo>
                    <a:lnTo>
                      <a:pt x="6" y="12"/>
                    </a:lnTo>
                    <a:lnTo>
                      <a:pt x="6" y="12"/>
                    </a:lnTo>
                    <a:lnTo>
                      <a:pt x="6" y="16"/>
                    </a:lnTo>
                    <a:lnTo>
                      <a:pt x="6" y="16"/>
                    </a:lnTo>
                    <a:lnTo>
                      <a:pt x="10" y="19"/>
                    </a:lnTo>
                    <a:lnTo>
                      <a:pt x="10" y="19"/>
                    </a:lnTo>
                    <a:lnTo>
                      <a:pt x="17" y="27"/>
                    </a:lnTo>
                    <a:lnTo>
                      <a:pt x="17" y="27"/>
                    </a:lnTo>
                    <a:lnTo>
                      <a:pt x="21" y="30"/>
                    </a:lnTo>
                    <a:lnTo>
                      <a:pt x="21" y="30"/>
                    </a:lnTo>
                    <a:lnTo>
                      <a:pt x="21" y="30"/>
                    </a:lnTo>
                    <a:lnTo>
                      <a:pt x="21" y="30"/>
                    </a:lnTo>
                    <a:lnTo>
                      <a:pt x="22" y="31"/>
                    </a:lnTo>
                    <a:lnTo>
                      <a:pt x="22" y="31"/>
                    </a:lnTo>
                    <a:lnTo>
                      <a:pt x="21" y="33"/>
                    </a:lnTo>
                    <a:lnTo>
                      <a:pt x="21" y="33"/>
                    </a:lnTo>
                    <a:lnTo>
                      <a:pt x="22" y="33"/>
                    </a:lnTo>
                    <a:lnTo>
                      <a:pt x="22" y="33"/>
                    </a:lnTo>
                    <a:lnTo>
                      <a:pt x="24" y="33"/>
                    </a:lnTo>
                    <a:lnTo>
                      <a:pt x="24" y="33"/>
                    </a:lnTo>
                    <a:lnTo>
                      <a:pt x="24" y="35"/>
                    </a:lnTo>
                    <a:lnTo>
                      <a:pt x="24" y="35"/>
                    </a:lnTo>
                    <a:lnTo>
                      <a:pt x="27" y="36"/>
                    </a:lnTo>
                    <a:lnTo>
                      <a:pt x="27" y="36"/>
                    </a:lnTo>
                    <a:lnTo>
                      <a:pt x="29" y="36"/>
                    </a:lnTo>
                    <a:lnTo>
                      <a:pt x="29" y="36"/>
                    </a:lnTo>
                    <a:lnTo>
                      <a:pt x="30" y="39"/>
                    </a:lnTo>
                    <a:lnTo>
                      <a:pt x="30" y="39"/>
                    </a:lnTo>
                    <a:lnTo>
                      <a:pt x="32" y="44"/>
                    </a:lnTo>
                    <a:lnTo>
                      <a:pt x="33" y="47"/>
                    </a:lnTo>
                    <a:lnTo>
                      <a:pt x="33" y="47"/>
                    </a:lnTo>
                    <a:lnTo>
                      <a:pt x="38" y="47"/>
                    </a:lnTo>
                    <a:lnTo>
                      <a:pt x="43" y="47"/>
                    </a:lnTo>
                    <a:lnTo>
                      <a:pt x="43" y="47"/>
                    </a:lnTo>
                    <a:lnTo>
                      <a:pt x="41" y="43"/>
                    </a:lnTo>
                    <a:lnTo>
                      <a:pt x="41" y="39"/>
                    </a:lnTo>
                    <a:lnTo>
                      <a:pt x="41" y="39"/>
                    </a:lnTo>
                    <a:lnTo>
                      <a:pt x="41" y="39"/>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39" name="Freeform 345">
                <a:extLst>
                  <a:ext uri="{FF2B5EF4-FFF2-40B4-BE49-F238E27FC236}">
                    <a16:creationId xmlns:a16="http://schemas.microsoft.com/office/drawing/2014/main" id="{459B9843-E7C1-92C2-A817-22587B7A6D48}"/>
                  </a:ext>
                </a:extLst>
              </p:cNvPr>
              <p:cNvSpPr>
                <a:spLocks noEditPoints="1"/>
              </p:cNvSpPr>
              <p:nvPr/>
            </p:nvSpPr>
            <p:spPr bwMode="auto">
              <a:xfrm>
                <a:off x="6314237" y="2681510"/>
                <a:ext cx="204120" cy="219821"/>
              </a:xfrm>
              <a:custGeom>
                <a:avLst/>
                <a:gdLst>
                  <a:gd name="T0" fmla="*/ 54 w 91"/>
                  <a:gd name="T1" fmla="*/ 52 h 98"/>
                  <a:gd name="T2" fmla="*/ 49 w 91"/>
                  <a:gd name="T3" fmla="*/ 43 h 98"/>
                  <a:gd name="T4" fmla="*/ 40 w 91"/>
                  <a:gd name="T5" fmla="*/ 41 h 98"/>
                  <a:gd name="T6" fmla="*/ 41 w 91"/>
                  <a:gd name="T7" fmla="*/ 43 h 98"/>
                  <a:gd name="T8" fmla="*/ 41 w 91"/>
                  <a:gd name="T9" fmla="*/ 25 h 98"/>
                  <a:gd name="T10" fmla="*/ 43 w 91"/>
                  <a:gd name="T11" fmla="*/ 25 h 98"/>
                  <a:gd name="T12" fmla="*/ 51 w 91"/>
                  <a:gd name="T13" fmla="*/ 55 h 98"/>
                  <a:gd name="T14" fmla="*/ 40 w 91"/>
                  <a:gd name="T15" fmla="*/ 43 h 98"/>
                  <a:gd name="T16" fmla="*/ 37 w 91"/>
                  <a:gd name="T17" fmla="*/ 35 h 98"/>
                  <a:gd name="T18" fmla="*/ 40 w 91"/>
                  <a:gd name="T19" fmla="*/ 33 h 98"/>
                  <a:gd name="T20" fmla="*/ 34 w 91"/>
                  <a:gd name="T21" fmla="*/ 19 h 98"/>
                  <a:gd name="T22" fmla="*/ 48 w 91"/>
                  <a:gd name="T23" fmla="*/ 25 h 98"/>
                  <a:gd name="T24" fmla="*/ 51 w 91"/>
                  <a:gd name="T25" fmla="*/ 19 h 98"/>
                  <a:gd name="T26" fmla="*/ 49 w 91"/>
                  <a:gd name="T27" fmla="*/ 16 h 98"/>
                  <a:gd name="T28" fmla="*/ 62 w 91"/>
                  <a:gd name="T29" fmla="*/ 13 h 98"/>
                  <a:gd name="T30" fmla="*/ 75 w 91"/>
                  <a:gd name="T31" fmla="*/ 8 h 98"/>
                  <a:gd name="T32" fmla="*/ 75 w 91"/>
                  <a:gd name="T33" fmla="*/ 0 h 98"/>
                  <a:gd name="T34" fmla="*/ 72 w 91"/>
                  <a:gd name="T35" fmla="*/ 6 h 98"/>
                  <a:gd name="T36" fmla="*/ 56 w 91"/>
                  <a:gd name="T37" fmla="*/ 6 h 98"/>
                  <a:gd name="T38" fmla="*/ 43 w 91"/>
                  <a:gd name="T39" fmla="*/ 6 h 98"/>
                  <a:gd name="T40" fmla="*/ 29 w 91"/>
                  <a:gd name="T41" fmla="*/ 8 h 98"/>
                  <a:gd name="T42" fmla="*/ 13 w 91"/>
                  <a:gd name="T43" fmla="*/ 16 h 98"/>
                  <a:gd name="T44" fmla="*/ 5 w 91"/>
                  <a:gd name="T45" fmla="*/ 28 h 98"/>
                  <a:gd name="T46" fmla="*/ 5 w 91"/>
                  <a:gd name="T47" fmla="*/ 35 h 98"/>
                  <a:gd name="T48" fmla="*/ 14 w 91"/>
                  <a:gd name="T49" fmla="*/ 41 h 98"/>
                  <a:gd name="T50" fmla="*/ 18 w 91"/>
                  <a:gd name="T51" fmla="*/ 46 h 98"/>
                  <a:gd name="T52" fmla="*/ 34 w 91"/>
                  <a:gd name="T53" fmla="*/ 49 h 98"/>
                  <a:gd name="T54" fmla="*/ 37 w 91"/>
                  <a:gd name="T55" fmla="*/ 54 h 98"/>
                  <a:gd name="T56" fmla="*/ 21 w 91"/>
                  <a:gd name="T57" fmla="*/ 52 h 98"/>
                  <a:gd name="T58" fmla="*/ 22 w 91"/>
                  <a:gd name="T59" fmla="*/ 67 h 98"/>
                  <a:gd name="T60" fmla="*/ 30 w 91"/>
                  <a:gd name="T61" fmla="*/ 70 h 98"/>
                  <a:gd name="T62" fmla="*/ 40 w 91"/>
                  <a:gd name="T63" fmla="*/ 75 h 98"/>
                  <a:gd name="T64" fmla="*/ 40 w 91"/>
                  <a:gd name="T65" fmla="*/ 62 h 98"/>
                  <a:gd name="T66" fmla="*/ 40 w 91"/>
                  <a:gd name="T67" fmla="*/ 57 h 98"/>
                  <a:gd name="T68" fmla="*/ 40 w 91"/>
                  <a:gd name="T69" fmla="*/ 54 h 98"/>
                  <a:gd name="T70" fmla="*/ 72 w 91"/>
                  <a:gd name="T71" fmla="*/ 94 h 98"/>
                  <a:gd name="T72" fmla="*/ 54 w 91"/>
                  <a:gd name="T73" fmla="*/ 90 h 98"/>
                  <a:gd name="T74" fmla="*/ 46 w 91"/>
                  <a:gd name="T75" fmla="*/ 90 h 98"/>
                  <a:gd name="T76" fmla="*/ 76 w 91"/>
                  <a:gd name="T77" fmla="*/ 97 h 98"/>
                  <a:gd name="T78" fmla="*/ 75 w 91"/>
                  <a:gd name="T79" fmla="*/ 94 h 98"/>
                  <a:gd name="T80" fmla="*/ 78 w 91"/>
                  <a:gd name="T81" fmla="*/ 43 h 98"/>
                  <a:gd name="T82" fmla="*/ 80 w 91"/>
                  <a:gd name="T83" fmla="*/ 46 h 98"/>
                  <a:gd name="T84" fmla="*/ 80 w 91"/>
                  <a:gd name="T85" fmla="*/ 46 h 98"/>
                  <a:gd name="T86" fmla="*/ 65 w 91"/>
                  <a:gd name="T87" fmla="*/ 46 h 98"/>
                  <a:gd name="T88" fmla="*/ 67 w 91"/>
                  <a:gd name="T89" fmla="*/ 51 h 98"/>
                  <a:gd name="T90" fmla="*/ 86 w 91"/>
                  <a:gd name="T91" fmla="*/ 78 h 98"/>
                  <a:gd name="T92" fmla="*/ 91 w 91"/>
                  <a:gd name="T93" fmla="*/ 75 h 98"/>
                  <a:gd name="T94" fmla="*/ 88 w 91"/>
                  <a:gd name="T95" fmla="*/ 76 h 98"/>
                  <a:gd name="T96" fmla="*/ 3 w 91"/>
                  <a:gd name="T97" fmla="*/ 36 h 98"/>
                  <a:gd name="T98" fmla="*/ 2 w 91"/>
                  <a:gd name="T99" fmla="*/ 32 h 98"/>
                  <a:gd name="T100" fmla="*/ 10 w 91"/>
                  <a:gd name="T101" fmla="*/ 52 h 98"/>
                  <a:gd name="T102" fmla="*/ 8 w 91"/>
                  <a:gd name="T103" fmla="*/ 51 h 98"/>
                  <a:gd name="T104" fmla="*/ 62 w 91"/>
                  <a:gd name="T105" fmla="*/ 68 h 98"/>
                  <a:gd name="T106" fmla="*/ 62 w 91"/>
                  <a:gd name="T107" fmla="*/ 68 h 98"/>
                  <a:gd name="T108" fmla="*/ 62 w 91"/>
                  <a:gd name="T109" fmla="*/ 68 h 98"/>
                  <a:gd name="T110" fmla="*/ 57 w 91"/>
                  <a:gd name="T111" fmla="*/ 30 h 98"/>
                  <a:gd name="T112" fmla="*/ 59 w 91"/>
                  <a:gd name="T113" fmla="*/ 2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1" h="98">
                    <a:moveTo>
                      <a:pt x="41" y="43"/>
                    </a:moveTo>
                    <a:lnTo>
                      <a:pt x="43" y="46"/>
                    </a:lnTo>
                    <a:lnTo>
                      <a:pt x="45" y="46"/>
                    </a:lnTo>
                    <a:lnTo>
                      <a:pt x="46" y="49"/>
                    </a:lnTo>
                    <a:lnTo>
                      <a:pt x="49" y="49"/>
                    </a:lnTo>
                    <a:lnTo>
                      <a:pt x="51" y="49"/>
                    </a:lnTo>
                    <a:lnTo>
                      <a:pt x="54" y="52"/>
                    </a:lnTo>
                    <a:lnTo>
                      <a:pt x="56" y="52"/>
                    </a:lnTo>
                    <a:lnTo>
                      <a:pt x="57" y="52"/>
                    </a:lnTo>
                    <a:lnTo>
                      <a:pt x="54" y="52"/>
                    </a:lnTo>
                    <a:lnTo>
                      <a:pt x="53" y="49"/>
                    </a:lnTo>
                    <a:lnTo>
                      <a:pt x="53" y="46"/>
                    </a:lnTo>
                    <a:lnTo>
                      <a:pt x="51" y="46"/>
                    </a:lnTo>
                    <a:lnTo>
                      <a:pt x="49" y="43"/>
                    </a:lnTo>
                    <a:lnTo>
                      <a:pt x="46" y="43"/>
                    </a:lnTo>
                    <a:lnTo>
                      <a:pt x="43" y="43"/>
                    </a:lnTo>
                    <a:lnTo>
                      <a:pt x="41" y="40"/>
                    </a:lnTo>
                    <a:lnTo>
                      <a:pt x="40" y="40"/>
                    </a:lnTo>
                    <a:lnTo>
                      <a:pt x="40" y="40"/>
                    </a:lnTo>
                    <a:lnTo>
                      <a:pt x="37" y="43"/>
                    </a:lnTo>
                    <a:lnTo>
                      <a:pt x="40" y="41"/>
                    </a:lnTo>
                    <a:lnTo>
                      <a:pt x="41" y="43"/>
                    </a:lnTo>
                    <a:lnTo>
                      <a:pt x="41" y="43"/>
                    </a:lnTo>
                    <a:lnTo>
                      <a:pt x="41" y="43"/>
                    </a:lnTo>
                    <a:lnTo>
                      <a:pt x="41" y="43"/>
                    </a:lnTo>
                    <a:lnTo>
                      <a:pt x="41" y="43"/>
                    </a:lnTo>
                    <a:lnTo>
                      <a:pt x="41" y="43"/>
                    </a:lnTo>
                    <a:lnTo>
                      <a:pt x="41" y="43"/>
                    </a:lnTo>
                    <a:lnTo>
                      <a:pt x="41" y="43"/>
                    </a:lnTo>
                    <a:lnTo>
                      <a:pt x="41" y="43"/>
                    </a:lnTo>
                    <a:close/>
                    <a:moveTo>
                      <a:pt x="43" y="25"/>
                    </a:moveTo>
                    <a:lnTo>
                      <a:pt x="45" y="25"/>
                    </a:lnTo>
                    <a:lnTo>
                      <a:pt x="43" y="25"/>
                    </a:lnTo>
                    <a:lnTo>
                      <a:pt x="40" y="22"/>
                    </a:lnTo>
                    <a:lnTo>
                      <a:pt x="41" y="25"/>
                    </a:lnTo>
                    <a:lnTo>
                      <a:pt x="43" y="25"/>
                    </a:lnTo>
                    <a:lnTo>
                      <a:pt x="43" y="25"/>
                    </a:lnTo>
                    <a:lnTo>
                      <a:pt x="43" y="25"/>
                    </a:lnTo>
                    <a:lnTo>
                      <a:pt x="43" y="25"/>
                    </a:lnTo>
                    <a:lnTo>
                      <a:pt x="43" y="25"/>
                    </a:lnTo>
                    <a:lnTo>
                      <a:pt x="43" y="25"/>
                    </a:lnTo>
                    <a:lnTo>
                      <a:pt x="43" y="25"/>
                    </a:lnTo>
                    <a:lnTo>
                      <a:pt x="43" y="25"/>
                    </a:lnTo>
                    <a:lnTo>
                      <a:pt x="43" y="25"/>
                    </a:lnTo>
                    <a:close/>
                    <a:moveTo>
                      <a:pt x="40" y="54"/>
                    </a:moveTo>
                    <a:lnTo>
                      <a:pt x="43" y="54"/>
                    </a:lnTo>
                    <a:lnTo>
                      <a:pt x="48" y="55"/>
                    </a:lnTo>
                    <a:lnTo>
                      <a:pt x="51" y="59"/>
                    </a:lnTo>
                    <a:lnTo>
                      <a:pt x="51" y="55"/>
                    </a:lnTo>
                    <a:lnTo>
                      <a:pt x="49" y="52"/>
                    </a:lnTo>
                    <a:lnTo>
                      <a:pt x="49" y="52"/>
                    </a:lnTo>
                    <a:lnTo>
                      <a:pt x="48" y="49"/>
                    </a:lnTo>
                    <a:lnTo>
                      <a:pt x="41" y="46"/>
                    </a:lnTo>
                    <a:lnTo>
                      <a:pt x="40" y="46"/>
                    </a:lnTo>
                    <a:lnTo>
                      <a:pt x="40" y="43"/>
                    </a:lnTo>
                    <a:lnTo>
                      <a:pt x="40" y="43"/>
                    </a:lnTo>
                    <a:lnTo>
                      <a:pt x="37" y="43"/>
                    </a:lnTo>
                    <a:lnTo>
                      <a:pt x="34" y="41"/>
                    </a:lnTo>
                    <a:lnTo>
                      <a:pt x="37" y="41"/>
                    </a:lnTo>
                    <a:lnTo>
                      <a:pt x="37" y="40"/>
                    </a:lnTo>
                    <a:lnTo>
                      <a:pt x="37" y="38"/>
                    </a:lnTo>
                    <a:lnTo>
                      <a:pt x="37" y="36"/>
                    </a:lnTo>
                    <a:lnTo>
                      <a:pt x="37" y="35"/>
                    </a:lnTo>
                    <a:lnTo>
                      <a:pt x="37" y="35"/>
                    </a:lnTo>
                    <a:lnTo>
                      <a:pt x="40" y="35"/>
                    </a:lnTo>
                    <a:lnTo>
                      <a:pt x="40" y="36"/>
                    </a:lnTo>
                    <a:lnTo>
                      <a:pt x="40" y="38"/>
                    </a:lnTo>
                    <a:lnTo>
                      <a:pt x="40" y="38"/>
                    </a:lnTo>
                    <a:lnTo>
                      <a:pt x="40" y="36"/>
                    </a:lnTo>
                    <a:lnTo>
                      <a:pt x="40" y="33"/>
                    </a:lnTo>
                    <a:lnTo>
                      <a:pt x="34" y="28"/>
                    </a:lnTo>
                    <a:lnTo>
                      <a:pt x="34" y="25"/>
                    </a:lnTo>
                    <a:lnTo>
                      <a:pt x="30" y="22"/>
                    </a:lnTo>
                    <a:lnTo>
                      <a:pt x="34" y="19"/>
                    </a:lnTo>
                    <a:lnTo>
                      <a:pt x="37" y="17"/>
                    </a:lnTo>
                    <a:lnTo>
                      <a:pt x="37" y="19"/>
                    </a:lnTo>
                    <a:lnTo>
                      <a:pt x="34" y="19"/>
                    </a:lnTo>
                    <a:lnTo>
                      <a:pt x="37" y="19"/>
                    </a:lnTo>
                    <a:lnTo>
                      <a:pt x="40" y="22"/>
                    </a:lnTo>
                    <a:lnTo>
                      <a:pt x="40" y="22"/>
                    </a:lnTo>
                    <a:lnTo>
                      <a:pt x="41" y="22"/>
                    </a:lnTo>
                    <a:lnTo>
                      <a:pt x="45" y="25"/>
                    </a:lnTo>
                    <a:lnTo>
                      <a:pt x="46" y="25"/>
                    </a:lnTo>
                    <a:lnTo>
                      <a:pt x="48" y="25"/>
                    </a:lnTo>
                    <a:lnTo>
                      <a:pt x="45" y="22"/>
                    </a:lnTo>
                    <a:lnTo>
                      <a:pt x="45" y="19"/>
                    </a:lnTo>
                    <a:lnTo>
                      <a:pt x="46" y="19"/>
                    </a:lnTo>
                    <a:lnTo>
                      <a:pt x="49" y="22"/>
                    </a:lnTo>
                    <a:lnTo>
                      <a:pt x="51" y="22"/>
                    </a:lnTo>
                    <a:lnTo>
                      <a:pt x="53" y="22"/>
                    </a:lnTo>
                    <a:lnTo>
                      <a:pt x="51" y="19"/>
                    </a:lnTo>
                    <a:lnTo>
                      <a:pt x="48" y="19"/>
                    </a:lnTo>
                    <a:lnTo>
                      <a:pt x="46" y="19"/>
                    </a:lnTo>
                    <a:lnTo>
                      <a:pt x="46" y="17"/>
                    </a:lnTo>
                    <a:lnTo>
                      <a:pt x="45" y="17"/>
                    </a:lnTo>
                    <a:lnTo>
                      <a:pt x="45" y="14"/>
                    </a:lnTo>
                    <a:lnTo>
                      <a:pt x="46" y="14"/>
                    </a:lnTo>
                    <a:lnTo>
                      <a:pt x="49" y="16"/>
                    </a:lnTo>
                    <a:lnTo>
                      <a:pt x="49" y="14"/>
                    </a:lnTo>
                    <a:lnTo>
                      <a:pt x="53" y="13"/>
                    </a:lnTo>
                    <a:lnTo>
                      <a:pt x="54" y="13"/>
                    </a:lnTo>
                    <a:lnTo>
                      <a:pt x="56" y="13"/>
                    </a:lnTo>
                    <a:lnTo>
                      <a:pt x="57" y="13"/>
                    </a:lnTo>
                    <a:lnTo>
                      <a:pt x="61" y="11"/>
                    </a:lnTo>
                    <a:lnTo>
                      <a:pt x="62" y="13"/>
                    </a:lnTo>
                    <a:lnTo>
                      <a:pt x="68" y="13"/>
                    </a:lnTo>
                    <a:lnTo>
                      <a:pt x="72" y="14"/>
                    </a:lnTo>
                    <a:lnTo>
                      <a:pt x="72" y="16"/>
                    </a:lnTo>
                    <a:lnTo>
                      <a:pt x="75" y="13"/>
                    </a:lnTo>
                    <a:lnTo>
                      <a:pt x="75" y="11"/>
                    </a:lnTo>
                    <a:lnTo>
                      <a:pt x="75" y="11"/>
                    </a:lnTo>
                    <a:lnTo>
                      <a:pt x="75" y="8"/>
                    </a:lnTo>
                    <a:lnTo>
                      <a:pt x="75" y="6"/>
                    </a:lnTo>
                    <a:lnTo>
                      <a:pt x="76" y="6"/>
                    </a:lnTo>
                    <a:lnTo>
                      <a:pt x="78" y="5"/>
                    </a:lnTo>
                    <a:lnTo>
                      <a:pt x="76" y="3"/>
                    </a:lnTo>
                    <a:lnTo>
                      <a:pt x="76" y="1"/>
                    </a:lnTo>
                    <a:lnTo>
                      <a:pt x="75" y="1"/>
                    </a:lnTo>
                    <a:lnTo>
                      <a:pt x="75" y="0"/>
                    </a:lnTo>
                    <a:lnTo>
                      <a:pt x="72" y="0"/>
                    </a:lnTo>
                    <a:lnTo>
                      <a:pt x="72" y="0"/>
                    </a:lnTo>
                    <a:lnTo>
                      <a:pt x="72" y="1"/>
                    </a:lnTo>
                    <a:lnTo>
                      <a:pt x="72" y="1"/>
                    </a:lnTo>
                    <a:lnTo>
                      <a:pt x="72" y="3"/>
                    </a:lnTo>
                    <a:lnTo>
                      <a:pt x="72" y="5"/>
                    </a:lnTo>
                    <a:lnTo>
                      <a:pt x="72" y="6"/>
                    </a:lnTo>
                    <a:lnTo>
                      <a:pt x="68" y="6"/>
                    </a:lnTo>
                    <a:lnTo>
                      <a:pt x="68" y="6"/>
                    </a:lnTo>
                    <a:lnTo>
                      <a:pt x="64" y="6"/>
                    </a:lnTo>
                    <a:lnTo>
                      <a:pt x="62" y="6"/>
                    </a:lnTo>
                    <a:lnTo>
                      <a:pt x="61" y="6"/>
                    </a:lnTo>
                    <a:lnTo>
                      <a:pt x="59" y="5"/>
                    </a:lnTo>
                    <a:lnTo>
                      <a:pt x="56" y="6"/>
                    </a:lnTo>
                    <a:lnTo>
                      <a:pt x="56" y="6"/>
                    </a:lnTo>
                    <a:lnTo>
                      <a:pt x="54" y="3"/>
                    </a:lnTo>
                    <a:lnTo>
                      <a:pt x="53" y="3"/>
                    </a:lnTo>
                    <a:lnTo>
                      <a:pt x="51" y="3"/>
                    </a:lnTo>
                    <a:lnTo>
                      <a:pt x="49" y="3"/>
                    </a:lnTo>
                    <a:lnTo>
                      <a:pt x="46" y="5"/>
                    </a:lnTo>
                    <a:lnTo>
                      <a:pt x="43" y="6"/>
                    </a:lnTo>
                    <a:lnTo>
                      <a:pt x="40" y="6"/>
                    </a:lnTo>
                    <a:lnTo>
                      <a:pt x="37" y="6"/>
                    </a:lnTo>
                    <a:lnTo>
                      <a:pt x="37" y="6"/>
                    </a:lnTo>
                    <a:lnTo>
                      <a:pt x="34" y="6"/>
                    </a:lnTo>
                    <a:lnTo>
                      <a:pt x="34" y="6"/>
                    </a:lnTo>
                    <a:lnTo>
                      <a:pt x="30" y="8"/>
                    </a:lnTo>
                    <a:lnTo>
                      <a:pt x="29" y="8"/>
                    </a:lnTo>
                    <a:lnTo>
                      <a:pt x="26" y="9"/>
                    </a:lnTo>
                    <a:lnTo>
                      <a:pt x="21" y="11"/>
                    </a:lnTo>
                    <a:lnTo>
                      <a:pt x="16" y="13"/>
                    </a:lnTo>
                    <a:lnTo>
                      <a:pt x="14" y="13"/>
                    </a:lnTo>
                    <a:lnTo>
                      <a:pt x="11" y="13"/>
                    </a:lnTo>
                    <a:lnTo>
                      <a:pt x="13" y="14"/>
                    </a:lnTo>
                    <a:lnTo>
                      <a:pt x="13" y="16"/>
                    </a:lnTo>
                    <a:lnTo>
                      <a:pt x="13" y="17"/>
                    </a:lnTo>
                    <a:lnTo>
                      <a:pt x="11" y="19"/>
                    </a:lnTo>
                    <a:lnTo>
                      <a:pt x="10" y="19"/>
                    </a:lnTo>
                    <a:lnTo>
                      <a:pt x="8" y="25"/>
                    </a:lnTo>
                    <a:lnTo>
                      <a:pt x="5" y="25"/>
                    </a:lnTo>
                    <a:lnTo>
                      <a:pt x="5" y="27"/>
                    </a:lnTo>
                    <a:lnTo>
                      <a:pt x="5" y="28"/>
                    </a:lnTo>
                    <a:lnTo>
                      <a:pt x="5" y="28"/>
                    </a:lnTo>
                    <a:lnTo>
                      <a:pt x="5" y="32"/>
                    </a:lnTo>
                    <a:lnTo>
                      <a:pt x="3" y="30"/>
                    </a:lnTo>
                    <a:lnTo>
                      <a:pt x="2" y="32"/>
                    </a:lnTo>
                    <a:lnTo>
                      <a:pt x="3" y="32"/>
                    </a:lnTo>
                    <a:lnTo>
                      <a:pt x="5" y="32"/>
                    </a:lnTo>
                    <a:lnTo>
                      <a:pt x="5" y="35"/>
                    </a:lnTo>
                    <a:lnTo>
                      <a:pt x="8" y="36"/>
                    </a:lnTo>
                    <a:lnTo>
                      <a:pt x="10" y="40"/>
                    </a:lnTo>
                    <a:lnTo>
                      <a:pt x="11" y="40"/>
                    </a:lnTo>
                    <a:lnTo>
                      <a:pt x="13" y="38"/>
                    </a:lnTo>
                    <a:lnTo>
                      <a:pt x="14" y="40"/>
                    </a:lnTo>
                    <a:lnTo>
                      <a:pt x="16" y="40"/>
                    </a:lnTo>
                    <a:lnTo>
                      <a:pt x="14" y="41"/>
                    </a:lnTo>
                    <a:lnTo>
                      <a:pt x="11" y="40"/>
                    </a:lnTo>
                    <a:lnTo>
                      <a:pt x="10" y="41"/>
                    </a:lnTo>
                    <a:lnTo>
                      <a:pt x="11" y="43"/>
                    </a:lnTo>
                    <a:lnTo>
                      <a:pt x="13" y="43"/>
                    </a:lnTo>
                    <a:lnTo>
                      <a:pt x="14" y="46"/>
                    </a:lnTo>
                    <a:lnTo>
                      <a:pt x="16" y="49"/>
                    </a:lnTo>
                    <a:lnTo>
                      <a:pt x="18" y="46"/>
                    </a:lnTo>
                    <a:lnTo>
                      <a:pt x="19" y="49"/>
                    </a:lnTo>
                    <a:lnTo>
                      <a:pt x="21" y="49"/>
                    </a:lnTo>
                    <a:lnTo>
                      <a:pt x="26" y="49"/>
                    </a:lnTo>
                    <a:lnTo>
                      <a:pt x="29" y="49"/>
                    </a:lnTo>
                    <a:lnTo>
                      <a:pt x="30" y="49"/>
                    </a:lnTo>
                    <a:lnTo>
                      <a:pt x="30" y="46"/>
                    </a:lnTo>
                    <a:lnTo>
                      <a:pt x="34" y="49"/>
                    </a:lnTo>
                    <a:lnTo>
                      <a:pt x="34" y="49"/>
                    </a:lnTo>
                    <a:lnTo>
                      <a:pt x="37" y="49"/>
                    </a:lnTo>
                    <a:lnTo>
                      <a:pt x="40" y="52"/>
                    </a:lnTo>
                    <a:lnTo>
                      <a:pt x="40" y="52"/>
                    </a:lnTo>
                    <a:lnTo>
                      <a:pt x="40" y="52"/>
                    </a:lnTo>
                    <a:lnTo>
                      <a:pt x="37" y="54"/>
                    </a:lnTo>
                    <a:lnTo>
                      <a:pt x="37" y="54"/>
                    </a:lnTo>
                    <a:lnTo>
                      <a:pt x="34" y="52"/>
                    </a:lnTo>
                    <a:lnTo>
                      <a:pt x="30" y="52"/>
                    </a:lnTo>
                    <a:lnTo>
                      <a:pt x="29" y="49"/>
                    </a:lnTo>
                    <a:lnTo>
                      <a:pt x="26" y="49"/>
                    </a:lnTo>
                    <a:lnTo>
                      <a:pt x="24" y="49"/>
                    </a:lnTo>
                    <a:lnTo>
                      <a:pt x="22" y="49"/>
                    </a:lnTo>
                    <a:lnTo>
                      <a:pt x="21" y="52"/>
                    </a:lnTo>
                    <a:lnTo>
                      <a:pt x="19" y="52"/>
                    </a:lnTo>
                    <a:lnTo>
                      <a:pt x="18" y="52"/>
                    </a:lnTo>
                    <a:lnTo>
                      <a:pt x="16" y="54"/>
                    </a:lnTo>
                    <a:lnTo>
                      <a:pt x="21" y="59"/>
                    </a:lnTo>
                    <a:lnTo>
                      <a:pt x="22" y="62"/>
                    </a:lnTo>
                    <a:lnTo>
                      <a:pt x="22" y="63"/>
                    </a:lnTo>
                    <a:lnTo>
                      <a:pt x="22" y="67"/>
                    </a:lnTo>
                    <a:lnTo>
                      <a:pt x="22" y="68"/>
                    </a:lnTo>
                    <a:lnTo>
                      <a:pt x="24" y="70"/>
                    </a:lnTo>
                    <a:lnTo>
                      <a:pt x="27" y="71"/>
                    </a:lnTo>
                    <a:lnTo>
                      <a:pt x="27" y="70"/>
                    </a:lnTo>
                    <a:lnTo>
                      <a:pt x="27" y="68"/>
                    </a:lnTo>
                    <a:lnTo>
                      <a:pt x="29" y="68"/>
                    </a:lnTo>
                    <a:lnTo>
                      <a:pt x="30" y="70"/>
                    </a:lnTo>
                    <a:lnTo>
                      <a:pt x="30" y="73"/>
                    </a:lnTo>
                    <a:lnTo>
                      <a:pt x="30" y="76"/>
                    </a:lnTo>
                    <a:lnTo>
                      <a:pt x="34" y="76"/>
                    </a:lnTo>
                    <a:lnTo>
                      <a:pt x="34" y="71"/>
                    </a:lnTo>
                    <a:lnTo>
                      <a:pt x="37" y="71"/>
                    </a:lnTo>
                    <a:lnTo>
                      <a:pt x="41" y="76"/>
                    </a:lnTo>
                    <a:lnTo>
                      <a:pt x="40" y="75"/>
                    </a:lnTo>
                    <a:lnTo>
                      <a:pt x="40" y="73"/>
                    </a:lnTo>
                    <a:lnTo>
                      <a:pt x="40" y="70"/>
                    </a:lnTo>
                    <a:lnTo>
                      <a:pt x="40" y="68"/>
                    </a:lnTo>
                    <a:lnTo>
                      <a:pt x="37" y="63"/>
                    </a:lnTo>
                    <a:lnTo>
                      <a:pt x="37" y="59"/>
                    </a:lnTo>
                    <a:lnTo>
                      <a:pt x="40" y="62"/>
                    </a:lnTo>
                    <a:lnTo>
                      <a:pt x="40" y="62"/>
                    </a:lnTo>
                    <a:lnTo>
                      <a:pt x="40" y="63"/>
                    </a:lnTo>
                    <a:lnTo>
                      <a:pt x="43" y="62"/>
                    </a:lnTo>
                    <a:lnTo>
                      <a:pt x="43" y="60"/>
                    </a:lnTo>
                    <a:lnTo>
                      <a:pt x="41" y="59"/>
                    </a:lnTo>
                    <a:lnTo>
                      <a:pt x="41" y="60"/>
                    </a:lnTo>
                    <a:lnTo>
                      <a:pt x="40" y="59"/>
                    </a:lnTo>
                    <a:lnTo>
                      <a:pt x="40" y="57"/>
                    </a:lnTo>
                    <a:lnTo>
                      <a:pt x="40" y="55"/>
                    </a:lnTo>
                    <a:lnTo>
                      <a:pt x="40" y="54"/>
                    </a:lnTo>
                    <a:lnTo>
                      <a:pt x="40" y="54"/>
                    </a:lnTo>
                    <a:lnTo>
                      <a:pt x="40" y="54"/>
                    </a:lnTo>
                    <a:lnTo>
                      <a:pt x="40" y="54"/>
                    </a:lnTo>
                    <a:lnTo>
                      <a:pt x="40" y="54"/>
                    </a:lnTo>
                    <a:lnTo>
                      <a:pt x="40" y="54"/>
                    </a:lnTo>
                    <a:lnTo>
                      <a:pt x="40" y="54"/>
                    </a:lnTo>
                    <a:lnTo>
                      <a:pt x="40" y="54"/>
                    </a:lnTo>
                    <a:lnTo>
                      <a:pt x="40" y="54"/>
                    </a:lnTo>
                    <a:lnTo>
                      <a:pt x="40" y="54"/>
                    </a:lnTo>
                    <a:close/>
                    <a:moveTo>
                      <a:pt x="75" y="94"/>
                    </a:moveTo>
                    <a:lnTo>
                      <a:pt x="75" y="95"/>
                    </a:lnTo>
                    <a:lnTo>
                      <a:pt x="72" y="94"/>
                    </a:lnTo>
                    <a:lnTo>
                      <a:pt x="72" y="92"/>
                    </a:lnTo>
                    <a:lnTo>
                      <a:pt x="68" y="92"/>
                    </a:lnTo>
                    <a:lnTo>
                      <a:pt x="65" y="90"/>
                    </a:lnTo>
                    <a:lnTo>
                      <a:pt x="62" y="90"/>
                    </a:lnTo>
                    <a:lnTo>
                      <a:pt x="59" y="90"/>
                    </a:lnTo>
                    <a:lnTo>
                      <a:pt x="57" y="92"/>
                    </a:lnTo>
                    <a:lnTo>
                      <a:pt x="54" y="90"/>
                    </a:lnTo>
                    <a:lnTo>
                      <a:pt x="53" y="89"/>
                    </a:lnTo>
                    <a:lnTo>
                      <a:pt x="51" y="89"/>
                    </a:lnTo>
                    <a:lnTo>
                      <a:pt x="49" y="89"/>
                    </a:lnTo>
                    <a:lnTo>
                      <a:pt x="48" y="87"/>
                    </a:lnTo>
                    <a:lnTo>
                      <a:pt x="48" y="89"/>
                    </a:lnTo>
                    <a:lnTo>
                      <a:pt x="46" y="89"/>
                    </a:lnTo>
                    <a:lnTo>
                      <a:pt x="46" y="90"/>
                    </a:lnTo>
                    <a:lnTo>
                      <a:pt x="46" y="94"/>
                    </a:lnTo>
                    <a:lnTo>
                      <a:pt x="54" y="94"/>
                    </a:lnTo>
                    <a:lnTo>
                      <a:pt x="61" y="95"/>
                    </a:lnTo>
                    <a:lnTo>
                      <a:pt x="62" y="97"/>
                    </a:lnTo>
                    <a:lnTo>
                      <a:pt x="65" y="98"/>
                    </a:lnTo>
                    <a:lnTo>
                      <a:pt x="65" y="97"/>
                    </a:lnTo>
                    <a:lnTo>
                      <a:pt x="76" y="97"/>
                    </a:lnTo>
                    <a:lnTo>
                      <a:pt x="80" y="95"/>
                    </a:lnTo>
                    <a:lnTo>
                      <a:pt x="80" y="94"/>
                    </a:lnTo>
                    <a:lnTo>
                      <a:pt x="78" y="94"/>
                    </a:lnTo>
                    <a:lnTo>
                      <a:pt x="75" y="94"/>
                    </a:lnTo>
                    <a:lnTo>
                      <a:pt x="75" y="94"/>
                    </a:lnTo>
                    <a:lnTo>
                      <a:pt x="75" y="94"/>
                    </a:lnTo>
                    <a:lnTo>
                      <a:pt x="75" y="94"/>
                    </a:lnTo>
                    <a:lnTo>
                      <a:pt x="75" y="94"/>
                    </a:lnTo>
                    <a:lnTo>
                      <a:pt x="75" y="94"/>
                    </a:lnTo>
                    <a:lnTo>
                      <a:pt x="75" y="94"/>
                    </a:lnTo>
                    <a:lnTo>
                      <a:pt x="75" y="94"/>
                    </a:lnTo>
                    <a:lnTo>
                      <a:pt x="75" y="94"/>
                    </a:lnTo>
                    <a:close/>
                    <a:moveTo>
                      <a:pt x="80" y="46"/>
                    </a:moveTo>
                    <a:lnTo>
                      <a:pt x="78" y="43"/>
                    </a:lnTo>
                    <a:lnTo>
                      <a:pt x="76" y="46"/>
                    </a:lnTo>
                    <a:lnTo>
                      <a:pt x="78" y="49"/>
                    </a:lnTo>
                    <a:lnTo>
                      <a:pt x="76" y="49"/>
                    </a:lnTo>
                    <a:lnTo>
                      <a:pt x="78" y="52"/>
                    </a:lnTo>
                    <a:lnTo>
                      <a:pt x="81" y="52"/>
                    </a:lnTo>
                    <a:lnTo>
                      <a:pt x="81" y="49"/>
                    </a:lnTo>
                    <a:lnTo>
                      <a:pt x="80" y="46"/>
                    </a:lnTo>
                    <a:lnTo>
                      <a:pt x="80" y="46"/>
                    </a:lnTo>
                    <a:lnTo>
                      <a:pt x="80" y="46"/>
                    </a:lnTo>
                    <a:lnTo>
                      <a:pt x="80" y="46"/>
                    </a:lnTo>
                    <a:lnTo>
                      <a:pt x="80" y="46"/>
                    </a:lnTo>
                    <a:lnTo>
                      <a:pt x="80" y="46"/>
                    </a:lnTo>
                    <a:lnTo>
                      <a:pt x="80" y="46"/>
                    </a:lnTo>
                    <a:lnTo>
                      <a:pt x="80" y="46"/>
                    </a:lnTo>
                    <a:lnTo>
                      <a:pt x="80" y="46"/>
                    </a:lnTo>
                    <a:lnTo>
                      <a:pt x="80" y="46"/>
                    </a:lnTo>
                    <a:close/>
                    <a:moveTo>
                      <a:pt x="67" y="51"/>
                    </a:moveTo>
                    <a:lnTo>
                      <a:pt x="68" y="49"/>
                    </a:lnTo>
                    <a:lnTo>
                      <a:pt x="68" y="46"/>
                    </a:lnTo>
                    <a:lnTo>
                      <a:pt x="68" y="46"/>
                    </a:lnTo>
                    <a:lnTo>
                      <a:pt x="65" y="46"/>
                    </a:lnTo>
                    <a:lnTo>
                      <a:pt x="65" y="48"/>
                    </a:lnTo>
                    <a:lnTo>
                      <a:pt x="67" y="49"/>
                    </a:lnTo>
                    <a:lnTo>
                      <a:pt x="67" y="49"/>
                    </a:lnTo>
                    <a:lnTo>
                      <a:pt x="67" y="51"/>
                    </a:lnTo>
                    <a:lnTo>
                      <a:pt x="67" y="51"/>
                    </a:lnTo>
                    <a:lnTo>
                      <a:pt x="67" y="51"/>
                    </a:lnTo>
                    <a:lnTo>
                      <a:pt x="67" y="51"/>
                    </a:lnTo>
                    <a:lnTo>
                      <a:pt x="67" y="51"/>
                    </a:lnTo>
                    <a:lnTo>
                      <a:pt x="67" y="51"/>
                    </a:lnTo>
                    <a:lnTo>
                      <a:pt x="67" y="51"/>
                    </a:lnTo>
                    <a:lnTo>
                      <a:pt x="67" y="51"/>
                    </a:lnTo>
                    <a:lnTo>
                      <a:pt x="67" y="51"/>
                    </a:lnTo>
                    <a:close/>
                    <a:moveTo>
                      <a:pt x="88" y="76"/>
                    </a:moveTo>
                    <a:lnTo>
                      <a:pt x="86" y="78"/>
                    </a:lnTo>
                    <a:lnTo>
                      <a:pt x="86" y="79"/>
                    </a:lnTo>
                    <a:lnTo>
                      <a:pt x="86" y="81"/>
                    </a:lnTo>
                    <a:lnTo>
                      <a:pt x="89" y="81"/>
                    </a:lnTo>
                    <a:lnTo>
                      <a:pt x="91" y="79"/>
                    </a:lnTo>
                    <a:lnTo>
                      <a:pt x="91" y="78"/>
                    </a:lnTo>
                    <a:lnTo>
                      <a:pt x="91" y="78"/>
                    </a:lnTo>
                    <a:lnTo>
                      <a:pt x="91" y="75"/>
                    </a:lnTo>
                    <a:lnTo>
                      <a:pt x="88" y="76"/>
                    </a:lnTo>
                    <a:lnTo>
                      <a:pt x="88" y="76"/>
                    </a:lnTo>
                    <a:lnTo>
                      <a:pt x="88" y="76"/>
                    </a:lnTo>
                    <a:lnTo>
                      <a:pt x="88" y="76"/>
                    </a:lnTo>
                    <a:lnTo>
                      <a:pt x="88" y="76"/>
                    </a:lnTo>
                    <a:lnTo>
                      <a:pt x="88" y="76"/>
                    </a:lnTo>
                    <a:lnTo>
                      <a:pt x="88" y="76"/>
                    </a:lnTo>
                    <a:lnTo>
                      <a:pt x="88" y="76"/>
                    </a:lnTo>
                    <a:lnTo>
                      <a:pt x="88" y="76"/>
                    </a:lnTo>
                    <a:close/>
                    <a:moveTo>
                      <a:pt x="2" y="32"/>
                    </a:moveTo>
                    <a:lnTo>
                      <a:pt x="0" y="32"/>
                    </a:lnTo>
                    <a:lnTo>
                      <a:pt x="2" y="35"/>
                    </a:lnTo>
                    <a:lnTo>
                      <a:pt x="3" y="36"/>
                    </a:lnTo>
                    <a:lnTo>
                      <a:pt x="3" y="36"/>
                    </a:lnTo>
                    <a:lnTo>
                      <a:pt x="5" y="35"/>
                    </a:lnTo>
                    <a:lnTo>
                      <a:pt x="3" y="32"/>
                    </a:lnTo>
                    <a:lnTo>
                      <a:pt x="2" y="32"/>
                    </a:lnTo>
                    <a:lnTo>
                      <a:pt x="2" y="32"/>
                    </a:lnTo>
                    <a:lnTo>
                      <a:pt x="2" y="32"/>
                    </a:lnTo>
                    <a:lnTo>
                      <a:pt x="2" y="32"/>
                    </a:lnTo>
                    <a:lnTo>
                      <a:pt x="2" y="32"/>
                    </a:lnTo>
                    <a:lnTo>
                      <a:pt x="2" y="32"/>
                    </a:lnTo>
                    <a:lnTo>
                      <a:pt x="2" y="32"/>
                    </a:lnTo>
                    <a:lnTo>
                      <a:pt x="2" y="32"/>
                    </a:lnTo>
                    <a:lnTo>
                      <a:pt x="2" y="32"/>
                    </a:lnTo>
                    <a:close/>
                    <a:moveTo>
                      <a:pt x="8" y="51"/>
                    </a:moveTo>
                    <a:lnTo>
                      <a:pt x="8" y="52"/>
                    </a:lnTo>
                    <a:lnTo>
                      <a:pt x="10" y="52"/>
                    </a:lnTo>
                    <a:lnTo>
                      <a:pt x="11" y="54"/>
                    </a:lnTo>
                    <a:lnTo>
                      <a:pt x="11" y="52"/>
                    </a:lnTo>
                    <a:lnTo>
                      <a:pt x="11" y="51"/>
                    </a:lnTo>
                    <a:lnTo>
                      <a:pt x="10" y="49"/>
                    </a:lnTo>
                    <a:lnTo>
                      <a:pt x="8" y="51"/>
                    </a:lnTo>
                    <a:lnTo>
                      <a:pt x="8" y="51"/>
                    </a:lnTo>
                    <a:lnTo>
                      <a:pt x="8" y="51"/>
                    </a:lnTo>
                    <a:lnTo>
                      <a:pt x="8" y="51"/>
                    </a:lnTo>
                    <a:lnTo>
                      <a:pt x="8" y="51"/>
                    </a:lnTo>
                    <a:lnTo>
                      <a:pt x="8" y="51"/>
                    </a:lnTo>
                    <a:lnTo>
                      <a:pt x="8" y="51"/>
                    </a:lnTo>
                    <a:lnTo>
                      <a:pt x="8" y="51"/>
                    </a:lnTo>
                    <a:lnTo>
                      <a:pt x="8" y="51"/>
                    </a:lnTo>
                    <a:close/>
                    <a:moveTo>
                      <a:pt x="62" y="68"/>
                    </a:moveTo>
                    <a:lnTo>
                      <a:pt x="62" y="65"/>
                    </a:lnTo>
                    <a:lnTo>
                      <a:pt x="62" y="65"/>
                    </a:lnTo>
                    <a:lnTo>
                      <a:pt x="59" y="68"/>
                    </a:lnTo>
                    <a:lnTo>
                      <a:pt x="59" y="68"/>
                    </a:lnTo>
                    <a:lnTo>
                      <a:pt x="61" y="68"/>
                    </a:lnTo>
                    <a:lnTo>
                      <a:pt x="62" y="68"/>
                    </a:lnTo>
                    <a:lnTo>
                      <a:pt x="62" y="68"/>
                    </a:lnTo>
                    <a:lnTo>
                      <a:pt x="62" y="68"/>
                    </a:lnTo>
                    <a:lnTo>
                      <a:pt x="62" y="68"/>
                    </a:lnTo>
                    <a:lnTo>
                      <a:pt x="62" y="68"/>
                    </a:lnTo>
                    <a:lnTo>
                      <a:pt x="62" y="68"/>
                    </a:lnTo>
                    <a:lnTo>
                      <a:pt x="62" y="68"/>
                    </a:lnTo>
                    <a:lnTo>
                      <a:pt x="62" y="68"/>
                    </a:lnTo>
                    <a:lnTo>
                      <a:pt x="62" y="68"/>
                    </a:lnTo>
                    <a:close/>
                    <a:moveTo>
                      <a:pt x="59" y="28"/>
                    </a:moveTo>
                    <a:lnTo>
                      <a:pt x="59" y="28"/>
                    </a:lnTo>
                    <a:lnTo>
                      <a:pt x="59" y="28"/>
                    </a:lnTo>
                    <a:lnTo>
                      <a:pt x="56" y="28"/>
                    </a:lnTo>
                    <a:lnTo>
                      <a:pt x="56" y="30"/>
                    </a:lnTo>
                    <a:lnTo>
                      <a:pt x="57" y="32"/>
                    </a:lnTo>
                    <a:lnTo>
                      <a:pt x="57" y="30"/>
                    </a:lnTo>
                    <a:lnTo>
                      <a:pt x="59" y="32"/>
                    </a:lnTo>
                    <a:lnTo>
                      <a:pt x="59" y="28"/>
                    </a:lnTo>
                    <a:lnTo>
                      <a:pt x="59" y="28"/>
                    </a:lnTo>
                    <a:lnTo>
                      <a:pt x="59" y="28"/>
                    </a:lnTo>
                    <a:lnTo>
                      <a:pt x="59" y="28"/>
                    </a:lnTo>
                    <a:lnTo>
                      <a:pt x="59" y="28"/>
                    </a:lnTo>
                    <a:lnTo>
                      <a:pt x="59" y="28"/>
                    </a:lnTo>
                    <a:lnTo>
                      <a:pt x="59" y="28"/>
                    </a:lnTo>
                    <a:lnTo>
                      <a:pt x="59" y="28"/>
                    </a:lnTo>
                    <a:lnTo>
                      <a:pt x="59" y="2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40" name="Freeform 350">
                <a:extLst>
                  <a:ext uri="{FF2B5EF4-FFF2-40B4-BE49-F238E27FC236}">
                    <a16:creationId xmlns:a16="http://schemas.microsoft.com/office/drawing/2014/main" id="{B3601F52-174A-926E-0442-5E93790F4709}"/>
                  </a:ext>
                </a:extLst>
              </p:cNvPr>
              <p:cNvSpPr>
                <a:spLocks/>
              </p:cNvSpPr>
              <p:nvPr/>
            </p:nvSpPr>
            <p:spPr bwMode="auto">
              <a:xfrm>
                <a:off x="5950860" y="2416827"/>
                <a:ext cx="17945" cy="17945"/>
              </a:xfrm>
              <a:custGeom>
                <a:avLst/>
                <a:gdLst>
                  <a:gd name="T0" fmla="*/ 0 w 8"/>
                  <a:gd name="T1" fmla="*/ 0 h 8"/>
                  <a:gd name="T2" fmla="*/ 0 w 8"/>
                  <a:gd name="T3" fmla="*/ 2 h 8"/>
                  <a:gd name="T4" fmla="*/ 0 w 8"/>
                  <a:gd name="T5" fmla="*/ 4 h 8"/>
                  <a:gd name="T6" fmla="*/ 0 w 8"/>
                  <a:gd name="T7" fmla="*/ 5 h 8"/>
                  <a:gd name="T8" fmla="*/ 0 w 8"/>
                  <a:gd name="T9" fmla="*/ 7 h 8"/>
                  <a:gd name="T10" fmla="*/ 0 w 8"/>
                  <a:gd name="T11" fmla="*/ 8 h 8"/>
                  <a:gd name="T12" fmla="*/ 7 w 8"/>
                  <a:gd name="T13" fmla="*/ 8 h 8"/>
                  <a:gd name="T14" fmla="*/ 8 w 8"/>
                  <a:gd name="T15" fmla="*/ 7 h 8"/>
                  <a:gd name="T16" fmla="*/ 8 w 8"/>
                  <a:gd name="T17" fmla="*/ 5 h 8"/>
                  <a:gd name="T18" fmla="*/ 7 w 8"/>
                  <a:gd name="T19" fmla="*/ 4 h 8"/>
                  <a:gd name="T20" fmla="*/ 3 w 8"/>
                  <a:gd name="T21" fmla="*/ 2 h 8"/>
                  <a:gd name="T22" fmla="*/ 3 w 8"/>
                  <a:gd name="T23" fmla="*/ 0 h 8"/>
                  <a:gd name="T24" fmla="*/ 2 w 8"/>
                  <a:gd name="T25" fmla="*/ 0 h 8"/>
                  <a:gd name="T26" fmla="*/ 0 w 8"/>
                  <a:gd name="T27" fmla="*/ 0 h 8"/>
                  <a:gd name="T28" fmla="*/ 0 w 8"/>
                  <a:gd name="T29" fmla="*/ 0 h 8"/>
                  <a:gd name="T30" fmla="*/ 0 w 8"/>
                  <a:gd name="T31" fmla="*/ 0 h 8"/>
                  <a:gd name="T32" fmla="*/ 0 w 8"/>
                  <a:gd name="T33" fmla="*/ 0 h 8"/>
                  <a:gd name="T34" fmla="*/ 0 w 8"/>
                  <a:gd name="T35" fmla="*/ 0 h 8"/>
                  <a:gd name="T36" fmla="*/ 0 w 8"/>
                  <a:gd name="T37" fmla="*/ 0 h 8"/>
                  <a:gd name="T38" fmla="*/ 0 w 8"/>
                  <a:gd name="T39" fmla="*/ 0 h 8"/>
                  <a:gd name="T40" fmla="*/ 0 w 8"/>
                  <a:gd name="T41" fmla="*/ 0 h 8"/>
                  <a:gd name="T42" fmla="*/ 0 w 8"/>
                  <a:gd name="T4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8">
                    <a:moveTo>
                      <a:pt x="0" y="0"/>
                    </a:moveTo>
                    <a:lnTo>
                      <a:pt x="0" y="2"/>
                    </a:lnTo>
                    <a:lnTo>
                      <a:pt x="0" y="4"/>
                    </a:lnTo>
                    <a:lnTo>
                      <a:pt x="0" y="5"/>
                    </a:lnTo>
                    <a:lnTo>
                      <a:pt x="0" y="7"/>
                    </a:lnTo>
                    <a:lnTo>
                      <a:pt x="0" y="8"/>
                    </a:lnTo>
                    <a:lnTo>
                      <a:pt x="7" y="8"/>
                    </a:lnTo>
                    <a:lnTo>
                      <a:pt x="8" y="7"/>
                    </a:lnTo>
                    <a:lnTo>
                      <a:pt x="8" y="5"/>
                    </a:lnTo>
                    <a:lnTo>
                      <a:pt x="7" y="4"/>
                    </a:lnTo>
                    <a:lnTo>
                      <a:pt x="3" y="2"/>
                    </a:lnTo>
                    <a:lnTo>
                      <a:pt x="3" y="0"/>
                    </a:lnTo>
                    <a:lnTo>
                      <a:pt x="2" y="0"/>
                    </a:lnTo>
                    <a:lnTo>
                      <a:pt x="0" y="0"/>
                    </a:lnTo>
                    <a:lnTo>
                      <a:pt x="0" y="0"/>
                    </a:lnTo>
                    <a:lnTo>
                      <a:pt x="0" y="0"/>
                    </a:lnTo>
                    <a:lnTo>
                      <a:pt x="0" y="0"/>
                    </a:lnTo>
                    <a:lnTo>
                      <a:pt x="0" y="0"/>
                    </a:lnTo>
                    <a:lnTo>
                      <a:pt x="0" y="0"/>
                    </a:lnTo>
                    <a:lnTo>
                      <a:pt x="0" y="0"/>
                    </a:lnTo>
                    <a:lnTo>
                      <a:pt x="0" y="0"/>
                    </a:lnTo>
                    <a:lnTo>
                      <a:pt x="0" y="0"/>
                    </a:lnTo>
                    <a:close/>
                  </a:path>
                </a:pathLst>
              </a:custGeom>
              <a:grpFill/>
              <a:ln w="3175">
                <a:solidFill>
                  <a:srgbClr val="FFFFFF">
                    <a:alpha val="81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41" name="Freeform 291">
                <a:extLst>
                  <a:ext uri="{FF2B5EF4-FFF2-40B4-BE49-F238E27FC236}">
                    <a16:creationId xmlns:a16="http://schemas.microsoft.com/office/drawing/2014/main" id="{9190F651-6DFC-313C-D579-C704E2F0D313}"/>
                  </a:ext>
                </a:extLst>
              </p:cNvPr>
              <p:cNvSpPr>
                <a:spLocks/>
              </p:cNvSpPr>
              <p:nvPr/>
            </p:nvSpPr>
            <p:spPr bwMode="auto">
              <a:xfrm>
                <a:off x="7572602" y="2706183"/>
                <a:ext cx="215335" cy="139071"/>
              </a:xfrm>
              <a:custGeom>
                <a:avLst/>
                <a:gdLst>
                  <a:gd name="T0" fmla="*/ 93 w 96"/>
                  <a:gd name="T1" fmla="*/ 48 h 62"/>
                  <a:gd name="T2" fmla="*/ 93 w 96"/>
                  <a:gd name="T3" fmla="*/ 43 h 62"/>
                  <a:gd name="T4" fmla="*/ 90 w 96"/>
                  <a:gd name="T5" fmla="*/ 40 h 62"/>
                  <a:gd name="T6" fmla="*/ 90 w 96"/>
                  <a:gd name="T7" fmla="*/ 35 h 62"/>
                  <a:gd name="T8" fmla="*/ 81 w 96"/>
                  <a:gd name="T9" fmla="*/ 35 h 62"/>
                  <a:gd name="T10" fmla="*/ 76 w 96"/>
                  <a:gd name="T11" fmla="*/ 32 h 62"/>
                  <a:gd name="T12" fmla="*/ 73 w 96"/>
                  <a:gd name="T13" fmla="*/ 25 h 62"/>
                  <a:gd name="T14" fmla="*/ 69 w 96"/>
                  <a:gd name="T15" fmla="*/ 22 h 62"/>
                  <a:gd name="T16" fmla="*/ 62 w 96"/>
                  <a:gd name="T17" fmla="*/ 22 h 62"/>
                  <a:gd name="T18" fmla="*/ 55 w 96"/>
                  <a:gd name="T19" fmla="*/ 24 h 62"/>
                  <a:gd name="T20" fmla="*/ 49 w 96"/>
                  <a:gd name="T21" fmla="*/ 22 h 62"/>
                  <a:gd name="T22" fmla="*/ 44 w 96"/>
                  <a:gd name="T23" fmla="*/ 21 h 62"/>
                  <a:gd name="T24" fmla="*/ 38 w 96"/>
                  <a:gd name="T25" fmla="*/ 22 h 62"/>
                  <a:gd name="T26" fmla="*/ 31 w 96"/>
                  <a:gd name="T27" fmla="*/ 21 h 62"/>
                  <a:gd name="T28" fmla="*/ 28 w 96"/>
                  <a:gd name="T29" fmla="*/ 21 h 62"/>
                  <a:gd name="T30" fmla="*/ 23 w 96"/>
                  <a:gd name="T31" fmla="*/ 21 h 62"/>
                  <a:gd name="T32" fmla="*/ 20 w 96"/>
                  <a:gd name="T33" fmla="*/ 17 h 62"/>
                  <a:gd name="T34" fmla="*/ 22 w 96"/>
                  <a:gd name="T35" fmla="*/ 14 h 62"/>
                  <a:gd name="T36" fmla="*/ 25 w 96"/>
                  <a:gd name="T37" fmla="*/ 11 h 62"/>
                  <a:gd name="T38" fmla="*/ 28 w 96"/>
                  <a:gd name="T39" fmla="*/ 11 h 62"/>
                  <a:gd name="T40" fmla="*/ 35 w 96"/>
                  <a:gd name="T41" fmla="*/ 14 h 62"/>
                  <a:gd name="T42" fmla="*/ 35 w 96"/>
                  <a:gd name="T43" fmla="*/ 11 h 62"/>
                  <a:gd name="T44" fmla="*/ 31 w 96"/>
                  <a:gd name="T45" fmla="*/ 8 h 62"/>
                  <a:gd name="T46" fmla="*/ 31 w 96"/>
                  <a:gd name="T47" fmla="*/ 3 h 62"/>
                  <a:gd name="T48" fmla="*/ 23 w 96"/>
                  <a:gd name="T49" fmla="*/ 5 h 62"/>
                  <a:gd name="T50" fmla="*/ 17 w 96"/>
                  <a:gd name="T51" fmla="*/ 5 h 62"/>
                  <a:gd name="T52" fmla="*/ 19 w 96"/>
                  <a:gd name="T53" fmla="*/ 11 h 62"/>
                  <a:gd name="T54" fmla="*/ 12 w 96"/>
                  <a:gd name="T55" fmla="*/ 11 h 62"/>
                  <a:gd name="T56" fmla="*/ 14 w 96"/>
                  <a:gd name="T57" fmla="*/ 11 h 62"/>
                  <a:gd name="T58" fmla="*/ 16 w 96"/>
                  <a:gd name="T59" fmla="*/ 14 h 62"/>
                  <a:gd name="T60" fmla="*/ 12 w 96"/>
                  <a:gd name="T61" fmla="*/ 17 h 62"/>
                  <a:gd name="T62" fmla="*/ 3 w 96"/>
                  <a:gd name="T63" fmla="*/ 21 h 62"/>
                  <a:gd name="T64" fmla="*/ 0 w 96"/>
                  <a:gd name="T65" fmla="*/ 24 h 62"/>
                  <a:gd name="T66" fmla="*/ 4 w 96"/>
                  <a:gd name="T67" fmla="*/ 29 h 62"/>
                  <a:gd name="T68" fmla="*/ 11 w 96"/>
                  <a:gd name="T69" fmla="*/ 32 h 62"/>
                  <a:gd name="T70" fmla="*/ 14 w 96"/>
                  <a:gd name="T71" fmla="*/ 41 h 62"/>
                  <a:gd name="T72" fmla="*/ 11 w 96"/>
                  <a:gd name="T73" fmla="*/ 48 h 62"/>
                  <a:gd name="T74" fmla="*/ 11 w 96"/>
                  <a:gd name="T75" fmla="*/ 52 h 62"/>
                  <a:gd name="T76" fmla="*/ 17 w 96"/>
                  <a:gd name="T77" fmla="*/ 57 h 62"/>
                  <a:gd name="T78" fmla="*/ 22 w 96"/>
                  <a:gd name="T79" fmla="*/ 54 h 62"/>
                  <a:gd name="T80" fmla="*/ 25 w 96"/>
                  <a:gd name="T81" fmla="*/ 54 h 62"/>
                  <a:gd name="T82" fmla="*/ 28 w 96"/>
                  <a:gd name="T83" fmla="*/ 56 h 62"/>
                  <a:gd name="T84" fmla="*/ 28 w 96"/>
                  <a:gd name="T85" fmla="*/ 52 h 62"/>
                  <a:gd name="T86" fmla="*/ 31 w 96"/>
                  <a:gd name="T87" fmla="*/ 48 h 62"/>
                  <a:gd name="T88" fmla="*/ 38 w 96"/>
                  <a:gd name="T89" fmla="*/ 49 h 62"/>
                  <a:gd name="T90" fmla="*/ 38 w 96"/>
                  <a:gd name="T91" fmla="*/ 48 h 62"/>
                  <a:gd name="T92" fmla="*/ 38 w 96"/>
                  <a:gd name="T93" fmla="*/ 44 h 62"/>
                  <a:gd name="T94" fmla="*/ 41 w 96"/>
                  <a:gd name="T95" fmla="*/ 38 h 62"/>
                  <a:gd name="T96" fmla="*/ 49 w 96"/>
                  <a:gd name="T97" fmla="*/ 38 h 62"/>
                  <a:gd name="T98" fmla="*/ 52 w 96"/>
                  <a:gd name="T99" fmla="*/ 43 h 62"/>
                  <a:gd name="T100" fmla="*/ 52 w 96"/>
                  <a:gd name="T101" fmla="*/ 48 h 62"/>
                  <a:gd name="T102" fmla="*/ 55 w 96"/>
                  <a:gd name="T103" fmla="*/ 57 h 62"/>
                  <a:gd name="T104" fmla="*/ 58 w 96"/>
                  <a:gd name="T105" fmla="*/ 60 h 62"/>
                  <a:gd name="T106" fmla="*/ 63 w 96"/>
                  <a:gd name="T107" fmla="*/ 57 h 62"/>
                  <a:gd name="T108" fmla="*/ 69 w 96"/>
                  <a:gd name="T109" fmla="*/ 56 h 62"/>
                  <a:gd name="T110" fmla="*/ 79 w 96"/>
                  <a:gd name="T111" fmla="*/ 51 h 62"/>
                  <a:gd name="T112" fmla="*/ 84 w 96"/>
                  <a:gd name="T113" fmla="*/ 52 h 62"/>
                  <a:gd name="T114" fmla="*/ 96 w 96"/>
                  <a:gd name="T115" fmla="*/ 54 h 62"/>
                  <a:gd name="T116" fmla="*/ 96 w 96"/>
                  <a:gd name="T117" fmla="*/ 51 h 62"/>
                  <a:gd name="T118" fmla="*/ 96 w 96"/>
                  <a:gd name="T119" fmla="*/ 51 h 62"/>
                  <a:gd name="T120" fmla="*/ 96 w 96"/>
                  <a:gd name="T121" fmla="*/ 5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 h="62">
                    <a:moveTo>
                      <a:pt x="96" y="51"/>
                    </a:moveTo>
                    <a:lnTo>
                      <a:pt x="96" y="49"/>
                    </a:lnTo>
                    <a:lnTo>
                      <a:pt x="93" y="48"/>
                    </a:lnTo>
                    <a:lnTo>
                      <a:pt x="93" y="48"/>
                    </a:lnTo>
                    <a:lnTo>
                      <a:pt x="93" y="44"/>
                    </a:lnTo>
                    <a:lnTo>
                      <a:pt x="93" y="43"/>
                    </a:lnTo>
                    <a:lnTo>
                      <a:pt x="93" y="41"/>
                    </a:lnTo>
                    <a:lnTo>
                      <a:pt x="90" y="41"/>
                    </a:lnTo>
                    <a:lnTo>
                      <a:pt x="90" y="40"/>
                    </a:lnTo>
                    <a:lnTo>
                      <a:pt x="90" y="38"/>
                    </a:lnTo>
                    <a:lnTo>
                      <a:pt x="90" y="35"/>
                    </a:lnTo>
                    <a:lnTo>
                      <a:pt x="90" y="35"/>
                    </a:lnTo>
                    <a:lnTo>
                      <a:pt x="84" y="32"/>
                    </a:lnTo>
                    <a:lnTo>
                      <a:pt x="84" y="32"/>
                    </a:lnTo>
                    <a:lnTo>
                      <a:pt x="81" y="35"/>
                    </a:lnTo>
                    <a:lnTo>
                      <a:pt x="79" y="35"/>
                    </a:lnTo>
                    <a:lnTo>
                      <a:pt x="77" y="32"/>
                    </a:lnTo>
                    <a:lnTo>
                      <a:pt x="76" y="32"/>
                    </a:lnTo>
                    <a:lnTo>
                      <a:pt x="76" y="30"/>
                    </a:lnTo>
                    <a:lnTo>
                      <a:pt x="76" y="29"/>
                    </a:lnTo>
                    <a:lnTo>
                      <a:pt x="73" y="25"/>
                    </a:lnTo>
                    <a:lnTo>
                      <a:pt x="73" y="22"/>
                    </a:lnTo>
                    <a:lnTo>
                      <a:pt x="71" y="22"/>
                    </a:lnTo>
                    <a:lnTo>
                      <a:pt x="69" y="22"/>
                    </a:lnTo>
                    <a:lnTo>
                      <a:pt x="66" y="22"/>
                    </a:lnTo>
                    <a:lnTo>
                      <a:pt x="63" y="22"/>
                    </a:lnTo>
                    <a:lnTo>
                      <a:pt x="62" y="22"/>
                    </a:lnTo>
                    <a:lnTo>
                      <a:pt x="58" y="24"/>
                    </a:lnTo>
                    <a:lnTo>
                      <a:pt x="55" y="25"/>
                    </a:lnTo>
                    <a:lnTo>
                      <a:pt x="55" y="24"/>
                    </a:lnTo>
                    <a:lnTo>
                      <a:pt x="52" y="24"/>
                    </a:lnTo>
                    <a:lnTo>
                      <a:pt x="49" y="24"/>
                    </a:lnTo>
                    <a:lnTo>
                      <a:pt x="49" y="22"/>
                    </a:lnTo>
                    <a:lnTo>
                      <a:pt x="47" y="21"/>
                    </a:lnTo>
                    <a:lnTo>
                      <a:pt x="46" y="21"/>
                    </a:lnTo>
                    <a:lnTo>
                      <a:pt x="44" y="21"/>
                    </a:lnTo>
                    <a:lnTo>
                      <a:pt x="43" y="22"/>
                    </a:lnTo>
                    <a:lnTo>
                      <a:pt x="39" y="22"/>
                    </a:lnTo>
                    <a:lnTo>
                      <a:pt x="38" y="22"/>
                    </a:lnTo>
                    <a:lnTo>
                      <a:pt x="38" y="21"/>
                    </a:lnTo>
                    <a:lnTo>
                      <a:pt x="35" y="21"/>
                    </a:lnTo>
                    <a:lnTo>
                      <a:pt x="31" y="21"/>
                    </a:lnTo>
                    <a:lnTo>
                      <a:pt x="31" y="21"/>
                    </a:lnTo>
                    <a:lnTo>
                      <a:pt x="28" y="21"/>
                    </a:lnTo>
                    <a:lnTo>
                      <a:pt x="28" y="21"/>
                    </a:lnTo>
                    <a:lnTo>
                      <a:pt x="28" y="21"/>
                    </a:lnTo>
                    <a:lnTo>
                      <a:pt x="25" y="21"/>
                    </a:lnTo>
                    <a:lnTo>
                      <a:pt x="23" y="21"/>
                    </a:lnTo>
                    <a:lnTo>
                      <a:pt x="22" y="21"/>
                    </a:lnTo>
                    <a:lnTo>
                      <a:pt x="20" y="21"/>
                    </a:lnTo>
                    <a:lnTo>
                      <a:pt x="20" y="17"/>
                    </a:lnTo>
                    <a:lnTo>
                      <a:pt x="20" y="14"/>
                    </a:lnTo>
                    <a:lnTo>
                      <a:pt x="22" y="14"/>
                    </a:lnTo>
                    <a:lnTo>
                      <a:pt x="22" y="14"/>
                    </a:lnTo>
                    <a:lnTo>
                      <a:pt x="22" y="13"/>
                    </a:lnTo>
                    <a:lnTo>
                      <a:pt x="23" y="11"/>
                    </a:lnTo>
                    <a:lnTo>
                      <a:pt x="25" y="11"/>
                    </a:lnTo>
                    <a:lnTo>
                      <a:pt x="27" y="11"/>
                    </a:lnTo>
                    <a:lnTo>
                      <a:pt x="27" y="11"/>
                    </a:lnTo>
                    <a:lnTo>
                      <a:pt x="28" y="11"/>
                    </a:lnTo>
                    <a:lnTo>
                      <a:pt x="31" y="11"/>
                    </a:lnTo>
                    <a:lnTo>
                      <a:pt x="35" y="14"/>
                    </a:lnTo>
                    <a:lnTo>
                      <a:pt x="35" y="14"/>
                    </a:lnTo>
                    <a:lnTo>
                      <a:pt x="38" y="14"/>
                    </a:lnTo>
                    <a:lnTo>
                      <a:pt x="38" y="11"/>
                    </a:lnTo>
                    <a:lnTo>
                      <a:pt x="35" y="11"/>
                    </a:lnTo>
                    <a:lnTo>
                      <a:pt x="35" y="11"/>
                    </a:lnTo>
                    <a:lnTo>
                      <a:pt x="31" y="8"/>
                    </a:lnTo>
                    <a:lnTo>
                      <a:pt x="31" y="8"/>
                    </a:lnTo>
                    <a:lnTo>
                      <a:pt x="31" y="6"/>
                    </a:lnTo>
                    <a:lnTo>
                      <a:pt x="35" y="5"/>
                    </a:lnTo>
                    <a:lnTo>
                      <a:pt x="31" y="3"/>
                    </a:lnTo>
                    <a:lnTo>
                      <a:pt x="28" y="0"/>
                    </a:lnTo>
                    <a:lnTo>
                      <a:pt x="27" y="3"/>
                    </a:lnTo>
                    <a:lnTo>
                      <a:pt x="23" y="5"/>
                    </a:lnTo>
                    <a:lnTo>
                      <a:pt x="20" y="3"/>
                    </a:lnTo>
                    <a:lnTo>
                      <a:pt x="19" y="3"/>
                    </a:lnTo>
                    <a:lnTo>
                      <a:pt x="17" y="5"/>
                    </a:lnTo>
                    <a:lnTo>
                      <a:pt x="17" y="6"/>
                    </a:lnTo>
                    <a:lnTo>
                      <a:pt x="19" y="8"/>
                    </a:lnTo>
                    <a:lnTo>
                      <a:pt x="19" y="11"/>
                    </a:lnTo>
                    <a:lnTo>
                      <a:pt x="16" y="11"/>
                    </a:lnTo>
                    <a:lnTo>
                      <a:pt x="14" y="11"/>
                    </a:lnTo>
                    <a:lnTo>
                      <a:pt x="12" y="11"/>
                    </a:lnTo>
                    <a:lnTo>
                      <a:pt x="11" y="11"/>
                    </a:lnTo>
                    <a:lnTo>
                      <a:pt x="12" y="11"/>
                    </a:lnTo>
                    <a:lnTo>
                      <a:pt x="14" y="11"/>
                    </a:lnTo>
                    <a:lnTo>
                      <a:pt x="16" y="14"/>
                    </a:lnTo>
                    <a:lnTo>
                      <a:pt x="14" y="14"/>
                    </a:lnTo>
                    <a:lnTo>
                      <a:pt x="16" y="14"/>
                    </a:lnTo>
                    <a:lnTo>
                      <a:pt x="14" y="14"/>
                    </a:lnTo>
                    <a:lnTo>
                      <a:pt x="12" y="17"/>
                    </a:lnTo>
                    <a:lnTo>
                      <a:pt x="12" y="17"/>
                    </a:lnTo>
                    <a:lnTo>
                      <a:pt x="12" y="21"/>
                    </a:lnTo>
                    <a:lnTo>
                      <a:pt x="11" y="21"/>
                    </a:lnTo>
                    <a:lnTo>
                      <a:pt x="3" y="21"/>
                    </a:lnTo>
                    <a:lnTo>
                      <a:pt x="0" y="21"/>
                    </a:lnTo>
                    <a:lnTo>
                      <a:pt x="0" y="21"/>
                    </a:lnTo>
                    <a:lnTo>
                      <a:pt x="0" y="24"/>
                    </a:lnTo>
                    <a:lnTo>
                      <a:pt x="3" y="25"/>
                    </a:lnTo>
                    <a:lnTo>
                      <a:pt x="3" y="27"/>
                    </a:lnTo>
                    <a:lnTo>
                      <a:pt x="4" y="29"/>
                    </a:lnTo>
                    <a:lnTo>
                      <a:pt x="8" y="29"/>
                    </a:lnTo>
                    <a:lnTo>
                      <a:pt x="9" y="30"/>
                    </a:lnTo>
                    <a:lnTo>
                      <a:pt x="11" y="32"/>
                    </a:lnTo>
                    <a:lnTo>
                      <a:pt x="11" y="35"/>
                    </a:lnTo>
                    <a:lnTo>
                      <a:pt x="12" y="38"/>
                    </a:lnTo>
                    <a:lnTo>
                      <a:pt x="14" y="41"/>
                    </a:lnTo>
                    <a:lnTo>
                      <a:pt x="14" y="41"/>
                    </a:lnTo>
                    <a:lnTo>
                      <a:pt x="14" y="43"/>
                    </a:lnTo>
                    <a:lnTo>
                      <a:pt x="11" y="48"/>
                    </a:lnTo>
                    <a:lnTo>
                      <a:pt x="11" y="49"/>
                    </a:lnTo>
                    <a:lnTo>
                      <a:pt x="11" y="51"/>
                    </a:lnTo>
                    <a:lnTo>
                      <a:pt x="11" y="52"/>
                    </a:lnTo>
                    <a:lnTo>
                      <a:pt x="14" y="57"/>
                    </a:lnTo>
                    <a:lnTo>
                      <a:pt x="16" y="57"/>
                    </a:lnTo>
                    <a:lnTo>
                      <a:pt x="17" y="57"/>
                    </a:lnTo>
                    <a:lnTo>
                      <a:pt x="17" y="56"/>
                    </a:lnTo>
                    <a:lnTo>
                      <a:pt x="19" y="56"/>
                    </a:lnTo>
                    <a:lnTo>
                      <a:pt x="22" y="54"/>
                    </a:lnTo>
                    <a:lnTo>
                      <a:pt x="22" y="52"/>
                    </a:lnTo>
                    <a:lnTo>
                      <a:pt x="23" y="54"/>
                    </a:lnTo>
                    <a:lnTo>
                      <a:pt x="25" y="54"/>
                    </a:lnTo>
                    <a:lnTo>
                      <a:pt x="25" y="52"/>
                    </a:lnTo>
                    <a:lnTo>
                      <a:pt x="27" y="54"/>
                    </a:lnTo>
                    <a:lnTo>
                      <a:pt x="28" y="56"/>
                    </a:lnTo>
                    <a:lnTo>
                      <a:pt x="28" y="56"/>
                    </a:lnTo>
                    <a:lnTo>
                      <a:pt x="28" y="54"/>
                    </a:lnTo>
                    <a:lnTo>
                      <a:pt x="28" y="52"/>
                    </a:lnTo>
                    <a:lnTo>
                      <a:pt x="28" y="49"/>
                    </a:lnTo>
                    <a:lnTo>
                      <a:pt x="31" y="49"/>
                    </a:lnTo>
                    <a:lnTo>
                      <a:pt x="31" y="48"/>
                    </a:lnTo>
                    <a:lnTo>
                      <a:pt x="35" y="48"/>
                    </a:lnTo>
                    <a:lnTo>
                      <a:pt x="36" y="49"/>
                    </a:lnTo>
                    <a:lnTo>
                      <a:pt x="38" y="49"/>
                    </a:lnTo>
                    <a:lnTo>
                      <a:pt x="38" y="49"/>
                    </a:lnTo>
                    <a:lnTo>
                      <a:pt x="38" y="49"/>
                    </a:lnTo>
                    <a:lnTo>
                      <a:pt x="38" y="48"/>
                    </a:lnTo>
                    <a:lnTo>
                      <a:pt x="38" y="46"/>
                    </a:lnTo>
                    <a:lnTo>
                      <a:pt x="38" y="44"/>
                    </a:lnTo>
                    <a:lnTo>
                      <a:pt x="38" y="44"/>
                    </a:lnTo>
                    <a:lnTo>
                      <a:pt x="38" y="41"/>
                    </a:lnTo>
                    <a:lnTo>
                      <a:pt x="39" y="41"/>
                    </a:lnTo>
                    <a:lnTo>
                      <a:pt x="41" y="38"/>
                    </a:lnTo>
                    <a:lnTo>
                      <a:pt x="44" y="35"/>
                    </a:lnTo>
                    <a:lnTo>
                      <a:pt x="47" y="38"/>
                    </a:lnTo>
                    <a:lnTo>
                      <a:pt x="49" y="38"/>
                    </a:lnTo>
                    <a:lnTo>
                      <a:pt x="49" y="41"/>
                    </a:lnTo>
                    <a:lnTo>
                      <a:pt x="49" y="43"/>
                    </a:lnTo>
                    <a:lnTo>
                      <a:pt x="52" y="43"/>
                    </a:lnTo>
                    <a:lnTo>
                      <a:pt x="52" y="44"/>
                    </a:lnTo>
                    <a:lnTo>
                      <a:pt x="52" y="46"/>
                    </a:lnTo>
                    <a:lnTo>
                      <a:pt x="52" y="48"/>
                    </a:lnTo>
                    <a:lnTo>
                      <a:pt x="52" y="49"/>
                    </a:lnTo>
                    <a:lnTo>
                      <a:pt x="52" y="51"/>
                    </a:lnTo>
                    <a:lnTo>
                      <a:pt x="55" y="57"/>
                    </a:lnTo>
                    <a:lnTo>
                      <a:pt x="55" y="57"/>
                    </a:lnTo>
                    <a:lnTo>
                      <a:pt x="58" y="60"/>
                    </a:lnTo>
                    <a:lnTo>
                      <a:pt x="58" y="60"/>
                    </a:lnTo>
                    <a:lnTo>
                      <a:pt x="58" y="62"/>
                    </a:lnTo>
                    <a:lnTo>
                      <a:pt x="62" y="60"/>
                    </a:lnTo>
                    <a:lnTo>
                      <a:pt x="63" y="57"/>
                    </a:lnTo>
                    <a:lnTo>
                      <a:pt x="66" y="57"/>
                    </a:lnTo>
                    <a:lnTo>
                      <a:pt x="68" y="57"/>
                    </a:lnTo>
                    <a:lnTo>
                      <a:pt x="69" y="56"/>
                    </a:lnTo>
                    <a:lnTo>
                      <a:pt x="71" y="52"/>
                    </a:lnTo>
                    <a:lnTo>
                      <a:pt x="74" y="51"/>
                    </a:lnTo>
                    <a:lnTo>
                      <a:pt x="79" y="51"/>
                    </a:lnTo>
                    <a:lnTo>
                      <a:pt x="81" y="51"/>
                    </a:lnTo>
                    <a:lnTo>
                      <a:pt x="81" y="54"/>
                    </a:lnTo>
                    <a:lnTo>
                      <a:pt x="84" y="52"/>
                    </a:lnTo>
                    <a:lnTo>
                      <a:pt x="87" y="51"/>
                    </a:lnTo>
                    <a:lnTo>
                      <a:pt x="90" y="51"/>
                    </a:lnTo>
                    <a:lnTo>
                      <a:pt x="96" y="54"/>
                    </a:lnTo>
                    <a:lnTo>
                      <a:pt x="96" y="52"/>
                    </a:lnTo>
                    <a:lnTo>
                      <a:pt x="96" y="51"/>
                    </a:lnTo>
                    <a:lnTo>
                      <a:pt x="96" y="51"/>
                    </a:lnTo>
                    <a:lnTo>
                      <a:pt x="96" y="51"/>
                    </a:lnTo>
                    <a:lnTo>
                      <a:pt x="96" y="51"/>
                    </a:lnTo>
                    <a:lnTo>
                      <a:pt x="96" y="51"/>
                    </a:lnTo>
                    <a:lnTo>
                      <a:pt x="96" y="51"/>
                    </a:lnTo>
                    <a:lnTo>
                      <a:pt x="96" y="51"/>
                    </a:lnTo>
                    <a:lnTo>
                      <a:pt x="96" y="51"/>
                    </a:lnTo>
                    <a:lnTo>
                      <a:pt x="96" y="5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42" name="Freeform 283">
                <a:extLst>
                  <a:ext uri="{FF2B5EF4-FFF2-40B4-BE49-F238E27FC236}">
                    <a16:creationId xmlns:a16="http://schemas.microsoft.com/office/drawing/2014/main" id="{DE55411E-78ED-B019-1EE6-2AE3F01871ED}"/>
                  </a:ext>
                </a:extLst>
              </p:cNvPr>
              <p:cNvSpPr>
                <a:spLocks/>
              </p:cNvSpPr>
              <p:nvPr/>
            </p:nvSpPr>
            <p:spPr bwMode="auto">
              <a:xfrm>
                <a:off x="7980840" y="3047131"/>
                <a:ext cx="235523" cy="130098"/>
              </a:xfrm>
              <a:custGeom>
                <a:avLst/>
                <a:gdLst>
                  <a:gd name="T0" fmla="*/ 89 w 105"/>
                  <a:gd name="T1" fmla="*/ 37 h 58"/>
                  <a:gd name="T2" fmla="*/ 83 w 105"/>
                  <a:gd name="T3" fmla="*/ 34 h 58"/>
                  <a:gd name="T4" fmla="*/ 81 w 105"/>
                  <a:gd name="T5" fmla="*/ 35 h 58"/>
                  <a:gd name="T6" fmla="*/ 78 w 105"/>
                  <a:gd name="T7" fmla="*/ 35 h 58"/>
                  <a:gd name="T8" fmla="*/ 75 w 105"/>
                  <a:gd name="T9" fmla="*/ 35 h 58"/>
                  <a:gd name="T10" fmla="*/ 72 w 105"/>
                  <a:gd name="T11" fmla="*/ 32 h 58"/>
                  <a:gd name="T12" fmla="*/ 68 w 105"/>
                  <a:gd name="T13" fmla="*/ 31 h 58"/>
                  <a:gd name="T14" fmla="*/ 64 w 105"/>
                  <a:gd name="T15" fmla="*/ 31 h 58"/>
                  <a:gd name="T16" fmla="*/ 64 w 105"/>
                  <a:gd name="T17" fmla="*/ 27 h 58"/>
                  <a:gd name="T18" fmla="*/ 61 w 105"/>
                  <a:gd name="T19" fmla="*/ 26 h 58"/>
                  <a:gd name="T20" fmla="*/ 54 w 105"/>
                  <a:gd name="T21" fmla="*/ 24 h 58"/>
                  <a:gd name="T22" fmla="*/ 51 w 105"/>
                  <a:gd name="T23" fmla="*/ 19 h 58"/>
                  <a:gd name="T24" fmla="*/ 46 w 105"/>
                  <a:gd name="T25" fmla="*/ 16 h 58"/>
                  <a:gd name="T26" fmla="*/ 43 w 105"/>
                  <a:gd name="T27" fmla="*/ 16 h 58"/>
                  <a:gd name="T28" fmla="*/ 38 w 105"/>
                  <a:gd name="T29" fmla="*/ 12 h 58"/>
                  <a:gd name="T30" fmla="*/ 30 w 105"/>
                  <a:gd name="T31" fmla="*/ 8 h 58"/>
                  <a:gd name="T32" fmla="*/ 19 w 105"/>
                  <a:gd name="T33" fmla="*/ 0 h 58"/>
                  <a:gd name="T34" fmla="*/ 15 w 105"/>
                  <a:gd name="T35" fmla="*/ 0 h 58"/>
                  <a:gd name="T36" fmla="*/ 13 w 105"/>
                  <a:gd name="T37" fmla="*/ 4 h 58"/>
                  <a:gd name="T38" fmla="*/ 10 w 105"/>
                  <a:gd name="T39" fmla="*/ 5 h 58"/>
                  <a:gd name="T40" fmla="*/ 7 w 105"/>
                  <a:gd name="T41" fmla="*/ 4 h 58"/>
                  <a:gd name="T42" fmla="*/ 2 w 105"/>
                  <a:gd name="T43" fmla="*/ 12 h 58"/>
                  <a:gd name="T44" fmla="*/ 2 w 105"/>
                  <a:gd name="T45" fmla="*/ 15 h 58"/>
                  <a:gd name="T46" fmla="*/ 0 w 105"/>
                  <a:gd name="T47" fmla="*/ 19 h 58"/>
                  <a:gd name="T48" fmla="*/ 0 w 105"/>
                  <a:gd name="T49" fmla="*/ 23 h 58"/>
                  <a:gd name="T50" fmla="*/ 5 w 105"/>
                  <a:gd name="T51" fmla="*/ 26 h 58"/>
                  <a:gd name="T52" fmla="*/ 13 w 105"/>
                  <a:gd name="T53" fmla="*/ 27 h 58"/>
                  <a:gd name="T54" fmla="*/ 22 w 105"/>
                  <a:gd name="T55" fmla="*/ 35 h 58"/>
                  <a:gd name="T56" fmla="*/ 26 w 105"/>
                  <a:gd name="T57" fmla="*/ 35 h 58"/>
                  <a:gd name="T58" fmla="*/ 30 w 105"/>
                  <a:gd name="T59" fmla="*/ 39 h 58"/>
                  <a:gd name="T60" fmla="*/ 37 w 105"/>
                  <a:gd name="T61" fmla="*/ 40 h 58"/>
                  <a:gd name="T62" fmla="*/ 43 w 105"/>
                  <a:gd name="T63" fmla="*/ 43 h 58"/>
                  <a:gd name="T64" fmla="*/ 48 w 105"/>
                  <a:gd name="T65" fmla="*/ 43 h 58"/>
                  <a:gd name="T66" fmla="*/ 51 w 105"/>
                  <a:gd name="T67" fmla="*/ 43 h 58"/>
                  <a:gd name="T68" fmla="*/ 61 w 105"/>
                  <a:gd name="T69" fmla="*/ 43 h 58"/>
                  <a:gd name="T70" fmla="*/ 61 w 105"/>
                  <a:gd name="T71" fmla="*/ 46 h 58"/>
                  <a:gd name="T72" fmla="*/ 65 w 105"/>
                  <a:gd name="T73" fmla="*/ 50 h 58"/>
                  <a:gd name="T74" fmla="*/ 70 w 105"/>
                  <a:gd name="T75" fmla="*/ 53 h 58"/>
                  <a:gd name="T76" fmla="*/ 72 w 105"/>
                  <a:gd name="T77" fmla="*/ 51 h 58"/>
                  <a:gd name="T78" fmla="*/ 75 w 105"/>
                  <a:gd name="T79" fmla="*/ 53 h 58"/>
                  <a:gd name="T80" fmla="*/ 78 w 105"/>
                  <a:gd name="T81" fmla="*/ 54 h 58"/>
                  <a:gd name="T82" fmla="*/ 84 w 105"/>
                  <a:gd name="T83" fmla="*/ 56 h 58"/>
                  <a:gd name="T84" fmla="*/ 91 w 105"/>
                  <a:gd name="T85" fmla="*/ 54 h 58"/>
                  <a:gd name="T86" fmla="*/ 97 w 105"/>
                  <a:gd name="T87" fmla="*/ 58 h 58"/>
                  <a:gd name="T88" fmla="*/ 103 w 105"/>
                  <a:gd name="T89" fmla="*/ 56 h 58"/>
                  <a:gd name="T90" fmla="*/ 105 w 105"/>
                  <a:gd name="T91" fmla="*/ 50 h 58"/>
                  <a:gd name="T92" fmla="*/ 102 w 105"/>
                  <a:gd name="T93" fmla="*/ 43 h 58"/>
                  <a:gd name="T94" fmla="*/ 102 w 105"/>
                  <a:gd name="T95" fmla="*/ 37 h 58"/>
                  <a:gd name="T96" fmla="*/ 92 w 105"/>
                  <a:gd name="T97" fmla="*/ 37 h 58"/>
                  <a:gd name="T98" fmla="*/ 92 w 105"/>
                  <a:gd name="T99" fmla="*/ 37 h 58"/>
                  <a:gd name="T100" fmla="*/ 92 w 105"/>
                  <a:gd name="T101" fmla="*/ 37 h 58"/>
                  <a:gd name="T102" fmla="*/ 92 w 105"/>
                  <a:gd name="T103" fmla="*/ 37 h 58"/>
                  <a:gd name="T104" fmla="*/ 92 w 105"/>
                  <a:gd name="T105"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58">
                    <a:moveTo>
                      <a:pt x="92" y="37"/>
                    </a:moveTo>
                    <a:lnTo>
                      <a:pt x="89" y="37"/>
                    </a:lnTo>
                    <a:lnTo>
                      <a:pt x="84" y="35"/>
                    </a:lnTo>
                    <a:lnTo>
                      <a:pt x="83" y="34"/>
                    </a:lnTo>
                    <a:lnTo>
                      <a:pt x="81" y="34"/>
                    </a:lnTo>
                    <a:lnTo>
                      <a:pt x="81" y="35"/>
                    </a:lnTo>
                    <a:lnTo>
                      <a:pt x="81" y="35"/>
                    </a:lnTo>
                    <a:lnTo>
                      <a:pt x="78" y="35"/>
                    </a:lnTo>
                    <a:lnTo>
                      <a:pt x="78" y="32"/>
                    </a:lnTo>
                    <a:lnTo>
                      <a:pt x="75" y="35"/>
                    </a:lnTo>
                    <a:lnTo>
                      <a:pt x="75" y="35"/>
                    </a:lnTo>
                    <a:lnTo>
                      <a:pt x="72" y="32"/>
                    </a:lnTo>
                    <a:lnTo>
                      <a:pt x="70" y="29"/>
                    </a:lnTo>
                    <a:lnTo>
                      <a:pt x="68" y="31"/>
                    </a:lnTo>
                    <a:lnTo>
                      <a:pt x="67" y="31"/>
                    </a:lnTo>
                    <a:lnTo>
                      <a:pt x="64" y="31"/>
                    </a:lnTo>
                    <a:lnTo>
                      <a:pt x="62" y="29"/>
                    </a:lnTo>
                    <a:lnTo>
                      <a:pt x="64" y="27"/>
                    </a:lnTo>
                    <a:lnTo>
                      <a:pt x="62" y="26"/>
                    </a:lnTo>
                    <a:lnTo>
                      <a:pt x="61" y="26"/>
                    </a:lnTo>
                    <a:lnTo>
                      <a:pt x="57" y="26"/>
                    </a:lnTo>
                    <a:lnTo>
                      <a:pt x="54" y="24"/>
                    </a:lnTo>
                    <a:lnTo>
                      <a:pt x="51" y="23"/>
                    </a:lnTo>
                    <a:lnTo>
                      <a:pt x="51" y="19"/>
                    </a:lnTo>
                    <a:lnTo>
                      <a:pt x="49" y="16"/>
                    </a:lnTo>
                    <a:lnTo>
                      <a:pt x="46" y="16"/>
                    </a:lnTo>
                    <a:lnTo>
                      <a:pt x="45" y="16"/>
                    </a:lnTo>
                    <a:lnTo>
                      <a:pt x="43" y="16"/>
                    </a:lnTo>
                    <a:lnTo>
                      <a:pt x="41" y="15"/>
                    </a:lnTo>
                    <a:lnTo>
                      <a:pt x="38" y="12"/>
                    </a:lnTo>
                    <a:lnTo>
                      <a:pt x="35" y="12"/>
                    </a:lnTo>
                    <a:lnTo>
                      <a:pt x="30" y="8"/>
                    </a:lnTo>
                    <a:lnTo>
                      <a:pt x="19" y="2"/>
                    </a:lnTo>
                    <a:lnTo>
                      <a:pt x="19" y="0"/>
                    </a:lnTo>
                    <a:lnTo>
                      <a:pt x="16" y="0"/>
                    </a:lnTo>
                    <a:lnTo>
                      <a:pt x="15" y="0"/>
                    </a:lnTo>
                    <a:lnTo>
                      <a:pt x="13" y="0"/>
                    </a:lnTo>
                    <a:lnTo>
                      <a:pt x="13" y="4"/>
                    </a:lnTo>
                    <a:lnTo>
                      <a:pt x="11" y="5"/>
                    </a:lnTo>
                    <a:lnTo>
                      <a:pt x="10" y="5"/>
                    </a:lnTo>
                    <a:lnTo>
                      <a:pt x="8" y="4"/>
                    </a:lnTo>
                    <a:lnTo>
                      <a:pt x="7" y="4"/>
                    </a:lnTo>
                    <a:lnTo>
                      <a:pt x="5" y="5"/>
                    </a:lnTo>
                    <a:lnTo>
                      <a:pt x="2" y="12"/>
                    </a:lnTo>
                    <a:lnTo>
                      <a:pt x="2" y="15"/>
                    </a:lnTo>
                    <a:lnTo>
                      <a:pt x="2" y="15"/>
                    </a:lnTo>
                    <a:lnTo>
                      <a:pt x="2" y="16"/>
                    </a:lnTo>
                    <a:lnTo>
                      <a:pt x="0" y="19"/>
                    </a:lnTo>
                    <a:lnTo>
                      <a:pt x="0" y="21"/>
                    </a:lnTo>
                    <a:lnTo>
                      <a:pt x="0" y="23"/>
                    </a:lnTo>
                    <a:lnTo>
                      <a:pt x="3" y="24"/>
                    </a:lnTo>
                    <a:lnTo>
                      <a:pt x="5" y="26"/>
                    </a:lnTo>
                    <a:lnTo>
                      <a:pt x="7" y="24"/>
                    </a:lnTo>
                    <a:lnTo>
                      <a:pt x="13" y="27"/>
                    </a:lnTo>
                    <a:lnTo>
                      <a:pt x="19" y="34"/>
                    </a:lnTo>
                    <a:lnTo>
                      <a:pt x="22" y="35"/>
                    </a:lnTo>
                    <a:lnTo>
                      <a:pt x="26" y="37"/>
                    </a:lnTo>
                    <a:lnTo>
                      <a:pt x="26" y="35"/>
                    </a:lnTo>
                    <a:lnTo>
                      <a:pt x="27" y="37"/>
                    </a:lnTo>
                    <a:lnTo>
                      <a:pt x="30" y="39"/>
                    </a:lnTo>
                    <a:lnTo>
                      <a:pt x="35" y="40"/>
                    </a:lnTo>
                    <a:lnTo>
                      <a:pt x="37" y="40"/>
                    </a:lnTo>
                    <a:lnTo>
                      <a:pt x="40" y="43"/>
                    </a:lnTo>
                    <a:lnTo>
                      <a:pt x="43" y="43"/>
                    </a:lnTo>
                    <a:lnTo>
                      <a:pt x="45" y="43"/>
                    </a:lnTo>
                    <a:lnTo>
                      <a:pt x="48" y="43"/>
                    </a:lnTo>
                    <a:lnTo>
                      <a:pt x="51" y="43"/>
                    </a:lnTo>
                    <a:lnTo>
                      <a:pt x="51" y="43"/>
                    </a:lnTo>
                    <a:lnTo>
                      <a:pt x="54" y="43"/>
                    </a:lnTo>
                    <a:lnTo>
                      <a:pt x="61" y="43"/>
                    </a:lnTo>
                    <a:lnTo>
                      <a:pt x="61" y="46"/>
                    </a:lnTo>
                    <a:lnTo>
                      <a:pt x="61" y="46"/>
                    </a:lnTo>
                    <a:lnTo>
                      <a:pt x="62" y="50"/>
                    </a:lnTo>
                    <a:lnTo>
                      <a:pt x="65" y="50"/>
                    </a:lnTo>
                    <a:lnTo>
                      <a:pt x="68" y="51"/>
                    </a:lnTo>
                    <a:lnTo>
                      <a:pt x="70" y="53"/>
                    </a:lnTo>
                    <a:lnTo>
                      <a:pt x="70" y="51"/>
                    </a:lnTo>
                    <a:lnTo>
                      <a:pt x="72" y="51"/>
                    </a:lnTo>
                    <a:lnTo>
                      <a:pt x="75" y="51"/>
                    </a:lnTo>
                    <a:lnTo>
                      <a:pt x="75" y="53"/>
                    </a:lnTo>
                    <a:lnTo>
                      <a:pt x="75" y="54"/>
                    </a:lnTo>
                    <a:lnTo>
                      <a:pt x="78" y="54"/>
                    </a:lnTo>
                    <a:lnTo>
                      <a:pt x="81" y="54"/>
                    </a:lnTo>
                    <a:lnTo>
                      <a:pt x="84" y="56"/>
                    </a:lnTo>
                    <a:lnTo>
                      <a:pt x="88" y="56"/>
                    </a:lnTo>
                    <a:lnTo>
                      <a:pt x="91" y="54"/>
                    </a:lnTo>
                    <a:lnTo>
                      <a:pt x="92" y="58"/>
                    </a:lnTo>
                    <a:lnTo>
                      <a:pt x="97" y="58"/>
                    </a:lnTo>
                    <a:lnTo>
                      <a:pt x="102" y="58"/>
                    </a:lnTo>
                    <a:lnTo>
                      <a:pt x="103" y="56"/>
                    </a:lnTo>
                    <a:lnTo>
                      <a:pt x="105" y="54"/>
                    </a:lnTo>
                    <a:lnTo>
                      <a:pt x="105" y="50"/>
                    </a:lnTo>
                    <a:lnTo>
                      <a:pt x="102" y="46"/>
                    </a:lnTo>
                    <a:lnTo>
                      <a:pt x="102" y="43"/>
                    </a:lnTo>
                    <a:lnTo>
                      <a:pt x="102" y="40"/>
                    </a:lnTo>
                    <a:lnTo>
                      <a:pt x="102" y="37"/>
                    </a:lnTo>
                    <a:lnTo>
                      <a:pt x="97" y="37"/>
                    </a:lnTo>
                    <a:lnTo>
                      <a:pt x="92" y="37"/>
                    </a:lnTo>
                    <a:lnTo>
                      <a:pt x="92" y="37"/>
                    </a:lnTo>
                    <a:lnTo>
                      <a:pt x="92" y="37"/>
                    </a:lnTo>
                    <a:lnTo>
                      <a:pt x="92" y="37"/>
                    </a:lnTo>
                    <a:lnTo>
                      <a:pt x="92" y="37"/>
                    </a:lnTo>
                    <a:lnTo>
                      <a:pt x="92" y="37"/>
                    </a:lnTo>
                    <a:lnTo>
                      <a:pt x="92" y="37"/>
                    </a:lnTo>
                    <a:lnTo>
                      <a:pt x="92" y="37"/>
                    </a:lnTo>
                    <a:lnTo>
                      <a:pt x="92" y="37"/>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43" name="Freeform 295">
                <a:extLst>
                  <a:ext uri="{FF2B5EF4-FFF2-40B4-BE49-F238E27FC236}">
                    <a16:creationId xmlns:a16="http://schemas.microsoft.com/office/drawing/2014/main" id="{8BA6BD99-1798-173C-C49C-9F034701EA84}"/>
                  </a:ext>
                </a:extLst>
              </p:cNvPr>
              <p:cNvSpPr>
                <a:spLocks/>
              </p:cNvSpPr>
              <p:nvPr/>
            </p:nvSpPr>
            <p:spPr bwMode="auto">
              <a:xfrm>
                <a:off x="7617463" y="2634405"/>
                <a:ext cx="264682" cy="127856"/>
              </a:xfrm>
              <a:custGeom>
                <a:avLst/>
                <a:gdLst>
                  <a:gd name="T0" fmla="*/ 108 w 118"/>
                  <a:gd name="T1" fmla="*/ 11 h 57"/>
                  <a:gd name="T2" fmla="*/ 103 w 118"/>
                  <a:gd name="T3" fmla="*/ 8 h 57"/>
                  <a:gd name="T4" fmla="*/ 88 w 118"/>
                  <a:gd name="T5" fmla="*/ 5 h 57"/>
                  <a:gd name="T6" fmla="*/ 81 w 118"/>
                  <a:gd name="T7" fmla="*/ 5 h 57"/>
                  <a:gd name="T8" fmla="*/ 72 w 118"/>
                  <a:gd name="T9" fmla="*/ 5 h 57"/>
                  <a:gd name="T10" fmla="*/ 64 w 118"/>
                  <a:gd name="T11" fmla="*/ 5 h 57"/>
                  <a:gd name="T12" fmla="*/ 62 w 118"/>
                  <a:gd name="T13" fmla="*/ 7 h 57"/>
                  <a:gd name="T14" fmla="*/ 43 w 118"/>
                  <a:gd name="T15" fmla="*/ 0 h 57"/>
                  <a:gd name="T16" fmla="*/ 38 w 118"/>
                  <a:gd name="T17" fmla="*/ 5 h 57"/>
                  <a:gd name="T18" fmla="*/ 38 w 118"/>
                  <a:gd name="T19" fmla="*/ 11 h 57"/>
                  <a:gd name="T20" fmla="*/ 32 w 118"/>
                  <a:gd name="T21" fmla="*/ 8 h 57"/>
                  <a:gd name="T22" fmla="*/ 23 w 118"/>
                  <a:gd name="T23" fmla="*/ 7 h 57"/>
                  <a:gd name="T24" fmla="*/ 11 w 118"/>
                  <a:gd name="T25" fmla="*/ 8 h 57"/>
                  <a:gd name="T26" fmla="*/ 11 w 118"/>
                  <a:gd name="T27" fmla="*/ 15 h 57"/>
                  <a:gd name="T28" fmla="*/ 8 w 118"/>
                  <a:gd name="T29" fmla="*/ 18 h 57"/>
                  <a:gd name="T30" fmla="*/ 8 w 118"/>
                  <a:gd name="T31" fmla="*/ 26 h 57"/>
                  <a:gd name="T32" fmla="*/ 15 w 118"/>
                  <a:gd name="T33" fmla="*/ 29 h 57"/>
                  <a:gd name="T34" fmla="*/ 19 w 118"/>
                  <a:gd name="T35" fmla="*/ 30 h 57"/>
                  <a:gd name="T36" fmla="*/ 21 w 118"/>
                  <a:gd name="T37" fmla="*/ 24 h 57"/>
                  <a:gd name="T38" fmla="*/ 29 w 118"/>
                  <a:gd name="T39" fmla="*/ 29 h 57"/>
                  <a:gd name="T40" fmla="*/ 32 w 118"/>
                  <a:gd name="T41" fmla="*/ 32 h 57"/>
                  <a:gd name="T42" fmla="*/ 42 w 118"/>
                  <a:gd name="T43" fmla="*/ 35 h 57"/>
                  <a:gd name="T44" fmla="*/ 32 w 118"/>
                  <a:gd name="T45" fmla="*/ 38 h 57"/>
                  <a:gd name="T46" fmla="*/ 29 w 118"/>
                  <a:gd name="T47" fmla="*/ 40 h 57"/>
                  <a:gd name="T48" fmla="*/ 27 w 118"/>
                  <a:gd name="T49" fmla="*/ 43 h 57"/>
                  <a:gd name="T50" fmla="*/ 23 w 118"/>
                  <a:gd name="T51" fmla="*/ 43 h 57"/>
                  <a:gd name="T52" fmla="*/ 18 w 118"/>
                  <a:gd name="T53" fmla="*/ 46 h 57"/>
                  <a:gd name="T54" fmla="*/ 11 w 118"/>
                  <a:gd name="T55" fmla="*/ 43 h 57"/>
                  <a:gd name="T56" fmla="*/ 7 w 118"/>
                  <a:gd name="T57" fmla="*/ 43 h 57"/>
                  <a:gd name="T58" fmla="*/ 2 w 118"/>
                  <a:gd name="T59" fmla="*/ 45 h 57"/>
                  <a:gd name="T60" fmla="*/ 0 w 118"/>
                  <a:gd name="T61" fmla="*/ 46 h 57"/>
                  <a:gd name="T62" fmla="*/ 2 w 118"/>
                  <a:gd name="T63" fmla="*/ 53 h 57"/>
                  <a:gd name="T64" fmla="*/ 8 w 118"/>
                  <a:gd name="T65" fmla="*/ 53 h 57"/>
                  <a:gd name="T66" fmla="*/ 11 w 118"/>
                  <a:gd name="T67" fmla="*/ 53 h 57"/>
                  <a:gd name="T68" fmla="*/ 18 w 118"/>
                  <a:gd name="T69" fmla="*/ 53 h 57"/>
                  <a:gd name="T70" fmla="*/ 23 w 118"/>
                  <a:gd name="T71" fmla="*/ 54 h 57"/>
                  <a:gd name="T72" fmla="*/ 27 w 118"/>
                  <a:gd name="T73" fmla="*/ 53 h 57"/>
                  <a:gd name="T74" fmla="*/ 32 w 118"/>
                  <a:gd name="T75" fmla="*/ 56 h 57"/>
                  <a:gd name="T76" fmla="*/ 38 w 118"/>
                  <a:gd name="T77" fmla="*/ 56 h 57"/>
                  <a:gd name="T78" fmla="*/ 46 w 118"/>
                  <a:gd name="T79" fmla="*/ 54 h 57"/>
                  <a:gd name="T80" fmla="*/ 53 w 118"/>
                  <a:gd name="T81" fmla="*/ 53 h 57"/>
                  <a:gd name="T82" fmla="*/ 53 w 118"/>
                  <a:gd name="T83" fmla="*/ 49 h 57"/>
                  <a:gd name="T84" fmla="*/ 59 w 118"/>
                  <a:gd name="T85" fmla="*/ 43 h 57"/>
                  <a:gd name="T86" fmla="*/ 62 w 118"/>
                  <a:gd name="T87" fmla="*/ 40 h 57"/>
                  <a:gd name="T88" fmla="*/ 69 w 118"/>
                  <a:gd name="T89" fmla="*/ 38 h 57"/>
                  <a:gd name="T90" fmla="*/ 73 w 118"/>
                  <a:gd name="T91" fmla="*/ 40 h 57"/>
                  <a:gd name="T92" fmla="*/ 81 w 118"/>
                  <a:gd name="T93" fmla="*/ 40 h 57"/>
                  <a:gd name="T94" fmla="*/ 84 w 118"/>
                  <a:gd name="T95" fmla="*/ 32 h 57"/>
                  <a:gd name="T96" fmla="*/ 96 w 118"/>
                  <a:gd name="T97" fmla="*/ 32 h 57"/>
                  <a:gd name="T98" fmla="*/ 100 w 118"/>
                  <a:gd name="T99" fmla="*/ 26 h 57"/>
                  <a:gd name="T100" fmla="*/ 107 w 118"/>
                  <a:gd name="T101" fmla="*/ 22 h 57"/>
                  <a:gd name="T102" fmla="*/ 115 w 118"/>
                  <a:gd name="T103" fmla="*/ 13 h 57"/>
                  <a:gd name="T104" fmla="*/ 115 w 118"/>
                  <a:gd name="T105" fmla="*/ 11 h 57"/>
                  <a:gd name="T106" fmla="*/ 115 w 118"/>
                  <a:gd name="T107" fmla="*/ 11 h 57"/>
                  <a:gd name="T108" fmla="*/ 115 w 118"/>
                  <a:gd name="T109" fmla="*/ 1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57">
                    <a:moveTo>
                      <a:pt x="115" y="11"/>
                    </a:moveTo>
                    <a:lnTo>
                      <a:pt x="108" y="11"/>
                    </a:lnTo>
                    <a:lnTo>
                      <a:pt x="108" y="11"/>
                    </a:lnTo>
                    <a:lnTo>
                      <a:pt x="107" y="11"/>
                    </a:lnTo>
                    <a:lnTo>
                      <a:pt x="105" y="8"/>
                    </a:lnTo>
                    <a:lnTo>
                      <a:pt x="103" y="8"/>
                    </a:lnTo>
                    <a:lnTo>
                      <a:pt x="99" y="7"/>
                    </a:lnTo>
                    <a:lnTo>
                      <a:pt x="92" y="5"/>
                    </a:lnTo>
                    <a:lnTo>
                      <a:pt x="88" y="5"/>
                    </a:lnTo>
                    <a:lnTo>
                      <a:pt x="86" y="5"/>
                    </a:lnTo>
                    <a:lnTo>
                      <a:pt x="84" y="5"/>
                    </a:lnTo>
                    <a:lnTo>
                      <a:pt x="81" y="5"/>
                    </a:lnTo>
                    <a:lnTo>
                      <a:pt x="80" y="5"/>
                    </a:lnTo>
                    <a:lnTo>
                      <a:pt x="78" y="5"/>
                    </a:lnTo>
                    <a:lnTo>
                      <a:pt x="72" y="5"/>
                    </a:lnTo>
                    <a:lnTo>
                      <a:pt x="70" y="5"/>
                    </a:lnTo>
                    <a:lnTo>
                      <a:pt x="67" y="5"/>
                    </a:lnTo>
                    <a:lnTo>
                      <a:pt x="64" y="5"/>
                    </a:lnTo>
                    <a:lnTo>
                      <a:pt x="62" y="5"/>
                    </a:lnTo>
                    <a:lnTo>
                      <a:pt x="62" y="7"/>
                    </a:lnTo>
                    <a:lnTo>
                      <a:pt x="62" y="7"/>
                    </a:lnTo>
                    <a:lnTo>
                      <a:pt x="59" y="7"/>
                    </a:lnTo>
                    <a:lnTo>
                      <a:pt x="53" y="5"/>
                    </a:lnTo>
                    <a:lnTo>
                      <a:pt x="43" y="0"/>
                    </a:lnTo>
                    <a:lnTo>
                      <a:pt x="42" y="2"/>
                    </a:lnTo>
                    <a:lnTo>
                      <a:pt x="38" y="2"/>
                    </a:lnTo>
                    <a:lnTo>
                      <a:pt x="38" y="5"/>
                    </a:lnTo>
                    <a:lnTo>
                      <a:pt x="38" y="7"/>
                    </a:lnTo>
                    <a:lnTo>
                      <a:pt x="38" y="11"/>
                    </a:lnTo>
                    <a:lnTo>
                      <a:pt x="38" y="11"/>
                    </a:lnTo>
                    <a:lnTo>
                      <a:pt x="35" y="11"/>
                    </a:lnTo>
                    <a:lnTo>
                      <a:pt x="35" y="11"/>
                    </a:lnTo>
                    <a:lnTo>
                      <a:pt x="32" y="8"/>
                    </a:lnTo>
                    <a:lnTo>
                      <a:pt x="29" y="8"/>
                    </a:lnTo>
                    <a:lnTo>
                      <a:pt x="24" y="7"/>
                    </a:lnTo>
                    <a:lnTo>
                      <a:pt x="23" y="7"/>
                    </a:lnTo>
                    <a:lnTo>
                      <a:pt x="19" y="7"/>
                    </a:lnTo>
                    <a:lnTo>
                      <a:pt x="18" y="7"/>
                    </a:lnTo>
                    <a:lnTo>
                      <a:pt x="11" y="8"/>
                    </a:lnTo>
                    <a:lnTo>
                      <a:pt x="11" y="11"/>
                    </a:lnTo>
                    <a:lnTo>
                      <a:pt x="8" y="11"/>
                    </a:lnTo>
                    <a:lnTo>
                      <a:pt x="11" y="15"/>
                    </a:lnTo>
                    <a:lnTo>
                      <a:pt x="11" y="15"/>
                    </a:lnTo>
                    <a:lnTo>
                      <a:pt x="15" y="15"/>
                    </a:lnTo>
                    <a:lnTo>
                      <a:pt x="8" y="18"/>
                    </a:lnTo>
                    <a:lnTo>
                      <a:pt x="7" y="21"/>
                    </a:lnTo>
                    <a:lnTo>
                      <a:pt x="5" y="24"/>
                    </a:lnTo>
                    <a:lnTo>
                      <a:pt x="8" y="26"/>
                    </a:lnTo>
                    <a:lnTo>
                      <a:pt x="11" y="26"/>
                    </a:lnTo>
                    <a:lnTo>
                      <a:pt x="11" y="27"/>
                    </a:lnTo>
                    <a:lnTo>
                      <a:pt x="15" y="29"/>
                    </a:lnTo>
                    <a:lnTo>
                      <a:pt x="15" y="29"/>
                    </a:lnTo>
                    <a:lnTo>
                      <a:pt x="18" y="29"/>
                    </a:lnTo>
                    <a:lnTo>
                      <a:pt x="19" y="30"/>
                    </a:lnTo>
                    <a:lnTo>
                      <a:pt x="19" y="27"/>
                    </a:lnTo>
                    <a:lnTo>
                      <a:pt x="21" y="27"/>
                    </a:lnTo>
                    <a:lnTo>
                      <a:pt x="21" y="24"/>
                    </a:lnTo>
                    <a:lnTo>
                      <a:pt x="23" y="26"/>
                    </a:lnTo>
                    <a:lnTo>
                      <a:pt x="26" y="27"/>
                    </a:lnTo>
                    <a:lnTo>
                      <a:pt x="29" y="29"/>
                    </a:lnTo>
                    <a:lnTo>
                      <a:pt x="29" y="30"/>
                    </a:lnTo>
                    <a:lnTo>
                      <a:pt x="29" y="32"/>
                    </a:lnTo>
                    <a:lnTo>
                      <a:pt x="32" y="32"/>
                    </a:lnTo>
                    <a:lnTo>
                      <a:pt x="32" y="32"/>
                    </a:lnTo>
                    <a:lnTo>
                      <a:pt x="35" y="34"/>
                    </a:lnTo>
                    <a:lnTo>
                      <a:pt x="42" y="35"/>
                    </a:lnTo>
                    <a:lnTo>
                      <a:pt x="38" y="37"/>
                    </a:lnTo>
                    <a:lnTo>
                      <a:pt x="35" y="38"/>
                    </a:lnTo>
                    <a:lnTo>
                      <a:pt x="32" y="38"/>
                    </a:lnTo>
                    <a:lnTo>
                      <a:pt x="35" y="40"/>
                    </a:lnTo>
                    <a:lnTo>
                      <a:pt x="32" y="40"/>
                    </a:lnTo>
                    <a:lnTo>
                      <a:pt x="29" y="40"/>
                    </a:lnTo>
                    <a:lnTo>
                      <a:pt x="29" y="43"/>
                    </a:lnTo>
                    <a:lnTo>
                      <a:pt x="27" y="43"/>
                    </a:lnTo>
                    <a:lnTo>
                      <a:pt x="27" y="43"/>
                    </a:lnTo>
                    <a:lnTo>
                      <a:pt x="26" y="43"/>
                    </a:lnTo>
                    <a:lnTo>
                      <a:pt x="24" y="43"/>
                    </a:lnTo>
                    <a:lnTo>
                      <a:pt x="23" y="43"/>
                    </a:lnTo>
                    <a:lnTo>
                      <a:pt x="21" y="43"/>
                    </a:lnTo>
                    <a:lnTo>
                      <a:pt x="18" y="43"/>
                    </a:lnTo>
                    <a:lnTo>
                      <a:pt x="18" y="46"/>
                    </a:lnTo>
                    <a:lnTo>
                      <a:pt x="15" y="46"/>
                    </a:lnTo>
                    <a:lnTo>
                      <a:pt x="15" y="46"/>
                    </a:lnTo>
                    <a:lnTo>
                      <a:pt x="11" y="43"/>
                    </a:lnTo>
                    <a:lnTo>
                      <a:pt x="8" y="43"/>
                    </a:lnTo>
                    <a:lnTo>
                      <a:pt x="7" y="43"/>
                    </a:lnTo>
                    <a:lnTo>
                      <a:pt x="7" y="43"/>
                    </a:lnTo>
                    <a:lnTo>
                      <a:pt x="5" y="43"/>
                    </a:lnTo>
                    <a:lnTo>
                      <a:pt x="3" y="43"/>
                    </a:lnTo>
                    <a:lnTo>
                      <a:pt x="2" y="45"/>
                    </a:lnTo>
                    <a:lnTo>
                      <a:pt x="2" y="46"/>
                    </a:lnTo>
                    <a:lnTo>
                      <a:pt x="2" y="46"/>
                    </a:lnTo>
                    <a:lnTo>
                      <a:pt x="0" y="46"/>
                    </a:lnTo>
                    <a:lnTo>
                      <a:pt x="0" y="49"/>
                    </a:lnTo>
                    <a:lnTo>
                      <a:pt x="0" y="53"/>
                    </a:lnTo>
                    <a:lnTo>
                      <a:pt x="2" y="53"/>
                    </a:lnTo>
                    <a:lnTo>
                      <a:pt x="3" y="53"/>
                    </a:lnTo>
                    <a:lnTo>
                      <a:pt x="5" y="53"/>
                    </a:lnTo>
                    <a:lnTo>
                      <a:pt x="8" y="53"/>
                    </a:lnTo>
                    <a:lnTo>
                      <a:pt x="8" y="53"/>
                    </a:lnTo>
                    <a:lnTo>
                      <a:pt x="8" y="53"/>
                    </a:lnTo>
                    <a:lnTo>
                      <a:pt x="11" y="53"/>
                    </a:lnTo>
                    <a:lnTo>
                      <a:pt x="11" y="53"/>
                    </a:lnTo>
                    <a:lnTo>
                      <a:pt x="15" y="53"/>
                    </a:lnTo>
                    <a:lnTo>
                      <a:pt x="18" y="53"/>
                    </a:lnTo>
                    <a:lnTo>
                      <a:pt x="18" y="54"/>
                    </a:lnTo>
                    <a:lnTo>
                      <a:pt x="19" y="54"/>
                    </a:lnTo>
                    <a:lnTo>
                      <a:pt x="23" y="54"/>
                    </a:lnTo>
                    <a:lnTo>
                      <a:pt x="24" y="53"/>
                    </a:lnTo>
                    <a:lnTo>
                      <a:pt x="26" y="53"/>
                    </a:lnTo>
                    <a:lnTo>
                      <a:pt x="27" y="53"/>
                    </a:lnTo>
                    <a:lnTo>
                      <a:pt x="29" y="54"/>
                    </a:lnTo>
                    <a:lnTo>
                      <a:pt x="29" y="56"/>
                    </a:lnTo>
                    <a:lnTo>
                      <a:pt x="32" y="56"/>
                    </a:lnTo>
                    <a:lnTo>
                      <a:pt x="35" y="56"/>
                    </a:lnTo>
                    <a:lnTo>
                      <a:pt x="35" y="57"/>
                    </a:lnTo>
                    <a:lnTo>
                      <a:pt x="38" y="56"/>
                    </a:lnTo>
                    <a:lnTo>
                      <a:pt x="42" y="54"/>
                    </a:lnTo>
                    <a:lnTo>
                      <a:pt x="43" y="54"/>
                    </a:lnTo>
                    <a:lnTo>
                      <a:pt x="46" y="54"/>
                    </a:lnTo>
                    <a:lnTo>
                      <a:pt x="49" y="54"/>
                    </a:lnTo>
                    <a:lnTo>
                      <a:pt x="51" y="54"/>
                    </a:lnTo>
                    <a:lnTo>
                      <a:pt x="53" y="53"/>
                    </a:lnTo>
                    <a:lnTo>
                      <a:pt x="56" y="53"/>
                    </a:lnTo>
                    <a:lnTo>
                      <a:pt x="53" y="49"/>
                    </a:lnTo>
                    <a:lnTo>
                      <a:pt x="53" y="49"/>
                    </a:lnTo>
                    <a:lnTo>
                      <a:pt x="53" y="46"/>
                    </a:lnTo>
                    <a:lnTo>
                      <a:pt x="56" y="46"/>
                    </a:lnTo>
                    <a:lnTo>
                      <a:pt x="59" y="43"/>
                    </a:lnTo>
                    <a:lnTo>
                      <a:pt x="59" y="43"/>
                    </a:lnTo>
                    <a:lnTo>
                      <a:pt x="62" y="40"/>
                    </a:lnTo>
                    <a:lnTo>
                      <a:pt x="62" y="40"/>
                    </a:lnTo>
                    <a:lnTo>
                      <a:pt x="64" y="40"/>
                    </a:lnTo>
                    <a:lnTo>
                      <a:pt x="67" y="40"/>
                    </a:lnTo>
                    <a:lnTo>
                      <a:pt x="69" y="38"/>
                    </a:lnTo>
                    <a:lnTo>
                      <a:pt x="70" y="38"/>
                    </a:lnTo>
                    <a:lnTo>
                      <a:pt x="72" y="40"/>
                    </a:lnTo>
                    <a:lnTo>
                      <a:pt x="73" y="40"/>
                    </a:lnTo>
                    <a:lnTo>
                      <a:pt x="75" y="40"/>
                    </a:lnTo>
                    <a:lnTo>
                      <a:pt x="80" y="40"/>
                    </a:lnTo>
                    <a:lnTo>
                      <a:pt x="81" y="40"/>
                    </a:lnTo>
                    <a:lnTo>
                      <a:pt x="83" y="37"/>
                    </a:lnTo>
                    <a:lnTo>
                      <a:pt x="83" y="34"/>
                    </a:lnTo>
                    <a:lnTo>
                      <a:pt x="84" y="32"/>
                    </a:lnTo>
                    <a:lnTo>
                      <a:pt x="86" y="32"/>
                    </a:lnTo>
                    <a:lnTo>
                      <a:pt x="91" y="32"/>
                    </a:lnTo>
                    <a:lnTo>
                      <a:pt x="96" y="32"/>
                    </a:lnTo>
                    <a:lnTo>
                      <a:pt x="99" y="30"/>
                    </a:lnTo>
                    <a:lnTo>
                      <a:pt x="99" y="29"/>
                    </a:lnTo>
                    <a:lnTo>
                      <a:pt x="100" y="26"/>
                    </a:lnTo>
                    <a:lnTo>
                      <a:pt x="102" y="24"/>
                    </a:lnTo>
                    <a:lnTo>
                      <a:pt x="102" y="24"/>
                    </a:lnTo>
                    <a:lnTo>
                      <a:pt x="107" y="22"/>
                    </a:lnTo>
                    <a:lnTo>
                      <a:pt x="111" y="19"/>
                    </a:lnTo>
                    <a:lnTo>
                      <a:pt x="118" y="18"/>
                    </a:lnTo>
                    <a:lnTo>
                      <a:pt x="115" y="13"/>
                    </a:lnTo>
                    <a:lnTo>
                      <a:pt x="115" y="11"/>
                    </a:lnTo>
                    <a:lnTo>
                      <a:pt x="115" y="11"/>
                    </a:lnTo>
                    <a:lnTo>
                      <a:pt x="115" y="11"/>
                    </a:lnTo>
                    <a:lnTo>
                      <a:pt x="115" y="11"/>
                    </a:lnTo>
                    <a:lnTo>
                      <a:pt x="115" y="11"/>
                    </a:lnTo>
                    <a:lnTo>
                      <a:pt x="115" y="11"/>
                    </a:lnTo>
                    <a:lnTo>
                      <a:pt x="115" y="11"/>
                    </a:lnTo>
                    <a:lnTo>
                      <a:pt x="115" y="11"/>
                    </a:lnTo>
                    <a:lnTo>
                      <a:pt x="115" y="1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44" name="Freeform 297">
                <a:extLst>
                  <a:ext uri="{FF2B5EF4-FFF2-40B4-BE49-F238E27FC236}">
                    <a16:creationId xmlns:a16="http://schemas.microsoft.com/office/drawing/2014/main" id="{B1393551-3F47-A77B-6A79-B660F0BC8C44}"/>
                  </a:ext>
                </a:extLst>
              </p:cNvPr>
              <p:cNvSpPr>
                <a:spLocks/>
              </p:cNvSpPr>
              <p:nvPr/>
            </p:nvSpPr>
            <p:spPr bwMode="auto">
              <a:xfrm>
                <a:off x="7417828" y="2784690"/>
                <a:ext cx="370108" cy="291599"/>
              </a:xfrm>
              <a:custGeom>
                <a:avLst/>
                <a:gdLst>
                  <a:gd name="T0" fmla="*/ 156 w 165"/>
                  <a:gd name="T1" fmla="*/ 16 h 130"/>
                  <a:gd name="T2" fmla="*/ 148 w 165"/>
                  <a:gd name="T3" fmla="*/ 16 h 130"/>
                  <a:gd name="T4" fmla="*/ 137 w 165"/>
                  <a:gd name="T5" fmla="*/ 22 h 130"/>
                  <a:gd name="T6" fmla="*/ 127 w 165"/>
                  <a:gd name="T7" fmla="*/ 27 h 130"/>
                  <a:gd name="T8" fmla="*/ 121 w 165"/>
                  <a:gd name="T9" fmla="*/ 16 h 130"/>
                  <a:gd name="T10" fmla="*/ 121 w 165"/>
                  <a:gd name="T11" fmla="*/ 9 h 130"/>
                  <a:gd name="T12" fmla="*/ 118 w 165"/>
                  <a:gd name="T13" fmla="*/ 3 h 130"/>
                  <a:gd name="T14" fmla="*/ 108 w 165"/>
                  <a:gd name="T15" fmla="*/ 6 h 130"/>
                  <a:gd name="T16" fmla="*/ 107 w 165"/>
                  <a:gd name="T17" fmla="*/ 11 h 130"/>
                  <a:gd name="T18" fmla="*/ 105 w 165"/>
                  <a:gd name="T19" fmla="*/ 14 h 130"/>
                  <a:gd name="T20" fmla="*/ 99 w 165"/>
                  <a:gd name="T21" fmla="*/ 14 h 130"/>
                  <a:gd name="T22" fmla="*/ 97 w 165"/>
                  <a:gd name="T23" fmla="*/ 21 h 130"/>
                  <a:gd name="T24" fmla="*/ 92 w 165"/>
                  <a:gd name="T25" fmla="*/ 19 h 130"/>
                  <a:gd name="T26" fmla="*/ 86 w 165"/>
                  <a:gd name="T27" fmla="*/ 21 h 130"/>
                  <a:gd name="T28" fmla="*/ 83 w 165"/>
                  <a:gd name="T29" fmla="*/ 22 h 130"/>
                  <a:gd name="T30" fmla="*/ 73 w 165"/>
                  <a:gd name="T31" fmla="*/ 19 h 130"/>
                  <a:gd name="T32" fmla="*/ 61 w 165"/>
                  <a:gd name="T33" fmla="*/ 17 h 130"/>
                  <a:gd name="T34" fmla="*/ 54 w 165"/>
                  <a:gd name="T35" fmla="*/ 14 h 130"/>
                  <a:gd name="T36" fmla="*/ 51 w 165"/>
                  <a:gd name="T37" fmla="*/ 19 h 130"/>
                  <a:gd name="T38" fmla="*/ 45 w 165"/>
                  <a:gd name="T39" fmla="*/ 21 h 130"/>
                  <a:gd name="T40" fmla="*/ 43 w 165"/>
                  <a:gd name="T41" fmla="*/ 30 h 130"/>
                  <a:gd name="T42" fmla="*/ 31 w 165"/>
                  <a:gd name="T43" fmla="*/ 38 h 130"/>
                  <a:gd name="T44" fmla="*/ 27 w 165"/>
                  <a:gd name="T45" fmla="*/ 43 h 130"/>
                  <a:gd name="T46" fmla="*/ 23 w 165"/>
                  <a:gd name="T47" fmla="*/ 46 h 130"/>
                  <a:gd name="T48" fmla="*/ 16 w 165"/>
                  <a:gd name="T49" fmla="*/ 44 h 130"/>
                  <a:gd name="T50" fmla="*/ 7 w 165"/>
                  <a:gd name="T51" fmla="*/ 41 h 130"/>
                  <a:gd name="T52" fmla="*/ 7 w 165"/>
                  <a:gd name="T53" fmla="*/ 43 h 130"/>
                  <a:gd name="T54" fmla="*/ 5 w 165"/>
                  <a:gd name="T55" fmla="*/ 51 h 130"/>
                  <a:gd name="T56" fmla="*/ 4 w 165"/>
                  <a:gd name="T57" fmla="*/ 59 h 130"/>
                  <a:gd name="T58" fmla="*/ 0 w 165"/>
                  <a:gd name="T59" fmla="*/ 65 h 130"/>
                  <a:gd name="T60" fmla="*/ 7 w 165"/>
                  <a:gd name="T61" fmla="*/ 71 h 130"/>
                  <a:gd name="T62" fmla="*/ 4 w 165"/>
                  <a:gd name="T63" fmla="*/ 78 h 130"/>
                  <a:gd name="T64" fmla="*/ 8 w 165"/>
                  <a:gd name="T65" fmla="*/ 90 h 130"/>
                  <a:gd name="T66" fmla="*/ 15 w 165"/>
                  <a:gd name="T67" fmla="*/ 102 h 130"/>
                  <a:gd name="T68" fmla="*/ 23 w 165"/>
                  <a:gd name="T69" fmla="*/ 106 h 130"/>
                  <a:gd name="T70" fmla="*/ 19 w 165"/>
                  <a:gd name="T71" fmla="*/ 117 h 130"/>
                  <a:gd name="T72" fmla="*/ 23 w 165"/>
                  <a:gd name="T73" fmla="*/ 129 h 130"/>
                  <a:gd name="T74" fmla="*/ 50 w 165"/>
                  <a:gd name="T75" fmla="*/ 129 h 130"/>
                  <a:gd name="T76" fmla="*/ 61 w 165"/>
                  <a:gd name="T77" fmla="*/ 129 h 130"/>
                  <a:gd name="T78" fmla="*/ 80 w 165"/>
                  <a:gd name="T79" fmla="*/ 125 h 130"/>
                  <a:gd name="T80" fmla="*/ 80 w 165"/>
                  <a:gd name="T81" fmla="*/ 113 h 130"/>
                  <a:gd name="T82" fmla="*/ 85 w 165"/>
                  <a:gd name="T83" fmla="*/ 103 h 130"/>
                  <a:gd name="T84" fmla="*/ 96 w 165"/>
                  <a:gd name="T85" fmla="*/ 103 h 130"/>
                  <a:gd name="T86" fmla="*/ 97 w 165"/>
                  <a:gd name="T87" fmla="*/ 97 h 130"/>
                  <a:gd name="T88" fmla="*/ 105 w 165"/>
                  <a:gd name="T89" fmla="*/ 97 h 130"/>
                  <a:gd name="T90" fmla="*/ 112 w 165"/>
                  <a:gd name="T91" fmla="*/ 97 h 130"/>
                  <a:gd name="T92" fmla="*/ 113 w 165"/>
                  <a:gd name="T93" fmla="*/ 84 h 130"/>
                  <a:gd name="T94" fmla="*/ 116 w 165"/>
                  <a:gd name="T95" fmla="*/ 78 h 130"/>
                  <a:gd name="T96" fmla="*/ 118 w 165"/>
                  <a:gd name="T97" fmla="*/ 70 h 130"/>
                  <a:gd name="T98" fmla="*/ 118 w 165"/>
                  <a:gd name="T99" fmla="*/ 65 h 130"/>
                  <a:gd name="T100" fmla="*/ 131 w 165"/>
                  <a:gd name="T101" fmla="*/ 62 h 130"/>
                  <a:gd name="T102" fmla="*/ 127 w 165"/>
                  <a:gd name="T103" fmla="*/ 56 h 130"/>
                  <a:gd name="T104" fmla="*/ 131 w 165"/>
                  <a:gd name="T105" fmla="*/ 46 h 130"/>
                  <a:gd name="T106" fmla="*/ 124 w 165"/>
                  <a:gd name="T107" fmla="*/ 38 h 130"/>
                  <a:gd name="T108" fmla="*/ 131 w 165"/>
                  <a:gd name="T109" fmla="*/ 30 h 130"/>
                  <a:gd name="T110" fmla="*/ 151 w 165"/>
                  <a:gd name="T111" fmla="*/ 24 h 130"/>
                  <a:gd name="T112" fmla="*/ 162 w 165"/>
                  <a:gd name="T113" fmla="*/ 2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5" h="130">
                    <a:moveTo>
                      <a:pt x="162" y="19"/>
                    </a:moveTo>
                    <a:lnTo>
                      <a:pt x="162" y="19"/>
                    </a:lnTo>
                    <a:lnTo>
                      <a:pt x="165" y="19"/>
                    </a:lnTo>
                    <a:lnTo>
                      <a:pt x="165" y="19"/>
                    </a:lnTo>
                    <a:lnTo>
                      <a:pt x="159" y="16"/>
                    </a:lnTo>
                    <a:lnTo>
                      <a:pt x="159" y="16"/>
                    </a:lnTo>
                    <a:lnTo>
                      <a:pt x="156" y="16"/>
                    </a:lnTo>
                    <a:lnTo>
                      <a:pt x="156" y="16"/>
                    </a:lnTo>
                    <a:lnTo>
                      <a:pt x="153" y="17"/>
                    </a:lnTo>
                    <a:lnTo>
                      <a:pt x="153" y="17"/>
                    </a:lnTo>
                    <a:lnTo>
                      <a:pt x="150" y="19"/>
                    </a:lnTo>
                    <a:lnTo>
                      <a:pt x="150" y="19"/>
                    </a:lnTo>
                    <a:lnTo>
                      <a:pt x="150" y="16"/>
                    </a:lnTo>
                    <a:lnTo>
                      <a:pt x="150" y="16"/>
                    </a:lnTo>
                    <a:lnTo>
                      <a:pt x="148" y="16"/>
                    </a:lnTo>
                    <a:lnTo>
                      <a:pt x="148" y="16"/>
                    </a:lnTo>
                    <a:lnTo>
                      <a:pt x="143" y="16"/>
                    </a:lnTo>
                    <a:lnTo>
                      <a:pt x="143" y="16"/>
                    </a:lnTo>
                    <a:lnTo>
                      <a:pt x="140" y="17"/>
                    </a:lnTo>
                    <a:lnTo>
                      <a:pt x="140" y="17"/>
                    </a:lnTo>
                    <a:lnTo>
                      <a:pt x="138" y="21"/>
                    </a:lnTo>
                    <a:lnTo>
                      <a:pt x="138" y="21"/>
                    </a:lnTo>
                    <a:lnTo>
                      <a:pt x="137" y="22"/>
                    </a:lnTo>
                    <a:lnTo>
                      <a:pt x="137" y="22"/>
                    </a:lnTo>
                    <a:lnTo>
                      <a:pt x="135" y="22"/>
                    </a:lnTo>
                    <a:lnTo>
                      <a:pt x="135" y="22"/>
                    </a:lnTo>
                    <a:lnTo>
                      <a:pt x="132" y="22"/>
                    </a:lnTo>
                    <a:lnTo>
                      <a:pt x="132" y="22"/>
                    </a:lnTo>
                    <a:lnTo>
                      <a:pt x="131" y="25"/>
                    </a:lnTo>
                    <a:lnTo>
                      <a:pt x="131" y="25"/>
                    </a:lnTo>
                    <a:lnTo>
                      <a:pt x="127" y="27"/>
                    </a:lnTo>
                    <a:lnTo>
                      <a:pt x="127" y="27"/>
                    </a:lnTo>
                    <a:lnTo>
                      <a:pt x="127" y="25"/>
                    </a:lnTo>
                    <a:lnTo>
                      <a:pt x="127" y="25"/>
                    </a:lnTo>
                    <a:lnTo>
                      <a:pt x="127" y="25"/>
                    </a:lnTo>
                    <a:lnTo>
                      <a:pt x="127" y="25"/>
                    </a:lnTo>
                    <a:lnTo>
                      <a:pt x="124" y="22"/>
                    </a:lnTo>
                    <a:lnTo>
                      <a:pt x="124" y="22"/>
                    </a:lnTo>
                    <a:lnTo>
                      <a:pt x="124" y="22"/>
                    </a:lnTo>
                    <a:lnTo>
                      <a:pt x="121" y="16"/>
                    </a:lnTo>
                    <a:lnTo>
                      <a:pt x="121" y="16"/>
                    </a:lnTo>
                    <a:lnTo>
                      <a:pt x="121" y="14"/>
                    </a:lnTo>
                    <a:lnTo>
                      <a:pt x="121" y="14"/>
                    </a:lnTo>
                    <a:lnTo>
                      <a:pt x="121" y="13"/>
                    </a:lnTo>
                    <a:lnTo>
                      <a:pt x="121" y="13"/>
                    </a:lnTo>
                    <a:lnTo>
                      <a:pt x="121" y="11"/>
                    </a:lnTo>
                    <a:lnTo>
                      <a:pt x="121" y="11"/>
                    </a:lnTo>
                    <a:lnTo>
                      <a:pt x="121" y="9"/>
                    </a:lnTo>
                    <a:lnTo>
                      <a:pt x="121" y="9"/>
                    </a:lnTo>
                    <a:lnTo>
                      <a:pt x="121" y="8"/>
                    </a:lnTo>
                    <a:lnTo>
                      <a:pt x="121" y="8"/>
                    </a:lnTo>
                    <a:lnTo>
                      <a:pt x="118" y="8"/>
                    </a:lnTo>
                    <a:lnTo>
                      <a:pt x="118" y="8"/>
                    </a:lnTo>
                    <a:lnTo>
                      <a:pt x="118" y="6"/>
                    </a:lnTo>
                    <a:lnTo>
                      <a:pt x="118" y="6"/>
                    </a:lnTo>
                    <a:lnTo>
                      <a:pt x="118" y="3"/>
                    </a:lnTo>
                    <a:lnTo>
                      <a:pt x="118" y="3"/>
                    </a:lnTo>
                    <a:lnTo>
                      <a:pt x="116" y="3"/>
                    </a:lnTo>
                    <a:lnTo>
                      <a:pt x="116" y="3"/>
                    </a:lnTo>
                    <a:lnTo>
                      <a:pt x="113" y="0"/>
                    </a:lnTo>
                    <a:lnTo>
                      <a:pt x="113" y="0"/>
                    </a:lnTo>
                    <a:lnTo>
                      <a:pt x="110" y="3"/>
                    </a:lnTo>
                    <a:lnTo>
                      <a:pt x="110" y="3"/>
                    </a:lnTo>
                    <a:lnTo>
                      <a:pt x="108" y="6"/>
                    </a:lnTo>
                    <a:lnTo>
                      <a:pt x="108" y="6"/>
                    </a:lnTo>
                    <a:lnTo>
                      <a:pt x="107" y="6"/>
                    </a:lnTo>
                    <a:lnTo>
                      <a:pt x="107" y="6"/>
                    </a:lnTo>
                    <a:lnTo>
                      <a:pt x="105" y="9"/>
                    </a:lnTo>
                    <a:lnTo>
                      <a:pt x="105" y="9"/>
                    </a:lnTo>
                    <a:lnTo>
                      <a:pt x="105" y="9"/>
                    </a:lnTo>
                    <a:lnTo>
                      <a:pt x="105" y="9"/>
                    </a:lnTo>
                    <a:lnTo>
                      <a:pt x="107" y="11"/>
                    </a:lnTo>
                    <a:lnTo>
                      <a:pt x="107" y="11"/>
                    </a:lnTo>
                    <a:lnTo>
                      <a:pt x="107" y="13"/>
                    </a:lnTo>
                    <a:lnTo>
                      <a:pt x="107" y="13"/>
                    </a:lnTo>
                    <a:lnTo>
                      <a:pt x="107" y="14"/>
                    </a:lnTo>
                    <a:lnTo>
                      <a:pt x="107" y="14"/>
                    </a:lnTo>
                    <a:lnTo>
                      <a:pt x="107" y="14"/>
                    </a:lnTo>
                    <a:lnTo>
                      <a:pt x="105" y="14"/>
                    </a:lnTo>
                    <a:lnTo>
                      <a:pt x="105" y="14"/>
                    </a:lnTo>
                    <a:lnTo>
                      <a:pt x="105" y="14"/>
                    </a:lnTo>
                    <a:lnTo>
                      <a:pt x="105" y="14"/>
                    </a:lnTo>
                    <a:lnTo>
                      <a:pt x="102" y="13"/>
                    </a:lnTo>
                    <a:lnTo>
                      <a:pt x="102" y="13"/>
                    </a:lnTo>
                    <a:lnTo>
                      <a:pt x="100" y="13"/>
                    </a:lnTo>
                    <a:lnTo>
                      <a:pt x="100" y="13"/>
                    </a:lnTo>
                    <a:lnTo>
                      <a:pt x="99" y="14"/>
                    </a:lnTo>
                    <a:lnTo>
                      <a:pt x="99" y="14"/>
                    </a:lnTo>
                    <a:lnTo>
                      <a:pt x="97" y="14"/>
                    </a:lnTo>
                    <a:lnTo>
                      <a:pt x="97" y="14"/>
                    </a:lnTo>
                    <a:lnTo>
                      <a:pt x="97" y="17"/>
                    </a:lnTo>
                    <a:lnTo>
                      <a:pt x="97" y="17"/>
                    </a:lnTo>
                    <a:lnTo>
                      <a:pt x="97" y="19"/>
                    </a:lnTo>
                    <a:lnTo>
                      <a:pt x="97" y="19"/>
                    </a:lnTo>
                    <a:lnTo>
                      <a:pt x="97" y="21"/>
                    </a:lnTo>
                    <a:lnTo>
                      <a:pt x="97" y="21"/>
                    </a:lnTo>
                    <a:lnTo>
                      <a:pt x="96" y="21"/>
                    </a:lnTo>
                    <a:lnTo>
                      <a:pt x="96" y="21"/>
                    </a:lnTo>
                    <a:lnTo>
                      <a:pt x="96" y="19"/>
                    </a:lnTo>
                    <a:lnTo>
                      <a:pt x="96" y="19"/>
                    </a:lnTo>
                    <a:lnTo>
                      <a:pt x="92" y="17"/>
                    </a:lnTo>
                    <a:lnTo>
                      <a:pt x="92" y="17"/>
                    </a:lnTo>
                    <a:lnTo>
                      <a:pt x="92" y="19"/>
                    </a:lnTo>
                    <a:lnTo>
                      <a:pt x="92" y="19"/>
                    </a:lnTo>
                    <a:lnTo>
                      <a:pt x="92" y="19"/>
                    </a:lnTo>
                    <a:lnTo>
                      <a:pt x="92" y="19"/>
                    </a:lnTo>
                    <a:lnTo>
                      <a:pt x="89" y="17"/>
                    </a:lnTo>
                    <a:lnTo>
                      <a:pt x="89" y="17"/>
                    </a:lnTo>
                    <a:lnTo>
                      <a:pt x="89" y="19"/>
                    </a:lnTo>
                    <a:lnTo>
                      <a:pt x="89" y="19"/>
                    </a:lnTo>
                    <a:lnTo>
                      <a:pt x="86" y="21"/>
                    </a:lnTo>
                    <a:lnTo>
                      <a:pt x="86" y="21"/>
                    </a:lnTo>
                    <a:lnTo>
                      <a:pt x="86" y="21"/>
                    </a:lnTo>
                    <a:lnTo>
                      <a:pt x="86" y="21"/>
                    </a:lnTo>
                    <a:lnTo>
                      <a:pt x="86" y="22"/>
                    </a:lnTo>
                    <a:lnTo>
                      <a:pt x="86" y="22"/>
                    </a:lnTo>
                    <a:lnTo>
                      <a:pt x="85" y="22"/>
                    </a:lnTo>
                    <a:lnTo>
                      <a:pt x="85" y="22"/>
                    </a:lnTo>
                    <a:lnTo>
                      <a:pt x="83" y="22"/>
                    </a:lnTo>
                    <a:lnTo>
                      <a:pt x="83" y="22"/>
                    </a:lnTo>
                    <a:lnTo>
                      <a:pt x="81" y="22"/>
                    </a:lnTo>
                    <a:lnTo>
                      <a:pt x="81" y="22"/>
                    </a:lnTo>
                    <a:lnTo>
                      <a:pt x="78" y="19"/>
                    </a:lnTo>
                    <a:lnTo>
                      <a:pt x="78" y="19"/>
                    </a:lnTo>
                    <a:lnTo>
                      <a:pt x="75" y="19"/>
                    </a:lnTo>
                    <a:lnTo>
                      <a:pt x="75" y="19"/>
                    </a:lnTo>
                    <a:lnTo>
                      <a:pt x="73" y="19"/>
                    </a:lnTo>
                    <a:lnTo>
                      <a:pt x="73" y="19"/>
                    </a:lnTo>
                    <a:lnTo>
                      <a:pt x="72" y="17"/>
                    </a:lnTo>
                    <a:lnTo>
                      <a:pt x="72" y="17"/>
                    </a:lnTo>
                    <a:lnTo>
                      <a:pt x="69" y="16"/>
                    </a:lnTo>
                    <a:lnTo>
                      <a:pt x="69" y="16"/>
                    </a:lnTo>
                    <a:lnTo>
                      <a:pt x="64" y="16"/>
                    </a:lnTo>
                    <a:lnTo>
                      <a:pt x="64" y="16"/>
                    </a:lnTo>
                    <a:lnTo>
                      <a:pt x="61" y="17"/>
                    </a:lnTo>
                    <a:lnTo>
                      <a:pt x="61" y="17"/>
                    </a:lnTo>
                    <a:lnTo>
                      <a:pt x="61" y="16"/>
                    </a:lnTo>
                    <a:lnTo>
                      <a:pt x="61" y="16"/>
                    </a:lnTo>
                    <a:lnTo>
                      <a:pt x="58" y="16"/>
                    </a:lnTo>
                    <a:lnTo>
                      <a:pt x="58" y="16"/>
                    </a:lnTo>
                    <a:lnTo>
                      <a:pt x="58" y="14"/>
                    </a:lnTo>
                    <a:lnTo>
                      <a:pt x="58" y="14"/>
                    </a:lnTo>
                    <a:lnTo>
                      <a:pt x="54" y="14"/>
                    </a:lnTo>
                    <a:lnTo>
                      <a:pt x="54" y="14"/>
                    </a:lnTo>
                    <a:lnTo>
                      <a:pt x="54" y="14"/>
                    </a:lnTo>
                    <a:lnTo>
                      <a:pt x="54" y="14"/>
                    </a:lnTo>
                    <a:lnTo>
                      <a:pt x="51" y="16"/>
                    </a:lnTo>
                    <a:lnTo>
                      <a:pt x="51" y="16"/>
                    </a:lnTo>
                    <a:lnTo>
                      <a:pt x="51" y="19"/>
                    </a:lnTo>
                    <a:lnTo>
                      <a:pt x="51" y="19"/>
                    </a:lnTo>
                    <a:lnTo>
                      <a:pt x="51" y="19"/>
                    </a:lnTo>
                    <a:lnTo>
                      <a:pt x="51" y="19"/>
                    </a:lnTo>
                    <a:lnTo>
                      <a:pt x="50" y="19"/>
                    </a:lnTo>
                    <a:lnTo>
                      <a:pt x="50" y="19"/>
                    </a:lnTo>
                    <a:lnTo>
                      <a:pt x="48" y="19"/>
                    </a:lnTo>
                    <a:lnTo>
                      <a:pt x="48" y="19"/>
                    </a:lnTo>
                    <a:lnTo>
                      <a:pt x="46" y="19"/>
                    </a:lnTo>
                    <a:lnTo>
                      <a:pt x="46" y="19"/>
                    </a:lnTo>
                    <a:lnTo>
                      <a:pt x="45" y="21"/>
                    </a:lnTo>
                    <a:lnTo>
                      <a:pt x="45" y="21"/>
                    </a:lnTo>
                    <a:lnTo>
                      <a:pt x="43" y="22"/>
                    </a:lnTo>
                    <a:lnTo>
                      <a:pt x="43" y="22"/>
                    </a:lnTo>
                    <a:lnTo>
                      <a:pt x="43" y="24"/>
                    </a:lnTo>
                    <a:lnTo>
                      <a:pt x="43" y="24"/>
                    </a:lnTo>
                    <a:lnTo>
                      <a:pt x="43" y="25"/>
                    </a:lnTo>
                    <a:lnTo>
                      <a:pt x="43" y="25"/>
                    </a:lnTo>
                    <a:lnTo>
                      <a:pt x="43" y="30"/>
                    </a:lnTo>
                    <a:lnTo>
                      <a:pt x="43" y="30"/>
                    </a:lnTo>
                    <a:lnTo>
                      <a:pt x="42" y="32"/>
                    </a:lnTo>
                    <a:lnTo>
                      <a:pt x="42" y="32"/>
                    </a:lnTo>
                    <a:lnTo>
                      <a:pt x="37" y="35"/>
                    </a:lnTo>
                    <a:lnTo>
                      <a:pt x="37" y="35"/>
                    </a:lnTo>
                    <a:lnTo>
                      <a:pt x="34" y="38"/>
                    </a:lnTo>
                    <a:lnTo>
                      <a:pt x="34" y="38"/>
                    </a:lnTo>
                    <a:lnTo>
                      <a:pt x="31" y="38"/>
                    </a:lnTo>
                    <a:lnTo>
                      <a:pt x="31" y="38"/>
                    </a:lnTo>
                    <a:lnTo>
                      <a:pt x="27" y="38"/>
                    </a:lnTo>
                    <a:lnTo>
                      <a:pt x="27" y="38"/>
                    </a:lnTo>
                    <a:lnTo>
                      <a:pt x="29" y="41"/>
                    </a:lnTo>
                    <a:lnTo>
                      <a:pt x="29" y="41"/>
                    </a:lnTo>
                    <a:lnTo>
                      <a:pt x="27" y="41"/>
                    </a:lnTo>
                    <a:lnTo>
                      <a:pt x="27" y="41"/>
                    </a:lnTo>
                    <a:lnTo>
                      <a:pt x="27" y="43"/>
                    </a:lnTo>
                    <a:lnTo>
                      <a:pt x="27" y="43"/>
                    </a:lnTo>
                    <a:lnTo>
                      <a:pt x="26" y="44"/>
                    </a:lnTo>
                    <a:lnTo>
                      <a:pt x="26" y="44"/>
                    </a:lnTo>
                    <a:lnTo>
                      <a:pt x="26" y="46"/>
                    </a:lnTo>
                    <a:lnTo>
                      <a:pt x="26" y="46"/>
                    </a:lnTo>
                    <a:lnTo>
                      <a:pt x="23" y="46"/>
                    </a:lnTo>
                    <a:lnTo>
                      <a:pt x="23" y="46"/>
                    </a:lnTo>
                    <a:lnTo>
                      <a:pt x="23" y="46"/>
                    </a:lnTo>
                    <a:lnTo>
                      <a:pt x="23" y="46"/>
                    </a:lnTo>
                    <a:lnTo>
                      <a:pt x="19" y="48"/>
                    </a:lnTo>
                    <a:lnTo>
                      <a:pt x="19" y="48"/>
                    </a:lnTo>
                    <a:lnTo>
                      <a:pt x="19" y="49"/>
                    </a:lnTo>
                    <a:lnTo>
                      <a:pt x="19" y="49"/>
                    </a:lnTo>
                    <a:lnTo>
                      <a:pt x="16" y="46"/>
                    </a:lnTo>
                    <a:lnTo>
                      <a:pt x="16" y="46"/>
                    </a:lnTo>
                    <a:lnTo>
                      <a:pt x="16" y="44"/>
                    </a:lnTo>
                    <a:lnTo>
                      <a:pt x="16" y="44"/>
                    </a:lnTo>
                    <a:lnTo>
                      <a:pt x="13" y="44"/>
                    </a:lnTo>
                    <a:lnTo>
                      <a:pt x="13" y="44"/>
                    </a:lnTo>
                    <a:lnTo>
                      <a:pt x="11" y="44"/>
                    </a:lnTo>
                    <a:lnTo>
                      <a:pt x="11" y="44"/>
                    </a:lnTo>
                    <a:lnTo>
                      <a:pt x="8" y="41"/>
                    </a:lnTo>
                    <a:lnTo>
                      <a:pt x="8" y="41"/>
                    </a:lnTo>
                    <a:lnTo>
                      <a:pt x="7" y="41"/>
                    </a:lnTo>
                    <a:lnTo>
                      <a:pt x="7" y="41"/>
                    </a:lnTo>
                    <a:lnTo>
                      <a:pt x="4" y="38"/>
                    </a:lnTo>
                    <a:lnTo>
                      <a:pt x="4" y="38"/>
                    </a:lnTo>
                    <a:lnTo>
                      <a:pt x="5" y="41"/>
                    </a:lnTo>
                    <a:lnTo>
                      <a:pt x="5" y="41"/>
                    </a:lnTo>
                    <a:lnTo>
                      <a:pt x="7" y="41"/>
                    </a:lnTo>
                    <a:lnTo>
                      <a:pt x="7" y="41"/>
                    </a:lnTo>
                    <a:lnTo>
                      <a:pt x="7" y="43"/>
                    </a:lnTo>
                    <a:lnTo>
                      <a:pt x="7" y="43"/>
                    </a:lnTo>
                    <a:lnTo>
                      <a:pt x="5" y="44"/>
                    </a:lnTo>
                    <a:lnTo>
                      <a:pt x="5" y="44"/>
                    </a:lnTo>
                    <a:lnTo>
                      <a:pt x="5" y="46"/>
                    </a:lnTo>
                    <a:lnTo>
                      <a:pt x="5" y="46"/>
                    </a:lnTo>
                    <a:lnTo>
                      <a:pt x="5" y="48"/>
                    </a:lnTo>
                    <a:lnTo>
                      <a:pt x="5" y="48"/>
                    </a:lnTo>
                    <a:lnTo>
                      <a:pt x="5" y="51"/>
                    </a:lnTo>
                    <a:lnTo>
                      <a:pt x="5" y="51"/>
                    </a:lnTo>
                    <a:lnTo>
                      <a:pt x="5" y="54"/>
                    </a:lnTo>
                    <a:lnTo>
                      <a:pt x="5" y="54"/>
                    </a:lnTo>
                    <a:lnTo>
                      <a:pt x="4" y="56"/>
                    </a:lnTo>
                    <a:lnTo>
                      <a:pt x="4" y="56"/>
                    </a:lnTo>
                    <a:lnTo>
                      <a:pt x="2" y="57"/>
                    </a:lnTo>
                    <a:lnTo>
                      <a:pt x="2" y="57"/>
                    </a:lnTo>
                    <a:lnTo>
                      <a:pt x="4" y="59"/>
                    </a:lnTo>
                    <a:lnTo>
                      <a:pt x="4" y="59"/>
                    </a:lnTo>
                    <a:lnTo>
                      <a:pt x="4" y="59"/>
                    </a:lnTo>
                    <a:lnTo>
                      <a:pt x="4" y="59"/>
                    </a:lnTo>
                    <a:lnTo>
                      <a:pt x="2" y="62"/>
                    </a:lnTo>
                    <a:lnTo>
                      <a:pt x="2" y="62"/>
                    </a:lnTo>
                    <a:lnTo>
                      <a:pt x="0" y="62"/>
                    </a:lnTo>
                    <a:lnTo>
                      <a:pt x="0" y="62"/>
                    </a:lnTo>
                    <a:lnTo>
                      <a:pt x="0" y="65"/>
                    </a:lnTo>
                    <a:lnTo>
                      <a:pt x="0" y="65"/>
                    </a:lnTo>
                    <a:lnTo>
                      <a:pt x="0" y="67"/>
                    </a:lnTo>
                    <a:lnTo>
                      <a:pt x="0" y="67"/>
                    </a:lnTo>
                    <a:lnTo>
                      <a:pt x="2" y="70"/>
                    </a:lnTo>
                    <a:lnTo>
                      <a:pt x="2" y="70"/>
                    </a:lnTo>
                    <a:lnTo>
                      <a:pt x="4" y="71"/>
                    </a:lnTo>
                    <a:lnTo>
                      <a:pt x="4" y="71"/>
                    </a:lnTo>
                    <a:lnTo>
                      <a:pt x="7" y="71"/>
                    </a:lnTo>
                    <a:lnTo>
                      <a:pt x="7" y="71"/>
                    </a:lnTo>
                    <a:lnTo>
                      <a:pt x="7" y="73"/>
                    </a:lnTo>
                    <a:lnTo>
                      <a:pt x="7" y="73"/>
                    </a:lnTo>
                    <a:lnTo>
                      <a:pt x="5" y="75"/>
                    </a:lnTo>
                    <a:lnTo>
                      <a:pt x="5" y="75"/>
                    </a:lnTo>
                    <a:lnTo>
                      <a:pt x="4" y="76"/>
                    </a:lnTo>
                    <a:lnTo>
                      <a:pt x="4" y="76"/>
                    </a:lnTo>
                    <a:lnTo>
                      <a:pt x="4" y="78"/>
                    </a:lnTo>
                    <a:lnTo>
                      <a:pt x="4" y="78"/>
                    </a:lnTo>
                    <a:lnTo>
                      <a:pt x="4" y="79"/>
                    </a:lnTo>
                    <a:lnTo>
                      <a:pt x="4" y="79"/>
                    </a:lnTo>
                    <a:lnTo>
                      <a:pt x="5" y="84"/>
                    </a:lnTo>
                    <a:lnTo>
                      <a:pt x="5" y="84"/>
                    </a:lnTo>
                    <a:lnTo>
                      <a:pt x="7" y="87"/>
                    </a:lnTo>
                    <a:lnTo>
                      <a:pt x="7" y="87"/>
                    </a:lnTo>
                    <a:lnTo>
                      <a:pt x="8" y="90"/>
                    </a:lnTo>
                    <a:lnTo>
                      <a:pt x="8" y="90"/>
                    </a:lnTo>
                    <a:lnTo>
                      <a:pt x="10" y="97"/>
                    </a:lnTo>
                    <a:lnTo>
                      <a:pt x="10" y="97"/>
                    </a:lnTo>
                    <a:lnTo>
                      <a:pt x="10" y="98"/>
                    </a:lnTo>
                    <a:lnTo>
                      <a:pt x="10" y="98"/>
                    </a:lnTo>
                    <a:lnTo>
                      <a:pt x="11" y="100"/>
                    </a:lnTo>
                    <a:lnTo>
                      <a:pt x="11" y="100"/>
                    </a:lnTo>
                    <a:lnTo>
                      <a:pt x="15" y="102"/>
                    </a:lnTo>
                    <a:lnTo>
                      <a:pt x="15" y="102"/>
                    </a:lnTo>
                    <a:lnTo>
                      <a:pt x="16" y="102"/>
                    </a:lnTo>
                    <a:lnTo>
                      <a:pt x="16" y="102"/>
                    </a:lnTo>
                    <a:lnTo>
                      <a:pt x="19" y="102"/>
                    </a:lnTo>
                    <a:lnTo>
                      <a:pt x="19" y="102"/>
                    </a:lnTo>
                    <a:lnTo>
                      <a:pt x="23" y="105"/>
                    </a:lnTo>
                    <a:lnTo>
                      <a:pt x="23" y="105"/>
                    </a:lnTo>
                    <a:lnTo>
                      <a:pt x="23" y="106"/>
                    </a:lnTo>
                    <a:lnTo>
                      <a:pt x="23" y="106"/>
                    </a:lnTo>
                    <a:lnTo>
                      <a:pt x="23" y="108"/>
                    </a:lnTo>
                    <a:lnTo>
                      <a:pt x="23" y="108"/>
                    </a:lnTo>
                    <a:lnTo>
                      <a:pt x="23" y="111"/>
                    </a:lnTo>
                    <a:lnTo>
                      <a:pt x="23" y="111"/>
                    </a:lnTo>
                    <a:lnTo>
                      <a:pt x="23" y="111"/>
                    </a:lnTo>
                    <a:lnTo>
                      <a:pt x="19" y="114"/>
                    </a:lnTo>
                    <a:lnTo>
                      <a:pt x="19" y="114"/>
                    </a:lnTo>
                    <a:lnTo>
                      <a:pt x="19" y="117"/>
                    </a:lnTo>
                    <a:lnTo>
                      <a:pt x="19" y="117"/>
                    </a:lnTo>
                    <a:lnTo>
                      <a:pt x="16" y="122"/>
                    </a:lnTo>
                    <a:lnTo>
                      <a:pt x="16" y="122"/>
                    </a:lnTo>
                    <a:lnTo>
                      <a:pt x="16" y="122"/>
                    </a:lnTo>
                    <a:lnTo>
                      <a:pt x="15" y="125"/>
                    </a:lnTo>
                    <a:lnTo>
                      <a:pt x="15" y="125"/>
                    </a:lnTo>
                    <a:lnTo>
                      <a:pt x="23" y="129"/>
                    </a:lnTo>
                    <a:lnTo>
                      <a:pt x="23" y="129"/>
                    </a:lnTo>
                    <a:lnTo>
                      <a:pt x="29" y="130"/>
                    </a:lnTo>
                    <a:lnTo>
                      <a:pt x="29" y="130"/>
                    </a:lnTo>
                    <a:lnTo>
                      <a:pt x="37" y="130"/>
                    </a:lnTo>
                    <a:lnTo>
                      <a:pt x="37" y="130"/>
                    </a:lnTo>
                    <a:lnTo>
                      <a:pt x="45" y="129"/>
                    </a:lnTo>
                    <a:lnTo>
                      <a:pt x="45" y="129"/>
                    </a:lnTo>
                    <a:lnTo>
                      <a:pt x="50" y="129"/>
                    </a:lnTo>
                    <a:lnTo>
                      <a:pt x="50" y="129"/>
                    </a:lnTo>
                    <a:lnTo>
                      <a:pt x="51" y="130"/>
                    </a:lnTo>
                    <a:lnTo>
                      <a:pt x="51" y="130"/>
                    </a:lnTo>
                    <a:lnTo>
                      <a:pt x="54" y="130"/>
                    </a:lnTo>
                    <a:lnTo>
                      <a:pt x="54" y="130"/>
                    </a:lnTo>
                    <a:lnTo>
                      <a:pt x="58" y="129"/>
                    </a:lnTo>
                    <a:lnTo>
                      <a:pt x="58" y="129"/>
                    </a:lnTo>
                    <a:lnTo>
                      <a:pt x="61" y="129"/>
                    </a:lnTo>
                    <a:lnTo>
                      <a:pt x="61" y="129"/>
                    </a:lnTo>
                    <a:lnTo>
                      <a:pt x="64" y="129"/>
                    </a:lnTo>
                    <a:lnTo>
                      <a:pt x="64" y="129"/>
                    </a:lnTo>
                    <a:lnTo>
                      <a:pt x="70" y="129"/>
                    </a:lnTo>
                    <a:lnTo>
                      <a:pt x="70" y="129"/>
                    </a:lnTo>
                    <a:lnTo>
                      <a:pt x="77" y="125"/>
                    </a:lnTo>
                    <a:lnTo>
                      <a:pt x="77" y="125"/>
                    </a:lnTo>
                    <a:lnTo>
                      <a:pt x="80" y="125"/>
                    </a:lnTo>
                    <a:lnTo>
                      <a:pt x="80" y="125"/>
                    </a:lnTo>
                    <a:lnTo>
                      <a:pt x="81" y="122"/>
                    </a:lnTo>
                    <a:lnTo>
                      <a:pt x="81" y="122"/>
                    </a:lnTo>
                    <a:lnTo>
                      <a:pt x="80" y="122"/>
                    </a:lnTo>
                    <a:lnTo>
                      <a:pt x="80" y="122"/>
                    </a:lnTo>
                    <a:lnTo>
                      <a:pt x="80" y="119"/>
                    </a:lnTo>
                    <a:lnTo>
                      <a:pt x="80" y="119"/>
                    </a:lnTo>
                    <a:lnTo>
                      <a:pt x="80" y="113"/>
                    </a:lnTo>
                    <a:lnTo>
                      <a:pt x="80" y="113"/>
                    </a:lnTo>
                    <a:lnTo>
                      <a:pt x="80" y="109"/>
                    </a:lnTo>
                    <a:lnTo>
                      <a:pt x="80" y="109"/>
                    </a:lnTo>
                    <a:lnTo>
                      <a:pt x="81" y="108"/>
                    </a:lnTo>
                    <a:lnTo>
                      <a:pt x="81" y="108"/>
                    </a:lnTo>
                    <a:lnTo>
                      <a:pt x="83" y="105"/>
                    </a:lnTo>
                    <a:lnTo>
                      <a:pt x="83" y="105"/>
                    </a:lnTo>
                    <a:lnTo>
                      <a:pt x="85" y="103"/>
                    </a:lnTo>
                    <a:lnTo>
                      <a:pt x="85" y="103"/>
                    </a:lnTo>
                    <a:lnTo>
                      <a:pt x="86" y="103"/>
                    </a:lnTo>
                    <a:lnTo>
                      <a:pt x="86" y="103"/>
                    </a:lnTo>
                    <a:lnTo>
                      <a:pt x="86" y="105"/>
                    </a:lnTo>
                    <a:lnTo>
                      <a:pt x="86" y="105"/>
                    </a:lnTo>
                    <a:lnTo>
                      <a:pt x="89" y="105"/>
                    </a:lnTo>
                    <a:lnTo>
                      <a:pt x="89" y="105"/>
                    </a:lnTo>
                    <a:lnTo>
                      <a:pt x="96" y="103"/>
                    </a:lnTo>
                    <a:lnTo>
                      <a:pt x="96" y="103"/>
                    </a:lnTo>
                    <a:lnTo>
                      <a:pt x="92" y="102"/>
                    </a:lnTo>
                    <a:lnTo>
                      <a:pt x="92" y="102"/>
                    </a:lnTo>
                    <a:lnTo>
                      <a:pt x="92" y="100"/>
                    </a:lnTo>
                    <a:lnTo>
                      <a:pt x="92" y="100"/>
                    </a:lnTo>
                    <a:lnTo>
                      <a:pt x="96" y="98"/>
                    </a:lnTo>
                    <a:lnTo>
                      <a:pt x="96" y="98"/>
                    </a:lnTo>
                    <a:lnTo>
                      <a:pt x="97" y="97"/>
                    </a:lnTo>
                    <a:lnTo>
                      <a:pt x="97" y="97"/>
                    </a:lnTo>
                    <a:lnTo>
                      <a:pt x="99" y="97"/>
                    </a:lnTo>
                    <a:lnTo>
                      <a:pt x="99" y="97"/>
                    </a:lnTo>
                    <a:lnTo>
                      <a:pt x="102" y="97"/>
                    </a:lnTo>
                    <a:lnTo>
                      <a:pt x="102" y="97"/>
                    </a:lnTo>
                    <a:lnTo>
                      <a:pt x="104" y="97"/>
                    </a:lnTo>
                    <a:lnTo>
                      <a:pt x="104" y="97"/>
                    </a:lnTo>
                    <a:lnTo>
                      <a:pt x="105" y="97"/>
                    </a:lnTo>
                    <a:lnTo>
                      <a:pt x="105" y="97"/>
                    </a:lnTo>
                    <a:lnTo>
                      <a:pt x="107" y="98"/>
                    </a:lnTo>
                    <a:lnTo>
                      <a:pt x="107" y="98"/>
                    </a:lnTo>
                    <a:lnTo>
                      <a:pt x="110" y="98"/>
                    </a:lnTo>
                    <a:lnTo>
                      <a:pt x="110" y="98"/>
                    </a:lnTo>
                    <a:lnTo>
                      <a:pt x="112" y="97"/>
                    </a:lnTo>
                    <a:lnTo>
                      <a:pt x="112" y="97"/>
                    </a:lnTo>
                    <a:lnTo>
                      <a:pt x="112" y="97"/>
                    </a:lnTo>
                    <a:lnTo>
                      <a:pt x="112" y="97"/>
                    </a:lnTo>
                    <a:lnTo>
                      <a:pt x="112" y="90"/>
                    </a:lnTo>
                    <a:lnTo>
                      <a:pt x="112" y="90"/>
                    </a:lnTo>
                    <a:lnTo>
                      <a:pt x="112" y="87"/>
                    </a:lnTo>
                    <a:lnTo>
                      <a:pt x="112" y="87"/>
                    </a:lnTo>
                    <a:lnTo>
                      <a:pt x="112" y="87"/>
                    </a:lnTo>
                    <a:lnTo>
                      <a:pt x="112" y="87"/>
                    </a:lnTo>
                    <a:lnTo>
                      <a:pt x="113" y="84"/>
                    </a:lnTo>
                    <a:lnTo>
                      <a:pt x="113" y="84"/>
                    </a:lnTo>
                    <a:lnTo>
                      <a:pt x="113" y="81"/>
                    </a:lnTo>
                    <a:lnTo>
                      <a:pt x="113" y="81"/>
                    </a:lnTo>
                    <a:lnTo>
                      <a:pt x="113" y="79"/>
                    </a:lnTo>
                    <a:lnTo>
                      <a:pt x="113" y="79"/>
                    </a:lnTo>
                    <a:lnTo>
                      <a:pt x="113" y="78"/>
                    </a:lnTo>
                    <a:lnTo>
                      <a:pt x="113" y="78"/>
                    </a:lnTo>
                    <a:lnTo>
                      <a:pt x="116" y="78"/>
                    </a:lnTo>
                    <a:lnTo>
                      <a:pt x="116" y="78"/>
                    </a:lnTo>
                    <a:lnTo>
                      <a:pt x="118" y="76"/>
                    </a:lnTo>
                    <a:lnTo>
                      <a:pt x="118" y="76"/>
                    </a:lnTo>
                    <a:lnTo>
                      <a:pt x="121" y="75"/>
                    </a:lnTo>
                    <a:lnTo>
                      <a:pt x="121" y="75"/>
                    </a:lnTo>
                    <a:lnTo>
                      <a:pt x="121" y="73"/>
                    </a:lnTo>
                    <a:lnTo>
                      <a:pt x="121" y="73"/>
                    </a:lnTo>
                    <a:lnTo>
                      <a:pt x="118" y="70"/>
                    </a:lnTo>
                    <a:lnTo>
                      <a:pt x="118" y="70"/>
                    </a:lnTo>
                    <a:lnTo>
                      <a:pt x="118" y="68"/>
                    </a:lnTo>
                    <a:lnTo>
                      <a:pt x="118" y="68"/>
                    </a:lnTo>
                    <a:lnTo>
                      <a:pt x="116" y="67"/>
                    </a:lnTo>
                    <a:lnTo>
                      <a:pt x="116" y="67"/>
                    </a:lnTo>
                    <a:lnTo>
                      <a:pt x="115" y="65"/>
                    </a:lnTo>
                    <a:lnTo>
                      <a:pt x="115" y="65"/>
                    </a:lnTo>
                    <a:lnTo>
                      <a:pt x="118" y="65"/>
                    </a:lnTo>
                    <a:lnTo>
                      <a:pt x="118" y="65"/>
                    </a:lnTo>
                    <a:lnTo>
                      <a:pt x="118" y="65"/>
                    </a:lnTo>
                    <a:lnTo>
                      <a:pt x="118" y="65"/>
                    </a:lnTo>
                    <a:lnTo>
                      <a:pt x="124" y="65"/>
                    </a:lnTo>
                    <a:lnTo>
                      <a:pt x="124" y="65"/>
                    </a:lnTo>
                    <a:lnTo>
                      <a:pt x="127" y="65"/>
                    </a:lnTo>
                    <a:lnTo>
                      <a:pt x="127" y="65"/>
                    </a:lnTo>
                    <a:lnTo>
                      <a:pt x="131" y="62"/>
                    </a:lnTo>
                    <a:lnTo>
                      <a:pt x="131" y="62"/>
                    </a:lnTo>
                    <a:lnTo>
                      <a:pt x="127" y="59"/>
                    </a:lnTo>
                    <a:lnTo>
                      <a:pt x="127" y="59"/>
                    </a:lnTo>
                    <a:lnTo>
                      <a:pt x="124" y="59"/>
                    </a:lnTo>
                    <a:lnTo>
                      <a:pt x="124" y="59"/>
                    </a:lnTo>
                    <a:lnTo>
                      <a:pt x="127" y="57"/>
                    </a:lnTo>
                    <a:lnTo>
                      <a:pt x="127" y="57"/>
                    </a:lnTo>
                    <a:lnTo>
                      <a:pt x="127" y="56"/>
                    </a:lnTo>
                    <a:lnTo>
                      <a:pt x="127" y="56"/>
                    </a:lnTo>
                    <a:lnTo>
                      <a:pt x="127" y="54"/>
                    </a:lnTo>
                    <a:lnTo>
                      <a:pt x="127" y="54"/>
                    </a:lnTo>
                    <a:lnTo>
                      <a:pt x="131" y="51"/>
                    </a:lnTo>
                    <a:lnTo>
                      <a:pt x="131" y="51"/>
                    </a:lnTo>
                    <a:lnTo>
                      <a:pt x="132" y="48"/>
                    </a:lnTo>
                    <a:lnTo>
                      <a:pt x="132" y="48"/>
                    </a:lnTo>
                    <a:lnTo>
                      <a:pt x="131" y="46"/>
                    </a:lnTo>
                    <a:lnTo>
                      <a:pt x="131" y="46"/>
                    </a:lnTo>
                    <a:lnTo>
                      <a:pt x="131" y="44"/>
                    </a:lnTo>
                    <a:lnTo>
                      <a:pt x="131" y="44"/>
                    </a:lnTo>
                    <a:lnTo>
                      <a:pt x="131" y="41"/>
                    </a:lnTo>
                    <a:lnTo>
                      <a:pt x="131" y="41"/>
                    </a:lnTo>
                    <a:lnTo>
                      <a:pt x="127" y="38"/>
                    </a:lnTo>
                    <a:lnTo>
                      <a:pt x="127" y="38"/>
                    </a:lnTo>
                    <a:lnTo>
                      <a:pt x="124" y="38"/>
                    </a:lnTo>
                    <a:lnTo>
                      <a:pt x="124" y="38"/>
                    </a:lnTo>
                    <a:lnTo>
                      <a:pt x="124" y="35"/>
                    </a:lnTo>
                    <a:lnTo>
                      <a:pt x="124" y="35"/>
                    </a:lnTo>
                    <a:lnTo>
                      <a:pt x="127" y="32"/>
                    </a:lnTo>
                    <a:lnTo>
                      <a:pt x="127" y="32"/>
                    </a:lnTo>
                    <a:lnTo>
                      <a:pt x="127" y="30"/>
                    </a:lnTo>
                    <a:lnTo>
                      <a:pt x="127" y="30"/>
                    </a:lnTo>
                    <a:lnTo>
                      <a:pt x="131" y="30"/>
                    </a:lnTo>
                    <a:lnTo>
                      <a:pt x="131" y="30"/>
                    </a:lnTo>
                    <a:lnTo>
                      <a:pt x="131" y="29"/>
                    </a:lnTo>
                    <a:lnTo>
                      <a:pt x="131" y="29"/>
                    </a:lnTo>
                    <a:lnTo>
                      <a:pt x="134" y="27"/>
                    </a:lnTo>
                    <a:lnTo>
                      <a:pt x="134" y="27"/>
                    </a:lnTo>
                    <a:lnTo>
                      <a:pt x="138" y="25"/>
                    </a:lnTo>
                    <a:lnTo>
                      <a:pt x="138" y="25"/>
                    </a:lnTo>
                    <a:lnTo>
                      <a:pt x="151" y="24"/>
                    </a:lnTo>
                    <a:lnTo>
                      <a:pt x="151" y="24"/>
                    </a:lnTo>
                    <a:lnTo>
                      <a:pt x="153" y="24"/>
                    </a:lnTo>
                    <a:lnTo>
                      <a:pt x="153" y="24"/>
                    </a:lnTo>
                    <a:lnTo>
                      <a:pt x="156" y="25"/>
                    </a:lnTo>
                    <a:lnTo>
                      <a:pt x="156" y="25"/>
                    </a:lnTo>
                    <a:lnTo>
                      <a:pt x="156" y="24"/>
                    </a:lnTo>
                    <a:lnTo>
                      <a:pt x="156" y="24"/>
                    </a:lnTo>
                    <a:lnTo>
                      <a:pt x="162" y="22"/>
                    </a:lnTo>
                    <a:lnTo>
                      <a:pt x="162" y="22"/>
                    </a:lnTo>
                    <a:lnTo>
                      <a:pt x="159" y="21"/>
                    </a:lnTo>
                    <a:lnTo>
                      <a:pt x="159" y="21"/>
                    </a:lnTo>
                    <a:lnTo>
                      <a:pt x="159" y="21"/>
                    </a:lnTo>
                    <a:lnTo>
                      <a:pt x="159" y="19"/>
                    </a:lnTo>
                    <a:lnTo>
                      <a:pt x="162" y="19"/>
                    </a:lnTo>
                    <a:lnTo>
                      <a:pt x="162" y="19"/>
                    </a:lnTo>
                    <a:lnTo>
                      <a:pt x="162" y="19"/>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45" name="Freeform 299">
                <a:extLst>
                  <a:ext uri="{FF2B5EF4-FFF2-40B4-BE49-F238E27FC236}">
                    <a16:creationId xmlns:a16="http://schemas.microsoft.com/office/drawing/2014/main" id="{340D69B3-0669-063C-5145-EB6F6AC26C93}"/>
                  </a:ext>
                </a:extLst>
              </p:cNvPr>
              <p:cNvSpPr>
                <a:spLocks/>
              </p:cNvSpPr>
              <p:nvPr/>
            </p:nvSpPr>
            <p:spPr bwMode="auto">
              <a:xfrm>
                <a:off x="7175577" y="2650107"/>
                <a:ext cx="388052" cy="244495"/>
              </a:xfrm>
              <a:custGeom>
                <a:avLst/>
                <a:gdLst>
                  <a:gd name="T0" fmla="*/ 167 w 173"/>
                  <a:gd name="T1" fmla="*/ 66 h 109"/>
                  <a:gd name="T2" fmla="*/ 159 w 173"/>
                  <a:gd name="T3" fmla="*/ 63 h 109"/>
                  <a:gd name="T4" fmla="*/ 139 w 173"/>
                  <a:gd name="T5" fmla="*/ 54 h 109"/>
                  <a:gd name="T6" fmla="*/ 121 w 173"/>
                  <a:gd name="T7" fmla="*/ 42 h 109"/>
                  <a:gd name="T8" fmla="*/ 107 w 173"/>
                  <a:gd name="T9" fmla="*/ 22 h 109"/>
                  <a:gd name="T10" fmla="*/ 99 w 173"/>
                  <a:gd name="T11" fmla="*/ 22 h 109"/>
                  <a:gd name="T12" fmla="*/ 86 w 173"/>
                  <a:gd name="T13" fmla="*/ 20 h 109"/>
                  <a:gd name="T14" fmla="*/ 83 w 173"/>
                  <a:gd name="T15" fmla="*/ 11 h 109"/>
                  <a:gd name="T16" fmla="*/ 78 w 173"/>
                  <a:gd name="T17" fmla="*/ 6 h 109"/>
                  <a:gd name="T18" fmla="*/ 70 w 173"/>
                  <a:gd name="T19" fmla="*/ 3 h 109"/>
                  <a:gd name="T20" fmla="*/ 62 w 173"/>
                  <a:gd name="T21" fmla="*/ 0 h 109"/>
                  <a:gd name="T22" fmla="*/ 58 w 173"/>
                  <a:gd name="T23" fmla="*/ 1 h 109"/>
                  <a:gd name="T24" fmla="*/ 54 w 173"/>
                  <a:gd name="T25" fmla="*/ 6 h 109"/>
                  <a:gd name="T26" fmla="*/ 51 w 173"/>
                  <a:gd name="T27" fmla="*/ 8 h 109"/>
                  <a:gd name="T28" fmla="*/ 51 w 173"/>
                  <a:gd name="T29" fmla="*/ 20 h 109"/>
                  <a:gd name="T30" fmla="*/ 42 w 173"/>
                  <a:gd name="T31" fmla="*/ 20 h 109"/>
                  <a:gd name="T32" fmla="*/ 32 w 173"/>
                  <a:gd name="T33" fmla="*/ 20 h 109"/>
                  <a:gd name="T34" fmla="*/ 27 w 173"/>
                  <a:gd name="T35" fmla="*/ 17 h 109"/>
                  <a:gd name="T36" fmla="*/ 12 w 173"/>
                  <a:gd name="T37" fmla="*/ 6 h 109"/>
                  <a:gd name="T38" fmla="*/ 13 w 173"/>
                  <a:gd name="T39" fmla="*/ 17 h 109"/>
                  <a:gd name="T40" fmla="*/ 23 w 173"/>
                  <a:gd name="T41" fmla="*/ 22 h 109"/>
                  <a:gd name="T42" fmla="*/ 19 w 173"/>
                  <a:gd name="T43" fmla="*/ 25 h 109"/>
                  <a:gd name="T44" fmla="*/ 19 w 173"/>
                  <a:gd name="T45" fmla="*/ 28 h 109"/>
                  <a:gd name="T46" fmla="*/ 10 w 173"/>
                  <a:gd name="T47" fmla="*/ 25 h 109"/>
                  <a:gd name="T48" fmla="*/ 8 w 173"/>
                  <a:gd name="T49" fmla="*/ 28 h 109"/>
                  <a:gd name="T50" fmla="*/ 4 w 173"/>
                  <a:gd name="T51" fmla="*/ 25 h 109"/>
                  <a:gd name="T52" fmla="*/ 0 w 173"/>
                  <a:gd name="T53" fmla="*/ 22 h 109"/>
                  <a:gd name="T54" fmla="*/ 2 w 173"/>
                  <a:gd name="T55" fmla="*/ 38 h 109"/>
                  <a:gd name="T56" fmla="*/ 4 w 173"/>
                  <a:gd name="T57" fmla="*/ 38 h 109"/>
                  <a:gd name="T58" fmla="*/ 12 w 173"/>
                  <a:gd name="T59" fmla="*/ 42 h 109"/>
                  <a:gd name="T60" fmla="*/ 13 w 173"/>
                  <a:gd name="T61" fmla="*/ 46 h 109"/>
                  <a:gd name="T62" fmla="*/ 8 w 173"/>
                  <a:gd name="T63" fmla="*/ 46 h 109"/>
                  <a:gd name="T64" fmla="*/ 12 w 173"/>
                  <a:gd name="T65" fmla="*/ 47 h 109"/>
                  <a:gd name="T66" fmla="*/ 16 w 173"/>
                  <a:gd name="T67" fmla="*/ 50 h 109"/>
                  <a:gd name="T68" fmla="*/ 19 w 173"/>
                  <a:gd name="T69" fmla="*/ 55 h 109"/>
                  <a:gd name="T70" fmla="*/ 21 w 173"/>
                  <a:gd name="T71" fmla="*/ 73 h 109"/>
                  <a:gd name="T72" fmla="*/ 31 w 173"/>
                  <a:gd name="T73" fmla="*/ 76 h 109"/>
                  <a:gd name="T74" fmla="*/ 32 w 173"/>
                  <a:gd name="T75" fmla="*/ 73 h 109"/>
                  <a:gd name="T76" fmla="*/ 39 w 173"/>
                  <a:gd name="T77" fmla="*/ 68 h 109"/>
                  <a:gd name="T78" fmla="*/ 48 w 173"/>
                  <a:gd name="T79" fmla="*/ 66 h 109"/>
                  <a:gd name="T80" fmla="*/ 51 w 173"/>
                  <a:gd name="T81" fmla="*/ 63 h 109"/>
                  <a:gd name="T82" fmla="*/ 66 w 173"/>
                  <a:gd name="T83" fmla="*/ 68 h 109"/>
                  <a:gd name="T84" fmla="*/ 77 w 173"/>
                  <a:gd name="T85" fmla="*/ 73 h 109"/>
                  <a:gd name="T86" fmla="*/ 89 w 173"/>
                  <a:gd name="T87" fmla="*/ 77 h 109"/>
                  <a:gd name="T88" fmla="*/ 96 w 173"/>
                  <a:gd name="T89" fmla="*/ 82 h 109"/>
                  <a:gd name="T90" fmla="*/ 102 w 173"/>
                  <a:gd name="T91" fmla="*/ 87 h 109"/>
                  <a:gd name="T92" fmla="*/ 107 w 173"/>
                  <a:gd name="T93" fmla="*/ 87 h 109"/>
                  <a:gd name="T94" fmla="*/ 113 w 173"/>
                  <a:gd name="T95" fmla="*/ 92 h 109"/>
                  <a:gd name="T96" fmla="*/ 113 w 173"/>
                  <a:gd name="T97" fmla="*/ 98 h 109"/>
                  <a:gd name="T98" fmla="*/ 115 w 173"/>
                  <a:gd name="T99" fmla="*/ 101 h 109"/>
                  <a:gd name="T100" fmla="*/ 121 w 173"/>
                  <a:gd name="T101" fmla="*/ 104 h 109"/>
                  <a:gd name="T102" fmla="*/ 129 w 173"/>
                  <a:gd name="T103" fmla="*/ 108 h 109"/>
                  <a:gd name="T104" fmla="*/ 134 w 173"/>
                  <a:gd name="T105" fmla="*/ 106 h 109"/>
                  <a:gd name="T106" fmla="*/ 139 w 173"/>
                  <a:gd name="T107" fmla="*/ 101 h 109"/>
                  <a:gd name="T108" fmla="*/ 142 w 173"/>
                  <a:gd name="T109" fmla="*/ 98 h 109"/>
                  <a:gd name="T110" fmla="*/ 151 w 173"/>
                  <a:gd name="T111" fmla="*/ 85 h 109"/>
                  <a:gd name="T112" fmla="*/ 153 w 173"/>
                  <a:gd name="T113" fmla="*/ 81 h 109"/>
                  <a:gd name="T114" fmla="*/ 159 w 173"/>
                  <a:gd name="T115" fmla="*/ 79 h 109"/>
                  <a:gd name="T116" fmla="*/ 162 w 173"/>
                  <a:gd name="T117" fmla="*/ 74 h 109"/>
                  <a:gd name="T118" fmla="*/ 169 w 173"/>
                  <a:gd name="T119" fmla="*/ 76 h 109"/>
                  <a:gd name="T120" fmla="*/ 170 w 173"/>
                  <a:gd name="T121" fmla="*/ 7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109">
                    <a:moveTo>
                      <a:pt x="170" y="71"/>
                    </a:moveTo>
                    <a:lnTo>
                      <a:pt x="170" y="71"/>
                    </a:lnTo>
                    <a:lnTo>
                      <a:pt x="170" y="68"/>
                    </a:lnTo>
                    <a:lnTo>
                      <a:pt x="170" y="68"/>
                    </a:lnTo>
                    <a:lnTo>
                      <a:pt x="170" y="66"/>
                    </a:lnTo>
                    <a:lnTo>
                      <a:pt x="170" y="66"/>
                    </a:lnTo>
                    <a:lnTo>
                      <a:pt x="167" y="66"/>
                    </a:lnTo>
                    <a:lnTo>
                      <a:pt x="167" y="66"/>
                    </a:lnTo>
                    <a:lnTo>
                      <a:pt x="164" y="63"/>
                    </a:lnTo>
                    <a:lnTo>
                      <a:pt x="164" y="63"/>
                    </a:lnTo>
                    <a:lnTo>
                      <a:pt x="162" y="63"/>
                    </a:lnTo>
                    <a:lnTo>
                      <a:pt x="162" y="63"/>
                    </a:lnTo>
                    <a:lnTo>
                      <a:pt x="159" y="63"/>
                    </a:lnTo>
                    <a:lnTo>
                      <a:pt x="159" y="63"/>
                    </a:lnTo>
                    <a:lnTo>
                      <a:pt x="156" y="63"/>
                    </a:lnTo>
                    <a:lnTo>
                      <a:pt x="156" y="63"/>
                    </a:lnTo>
                    <a:lnTo>
                      <a:pt x="151" y="60"/>
                    </a:lnTo>
                    <a:lnTo>
                      <a:pt x="151" y="60"/>
                    </a:lnTo>
                    <a:lnTo>
                      <a:pt x="145" y="57"/>
                    </a:lnTo>
                    <a:lnTo>
                      <a:pt x="145" y="57"/>
                    </a:lnTo>
                    <a:lnTo>
                      <a:pt x="139" y="54"/>
                    </a:lnTo>
                    <a:lnTo>
                      <a:pt x="139" y="54"/>
                    </a:lnTo>
                    <a:lnTo>
                      <a:pt x="135" y="50"/>
                    </a:lnTo>
                    <a:lnTo>
                      <a:pt x="135" y="50"/>
                    </a:lnTo>
                    <a:lnTo>
                      <a:pt x="127" y="46"/>
                    </a:lnTo>
                    <a:lnTo>
                      <a:pt x="127" y="46"/>
                    </a:lnTo>
                    <a:lnTo>
                      <a:pt x="121" y="42"/>
                    </a:lnTo>
                    <a:lnTo>
                      <a:pt x="121" y="42"/>
                    </a:lnTo>
                    <a:lnTo>
                      <a:pt x="118" y="39"/>
                    </a:lnTo>
                    <a:lnTo>
                      <a:pt x="118" y="39"/>
                    </a:lnTo>
                    <a:lnTo>
                      <a:pt x="115" y="38"/>
                    </a:lnTo>
                    <a:lnTo>
                      <a:pt x="115" y="38"/>
                    </a:lnTo>
                    <a:lnTo>
                      <a:pt x="110" y="28"/>
                    </a:lnTo>
                    <a:lnTo>
                      <a:pt x="110" y="28"/>
                    </a:lnTo>
                    <a:lnTo>
                      <a:pt x="107" y="22"/>
                    </a:lnTo>
                    <a:lnTo>
                      <a:pt x="107" y="22"/>
                    </a:lnTo>
                    <a:lnTo>
                      <a:pt x="104" y="22"/>
                    </a:lnTo>
                    <a:lnTo>
                      <a:pt x="104" y="22"/>
                    </a:lnTo>
                    <a:lnTo>
                      <a:pt x="100" y="20"/>
                    </a:lnTo>
                    <a:lnTo>
                      <a:pt x="100" y="20"/>
                    </a:lnTo>
                    <a:lnTo>
                      <a:pt x="99" y="22"/>
                    </a:lnTo>
                    <a:lnTo>
                      <a:pt x="99" y="22"/>
                    </a:lnTo>
                    <a:lnTo>
                      <a:pt x="97" y="22"/>
                    </a:lnTo>
                    <a:lnTo>
                      <a:pt x="97" y="22"/>
                    </a:lnTo>
                    <a:lnTo>
                      <a:pt x="92" y="22"/>
                    </a:lnTo>
                    <a:lnTo>
                      <a:pt x="92" y="22"/>
                    </a:lnTo>
                    <a:lnTo>
                      <a:pt x="86" y="20"/>
                    </a:lnTo>
                    <a:lnTo>
                      <a:pt x="86" y="20"/>
                    </a:lnTo>
                    <a:lnTo>
                      <a:pt x="86" y="20"/>
                    </a:lnTo>
                    <a:lnTo>
                      <a:pt x="86" y="20"/>
                    </a:lnTo>
                    <a:lnTo>
                      <a:pt x="83" y="17"/>
                    </a:lnTo>
                    <a:lnTo>
                      <a:pt x="83" y="17"/>
                    </a:lnTo>
                    <a:lnTo>
                      <a:pt x="83" y="14"/>
                    </a:lnTo>
                    <a:lnTo>
                      <a:pt x="83" y="14"/>
                    </a:lnTo>
                    <a:lnTo>
                      <a:pt x="83" y="11"/>
                    </a:lnTo>
                    <a:lnTo>
                      <a:pt x="83" y="11"/>
                    </a:lnTo>
                    <a:lnTo>
                      <a:pt x="80" y="11"/>
                    </a:lnTo>
                    <a:lnTo>
                      <a:pt x="80" y="11"/>
                    </a:lnTo>
                    <a:lnTo>
                      <a:pt x="80" y="9"/>
                    </a:lnTo>
                    <a:lnTo>
                      <a:pt x="80" y="9"/>
                    </a:lnTo>
                    <a:lnTo>
                      <a:pt x="80" y="6"/>
                    </a:lnTo>
                    <a:lnTo>
                      <a:pt x="80" y="6"/>
                    </a:lnTo>
                    <a:lnTo>
                      <a:pt x="78" y="6"/>
                    </a:lnTo>
                    <a:lnTo>
                      <a:pt x="78" y="6"/>
                    </a:lnTo>
                    <a:lnTo>
                      <a:pt x="73" y="6"/>
                    </a:lnTo>
                    <a:lnTo>
                      <a:pt x="73" y="6"/>
                    </a:lnTo>
                    <a:lnTo>
                      <a:pt x="72" y="4"/>
                    </a:lnTo>
                    <a:lnTo>
                      <a:pt x="72" y="4"/>
                    </a:lnTo>
                    <a:lnTo>
                      <a:pt x="70" y="3"/>
                    </a:lnTo>
                    <a:lnTo>
                      <a:pt x="70" y="3"/>
                    </a:lnTo>
                    <a:lnTo>
                      <a:pt x="67" y="1"/>
                    </a:lnTo>
                    <a:lnTo>
                      <a:pt x="67" y="1"/>
                    </a:lnTo>
                    <a:lnTo>
                      <a:pt x="66" y="1"/>
                    </a:lnTo>
                    <a:lnTo>
                      <a:pt x="66" y="1"/>
                    </a:lnTo>
                    <a:lnTo>
                      <a:pt x="64" y="0"/>
                    </a:lnTo>
                    <a:lnTo>
                      <a:pt x="64" y="0"/>
                    </a:lnTo>
                    <a:lnTo>
                      <a:pt x="62" y="0"/>
                    </a:lnTo>
                    <a:lnTo>
                      <a:pt x="62" y="0"/>
                    </a:lnTo>
                    <a:lnTo>
                      <a:pt x="61" y="0"/>
                    </a:lnTo>
                    <a:lnTo>
                      <a:pt x="61" y="0"/>
                    </a:lnTo>
                    <a:lnTo>
                      <a:pt x="59" y="1"/>
                    </a:lnTo>
                    <a:lnTo>
                      <a:pt x="59" y="1"/>
                    </a:lnTo>
                    <a:lnTo>
                      <a:pt x="58" y="1"/>
                    </a:lnTo>
                    <a:lnTo>
                      <a:pt x="58" y="1"/>
                    </a:lnTo>
                    <a:lnTo>
                      <a:pt x="59" y="3"/>
                    </a:lnTo>
                    <a:lnTo>
                      <a:pt x="59" y="3"/>
                    </a:lnTo>
                    <a:lnTo>
                      <a:pt x="58" y="3"/>
                    </a:lnTo>
                    <a:lnTo>
                      <a:pt x="58" y="3"/>
                    </a:lnTo>
                    <a:lnTo>
                      <a:pt x="58" y="4"/>
                    </a:lnTo>
                    <a:lnTo>
                      <a:pt x="58" y="4"/>
                    </a:lnTo>
                    <a:lnTo>
                      <a:pt x="54" y="6"/>
                    </a:lnTo>
                    <a:lnTo>
                      <a:pt x="54" y="6"/>
                    </a:lnTo>
                    <a:lnTo>
                      <a:pt x="54" y="8"/>
                    </a:lnTo>
                    <a:lnTo>
                      <a:pt x="54" y="8"/>
                    </a:lnTo>
                    <a:lnTo>
                      <a:pt x="51" y="8"/>
                    </a:lnTo>
                    <a:lnTo>
                      <a:pt x="51" y="8"/>
                    </a:lnTo>
                    <a:lnTo>
                      <a:pt x="51" y="8"/>
                    </a:lnTo>
                    <a:lnTo>
                      <a:pt x="51" y="8"/>
                    </a:lnTo>
                    <a:lnTo>
                      <a:pt x="48" y="12"/>
                    </a:lnTo>
                    <a:lnTo>
                      <a:pt x="48" y="12"/>
                    </a:lnTo>
                    <a:lnTo>
                      <a:pt x="48" y="14"/>
                    </a:lnTo>
                    <a:lnTo>
                      <a:pt x="48" y="14"/>
                    </a:lnTo>
                    <a:lnTo>
                      <a:pt x="48" y="19"/>
                    </a:lnTo>
                    <a:lnTo>
                      <a:pt x="48" y="19"/>
                    </a:lnTo>
                    <a:lnTo>
                      <a:pt x="51" y="20"/>
                    </a:lnTo>
                    <a:lnTo>
                      <a:pt x="51" y="20"/>
                    </a:lnTo>
                    <a:lnTo>
                      <a:pt x="48" y="20"/>
                    </a:lnTo>
                    <a:lnTo>
                      <a:pt x="48" y="20"/>
                    </a:lnTo>
                    <a:lnTo>
                      <a:pt x="45" y="20"/>
                    </a:lnTo>
                    <a:lnTo>
                      <a:pt x="45" y="20"/>
                    </a:lnTo>
                    <a:lnTo>
                      <a:pt x="42" y="20"/>
                    </a:lnTo>
                    <a:lnTo>
                      <a:pt x="42" y="20"/>
                    </a:lnTo>
                    <a:lnTo>
                      <a:pt x="39" y="20"/>
                    </a:lnTo>
                    <a:lnTo>
                      <a:pt x="39" y="20"/>
                    </a:lnTo>
                    <a:lnTo>
                      <a:pt x="37" y="20"/>
                    </a:lnTo>
                    <a:lnTo>
                      <a:pt x="37" y="20"/>
                    </a:lnTo>
                    <a:lnTo>
                      <a:pt x="34" y="20"/>
                    </a:lnTo>
                    <a:lnTo>
                      <a:pt x="34" y="20"/>
                    </a:lnTo>
                    <a:lnTo>
                      <a:pt x="32" y="20"/>
                    </a:lnTo>
                    <a:lnTo>
                      <a:pt x="32" y="20"/>
                    </a:lnTo>
                    <a:lnTo>
                      <a:pt x="29" y="19"/>
                    </a:lnTo>
                    <a:lnTo>
                      <a:pt x="29" y="19"/>
                    </a:lnTo>
                    <a:lnTo>
                      <a:pt x="29" y="17"/>
                    </a:lnTo>
                    <a:lnTo>
                      <a:pt x="29" y="17"/>
                    </a:lnTo>
                    <a:lnTo>
                      <a:pt x="29" y="17"/>
                    </a:lnTo>
                    <a:lnTo>
                      <a:pt x="27" y="17"/>
                    </a:lnTo>
                    <a:lnTo>
                      <a:pt x="27" y="17"/>
                    </a:lnTo>
                    <a:lnTo>
                      <a:pt x="23" y="12"/>
                    </a:lnTo>
                    <a:lnTo>
                      <a:pt x="23" y="12"/>
                    </a:lnTo>
                    <a:lnTo>
                      <a:pt x="16" y="8"/>
                    </a:lnTo>
                    <a:lnTo>
                      <a:pt x="16" y="8"/>
                    </a:lnTo>
                    <a:lnTo>
                      <a:pt x="12" y="6"/>
                    </a:lnTo>
                    <a:lnTo>
                      <a:pt x="12" y="6"/>
                    </a:lnTo>
                    <a:lnTo>
                      <a:pt x="8" y="6"/>
                    </a:lnTo>
                    <a:lnTo>
                      <a:pt x="8" y="6"/>
                    </a:lnTo>
                    <a:lnTo>
                      <a:pt x="12" y="11"/>
                    </a:lnTo>
                    <a:lnTo>
                      <a:pt x="12" y="11"/>
                    </a:lnTo>
                    <a:lnTo>
                      <a:pt x="13" y="15"/>
                    </a:lnTo>
                    <a:lnTo>
                      <a:pt x="13" y="15"/>
                    </a:lnTo>
                    <a:lnTo>
                      <a:pt x="13" y="17"/>
                    </a:lnTo>
                    <a:lnTo>
                      <a:pt x="13" y="17"/>
                    </a:lnTo>
                    <a:lnTo>
                      <a:pt x="16" y="19"/>
                    </a:lnTo>
                    <a:lnTo>
                      <a:pt x="16" y="19"/>
                    </a:lnTo>
                    <a:lnTo>
                      <a:pt x="19" y="20"/>
                    </a:lnTo>
                    <a:lnTo>
                      <a:pt x="19" y="20"/>
                    </a:lnTo>
                    <a:lnTo>
                      <a:pt x="23" y="22"/>
                    </a:lnTo>
                    <a:lnTo>
                      <a:pt x="23" y="22"/>
                    </a:lnTo>
                    <a:lnTo>
                      <a:pt x="23" y="25"/>
                    </a:lnTo>
                    <a:lnTo>
                      <a:pt x="23" y="25"/>
                    </a:lnTo>
                    <a:lnTo>
                      <a:pt x="19" y="25"/>
                    </a:lnTo>
                    <a:lnTo>
                      <a:pt x="19" y="25"/>
                    </a:lnTo>
                    <a:lnTo>
                      <a:pt x="19" y="25"/>
                    </a:lnTo>
                    <a:lnTo>
                      <a:pt x="19" y="25"/>
                    </a:lnTo>
                    <a:lnTo>
                      <a:pt x="19" y="25"/>
                    </a:lnTo>
                    <a:lnTo>
                      <a:pt x="19" y="25"/>
                    </a:lnTo>
                    <a:lnTo>
                      <a:pt x="16" y="25"/>
                    </a:lnTo>
                    <a:lnTo>
                      <a:pt x="16" y="25"/>
                    </a:lnTo>
                    <a:lnTo>
                      <a:pt x="16" y="25"/>
                    </a:lnTo>
                    <a:lnTo>
                      <a:pt x="16" y="25"/>
                    </a:lnTo>
                    <a:lnTo>
                      <a:pt x="19" y="28"/>
                    </a:lnTo>
                    <a:lnTo>
                      <a:pt x="19" y="28"/>
                    </a:lnTo>
                    <a:lnTo>
                      <a:pt x="16" y="28"/>
                    </a:lnTo>
                    <a:lnTo>
                      <a:pt x="16" y="28"/>
                    </a:lnTo>
                    <a:lnTo>
                      <a:pt x="13" y="28"/>
                    </a:lnTo>
                    <a:lnTo>
                      <a:pt x="13" y="28"/>
                    </a:lnTo>
                    <a:lnTo>
                      <a:pt x="12" y="28"/>
                    </a:lnTo>
                    <a:lnTo>
                      <a:pt x="12" y="28"/>
                    </a:lnTo>
                    <a:lnTo>
                      <a:pt x="10" y="25"/>
                    </a:lnTo>
                    <a:lnTo>
                      <a:pt x="10" y="25"/>
                    </a:lnTo>
                    <a:lnTo>
                      <a:pt x="10" y="25"/>
                    </a:lnTo>
                    <a:lnTo>
                      <a:pt x="10" y="25"/>
                    </a:lnTo>
                    <a:lnTo>
                      <a:pt x="8" y="25"/>
                    </a:lnTo>
                    <a:lnTo>
                      <a:pt x="8" y="25"/>
                    </a:lnTo>
                    <a:lnTo>
                      <a:pt x="8" y="28"/>
                    </a:lnTo>
                    <a:lnTo>
                      <a:pt x="8" y="28"/>
                    </a:lnTo>
                    <a:lnTo>
                      <a:pt x="7" y="25"/>
                    </a:lnTo>
                    <a:lnTo>
                      <a:pt x="7" y="25"/>
                    </a:lnTo>
                    <a:lnTo>
                      <a:pt x="5" y="25"/>
                    </a:lnTo>
                    <a:lnTo>
                      <a:pt x="5" y="25"/>
                    </a:lnTo>
                    <a:lnTo>
                      <a:pt x="4" y="25"/>
                    </a:lnTo>
                    <a:lnTo>
                      <a:pt x="4" y="25"/>
                    </a:lnTo>
                    <a:lnTo>
                      <a:pt x="4" y="25"/>
                    </a:lnTo>
                    <a:lnTo>
                      <a:pt x="4" y="25"/>
                    </a:lnTo>
                    <a:lnTo>
                      <a:pt x="2" y="22"/>
                    </a:lnTo>
                    <a:lnTo>
                      <a:pt x="2" y="22"/>
                    </a:lnTo>
                    <a:lnTo>
                      <a:pt x="0" y="22"/>
                    </a:lnTo>
                    <a:lnTo>
                      <a:pt x="0" y="22"/>
                    </a:lnTo>
                    <a:lnTo>
                      <a:pt x="0" y="22"/>
                    </a:lnTo>
                    <a:lnTo>
                      <a:pt x="0" y="22"/>
                    </a:lnTo>
                    <a:lnTo>
                      <a:pt x="2" y="25"/>
                    </a:lnTo>
                    <a:lnTo>
                      <a:pt x="2" y="25"/>
                    </a:lnTo>
                    <a:lnTo>
                      <a:pt x="2" y="28"/>
                    </a:lnTo>
                    <a:lnTo>
                      <a:pt x="2" y="28"/>
                    </a:lnTo>
                    <a:lnTo>
                      <a:pt x="0" y="35"/>
                    </a:lnTo>
                    <a:lnTo>
                      <a:pt x="0" y="35"/>
                    </a:lnTo>
                    <a:lnTo>
                      <a:pt x="2" y="38"/>
                    </a:lnTo>
                    <a:lnTo>
                      <a:pt x="2" y="38"/>
                    </a:lnTo>
                    <a:lnTo>
                      <a:pt x="4" y="39"/>
                    </a:lnTo>
                    <a:lnTo>
                      <a:pt x="4" y="39"/>
                    </a:lnTo>
                    <a:lnTo>
                      <a:pt x="5" y="39"/>
                    </a:lnTo>
                    <a:lnTo>
                      <a:pt x="5" y="39"/>
                    </a:lnTo>
                    <a:lnTo>
                      <a:pt x="4" y="38"/>
                    </a:lnTo>
                    <a:lnTo>
                      <a:pt x="4" y="38"/>
                    </a:lnTo>
                    <a:lnTo>
                      <a:pt x="8" y="38"/>
                    </a:lnTo>
                    <a:lnTo>
                      <a:pt x="8" y="38"/>
                    </a:lnTo>
                    <a:lnTo>
                      <a:pt x="12" y="39"/>
                    </a:lnTo>
                    <a:lnTo>
                      <a:pt x="12" y="39"/>
                    </a:lnTo>
                    <a:lnTo>
                      <a:pt x="12" y="41"/>
                    </a:lnTo>
                    <a:lnTo>
                      <a:pt x="12" y="41"/>
                    </a:lnTo>
                    <a:lnTo>
                      <a:pt x="12" y="42"/>
                    </a:lnTo>
                    <a:lnTo>
                      <a:pt x="12" y="42"/>
                    </a:lnTo>
                    <a:lnTo>
                      <a:pt x="12" y="44"/>
                    </a:lnTo>
                    <a:lnTo>
                      <a:pt x="12" y="44"/>
                    </a:lnTo>
                    <a:lnTo>
                      <a:pt x="13" y="44"/>
                    </a:lnTo>
                    <a:lnTo>
                      <a:pt x="13" y="44"/>
                    </a:lnTo>
                    <a:lnTo>
                      <a:pt x="13" y="46"/>
                    </a:lnTo>
                    <a:lnTo>
                      <a:pt x="13" y="46"/>
                    </a:lnTo>
                    <a:lnTo>
                      <a:pt x="12" y="46"/>
                    </a:lnTo>
                    <a:lnTo>
                      <a:pt x="12" y="46"/>
                    </a:lnTo>
                    <a:lnTo>
                      <a:pt x="10" y="44"/>
                    </a:lnTo>
                    <a:lnTo>
                      <a:pt x="10" y="44"/>
                    </a:lnTo>
                    <a:lnTo>
                      <a:pt x="10" y="42"/>
                    </a:lnTo>
                    <a:lnTo>
                      <a:pt x="10" y="42"/>
                    </a:lnTo>
                    <a:lnTo>
                      <a:pt x="8" y="46"/>
                    </a:lnTo>
                    <a:lnTo>
                      <a:pt x="8" y="46"/>
                    </a:lnTo>
                    <a:lnTo>
                      <a:pt x="10" y="49"/>
                    </a:lnTo>
                    <a:lnTo>
                      <a:pt x="10" y="49"/>
                    </a:lnTo>
                    <a:lnTo>
                      <a:pt x="10" y="47"/>
                    </a:lnTo>
                    <a:lnTo>
                      <a:pt x="10" y="47"/>
                    </a:lnTo>
                    <a:lnTo>
                      <a:pt x="12" y="47"/>
                    </a:lnTo>
                    <a:lnTo>
                      <a:pt x="12" y="47"/>
                    </a:lnTo>
                    <a:lnTo>
                      <a:pt x="13" y="49"/>
                    </a:lnTo>
                    <a:lnTo>
                      <a:pt x="13" y="49"/>
                    </a:lnTo>
                    <a:lnTo>
                      <a:pt x="13" y="52"/>
                    </a:lnTo>
                    <a:lnTo>
                      <a:pt x="13" y="52"/>
                    </a:lnTo>
                    <a:lnTo>
                      <a:pt x="16" y="52"/>
                    </a:lnTo>
                    <a:lnTo>
                      <a:pt x="16" y="52"/>
                    </a:lnTo>
                    <a:lnTo>
                      <a:pt x="16" y="50"/>
                    </a:lnTo>
                    <a:lnTo>
                      <a:pt x="16" y="50"/>
                    </a:lnTo>
                    <a:lnTo>
                      <a:pt x="16" y="54"/>
                    </a:lnTo>
                    <a:lnTo>
                      <a:pt x="16" y="54"/>
                    </a:lnTo>
                    <a:lnTo>
                      <a:pt x="19" y="54"/>
                    </a:lnTo>
                    <a:lnTo>
                      <a:pt x="19" y="54"/>
                    </a:lnTo>
                    <a:lnTo>
                      <a:pt x="19" y="55"/>
                    </a:lnTo>
                    <a:lnTo>
                      <a:pt x="19" y="55"/>
                    </a:lnTo>
                    <a:lnTo>
                      <a:pt x="19" y="57"/>
                    </a:lnTo>
                    <a:lnTo>
                      <a:pt x="19" y="57"/>
                    </a:lnTo>
                    <a:lnTo>
                      <a:pt x="19" y="60"/>
                    </a:lnTo>
                    <a:lnTo>
                      <a:pt x="19" y="60"/>
                    </a:lnTo>
                    <a:lnTo>
                      <a:pt x="19" y="71"/>
                    </a:lnTo>
                    <a:lnTo>
                      <a:pt x="19" y="71"/>
                    </a:lnTo>
                    <a:lnTo>
                      <a:pt x="21" y="73"/>
                    </a:lnTo>
                    <a:lnTo>
                      <a:pt x="21" y="73"/>
                    </a:lnTo>
                    <a:lnTo>
                      <a:pt x="23" y="76"/>
                    </a:lnTo>
                    <a:lnTo>
                      <a:pt x="23" y="76"/>
                    </a:lnTo>
                    <a:lnTo>
                      <a:pt x="26" y="77"/>
                    </a:lnTo>
                    <a:lnTo>
                      <a:pt x="26" y="77"/>
                    </a:lnTo>
                    <a:lnTo>
                      <a:pt x="31" y="76"/>
                    </a:lnTo>
                    <a:lnTo>
                      <a:pt x="31" y="76"/>
                    </a:lnTo>
                    <a:lnTo>
                      <a:pt x="31" y="76"/>
                    </a:lnTo>
                    <a:lnTo>
                      <a:pt x="31" y="76"/>
                    </a:lnTo>
                    <a:lnTo>
                      <a:pt x="31" y="74"/>
                    </a:lnTo>
                    <a:lnTo>
                      <a:pt x="31" y="74"/>
                    </a:lnTo>
                    <a:lnTo>
                      <a:pt x="32" y="74"/>
                    </a:lnTo>
                    <a:lnTo>
                      <a:pt x="32" y="74"/>
                    </a:lnTo>
                    <a:lnTo>
                      <a:pt x="32" y="73"/>
                    </a:lnTo>
                    <a:lnTo>
                      <a:pt x="32" y="73"/>
                    </a:lnTo>
                    <a:lnTo>
                      <a:pt x="32" y="71"/>
                    </a:lnTo>
                    <a:lnTo>
                      <a:pt x="32" y="71"/>
                    </a:lnTo>
                    <a:lnTo>
                      <a:pt x="35" y="68"/>
                    </a:lnTo>
                    <a:lnTo>
                      <a:pt x="35" y="68"/>
                    </a:lnTo>
                    <a:lnTo>
                      <a:pt x="39" y="68"/>
                    </a:lnTo>
                    <a:lnTo>
                      <a:pt x="39" y="68"/>
                    </a:lnTo>
                    <a:lnTo>
                      <a:pt x="40" y="66"/>
                    </a:lnTo>
                    <a:lnTo>
                      <a:pt x="40" y="66"/>
                    </a:lnTo>
                    <a:lnTo>
                      <a:pt x="42" y="66"/>
                    </a:lnTo>
                    <a:lnTo>
                      <a:pt x="42" y="66"/>
                    </a:lnTo>
                    <a:lnTo>
                      <a:pt x="45" y="66"/>
                    </a:lnTo>
                    <a:lnTo>
                      <a:pt x="45" y="66"/>
                    </a:lnTo>
                    <a:lnTo>
                      <a:pt x="48" y="66"/>
                    </a:lnTo>
                    <a:lnTo>
                      <a:pt x="48" y="66"/>
                    </a:lnTo>
                    <a:lnTo>
                      <a:pt x="48" y="66"/>
                    </a:lnTo>
                    <a:lnTo>
                      <a:pt x="48" y="66"/>
                    </a:lnTo>
                    <a:lnTo>
                      <a:pt x="51" y="63"/>
                    </a:lnTo>
                    <a:lnTo>
                      <a:pt x="51" y="63"/>
                    </a:lnTo>
                    <a:lnTo>
                      <a:pt x="51" y="63"/>
                    </a:lnTo>
                    <a:lnTo>
                      <a:pt x="51" y="63"/>
                    </a:lnTo>
                    <a:lnTo>
                      <a:pt x="58" y="63"/>
                    </a:lnTo>
                    <a:lnTo>
                      <a:pt x="58" y="63"/>
                    </a:lnTo>
                    <a:lnTo>
                      <a:pt x="61" y="63"/>
                    </a:lnTo>
                    <a:lnTo>
                      <a:pt x="61" y="63"/>
                    </a:lnTo>
                    <a:lnTo>
                      <a:pt x="62" y="66"/>
                    </a:lnTo>
                    <a:lnTo>
                      <a:pt x="62" y="66"/>
                    </a:lnTo>
                    <a:lnTo>
                      <a:pt x="66" y="68"/>
                    </a:lnTo>
                    <a:lnTo>
                      <a:pt x="66" y="68"/>
                    </a:lnTo>
                    <a:lnTo>
                      <a:pt x="69" y="69"/>
                    </a:lnTo>
                    <a:lnTo>
                      <a:pt x="69" y="69"/>
                    </a:lnTo>
                    <a:lnTo>
                      <a:pt x="72" y="71"/>
                    </a:lnTo>
                    <a:lnTo>
                      <a:pt x="72" y="71"/>
                    </a:lnTo>
                    <a:lnTo>
                      <a:pt x="77" y="73"/>
                    </a:lnTo>
                    <a:lnTo>
                      <a:pt x="77" y="73"/>
                    </a:lnTo>
                    <a:lnTo>
                      <a:pt x="80" y="73"/>
                    </a:lnTo>
                    <a:lnTo>
                      <a:pt x="80" y="73"/>
                    </a:lnTo>
                    <a:lnTo>
                      <a:pt x="83" y="73"/>
                    </a:lnTo>
                    <a:lnTo>
                      <a:pt x="83" y="73"/>
                    </a:lnTo>
                    <a:lnTo>
                      <a:pt x="86" y="74"/>
                    </a:lnTo>
                    <a:lnTo>
                      <a:pt x="86" y="74"/>
                    </a:lnTo>
                    <a:lnTo>
                      <a:pt x="89" y="77"/>
                    </a:lnTo>
                    <a:lnTo>
                      <a:pt x="89" y="77"/>
                    </a:lnTo>
                    <a:lnTo>
                      <a:pt x="89" y="79"/>
                    </a:lnTo>
                    <a:lnTo>
                      <a:pt x="89" y="79"/>
                    </a:lnTo>
                    <a:lnTo>
                      <a:pt x="92" y="81"/>
                    </a:lnTo>
                    <a:lnTo>
                      <a:pt x="92" y="81"/>
                    </a:lnTo>
                    <a:lnTo>
                      <a:pt x="96" y="82"/>
                    </a:lnTo>
                    <a:lnTo>
                      <a:pt x="96" y="82"/>
                    </a:lnTo>
                    <a:lnTo>
                      <a:pt x="99" y="84"/>
                    </a:lnTo>
                    <a:lnTo>
                      <a:pt x="99" y="84"/>
                    </a:lnTo>
                    <a:lnTo>
                      <a:pt x="100" y="85"/>
                    </a:lnTo>
                    <a:lnTo>
                      <a:pt x="100" y="85"/>
                    </a:lnTo>
                    <a:lnTo>
                      <a:pt x="100" y="87"/>
                    </a:lnTo>
                    <a:lnTo>
                      <a:pt x="100" y="87"/>
                    </a:lnTo>
                    <a:lnTo>
                      <a:pt x="102" y="87"/>
                    </a:lnTo>
                    <a:lnTo>
                      <a:pt x="102" y="87"/>
                    </a:lnTo>
                    <a:lnTo>
                      <a:pt x="104" y="87"/>
                    </a:lnTo>
                    <a:lnTo>
                      <a:pt x="104" y="87"/>
                    </a:lnTo>
                    <a:lnTo>
                      <a:pt x="107" y="87"/>
                    </a:lnTo>
                    <a:lnTo>
                      <a:pt x="107" y="87"/>
                    </a:lnTo>
                    <a:lnTo>
                      <a:pt x="107" y="87"/>
                    </a:lnTo>
                    <a:lnTo>
                      <a:pt x="107" y="87"/>
                    </a:lnTo>
                    <a:lnTo>
                      <a:pt x="110" y="87"/>
                    </a:lnTo>
                    <a:lnTo>
                      <a:pt x="110" y="87"/>
                    </a:lnTo>
                    <a:lnTo>
                      <a:pt x="110" y="87"/>
                    </a:lnTo>
                    <a:lnTo>
                      <a:pt x="110" y="87"/>
                    </a:lnTo>
                    <a:lnTo>
                      <a:pt x="113" y="92"/>
                    </a:lnTo>
                    <a:lnTo>
                      <a:pt x="113" y="92"/>
                    </a:lnTo>
                    <a:lnTo>
                      <a:pt x="113" y="92"/>
                    </a:lnTo>
                    <a:lnTo>
                      <a:pt x="113" y="92"/>
                    </a:lnTo>
                    <a:lnTo>
                      <a:pt x="113" y="95"/>
                    </a:lnTo>
                    <a:lnTo>
                      <a:pt x="113" y="95"/>
                    </a:lnTo>
                    <a:lnTo>
                      <a:pt x="113" y="95"/>
                    </a:lnTo>
                    <a:lnTo>
                      <a:pt x="113" y="95"/>
                    </a:lnTo>
                    <a:lnTo>
                      <a:pt x="113" y="98"/>
                    </a:lnTo>
                    <a:lnTo>
                      <a:pt x="113" y="98"/>
                    </a:lnTo>
                    <a:lnTo>
                      <a:pt x="113" y="101"/>
                    </a:lnTo>
                    <a:lnTo>
                      <a:pt x="113" y="101"/>
                    </a:lnTo>
                    <a:lnTo>
                      <a:pt x="113" y="101"/>
                    </a:lnTo>
                    <a:lnTo>
                      <a:pt x="113" y="101"/>
                    </a:lnTo>
                    <a:lnTo>
                      <a:pt x="115" y="101"/>
                    </a:lnTo>
                    <a:lnTo>
                      <a:pt x="115" y="101"/>
                    </a:lnTo>
                    <a:lnTo>
                      <a:pt x="115" y="101"/>
                    </a:lnTo>
                    <a:lnTo>
                      <a:pt x="115" y="101"/>
                    </a:lnTo>
                    <a:lnTo>
                      <a:pt x="116" y="101"/>
                    </a:lnTo>
                    <a:lnTo>
                      <a:pt x="116" y="101"/>
                    </a:lnTo>
                    <a:lnTo>
                      <a:pt x="119" y="104"/>
                    </a:lnTo>
                    <a:lnTo>
                      <a:pt x="119" y="104"/>
                    </a:lnTo>
                    <a:lnTo>
                      <a:pt x="121" y="104"/>
                    </a:lnTo>
                    <a:lnTo>
                      <a:pt x="121" y="104"/>
                    </a:lnTo>
                    <a:lnTo>
                      <a:pt x="124" y="104"/>
                    </a:lnTo>
                    <a:lnTo>
                      <a:pt x="124" y="104"/>
                    </a:lnTo>
                    <a:lnTo>
                      <a:pt x="126" y="106"/>
                    </a:lnTo>
                    <a:lnTo>
                      <a:pt x="126" y="106"/>
                    </a:lnTo>
                    <a:lnTo>
                      <a:pt x="127" y="109"/>
                    </a:lnTo>
                    <a:lnTo>
                      <a:pt x="127" y="109"/>
                    </a:lnTo>
                    <a:lnTo>
                      <a:pt x="129" y="108"/>
                    </a:lnTo>
                    <a:lnTo>
                      <a:pt x="129" y="108"/>
                    </a:lnTo>
                    <a:lnTo>
                      <a:pt x="131" y="106"/>
                    </a:lnTo>
                    <a:lnTo>
                      <a:pt x="131" y="106"/>
                    </a:lnTo>
                    <a:lnTo>
                      <a:pt x="132" y="106"/>
                    </a:lnTo>
                    <a:lnTo>
                      <a:pt x="132" y="106"/>
                    </a:lnTo>
                    <a:lnTo>
                      <a:pt x="134" y="106"/>
                    </a:lnTo>
                    <a:lnTo>
                      <a:pt x="134" y="106"/>
                    </a:lnTo>
                    <a:lnTo>
                      <a:pt x="135" y="104"/>
                    </a:lnTo>
                    <a:lnTo>
                      <a:pt x="135" y="104"/>
                    </a:lnTo>
                    <a:lnTo>
                      <a:pt x="135" y="103"/>
                    </a:lnTo>
                    <a:lnTo>
                      <a:pt x="135" y="103"/>
                    </a:lnTo>
                    <a:lnTo>
                      <a:pt x="135" y="101"/>
                    </a:lnTo>
                    <a:lnTo>
                      <a:pt x="135" y="101"/>
                    </a:lnTo>
                    <a:lnTo>
                      <a:pt x="139" y="101"/>
                    </a:lnTo>
                    <a:lnTo>
                      <a:pt x="139" y="101"/>
                    </a:lnTo>
                    <a:lnTo>
                      <a:pt x="135" y="98"/>
                    </a:lnTo>
                    <a:lnTo>
                      <a:pt x="135" y="98"/>
                    </a:lnTo>
                    <a:lnTo>
                      <a:pt x="139" y="98"/>
                    </a:lnTo>
                    <a:lnTo>
                      <a:pt x="139" y="98"/>
                    </a:lnTo>
                    <a:lnTo>
                      <a:pt x="142" y="98"/>
                    </a:lnTo>
                    <a:lnTo>
                      <a:pt x="142" y="98"/>
                    </a:lnTo>
                    <a:lnTo>
                      <a:pt x="145" y="95"/>
                    </a:lnTo>
                    <a:lnTo>
                      <a:pt x="145" y="95"/>
                    </a:lnTo>
                    <a:lnTo>
                      <a:pt x="150" y="92"/>
                    </a:lnTo>
                    <a:lnTo>
                      <a:pt x="150" y="92"/>
                    </a:lnTo>
                    <a:lnTo>
                      <a:pt x="151" y="90"/>
                    </a:lnTo>
                    <a:lnTo>
                      <a:pt x="151" y="90"/>
                    </a:lnTo>
                    <a:lnTo>
                      <a:pt x="151" y="85"/>
                    </a:lnTo>
                    <a:lnTo>
                      <a:pt x="151" y="85"/>
                    </a:lnTo>
                    <a:lnTo>
                      <a:pt x="151" y="84"/>
                    </a:lnTo>
                    <a:lnTo>
                      <a:pt x="151" y="84"/>
                    </a:lnTo>
                    <a:lnTo>
                      <a:pt x="151" y="82"/>
                    </a:lnTo>
                    <a:lnTo>
                      <a:pt x="151" y="82"/>
                    </a:lnTo>
                    <a:lnTo>
                      <a:pt x="153" y="81"/>
                    </a:lnTo>
                    <a:lnTo>
                      <a:pt x="153" y="81"/>
                    </a:lnTo>
                    <a:lnTo>
                      <a:pt x="154" y="79"/>
                    </a:lnTo>
                    <a:lnTo>
                      <a:pt x="154" y="79"/>
                    </a:lnTo>
                    <a:lnTo>
                      <a:pt x="156" y="79"/>
                    </a:lnTo>
                    <a:lnTo>
                      <a:pt x="156" y="79"/>
                    </a:lnTo>
                    <a:lnTo>
                      <a:pt x="158" y="79"/>
                    </a:lnTo>
                    <a:lnTo>
                      <a:pt x="158" y="79"/>
                    </a:lnTo>
                    <a:lnTo>
                      <a:pt x="159" y="79"/>
                    </a:lnTo>
                    <a:lnTo>
                      <a:pt x="159" y="79"/>
                    </a:lnTo>
                    <a:lnTo>
                      <a:pt x="161" y="79"/>
                    </a:lnTo>
                    <a:lnTo>
                      <a:pt x="161" y="79"/>
                    </a:lnTo>
                    <a:lnTo>
                      <a:pt x="161" y="76"/>
                    </a:lnTo>
                    <a:lnTo>
                      <a:pt x="161" y="76"/>
                    </a:lnTo>
                    <a:lnTo>
                      <a:pt x="162" y="74"/>
                    </a:lnTo>
                    <a:lnTo>
                      <a:pt x="162" y="74"/>
                    </a:lnTo>
                    <a:lnTo>
                      <a:pt x="164" y="74"/>
                    </a:lnTo>
                    <a:lnTo>
                      <a:pt x="164" y="74"/>
                    </a:lnTo>
                    <a:lnTo>
                      <a:pt x="166" y="74"/>
                    </a:lnTo>
                    <a:lnTo>
                      <a:pt x="166" y="74"/>
                    </a:lnTo>
                    <a:lnTo>
                      <a:pt x="167" y="76"/>
                    </a:lnTo>
                    <a:lnTo>
                      <a:pt x="167" y="76"/>
                    </a:lnTo>
                    <a:lnTo>
                      <a:pt x="169" y="76"/>
                    </a:lnTo>
                    <a:lnTo>
                      <a:pt x="169" y="76"/>
                    </a:lnTo>
                    <a:lnTo>
                      <a:pt x="170" y="77"/>
                    </a:lnTo>
                    <a:lnTo>
                      <a:pt x="170" y="77"/>
                    </a:lnTo>
                    <a:lnTo>
                      <a:pt x="173" y="76"/>
                    </a:lnTo>
                    <a:lnTo>
                      <a:pt x="173" y="76"/>
                    </a:lnTo>
                    <a:lnTo>
                      <a:pt x="170" y="74"/>
                    </a:lnTo>
                    <a:lnTo>
                      <a:pt x="170" y="71"/>
                    </a:lnTo>
                    <a:lnTo>
                      <a:pt x="170" y="71"/>
                    </a:lnTo>
                    <a:lnTo>
                      <a:pt x="170" y="7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46" name="Freeform 301">
                <a:extLst>
                  <a:ext uri="{FF2B5EF4-FFF2-40B4-BE49-F238E27FC236}">
                    <a16:creationId xmlns:a16="http://schemas.microsoft.com/office/drawing/2014/main" id="{C63B0A58-8A7A-9E26-D87D-003C15B10E11}"/>
                  </a:ext>
                </a:extLst>
              </p:cNvPr>
              <p:cNvSpPr>
                <a:spLocks/>
              </p:cNvSpPr>
              <p:nvPr/>
            </p:nvSpPr>
            <p:spPr bwMode="auto">
              <a:xfrm>
                <a:off x="7671296" y="2883385"/>
                <a:ext cx="794047" cy="883770"/>
              </a:xfrm>
              <a:custGeom>
                <a:avLst/>
                <a:gdLst>
                  <a:gd name="T0" fmla="*/ 340 w 354"/>
                  <a:gd name="T1" fmla="*/ 99 h 394"/>
                  <a:gd name="T2" fmla="*/ 332 w 354"/>
                  <a:gd name="T3" fmla="*/ 88 h 394"/>
                  <a:gd name="T4" fmla="*/ 318 w 354"/>
                  <a:gd name="T5" fmla="*/ 89 h 394"/>
                  <a:gd name="T6" fmla="*/ 300 w 354"/>
                  <a:gd name="T7" fmla="*/ 100 h 394"/>
                  <a:gd name="T8" fmla="*/ 284 w 354"/>
                  <a:gd name="T9" fmla="*/ 112 h 394"/>
                  <a:gd name="T10" fmla="*/ 283 w 354"/>
                  <a:gd name="T11" fmla="*/ 124 h 394"/>
                  <a:gd name="T12" fmla="*/ 251 w 354"/>
                  <a:gd name="T13" fmla="*/ 119 h 394"/>
                  <a:gd name="T14" fmla="*/ 246 w 354"/>
                  <a:gd name="T15" fmla="*/ 107 h 394"/>
                  <a:gd name="T16" fmla="*/ 235 w 354"/>
                  <a:gd name="T17" fmla="*/ 131 h 394"/>
                  <a:gd name="T18" fmla="*/ 208 w 354"/>
                  <a:gd name="T19" fmla="*/ 124 h 394"/>
                  <a:gd name="T20" fmla="*/ 186 w 354"/>
                  <a:gd name="T21" fmla="*/ 116 h 394"/>
                  <a:gd name="T22" fmla="*/ 157 w 354"/>
                  <a:gd name="T23" fmla="*/ 107 h 394"/>
                  <a:gd name="T24" fmla="*/ 140 w 354"/>
                  <a:gd name="T25" fmla="*/ 85 h 394"/>
                  <a:gd name="T26" fmla="*/ 130 w 354"/>
                  <a:gd name="T27" fmla="*/ 67 h 394"/>
                  <a:gd name="T28" fmla="*/ 113 w 354"/>
                  <a:gd name="T29" fmla="*/ 51 h 394"/>
                  <a:gd name="T30" fmla="*/ 119 w 354"/>
                  <a:gd name="T31" fmla="*/ 43 h 394"/>
                  <a:gd name="T32" fmla="*/ 108 w 354"/>
                  <a:gd name="T33" fmla="*/ 23 h 394"/>
                  <a:gd name="T34" fmla="*/ 92 w 354"/>
                  <a:gd name="T35" fmla="*/ 0 h 394"/>
                  <a:gd name="T36" fmla="*/ 60 w 354"/>
                  <a:gd name="T37" fmla="*/ 13 h 394"/>
                  <a:gd name="T38" fmla="*/ 54 w 354"/>
                  <a:gd name="T39" fmla="*/ 23 h 394"/>
                  <a:gd name="T40" fmla="*/ 60 w 354"/>
                  <a:gd name="T41" fmla="*/ 39 h 394"/>
                  <a:gd name="T42" fmla="*/ 64 w 354"/>
                  <a:gd name="T43" fmla="*/ 54 h 394"/>
                  <a:gd name="T44" fmla="*/ 59 w 354"/>
                  <a:gd name="T45" fmla="*/ 78 h 394"/>
                  <a:gd name="T46" fmla="*/ 38 w 354"/>
                  <a:gd name="T47" fmla="*/ 110 h 394"/>
                  <a:gd name="T48" fmla="*/ 13 w 354"/>
                  <a:gd name="T49" fmla="*/ 124 h 394"/>
                  <a:gd name="T50" fmla="*/ 29 w 354"/>
                  <a:gd name="T51" fmla="*/ 145 h 394"/>
                  <a:gd name="T52" fmla="*/ 27 w 354"/>
                  <a:gd name="T53" fmla="*/ 159 h 394"/>
                  <a:gd name="T54" fmla="*/ 3 w 354"/>
                  <a:gd name="T55" fmla="*/ 166 h 394"/>
                  <a:gd name="T56" fmla="*/ 21 w 354"/>
                  <a:gd name="T57" fmla="*/ 183 h 394"/>
                  <a:gd name="T58" fmla="*/ 21 w 354"/>
                  <a:gd name="T59" fmla="*/ 189 h 394"/>
                  <a:gd name="T60" fmla="*/ 40 w 354"/>
                  <a:gd name="T61" fmla="*/ 213 h 394"/>
                  <a:gd name="T62" fmla="*/ 52 w 354"/>
                  <a:gd name="T63" fmla="*/ 194 h 394"/>
                  <a:gd name="T64" fmla="*/ 59 w 354"/>
                  <a:gd name="T65" fmla="*/ 194 h 394"/>
                  <a:gd name="T66" fmla="*/ 64 w 354"/>
                  <a:gd name="T67" fmla="*/ 207 h 394"/>
                  <a:gd name="T68" fmla="*/ 67 w 354"/>
                  <a:gd name="T69" fmla="*/ 234 h 394"/>
                  <a:gd name="T70" fmla="*/ 70 w 354"/>
                  <a:gd name="T71" fmla="*/ 248 h 394"/>
                  <a:gd name="T72" fmla="*/ 84 w 354"/>
                  <a:gd name="T73" fmla="*/ 289 h 394"/>
                  <a:gd name="T74" fmla="*/ 92 w 354"/>
                  <a:gd name="T75" fmla="*/ 305 h 394"/>
                  <a:gd name="T76" fmla="*/ 119 w 354"/>
                  <a:gd name="T77" fmla="*/ 364 h 394"/>
                  <a:gd name="T78" fmla="*/ 122 w 354"/>
                  <a:gd name="T79" fmla="*/ 381 h 394"/>
                  <a:gd name="T80" fmla="*/ 145 w 354"/>
                  <a:gd name="T81" fmla="*/ 381 h 394"/>
                  <a:gd name="T82" fmla="*/ 162 w 354"/>
                  <a:gd name="T83" fmla="*/ 361 h 394"/>
                  <a:gd name="T84" fmla="*/ 168 w 354"/>
                  <a:gd name="T85" fmla="*/ 318 h 394"/>
                  <a:gd name="T86" fmla="*/ 164 w 354"/>
                  <a:gd name="T87" fmla="*/ 289 h 394"/>
                  <a:gd name="T88" fmla="*/ 187 w 354"/>
                  <a:gd name="T89" fmla="*/ 273 h 394"/>
                  <a:gd name="T90" fmla="*/ 202 w 354"/>
                  <a:gd name="T91" fmla="*/ 250 h 394"/>
                  <a:gd name="T92" fmla="*/ 221 w 354"/>
                  <a:gd name="T93" fmla="*/ 224 h 394"/>
                  <a:gd name="T94" fmla="*/ 240 w 354"/>
                  <a:gd name="T95" fmla="*/ 213 h 394"/>
                  <a:gd name="T96" fmla="*/ 256 w 354"/>
                  <a:gd name="T97" fmla="*/ 199 h 394"/>
                  <a:gd name="T98" fmla="*/ 259 w 354"/>
                  <a:gd name="T99" fmla="*/ 196 h 394"/>
                  <a:gd name="T100" fmla="*/ 262 w 354"/>
                  <a:gd name="T101" fmla="*/ 189 h 394"/>
                  <a:gd name="T102" fmla="*/ 256 w 354"/>
                  <a:gd name="T103" fmla="*/ 164 h 394"/>
                  <a:gd name="T104" fmla="*/ 256 w 354"/>
                  <a:gd name="T105" fmla="*/ 148 h 394"/>
                  <a:gd name="T106" fmla="*/ 245 w 354"/>
                  <a:gd name="T107" fmla="*/ 135 h 394"/>
                  <a:gd name="T108" fmla="*/ 256 w 354"/>
                  <a:gd name="T109" fmla="*/ 134 h 394"/>
                  <a:gd name="T110" fmla="*/ 287 w 354"/>
                  <a:gd name="T111" fmla="*/ 148 h 394"/>
                  <a:gd name="T112" fmla="*/ 289 w 354"/>
                  <a:gd name="T113" fmla="*/ 164 h 394"/>
                  <a:gd name="T114" fmla="*/ 297 w 354"/>
                  <a:gd name="T115" fmla="*/ 170 h 394"/>
                  <a:gd name="T116" fmla="*/ 316 w 354"/>
                  <a:gd name="T117" fmla="*/ 189 h 394"/>
                  <a:gd name="T118" fmla="*/ 324 w 354"/>
                  <a:gd name="T119" fmla="*/ 167 h 394"/>
                  <a:gd name="T120" fmla="*/ 329 w 354"/>
                  <a:gd name="T121" fmla="*/ 127 h 394"/>
                  <a:gd name="T122" fmla="*/ 349 w 354"/>
                  <a:gd name="T123" fmla="*/ 119 h 394"/>
                  <a:gd name="T124" fmla="*/ 349 w 354"/>
                  <a:gd name="T125" fmla="*/ 102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4" h="394">
                    <a:moveTo>
                      <a:pt x="349" y="102"/>
                    </a:moveTo>
                    <a:lnTo>
                      <a:pt x="349" y="102"/>
                    </a:lnTo>
                    <a:lnTo>
                      <a:pt x="349" y="102"/>
                    </a:lnTo>
                    <a:lnTo>
                      <a:pt x="349" y="102"/>
                    </a:lnTo>
                    <a:lnTo>
                      <a:pt x="348" y="102"/>
                    </a:lnTo>
                    <a:lnTo>
                      <a:pt x="348" y="102"/>
                    </a:lnTo>
                    <a:lnTo>
                      <a:pt x="345" y="100"/>
                    </a:lnTo>
                    <a:lnTo>
                      <a:pt x="345" y="100"/>
                    </a:lnTo>
                    <a:lnTo>
                      <a:pt x="343" y="100"/>
                    </a:lnTo>
                    <a:lnTo>
                      <a:pt x="343" y="100"/>
                    </a:lnTo>
                    <a:lnTo>
                      <a:pt x="343" y="100"/>
                    </a:lnTo>
                    <a:lnTo>
                      <a:pt x="343" y="100"/>
                    </a:lnTo>
                    <a:lnTo>
                      <a:pt x="341" y="102"/>
                    </a:lnTo>
                    <a:lnTo>
                      <a:pt x="341" y="102"/>
                    </a:lnTo>
                    <a:lnTo>
                      <a:pt x="340" y="102"/>
                    </a:lnTo>
                    <a:lnTo>
                      <a:pt x="340" y="102"/>
                    </a:lnTo>
                    <a:lnTo>
                      <a:pt x="338" y="100"/>
                    </a:lnTo>
                    <a:lnTo>
                      <a:pt x="338" y="100"/>
                    </a:lnTo>
                    <a:lnTo>
                      <a:pt x="338" y="100"/>
                    </a:lnTo>
                    <a:lnTo>
                      <a:pt x="338" y="100"/>
                    </a:lnTo>
                    <a:lnTo>
                      <a:pt x="340" y="99"/>
                    </a:lnTo>
                    <a:lnTo>
                      <a:pt x="340" y="99"/>
                    </a:lnTo>
                    <a:lnTo>
                      <a:pt x="341" y="96"/>
                    </a:lnTo>
                    <a:lnTo>
                      <a:pt x="341" y="96"/>
                    </a:lnTo>
                    <a:lnTo>
                      <a:pt x="340" y="94"/>
                    </a:lnTo>
                    <a:lnTo>
                      <a:pt x="340" y="94"/>
                    </a:lnTo>
                    <a:lnTo>
                      <a:pt x="340" y="92"/>
                    </a:lnTo>
                    <a:lnTo>
                      <a:pt x="340" y="92"/>
                    </a:lnTo>
                    <a:lnTo>
                      <a:pt x="340" y="92"/>
                    </a:lnTo>
                    <a:lnTo>
                      <a:pt x="340" y="92"/>
                    </a:lnTo>
                    <a:lnTo>
                      <a:pt x="338" y="92"/>
                    </a:lnTo>
                    <a:lnTo>
                      <a:pt x="338" y="92"/>
                    </a:lnTo>
                    <a:lnTo>
                      <a:pt x="337" y="92"/>
                    </a:lnTo>
                    <a:lnTo>
                      <a:pt x="337" y="92"/>
                    </a:lnTo>
                    <a:lnTo>
                      <a:pt x="335" y="92"/>
                    </a:lnTo>
                    <a:lnTo>
                      <a:pt x="335" y="92"/>
                    </a:lnTo>
                    <a:lnTo>
                      <a:pt x="335" y="92"/>
                    </a:lnTo>
                    <a:lnTo>
                      <a:pt x="335" y="92"/>
                    </a:lnTo>
                    <a:lnTo>
                      <a:pt x="337" y="89"/>
                    </a:lnTo>
                    <a:lnTo>
                      <a:pt x="337" y="89"/>
                    </a:lnTo>
                    <a:lnTo>
                      <a:pt x="335" y="88"/>
                    </a:lnTo>
                    <a:lnTo>
                      <a:pt x="335" y="88"/>
                    </a:lnTo>
                    <a:lnTo>
                      <a:pt x="332" y="88"/>
                    </a:lnTo>
                    <a:lnTo>
                      <a:pt x="332" y="88"/>
                    </a:lnTo>
                    <a:lnTo>
                      <a:pt x="332" y="88"/>
                    </a:lnTo>
                    <a:lnTo>
                      <a:pt x="332" y="88"/>
                    </a:lnTo>
                    <a:lnTo>
                      <a:pt x="329" y="89"/>
                    </a:lnTo>
                    <a:lnTo>
                      <a:pt x="329" y="89"/>
                    </a:lnTo>
                    <a:lnTo>
                      <a:pt x="326" y="92"/>
                    </a:lnTo>
                    <a:lnTo>
                      <a:pt x="326" y="92"/>
                    </a:lnTo>
                    <a:lnTo>
                      <a:pt x="326" y="92"/>
                    </a:lnTo>
                    <a:lnTo>
                      <a:pt x="326" y="92"/>
                    </a:lnTo>
                    <a:lnTo>
                      <a:pt x="324" y="92"/>
                    </a:lnTo>
                    <a:lnTo>
                      <a:pt x="324" y="92"/>
                    </a:lnTo>
                    <a:lnTo>
                      <a:pt x="324" y="92"/>
                    </a:lnTo>
                    <a:lnTo>
                      <a:pt x="324" y="92"/>
                    </a:lnTo>
                    <a:lnTo>
                      <a:pt x="322" y="92"/>
                    </a:lnTo>
                    <a:lnTo>
                      <a:pt x="322" y="92"/>
                    </a:lnTo>
                    <a:lnTo>
                      <a:pt x="321" y="89"/>
                    </a:lnTo>
                    <a:lnTo>
                      <a:pt x="321" y="89"/>
                    </a:lnTo>
                    <a:lnTo>
                      <a:pt x="321" y="92"/>
                    </a:lnTo>
                    <a:lnTo>
                      <a:pt x="321" y="92"/>
                    </a:lnTo>
                    <a:lnTo>
                      <a:pt x="319" y="89"/>
                    </a:lnTo>
                    <a:lnTo>
                      <a:pt x="319" y="89"/>
                    </a:lnTo>
                    <a:lnTo>
                      <a:pt x="318" y="89"/>
                    </a:lnTo>
                    <a:lnTo>
                      <a:pt x="318" y="89"/>
                    </a:lnTo>
                    <a:lnTo>
                      <a:pt x="316" y="89"/>
                    </a:lnTo>
                    <a:lnTo>
                      <a:pt x="316" y="89"/>
                    </a:lnTo>
                    <a:lnTo>
                      <a:pt x="314" y="89"/>
                    </a:lnTo>
                    <a:lnTo>
                      <a:pt x="314" y="89"/>
                    </a:lnTo>
                    <a:lnTo>
                      <a:pt x="313" y="89"/>
                    </a:lnTo>
                    <a:lnTo>
                      <a:pt x="313" y="89"/>
                    </a:lnTo>
                    <a:lnTo>
                      <a:pt x="311" y="92"/>
                    </a:lnTo>
                    <a:lnTo>
                      <a:pt x="311" y="92"/>
                    </a:lnTo>
                    <a:lnTo>
                      <a:pt x="308" y="96"/>
                    </a:lnTo>
                    <a:lnTo>
                      <a:pt x="308" y="96"/>
                    </a:lnTo>
                    <a:lnTo>
                      <a:pt x="307" y="97"/>
                    </a:lnTo>
                    <a:lnTo>
                      <a:pt x="307" y="97"/>
                    </a:lnTo>
                    <a:lnTo>
                      <a:pt x="305" y="97"/>
                    </a:lnTo>
                    <a:lnTo>
                      <a:pt x="305" y="97"/>
                    </a:lnTo>
                    <a:lnTo>
                      <a:pt x="303" y="97"/>
                    </a:lnTo>
                    <a:lnTo>
                      <a:pt x="303" y="97"/>
                    </a:lnTo>
                    <a:lnTo>
                      <a:pt x="302" y="97"/>
                    </a:lnTo>
                    <a:lnTo>
                      <a:pt x="302" y="97"/>
                    </a:lnTo>
                    <a:lnTo>
                      <a:pt x="300" y="99"/>
                    </a:lnTo>
                    <a:lnTo>
                      <a:pt x="300" y="99"/>
                    </a:lnTo>
                    <a:lnTo>
                      <a:pt x="300" y="100"/>
                    </a:lnTo>
                    <a:lnTo>
                      <a:pt x="300" y="100"/>
                    </a:lnTo>
                    <a:lnTo>
                      <a:pt x="300" y="102"/>
                    </a:lnTo>
                    <a:lnTo>
                      <a:pt x="300" y="102"/>
                    </a:lnTo>
                    <a:lnTo>
                      <a:pt x="297" y="104"/>
                    </a:lnTo>
                    <a:lnTo>
                      <a:pt x="297" y="104"/>
                    </a:lnTo>
                    <a:lnTo>
                      <a:pt x="297" y="104"/>
                    </a:lnTo>
                    <a:lnTo>
                      <a:pt x="297" y="107"/>
                    </a:lnTo>
                    <a:lnTo>
                      <a:pt x="297" y="107"/>
                    </a:lnTo>
                    <a:lnTo>
                      <a:pt x="294" y="110"/>
                    </a:lnTo>
                    <a:lnTo>
                      <a:pt x="294" y="110"/>
                    </a:lnTo>
                    <a:lnTo>
                      <a:pt x="294" y="110"/>
                    </a:lnTo>
                    <a:lnTo>
                      <a:pt x="294" y="110"/>
                    </a:lnTo>
                    <a:lnTo>
                      <a:pt x="291" y="110"/>
                    </a:lnTo>
                    <a:lnTo>
                      <a:pt x="291" y="110"/>
                    </a:lnTo>
                    <a:lnTo>
                      <a:pt x="289" y="110"/>
                    </a:lnTo>
                    <a:lnTo>
                      <a:pt x="289" y="110"/>
                    </a:lnTo>
                    <a:lnTo>
                      <a:pt x="291" y="112"/>
                    </a:lnTo>
                    <a:lnTo>
                      <a:pt x="291" y="112"/>
                    </a:lnTo>
                    <a:lnTo>
                      <a:pt x="289" y="112"/>
                    </a:lnTo>
                    <a:lnTo>
                      <a:pt x="289" y="112"/>
                    </a:lnTo>
                    <a:lnTo>
                      <a:pt x="286" y="112"/>
                    </a:lnTo>
                    <a:lnTo>
                      <a:pt x="286" y="112"/>
                    </a:lnTo>
                    <a:lnTo>
                      <a:pt x="284" y="112"/>
                    </a:lnTo>
                    <a:lnTo>
                      <a:pt x="284" y="112"/>
                    </a:lnTo>
                    <a:lnTo>
                      <a:pt x="284" y="113"/>
                    </a:lnTo>
                    <a:lnTo>
                      <a:pt x="284" y="113"/>
                    </a:lnTo>
                    <a:lnTo>
                      <a:pt x="286" y="116"/>
                    </a:lnTo>
                    <a:lnTo>
                      <a:pt x="286" y="116"/>
                    </a:lnTo>
                    <a:lnTo>
                      <a:pt x="287" y="116"/>
                    </a:lnTo>
                    <a:lnTo>
                      <a:pt x="287" y="116"/>
                    </a:lnTo>
                    <a:lnTo>
                      <a:pt x="291" y="116"/>
                    </a:lnTo>
                    <a:lnTo>
                      <a:pt x="291" y="116"/>
                    </a:lnTo>
                    <a:lnTo>
                      <a:pt x="291" y="119"/>
                    </a:lnTo>
                    <a:lnTo>
                      <a:pt x="291" y="119"/>
                    </a:lnTo>
                    <a:lnTo>
                      <a:pt x="291" y="123"/>
                    </a:lnTo>
                    <a:lnTo>
                      <a:pt x="291" y="123"/>
                    </a:lnTo>
                    <a:lnTo>
                      <a:pt x="291" y="123"/>
                    </a:lnTo>
                    <a:lnTo>
                      <a:pt x="291" y="123"/>
                    </a:lnTo>
                    <a:lnTo>
                      <a:pt x="291" y="124"/>
                    </a:lnTo>
                    <a:lnTo>
                      <a:pt x="291" y="124"/>
                    </a:lnTo>
                    <a:lnTo>
                      <a:pt x="287" y="124"/>
                    </a:lnTo>
                    <a:lnTo>
                      <a:pt x="287" y="124"/>
                    </a:lnTo>
                    <a:lnTo>
                      <a:pt x="284" y="124"/>
                    </a:lnTo>
                    <a:lnTo>
                      <a:pt x="284" y="124"/>
                    </a:lnTo>
                    <a:lnTo>
                      <a:pt x="283" y="124"/>
                    </a:lnTo>
                    <a:lnTo>
                      <a:pt x="283" y="124"/>
                    </a:lnTo>
                    <a:lnTo>
                      <a:pt x="281" y="124"/>
                    </a:lnTo>
                    <a:lnTo>
                      <a:pt x="281" y="124"/>
                    </a:lnTo>
                    <a:lnTo>
                      <a:pt x="276" y="124"/>
                    </a:lnTo>
                    <a:lnTo>
                      <a:pt x="276" y="124"/>
                    </a:lnTo>
                    <a:lnTo>
                      <a:pt x="270" y="123"/>
                    </a:lnTo>
                    <a:lnTo>
                      <a:pt x="270" y="123"/>
                    </a:lnTo>
                    <a:lnTo>
                      <a:pt x="268" y="124"/>
                    </a:lnTo>
                    <a:lnTo>
                      <a:pt x="268" y="124"/>
                    </a:lnTo>
                    <a:lnTo>
                      <a:pt x="267" y="124"/>
                    </a:lnTo>
                    <a:lnTo>
                      <a:pt x="267" y="124"/>
                    </a:lnTo>
                    <a:lnTo>
                      <a:pt x="265" y="126"/>
                    </a:lnTo>
                    <a:lnTo>
                      <a:pt x="265" y="126"/>
                    </a:lnTo>
                    <a:lnTo>
                      <a:pt x="262" y="124"/>
                    </a:lnTo>
                    <a:lnTo>
                      <a:pt x="262" y="124"/>
                    </a:lnTo>
                    <a:lnTo>
                      <a:pt x="259" y="124"/>
                    </a:lnTo>
                    <a:lnTo>
                      <a:pt x="259" y="124"/>
                    </a:lnTo>
                    <a:lnTo>
                      <a:pt x="254" y="123"/>
                    </a:lnTo>
                    <a:lnTo>
                      <a:pt x="254" y="123"/>
                    </a:lnTo>
                    <a:lnTo>
                      <a:pt x="253" y="123"/>
                    </a:lnTo>
                    <a:lnTo>
                      <a:pt x="253" y="123"/>
                    </a:lnTo>
                    <a:lnTo>
                      <a:pt x="251" y="119"/>
                    </a:lnTo>
                    <a:lnTo>
                      <a:pt x="251" y="119"/>
                    </a:lnTo>
                    <a:lnTo>
                      <a:pt x="249" y="119"/>
                    </a:lnTo>
                    <a:lnTo>
                      <a:pt x="249" y="119"/>
                    </a:lnTo>
                    <a:lnTo>
                      <a:pt x="251" y="116"/>
                    </a:lnTo>
                    <a:lnTo>
                      <a:pt x="251" y="116"/>
                    </a:lnTo>
                    <a:lnTo>
                      <a:pt x="249" y="116"/>
                    </a:lnTo>
                    <a:lnTo>
                      <a:pt x="249" y="116"/>
                    </a:lnTo>
                    <a:lnTo>
                      <a:pt x="249" y="113"/>
                    </a:lnTo>
                    <a:lnTo>
                      <a:pt x="249" y="113"/>
                    </a:lnTo>
                    <a:lnTo>
                      <a:pt x="249" y="113"/>
                    </a:lnTo>
                    <a:lnTo>
                      <a:pt x="249" y="113"/>
                    </a:lnTo>
                    <a:lnTo>
                      <a:pt x="249" y="113"/>
                    </a:lnTo>
                    <a:lnTo>
                      <a:pt x="249" y="113"/>
                    </a:lnTo>
                    <a:lnTo>
                      <a:pt x="249" y="112"/>
                    </a:lnTo>
                    <a:lnTo>
                      <a:pt x="249" y="112"/>
                    </a:lnTo>
                    <a:lnTo>
                      <a:pt x="249" y="110"/>
                    </a:lnTo>
                    <a:lnTo>
                      <a:pt x="249" y="110"/>
                    </a:lnTo>
                    <a:lnTo>
                      <a:pt x="248" y="107"/>
                    </a:lnTo>
                    <a:lnTo>
                      <a:pt x="248" y="107"/>
                    </a:lnTo>
                    <a:lnTo>
                      <a:pt x="248" y="107"/>
                    </a:lnTo>
                    <a:lnTo>
                      <a:pt x="248" y="107"/>
                    </a:lnTo>
                    <a:lnTo>
                      <a:pt x="246" y="107"/>
                    </a:lnTo>
                    <a:lnTo>
                      <a:pt x="246" y="107"/>
                    </a:lnTo>
                    <a:lnTo>
                      <a:pt x="245" y="107"/>
                    </a:lnTo>
                    <a:lnTo>
                      <a:pt x="245" y="107"/>
                    </a:lnTo>
                    <a:lnTo>
                      <a:pt x="240" y="108"/>
                    </a:lnTo>
                    <a:lnTo>
                      <a:pt x="240" y="108"/>
                    </a:lnTo>
                    <a:lnTo>
                      <a:pt x="240" y="110"/>
                    </a:lnTo>
                    <a:lnTo>
                      <a:pt x="240" y="110"/>
                    </a:lnTo>
                    <a:lnTo>
                      <a:pt x="240" y="113"/>
                    </a:lnTo>
                    <a:lnTo>
                      <a:pt x="240" y="113"/>
                    </a:lnTo>
                    <a:lnTo>
                      <a:pt x="240" y="116"/>
                    </a:lnTo>
                    <a:lnTo>
                      <a:pt x="240" y="116"/>
                    </a:lnTo>
                    <a:lnTo>
                      <a:pt x="240" y="119"/>
                    </a:lnTo>
                    <a:lnTo>
                      <a:pt x="240" y="119"/>
                    </a:lnTo>
                    <a:lnTo>
                      <a:pt x="243" y="123"/>
                    </a:lnTo>
                    <a:lnTo>
                      <a:pt x="243" y="123"/>
                    </a:lnTo>
                    <a:lnTo>
                      <a:pt x="243" y="127"/>
                    </a:lnTo>
                    <a:lnTo>
                      <a:pt x="243" y="127"/>
                    </a:lnTo>
                    <a:lnTo>
                      <a:pt x="241" y="129"/>
                    </a:lnTo>
                    <a:lnTo>
                      <a:pt x="241" y="129"/>
                    </a:lnTo>
                    <a:lnTo>
                      <a:pt x="240" y="131"/>
                    </a:lnTo>
                    <a:lnTo>
                      <a:pt x="240" y="131"/>
                    </a:lnTo>
                    <a:lnTo>
                      <a:pt x="235" y="131"/>
                    </a:lnTo>
                    <a:lnTo>
                      <a:pt x="235" y="131"/>
                    </a:lnTo>
                    <a:lnTo>
                      <a:pt x="230" y="131"/>
                    </a:lnTo>
                    <a:lnTo>
                      <a:pt x="230" y="131"/>
                    </a:lnTo>
                    <a:lnTo>
                      <a:pt x="230" y="127"/>
                    </a:lnTo>
                    <a:lnTo>
                      <a:pt x="230" y="127"/>
                    </a:lnTo>
                    <a:lnTo>
                      <a:pt x="227" y="129"/>
                    </a:lnTo>
                    <a:lnTo>
                      <a:pt x="227" y="129"/>
                    </a:lnTo>
                    <a:lnTo>
                      <a:pt x="224" y="129"/>
                    </a:lnTo>
                    <a:lnTo>
                      <a:pt x="224" y="129"/>
                    </a:lnTo>
                    <a:lnTo>
                      <a:pt x="221" y="127"/>
                    </a:lnTo>
                    <a:lnTo>
                      <a:pt x="221" y="127"/>
                    </a:lnTo>
                    <a:lnTo>
                      <a:pt x="218" y="127"/>
                    </a:lnTo>
                    <a:lnTo>
                      <a:pt x="218" y="127"/>
                    </a:lnTo>
                    <a:lnTo>
                      <a:pt x="214" y="127"/>
                    </a:lnTo>
                    <a:lnTo>
                      <a:pt x="214" y="127"/>
                    </a:lnTo>
                    <a:lnTo>
                      <a:pt x="214" y="126"/>
                    </a:lnTo>
                    <a:lnTo>
                      <a:pt x="214" y="126"/>
                    </a:lnTo>
                    <a:lnTo>
                      <a:pt x="213" y="124"/>
                    </a:lnTo>
                    <a:lnTo>
                      <a:pt x="213" y="124"/>
                    </a:lnTo>
                    <a:lnTo>
                      <a:pt x="211" y="124"/>
                    </a:lnTo>
                    <a:lnTo>
                      <a:pt x="211" y="124"/>
                    </a:lnTo>
                    <a:lnTo>
                      <a:pt x="208" y="124"/>
                    </a:lnTo>
                    <a:lnTo>
                      <a:pt x="208" y="124"/>
                    </a:lnTo>
                    <a:lnTo>
                      <a:pt x="208" y="126"/>
                    </a:lnTo>
                    <a:lnTo>
                      <a:pt x="208" y="126"/>
                    </a:lnTo>
                    <a:lnTo>
                      <a:pt x="206" y="124"/>
                    </a:lnTo>
                    <a:lnTo>
                      <a:pt x="206" y="124"/>
                    </a:lnTo>
                    <a:lnTo>
                      <a:pt x="203" y="123"/>
                    </a:lnTo>
                    <a:lnTo>
                      <a:pt x="203" y="123"/>
                    </a:lnTo>
                    <a:lnTo>
                      <a:pt x="200" y="123"/>
                    </a:lnTo>
                    <a:lnTo>
                      <a:pt x="200" y="123"/>
                    </a:lnTo>
                    <a:lnTo>
                      <a:pt x="199" y="119"/>
                    </a:lnTo>
                    <a:lnTo>
                      <a:pt x="199" y="119"/>
                    </a:lnTo>
                    <a:lnTo>
                      <a:pt x="199" y="119"/>
                    </a:lnTo>
                    <a:lnTo>
                      <a:pt x="199" y="119"/>
                    </a:lnTo>
                    <a:lnTo>
                      <a:pt x="199" y="116"/>
                    </a:lnTo>
                    <a:lnTo>
                      <a:pt x="199" y="116"/>
                    </a:lnTo>
                    <a:lnTo>
                      <a:pt x="192" y="116"/>
                    </a:lnTo>
                    <a:lnTo>
                      <a:pt x="192" y="116"/>
                    </a:lnTo>
                    <a:lnTo>
                      <a:pt x="189" y="116"/>
                    </a:lnTo>
                    <a:lnTo>
                      <a:pt x="189" y="116"/>
                    </a:lnTo>
                    <a:lnTo>
                      <a:pt x="189" y="116"/>
                    </a:lnTo>
                    <a:lnTo>
                      <a:pt x="189" y="116"/>
                    </a:lnTo>
                    <a:lnTo>
                      <a:pt x="186" y="116"/>
                    </a:lnTo>
                    <a:lnTo>
                      <a:pt x="186" y="116"/>
                    </a:lnTo>
                    <a:lnTo>
                      <a:pt x="183" y="116"/>
                    </a:lnTo>
                    <a:lnTo>
                      <a:pt x="183" y="116"/>
                    </a:lnTo>
                    <a:lnTo>
                      <a:pt x="181" y="116"/>
                    </a:lnTo>
                    <a:lnTo>
                      <a:pt x="181" y="116"/>
                    </a:lnTo>
                    <a:lnTo>
                      <a:pt x="178" y="116"/>
                    </a:lnTo>
                    <a:lnTo>
                      <a:pt x="178" y="116"/>
                    </a:lnTo>
                    <a:lnTo>
                      <a:pt x="175" y="113"/>
                    </a:lnTo>
                    <a:lnTo>
                      <a:pt x="175" y="113"/>
                    </a:lnTo>
                    <a:lnTo>
                      <a:pt x="175" y="113"/>
                    </a:lnTo>
                    <a:lnTo>
                      <a:pt x="175" y="113"/>
                    </a:lnTo>
                    <a:lnTo>
                      <a:pt x="168" y="112"/>
                    </a:lnTo>
                    <a:lnTo>
                      <a:pt x="168" y="112"/>
                    </a:lnTo>
                    <a:lnTo>
                      <a:pt x="165" y="110"/>
                    </a:lnTo>
                    <a:lnTo>
                      <a:pt x="165" y="110"/>
                    </a:lnTo>
                    <a:lnTo>
                      <a:pt x="165" y="108"/>
                    </a:lnTo>
                    <a:lnTo>
                      <a:pt x="165" y="108"/>
                    </a:lnTo>
                    <a:lnTo>
                      <a:pt x="164" y="110"/>
                    </a:lnTo>
                    <a:lnTo>
                      <a:pt x="164" y="110"/>
                    </a:lnTo>
                    <a:lnTo>
                      <a:pt x="160" y="108"/>
                    </a:lnTo>
                    <a:lnTo>
                      <a:pt x="160" y="108"/>
                    </a:lnTo>
                    <a:lnTo>
                      <a:pt x="157" y="107"/>
                    </a:lnTo>
                    <a:lnTo>
                      <a:pt x="157" y="107"/>
                    </a:lnTo>
                    <a:lnTo>
                      <a:pt x="151" y="100"/>
                    </a:lnTo>
                    <a:lnTo>
                      <a:pt x="151" y="100"/>
                    </a:lnTo>
                    <a:lnTo>
                      <a:pt x="145" y="97"/>
                    </a:lnTo>
                    <a:lnTo>
                      <a:pt x="145" y="97"/>
                    </a:lnTo>
                    <a:lnTo>
                      <a:pt x="143" y="99"/>
                    </a:lnTo>
                    <a:lnTo>
                      <a:pt x="143" y="99"/>
                    </a:lnTo>
                    <a:lnTo>
                      <a:pt x="143" y="97"/>
                    </a:lnTo>
                    <a:lnTo>
                      <a:pt x="143" y="97"/>
                    </a:lnTo>
                    <a:lnTo>
                      <a:pt x="140" y="96"/>
                    </a:lnTo>
                    <a:lnTo>
                      <a:pt x="140" y="96"/>
                    </a:lnTo>
                    <a:lnTo>
                      <a:pt x="140" y="94"/>
                    </a:lnTo>
                    <a:lnTo>
                      <a:pt x="140" y="94"/>
                    </a:lnTo>
                    <a:lnTo>
                      <a:pt x="140" y="92"/>
                    </a:lnTo>
                    <a:lnTo>
                      <a:pt x="140" y="92"/>
                    </a:lnTo>
                    <a:lnTo>
                      <a:pt x="140" y="89"/>
                    </a:lnTo>
                    <a:lnTo>
                      <a:pt x="140" y="89"/>
                    </a:lnTo>
                    <a:lnTo>
                      <a:pt x="140" y="89"/>
                    </a:lnTo>
                    <a:lnTo>
                      <a:pt x="140" y="89"/>
                    </a:lnTo>
                    <a:lnTo>
                      <a:pt x="140" y="88"/>
                    </a:lnTo>
                    <a:lnTo>
                      <a:pt x="140" y="88"/>
                    </a:lnTo>
                    <a:lnTo>
                      <a:pt x="140" y="85"/>
                    </a:lnTo>
                    <a:lnTo>
                      <a:pt x="140" y="85"/>
                    </a:lnTo>
                    <a:lnTo>
                      <a:pt x="143" y="80"/>
                    </a:lnTo>
                    <a:lnTo>
                      <a:pt x="143" y="80"/>
                    </a:lnTo>
                    <a:lnTo>
                      <a:pt x="145" y="77"/>
                    </a:lnTo>
                    <a:lnTo>
                      <a:pt x="145" y="77"/>
                    </a:lnTo>
                    <a:lnTo>
                      <a:pt x="146" y="77"/>
                    </a:lnTo>
                    <a:lnTo>
                      <a:pt x="146" y="77"/>
                    </a:lnTo>
                    <a:lnTo>
                      <a:pt x="145" y="75"/>
                    </a:lnTo>
                    <a:lnTo>
                      <a:pt x="145" y="75"/>
                    </a:lnTo>
                    <a:lnTo>
                      <a:pt x="143" y="73"/>
                    </a:lnTo>
                    <a:lnTo>
                      <a:pt x="143" y="73"/>
                    </a:lnTo>
                    <a:lnTo>
                      <a:pt x="143" y="73"/>
                    </a:lnTo>
                    <a:lnTo>
                      <a:pt x="143" y="73"/>
                    </a:lnTo>
                    <a:lnTo>
                      <a:pt x="140" y="72"/>
                    </a:lnTo>
                    <a:lnTo>
                      <a:pt x="140" y="72"/>
                    </a:lnTo>
                    <a:lnTo>
                      <a:pt x="137" y="70"/>
                    </a:lnTo>
                    <a:lnTo>
                      <a:pt x="137" y="70"/>
                    </a:lnTo>
                    <a:lnTo>
                      <a:pt x="137" y="69"/>
                    </a:lnTo>
                    <a:lnTo>
                      <a:pt x="137" y="69"/>
                    </a:lnTo>
                    <a:lnTo>
                      <a:pt x="133" y="67"/>
                    </a:lnTo>
                    <a:lnTo>
                      <a:pt x="133" y="67"/>
                    </a:lnTo>
                    <a:lnTo>
                      <a:pt x="130" y="67"/>
                    </a:lnTo>
                    <a:lnTo>
                      <a:pt x="130" y="67"/>
                    </a:lnTo>
                    <a:lnTo>
                      <a:pt x="130" y="64"/>
                    </a:lnTo>
                    <a:lnTo>
                      <a:pt x="130" y="64"/>
                    </a:lnTo>
                    <a:lnTo>
                      <a:pt x="127" y="64"/>
                    </a:lnTo>
                    <a:lnTo>
                      <a:pt x="127" y="64"/>
                    </a:lnTo>
                    <a:lnTo>
                      <a:pt x="124" y="64"/>
                    </a:lnTo>
                    <a:lnTo>
                      <a:pt x="124" y="64"/>
                    </a:lnTo>
                    <a:lnTo>
                      <a:pt x="122" y="61"/>
                    </a:lnTo>
                    <a:lnTo>
                      <a:pt x="122" y="61"/>
                    </a:lnTo>
                    <a:lnTo>
                      <a:pt x="121" y="61"/>
                    </a:lnTo>
                    <a:lnTo>
                      <a:pt x="121" y="61"/>
                    </a:lnTo>
                    <a:lnTo>
                      <a:pt x="119" y="58"/>
                    </a:lnTo>
                    <a:lnTo>
                      <a:pt x="119" y="58"/>
                    </a:lnTo>
                    <a:lnTo>
                      <a:pt x="118" y="61"/>
                    </a:lnTo>
                    <a:lnTo>
                      <a:pt x="118" y="61"/>
                    </a:lnTo>
                    <a:lnTo>
                      <a:pt x="116" y="61"/>
                    </a:lnTo>
                    <a:lnTo>
                      <a:pt x="116" y="61"/>
                    </a:lnTo>
                    <a:lnTo>
                      <a:pt x="116" y="58"/>
                    </a:lnTo>
                    <a:lnTo>
                      <a:pt x="116" y="58"/>
                    </a:lnTo>
                    <a:lnTo>
                      <a:pt x="114" y="54"/>
                    </a:lnTo>
                    <a:lnTo>
                      <a:pt x="114" y="54"/>
                    </a:lnTo>
                    <a:lnTo>
                      <a:pt x="113" y="51"/>
                    </a:lnTo>
                    <a:lnTo>
                      <a:pt x="113" y="51"/>
                    </a:lnTo>
                    <a:lnTo>
                      <a:pt x="111" y="50"/>
                    </a:lnTo>
                    <a:lnTo>
                      <a:pt x="111" y="50"/>
                    </a:lnTo>
                    <a:lnTo>
                      <a:pt x="110" y="48"/>
                    </a:lnTo>
                    <a:lnTo>
                      <a:pt x="110" y="48"/>
                    </a:lnTo>
                    <a:lnTo>
                      <a:pt x="108" y="45"/>
                    </a:lnTo>
                    <a:lnTo>
                      <a:pt x="108" y="45"/>
                    </a:lnTo>
                    <a:lnTo>
                      <a:pt x="108" y="42"/>
                    </a:lnTo>
                    <a:lnTo>
                      <a:pt x="108" y="42"/>
                    </a:lnTo>
                    <a:lnTo>
                      <a:pt x="110" y="42"/>
                    </a:lnTo>
                    <a:lnTo>
                      <a:pt x="110" y="42"/>
                    </a:lnTo>
                    <a:lnTo>
                      <a:pt x="111" y="42"/>
                    </a:lnTo>
                    <a:lnTo>
                      <a:pt x="111" y="42"/>
                    </a:lnTo>
                    <a:lnTo>
                      <a:pt x="113" y="43"/>
                    </a:lnTo>
                    <a:lnTo>
                      <a:pt x="113" y="43"/>
                    </a:lnTo>
                    <a:lnTo>
                      <a:pt x="114" y="45"/>
                    </a:lnTo>
                    <a:lnTo>
                      <a:pt x="114" y="45"/>
                    </a:lnTo>
                    <a:lnTo>
                      <a:pt x="116" y="43"/>
                    </a:lnTo>
                    <a:lnTo>
                      <a:pt x="116" y="43"/>
                    </a:lnTo>
                    <a:lnTo>
                      <a:pt x="118" y="43"/>
                    </a:lnTo>
                    <a:lnTo>
                      <a:pt x="118" y="43"/>
                    </a:lnTo>
                    <a:lnTo>
                      <a:pt x="119" y="43"/>
                    </a:lnTo>
                    <a:lnTo>
                      <a:pt x="119" y="43"/>
                    </a:lnTo>
                    <a:lnTo>
                      <a:pt x="121" y="42"/>
                    </a:lnTo>
                    <a:lnTo>
                      <a:pt x="121" y="42"/>
                    </a:lnTo>
                    <a:lnTo>
                      <a:pt x="121" y="40"/>
                    </a:lnTo>
                    <a:lnTo>
                      <a:pt x="121" y="40"/>
                    </a:lnTo>
                    <a:lnTo>
                      <a:pt x="121" y="39"/>
                    </a:lnTo>
                    <a:lnTo>
                      <a:pt x="121" y="39"/>
                    </a:lnTo>
                    <a:lnTo>
                      <a:pt x="119" y="37"/>
                    </a:lnTo>
                    <a:lnTo>
                      <a:pt x="119" y="37"/>
                    </a:lnTo>
                    <a:lnTo>
                      <a:pt x="118" y="34"/>
                    </a:lnTo>
                    <a:lnTo>
                      <a:pt x="118" y="34"/>
                    </a:lnTo>
                    <a:lnTo>
                      <a:pt x="118" y="32"/>
                    </a:lnTo>
                    <a:lnTo>
                      <a:pt x="118" y="32"/>
                    </a:lnTo>
                    <a:lnTo>
                      <a:pt x="114" y="32"/>
                    </a:lnTo>
                    <a:lnTo>
                      <a:pt x="114" y="32"/>
                    </a:lnTo>
                    <a:lnTo>
                      <a:pt x="111" y="29"/>
                    </a:lnTo>
                    <a:lnTo>
                      <a:pt x="111" y="29"/>
                    </a:lnTo>
                    <a:lnTo>
                      <a:pt x="111" y="29"/>
                    </a:lnTo>
                    <a:lnTo>
                      <a:pt x="111" y="29"/>
                    </a:lnTo>
                    <a:lnTo>
                      <a:pt x="108" y="26"/>
                    </a:lnTo>
                    <a:lnTo>
                      <a:pt x="108" y="26"/>
                    </a:lnTo>
                    <a:lnTo>
                      <a:pt x="108" y="23"/>
                    </a:lnTo>
                    <a:lnTo>
                      <a:pt x="108" y="23"/>
                    </a:lnTo>
                    <a:lnTo>
                      <a:pt x="108" y="19"/>
                    </a:lnTo>
                    <a:lnTo>
                      <a:pt x="108" y="19"/>
                    </a:lnTo>
                    <a:lnTo>
                      <a:pt x="108" y="19"/>
                    </a:lnTo>
                    <a:lnTo>
                      <a:pt x="108" y="19"/>
                    </a:lnTo>
                    <a:lnTo>
                      <a:pt x="110" y="19"/>
                    </a:lnTo>
                    <a:lnTo>
                      <a:pt x="110" y="19"/>
                    </a:lnTo>
                    <a:lnTo>
                      <a:pt x="110" y="18"/>
                    </a:lnTo>
                    <a:lnTo>
                      <a:pt x="110" y="18"/>
                    </a:lnTo>
                    <a:lnTo>
                      <a:pt x="108" y="18"/>
                    </a:lnTo>
                    <a:lnTo>
                      <a:pt x="108" y="18"/>
                    </a:lnTo>
                    <a:lnTo>
                      <a:pt x="105" y="15"/>
                    </a:lnTo>
                    <a:lnTo>
                      <a:pt x="105" y="15"/>
                    </a:lnTo>
                    <a:lnTo>
                      <a:pt x="99" y="12"/>
                    </a:lnTo>
                    <a:lnTo>
                      <a:pt x="99" y="12"/>
                    </a:lnTo>
                    <a:lnTo>
                      <a:pt x="99" y="10"/>
                    </a:lnTo>
                    <a:lnTo>
                      <a:pt x="99" y="10"/>
                    </a:lnTo>
                    <a:lnTo>
                      <a:pt x="97" y="7"/>
                    </a:lnTo>
                    <a:lnTo>
                      <a:pt x="97" y="7"/>
                    </a:lnTo>
                    <a:lnTo>
                      <a:pt x="95" y="4"/>
                    </a:lnTo>
                    <a:lnTo>
                      <a:pt x="95" y="4"/>
                    </a:lnTo>
                    <a:lnTo>
                      <a:pt x="92" y="0"/>
                    </a:lnTo>
                    <a:lnTo>
                      <a:pt x="92" y="0"/>
                    </a:lnTo>
                    <a:lnTo>
                      <a:pt x="91" y="0"/>
                    </a:lnTo>
                    <a:lnTo>
                      <a:pt x="91" y="0"/>
                    </a:lnTo>
                    <a:lnTo>
                      <a:pt x="87" y="2"/>
                    </a:lnTo>
                    <a:lnTo>
                      <a:pt x="87" y="2"/>
                    </a:lnTo>
                    <a:lnTo>
                      <a:pt x="84" y="4"/>
                    </a:lnTo>
                    <a:lnTo>
                      <a:pt x="84" y="4"/>
                    </a:lnTo>
                    <a:lnTo>
                      <a:pt x="84" y="5"/>
                    </a:lnTo>
                    <a:lnTo>
                      <a:pt x="84" y="5"/>
                    </a:lnTo>
                    <a:lnTo>
                      <a:pt x="83" y="8"/>
                    </a:lnTo>
                    <a:lnTo>
                      <a:pt x="83" y="8"/>
                    </a:lnTo>
                    <a:lnTo>
                      <a:pt x="81" y="10"/>
                    </a:lnTo>
                    <a:lnTo>
                      <a:pt x="81" y="10"/>
                    </a:lnTo>
                    <a:lnTo>
                      <a:pt x="76" y="12"/>
                    </a:lnTo>
                    <a:lnTo>
                      <a:pt x="76" y="12"/>
                    </a:lnTo>
                    <a:lnTo>
                      <a:pt x="73" y="13"/>
                    </a:lnTo>
                    <a:lnTo>
                      <a:pt x="73" y="13"/>
                    </a:lnTo>
                    <a:lnTo>
                      <a:pt x="70" y="15"/>
                    </a:lnTo>
                    <a:lnTo>
                      <a:pt x="70" y="15"/>
                    </a:lnTo>
                    <a:lnTo>
                      <a:pt x="67" y="15"/>
                    </a:lnTo>
                    <a:lnTo>
                      <a:pt x="67" y="15"/>
                    </a:lnTo>
                    <a:lnTo>
                      <a:pt x="60" y="13"/>
                    </a:lnTo>
                    <a:lnTo>
                      <a:pt x="60" y="13"/>
                    </a:lnTo>
                    <a:lnTo>
                      <a:pt x="56" y="12"/>
                    </a:lnTo>
                    <a:lnTo>
                      <a:pt x="56" y="12"/>
                    </a:lnTo>
                    <a:lnTo>
                      <a:pt x="52" y="10"/>
                    </a:lnTo>
                    <a:lnTo>
                      <a:pt x="52" y="10"/>
                    </a:lnTo>
                    <a:lnTo>
                      <a:pt x="49" y="12"/>
                    </a:lnTo>
                    <a:lnTo>
                      <a:pt x="49" y="12"/>
                    </a:lnTo>
                    <a:lnTo>
                      <a:pt x="46" y="15"/>
                    </a:lnTo>
                    <a:lnTo>
                      <a:pt x="46" y="15"/>
                    </a:lnTo>
                    <a:lnTo>
                      <a:pt x="46" y="16"/>
                    </a:lnTo>
                    <a:lnTo>
                      <a:pt x="46" y="16"/>
                    </a:lnTo>
                    <a:lnTo>
                      <a:pt x="48" y="18"/>
                    </a:lnTo>
                    <a:lnTo>
                      <a:pt x="48" y="18"/>
                    </a:lnTo>
                    <a:lnTo>
                      <a:pt x="49" y="18"/>
                    </a:lnTo>
                    <a:lnTo>
                      <a:pt x="49" y="18"/>
                    </a:lnTo>
                    <a:lnTo>
                      <a:pt x="49" y="19"/>
                    </a:lnTo>
                    <a:lnTo>
                      <a:pt x="49" y="19"/>
                    </a:lnTo>
                    <a:lnTo>
                      <a:pt x="49" y="21"/>
                    </a:lnTo>
                    <a:lnTo>
                      <a:pt x="49" y="21"/>
                    </a:lnTo>
                    <a:lnTo>
                      <a:pt x="52" y="21"/>
                    </a:lnTo>
                    <a:lnTo>
                      <a:pt x="52" y="21"/>
                    </a:lnTo>
                    <a:lnTo>
                      <a:pt x="54" y="23"/>
                    </a:lnTo>
                    <a:lnTo>
                      <a:pt x="54" y="23"/>
                    </a:lnTo>
                    <a:lnTo>
                      <a:pt x="51" y="26"/>
                    </a:lnTo>
                    <a:lnTo>
                      <a:pt x="51" y="26"/>
                    </a:lnTo>
                    <a:lnTo>
                      <a:pt x="51" y="26"/>
                    </a:lnTo>
                    <a:lnTo>
                      <a:pt x="51" y="26"/>
                    </a:lnTo>
                    <a:lnTo>
                      <a:pt x="52" y="26"/>
                    </a:lnTo>
                    <a:lnTo>
                      <a:pt x="52" y="26"/>
                    </a:lnTo>
                    <a:lnTo>
                      <a:pt x="54" y="29"/>
                    </a:lnTo>
                    <a:lnTo>
                      <a:pt x="54" y="29"/>
                    </a:lnTo>
                    <a:lnTo>
                      <a:pt x="54" y="29"/>
                    </a:lnTo>
                    <a:lnTo>
                      <a:pt x="54" y="29"/>
                    </a:lnTo>
                    <a:lnTo>
                      <a:pt x="52" y="32"/>
                    </a:lnTo>
                    <a:lnTo>
                      <a:pt x="52" y="32"/>
                    </a:lnTo>
                    <a:lnTo>
                      <a:pt x="54" y="32"/>
                    </a:lnTo>
                    <a:lnTo>
                      <a:pt x="54" y="32"/>
                    </a:lnTo>
                    <a:lnTo>
                      <a:pt x="57" y="35"/>
                    </a:lnTo>
                    <a:lnTo>
                      <a:pt x="57" y="35"/>
                    </a:lnTo>
                    <a:lnTo>
                      <a:pt x="59" y="37"/>
                    </a:lnTo>
                    <a:lnTo>
                      <a:pt x="59" y="37"/>
                    </a:lnTo>
                    <a:lnTo>
                      <a:pt x="59" y="39"/>
                    </a:lnTo>
                    <a:lnTo>
                      <a:pt x="59" y="39"/>
                    </a:lnTo>
                    <a:lnTo>
                      <a:pt x="60" y="39"/>
                    </a:lnTo>
                    <a:lnTo>
                      <a:pt x="60" y="39"/>
                    </a:lnTo>
                    <a:lnTo>
                      <a:pt x="62" y="40"/>
                    </a:lnTo>
                    <a:lnTo>
                      <a:pt x="62" y="40"/>
                    </a:lnTo>
                    <a:lnTo>
                      <a:pt x="64" y="42"/>
                    </a:lnTo>
                    <a:lnTo>
                      <a:pt x="64" y="42"/>
                    </a:lnTo>
                    <a:lnTo>
                      <a:pt x="64" y="43"/>
                    </a:lnTo>
                    <a:lnTo>
                      <a:pt x="64" y="43"/>
                    </a:lnTo>
                    <a:lnTo>
                      <a:pt x="70" y="45"/>
                    </a:lnTo>
                    <a:lnTo>
                      <a:pt x="70" y="45"/>
                    </a:lnTo>
                    <a:lnTo>
                      <a:pt x="73" y="46"/>
                    </a:lnTo>
                    <a:lnTo>
                      <a:pt x="73" y="46"/>
                    </a:lnTo>
                    <a:lnTo>
                      <a:pt x="73" y="48"/>
                    </a:lnTo>
                    <a:lnTo>
                      <a:pt x="73" y="48"/>
                    </a:lnTo>
                    <a:lnTo>
                      <a:pt x="70" y="48"/>
                    </a:lnTo>
                    <a:lnTo>
                      <a:pt x="70" y="48"/>
                    </a:lnTo>
                    <a:lnTo>
                      <a:pt x="67" y="50"/>
                    </a:lnTo>
                    <a:lnTo>
                      <a:pt x="67" y="50"/>
                    </a:lnTo>
                    <a:lnTo>
                      <a:pt x="64" y="53"/>
                    </a:lnTo>
                    <a:lnTo>
                      <a:pt x="64" y="53"/>
                    </a:lnTo>
                    <a:lnTo>
                      <a:pt x="64" y="54"/>
                    </a:lnTo>
                    <a:lnTo>
                      <a:pt x="64" y="54"/>
                    </a:lnTo>
                    <a:lnTo>
                      <a:pt x="64" y="54"/>
                    </a:lnTo>
                    <a:lnTo>
                      <a:pt x="64" y="54"/>
                    </a:lnTo>
                    <a:lnTo>
                      <a:pt x="64" y="58"/>
                    </a:lnTo>
                    <a:lnTo>
                      <a:pt x="64" y="58"/>
                    </a:lnTo>
                    <a:lnTo>
                      <a:pt x="64" y="61"/>
                    </a:lnTo>
                    <a:lnTo>
                      <a:pt x="64" y="61"/>
                    </a:lnTo>
                    <a:lnTo>
                      <a:pt x="64" y="64"/>
                    </a:lnTo>
                    <a:lnTo>
                      <a:pt x="64" y="64"/>
                    </a:lnTo>
                    <a:lnTo>
                      <a:pt x="67" y="64"/>
                    </a:lnTo>
                    <a:lnTo>
                      <a:pt x="67" y="64"/>
                    </a:lnTo>
                    <a:lnTo>
                      <a:pt x="64" y="64"/>
                    </a:lnTo>
                    <a:lnTo>
                      <a:pt x="64" y="64"/>
                    </a:lnTo>
                    <a:lnTo>
                      <a:pt x="64" y="67"/>
                    </a:lnTo>
                    <a:lnTo>
                      <a:pt x="64" y="67"/>
                    </a:lnTo>
                    <a:lnTo>
                      <a:pt x="60" y="70"/>
                    </a:lnTo>
                    <a:lnTo>
                      <a:pt x="60" y="70"/>
                    </a:lnTo>
                    <a:lnTo>
                      <a:pt x="59" y="73"/>
                    </a:lnTo>
                    <a:lnTo>
                      <a:pt x="59" y="73"/>
                    </a:lnTo>
                    <a:lnTo>
                      <a:pt x="59" y="75"/>
                    </a:lnTo>
                    <a:lnTo>
                      <a:pt x="59" y="75"/>
                    </a:lnTo>
                    <a:lnTo>
                      <a:pt x="60" y="77"/>
                    </a:lnTo>
                    <a:lnTo>
                      <a:pt x="60" y="77"/>
                    </a:lnTo>
                    <a:lnTo>
                      <a:pt x="59" y="78"/>
                    </a:lnTo>
                    <a:lnTo>
                      <a:pt x="59" y="78"/>
                    </a:lnTo>
                    <a:lnTo>
                      <a:pt x="56" y="80"/>
                    </a:lnTo>
                    <a:lnTo>
                      <a:pt x="56" y="80"/>
                    </a:lnTo>
                    <a:lnTo>
                      <a:pt x="54" y="81"/>
                    </a:lnTo>
                    <a:lnTo>
                      <a:pt x="54" y="81"/>
                    </a:lnTo>
                    <a:lnTo>
                      <a:pt x="54" y="85"/>
                    </a:lnTo>
                    <a:lnTo>
                      <a:pt x="54" y="85"/>
                    </a:lnTo>
                    <a:lnTo>
                      <a:pt x="51" y="89"/>
                    </a:lnTo>
                    <a:lnTo>
                      <a:pt x="51" y="89"/>
                    </a:lnTo>
                    <a:lnTo>
                      <a:pt x="48" y="92"/>
                    </a:lnTo>
                    <a:lnTo>
                      <a:pt x="48" y="92"/>
                    </a:lnTo>
                    <a:lnTo>
                      <a:pt x="45" y="96"/>
                    </a:lnTo>
                    <a:lnTo>
                      <a:pt x="45" y="96"/>
                    </a:lnTo>
                    <a:lnTo>
                      <a:pt x="43" y="100"/>
                    </a:lnTo>
                    <a:lnTo>
                      <a:pt x="43" y="100"/>
                    </a:lnTo>
                    <a:lnTo>
                      <a:pt x="41" y="104"/>
                    </a:lnTo>
                    <a:lnTo>
                      <a:pt x="41" y="104"/>
                    </a:lnTo>
                    <a:lnTo>
                      <a:pt x="40" y="107"/>
                    </a:lnTo>
                    <a:lnTo>
                      <a:pt x="40" y="107"/>
                    </a:lnTo>
                    <a:lnTo>
                      <a:pt x="38" y="108"/>
                    </a:lnTo>
                    <a:lnTo>
                      <a:pt x="38" y="108"/>
                    </a:lnTo>
                    <a:lnTo>
                      <a:pt x="38" y="110"/>
                    </a:lnTo>
                    <a:lnTo>
                      <a:pt x="38" y="110"/>
                    </a:lnTo>
                    <a:lnTo>
                      <a:pt x="32" y="110"/>
                    </a:lnTo>
                    <a:lnTo>
                      <a:pt x="32" y="110"/>
                    </a:lnTo>
                    <a:lnTo>
                      <a:pt x="29" y="112"/>
                    </a:lnTo>
                    <a:lnTo>
                      <a:pt x="29" y="112"/>
                    </a:lnTo>
                    <a:lnTo>
                      <a:pt x="27" y="112"/>
                    </a:lnTo>
                    <a:lnTo>
                      <a:pt x="27" y="112"/>
                    </a:lnTo>
                    <a:lnTo>
                      <a:pt x="25" y="110"/>
                    </a:lnTo>
                    <a:lnTo>
                      <a:pt x="25" y="110"/>
                    </a:lnTo>
                    <a:lnTo>
                      <a:pt x="24" y="108"/>
                    </a:lnTo>
                    <a:lnTo>
                      <a:pt x="24" y="108"/>
                    </a:lnTo>
                    <a:lnTo>
                      <a:pt x="22" y="107"/>
                    </a:lnTo>
                    <a:lnTo>
                      <a:pt x="22" y="107"/>
                    </a:lnTo>
                    <a:lnTo>
                      <a:pt x="21" y="108"/>
                    </a:lnTo>
                    <a:lnTo>
                      <a:pt x="21" y="108"/>
                    </a:lnTo>
                    <a:lnTo>
                      <a:pt x="18" y="112"/>
                    </a:lnTo>
                    <a:lnTo>
                      <a:pt x="18" y="112"/>
                    </a:lnTo>
                    <a:lnTo>
                      <a:pt x="13" y="119"/>
                    </a:lnTo>
                    <a:lnTo>
                      <a:pt x="13" y="119"/>
                    </a:lnTo>
                    <a:lnTo>
                      <a:pt x="13" y="123"/>
                    </a:lnTo>
                    <a:lnTo>
                      <a:pt x="13" y="123"/>
                    </a:lnTo>
                    <a:lnTo>
                      <a:pt x="13" y="124"/>
                    </a:lnTo>
                    <a:lnTo>
                      <a:pt x="13" y="124"/>
                    </a:lnTo>
                    <a:lnTo>
                      <a:pt x="18" y="127"/>
                    </a:lnTo>
                    <a:lnTo>
                      <a:pt x="18" y="127"/>
                    </a:lnTo>
                    <a:lnTo>
                      <a:pt x="21" y="129"/>
                    </a:lnTo>
                    <a:lnTo>
                      <a:pt x="21" y="129"/>
                    </a:lnTo>
                    <a:lnTo>
                      <a:pt x="22" y="131"/>
                    </a:lnTo>
                    <a:lnTo>
                      <a:pt x="22" y="131"/>
                    </a:lnTo>
                    <a:lnTo>
                      <a:pt x="22" y="132"/>
                    </a:lnTo>
                    <a:lnTo>
                      <a:pt x="22" y="132"/>
                    </a:lnTo>
                    <a:lnTo>
                      <a:pt x="22" y="139"/>
                    </a:lnTo>
                    <a:lnTo>
                      <a:pt x="22" y="139"/>
                    </a:lnTo>
                    <a:lnTo>
                      <a:pt x="24" y="140"/>
                    </a:lnTo>
                    <a:lnTo>
                      <a:pt x="24" y="140"/>
                    </a:lnTo>
                    <a:lnTo>
                      <a:pt x="25" y="142"/>
                    </a:lnTo>
                    <a:lnTo>
                      <a:pt x="25" y="142"/>
                    </a:lnTo>
                    <a:lnTo>
                      <a:pt x="29" y="140"/>
                    </a:lnTo>
                    <a:lnTo>
                      <a:pt x="29" y="140"/>
                    </a:lnTo>
                    <a:lnTo>
                      <a:pt x="29" y="142"/>
                    </a:lnTo>
                    <a:lnTo>
                      <a:pt x="29" y="142"/>
                    </a:lnTo>
                    <a:lnTo>
                      <a:pt x="29" y="143"/>
                    </a:lnTo>
                    <a:lnTo>
                      <a:pt x="29" y="143"/>
                    </a:lnTo>
                    <a:lnTo>
                      <a:pt x="29" y="145"/>
                    </a:lnTo>
                    <a:lnTo>
                      <a:pt x="29" y="145"/>
                    </a:lnTo>
                    <a:lnTo>
                      <a:pt x="32" y="151"/>
                    </a:lnTo>
                    <a:lnTo>
                      <a:pt x="32" y="151"/>
                    </a:lnTo>
                    <a:lnTo>
                      <a:pt x="35" y="154"/>
                    </a:lnTo>
                    <a:lnTo>
                      <a:pt x="35" y="154"/>
                    </a:lnTo>
                    <a:lnTo>
                      <a:pt x="35" y="154"/>
                    </a:lnTo>
                    <a:lnTo>
                      <a:pt x="35" y="154"/>
                    </a:lnTo>
                    <a:lnTo>
                      <a:pt x="35" y="158"/>
                    </a:lnTo>
                    <a:lnTo>
                      <a:pt x="35" y="158"/>
                    </a:lnTo>
                    <a:lnTo>
                      <a:pt x="35" y="158"/>
                    </a:lnTo>
                    <a:lnTo>
                      <a:pt x="35" y="158"/>
                    </a:lnTo>
                    <a:lnTo>
                      <a:pt x="38" y="159"/>
                    </a:lnTo>
                    <a:lnTo>
                      <a:pt x="38" y="159"/>
                    </a:lnTo>
                    <a:lnTo>
                      <a:pt x="32" y="161"/>
                    </a:lnTo>
                    <a:lnTo>
                      <a:pt x="32" y="161"/>
                    </a:lnTo>
                    <a:lnTo>
                      <a:pt x="32" y="161"/>
                    </a:lnTo>
                    <a:lnTo>
                      <a:pt x="32" y="161"/>
                    </a:lnTo>
                    <a:lnTo>
                      <a:pt x="29" y="159"/>
                    </a:lnTo>
                    <a:lnTo>
                      <a:pt x="29" y="159"/>
                    </a:lnTo>
                    <a:lnTo>
                      <a:pt x="29" y="159"/>
                    </a:lnTo>
                    <a:lnTo>
                      <a:pt x="29" y="159"/>
                    </a:lnTo>
                    <a:lnTo>
                      <a:pt x="27" y="159"/>
                    </a:lnTo>
                    <a:lnTo>
                      <a:pt x="27" y="159"/>
                    </a:lnTo>
                    <a:lnTo>
                      <a:pt x="25" y="161"/>
                    </a:lnTo>
                    <a:lnTo>
                      <a:pt x="25" y="161"/>
                    </a:lnTo>
                    <a:lnTo>
                      <a:pt x="24" y="162"/>
                    </a:lnTo>
                    <a:lnTo>
                      <a:pt x="24" y="162"/>
                    </a:lnTo>
                    <a:lnTo>
                      <a:pt x="21" y="162"/>
                    </a:lnTo>
                    <a:lnTo>
                      <a:pt x="21" y="162"/>
                    </a:lnTo>
                    <a:lnTo>
                      <a:pt x="19" y="162"/>
                    </a:lnTo>
                    <a:lnTo>
                      <a:pt x="19" y="162"/>
                    </a:lnTo>
                    <a:lnTo>
                      <a:pt x="13" y="161"/>
                    </a:lnTo>
                    <a:lnTo>
                      <a:pt x="13" y="161"/>
                    </a:lnTo>
                    <a:lnTo>
                      <a:pt x="11" y="161"/>
                    </a:lnTo>
                    <a:lnTo>
                      <a:pt x="11" y="161"/>
                    </a:lnTo>
                    <a:lnTo>
                      <a:pt x="10" y="161"/>
                    </a:lnTo>
                    <a:lnTo>
                      <a:pt x="10" y="161"/>
                    </a:lnTo>
                    <a:lnTo>
                      <a:pt x="6" y="161"/>
                    </a:lnTo>
                    <a:lnTo>
                      <a:pt x="6" y="161"/>
                    </a:lnTo>
                    <a:lnTo>
                      <a:pt x="8" y="164"/>
                    </a:lnTo>
                    <a:lnTo>
                      <a:pt x="8" y="164"/>
                    </a:lnTo>
                    <a:lnTo>
                      <a:pt x="6" y="166"/>
                    </a:lnTo>
                    <a:lnTo>
                      <a:pt x="6" y="166"/>
                    </a:lnTo>
                    <a:lnTo>
                      <a:pt x="3" y="166"/>
                    </a:lnTo>
                    <a:lnTo>
                      <a:pt x="3" y="166"/>
                    </a:lnTo>
                    <a:lnTo>
                      <a:pt x="3" y="167"/>
                    </a:lnTo>
                    <a:lnTo>
                      <a:pt x="3" y="167"/>
                    </a:lnTo>
                    <a:lnTo>
                      <a:pt x="0" y="169"/>
                    </a:lnTo>
                    <a:lnTo>
                      <a:pt x="0" y="169"/>
                    </a:lnTo>
                    <a:lnTo>
                      <a:pt x="0" y="172"/>
                    </a:lnTo>
                    <a:lnTo>
                      <a:pt x="0" y="172"/>
                    </a:lnTo>
                    <a:lnTo>
                      <a:pt x="3" y="172"/>
                    </a:lnTo>
                    <a:lnTo>
                      <a:pt x="3" y="172"/>
                    </a:lnTo>
                    <a:lnTo>
                      <a:pt x="5" y="170"/>
                    </a:lnTo>
                    <a:lnTo>
                      <a:pt x="5" y="170"/>
                    </a:lnTo>
                    <a:lnTo>
                      <a:pt x="3" y="173"/>
                    </a:lnTo>
                    <a:lnTo>
                      <a:pt x="3" y="173"/>
                    </a:lnTo>
                    <a:lnTo>
                      <a:pt x="6" y="175"/>
                    </a:lnTo>
                    <a:lnTo>
                      <a:pt x="6" y="175"/>
                    </a:lnTo>
                    <a:lnTo>
                      <a:pt x="8" y="177"/>
                    </a:lnTo>
                    <a:lnTo>
                      <a:pt x="8" y="177"/>
                    </a:lnTo>
                    <a:lnTo>
                      <a:pt x="8" y="178"/>
                    </a:lnTo>
                    <a:lnTo>
                      <a:pt x="8" y="178"/>
                    </a:lnTo>
                    <a:lnTo>
                      <a:pt x="14" y="180"/>
                    </a:lnTo>
                    <a:lnTo>
                      <a:pt x="14" y="180"/>
                    </a:lnTo>
                    <a:lnTo>
                      <a:pt x="21" y="183"/>
                    </a:lnTo>
                    <a:lnTo>
                      <a:pt x="21" y="183"/>
                    </a:lnTo>
                    <a:lnTo>
                      <a:pt x="22" y="183"/>
                    </a:lnTo>
                    <a:lnTo>
                      <a:pt x="22" y="183"/>
                    </a:lnTo>
                    <a:lnTo>
                      <a:pt x="24" y="180"/>
                    </a:lnTo>
                    <a:lnTo>
                      <a:pt x="24" y="180"/>
                    </a:lnTo>
                    <a:lnTo>
                      <a:pt x="29" y="180"/>
                    </a:lnTo>
                    <a:lnTo>
                      <a:pt x="29" y="180"/>
                    </a:lnTo>
                    <a:lnTo>
                      <a:pt x="29" y="180"/>
                    </a:lnTo>
                    <a:lnTo>
                      <a:pt x="29" y="180"/>
                    </a:lnTo>
                    <a:lnTo>
                      <a:pt x="32" y="178"/>
                    </a:lnTo>
                    <a:lnTo>
                      <a:pt x="32" y="178"/>
                    </a:lnTo>
                    <a:lnTo>
                      <a:pt x="32" y="180"/>
                    </a:lnTo>
                    <a:lnTo>
                      <a:pt x="32" y="180"/>
                    </a:lnTo>
                    <a:lnTo>
                      <a:pt x="29" y="180"/>
                    </a:lnTo>
                    <a:lnTo>
                      <a:pt x="29" y="180"/>
                    </a:lnTo>
                    <a:lnTo>
                      <a:pt x="29" y="186"/>
                    </a:lnTo>
                    <a:lnTo>
                      <a:pt x="29" y="186"/>
                    </a:lnTo>
                    <a:lnTo>
                      <a:pt x="24" y="189"/>
                    </a:lnTo>
                    <a:lnTo>
                      <a:pt x="24" y="189"/>
                    </a:lnTo>
                    <a:lnTo>
                      <a:pt x="22" y="189"/>
                    </a:lnTo>
                    <a:lnTo>
                      <a:pt x="22" y="189"/>
                    </a:lnTo>
                    <a:lnTo>
                      <a:pt x="21" y="189"/>
                    </a:lnTo>
                    <a:lnTo>
                      <a:pt x="21" y="189"/>
                    </a:lnTo>
                    <a:lnTo>
                      <a:pt x="18" y="189"/>
                    </a:lnTo>
                    <a:lnTo>
                      <a:pt x="18" y="189"/>
                    </a:lnTo>
                    <a:lnTo>
                      <a:pt x="16" y="189"/>
                    </a:lnTo>
                    <a:lnTo>
                      <a:pt x="16" y="189"/>
                    </a:lnTo>
                    <a:lnTo>
                      <a:pt x="14" y="189"/>
                    </a:lnTo>
                    <a:lnTo>
                      <a:pt x="14" y="189"/>
                    </a:lnTo>
                    <a:lnTo>
                      <a:pt x="13" y="189"/>
                    </a:lnTo>
                    <a:lnTo>
                      <a:pt x="13" y="189"/>
                    </a:lnTo>
                    <a:lnTo>
                      <a:pt x="13" y="189"/>
                    </a:lnTo>
                    <a:lnTo>
                      <a:pt x="13" y="189"/>
                    </a:lnTo>
                    <a:lnTo>
                      <a:pt x="14" y="193"/>
                    </a:lnTo>
                    <a:lnTo>
                      <a:pt x="14" y="193"/>
                    </a:lnTo>
                    <a:lnTo>
                      <a:pt x="21" y="199"/>
                    </a:lnTo>
                    <a:lnTo>
                      <a:pt x="21" y="199"/>
                    </a:lnTo>
                    <a:lnTo>
                      <a:pt x="27" y="205"/>
                    </a:lnTo>
                    <a:lnTo>
                      <a:pt x="27" y="205"/>
                    </a:lnTo>
                    <a:lnTo>
                      <a:pt x="32" y="210"/>
                    </a:lnTo>
                    <a:lnTo>
                      <a:pt x="32" y="210"/>
                    </a:lnTo>
                    <a:lnTo>
                      <a:pt x="38" y="213"/>
                    </a:lnTo>
                    <a:lnTo>
                      <a:pt x="38" y="213"/>
                    </a:lnTo>
                    <a:lnTo>
                      <a:pt x="40" y="213"/>
                    </a:lnTo>
                    <a:lnTo>
                      <a:pt x="40" y="213"/>
                    </a:lnTo>
                    <a:lnTo>
                      <a:pt x="41" y="213"/>
                    </a:lnTo>
                    <a:lnTo>
                      <a:pt x="41" y="213"/>
                    </a:lnTo>
                    <a:lnTo>
                      <a:pt x="46" y="210"/>
                    </a:lnTo>
                    <a:lnTo>
                      <a:pt x="46" y="210"/>
                    </a:lnTo>
                    <a:lnTo>
                      <a:pt x="52" y="207"/>
                    </a:lnTo>
                    <a:lnTo>
                      <a:pt x="52" y="207"/>
                    </a:lnTo>
                    <a:lnTo>
                      <a:pt x="54" y="205"/>
                    </a:lnTo>
                    <a:lnTo>
                      <a:pt x="54" y="205"/>
                    </a:lnTo>
                    <a:lnTo>
                      <a:pt x="54" y="204"/>
                    </a:lnTo>
                    <a:lnTo>
                      <a:pt x="54" y="204"/>
                    </a:lnTo>
                    <a:lnTo>
                      <a:pt x="56" y="200"/>
                    </a:lnTo>
                    <a:lnTo>
                      <a:pt x="56" y="200"/>
                    </a:lnTo>
                    <a:lnTo>
                      <a:pt x="56" y="199"/>
                    </a:lnTo>
                    <a:lnTo>
                      <a:pt x="56" y="199"/>
                    </a:lnTo>
                    <a:lnTo>
                      <a:pt x="51" y="197"/>
                    </a:lnTo>
                    <a:lnTo>
                      <a:pt x="51" y="197"/>
                    </a:lnTo>
                    <a:lnTo>
                      <a:pt x="52" y="196"/>
                    </a:lnTo>
                    <a:lnTo>
                      <a:pt x="52" y="196"/>
                    </a:lnTo>
                    <a:lnTo>
                      <a:pt x="54" y="196"/>
                    </a:lnTo>
                    <a:lnTo>
                      <a:pt x="54" y="196"/>
                    </a:lnTo>
                    <a:lnTo>
                      <a:pt x="52" y="194"/>
                    </a:lnTo>
                    <a:lnTo>
                      <a:pt x="52" y="194"/>
                    </a:lnTo>
                    <a:lnTo>
                      <a:pt x="54" y="194"/>
                    </a:lnTo>
                    <a:lnTo>
                      <a:pt x="54" y="194"/>
                    </a:lnTo>
                    <a:lnTo>
                      <a:pt x="56" y="191"/>
                    </a:lnTo>
                    <a:lnTo>
                      <a:pt x="56" y="191"/>
                    </a:lnTo>
                    <a:lnTo>
                      <a:pt x="54" y="189"/>
                    </a:lnTo>
                    <a:lnTo>
                      <a:pt x="54" y="189"/>
                    </a:lnTo>
                    <a:lnTo>
                      <a:pt x="56" y="189"/>
                    </a:lnTo>
                    <a:lnTo>
                      <a:pt x="56" y="189"/>
                    </a:lnTo>
                    <a:lnTo>
                      <a:pt x="56" y="189"/>
                    </a:lnTo>
                    <a:lnTo>
                      <a:pt x="56" y="189"/>
                    </a:lnTo>
                    <a:lnTo>
                      <a:pt x="59" y="189"/>
                    </a:lnTo>
                    <a:lnTo>
                      <a:pt x="59" y="189"/>
                    </a:lnTo>
                    <a:lnTo>
                      <a:pt x="62" y="191"/>
                    </a:lnTo>
                    <a:lnTo>
                      <a:pt x="62" y="191"/>
                    </a:lnTo>
                    <a:lnTo>
                      <a:pt x="60" y="191"/>
                    </a:lnTo>
                    <a:lnTo>
                      <a:pt x="60" y="191"/>
                    </a:lnTo>
                    <a:lnTo>
                      <a:pt x="59" y="193"/>
                    </a:lnTo>
                    <a:lnTo>
                      <a:pt x="59" y="193"/>
                    </a:lnTo>
                    <a:lnTo>
                      <a:pt x="57" y="193"/>
                    </a:lnTo>
                    <a:lnTo>
                      <a:pt x="57" y="193"/>
                    </a:lnTo>
                    <a:lnTo>
                      <a:pt x="59" y="194"/>
                    </a:lnTo>
                    <a:lnTo>
                      <a:pt x="59" y="194"/>
                    </a:lnTo>
                    <a:lnTo>
                      <a:pt x="60" y="194"/>
                    </a:lnTo>
                    <a:lnTo>
                      <a:pt x="60" y="194"/>
                    </a:lnTo>
                    <a:lnTo>
                      <a:pt x="59" y="197"/>
                    </a:lnTo>
                    <a:lnTo>
                      <a:pt x="59" y="197"/>
                    </a:lnTo>
                    <a:lnTo>
                      <a:pt x="60" y="199"/>
                    </a:lnTo>
                    <a:lnTo>
                      <a:pt x="60" y="199"/>
                    </a:lnTo>
                    <a:lnTo>
                      <a:pt x="64" y="199"/>
                    </a:lnTo>
                    <a:lnTo>
                      <a:pt x="64" y="199"/>
                    </a:lnTo>
                    <a:lnTo>
                      <a:pt x="60" y="200"/>
                    </a:lnTo>
                    <a:lnTo>
                      <a:pt x="60" y="200"/>
                    </a:lnTo>
                    <a:lnTo>
                      <a:pt x="60" y="204"/>
                    </a:lnTo>
                    <a:lnTo>
                      <a:pt x="60" y="204"/>
                    </a:lnTo>
                    <a:lnTo>
                      <a:pt x="60" y="205"/>
                    </a:lnTo>
                    <a:lnTo>
                      <a:pt x="60" y="205"/>
                    </a:lnTo>
                    <a:lnTo>
                      <a:pt x="62" y="207"/>
                    </a:lnTo>
                    <a:lnTo>
                      <a:pt x="62" y="207"/>
                    </a:lnTo>
                    <a:lnTo>
                      <a:pt x="62" y="207"/>
                    </a:lnTo>
                    <a:lnTo>
                      <a:pt x="62" y="207"/>
                    </a:lnTo>
                    <a:lnTo>
                      <a:pt x="64" y="207"/>
                    </a:lnTo>
                    <a:lnTo>
                      <a:pt x="64" y="207"/>
                    </a:lnTo>
                    <a:lnTo>
                      <a:pt x="64" y="207"/>
                    </a:lnTo>
                    <a:lnTo>
                      <a:pt x="64" y="207"/>
                    </a:lnTo>
                    <a:lnTo>
                      <a:pt x="64" y="210"/>
                    </a:lnTo>
                    <a:lnTo>
                      <a:pt x="64" y="210"/>
                    </a:lnTo>
                    <a:lnTo>
                      <a:pt x="64" y="213"/>
                    </a:lnTo>
                    <a:lnTo>
                      <a:pt x="64" y="213"/>
                    </a:lnTo>
                    <a:lnTo>
                      <a:pt x="64" y="215"/>
                    </a:lnTo>
                    <a:lnTo>
                      <a:pt x="64" y="215"/>
                    </a:lnTo>
                    <a:lnTo>
                      <a:pt x="64" y="221"/>
                    </a:lnTo>
                    <a:lnTo>
                      <a:pt x="64" y="221"/>
                    </a:lnTo>
                    <a:lnTo>
                      <a:pt x="64" y="227"/>
                    </a:lnTo>
                    <a:lnTo>
                      <a:pt x="64" y="227"/>
                    </a:lnTo>
                    <a:lnTo>
                      <a:pt x="64" y="229"/>
                    </a:lnTo>
                    <a:lnTo>
                      <a:pt x="64" y="229"/>
                    </a:lnTo>
                    <a:lnTo>
                      <a:pt x="64" y="231"/>
                    </a:lnTo>
                    <a:lnTo>
                      <a:pt x="64" y="231"/>
                    </a:lnTo>
                    <a:lnTo>
                      <a:pt x="64" y="232"/>
                    </a:lnTo>
                    <a:lnTo>
                      <a:pt x="64" y="232"/>
                    </a:lnTo>
                    <a:lnTo>
                      <a:pt x="67" y="232"/>
                    </a:lnTo>
                    <a:lnTo>
                      <a:pt x="67" y="232"/>
                    </a:lnTo>
                    <a:lnTo>
                      <a:pt x="70" y="234"/>
                    </a:lnTo>
                    <a:lnTo>
                      <a:pt x="70" y="234"/>
                    </a:lnTo>
                    <a:lnTo>
                      <a:pt x="67" y="234"/>
                    </a:lnTo>
                    <a:lnTo>
                      <a:pt x="67" y="234"/>
                    </a:lnTo>
                    <a:lnTo>
                      <a:pt x="67" y="239"/>
                    </a:lnTo>
                    <a:lnTo>
                      <a:pt x="67" y="239"/>
                    </a:lnTo>
                    <a:lnTo>
                      <a:pt x="67" y="235"/>
                    </a:lnTo>
                    <a:lnTo>
                      <a:pt x="67" y="235"/>
                    </a:lnTo>
                    <a:lnTo>
                      <a:pt x="67" y="235"/>
                    </a:lnTo>
                    <a:lnTo>
                      <a:pt x="67" y="235"/>
                    </a:lnTo>
                    <a:lnTo>
                      <a:pt x="67" y="239"/>
                    </a:lnTo>
                    <a:lnTo>
                      <a:pt x="67" y="239"/>
                    </a:lnTo>
                    <a:lnTo>
                      <a:pt x="67" y="239"/>
                    </a:lnTo>
                    <a:lnTo>
                      <a:pt x="67" y="239"/>
                    </a:lnTo>
                    <a:lnTo>
                      <a:pt x="67" y="242"/>
                    </a:lnTo>
                    <a:lnTo>
                      <a:pt x="67" y="242"/>
                    </a:lnTo>
                    <a:lnTo>
                      <a:pt x="67" y="242"/>
                    </a:lnTo>
                    <a:lnTo>
                      <a:pt x="67" y="242"/>
                    </a:lnTo>
                    <a:lnTo>
                      <a:pt x="70" y="245"/>
                    </a:lnTo>
                    <a:lnTo>
                      <a:pt x="70" y="245"/>
                    </a:lnTo>
                    <a:lnTo>
                      <a:pt x="67" y="245"/>
                    </a:lnTo>
                    <a:lnTo>
                      <a:pt x="67" y="245"/>
                    </a:lnTo>
                    <a:lnTo>
                      <a:pt x="67" y="245"/>
                    </a:lnTo>
                    <a:lnTo>
                      <a:pt x="67" y="245"/>
                    </a:lnTo>
                    <a:lnTo>
                      <a:pt x="70" y="248"/>
                    </a:lnTo>
                    <a:lnTo>
                      <a:pt x="70" y="248"/>
                    </a:lnTo>
                    <a:lnTo>
                      <a:pt x="70" y="250"/>
                    </a:lnTo>
                    <a:lnTo>
                      <a:pt x="70" y="250"/>
                    </a:lnTo>
                    <a:lnTo>
                      <a:pt x="70" y="253"/>
                    </a:lnTo>
                    <a:lnTo>
                      <a:pt x="70" y="253"/>
                    </a:lnTo>
                    <a:lnTo>
                      <a:pt x="73" y="259"/>
                    </a:lnTo>
                    <a:lnTo>
                      <a:pt x="73" y="259"/>
                    </a:lnTo>
                    <a:lnTo>
                      <a:pt x="73" y="267"/>
                    </a:lnTo>
                    <a:lnTo>
                      <a:pt x="73" y="267"/>
                    </a:lnTo>
                    <a:lnTo>
                      <a:pt x="75" y="273"/>
                    </a:lnTo>
                    <a:lnTo>
                      <a:pt x="75" y="273"/>
                    </a:lnTo>
                    <a:lnTo>
                      <a:pt x="78" y="280"/>
                    </a:lnTo>
                    <a:lnTo>
                      <a:pt x="78" y="280"/>
                    </a:lnTo>
                    <a:lnTo>
                      <a:pt x="79" y="283"/>
                    </a:lnTo>
                    <a:lnTo>
                      <a:pt x="79" y="283"/>
                    </a:lnTo>
                    <a:lnTo>
                      <a:pt x="81" y="285"/>
                    </a:lnTo>
                    <a:lnTo>
                      <a:pt x="81" y="285"/>
                    </a:lnTo>
                    <a:lnTo>
                      <a:pt x="83" y="286"/>
                    </a:lnTo>
                    <a:lnTo>
                      <a:pt x="83" y="286"/>
                    </a:lnTo>
                    <a:lnTo>
                      <a:pt x="83" y="288"/>
                    </a:lnTo>
                    <a:lnTo>
                      <a:pt x="83" y="288"/>
                    </a:lnTo>
                    <a:lnTo>
                      <a:pt x="84" y="289"/>
                    </a:lnTo>
                    <a:lnTo>
                      <a:pt x="84" y="289"/>
                    </a:lnTo>
                    <a:lnTo>
                      <a:pt x="83" y="289"/>
                    </a:lnTo>
                    <a:lnTo>
                      <a:pt x="83" y="289"/>
                    </a:lnTo>
                    <a:lnTo>
                      <a:pt x="84" y="291"/>
                    </a:lnTo>
                    <a:lnTo>
                      <a:pt x="84" y="291"/>
                    </a:lnTo>
                    <a:lnTo>
                      <a:pt x="86" y="294"/>
                    </a:lnTo>
                    <a:lnTo>
                      <a:pt x="86" y="294"/>
                    </a:lnTo>
                    <a:lnTo>
                      <a:pt x="87" y="296"/>
                    </a:lnTo>
                    <a:lnTo>
                      <a:pt x="87" y="296"/>
                    </a:lnTo>
                    <a:lnTo>
                      <a:pt x="87" y="297"/>
                    </a:lnTo>
                    <a:lnTo>
                      <a:pt x="87" y="297"/>
                    </a:lnTo>
                    <a:lnTo>
                      <a:pt x="87" y="299"/>
                    </a:lnTo>
                    <a:lnTo>
                      <a:pt x="87" y="299"/>
                    </a:lnTo>
                    <a:lnTo>
                      <a:pt x="91" y="300"/>
                    </a:lnTo>
                    <a:lnTo>
                      <a:pt x="91" y="300"/>
                    </a:lnTo>
                    <a:lnTo>
                      <a:pt x="91" y="304"/>
                    </a:lnTo>
                    <a:lnTo>
                      <a:pt x="91" y="304"/>
                    </a:lnTo>
                    <a:lnTo>
                      <a:pt x="92" y="305"/>
                    </a:lnTo>
                    <a:lnTo>
                      <a:pt x="92" y="305"/>
                    </a:lnTo>
                    <a:lnTo>
                      <a:pt x="94" y="305"/>
                    </a:lnTo>
                    <a:lnTo>
                      <a:pt x="94" y="305"/>
                    </a:lnTo>
                    <a:lnTo>
                      <a:pt x="92" y="305"/>
                    </a:lnTo>
                    <a:lnTo>
                      <a:pt x="92" y="305"/>
                    </a:lnTo>
                    <a:lnTo>
                      <a:pt x="94" y="308"/>
                    </a:lnTo>
                    <a:lnTo>
                      <a:pt x="94" y="308"/>
                    </a:lnTo>
                    <a:lnTo>
                      <a:pt x="95" y="315"/>
                    </a:lnTo>
                    <a:lnTo>
                      <a:pt x="95" y="315"/>
                    </a:lnTo>
                    <a:lnTo>
                      <a:pt x="97" y="320"/>
                    </a:lnTo>
                    <a:lnTo>
                      <a:pt x="97" y="320"/>
                    </a:lnTo>
                    <a:lnTo>
                      <a:pt x="99" y="329"/>
                    </a:lnTo>
                    <a:lnTo>
                      <a:pt x="99" y="329"/>
                    </a:lnTo>
                    <a:lnTo>
                      <a:pt x="105" y="339"/>
                    </a:lnTo>
                    <a:lnTo>
                      <a:pt x="105" y="339"/>
                    </a:lnTo>
                    <a:lnTo>
                      <a:pt x="113" y="351"/>
                    </a:lnTo>
                    <a:lnTo>
                      <a:pt x="113" y="351"/>
                    </a:lnTo>
                    <a:lnTo>
                      <a:pt x="116" y="361"/>
                    </a:lnTo>
                    <a:lnTo>
                      <a:pt x="116" y="361"/>
                    </a:lnTo>
                    <a:lnTo>
                      <a:pt x="118" y="364"/>
                    </a:lnTo>
                    <a:lnTo>
                      <a:pt x="118" y="364"/>
                    </a:lnTo>
                    <a:lnTo>
                      <a:pt x="118" y="364"/>
                    </a:lnTo>
                    <a:lnTo>
                      <a:pt x="118" y="364"/>
                    </a:lnTo>
                    <a:lnTo>
                      <a:pt x="118" y="367"/>
                    </a:lnTo>
                    <a:lnTo>
                      <a:pt x="118" y="367"/>
                    </a:lnTo>
                    <a:lnTo>
                      <a:pt x="119" y="364"/>
                    </a:lnTo>
                    <a:lnTo>
                      <a:pt x="119" y="364"/>
                    </a:lnTo>
                    <a:lnTo>
                      <a:pt x="119" y="367"/>
                    </a:lnTo>
                    <a:lnTo>
                      <a:pt x="119" y="367"/>
                    </a:lnTo>
                    <a:lnTo>
                      <a:pt x="121" y="370"/>
                    </a:lnTo>
                    <a:lnTo>
                      <a:pt x="121" y="370"/>
                    </a:lnTo>
                    <a:lnTo>
                      <a:pt x="122" y="373"/>
                    </a:lnTo>
                    <a:lnTo>
                      <a:pt x="122" y="373"/>
                    </a:lnTo>
                    <a:lnTo>
                      <a:pt x="121" y="373"/>
                    </a:lnTo>
                    <a:lnTo>
                      <a:pt x="121" y="373"/>
                    </a:lnTo>
                    <a:lnTo>
                      <a:pt x="121" y="370"/>
                    </a:lnTo>
                    <a:lnTo>
                      <a:pt x="121" y="370"/>
                    </a:lnTo>
                    <a:lnTo>
                      <a:pt x="121" y="370"/>
                    </a:lnTo>
                    <a:lnTo>
                      <a:pt x="121" y="370"/>
                    </a:lnTo>
                    <a:lnTo>
                      <a:pt x="119" y="370"/>
                    </a:lnTo>
                    <a:lnTo>
                      <a:pt x="119" y="370"/>
                    </a:lnTo>
                    <a:lnTo>
                      <a:pt x="119" y="373"/>
                    </a:lnTo>
                    <a:lnTo>
                      <a:pt x="119" y="373"/>
                    </a:lnTo>
                    <a:lnTo>
                      <a:pt x="121" y="375"/>
                    </a:lnTo>
                    <a:lnTo>
                      <a:pt x="121" y="375"/>
                    </a:lnTo>
                    <a:lnTo>
                      <a:pt x="122" y="380"/>
                    </a:lnTo>
                    <a:lnTo>
                      <a:pt x="122" y="380"/>
                    </a:lnTo>
                    <a:lnTo>
                      <a:pt x="122" y="381"/>
                    </a:lnTo>
                    <a:lnTo>
                      <a:pt x="122" y="381"/>
                    </a:lnTo>
                    <a:lnTo>
                      <a:pt x="124" y="381"/>
                    </a:lnTo>
                    <a:lnTo>
                      <a:pt x="124" y="381"/>
                    </a:lnTo>
                    <a:lnTo>
                      <a:pt x="124" y="383"/>
                    </a:lnTo>
                    <a:lnTo>
                      <a:pt x="124" y="383"/>
                    </a:lnTo>
                    <a:lnTo>
                      <a:pt x="127" y="386"/>
                    </a:lnTo>
                    <a:lnTo>
                      <a:pt x="127" y="386"/>
                    </a:lnTo>
                    <a:lnTo>
                      <a:pt x="130" y="393"/>
                    </a:lnTo>
                    <a:lnTo>
                      <a:pt x="130" y="393"/>
                    </a:lnTo>
                    <a:lnTo>
                      <a:pt x="133" y="394"/>
                    </a:lnTo>
                    <a:lnTo>
                      <a:pt x="133" y="394"/>
                    </a:lnTo>
                    <a:lnTo>
                      <a:pt x="137" y="394"/>
                    </a:lnTo>
                    <a:lnTo>
                      <a:pt x="137" y="394"/>
                    </a:lnTo>
                    <a:lnTo>
                      <a:pt x="140" y="393"/>
                    </a:lnTo>
                    <a:lnTo>
                      <a:pt x="140" y="393"/>
                    </a:lnTo>
                    <a:lnTo>
                      <a:pt x="143" y="389"/>
                    </a:lnTo>
                    <a:lnTo>
                      <a:pt x="143" y="389"/>
                    </a:lnTo>
                    <a:lnTo>
                      <a:pt x="143" y="386"/>
                    </a:lnTo>
                    <a:lnTo>
                      <a:pt x="143" y="386"/>
                    </a:lnTo>
                    <a:lnTo>
                      <a:pt x="145" y="385"/>
                    </a:lnTo>
                    <a:lnTo>
                      <a:pt x="145" y="385"/>
                    </a:lnTo>
                    <a:lnTo>
                      <a:pt x="145" y="381"/>
                    </a:lnTo>
                    <a:lnTo>
                      <a:pt x="145" y="381"/>
                    </a:lnTo>
                    <a:lnTo>
                      <a:pt x="148" y="380"/>
                    </a:lnTo>
                    <a:lnTo>
                      <a:pt x="148" y="380"/>
                    </a:lnTo>
                    <a:lnTo>
                      <a:pt x="154" y="377"/>
                    </a:lnTo>
                    <a:lnTo>
                      <a:pt x="154" y="377"/>
                    </a:lnTo>
                    <a:lnTo>
                      <a:pt x="156" y="377"/>
                    </a:lnTo>
                    <a:lnTo>
                      <a:pt x="156" y="377"/>
                    </a:lnTo>
                    <a:lnTo>
                      <a:pt x="153" y="375"/>
                    </a:lnTo>
                    <a:lnTo>
                      <a:pt x="153" y="375"/>
                    </a:lnTo>
                    <a:lnTo>
                      <a:pt x="153" y="373"/>
                    </a:lnTo>
                    <a:lnTo>
                      <a:pt x="153" y="373"/>
                    </a:lnTo>
                    <a:lnTo>
                      <a:pt x="156" y="370"/>
                    </a:lnTo>
                    <a:lnTo>
                      <a:pt x="156" y="370"/>
                    </a:lnTo>
                    <a:lnTo>
                      <a:pt x="157" y="367"/>
                    </a:lnTo>
                    <a:lnTo>
                      <a:pt x="157" y="367"/>
                    </a:lnTo>
                    <a:lnTo>
                      <a:pt x="157" y="364"/>
                    </a:lnTo>
                    <a:lnTo>
                      <a:pt x="157" y="364"/>
                    </a:lnTo>
                    <a:lnTo>
                      <a:pt x="157" y="364"/>
                    </a:lnTo>
                    <a:lnTo>
                      <a:pt x="157" y="364"/>
                    </a:lnTo>
                    <a:lnTo>
                      <a:pt x="159" y="361"/>
                    </a:lnTo>
                    <a:lnTo>
                      <a:pt x="159" y="361"/>
                    </a:lnTo>
                    <a:lnTo>
                      <a:pt x="162" y="361"/>
                    </a:lnTo>
                    <a:lnTo>
                      <a:pt x="162" y="361"/>
                    </a:lnTo>
                    <a:lnTo>
                      <a:pt x="165" y="361"/>
                    </a:lnTo>
                    <a:lnTo>
                      <a:pt x="165" y="361"/>
                    </a:lnTo>
                    <a:lnTo>
                      <a:pt x="164" y="353"/>
                    </a:lnTo>
                    <a:lnTo>
                      <a:pt x="164" y="353"/>
                    </a:lnTo>
                    <a:lnTo>
                      <a:pt x="164" y="350"/>
                    </a:lnTo>
                    <a:lnTo>
                      <a:pt x="164" y="350"/>
                    </a:lnTo>
                    <a:lnTo>
                      <a:pt x="162" y="347"/>
                    </a:lnTo>
                    <a:lnTo>
                      <a:pt x="162" y="347"/>
                    </a:lnTo>
                    <a:lnTo>
                      <a:pt x="162" y="345"/>
                    </a:lnTo>
                    <a:lnTo>
                      <a:pt x="162" y="345"/>
                    </a:lnTo>
                    <a:lnTo>
                      <a:pt x="164" y="343"/>
                    </a:lnTo>
                    <a:lnTo>
                      <a:pt x="164" y="343"/>
                    </a:lnTo>
                    <a:lnTo>
                      <a:pt x="164" y="339"/>
                    </a:lnTo>
                    <a:lnTo>
                      <a:pt x="164" y="339"/>
                    </a:lnTo>
                    <a:lnTo>
                      <a:pt x="165" y="332"/>
                    </a:lnTo>
                    <a:lnTo>
                      <a:pt x="165" y="332"/>
                    </a:lnTo>
                    <a:lnTo>
                      <a:pt x="168" y="327"/>
                    </a:lnTo>
                    <a:lnTo>
                      <a:pt x="168" y="327"/>
                    </a:lnTo>
                    <a:lnTo>
                      <a:pt x="168" y="323"/>
                    </a:lnTo>
                    <a:lnTo>
                      <a:pt x="168" y="323"/>
                    </a:lnTo>
                    <a:lnTo>
                      <a:pt x="168" y="318"/>
                    </a:lnTo>
                    <a:lnTo>
                      <a:pt x="168" y="318"/>
                    </a:lnTo>
                    <a:lnTo>
                      <a:pt x="165" y="316"/>
                    </a:lnTo>
                    <a:lnTo>
                      <a:pt x="165" y="316"/>
                    </a:lnTo>
                    <a:lnTo>
                      <a:pt x="165" y="315"/>
                    </a:lnTo>
                    <a:lnTo>
                      <a:pt x="165" y="315"/>
                    </a:lnTo>
                    <a:lnTo>
                      <a:pt x="164" y="315"/>
                    </a:lnTo>
                    <a:lnTo>
                      <a:pt x="164" y="315"/>
                    </a:lnTo>
                    <a:lnTo>
                      <a:pt x="165" y="315"/>
                    </a:lnTo>
                    <a:lnTo>
                      <a:pt x="165" y="315"/>
                    </a:lnTo>
                    <a:lnTo>
                      <a:pt x="165" y="316"/>
                    </a:lnTo>
                    <a:lnTo>
                      <a:pt x="165" y="316"/>
                    </a:lnTo>
                    <a:lnTo>
                      <a:pt x="165" y="308"/>
                    </a:lnTo>
                    <a:lnTo>
                      <a:pt x="165" y="308"/>
                    </a:lnTo>
                    <a:lnTo>
                      <a:pt x="165" y="304"/>
                    </a:lnTo>
                    <a:lnTo>
                      <a:pt x="165" y="304"/>
                    </a:lnTo>
                    <a:lnTo>
                      <a:pt x="164" y="299"/>
                    </a:lnTo>
                    <a:lnTo>
                      <a:pt x="164" y="299"/>
                    </a:lnTo>
                    <a:lnTo>
                      <a:pt x="162" y="296"/>
                    </a:lnTo>
                    <a:lnTo>
                      <a:pt x="162" y="296"/>
                    </a:lnTo>
                    <a:lnTo>
                      <a:pt x="162" y="293"/>
                    </a:lnTo>
                    <a:lnTo>
                      <a:pt x="162" y="293"/>
                    </a:lnTo>
                    <a:lnTo>
                      <a:pt x="164" y="289"/>
                    </a:lnTo>
                    <a:lnTo>
                      <a:pt x="164" y="289"/>
                    </a:lnTo>
                    <a:lnTo>
                      <a:pt x="165" y="285"/>
                    </a:lnTo>
                    <a:lnTo>
                      <a:pt x="165" y="285"/>
                    </a:lnTo>
                    <a:lnTo>
                      <a:pt x="168" y="283"/>
                    </a:lnTo>
                    <a:lnTo>
                      <a:pt x="168" y="283"/>
                    </a:lnTo>
                    <a:lnTo>
                      <a:pt x="172" y="283"/>
                    </a:lnTo>
                    <a:lnTo>
                      <a:pt x="172" y="283"/>
                    </a:lnTo>
                    <a:lnTo>
                      <a:pt x="172" y="280"/>
                    </a:lnTo>
                    <a:lnTo>
                      <a:pt x="172" y="280"/>
                    </a:lnTo>
                    <a:lnTo>
                      <a:pt x="172" y="283"/>
                    </a:lnTo>
                    <a:lnTo>
                      <a:pt x="172" y="283"/>
                    </a:lnTo>
                    <a:lnTo>
                      <a:pt x="175" y="283"/>
                    </a:lnTo>
                    <a:lnTo>
                      <a:pt x="175" y="283"/>
                    </a:lnTo>
                    <a:lnTo>
                      <a:pt x="175" y="277"/>
                    </a:lnTo>
                    <a:lnTo>
                      <a:pt x="175" y="277"/>
                    </a:lnTo>
                    <a:lnTo>
                      <a:pt x="175" y="277"/>
                    </a:lnTo>
                    <a:lnTo>
                      <a:pt x="175" y="277"/>
                    </a:lnTo>
                    <a:lnTo>
                      <a:pt x="176" y="277"/>
                    </a:lnTo>
                    <a:lnTo>
                      <a:pt x="176" y="277"/>
                    </a:lnTo>
                    <a:lnTo>
                      <a:pt x="184" y="273"/>
                    </a:lnTo>
                    <a:lnTo>
                      <a:pt x="184" y="273"/>
                    </a:lnTo>
                    <a:lnTo>
                      <a:pt x="187" y="273"/>
                    </a:lnTo>
                    <a:lnTo>
                      <a:pt x="187" y="273"/>
                    </a:lnTo>
                    <a:lnTo>
                      <a:pt x="189" y="270"/>
                    </a:lnTo>
                    <a:lnTo>
                      <a:pt x="189" y="270"/>
                    </a:lnTo>
                    <a:lnTo>
                      <a:pt x="189" y="270"/>
                    </a:lnTo>
                    <a:lnTo>
                      <a:pt x="189" y="270"/>
                    </a:lnTo>
                    <a:lnTo>
                      <a:pt x="189" y="269"/>
                    </a:lnTo>
                    <a:lnTo>
                      <a:pt x="189" y="269"/>
                    </a:lnTo>
                    <a:lnTo>
                      <a:pt x="187" y="267"/>
                    </a:lnTo>
                    <a:lnTo>
                      <a:pt x="187" y="267"/>
                    </a:lnTo>
                    <a:lnTo>
                      <a:pt x="189" y="262"/>
                    </a:lnTo>
                    <a:lnTo>
                      <a:pt x="189" y="262"/>
                    </a:lnTo>
                    <a:lnTo>
                      <a:pt x="195" y="259"/>
                    </a:lnTo>
                    <a:lnTo>
                      <a:pt x="195" y="259"/>
                    </a:lnTo>
                    <a:lnTo>
                      <a:pt x="199" y="258"/>
                    </a:lnTo>
                    <a:lnTo>
                      <a:pt x="199" y="258"/>
                    </a:lnTo>
                    <a:lnTo>
                      <a:pt x="199" y="256"/>
                    </a:lnTo>
                    <a:lnTo>
                      <a:pt x="199" y="256"/>
                    </a:lnTo>
                    <a:lnTo>
                      <a:pt x="200" y="254"/>
                    </a:lnTo>
                    <a:lnTo>
                      <a:pt x="200" y="254"/>
                    </a:lnTo>
                    <a:lnTo>
                      <a:pt x="202" y="253"/>
                    </a:lnTo>
                    <a:lnTo>
                      <a:pt x="202" y="253"/>
                    </a:lnTo>
                    <a:lnTo>
                      <a:pt x="202" y="250"/>
                    </a:lnTo>
                    <a:lnTo>
                      <a:pt x="202" y="250"/>
                    </a:lnTo>
                    <a:lnTo>
                      <a:pt x="205" y="250"/>
                    </a:lnTo>
                    <a:lnTo>
                      <a:pt x="205" y="250"/>
                    </a:lnTo>
                    <a:lnTo>
                      <a:pt x="210" y="245"/>
                    </a:lnTo>
                    <a:lnTo>
                      <a:pt x="210" y="245"/>
                    </a:lnTo>
                    <a:lnTo>
                      <a:pt x="213" y="242"/>
                    </a:lnTo>
                    <a:lnTo>
                      <a:pt x="213" y="242"/>
                    </a:lnTo>
                    <a:lnTo>
                      <a:pt x="214" y="235"/>
                    </a:lnTo>
                    <a:lnTo>
                      <a:pt x="214" y="235"/>
                    </a:lnTo>
                    <a:lnTo>
                      <a:pt x="218" y="232"/>
                    </a:lnTo>
                    <a:lnTo>
                      <a:pt x="218" y="232"/>
                    </a:lnTo>
                    <a:lnTo>
                      <a:pt x="221" y="231"/>
                    </a:lnTo>
                    <a:lnTo>
                      <a:pt x="221" y="231"/>
                    </a:lnTo>
                    <a:lnTo>
                      <a:pt x="221" y="227"/>
                    </a:lnTo>
                    <a:lnTo>
                      <a:pt x="221" y="227"/>
                    </a:lnTo>
                    <a:lnTo>
                      <a:pt x="221" y="229"/>
                    </a:lnTo>
                    <a:lnTo>
                      <a:pt x="221" y="229"/>
                    </a:lnTo>
                    <a:lnTo>
                      <a:pt x="219" y="231"/>
                    </a:lnTo>
                    <a:lnTo>
                      <a:pt x="219" y="231"/>
                    </a:lnTo>
                    <a:lnTo>
                      <a:pt x="221" y="227"/>
                    </a:lnTo>
                    <a:lnTo>
                      <a:pt x="221" y="227"/>
                    </a:lnTo>
                    <a:lnTo>
                      <a:pt x="221" y="224"/>
                    </a:lnTo>
                    <a:lnTo>
                      <a:pt x="221" y="224"/>
                    </a:lnTo>
                    <a:lnTo>
                      <a:pt x="224" y="224"/>
                    </a:lnTo>
                    <a:lnTo>
                      <a:pt x="224" y="224"/>
                    </a:lnTo>
                    <a:lnTo>
                      <a:pt x="224" y="226"/>
                    </a:lnTo>
                    <a:lnTo>
                      <a:pt x="224" y="226"/>
                    </a:lnTo>
                    <a:lnTo>
                      <a:pt x="224" y="227"/>
                    </a:lnTo>
                    <a:lnTo>
                      <a:pt x="224" y="227"/>
                    </a:lnTo>
                    <a:lnTo>
                      <a:pt x="230" y="226"/>
                    </a:lnTo>
                    <a:lnTo>
                      <a:pt x="230" y="226"/>
                    </a:lnTo>
                    <a:lnTo>
                      <a:pt x="233" y="223"/>
                    </a:lnTo>
                    <a:lnTo>
                      <a:pt x="233" y="223"/>
                    </a:lnTo>
                    <a:lnTo>
                      <a:pt x="233" y="223"/>
                    </a:lnTo>
                    <a:lnTo>
                      <a:pt x="233" y="223"/>
                    </a:lnTo>
                    <a:lnTo>
                      <a:pt x="233" y="221"/>
                    </a:lnTo>
                    <a:lnTo>
                      <a:pt x="233" y="221"/>
                    </a:lnTo>
                    <a:lnTo>
                      <a:pt x="237" y="218"/>
                    </a:lnTo>
                    <a:lnTo>
                      <a:pt x="237" y="218"/>
                    </a:lnTo>
                    <a:lnTo>
                      <a:pt x="238" y="216"/>
                    </a:lnTo>
                    <a:lnTo>
                      <a:pt x="238" y="216"/>
                    </a:lnTo>
                    <a:lnTo>
                      <a:pt x="238" y="215"/>
                    </a:lnTo>
                    <a:lnTo>
                      <a:pt x="238" y="215"/>
                    </a:lnTo>
                    <a:lnTo>
                      <a:pt x="240" y="213"/>
                    </a:lnTo>
                    <a:lnTo>
                      <a:pt x="240" y="213"/>
                    </a:lnTo>
                    <a:lnTo>
                      <a:pt x="238" y="210"/>
                    </a:lnTo>
                    <a:lnTo>
                      <a:pt x="238" y="210"/>
                    </a:lnTo>
                    <a:lnTo>
                      <a:pt x="238" y="205"/>
                    </a:lnTo>
                    <a:lnTo>
                      <a:pt x="238" y="205"/>
                    </a:lnTo>
                    <a:lnTo>
                      <a:pt x="240" y="202"/>
                    </a:lnTo>
                    <a:lnTo>
                      <a:pt x="240" y="202"/>
                    </a:lnTo>
                    <a:lnTo>
                      <a:pt x="243" y="200"/>
                    </a:lnTo>
                    <a:lnTo>
                      <a:pt x="243" y="200"/>
                    </a:lnTo>
                    <a:lnTo>
                      <a:pt x="249" y="199"/>
                    </a:lnTo>
                    <a:lnTo>
                      <a:pt x="249" y="199"/>
                    </a:lnTo>
                    <a:lnTo>
                      <a:pt x="253" y="194"/>
                    </a:lnTo>
                    <a:lnTo>
                      <a:pt x="253" y="194"/>
                    </a:lnTo>
                    <a:lnTo>
                      <a:pt x="253" y="193"/>
                    </a:lnTo>
                    <a:lnTo>
                      <a:pt x="253" y="193"/>
                    </a:lnTo>
                    <a:lnTo>
                      <a:pt x="254" y="194"/>
                    </a:lnTo>
                    <a:lnTo>
                      <a:pt x="254" y="194"/>
                    </a:lnTo>
                    <a:lnTo>
                      <a:pt x="254" y="197"/>
                    </a:lnTo>
                    <a:lnTo>
                      <a:pt x="254" y="197"/>
                    </a:lnTo>
                    <a:lnTo>
                      <a:pt x="256" y="200"/>
                    </a:lnTo>
                    <a:lnTo>
                      <a:pt x="256" y="200"/>
                    </a:lnTo>
                    <a:lnTo>
                      <a:pt x="256" y="199"/>
                    </a:lnTo>
                    <a:lnTo>
                      <a:pt x="256" y="199"/>
                    </a:lnTo>
                    <a:lnTo>
                      <a:pt x="256" y="199"/>
                    </a:lnTo>
                    <a:lnTo>
                      <a:pt x="256" y="199"/>
                    </a:lnTo>
                    <a:lnTo>
                      <a:pt x="256" y="197"/>
                    </a:lnTo>
                    <a:lnTo>
                      <a:pt x="256" y="197"/>
                    </a:lnTo>
                    <a:lnTo>
                      <a:pt x="256" y="196"/>
                    </a:lnTo>
                    <a:lnTo>
                      <a:pt x="256" y="196"/>
                    </a:lnTo>
                    <a:lnTo>
                      <a:pt x="259" y="199"/>
                    </a:lnTo>
                    <a:lnTo>
                      <a:pt x="259" y="199"/>
                    </a:lnTo>
                    <a:lnTo>
                      <a:pt x="259" y="196"/>
                    </a:lnTo>
                    <a:lnTo>
                      <a:pt x="259" y="196"/>
                    </a:lnTo>
                    <a:lnTo>
                      <a:pt x="259" y="194"/>
                    </a:lnTo>
                    <a:lnTo>
                      <a:pt x="259" y="194"/>
                    </a:lnTo>
                    <a:lnTo>
                      <a:pt x="259" y="193"/>
                    </a:lnTo>
                    <a:lnTo>
                      <a:pt x="259" y="193"/>
                    </a:lnTo>
                    <a:lnTo>
                      <a:pt x="259" y="191"/>
                    </a:lnTo>
                    <a:lnTo>
                      <a:pt x="259" y="191"/>
                    </a:lnTo>
                    <a:lnTo>
                      <a:pt x="259" y="194"/>
                    </a:lnTo>
                    <a:lnTo>
                      <a:pt x="259" y="194"/>
                    </a:lnTo>
                    <a:lnTo>
                      <a:pt x="259" y="193"/>
                    </a:lnTo>
                    <a:lnTo>
                      <a:pt x="259" y="193"/>
                    </a:lnTo>
                    <a:lnTo>
                      <a:pt x="259" y="196"/>
                    </a:lnTo>
                    <a:lnTo>
                      <a:pt x="259" y="196"/>
                    </a:lnTo>
                    <a:lnTo>
                      <a:pt x="259" y="199"/>
                    </a:lnTo>
                    <a:lnTo>
                      <a:pt x="259" y="199"/>
                    </a:lnTo>
                    <a:lnTo>
                      <a:pt x="262" y="199"/>
                    </a:lnTo>
                    <a:lnTo>
                      <a:pt x="262" y="199"/>
                    </a:lnTo>
                    <a:lnTo>
                      <a:pt x="262" y="197"/>
                    </a:lnTo>
                    <a:lnTo>
                      <a:pt x="262" y="197"/>
                    </a:lnTo>
                    <a:lnTo>
                      <a:pt x="262" y="199"/>
                    </a:lnTo>
                    <a:lnTo>
                      <a:pt x="262" y="199"/>
                    </a:lnTo>
                    <a:lnTo>
                      <a:pt x="265" y="199"/>
                    </a:lnTo>
                    <a:lnTo>
                      <a:pt x="265" y="199"/>
                    </a:lnTo>
                    <a:lnTo>
                      <a:pt x="265" y="197"/>
                    </a:lnTo>
                    <a:lnTo>
                      <a:pt x="265" y="197"/>
                    </a:lnTo>
                    <a:lnTo>
                      <a:pt x="262" y="194"/>
                    </a:lnTo>
                    <a:lnTo>
                      <a:pt x="262" y="194"/>
                    </a:lnTo>
                    <a:lnTo>
                      <a:pt x="265" y="196"/>
                    </a:lnTo>
                    <a:lnTo>
                      <a:pt x="265" y="196"/>
                    </a:lnTo>
                    <a:lnTo>
                      <a:pt x="265" y="193"/>
                    </a:lnTo>
                    <a:lnTo>
                      <a:pt x="265" y="193"/>
                    </a:lnTo>
                    <a:lnTo>
                      <a:pt x="265" y="191"/>
                    </a:lnTo>
                    <a:lnTo>
                      <a:pt x="265" y="191"/>
                    </a:lnTo>
                    <a:lnTo>
                      <a:pt x="262" y="189"/>
                    </a:lnTo>
                    <a:lnTo>
                      <a:pt x="262" y="189"/>
                    </a:lnTo>
                    <a:lnTo>
                      <a:pt x="262" y="183"/>
                    </a:lnTo>
                    <a:lnTo>
                      <a:pt x="262" y="183"/>
                    </a:lnTo>
                    <a:lnTo>
                      <a:pt x="262" y="180"/>
                    </a:lnTo>
                    <a:lnTo>
                      <a:pt x="262" y="180"/>
                    </a:lnTo>
                    <a:lnTo>
                      <a:pt x="262" y="178"/>
                    </a:lnTo>
                    <a:lnTo>
                      <a:pt x="262" y="178"/>
                    </a:lnTo>
                    <a:lnTo>
                      <a:pt x="259" y="177"/>
                    </a:lnTo>
                    <a:lnTo>
                      <a:pt x="259" y="177"/>
                    </a:lnTo>
                    <a:lnTo>
                      <a:pt x="259" y="177"/>
                    </a:lnTo>
                    <a:lnTo>
                      <a:pt x="259" y="177"/>
                    </a:lnTo>
                    <a:lnTo>
                      <a:pt x="259" y="172"/>
                    </a:lnTo>
                    <a:lnTo>
                      <a:pt x="259" y="172"/>
                    </a:lnTo>
                    <a:lnTo>
                      <a:pt x="256" y="170"/>
                    </a:lnTo>
                    <a:lnTo>
                      <a:pt x="256" y="170"/>
                    </a:lnTo>
                    <a:lnTo>
                      <a:pt x="256" y="169"/>
                    </a:lnTo>
                    <a:lnTo>
                      <a:pt x="256" y="169"/>
                    </a:lnTo>
                    <a:lnTo>
                      <a:pt x="256" y="167"/>
                    </a:lnTo>
                    <a:lnTo>
                      <a:pt x="256" y="167"/>
                    </a:lnTo>
                    <a:lnTo>
                      <a:pt x="256" y="166"/>
                    </a:lnTo>
                    <a:lnTo>
                      <a:pt x="256" y="166"/>
                    </a:lnTo>
                    <a:lnTo>
                      <a:pt x="256" y="164"/>
                    </a:lnTo>
                    <a:lnTo>
                      <a:pt x="256" y="164"/>
                    </a:lnTo>
                    <a:lnTo>
                      <a:pt x="256" y="161"/>
                    </a:lnTo>
                    <a:lnTo>
                      <a:pt x="256" y="161"/>
                    </a:lnTo>
                    <a:lnTo>
                      <a:pt x="253" y="159"/>
                    </a:lnTo>
                    <a:lnTo>
                      <a:pt x="253" y="159"/>
                    </a:lnTo>
                    <a:lnTo>
                      <a:pt x="248" y="158"/>
                    </a:lnTo>
                    <a:lnTo>
                      <a:pt x="248" y="158"/>
                    </a:lnTo>
                    <a:lnTo>
                      <a:pt x="246" y="158"/>
                    </a:lnTo>
                    <a:lnTo>
                      <a:pt x="246" y="158"/>
                    </a:lnTo>
                    <a:lnTo>
                      <a:pt x="246" y="154"/>
                    </a:lnTo>
                    <a:lnTo>
                      <a:pt x="246" y="154"/>
                    </a:lnTo>
                    <a:lnTo>
                      <a:pt x="248" y="151"/>
                    </a:lnTo>
                    <a:lnTo>
                      <a:pt x="248" y="151"/>
                    </a:lnTo>
                    <a:lnTo>
                      <a:pt x="249" y="151"/>
                    </a:lnTo>
                    <a:lnTo>
                      <a:pt x="249" y="151"/>
                    </a:lnTo>
                    <a:lnTo>
                      <a:pt x="251" y="151"/>
                    </a:lnTo>
                    <a:lnTo>
                      <a:pt x="251" y="151"/>
                    </a:lnTo>
                    <a:lnTo>
                      <a:pt x="251" y="148"/>
                    </a:lnTo>
                    <a:lnTo>
                      <a:pt x="251" y="148"/>
                    </a:lnTo>
                    <a:lnTo>
                      <a:pt x="253" y="148"/>
                    </a:lnTo>
                    <a:lnTo>
                      <a:pt x="253" y="148"/>
                    </a:lnTo>
                    <a:lnTo>
                      <a:pt x="256" y="148"/>
                    </a:lnTo>
                    <a:lnTo>
                      <a:pt x="256" y="148"/>
                    </a:lnTo>
                    <a:lnTo>
                      <a:pt x="256" y="148"/>
                    </a:lnTo>
                    <a:lnTo>
                      <a:pt x="256" y="148"/>
                    </a:lnTo>
                    <a:lnTo>
                      <a:pt x="256" y="145"/>
                    </a:lnTo>
                    <a:lnTo>
                      <a:pt x="256" y="145"/>
                    </a:lnTo>
                    <a:lnTo>
                      <a:pt x="256" y="145"/>
                    </a:lnTo>
                    <a:lnTo>
                      <a:pt x="256" y="145"/>
                    </a:lnTo>
                    <a:lnTo>
                      <a:pt x="256" y="145"/>
                    </a:lnTo>
                    <a:lnTo>
                      <a:pt x="256" y="145"/>
                    </a:lnTo>
                    <a:lnTo>
                      <a:pt x="254" y="145"/>
                    </a:lnTo>
                    <a:lnTo>
                      <a:pt x="254" y="145"/>
                    </a:lnTo>
                    <a:lnTo>
                      <a:pt x="254" y="143"/>
                    </a:lnTo>
                    <a:lnTo>
                      <a:pt x="254" y="143"/>
                    </a:lnTo>
                    <a:lnTo>
                      <a:pt x="251" y="143"/>
                    </a:lnTo>
                    <a:lnTo>
                      <a:pt x="251" y="143"/>
                    </a:lnTo>
                    <a:lnTo>
                      <a:pt x="249" y="142"/>
                    </a:lnTo>
                    <a:lnTo>
                      <a:pt x="249" y="142"/>
                    </a:lnTo>
                    <a:lnTo>
                      <a:pt x="248" y="140"/>
                    </a:lnTo>
                    <a:lnTo>
                      <a:pt x="248" y="140"/>
                    </a:lnTo>
                    <a:lnTo>
                      <a:pt x="245" y="139"/>
                    </a:lnTo>
                    <a:lnTo>
                      <a:pt x="245" y="139"/>
                    </a:lnTo>
                    <a:lnTo>
                      <a:pt x="245" y="135"/>
                    </a:lnTo>
                    <a:lnTo>
                      <a:pt x="245" y="135"/>
                    </a:lnTo>
                    <a:lnTo>
                      <a:pt x="246" y="132"/>
                    </a:lnTo>
                    <a:lnTo>
                      <a:pt x="246" y="132"/>
                    </a:lnTo>
                    <a:lnTo>
                      <a:pt x="249" y="131"/>
                    </a:lnTo>
                    <a:lnTo>
                      <a:pt x="249" y="131"/>
                    </a:lnTo>
                    <a:lnTo>
                      <a:pt x="248" y="129"/>
                    </a:lnTo>
                    <a:lnTo>
                      <a:pt x="248" y="129"/>
                    </a:lnTo>
                    <a:lnTo>
                      <a:pt x="246" y="129"/>
                    </a:lnTo>
                    <a:lnTo>
                      <a:pt x="246" y="129"/>
                    </a:lnTo>
                    <a:lnTo>
                      <a:pt x="246" y="127"/>
                    </a:lnTo>
                    <a:lnTo>
                      <a:pt x="246" y="127"/>
                    </a:lnTo>
                    <a:lnTo>
                      <a:pt x="249" y="129"/>
                    </a:lnTo>
                    <a:lnTo>
                      <a:pt x="249" y="129"/>
                    </a:lnTo>
                    <a:lnTo>
                      <a:pt x="251" y="132"/>
                    </a:lnTo>
                    <a:lnTo>
                      <a:pt x="251" y="132"/>
                    </a:lnTo>
                    <a:lnTo>
                      <a:pt x="253" y="132"/>
                    </a:lnTo>
                    <a:lnTo>
                      <a:pt x="253" y="132"/>
                    </a:lnTo>
                    <a:lnTo>
                      <a:pt x="253" y="132"/>
                    </a:lnTo>
                    <a:lnTo>
                      <a:pt x="253" y="132"/>
                    </a:lnTo>
                    <a:lnTo>
                      <a:pt x="256" y="132"/>
                    </a:lnTo>
                    <a:lnTo>
                      <a:pt x="256" y="132"/>
                    </a:lnTo>
                    <a:lnTo>
                      <a:pt x="256" y="134"/>
                    </a:lnTo>
                    <a:lnTo>
                      <a:pt x="256" y="134"/>
                    </a:lnTo>
                    <a:lnTo>
                      <a:pt x="259" y="135"/>
                    </a:lnTo>
                    <a:lnTo>
                      <a:pt x="259" y="135"/>
                    </a:lnTo>
                    <a:lnTo>
                      <a:pt x="262" y="137"/>
                    </a:lnTo>
                    <a:lnTo>
                      <a:pt x="262" y="137"/>
                    </a:lnTo>
                    <a:lnTo>
                      <a:pt x="262" y="135"/>
                    </a:lnTo>
                    <a:lnTo>
                      <a:pt x="262" y="135"/>
                    </a:lnTo>
                    <a:lnTo>
                      <a:pt x="262" y="134"/>
                    </a:lnTo>
                    <a:lnTo>
                      <a:pt x="262" y="134"/>
                    </a:lnTo>
                    <a:lnTo>
                      <a:pt x="265" y="135"/>
                    </a:lnTo>
                    <a:lnTo>
                      <a:pt x="265" y="135"/>
                    </a:lnTo>
                    <a:lnTo>
                      <a:pt x="265" y="139"/>
                    </a:lnTo>
                    <a:lnTo>
                      <a:pt x="265" y="139"/>
                    </a:lnTo>
                    <a:lnTo>
                      <a:pt x="267" y="143"/>
                    </a:lnTo>
                    <a:lnTo>
                      <a:pt x="267" y="143"/>
                    </a:lnTo>
                    <a:lnTo>
                      <a:pt x="267" y="145"/>
                    </a:lnTo>
                    <a:lnTo>
                      <a:pt x="267" y="145"/>
                    </a:lnTo>
                    <a:lnTo>
                      <a:pt x="272" y="148"/>
                    </a:lnTo>
                    <a:lnTo>
                      <a:pt x="272" y="148"/>
                    </a:lnTo>
                    <a:lnTo>
                      <a:pt x="280" y="148"/>
                    </a:lnTo>
                    <a:lnTo>
                      <a:pt x="280" y="148"/>
                    </a:lnTo>
                    <a:lnTo>
                      <a:pt x="287" y="148"/>
                    </a:lnTo>
                    <a:lnTo>
                      <a:pt x="287" y="148"/>
                    </a:lnTo>
                    <a:lnTo>
                      <a:pt x="294" y="148"/>
                    </a:lnTo>
                    <a:lnTo>
                      <a:pt x="294" y="148"/>
                    </a:lnTo>
                    <a:lnTo>
                      <a:pt x="297" y="148"/>
                    </a:lnTo>
                    <a:lnTo>
                      <a:pt x="297" y="148"/>
                    </a:lnTo>
                    <a:lnTo>
                      <a:pt x="300" y="151"/>
                    </a:lnTo>
                    <a:lnTo>
                      <a:pt x="300" y="151"/>
                    </a:lnTo>
                    <a:lnTo>
                      <a:pt x="297" y="151"/>
                    </a:lnTo>
                    <a:lnTo>
                      <a:pt x="297" y="151"/>
                    </a:lnTo>
                    <a:lnTo>
                      <a:pt x="300" y="154"/>
                    </a:lnTo>
                    <a:lnTo>
                      <a:pt x="300" y="154"/>
                    </a:lnTo>
                    <a:lnTo>
                      <a:pt x="297" y="158"/>
                    </a:lnTo>
                    <a:lnTo>
                      <a:pt x="297" y="158"/>
                    </a:lnTo>
                    <a:lnTo>
                      <a:pt x="294" y="162"/>
                    </a:lnTo>
                    <a:lnTo>
                      <a:pt x="294" y="162"/>
                    </a:lnTo>
                    <a:lnTo>
                      <a:pt x="294" y="162"/>
                    </a:lnTo>
                    <a:lnTo>
                      <a:pt x="294" y="162"/>
                    </a:lnTo>
                    <a:lnTo>
                      <a:pt x="291" y="162"/>
                    </a:lnTo>
                    <a:lnTo>
                      <a:pt x="291" y="162"/>
                    </a:lnTo>
                    <a:lnTo>
                      <a:pt x="291" y="164"/>
                    </a:lnTo>
                    <a:lnTo>
                      <a:pt x="291" y="164"/>
                    </a:lnTo>
                    <a:lnTo>
                      <a:pt x="289" y="164"/>
                    </a:lnTo>
                    <a:lnTo>
                      <a:pt x="289" y="164"/>
                    </a:lnTo>
                    <a:lnTo>
                      <a:pt x="289" y="167"/>
                    </a:lnTo>
                    <a:lnTo>
                      <a:pt x="289" y="167"/>
                    </a:lnTo>
                    <a:lnTo>
                      <a:pt x="287" y="172"/>
                    </a:lnTo>
                    <a:lnTo>
                      <a:pt x="287" y="172"/>
                    </a:lnTo>
                    <a:lnTo>
                      <a:pt x="291" y="178"/>
                    </a:lnTo>
                    <a:lnTo>
                      <a:pt x="291" y="178"/>
                    </a:lnTo>
                    <a:lnTo>
                      <a:pt x="291" y="177"/>
                    </a:lnTo>
                    <a:lnTo>
                      <a:pt x="291" y="177"/>
                    </a:lnTo>
                    <a:lnTo>
                      <a:pt x="294" y="180"/>
                    </a:lnTo>
                    <a:lnTo>
                      <a:pt x="294" y="180"/>
                    </a:lnTo>
                    <a:lnTo>
                      <a:pt x="297" y="180"/>
                    </a:lnTo>
                    <a:lnTo>
                      <a:pt x="297" y="180"/>
                    </a:lnTo>
                    <a:lnTo>
                      <a:pt x="297" y="178"/>
                    </a:lnTo>
                    <a:lnTo>
                      <a:pt x="297" y="178"/>
                    </a:lnTo>
                    <a:lnTo>
                      <a:pt x="297" y="177"/>
                    </a:lnTo>
                    <a:lnTo>
                      <a:pt x="297" y="177"/>
                    </a:lnTo>
                    <a:lnTo>
                      <a:pt x="297" y="173"/>
                    </a:lnTo>
                    <a:lnTo>
                      <a:pt x="297" y="173"/>
                    </a:lnTo>
                    <a:lnTo>
                      <a:pt x="297" y="172"/>
                    </a:lnTo>
                    <a:lnTo>
                      <a:pt x="297" y="172"/>
                    </a:lnTo>
                    <a:lnTo>
                      <a:pt x="297" y="170"/>
                    </a:lnTo>
                    <a:lnTo>
                      <a:pt x="297" y="170"/>
                    </a:lnTo>
                    <a:lnTo>
                      <a:pt x="297" y="170"/>
                    </a:lnTo>
                    <a:lnTo>
                      <a:pt x="297" y="170"/>
                    </a:lnTo>
                    <a:lnTo>
                      <a:pt x="300" y="170"/>
                    </a:lnTo>
                    <a:lnTo>
                      <a:pt x="300" y="170"/>
                    </a:lnTo>
                    <a:lnTo>
                      <a:pt x="300" y="169"/>
                    </a:lnTo>
                    <a:lnTo>
                      <a:pt x="300" y="169"/>
                    </a:lnTo>
                    <a:lnTo>
                      <a:pt x="300" y="170"/>
                    </a:lnTo>
                    <a:lnTo>
                      <a:pt x="300" y="170"/>
                    </a:lnTo>
                    <a:lnTo>
                      <a:pt x="307" y="189"/>
                    </a:lnTo>
                    <a:lnTo>
                      <a:pt x="307" y="189"/>
                    </a:lnTo>
                    <a:lnTo>
                      <a:pt x="308" y="194"/>
                    </a:lnTo>
                    <a:lnTo>
                      <a:pt x="308" y="194"/>
                    </a:lnTo>
                    <a:lnTo>
                      <a:pt x="310" y="191"/>
                    </a:lnTo>
                    <a:lnTo>
                      <a:pt x="310" y="191"/>
                    </a:lnTo>
                    <a:lnTo>
                      <a:pt x="313" y="194"/>
                    </a:lnTo>
                    <a:lnTo>
                      <a:pt x="313" y="194"/>
                    </a:lnTo>
                    <a:lnTo>
                      <a:pt x="313" y="191"/>
                    </a:lnTo>
                    <a:lnTo>
                      <a:pt x="313" y="191"/>
                    </a:lnTo>
                    <a:lnTo>
                      <a:pt x="314" y="191"/>
                    </a:lnTo>
                    <a:lnTo>
                      <a:pt x="314" y="191"/>
                    </a:lnTo>
                    <a:lnTo>
                      <a:pt x="316" y="189"/>
                    </a:lnTo>
                    <a:lnTo>
                      <a:pt x="316" y="189"/>
                    </a:lnTo>
                    <a:lnTo>
                      <a:pt x="314" y="189"/>
                    </a:lnTo>
                    <a:lnTo>
                      <a:pt x="314" y="189"/>
                    </a:lnTo>
                    <a:lnTo>
                      <a:pt x="313" y="183"/>
                    </a:lnTo>
                    <a:lnTo>
                      <a:pt x="313" y="183"/>
                    </a:lnTo>
                    <a:lnTo>
                      <a:pt x="313" y="180"/>
                    </a:lnTo>
                    <a:lnTo>
                      <a:pt x="313" y="180"/>
                    </a:lnTo>
                    <a:lnTo>
                      <a:pt x="314" y="180"/>
                    </a:lnTo>
                    <a:lnTo>
                      <a:pt x="314" y="180"/>
                    </a:lnTo>
                    <a:lnTo>
                      <a:pt x="316" y="178"/>
                    </a:lnTo>
                    <a:lnTo>
                      <a:pt x="316" y="178"/>
                    </a:lnTo>
                    <a:lnTo>
                      <a:pt x="316" y="175"/>
                    </a:lnTo>
                    <a:lnTo>
                      <a:pt x="316" y="175"/>
                    </a:lnTo>
                    <a:lnTo>
                      <a:pt x="313" y="166"/>
                    </a:lnTo>
                    <a:lnTo>
                      <a:pt x="313" y="166"/>
                    </a:lnTo>
                    <a:lnTo>
                      <a:pt x="314" y="166"/>
                    </a:lnTo>
                    <a:lnTo>
                      <a:pt x="314" y="166"/>
                    </a:lnTo>
                    <a:lnTo>
                      <a:pt x="316" y="166"/>
                    </a:lnTo>
                    <a:lnTo>
                      <a:pt x="316" y="166"/>
                    </a:lnTo>
                    <a:lnTo>
                      <a:pt x="318" y="166"/>
                    </a:lnTo>
                    <a:lnTo>
                      <a:pt x="318" y="166"/>
                    </a:lnTo>
                    <a:lnTo>
                      <a:pt x="324" y="167"/>
                    </a:lnTo>
                    <a:lnTo>
                      <a:pt x="324" y="167"/>
                    </a:lnTo>
                    <a:lnTo>
                      <a:pt x="326" y="159"/>
                    </a:lnTo>
                    <a:lnTo>
                      <a:pt x="326" y="159"/>
                    </a:lnTo>
                    <a:lnTo>
                      <a:pt x="329" y="151"/>
                    </a:lnTo>
                    <a:lnTo>
                      <a:pt x="329" y="151"/>
                    </a:lnTo>
                    <a:lnTo>
                      <a:pt x="326" y="148"/>
                    </a:lnTo>
                    <a:lnTo>
                      <a:pt x="326" y="148"/>
                    </a:lnTo>
                    <a:lnTo>
                      <a:pt x="326" y="145"/>
                    </a:lnTo>
                    <a:lnTo>
                      <a:pt x="326" y="145"/>
                    </a:lnTo>
                    <a:lnTo>
                      <a:pt x="329" y="143"/>
                    </a:lnTo>
                    <a:lnTo>
                      <a:pt x="329" y="143"/>
                    </a:lnTo>
                    <a:lnTo>
                      <a:pt x="329" y="142"/>
                    </a:lnTo>
                    <a:lnTo>
                      <a:pt x="329" y="142"/>
                    </a:lnTo>
                    <a:lnTo>
                      <a:pt x="332" y="139"/>
                    </a:lnTo>
                    <a:lnTo>
                      <a:pt x="332" y="139"/>
                    </a:lnTo>
                    <a:lnTo>
                      <a:pt x="332" y="135"/>
                    </a:lnTo>
                    <a:lnTo>
                      <a:pt x="332" y="135"/>
                    </a:lnTo>
                    <a:lnTo>
                      <a:pt x="329" y="132"/>
                    </a:lnTo>
                    <a:lnTo>
                      <a:pt x="329" y="132"/>
                    </a:lnTo>
                    <a:lnTo>
                      <a:pt x="329" y="131"/>
                    </a:lnTo>
                    <a:lnTo>
                      <a:pt x="329" y="131"/>
                    </a:lnTo>
                    <a:lnTo>
                      <a:pt x="329" y="127"/>
                    </a:lnTo>
                    <a:lnTo>
                      <a:pt x="329" y="127"/>
                    </a:lnTo>
                    <a:lnTo>
                      <a:pt x="332" y="126"/>
                    </a:lnTo>
                    <a:lnTo>
                      <a:pt x="332" y="126"/>
                    </a:lnTo>
                    <a:lnTo>
                      <a:pt x="332" y="126"/>
                    </a:lnTo>
                    <a:lnTo>
                      <a:pt x="332" y="126"/>
                    </a:lnTo>
                    <a:lnTo>
                      <a:pt x="335" y="126"/>
                    </a:lnTo>
                    <a:lnTo>
                      <a:pt x="335" y="126"/>
                    </a:lnTo>
                    <a:lnTo>
                      <a:pt x="335" y="124"/>
                    </a:lnTo>
                    <a:lnTo>
                      <a:pt x="335" y="124"/>
                    </a:lnTo>
                    <a:lnTo>
                      <a:pt x="335" y="123"/>
                    </a:lnTo>
                    <a:lnTo>
                      <a:pt x="335" y="123"/>
                    </a:lnTo>
                    <a:lnTo>
                      <a:pt x="337" y="123"/>
                    </a:lnTo>
                    <a:lnTo>
                      <a:pt x="337" y="123"/>
                    </a:lnTo>
                    <a:lnTo>
                      <a:pt x="338" y="119"/>
                    </a:lnTo>
                    <a:lnTo>
                      <a:pt x="338" y="119"/>
                    </a:lnTo>
                    <a:lnTo>
                      <a:pt x="341" y="119"/>
                    </a:lnTo>
                    <a:lnTo>
                      <a:pt x="341" y="119"/>
                    </a:lnTo>
                    <a:lnTo>
                      <a:pt x="348" y="116"/>
                    </a:lnTo>
                    <a:lnTo>
                      <a:pt x="348" y="116"/>
                    </a:lnTo>
                    <a:lnTo>
                      <a:pt x="349" y="116"/>
                    </a:lnTo>
                    <a:lnTo>
                      <a:pt x="349" y="116"/>
                    </a:lnTo>
                    <a:lnTo>
                      <a:pt x="349" y="119"/>
                    </a:lnTo>
                    <a:lnTo>
                      <a:pt x="349" y="119"/>
                    </a:lnTo>
                    <a:lnTo>
                      <a:pt x="351" y="119"/>
                    </a:lnTo>
                    <a:lnTo>
                      <a:pt x="351" y="119"/>
                    </a:lnTo>
                    <a:lnTo>
                      <a:pt x="354" y="119"/>
                    </a:lnTo>
                    <a:lnTo>
                      <a:pt x="354" y="119"/>
                    </a:lnTo>
                    <a:lnTo>
                      <a:pt x="353" y="119"/>
                    </a:lnTo>
                    <a:lnTo>
                      <a:pt x="353" y="119"/>
                    </a:lnTo>
                    <a:lnTo>
                      <a:pt x="351" y="116"/>
                    </a:lnTo>
                    <a:lnTo>
                      <a:pt x="351" y="116"/>
                    </a:lnTo>
                    <a:lnTo>
                      <a:pt x="349" y="113"/>
                    </a:lnTo>
                    <a:lnTo>
                      <a:pt x="349" y="113"/>
                    </a:lnTo>
                    <a:lnTo>
                      <a:pt x="351" y="112"/>
                    </a:lnTo>
                    <a:lnTo>
                      <a:pt x="351" y="112"/>
                    </a:lnTo>
                    <a:lnTo>
                      <a:pt x="354" y="108"/>
                    </a:lnTo>
                    <a:lnTo>
                      <a:pt x="354" y="108"/>
                    </a:lnTo>
                    <a:lnTo>
                      <a:pt x="353" y="107"/>
                    </a:lnTo>
                    <a:lnTo>
                      <a:pt x="353" y="107"/>
                    </a:lnTo>
                    <a:lnTo>
                      <a:pt x="353" y="105"/>
                    </a:lnTo>
                    <a:lnTo>
                      <a:pt x="353" y="105"/>
                    </a:lnTo>
                    <a:lnTo>
                      <a:pt x="351" y="104"/>
                    </a:lnTo>
                    <a:lnTo>
                      <a:pt x="349" y="102"/>
                    </a:lnTo>
                    <a:lnTo>
                      <a:pt x="349" y="102"/>
                    </a:lnTo>
                    <a:lnTo>
                      <a:pt x="349" y="102"/>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47" name="Freeform 303">
                <a:extLst>
                  <a:ext uri="{FF2B5EF4-FFF2-40B4-BE49-F238E27FC236}">
                    <a16:creationId xmlns:a16="http://schemas.microsoft.com/office/drawing/2014/main" id="{F4FB1698-F0D7-0C15-5B69-3D8E7645D421}"/>
                  </a:ext>
                </a:extLst>
              </p:cNvPr>
              <p:cNvSpPr>
                <a:spLocks/>
              </p:cNvSpPr>
              <p:nvPr/>
            </p:nvSpPr>
            <p:spPr bwMode="auto">
              <a:xfrm>
                <a:off x="7451475" y="2834038"/>
                <a:ext cx="423941" cy="428427"/>
              </a:xfrm>
              <a:custGeom>
                <a:avLst/>
                <a:gdLst>
                  <a:gd name="T0" fmla="*/ 109 w 189"/>
                  <a:gd name="T1" fmla="*/ 183 h 191"/>
                  <a:gd name="T2" fmla="*/ 122 w 189"/>
                  <a:gd name="T3" fmla="*/ 184 h 191"/>
                  <a:gd name="T4" fmla="*/ 130 w 189"/>
                  <a:gd name="T5" fmla="*/ 183 h 191"/>
                  <a:gd name="T6" fmla="*/ 135 w 189"/>
                  <a:gd name="T7" fmla="*/ 176 h 191"/>
                  <a:gd name="T8" fmla="*/ 128 w 189"/>
                  <a:gd name="T9" fmla="*/ 164 h 191"/>
                  <a:gd name="T10" fmla="*/ 120 w 189"/>
                  <a:gd name="T11" fmla="*/ 154 h 191"/>
                  <a:gd name="T12" fmla="*/ 112 w 189"/>
                  <a:gd name="T13" fmla="*/ 145 h 191"/>
                  <a:gd name="T14" fmla="*/ 122 w 189"/>
                  <a:gd name="T15" fmla="*/ 130 h 191"/>
                  <a:gd name="T16" fmla="*/ 136 w 189"/>
                  <a:gd name="T17" fmla="*/ 132 h 191"/>
                  <a:gd name="T18" fmla="*/ 144 w 189"/>
                  <a:gd name="T19" fmla="*/ 118 h 191"/>
                  <a:gd name="T20" fmla="*/ 154 w 189"/>
                  <a:gd name="T21" fmla="*/ 100 h 191"/>
                  <a:gd name="T22" fmla="*/ 158 w 189"/>
                  <a:gd name="T23" fmla="*/ 92 h 191"/>
                  <a:gd name="T24" fmla="*/ 163 w 189"/>
                  <a:gd name="T25" fmla="*/ 83 h 191"/>
                  <a:gd name="T26" fmla="*/ 166 w 189"/>
                  <a:gd name="T27" fmla="*/ 72 h 191"/>
                  <a:gd name="T28" fmla="*/ 163 w 189"/>
                  <a:gd name="T29" fmla="*/ 65 h 191"/>
                  <a:gd name="T30" fmla="*/ 157 w 189"/>
                  <a:gd name="T31" fmla="*/ 59 h 191"/>
                  <a:gd name="T32" fmla="*/ 152 w 189"/>
                  <a:gd name="T33" fmla="*/ 51 h 191"/>
                  <a:gd name="T34" fmla="*/ 150 w 189"/>
                  <a:gd name="T35" fmla="*/ 43 h 191"/>
                  <a:gd name="T36" fmla="*/ 144 w 189"/>
                  <a:gd name="T37" fmla="*/ 38 h 191"/>
                  <a:gd name="T38" fmla="*/ 158 w 189"/>
                  <a:gd name="T39" fmla="*/ 35 h 191"/>
                  <a:gd name="T40" fmla="*/ 179 w 189"/>
                  <a:gd name="T41" fmla="*/ 32 h 191"/>
                  <a:gd name="T42" fmla="*/ 189 w 189"/>
                  <a:gd name="T43" fmla="*/ 22 h 191"/>
                  <a:gd name="T44" fmla="*/ 173 w 189"/>
                  <a:gd name="T45" fmla="*/ 19 h 191"/>
                  <a:gd name="T46" fmla="*/ 165 w 189"/>
                  <a:gd name="T47" fmla="*/ 10 h 191"/>
                  <a:gd name="T48" fmla="*/ 150 w 189"/>
                  <a:gd name="T49" fmla="*/ 0 h 191"/>
                  <a:gd name="T50" fmla="*/ 141 w 189"/>
                  <a:gd name="T51" fmla="*/ 3 h 191"/>
                  <a:gd name="T52" fmla="*/ 116 w 189"/>
                  <a:gd name="T53" fmla="*/ 7 h 191"/>
                  <a:gd name="T54" fmla="*/ 109 w 189"/>
                  <a:gd name="T55" fmla="*/ 16 h 191"/>
                  <a:gd name="T56" fmla="*/ 117 w 189"/>
                  <a:gd name="T57" fmla="*/ 26 h 191"/>
                  <a:gd name="T58" fmla="*/ 109 w 189"/>
                  <a:gd name="T59" fmla="*/ 37 h 191"/>
                  <a:gd name="T60" fmla="*/ 103 w 189"/>
                  <a:gd name="T61" fmla="*/ 45 h 191"/>
                  <a:gd name="T62" fmla="*/ 103 w 189"/>
                  <a:gd name="T63" fmla="*/ 48 h 191"/>
                  <a:gd name="T64" fmla="*/ 98 w 189"/>
                  <a:gd name="T65" fmla="*/ 56 h 191"/>
                  <a:gd name="T66" fmla="*/ 95 w 189"/>
                  <a:gd name="T67" fmla="*/ 67 h 191"/>
                  <a:gd name="T68" fmla="*/ 92 w 189"/>
                  <a:gd name="T69" fmla="*/ 76 h 191"/>
                  <a:gd name="T70" fmla="*/ 82 w 189"/>
                  <a:gd name="T71" fmla="*/ 76 h 191"/>
                  <a:gd name="T72" fmla="*/ 74 w 189"/>
                  <a:gd name="T73" fmla="*/ 83 h 191"/>
                  <a:gd name="T74" fmla="*/ 66 w 189"/>
                  <a:gd name="T75" fmla="*/ 86 h 191"/>
                  <a:gd name="T76" fmla="*/ 66 w 189"/>
                  <a:gd name="T77" fmla="*/ 100 h 191"/>
                  <a:gd name="T78" fmla="*/ 46 w 189"/>
                  <a:gd name="T79" fmla="*/ 107 h 191"/>
                  <a:gd name="T80" fmla="*/ 30 w 189"/>
                  <a:gd name="T81" fmla="*/ 107 h 191"/>
                  <a:gd name="T82" fmla="*/ 1 w 189"/>
                  <a:gd name="T83" fmla="*/ 107 h 191"/>
                  <a:gd name="T84" fmla="*/ 19 w 189"/>
                  <a:gd name="T85" fmla="*/ 124 h 191"/>
                  <a:gd name="T86" fmla="*/ 28 w 189"/>
                  <a:gd name="T87" fmla="*/ 138 h 191"/>
                  <a:gd name="T88" fmla="*/ 35 w 189"/>
                  <a:gd name="T89" fmla="*/ 148 h 191"/>
                  <a:gd name="T90" fmla="*/ 22 w 189"/>
                  <a:gd name="T91" fmla="*/ 151 h 191"/>
                  <a:gd name="T92" fmla="*/ 16 w 189"/>
                  <a:gd name="T93" fmla="*/ 167 h 191"/>
                  <a:gd name="T94" fmla="*/ 17 w 189"/>
                  <a:gd name="T95" fmla="*/ 170 h 191"/>
                  <a:gd name="T96" fmla="*/ 25 w 189"/>
                  <a:gd name="T97" fmla="*/ 170 h 191"/>
                  <a:gd name="T98" fmla="*/ 38 w 189"/>
                  <a:gd name="T99" fmla="*/ 167 h 191"/>
                  <a:gd name="T100" fmla="*/ 47 w 189"/>
                  <a:gd name="T101" fmla="*/ 167 h 191"/>
                  <a:gd name="T102" fmla="*/ 55 w 189"/>
                  <a:gd name="T103" fmla="*/ 170 h 191"/>
                  <a:gd name="T104" fmla="*/ 71 w 189"/>
                  <a:gd name="T105" fmla="*/ 165 h 191"/>
                  <a:gd name="T106" fmla="*/ 79 w 189"/>
                  <a:gd name="T107" fmla="*/ 173 h 191"/>
                  <a:gd name="T108" fmla="*/ 87 w 189"/>
                  <a:gd name="T109" fmla="*/ 180 h 191"/>
                  <a:gd name="T110" fmla="*/ 92 w 189"/>
                  <a:gd name="T111" fmla="*/ 186 h 191"/>
                  <a:gd name="T112" fmla="*/ 95 w 189"/>
                  <a:gd name="T113" fmla="*/ 189 h 191"/>
                  <a:gd name="T114" fmla="*/ 101 w 189"/>
                  <a:gd name="T115" fmla="*/ 188 h 191"/>
                  <a:gd name="T116" fmla="*/ 101 w 189"/>
                  <a:gd name="T117" fmla="*/ 18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9" h="191">
                    <a:moveTo>
                      <a:pt x="101" y="188"/>
                    </a:moveTo>
                    <a:lnTo>
                      <a:pt x="106" y="188"/>
                    </a:lnTo>
                    <a:lnTo>
                      <a:pt x="106" y="186"/>
                    </a:lnTo>
                    <a:lnTo>
                      <a:pt x="106" y="183"/>
                    </a:lnTo>
                    <a:lnTo>
                      <a:pt x="109" y="183"/>
                    </a:lnTo>
                    <a:lnTo>
                      <a:pt x="109" y="183"/>
                    </a:lnTo>
                    <a:lnTo>
                      <a:pt x="112" y="183"/>
                    </a:lnTo>
                    <a:lnTo>
                      <a:pt x="117" y="184"/>
                    </a:lnTo>
                    <a:lnTo>
                      <a:pt x="119" y="184"/>
                    </a:lnTo>
                    <a:lnTo>
                      <a:pt x="122" y="184"/>
                    </a:lnTo>
                    <a:lnTo>
                      <a:pt x="123" y="183"/>
                    </a:lnTo>
                    <a:lnTo>
                      <a:pt x="125" y="181"/>
                    </a:lnTo>
                    <a:lnTo>
                      <a:pt x="127" y="181"/>
                    </a:lnTo>
                    <a:lnTo>
                      <a:pt x="128" y="181"/>
                    </a:lnTo>
                    <a:lnTo>
                      <a:pt x="130" y="183"/>
                    </a:lnTo>
                    <a:lnTo>
                      <a:pt x="131" y="183"/>
                    </a:lnTo>
                    <a:lnTo>
                      <a:pt x="136" y="181"/>
                    </a:lnTo>
                    <a:lnTo>
                      <a:pt x="135" y="180"/>
                    </a:lnTo>
                    <a:lnTo>
                      <a:pt x="135" y="180"/>
                    </a:lnTo>
                    <a:lnTo>
                      <a:pt x="135" y="176"/>
                    </a:lnTo>
                    <a:lnTo>
                      <a:pt x="135" y="176"/>
                    </a:lnTo>
                    <a:lnTo>
                      <a:pt x="131" y="173"/>
                    </a:lnTo>
                    <a:lnTo>
                      <a:pt x="128" y="167"/>
                    </a:lnTo>
                    <a:lnTo>
                      <a:pt x="128" y="165"/>
                    </a:lnTo>
                    <a:lnTo>
                      <a:pt x="128" y="164"/>
                    </a:lnTo>
                    <a:lnTo>
                      <a:pt x="127" y="162"/>
                    </a:lnTo>
                    <a:lnTo>
                      <a:pt x="123" y="164"/>
                    </a:lnTo>
                    <a:lnTo>
                      <a:pt x="122" y="162"/>
                    </a:lnTo>
                    <a:lnTo>
                      <a:pt x="120" y="161"/>
                    </a:lnTo>
                    <a:lnTo>
                      <a:pt x="120" y="154"/>
                    </a:lnTo>
                    <a:lnTo>
                      <a:pt x="120" y="153"/>
                    </a:lnTo>
                    <a:lnTo>
                      <a:pt x="119" y="151"/>
                    </a:lnTo>
                    <a:lnTo>
                      <a:pt x="116" y="149"/>
                    </a:lnTo>
                    <a:lnTo>
                      <a:pt x="112" y="146"/>
                    </a:lnTo>
                    <a:lnTo>
                      <a:pt x="112" y="145"/>
                    </a:lnTo>
                    <a:lnTo>
                      <a:pt x="112" y="141"/>
                    </a:lnTo>
                    <a:lnTo>
                      <a:pt x="116" y="134"/>
                    </a:lnTo>
                    <a:lnTo>
                      <a:pt x="119" y="130"/>
                    </a:lnTo>
                    <a:lnTo>
                      <a:pt x="120" y="129"/>
                    </a:lnTo>
                    <a:lnTo>
                      <a:pt x="122" y="130"/>
                    </a:lnTo>
                    <a:lnTo>
                      <a:pt x="123" y="132"/>
                    </a:lnTo>
                    <a:lnTo>
                      <a:pt x="125" y="134"/>
                    </a:lnTo>
                    <a:lnTo>
                      <a:pt x="128" y="134"/>
                    </a:lnTo>
                    <a:lnTo>
                      <a:pt x="130" y="132"/>
                    </a:lnTo>
                    <a:lnTo>
                      <a:pt x="136" y="132"/>
                    </a:lnTo>
                    <a:lnTo>
                      <a:pt x="138" y="130"/>
                    </a:lnTo>
                    <a:lnTo>
                      <a:pt x="138" y="129"/>
                    </a:lnTo>
                    <a:lnTo>
                      <a:pt x="141" y="126"/>
                    </a:lnTo>
                    <a:lnTo>
                      <a:pt x="141" y="122"/>
                    </a:lnTo>
                    <a:lnTo>
                      <a:pt x="144" y="118"/>
                    </a:lnTo>
                    <a:lnTo>
                      <a:pt x="147" y="114"/>
                    </a:lnTo>
                    <a:lnTo>
                      <a:pt x="150" y="111"/>
                    </a:lnTo>
                    <a:lnTo>
                      <a:pt x="152" y="107"/>
                    </a:lnTo>
                    <a:lnTo>
                      <a:pt x="152" y="103"/>
                    </a:lnTo>
                    <a:lnTo>
                      <a:pt x="154" y="100"/>
                    </a:lnTo>
                    <a:lnTo>
                      <a:pt x="157" y="100"/>
                    </a:lnTo>
                    <a:lnTo>
                      <a:pt x="158" y="99"/>
                    </a:lnTo>
                    <a:lnTo>
                      <a:pt x="157" y="97"/>
                    </a:lnTo>
                    <a:lnTo>
                      <a:pt x="157" y="95"/>
                    </a:lnTo>
                    <a:lnTo>
                      <a:pt x="158" y="92"/>
                    </a:lnTo>
                    <a:lnTo>
                      <a:pt x="162" y="89"/>
                    </a:lnTo>
                    <a:lnTo>
                      <a:pt x="163" y="86"/>
                    </a:lnTo>
                    <a:lnTo>
                      <a:pt x="165" y="86"/>
                    </a:lnTo>
                    <a:lnTo>
                      <a:pt x="163" y="86"/>
                    </a:lnTo>
                    <a:lnTo>
                      <a:pt x="163" y="83"/>
                    </a:lnTo>
                    <a:lnTo>
                      <a:pt x="163" y="80"/>
                    </a:lnTo>
                    <a:lnTo>
                      <a:pt x="163" y="76"/>
                    </a:lnTo>
                    <a:lnTo>
                      <a:pt x="162" y="76"/>
                    </a:lnTo>
                    <a:lnTo>
                      <a:pt x="162" y="75"/>
                    </a:lnTo>
                    <a:lnTo>
                      <a:pt x="166" y="72"/>
                    </a:lnTo>
                    <a:lnTo>
                      <a:pt x="170" y="70"/>
                    </a:lnTo>
                    <a:lnTo>
                      <a:pt x="171" y="70"/>
                    </a:lnTo>
                    <a:lnTo>
                      <a:pt x="171" y="68"/>
                    </a:lnTo>
                    <a:lnTo>
                      <a:pt x="168" y="67"/>
                    </a:lnTo>
                    <a:lnTo>
                      <a:pt x="163" y="65"/>
                    </a:lnTo>
                    <a:lnTo>
                      <a:pt x="162" y="64"/>
                    </a:lnTo>
                    <a:lnTo>
                      <a:pt x="160" y="62"/>
                    </a:lnTo>
                    <a:lnTo>
                      <a:pt x="158" y="61"/>
                    </a:lnTo>
                    <a:lnTo>
                      <a:pt x="157" y="61"/>
                    </a:lnTo>
                    <a:lnTo>
                      <a:pt x="157" y="59"/>
                    </a:lnTo>
                    <a:lnTo>
                      <a:pt x="155" y="57"/>
                    </a:lnTo>
                    <a:lnTo>
                      <a:pt x="152" y="54"/>
                    </a:lnTo>
                    <a:lnTo>
                      <a:pt x="150" y="54"/>
                    </a:lnTo>
                    <a:lnTo>
                      <a:pt x="152" y="51"/>
                    </a:lnTo>
                    <a:lnTo>
                      <a:pt x="152" y="51"/>
                    </a:lnTo>
                    <a:lnTo>
                      <a:pt x="150" y="48"/>
                    </a:lnTo>
                    <a:lnTo>
                      <a:pt x="150" y="48"/>
                    </a:lnTo>
                    <a:lnTo>
                      <a:pt x="150" y="48"/>
                    </a:lnTo>
                    <a:lnTo>
                      <a:pt x="152" y="45"/>
                    </a:lnTo>
                    <a:lnTo>
                      <a:pt x="150" y="43"/>
                    </a:lnTo>
                    <a:lnTo>
                      <a:pt x="147" y="43"/>
                    </a:lnTo>
                    <a:lnTo>
                      <a:pt x="147" y="41"/>
                    </a:lnTo>
                    <a:lnTo>
                      <a:pt x="147" y="40"/>
                    </a:lnTo>
                    <a:lnTo>
                      <a:pt x="147" y="40"/>
                    </a:lnTo>
                    <a:lnTo>
                      <a:pt x="144" y="38"/>
                    </a:lnTo>
                    <a:lnTo>
                      <a:pt x="144" y="37"/>
                    </a:lnTo>
                    <a:lnTo>
                      <a:pt x="147" y="34"/>
                    </a:lnTo>
                    <a:lnTo>
                      <a:pt x="150" y="32"/>
                    </a:lnTo>
                    <a:lnTo>
                      <a:pt x="154" y="34"/>
                    </a:lnTo>
                    <a:lnTo>
                      <a:pt x="158" y="35"/>
                    </a:lnTo>
                    <a:lnTo>
                      <a:pt x="165" y="37"/>
                    </a:lnTo>
                    <a:lnTo>
                      <a:pt x="168" y="37"/>
                    </a:lnTo>
                    <a:lnTo>
                      <a:pt x="171" y="35"/>
                    </a:lnTo>
                    <a:lnTo>
                      <a:pt x="176" y="34"/>
                    </a:lnTo>
                    <a:lnTo>
                      <a:pt x="179" y="32"/>
                    </a:lnTo>
                    <a:lnTo>
                      <a:pt x="182" y="30"/>
                    </a:lnTo>
                    <a:lnTo>
                      <a:pt x="182" y="27"/>
                    </a:lnTo>
                    <a:lnTo>
                      <a:pt x="182" y="26"/>
                    </a:lnTo>
                    <a:lnTo>
                      <a:pt x="185" y="24"/>
                    </a:lnTo>
                    <a:lnTo>
                      <a:pt x="189" y="22"/>
                    </a:lnTo>
                    <a:lnTo>
                      <a:pt x="189" y="21"/>
                    </a:lnTo>
                    <a:lnTo>
                      <a:pt x="185" y="21"/>
                    </a:lnTo>
                    <a:lnTo>
                      <a:pt x="179" y="21"/>
                    </a:lnTo>
                    <a:lnTo>
                      <a:pt x="176" y="19"/>
                    </a:lnTo>
                    <a:lnTo>
                      <a:pt x="173" y="19"/>
                    </a:lnTo>
                    <a:lnTo>
                      <a:pt x="173" y="16"/>
                    </a:lnTo>
                    <a:lnTo>
                      <a:pt x="173" y="16"/>
                    </a:lnTo>
                    <a:lnTo>
                      <a:pt x="170" y="16"/>
                    </a:lnTo>
                    <a:lnTo>
                      <a:pt x="166" y="13"/>
                    </a:lnTo>
                    <a:lnTo>
                      <a:pt x="165" y="10"/>
                    </a:lnTo>
                    <a:lnTo>
                      <a:pt x="163" y="5"/>
                    </a:lnTo>
                    <a:lnTo>
                      <a:pt x="158" y="3"/>
                    </a:lnTo>
                    <a:lnTo>
                      <a:pt x="157" y="3"/>
                    </a:lnTo>
                    <a:lnTo>
                      <a:pt x="154" y="0"/>
                    </a:lnTo>
                    <a:lnTo>
                      <a:pt x="150" y="0"/>
                    </a:lnTo>
                    <a:lnTo>
                      <a:pt x="150" y="2"/>
                    </a:lnTo>
                    <a:lnTo>
                      <a:pt x="150" y="0"/>
                    </a:lnTo>
                    <a:lnTo>
                      <a:pt x="147" y="0"/>
                    </a:lnTo>
                    <a:lnTo>
                      <a:pt x="141" y="2"/>
                    </a:lnTo>
                    <a:lnTo>
                      <a:pt x="141" y="3"/>
                    </a:lnTo>
                    <a:lnTo>
                      <a:pt x="138" y="2"/>
                    </a:lnTo>
                    <a:lnTo>
                      <a:pt x="136" y="2"/>
                    </a:lnTo>
                    <a:lnTo>
                      <a:pt x="123" y="3"/>
                    </a:lnTo>
                    <a:lnTo>
                      <a:pt x="119" y="5"/>
                    </a:lnTo>
                    <a:lnTo>
                      <a:pt x="116" y="7"/>
                    </a:lnTo>
                    <a:lnTo>
                      <a:pt x="116" y="8"/>
                    </a:lnTo>
                    <a:lnTo>
                      <a:pt x="112" y="8"/>
                    </a:lnTo>
                    <a:lnTo>
                      <a:pt x="112" y="10"/>
                    </a:lnTo>
                    <a:lnTo>
                      <a:pt x="109" y="13"/>
                    </a:lnTo>
                    <a:lnTo>
                      <a:pt x="109" y="16"/>
                    </a:lnTo>
                    <a:lnTo>
                      <a:pt x="112" y="16"/>
                    </a:lnTo>
                    <a:lnTo>
                      <a:pt x="116" y="19"/>
                    </a:lnTo>
                    <a:lnTo>
                      <a:pt x="116" y="22"/>
                    </a:lnTo>
                    <a:lnTo>
                      <a:pt x="116" y="24"/>
                    </a:lnTo>
                    <a:lnTo>
                      <a:pt x="117" y="26"/>
                    </a:lnTo>
                    <a:lnTo>
                      <a:pt x="116" y="29"/>
                    </a:lnTo>
                    <a:lnTo>
                      <a:pt x="112" y="32"/>
                    </a:lnTo>
                    <a:lnTo>
                      <a:pt x="112" y="34"/>
                    </a:lnTo>
                    <a:lnTo>
                      <a:pt x="112" y="35"/>
                    </a:lnTo>
                    <a:lnTo>
                      <a:pt x="109" y="37"/>
                    </a:lnTo>
                    <a:lnTo>
                      <a:pt x="112" y="38"/>
                    </a:lnTo>
                    <a:lnTo>
                      <a:pt x="116" y="40"/>
                    </a:lnTo>
                    <a:lnTo>
                      <a:pt x="112" y="43"/>
                    </a:lnTo>
                    <a:lnTo>
                      <a:pt x="109" y="45"/>
                    </a:lnTo>
                    <a:lnTo>
                      <a:pt x="103" y="45"/>
                    </a:lnTo>
                    <a:lnTo>
                      <a:pt x="103" y="43"/>
                    </a:lnTo>
                    <a:lnTo>
                      <a:pt x="98" y="45"/>
                    </a:lnTo>
                    <a:lnTo>
                      <a:pt x="101" y="45"/>
                    </a:lnTo>
                    <a:lnTo>
                      <a:pt x="103" y="48"/>
                    </a:lnTo>
                    <a:lnTo>
                      <a:pt x="103" y="48"/>
                    </a:lnTo>
                    <a:lnTo>
                      <a:pt x="106" y="51"/>
                    </a:lnTo>
                    <a:lnTo>
                      <a:pt x="106" y="54"/>
                    </a:lnTo>
                    <a:lnTo>
                      <a:pt x="103" y="54"/>
                    </a:lnTo>
                    <a:lnTo>
                      <a:pt x="101" y="56"/>
                    </a:lnTo>
                    <a:lnTo>
                      <a:pt x="98" y="56"/>
                    </a:lnTo>
                    <a:lnTo>
                      <a:pt x="98" y="57"/>
                    </a:lnTo>
                    <a:lnTo>
                      <a:pt x="98" y="59"/>
                    </a:lnTo>
                    <a:lnTo>
                      <a:pt x="98" y="62"/>
                    </a:lnTo>
                    <a:lnTo>
                      <a:pt x="95" y="65"/>
                    </a:lnTo>
                    <a:lnTo>
                      <a:pt x="95" y="67"/>
                    </a:lnTo>
                    <a:lnTo>
                      <a:pt x="95" y="70"/>
                    </a:lnTo>
                    <a:lnTo>
                      <a:pt x="95" y="75"/>
                    </a:lnTo>
                    <a:lnTo>
                      <a:pt x="95" y="76"/>
                    </a:lnTo>
                    <a:lnTo>
                      <a:pt x="95" y="76"/>
                    </a:lnTo>
                    <a:lnTo>
                      <a:pt x="92" y="76"/>
                    </a:lnTo>
                    <a:lnTo>
                      <a:pt x="90" y="76"/>
                    </a:lnTo>
                    <a:lnTo>
                      <a:pt x="89" y="75"/>
                    </a:lnTo>
                    <a:lnTo>
                      <a:pt x="87" y="76"/>
                    </a:lnTo>
                    <a:lnTo>
                      <a:pt x="84" y="76"/>
                    </a:lnTo>
                    <a:lnTo>
                      <a:pt x="82" y="76"/>
                    </a:lnTo>
                    <a:lnTo>
                      <a:pt x="81" y="76"/>
                    </a:lnTo>
                    <a:lnTo>
                      <a:pt x="77" y="80"/>
                    </a:lnTo>
                    <a:lnTo>
                      <a:pt x="77" y="80"/>
                    </a:lnTo>
                    <a:lnTo>
                      <a:pt x="81" y="83"/>
                    </a:lnTo>
                    <a:lnTo>
                      <a:pt x="74" y="83"/>
                    </a:lnTo>
                    <a:lnTo>
                      <a:pt x="71" y="83"/>
                    </a:lnTo>
                    <a:lnTo>
                      <a:pt x="70" y="83"/>
                    </a:lnTo>
                    <a:lnTo>
                      <a:pt x="70" y="83"/>
                    </a:lnTo>
                    <a:lnTo>
                      <a:pt x="66" y="83"/>
                    </a:lnTo>
                    <a:lnTo>
                      <a:pt x="66" y="86"/>
                    </a:lnTo>
                    <a:lnTo>
                      <a:pt x="63" y="87"/>
                    </a:lnTo>
                    <a:lnTo>
                      <a:pt x="63" y="91"/>
                    </a:lnTo>
                    <a:lnTo>
                      <a:pt x="63" y="97"/>
                    </a:lnTo>
                    <a:lnTo>
                      <a:pt x="63" y="100"/>
                    </a:lnTo>
                    <a:lnTo>
                      <a:pt x="66" y="100"/>
                    </a:lnTo>
                    <a:lnTo>
                      <a:pt x="63" y="103"/>
                    </a:lnTo>
                    <a:lnTo>
                      <a:pt x="60" y="103"/>
                    </a:lnTo>
                    <a:lnTo>
                      <a:pt x="55" y="107"/>
                    </a:lnTo>
                    <a:lnTo>
                      <a:pt x="49" y="107"/>
                    </a:lnTo>
                    <a:lnTo>
                      <a:pt x="46" y="107"/>
                    </a:lnTo>
                    <a:lnTo>
                      <a:pt x="43" y="107"/>
                    </a:lnTo>
                    <a:lnTo>
                      <a:pt x="39" y="110"/>
                    </a:lnTo>
                    <a:lnTo>
                      <a:pt x="36" y="110"/>
                    </a:lnTo>
                    <a:lnTo>
                      <a:pt x="35" y="107"/>
                    </a:lnTo>
                    <a:lnTo>
                      <a:pt x="30" y="107"/>
                    </a:lnTo>
                    <a:lnTo>
                      <a:pt x="22" y="110"/>
                    </a:lnTo>
                    <a:lnTo>
                      <a:pt x="14" y="110"/>
                    </a:lnTo>
                    <a:lnTo>
                      <a:pt x="8" y="107"/>
                    </a:lnTo>
                    <a:lnTo>
                      <a:pt x="0" y="103"/>
                    </a:lnTo>
                    <a:lnTo>
                      <a:pt x="1" y="107"/>
                    </a:lnTo>
                    <a:lnTo>
                      <a:pt x="4" y="110"/>
                    </a:lnTo>
                    <a:lnTo>
                      <a:pt x="8" y="114"/>
                    </a:lnTo>
                    <a:lnTo>
                      <a:pt x="11" y="118"/>
                    </a:lnTo>
                    <a:lnTo>
                      <a:pt x="14" y="121"/>
                    </a:lnTo>
                    <a:lnTo>
                      <a:pt x="19" y="124"/>
                    </a:lnTo>
                    <a:lnTo>
                      <a:pt x="23" y="126"/>
                    </a:lnTo>
                    <a:lnTo>
                      <a:pt x="25" y="127"/>
                    </a:lnTo>
                    <a:lnTo>
                      <a:pt x="27" y="130"/>
                    </a:lnTo>
                    <a:lnTo>
                      <a:pt x="28" y="135"/>
                    </a:lnTo>
                    <a:lnTo>
                      <a:pt x="28" y="138"/>
                    </a:lnTo>
                    <a:lnTo>
                      <a:pt x="28" y="141"/>
                    </a:lnTo>
                    <a:lnTo>
                      <a:pt x="31" y="141"/>
                    </a:lnTo>
                    <a:lnTo>
                      <a:pt x="35" y="141"/>
                    </a:lnTo>
                    <a:lnTo>
                      <a:pt x="35" y="145"/>
                    </a:lnTo>
                    <a:lnTo>
                      <a:pt x="35" y="148"/>
                    </a:lnTo>
                    <a:lnTo>
                      <a:pt x="31" y="148"/>
                    </a:lnTo>
                    <a:lnTo>
                      <a:pt x="31" y="149"/>
                    </a:lnTo>
                    <a:lnTo>
                      <a:pt x="27" y="149"/>
                    </a:lnTo>
                    <a:lnTo>
                      <a:pt x="23" y="151"/>
                    </a:lnTo>
                    <a:lnTo>
                      <a:pt x="22" y="151"/>
                    </a:lnTo>
                    <a:lnTo>
                      <a:pt x="22" y="153"/>
                    </a:lnTo>
                    <a:lnTo>
                      <a:pt x="20" y="153"/>
                    </a:lnTo>
                    <a:lnTo>
                      <a:pt x="19" y="154"/>
                    </a:lnTo>
                    <a:lnTo>
                      <a:pt x="17" y="161"/>
                    </a:lnTo>
                    <a:lnTo>
                      <a:pt x="16" y="167"/>
                    </a:lnTo>
                    <a:lnTo>
                      <a:pt x="16" y="170"/>
                    </a:lnTo>
                    <a:lnTo>
                      <a:pt x="14" y="170"/>
                    </a:lnTo>
                    <a:lnTo>
                      <a:pt x="14" y="170"/>
                    </a:lnTo>
                    <a:lnTo>
                      <a:pt x="17" y="170"/>
                    </a:lnTo>
                    <a:lnTo>
                      <a:pt x="17" y="170"/>
                    </a:lnTo>
                    <a:lnTo>
                      <a:pt x="19" y="173"/>
                    </a:lnTo>
                    <a:lnTo>
                      <a:pt x="22" y="170"/>
                    </a:lnTo>
                    <a:lnTo>
                      <a:pt x="22" y="170"/>
                    </a:lnTo>
                    <a:lnTo>
                      <a:pt x="23" y="170"/>
                    </a:lnTo>
                    <a:lnTo>
                      <a:pt x="25" y="170"/>
                    </a:lnTo>
                    <a:lnTo>
                      <a:pt x="27" y="170"/>
                    </a:lnTo>
                    <a:lnTo>
                      <a:pt x="27" y="170"/>
                    </a:lnTo>
                    <a:lnTo>
                      <a:pt x="31" y="170"/>
                    </a:lnTo>
                    <a:lnTo>
                      <a:pt x="38" y="170"/>
                    </a:lnTo>
                    <a:lnTo>
                      <a:pt x="38" y="167"/>
                    </a:lnTo>
                    <a:lnTo>
                      <a:pt x="41" y="167"/>
                    </a:lnTo>
                    <a:lnTo>
                      <a:pt x="46" y="167"/>
                    </a:lnTo>
                    <a:lnTo>
                      <a:pt x="44" y="167"/>
                    </a:lnTo>
                    <a:lnTo>
                      <a:pt x="46" y="167"/>
                    </a:lnTo>
                    <a:lnTo>
                      <a:pt x="47" y="167"/>
                    </a:lnTo>
                    <a:lnTo>
                      <a:pt x="50" y="170"/>
                    </a:lnTo>
                    <a:lnTo>
                      <a:pt x="52" y="170"/>
                    </a:lnTo>
                    <a:lnTo>
                      <a:pt x="54" y="170"/>
                    </a:lnTo>
                    <a:lnTo>
                      <a:pt x="54" y="170"/>
                    </a:lnTo>
                    <a:lnTo>
                      <a:pt x="55" y="170"/>
                    </a:lnTo>
                    <a:lnTo>
                      <a:pt x="57" y="167"/>
                    </a:lnTo>
                    <a:lnTo>
                      <a:pt x="60" y="167"/>
                    </a:lnTo>
                    <a:lnTo>
                      <a:pt x="70" y="167"/>
                    </a:lnTo>
                    <a:lnTo>
                      <a:pt x="71" y="167"/>
                    </a:lnTo>
                    <a:lnTo>
                      <a:pt x="71" y="165"/>
                    </a:lnTo>
                    <a:lnTo>
                      <a:pt x="73" y="165"/>
                    </a:lnTo>
                    <a:lnTo>
                      <a:pt x="71" y="167"/>
                    </a:lnTo>
                    <a:lnTo>
                      <a:pt x="76" y="167"/>
                    </a:lnTo>
                    <a:lnTo>
                      <a:pt x="79" y="170"/>
                    </a:lnTo>
                    <a:lnTo>
                      <a:pt x="79" y="173"/>
                    </a:lnTo>
                    <a:lnTo>
                      <a:pt x="79" y="176"/>
                    </a:lnTo>
                    <a:lnTo>
                      <a:pt x="82" y="176"/>
                    </a:lnTo>
                    <a:lnTo>
                      <a:pt x="85" y="176"/>
                    </a:lnTo>
                    <a:lnTo>
                      <a:pt x="87" y="176"/>
                    </a:lnTo>
                    <a:lnTo>
                      <a:pt x="87" y="180"/>
                    </a:lnTo>
                    <a:lnTo>
                      <a:pt x="87" y="181"/>
                    </a:lnTo>
                    <a:lnTo>
                      <a:pt x="89" y="181"/>
                    </a:lnTo>
                    <a:lnTo>
                      <a:pt x="87" y="183"/>
                    </a:lnTo>
                    <a:lnTo>
                      <a:pt x="89" y="184"/>
                    </a:lnTo>
                    <a:lnTo>
                      <a:pt x="92" y="186"/>
                    </a:lnTo>
                    <a:lnTo>
                      <a:pt x="90" y="188"/>
                    </a:lnTo>
                    <a:lnTo>
                      <a:pt x="92" y="188"/>
                    </a:lnTo>
                    <a:lnTo>
                      <a:pt x="92" y="191"/>
                    </a:lnTo>
                    <a:lnTo>
                      <a:pt x="95" y="191"/>
                    </a:lnTo>
                    <a:lnTo>
                      <a:pt x="95" y="189"/>
                    </a:lnTo>
                    <a:lnTo>
                      <a:pt x="98" y="191"/>
                    </a:lnTo>
                    <a:lnTo>
                      <a:pt x="98" y="188"/>
                    </a:lnTo>
                    <a:lnTo>
                      <a:pt x="98" y="191"/>
                    </a:lnTo>
                    <a:lnTo>
                      <a:pt x="101" y="189"/>
                    </a:lnTo>
                    <a:lnTo>
                      <a:pt x="101" y="188"/>
                    </a:lnTo>
                    <a:lnTo>
                      <a:pt x="101" y="188"/>
                    </a:lnTo>
                    <a:lnTo>
                      <a:pt x="101" y="188"/>
                    </a:lnTo>
                    <a:lnTo>
                      <a:pt x="101" y="188"/>
                    </a:lnTo>
                    <a:lnTo>
                      <a:pt x="101" y="188"/>
                    </a:lnTo>
                    <a:lnTo>
                      <a:pt x="101" y="188"/>
                    </a:lnTo>
                    <a:lnTo>
                      <a:pt x="101" y="188"/>
                    </a:lnTo>
                    <a:lnTo>
                      <a:pt x="101" y="188"/>
                    </a:lnTo>
                    <a:lnTo>
                      <a:pt x="101" y="18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48" name="Freeform 305">
                <a:extLst>
                  <a:ext uri="{FF2B5EF4-FFF2-40B4-BE49-F238E27FC236}">
                    <a16:creationId xmlns:a16="http://schemas.microsoft.com/office/drawing/2014/main" id="{EE67198A-307B-DA85-AD03-B9DED0A1192A}"/>
                  </a:ext>
                </a:extLst>
              </p:cNvPr>
              <p:cNvSpPr>
                <a:spLocks/>
              </p:cNvSpPr>
              <p:nvPr/>
            </p:nvSpPr>
            <p:spPr bwMode="auto">
              <a:xfrm>
                <a:off x="8227578" y="3116665"/>
                <a:ext cx="96453" cy="49347"/>
              </a:xfrm>
              <a:custGeom>
                <a:avLst/>
                <a:gdLst>
                  <a:gd name="T0" fmla="*/ 3 w 43"/>
                  <a:gd name="T1" fmla="*/ 15 h 22"/>
                  <a:gd name="T2" fmla="*/ 3 w 43"/>
                  <a:gd name="T3" fmla="*/ 17 h 22"/>
                  <a:gd name="T4" fmla="*/ 6 w 43"/>
                  <a:gd name="T5" fmla="*/ 19 h 22"/>
                  <a:gd name="T6" fmla="*/ 9 w 43"/>
                  <a:gd name="T7" fmla="*/ 19 h 22"/>
                  <a:gd name="T8" fmla="*/ 12 w 43"/>
                  <a:gd name="T9" fmla="*/ 19 h 22"/>
                  <a:gd name="T10" fmla="*/ 16 w 43"/>
                  <a:gd name="T11" fmla="*/ 22 h 22"/>
                  <a:gd name="T12" fmla="*/ 19 w 43"/>
                  <a:gd name="T13" fmla="*/ 19 h 22"/>
                  <a:gd name="T14" fmla="*/ 20 w 43"/>
                  <a:gd name="T15" fmla="*/ 19 h 22"/>
                  <a:gd name="T16" fmla="*/ 22 w 43"/>
                  <a:gd name="T17" fmla="*/ 19 h 22"/>
                  <a:gd name="T18" fmla="*/ 28 w 43"/>
                  <a:gd name="T19" fmla="*/ 19 h 22"/>
                  <a:gd name="T20" fmla="*/ 32 w 43"/>
                  <a:gd name="T21" fmla="*/ 19 h 22"/>
                  <a:gd name="T22" fmla="*/ 35 w 43"/>
                  <a:gd name="T23" fmla="*/ 19 h 22"/>
                  <a:gd name="T24" fmla="*/ 35 w 43"/>
                  <a:gd name="T25" fmla="*/ 19 h 22"/>
                  <a:gd name="T26" fmla="*/ 38 w 43"/>
                  <a:gd name="T27" fmla="*/ 19 h 22"/>
                  <a:gd name="T28" fmla="*/ 41 w 43"/>
                  <a:gd name="T29" fmla="*/ 19 h 22"/>
                  <a:gd name="T30" fmla="*/ 43 w 43"/>
                  <a:gd name="T31" fmla="*/ 19 h 22"/>
                  <a:gd name="T32" fmla="*/ 41 w 43"/>
                  <a:gd name="T33" fmla="*/ 17 h 22"/>
                  <a:gd name="T34" fmla="*/ 41 w 43"/>
                  <a:gd name="T35" fmla="*/ 15 h 22"/>
                  <a:gd name="T36" fmla="*/ 41 w 43"/>
                  <a:gd name="T37" fmla="*/ 12 h 22"/>
                  <a:gd name="T38" fmla="*/ 38 w 43"/>
                  <a:gd name="T39" fmla="*/ 12 h 22"/>
                  <a:gd name="T40" fmla="*/ 38 w 43"/>
                  <a:gd name="T41" fmla="*/ 12 h 22"/>
                  <a:gd name="T42" fmla="*/ 35 w 43"/>
                  <a:gd name="T43" fmla="*/ 9 h 22"/>
                  <a:gd name="T44" fmla="*/ 35 w 43"/>
                  <a:gd name="T45" fmla="*/ 8 h 22"/>
                  <a:gd name="T46" fmla="*/ 35 w 43"/>
                  <a:gd name="T47" fmla="*/ 6 h 22"/>
                  <a:gd name="T48" fmla="*/ 32 w 43"/>
                  <a:gd name="T49" fmla="*/ 4 h 22"/>
                  <a:gd name="T50" fmla="*/ 30 w 43"/>
                  <a:gd name="T51" fmla="*/ 3 h 22"/>
                  <a:gd name="T52" fmla="*/ 28 w 43"/>
                  <a:gd name="T53" fmla="*/ 4 h 22"/>
                  <a:gd name="T54" fmla="*/ 27 w 43"/>
                  <a:gd name="T55" fmla="*/ 4 h 22"/>
                  <a:gd name="T56" fmla="*/ 25 w 43"/>
                  <a:gd name="T57" fmla="*/ 4 h 22"/>
                  <a:gd name="T58" fmla="*/ 19 w 43"/>
                  <a:gd name="T59" fmla="*/ 3 h 22"/>
                  <a:gd name="T60" fmla="*/ 17 w 43"/>
                  <a:gd name="T61" fmla="*/ 1 h 22"/>
                  <a:gd name="T62" fmla="*/ 17 w 43"/>
                  <a:gd name="T63" fmla="*/ 0 h 22"/>
                  <a:gd name="T64" fmla="*/ 14 w 43"/>
                  <a:gd name="T65" fmla="*/ 0 h 22"/>
                  <a:gd name="T66" fmla="*/ 9 w 43"/>
                  <a:gd name="T67" fmla="*/ 1 h 22"/>
                  <a:gd name="T68" fmla="*/ 8 w 43"/>
                  <a:gd name="T69" fmla="*/ 4 h 22"/>
                  <a:gd name="T70" fmla="*/ 6 w 43"/>
                  <a:gd name="T71" fmla="*/ 9 h 22"/>
                  <a:gd name="T72" fmla="*/ 3 w 43"/>
                  <a:gd name="T73" fmla="*/ 9 h 22"/>
                  <a:gd name="T74" fmla="*/ 3 w 43"/>
                  <a:gd name="T75" fmla="*/ 12 h 22"/>
                  <a:gd name="T76" fmla="*/ 0 w 43"/>
                  <a:gd name="T77" fmla="*/ 15 h 22"/>
                  <a:gd name="T78" fmla="*/ 3 w 43"/>
                  <a:gd name="T79" fmla="*/ 15 h 22"/>
                  <a:gd name="T80" fmla="*/ 3 w 43"/>
                  <a:gd name="T81" fmla="*/ 15 h 22"/>
                  <a:gd name="T82" fmla="*/ 3 w 43"/>
                  <a:gd name="T83" fmla="*/ 15 h 22"/>
                  <a:gd name="T84" fmla="*/ 3 w 43"/>
                  <a:gd name="T85" fmla="*/ 15 h 22"/>
                  <a:gd name="T86" fmla="*/ 3 w 43"/>
                  <a:gd name="T87" fmla="*/ 15 h 22"/>
                  <a:gd name="T88" fmla="*/ 3 w 43"/>
                  <a:gd name="T89" fmla="*/ 15 h 22"/>
                  <a:gd name="T90" fmla="*/ 3 w 43"/>
                  <a:gd name="T91" fmla="*/ 15 h 22"/>
                  <a:gd name="T92" fmla="*/ 3 w 43"/>
                  <a:gd name="T93" fmla="*/ 15 h 22"/>
                  <a:gd name="T94" fmla="*/ 3 w 43"/>
                  <a:gd name="T95" fmla="*/ 1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22">
                    <a:moveTo>
                      <a:pt x="3" y="15"/>
                    </a:moveTo>
                    <a:lnTo>
                      <a:pt x="3" y="17"/>
                    </a:lnTo>
                    <a:lnTo>
                      <a:pt x="6" y="19"/>
                    </a:lnTo>
                    <a:lnTo>
                      <a:pt x="9" y="19"/>
                    </a:lnTo>
                    <a:lnTo>
                      <a:pt x="12" y="19"/>
                    </a:lnTo>
                    <a:lnTo>
                      <a:pt x="16" y="22"/>
                    </a:lnTo>
                    <a:lnTo>
                      <a:pt x="19" y="19"/>
                    </a:lnTo>
                    <a:lnTo>
                      <a:pt x="20" y="19"/>
                    </a:lnTo>
                    <a:lnTo>
                      <a:pt x="22" y="19"/>
                    </a:lnTo>
                    <a:lnTo>
                      <a:pt x="28" y="19"/>
                    </a:lnTo>
                    <a:lnTo>
                      <a:pt x="32" y="19"/>
                    </a:lnTo>
                    <a:lnTo>
                      <a:pt x="35" y="19"/>
                    </a:lnTo>
                    <a:lnTo>
                      <a:pt x="35" y="19"/>
                    </a:lnTo>
                    <a:lnTo>
                      <a:pt x="38" y="19"/>
                    </a:lnTo>
                    <a:lnTo>
                      <a:pt x="41" y="19"/>
                    </a:lnTo>
                    <a:lnTo>
                      <a:pt x="43" y="19"/>
                    </a:lnTo>
                    <a:lnTo>
                      <a:pt x="41" y="17"/>
                    </a:lnTo>
                    <a:lnTo>
                      <a:pt x="41" y="15"/>
                    </a:lnTo>
                    <a:lnTo>
                      <a:pt x="41" y="12"/>
                    </a:lnTo>
                    <a:lnTo>
                      <a:pt x="38" y="12"/>
                    </a:lnTo>
                    <a:lnTo>
                      <a:pt x="38" y="12"/>
                    </a:lnTo>
                    <a:lnTo>
                      <a:pt x="35" y="9"/>
                    </a:lnTo>
                    <a:lnTo>
                      <a:pt x="35" y="8"/>
                    </a:lnTo>
                    <a:lnTo>
                      <a:pt x="35" y="6"/>
                    </a:lnTo>
                    <a:lnTo>
                      <a:pt x="32" y="4"/>
                    </a:lnTo>
                    <a:lnTo>
                      <a:pt x="30" y="3"/>
                    </a:lnTo>
                    <a:lnTo>
                      <a:pt x="28" y="4"/>
                    </a:lnTo>
                    <a:lnTo>
                      <a:pt x="27" y="4"/>
                    </a:lnTo>
                    <a:lnTo>
                      <a:pt x="25" y="4"/>
                    </a:lnTo>
                    <a:lnTo>
                      <a:pt x="19" y="3"/>
                    </a:lnTo>
                    <a:lnTo>
                      <a:pt x="17" y="1"/>
                    </a:lnTo>
                    <a:lnTo>
                      <a:pt x="17" y="0"/>
                    </a:lnTo>
                    <a:lnTo>
                      <a:pt x="14" y="0"/>
                    </a:lnTo>
                    <a:lnTo>
                      <a:pt x="9" y="1"/>
                    </a:lnTo>
                    <a:lnTo>
                      <a:pt x="8" y="4"/>
                    </a:lnTo>
                    <a:lnTo>
                      <a:pt x="6" y="9"/>
                    </a:lnTo>
                    <a:lnTo>
                      <a:pt x="3" y="9"/>
                    </a:lnTo>
                    <a:lnTo>
                      <a:pt x="3" y="12"/>
                    </a:lnTo>
                    <a:lnTo>
                      <a:pt x="0" y="15"/>
                    </a:lnTo>
                    <a:lnTo>
                      <a:pt x="3" y="15"/>
                    </a:lnTo>
                    <a:lnTo>
                      <a:pt x="3" y="15"/>
                    </a:lnTo>
                    <a:lnTo>
                      <a:pt x="3" y="15"/>
                    </a:lnTo>
                    <a:lnTo>
                      <a:pt x="3" y="15"/>
                    </a:lnTo>
                    <a:lnTo>
                      <a:pt x="3" y="15"/>
                    </a:lnTo>
                    <a:lnTo>
                      <a:pt x="3" y="15"/>
                    </a:lnTo>
                    <a:lnTo>
                      <a:pt x="3" y="15"/>
                    </a:lnTo>
                    <a:lnTo>
                      <a:pt x="3" y="15"/>
                    </a:lnTo>
                    <a:lnTo>
                      <a:pt x="3" y="15"/>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49" name="Freeform 367">
                <a:extLst>
                  <a:ext uri="{FF2B5EF4-FFF2-40B4-BE49-F238E27FC236}">
                    <a16:creationId xmlns:a16="http://schemas.microsoft.com/office/drawing/2014/main" id="{4DA0DFBF-AD95-E0EE-0A2F-FFD5DC4C3B77}"/>
                  </a:ext>
                </a:extLst>
              </p:cNvPr>
              <p:cNvSpPr>
                <a:spLocks/>
              </p:cNvSpPr>
              <p:nvPr/>
            </p:nvSpPr>
            <p:spPr bwMode="auto">
              <a:xfrm>
                <a:off x="7233897" y="2555897"/>
                <a:ext cx="473288" cy="278141"/>
              </a:xfrm>
              <a:custGeom>
                <a:avLst/>
                <a:gdLst>
                  <a:gd name="T0" fmla="*/ 173 w 211"/>
                  <a:gd name="T1" fmla="*/ 53 h 124"/>
                  <a:gd name="T2" fmla="*/ 163 w 211"/>
                  <a:gd name="T3" fmla="*/ 61 h 124"/>
                  <a:gd name="T4" fmla="*/ 157 w 211"/>
                  <a:gd name="T5" fmla="*/ 69 h 124"/>
                  <a:gd name="T6" fmla="*/ 154 w 211"/>
                  <a:gd name="T7" fmla="*/ 70 h 124"/>
                  <a:gd name="T8" fmla="*/ 141 w 211"/>
                  <a:gd name="T9" fmla="*/ 65 h 124"/>
                  <a:gd name="T10" fmla="*/ 132 w 211"/>
                  <a:gd name="T11" fmla="*/ 54 h 124"/>
                  <a:gd name="T12" fmla="*/ 124 w 211"/>
                  <a:gd name="T13" fmla="*/ 50 h 124"/>
                  <a:gd name="T14" fmla="*/ 117 w 211"/>
                  <a:gd name="T15" fmla="*/ 38 h 124"/>
                  <a:gd name="T16" fmla="*/ 108 w 211"/>
                  <a:gd name="T17" fmla="*/ 31 h 124"/>
                  <a:gd name="T18" fmla="*/ 97 w 211"/>
                  <a:gd name="T19" fmla="*/ 31 h 124"/>
                  <a:gd name="T20" fmla="*/ 76 w 211"/>
                  <a:gd name="T21" fmla="*/ 31 h 124"/>
                  <a:gd name="T22" fmla="*/ 66 w 211"/>
                  <a:gd name="T23" fmla="*/ 27 h 124"/>
                  <a:gd name="T24" fmla="*/ 54 w 211"/>
                  <a:gd name="T25" fmla="*/ 19 h 124"/>
                  <a:gd name="T26" fmla="*/ 40 w 211"/>
                  <a:gd name="T27" fmla="*/ 24 h 124"/>
                  <a:gd name="T28" fmla="*/ 32 w 211"/>
                  <a:gd name="T29" fmla="*/ 19 h 124"/>
                  <a:gd name="T30" fmla="*/ 25 w 211"/>
                  <a:gd name="T31" fmla="*/ 11 h 124"/>
                  <a:gd name="T32" fmla="*/ 25 w 211"/>
                  <a:gd name="T33" fmla="*/ 2 h 124"/>
                  <a:gd name="T34" fmla="*/ 16 w 211"/>
                  <a:gd name="T35" fmla="*/ 62 h 124"/>
                  <a:gd name="T36" fmla="*/ 22 w 211"/>
                  <a:gd name="T37" fmla="*/ 61 h 124"/>
                  <a:gd name="T38" fmla="*/ 25 w 211"/>
                  <a:gd name="T39" fmla="*/ 50 h 124"/>
                  <a:gd name="T40" fmla="*/ 32 w 211"/>
                  <a:gd name="T41" fmla="*/ 46 h 124"/>
                  <a:gd name="T42" fmla="*/ 35 w 211"/>
                  <a:gd name="T43" fmla="*/ 43 h 124"/>
                  <a:gd name="T44" fmla="*/ 41 w 211"/>
                  <a:gd name="T45" fmla="*/ 43 h 124"/>
                  <a:gd name="T46" fmla="*/ 52 w 211"/>
                  <a:gd name="T47" fmla="*/ 50 h 124"/>
                  <a:gd name="T48" fmla="*/ 57 w 211"/>
                  <a:gd name="T49" fmla="*/ 53 h 124"/>
                  <a:gd name="T50" fmla="*/ 60 w 211"/>
                  <a:gd name="T51" fmla="*/ 62 h 124"/>
                  <a:gd name="T52" fmla="*/ 73 w 211"/>
                  <a:gd name="T53" fmla="*/ 62 h 124"/>
                  <a:gd name="T54" fmla="*/ 89 w 211"/>
                  <a:gd name="T55" fmla="*/ 81 h 124"/>
                  <a:gd name="T56" fmla="*/ 108 w 211"/>
                  <a:gd name="T57" fmla="*/ 92 h 124"/>
                  <a:gd name="T58" fmla="*/ 128 w 211"/>
                  <a:gd name="T59" fmla="*/ 105 h 124"/>
                  <a:gd name="T60" fmla="*/ 140 w 211"/>
                  <a:gd name="T61" fmla="*/ 108 h 124"/>
                  <a:gd name="T62" fmla="*/ 144 w 211"/>
                  <a:gd name="T63" fmla="*/ 116 h 124"/>
                  <a:gd name="T64" fmla="*/ 154 w 211"/>
                  <a:gd name="T65" fmla="*/ 121 h 124"/>
                  <a:gd name="T66" fmla="*/ 163 w 211"/>
                  <a:gd name="T67" fmla="*/ 124 h 124"/>
                  <a:gd name="T68" fmla="*/ 160 w 211"/>
                  <a:gd name="T69" fmla="*/ 115 h 124"/>
                  <a:gd name="T70" fmla="*/ 163 w 211"/>
                  <a:gd name="T71" fmla="*/ 105 h 124"/>
                  <a:gd name="T72" fmla="*/ 157 w 211"/>
                  <a:gd name="T73" fmla="*/ 96 h 124"/>
                  <a:gd name="T74" fmla="*/ 149 w 211"/>
                  <a:gd name="T75" fmla="*/ 91 h 124"/>
                  <a:gd name="T76" fmla="*/ 160 w 211"/>
                  <a:gd name="T77" fmla="*/ 88 h 124"/>
                  <a:gd name="T78" fmla="*/ 163 w 211"/>
                  <a:gd name="T79" fmla="*/ 81 h 124"/>
                  <a:gd name="T80" fmla="*/ 163 w 211"/>
                  <a:gd name="T81" fmla="*/ 78 h 124"/>
                  <a:gd name="T82" fmla="*/ 163 w 211"/>
                  <a:gd name="T83" fmla="*/ 78 h 124"/>
                  <a:gd name="T84" fmla="*/ 167 w 211"/>
                  <a:gd name="T85" fmla="*/ 73 h 124"/>
                  <a:gd name="T86" fmla="*/ 173 w 211"/>
                  <a:gd name="T87" fmla="*/ 72 h 124"/>
                  <a:gd name="T88" fmla="*/ 184 w 211"/>
                  <a:gd name="T89" fmla="*/ 72 h 124"/>
                  <a:gd name="T90" fmla="*/ 184 w 211"/>
                  <a:gd name="T91" fmla="*/ 78 h 124"/>
                  <a:gd name="T92" fmla="*/ 192 w 211"/>
                  <a:gd name="T93" fmla="*/ 78 h 124"/>
                  <a:gd name="T94" fmla="*/ 198 w 211"/>
                  <a:gd name="T95" fmla="*/ 78 h 124"/>
                  <a:gd name="T96" fmla="*/ 205 w 211"/>
                  <a:gd name="T97" fmla="*/ 75 h 124"/>
                  <a:gd name="T98" fmla="*/ 211 w 211"/>
                  <a:gd name="T99" fmla="*/ 70 h 124"/>
                  <a:gd name="T100" fmla="*/ 200 w 211"/>
                  <a:gd name="T101" fmla="*/ 67 h 124"/>
                  <a:gd name="T102" fmla="*/ 192 w 211"/>
                  <a:gd name="T103" fmla="*/ 61 h 124"/>
                  <a:gd name="T104" fmla="*/ 189 w 211"/>
                  <a:gd name="T105" fmla="*/ 65 h 124"/>
                  <a:gd name="T106" fmla="*/ 182 w 211"/>
                  <a:gd name="T107" fmla="*/ 62 h 124"/>
                  <a:gd name="T108" fmla="*/ 176 w 211"/>
                  <a:gd name="T109" fmla="*/ 56 h 124"/>
                  <a:gd name="T110" fmla="*/ 179 w 211"/>
                  <a:gd name="T111" fmla="*/ 5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1" h="124">
                    <a:moveTo>
                      <a:pt x="178" y="53"/>
                    </a:moveTo>
                    <a:lnTo>
                      <a:pt x="176" y="53"/>
                    </a:lnTo>
                    <a:lnTo>
                      <a:pt x="174" y="53"/>
                    </a:lnTo>
                    <a:lnTo>
                      <a:pt x="173" y="53"/>
                    </a:lnTo>
                    <a:lnTo>
                      <a:pt x="173" y="54"/>
                    </a:lnTo>
                    <a:lnTo>
                      <a:pt x="170" y="56"/>
                    </a:lnTo>
                    <a:lnTo>
                      <a:pt x="167" y="59"/>
                    </a:lnTo>
                    <a:lnTo>
                      <a:pt x="163" y="61"/>
                    </a:lnTo>
                    <a:lnTo>
                      <a:pt x="163" y="62"/>
                    </a:lnTo>
                    <a:lnTo>
                      <a:pt x="163" y="64"/>
                    </a:lnTo>
                    <a:lnTo>
                      <a:pt x="160" y="65"/>
                    </a:lnTo>
                    <a:lnTo>
                      <a:pt x="157" y="69"/>
                    </a:lnTo>
                    <a:lnTo>
                      <a:pt x="157" y="70"/>
                    </a:lnTo>
                    <a:lnTo>
                      <a:pt x="160" y="73"/>
                    </a:lnTo>
                    <a:lnTo>
                      <a:pt x="154" y="72"/>
                    </a:lnTo>
                    <a:lnTo>
                      <a:pt x="154" y="70"/>
                    </a:lnTo>
                    <a:lnTo>
                      <a:pt x="152" y="69"/>
                    </a:lnTo>
                    <a:lnTo>
                      <a:pt x="152" y="65"/>
                    </a:lnTo>
                    <a:lnTo>
                      <a:pt x="149" y="64"/>
                    </a:lnTo>
                    <a:lnTo>
                      <a:pt x="141" y="65"/>
                    </a:lnTo>
                    <a:lnTo>
                      <a:pt x="140" y="65"/>
                    </a:lnTo>
                    <a:lnTo>
                      <a:pt x="136" y="65"/>
                    </a:lnTo>
                    <a:lnTo>
                      <a:pt x="133" y="64"/>
                    </a:lnTo>
                    <a:lnTo>
                      <a:pt x="132" y="54"/>
                    </a:lnTo>
                    <a:lnTo>
                      <a:pt x="128" y="53"/>
                    </a:lnTo>
                    <a:lnTo>
                      <a:pt x="128" y="53"/>
                    </a:lnTo>
                    <a:lnTo>
                      <a:pt x="125" y="53"/>
                    </a:lnTo>
                    <a:lnTo>
                      <a:pt x="124" y="50"/>
                    </a:lnTo>
                    <a:lnTo>
                      <a:pt x="122" y="46"/>
                    </a:lnTo>
                    <a:lnTo>
                      <a:pt x="122" y="38"/>
                    </a:lnTo>
                    <a:lnTo>
                      <a:pt x="119" y="40"/>
                    </a:lnTo>
                    <a:lnTo>
                      <a:pt x="117" y="38"/>
                    </a:lnTo>
                    <a:lnTo>
                      <a:pt x="114" y="35"/>
                    </a:lnTo>
                    <a:lnTo>
                      <a:pt x="113" y="34"/>
                    </a:lnTo>
                    <a:lnTo>
                      <a:pt x="111" y="31"/>
                    </a:lnTo>
                    <a:lnTo>
                      <a:pt x="108" y="31"/>
                    </a:lnTo>
                    <a:lnTo>
                      <a:pt x="105" y="27"/>
                    </a:lnTo>
                    <a:lnTo>
                      <a:pt x="105" y="29"/>
                    </a:lnTo>
                    <a:lnTo>
                      <a:pt x="101" y="31"/>
                    </a:lnTo>
                    <a:lnTo>
                      <a:pt x="97" y="31"/>
                    </a:lnTo>
                    <a:lnTo>
                      <a:pt x="92" y="31"/>
                    </a:lnTo>
                    <a:lnTo>
                      <a:pt x="84" y="29"/>
                    </a:lnTo>
                    <a:lnTo>
                      <a:pt x="79" y="31"/>
                    </a:lnTo>
                    <a:lnTo>
                      <a:pt x="76" y="31"/>
                    </a:lnTo>
                    <a:lnTo>
                      <a:pt x="73" y="31"/>
                    </a:lnTo>
                    <a:lnTo>
                      <a:pt x="70" y="31"/>
                    </a:lnTo>
                    <a:lnTo>
                      <a:pt x="70" y="27"/>
                    </a:lnTo>
                    <a:lnTo>
                      <a:pt x="66" y="27"/>
                    </a:lnTo>
                    <a:lnTo>
                      <a:pt x="60" y="18"/>
                    </a:lnTo>
                    <a:lnTo>
                      <a:pt x="54" y="16"/>
                    </a:lnTo>
                    <a:lnTo>
                      <a:pt x="54" y="15"/>
                    </a:lnTo>
                    <a:lnTo>
                      <a:pt x="54" y="19"/>
                    </a:lnTo>
                    <a:lnTo>
                      <a:pt x="49" y="23"/>
                    </a:lnTo>
                    <a:lnTo>
                      <a:pt x="46" y="23"/>
                    </a:lnTo>
                    <a:lnTo>
                      <a:pt x="41" y="23"/>
                    </a:lnTo>
                    <a:lnTo>
                      <a:pt x="40" y="24"/>
                    </a:lnTo>
                    <a:lnTo>
                      <a:pt x="38" y="23"/>
                    </a:lnTo>
                    <a:lnTo>
                      <a:pt x="38" y="21"/>
                    </a:lnTo>
                    <a:lnTo>
                      <a:pt x="36" y="19"/>
                    </a:lnTo>
                    <a:lnTo>
                      <a:pt x="32" y="19"/>
                    </a:lnTo>
                    <a:lnTo>
                      <a:pt x="28" y="19"/>
                    </a:lnTo>
                    <a:lnTo>
                      <a:pt x="28" y="18"/>
                    </a:lnTo>
                    <a:lnTo>
                      <a:pt x="28" y="15"/>
                    </a:lnTo>
                    <a:lnTo>
                      <a:pt x="25" y="11"/>
                    </a:lnTo>
                    <a:lnTo>
                      <a:pt x="25" y="7"/>
                    </a:lnTo>
                    <a:lnTo>
                      <a:pt x="28" y="4"/>
                    </a:lnTo>
                    <a:lnTo>
                      <a:pt x="28" y="0"/>
                    </a:lnTo>
                    <a:lnTo>
                      <a:pt x="25" y="2"/>
                    </a:lnTo>
                    <a:lnTo>
                      <a:pt x="0" y="8"/>
                    </a:lnTo>
                    <a:lnTo>
                      <a:pt x="11" y="62"/>
                    </a:lnTo>
                    <a:lnTo>
                      <a:pt x="13" y="62"/>
                    </a:lnTo>
                    <a:lnTo>
                      <a:pt x="16" y="62"/>
                    </a:lnTo>
                    <a:lnTo>
                      <a:pt x="19" y="62"/>
                    </a:lnTo>
                    <a:lnTo>
                      <a:pt x="22" y="62"/>
                    </a:lnTo>
                    <a:lnTo>
                      <a:pt x="25" y="62"/>
                    </a:lnTo>
                    <a:lnTo>
                      <a:pt x="22" y="61"/>
                    </a:lnTo>
                    <a:lnTo>
                      <a:pt x="22" y="56"/>
                    </a:lnTo>
                    <a:lnTo>
                      <a:pt x="22" y="54"/>
                    </a:lnTo>
                    <a:lnTo>
                      <a:pt x="25" y="50"/>
                    </a:lnTo>
                    <a:lnTo>
                      <a:pt x="25" y="50"/>
                    </a:lnTo>
                    <a:lnTo>
                      <a:pt x="28" y="50"/>
                    </a:lnTo>
                    <a:lnTo>
                      <a:pt x="28" y="50"/>
                    </a:lnTo>
                    <a:lnTo>
                      <a:pt x="32" y="46"/>
                    </a:lnTo>
                    <a:lnTo>
                      <a:pt x="32" y="46"/>
                    </a:lnTo>
                    <a:lnTo>
                      <a:pt x="33" y="46"/>
                    </a:lnTo>
                    <a:lnTo>
                      <a:pt x="32" y="43"/>
                    </a:lnTo>
                    <a:lnTo>
                      <a:pt x="33" y="43"/>
                    </a:lnTo>
                    <a:lnTo>
                      <a:pt x="35" y="43"/>
                    </a:lnTo>
                    <a:lnTo>
                      <a:pt x="36" y="43"/>
                    </a:lnTo>
                    <a:lnTo>
                      <a:pt x="38" y="43"/>
                    </a:lnTo>
                    <a:lnTo>
                      <a:pt x="40" y="43"/>
                    </a:lnTo>
                    <a:lnTo>
                      <a:pt x="41" y="43"/>
                    </a:lnTo>
                    <a:lnTo>
                      <a:pt x="44" y="46"/>
                    </a:lnTo>
                    <a:lnTo>
                      <a:pt x="46" y="46"/>
                    </a:lnTo>
                    <a:lnTo>
                      <a:pt x="47" y="50"/>
                    </a:lnTo>
                    <a:lnTo>
                      <a:pt x="52" y="50"/>
                    </a:lnTo>
                    <a:lnTo>
                      <a:pt x="54" y="50"/>
                    </a:lnTo>
                    <a:lnTo>
                      <a:pt x="54" y="53"/>
                    </a:lnTo>
                    <a:lnTo>
                      <a:pt x="54" y="53"/>
                    </a:lnTo>
                    <a:lnTo>
                      <a:pt x="57" y="53"/>
                    </a:lnTo>
                    <a:lnTo>
                      <a:pt x="57" y="56"/>
                    </a:lnTo>
                    <a:lnTo>
                      <a:pt x="57" y="59"/>
                    </a:lnTo>
                    <a:lnTo>
                      <a:pt x="60" y="62"/>
                    </a:lnTo>
                    <a:lnTo>
                      <a:pt x="60" y="62"/>
                    </a:lnTo>
                    <a:lnTo>
                      <a:pt x="66" y="64"/>
                    </a:lnTo>
                    <a:lnTo>
                      <a:pt x="70" y="64"/>
                    </a:lnTo>
                    <a:lnTo>
                      <a:pt x="73" y="64"/>
                    </a:lnTo>
                    <a:lnTo>
                      <a:pt x="73" y="62"/>
                    </a:lnTo>
                    <a:lnTo>
                      <a:pt x="76" y="64"/>
                    </a:lnTo>
                    <a:lnTo>
                      <a:pt x="79" y="65"/>
                    </a:lnTo>
                    <a:lnTo>
                      <a:pt x="82" y="70"/>
                    </a:lnTo>
                    <a:lnTo>
                      <a:pt x="89" y="81"/>
                    </a:lnTo>
                    <a:lnTo>
                      <a:pt x="92" y="81"/>
                    </a:lnTo>
                    <a:lnTo>
                      <a:pt x="95" y="84"/>
                    </a:lnTo>
                    <a:lnTo>
                      <a:pt x="101" y="88"/>
                    </a:lnTo>
                    <a:lnTo>
                      <a:pt x="108" y="92"/>
                    </a:lnTo>
                    <a:lnTo>
                      <a:pt x="113" y="96"/>
                    </a:lnTo>
                    <a:lnTo>
                      <a:pt x="119" y="99"/>
                    </a:lnTo>
                    <a:lnTo>
                      <a:pt x="125" y="102"/>
                    </a:lnTo>
                    <a:lnTo>
                      <a:pt x="128" y="105"/>
                    </a:lnTo>
                    <a:lnTo>
                      <a:pt x="132" y="105"/>
                    </a:lnTo>
                    <a:lnTo>
                      <a:pt x="135" y="105"/>
                    </a:lnTo>
                    <a:lnTo>
                      <a:pt x="136" y="105"/>
                    </a:lnTo>
                    <a:lnTo>
                      <a:pt x="140" y="108"/>
                    </a:lnTo>
                    <a:lnTo>
                      <a:pt x="144" y="108"/>
                    </a:lnTo>
                    <a:lnTo>
                      <a:pt x="144" y="110"/>
                    </a:lnTo>
                    <a:lnTo>
                      <a:pt x="144" y="113"/>
                    </a:lnTo>
                    <a:lnTo>
                      <a:pt x="144" y="116"/>
                    </a:lnTo>
                    <a:lnTo>
                      <a:pt x="146" y="118"/>
                    </a:lnTo>
                    <a:lnTo>
                      <a:pt x="151" y="118"/>
                    </a:lnTo>
                    <a:lnTo>
                      <a:pt x="154" y="119"/>
                    </a:lnTo>
                    <a:lnTo>
                      <a:pt x="154" y="121"/>
                    </a:lnTo>
                    <a:lnTo>
                      <a:pt x="157" y="121"/>
                    </a:lnTo>
                    <a:lnTo>
                      <a:pt x="160" y="121"/>
                    </a:lnTo>
                    <a:lnTo>
                      <a:pt x="163" y="124"/>
                    </a:lnTo>
                    <a:lnTo>
                      <a:pt x="163" y="124"/>
                    </a:lnTo>
                    <a:lnTo>
                      <a:pt x="160" y="119"/>
                    </a:lnTo>
                    <a:lnTo>
                      <a:pt x="160" y="118"/>
                    </a:lnTo>
                    <a:lnTo>
                      <a:pt x="160" y="116"/>
                    </a:lnTo>
                    <a:lnTo>
                      <a:pt x="160" y="115"/>
                    </a:lnTo>
                    <a:lnTo>
                      <a:pt x="163" y="110"/>
                    </a:lnTo>
                    <a:lnTo>
                      <a:pt x="163" y="108"/>
                    </a:lnTo>
                    <a:lnTo>
                      <a:pt x="163" y="108"/>
                    </a:lnTo>
                    <a:lnTo>
                      <a:pt x="163" y="105"/>
                    </a:lnTo>
                    <a:lnTo>
                      <a:pt x="160" y="102"/>
                    </a:lnTo>
                    <a:lnTo>
                      <a:pt x="160" y="99"/>
                    </a:lnTo>
                    <a:lnTo>
                      <a:pt x="160" y="97"/>
                    </a:lnTo>
                    <a:lnTo>
                      <a:pt x="157" y="96"/>
                    </a:lnTo>
                    <a:lnTo>
                      <a:pt x="154" y="96"/>
                    </a:lnTo>
                    <a:lnTo>
                      <a:pt x="154" y="94"/>
                    </a:lnTo>
                    <a:lnTo>
                      <a:pt x="152" y="92"/>
                    </a:lnTo>
                    <a:lnTo>
                      <a:pt x="149" y="91"/>
                    </a:lnTo>
                    <a:lnTo>
                      <a:pt x="151" y="88"/>
                    </a:lnTo>
                    <a:lnTo>
                      <a:pt x="151" y="88"/>
                    </a:lnTo>
                    <a:lnTo>
                      <a:pt x="152" y="88"/>
                    </a:lnTo>
                    <a:lnTo>
                      <a:pt x="160" y="88"/>
                    </a:lnTo>
                    <a:lnTo>
                      <a:pt x="163" y="88"/>
                    </a:lnTo>
                    <a:lnTo>
                      <a:pt x="163" y="84"/>
                    </a:lnTo>
                    <a:lnTo>
                      <a:pt x="163" y="84"/>
                    </a:lnTo>
                    <a:lnTo>
                      <a:pt x="163" y="81"/>
                    </a:lnTo>
                    <a:lnTo>
                      <a:pt x="167" y="81"/>
                    </a:lnTo>
                    <a:lnTo>
                      <a:pt x="163" y="81"/>
                    </a:lnTo>
                    <a:lnTo>
                      <a:pt x="167" y="81"/>
                    </a:lnTo>
                    <a:lnTo>
                      <a:pt x="163" y="78"/>
                    </a:lnTo>
                    <a:lnTo>
                      <a:pt x="163" y="78"/>
                    </a:lnTo>
                    <a:lnTo>
                      <a:pt x="160" y="78"/>
                    </a:lnTo>
                    <a:lnTo>
                      <a:pt x="163" y="78"/>
                    </a:lnTo>
                    <a:lnTo>
                      <a:pt x="163" y="78"/>
                    </a:lnTo>
                    <a:lnTo>
                      <a:pt x="167" y="78"/>
                    </a:lnTo>
                    <a:lnTo>
                      <a:pt x="168" y="78"/>
                    </a:lnTo>
                    <a:lnTo>
                      <a:pt x="168" y="75"/>
                    </a:lnTo>
                    <a:lnTo>
                      <a:pt x="167" y="73"/>
                    </a:lnTo>
                    <a:lnTo>
                      <a:pt x="167" y="72"/>
                    </a:lnTo>
                    <a:lnTo>
                      <a:pt x="168" y="70"/>
                    </a:lnTo>
                    <a:lnTo>
                      <a:pt x="170" y="70"/>
                    </a:lnTo>
                    <a:lnTo>
                      <a:pt x="173" y="72"/>
                    </a:lnTo>
                    <a:lnTo>
                      <a:pt x="176" y="70"/>
                    </a:lnTo>
                    <a:lnTo>
                      <a:pt x="179" y="67"/>
                    </a:lnTo>
                    <a:lnTo>
                      <a:pt x="182" y="70"/>
                    </a:lnTo>
                    <a:lnTo>
                      <a:pt x="184" y="72"/>
                    </a:lnTo>
                    <a:lnTo>
                      <a:pt x="182" y="73"/>
                    </a:lnTo>
                    <a:lnTo>
                      <a:pt x="181" y="75"/>
                    </a:lnTo>
                    <a:lnTo>
                      <a:pt x="182" y="75"/>
                    </a:lnTo>
                    <a:lnTo>
                      <a:pt x="184" y="78"/>
                    </a:lnTo>
                    <a:lnTo>
                      <a:pt x="186" y="78"/>
                    </a:lnTo>
                    <a:lnTo>
                      <a:pt x="189" y="78"/>
                    </a:lnTo>
                    <a:lnTo>
                      <a:pt x="192" y="78"/>
                    </a:lnTo>
                    <a:lnTo>
                      <a:pt x="192" y="78"/>
                    </a:lnTo>
                    <a:lnTo>
                      <a:pt x="195" y="78"/>
                    </a:lnTo>
                    <a:lnTo>
                      <a:pt x="195" y="78"/>
                    </a:lnTo>
                    <a:lnTo>
                      <a:pt x="198" y="78"/>
                    </a:lnTo>
                    <a:lnTo>
                      <a:pt x="198" y="78"/>
                    </a:lnTo>
                    <a:lnTo>
                      <a:pt x="200" y="78"/>
                    </a:lnTo>
                    <a:lnTo>
                      <a:pt x="200" y="75"/>
                    </a:lnTo>
                    <a:lnTo>
                      <a:pt x="201" y="75"/>
                    </a:lnTo>
                    <a:lnTo>
                      <a:pt x="205" y="75"/>
                    </a:lnTo>
                    <a:lnTo>
                      <a:pt x="203" y="73"/>
                    </a:lnTo>
                    <a:lnTo>
                      <a:pt x="206" y="73"/>
                    </a:lnTo>
                    <a:lnTo>
                      <a:pt x="209" y="72"/>
                    </a:lnTo>
                    <a:lnTo>
                      <a:pt x="211" y="70"/>
                    </a:lnTo>
                    <a:lnTo>
                      <a:pt x="206" y="69"/>
                    </a:lnTo>
                    <a:lnTo>
                      <a:pt x="203" y="67"/>
                    </a:lnTo>
                    <a:lnTo>
                      <a:pt x="201" y="67"/>
                    </a:lnTo>
                    <a:lnTo>
                      <a:pt x="200" y="67"/>
                    </a:lnTo>
                    <a:lnTo>
                      <a:pt x="198" y="65"/>
                    </a:lnTo>
                    <a:lnTo>
                      <a:pt x="198" y="64"/>
                    </a:lnTo>
                    <a:lnTo>
                      <a:pt x="195" y="62"/>
                    </a:lnTo>
                    <a:lnTo>
                      <a:pt x="192" y="61"/>
                    </a:lnTo>
                    <a:lnTo>
                      <a:pt x="192" y="59"/>
                    </a:lnTo>
                    <a:lnTo>
                      <a:pt x="192" y="62"/>
                    </a:lnTo>
                    <a:lnTo>
                      <a:pt x="189" y="62"/>
                    </a:lnTo>
                    <a:lnTo>
                      <a:pt x="189" y="65"/>
                    </a:lnTo>
                    <a:lnTo>
                      <a:pt x="189" y="64"/>
                    </a:lnTo>
                    <a:lnTo>
                      <a:pt x="186" y="64"/>
                    </a:lnTo>
                    <a:lnTo>
                      <a:pt x="184" y="64"/>
                    </a:lnTo>
                    <a:lnTo>
                      <a:pt x="182" y="62"/>
                    </a:lnTo>
                    <a:lnTo>
                      <a:pt x="181" y="61"/>
                    </a:lnTo>
                    <a:lnTo>
                      <a:pt x="178" y="61"/>
                    </a:lnTo>
                    <a:lnTo>
                      <a:pt x="174" y="59"/>
                    </a:lnTo>
                    <a:lnTo>
                      <a:pt x="176" y="56"/>
                    </a:lnTo>
                    <a:lnTo>
                      <a:pt x="179" y="53"/>
                    </a:lnTo>
                    <a:lnTo>
                      <a:pt x="184" y="50"/>
                    </a:lnTo>
                    <a:lnTo>
                      <a:pt x="182" y="50"/>
                    </a:lnTo>
                    <a:lnTo>
                      <a:pt x="179" y="50"/>
                    </a:lnTo>
                    <a:lnTo>
                      <a:pt x="178" y="53"/>
                    </a:lnTo>
                    <a:lnTo>
                      <a:pt x="178" y="53"/>
                    </a:lnTo>
                    <a:lnTo>
                      <a:pt x="178" y="53"/>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50" name="Freeform 213">
                <a:extLst>
                  <a:ext uri="{FF2B5EF4-FFF2-40B4-BE49-F238E27FC236}">
                    <a16:creationId xmlns:a16="http://schemas.microsoft.com/office/drawing/2014/main" id="{CBB322F6-AF02-CF2D-2AF0-B8A3C1596788}"/>
                  </a:ext>
                </a:extLst>
              </p:cNvPr>
              <p:cNvSpPr>
                <a:spLocks/>
              </p:cNvSpPr>
              <p:nvPr/>
            </p:nvSpPr>
            <p:spPr bwMode="auto">
              <a:xfrm>
                <a:off x="6229001" y="2434772"/>
                <a:ext cx="139071" cy="58320"/>
              </a:xfrm>
              <a:custGeom>
                <a:avLst/>
                <a:gdLst>
                  <a:gd name="T0" fmla="*/ 56 w 62"/>
                  <a:gd name="T1" fmla="*/ 4 h 26"/>
                  <a:gd name="T2" fmla="*/ 49 w 62"/>
                  <a:gd name="T3" fmla="*/ 2 h 26"/>
                  <a:gd name="T4" fmla="*/ 40 w 62"/>
                  <a:gd name="T5" fmla="*/ 2 h 26"/>
                  <a:gd name="T6" fmla="*/ 37 w 62"/>
                  <a:gd name="T7" fmla="*/ 4 h 26"/>
                  <a:gd name="T8" fmla="*/ 32 w 62"/>
                  <a:gd name="T9" fmla="*/ 5 h 26"/>
                  <a:gd name="T10" fmla="*/ 27 w 62"/>
                  <a:gd name="T11" fmla="*/ 0 h 26"/>
                  <a:gd name="T12" fmla="*/ 22 w 62"/>
                  <a:gd name="T13" fmla="*/ 2 h 26"/>
                  <a:gd name="T14" fmla="*/ 13 w 62"/>
                  <a:gd name="T15" fmla="*/ 4 h 26"/>
                  <a:gd name="T16" fmla="*/ 13 w 62"/>
                  <a:gd name="T17" fmla="*/ 7 h 26"/>
                  <a:gd name="T18" fmla="*/ 10 w 62"/>
                  <a:gd name="T19" fmla="*/ 10 h 26"/>
                  <a:gd name="T20" fmla="*/ 2 w 62"/>
                  <a:gd name="T21" fmla="*/ 10 h 26"/>
                  <a:gd name="T22" fmla="*/ 0 w 62"/>
                  <a:gd name="T23" fmla="*/ 16 h 26"/>
                  <a:gd name="T24" fmla="*/ 0 w 62"/>
                  <a:gd name="T25" fmla="*/ 19 h 26"/>
                  <a:gd name="T26" fmla="*/ 6 w 62"/>
                  <a:gd name="T27" fmla="*/ 23 h 26"/>
                  <a:gd name="T28" fmla="*/ 10 w 62"/>
                  <a:gd name="T29" fmla="*/ 26 h 26"/>
                  <a:gd name="T30" fmla="*/ 22 w 62"/>
                  <a:gd name="T31" fmla="*/ 24 h 26"/>
                  <a:gd name="T32" fmla="*/ 22 w 62"/>
                  <a:gd name="T33" fmla="*/ 21 h 26"/>
                  <a:gd name="T34" fmla="*/ 27 w 62"/>
                  <a:gd name="T35" fmla="*/ 21 h 26"/>
                  <a:gd name="T36" fmla="*/ 32 w 62"/>
                  <a:gd name="T37" fmla="*/ 19 h 26"/>
                  <a:gd name="T38" fmla="*/ 37 w 62"/>
                  <a:gd name="T39" fmla="*/ 19 h 26"/>
                  <a:gd name="T40" fmla="*/ 40 w 62"/>
                  <a:gd name="T41" fmla="*/ 16 h 26"/>
                  <a:gd name="T42" fmla="*/ 45 w 62"/>
                  <a:gd name="T43" fmla="*/ 13 h 26"/>
                  <a:gd name="T44" fmla="*/ 49 w 62"/>
                  <a:gd name="T45" fmla="*/ 15 h 26"/>
                  <a:gd name="T46" fmla="*/ 52 w 62"/>
                  <a:gd name="T47" fmla="*/ 16 h 26"/>
                  <a:gd name="T48" fmla="*/ 56 w 62"/>
                  <a:gd name="T49" fmla="*/ 16 h 26"/>
                  <a:gd name="T50" fmla="*/ 59 w 62"/>
                  <a:gd name="T51" fmla="*/ 16 h 26"/>
                  <a:gd name="T52" fmla="*/ 59 w 62"/>
                  <a:gd name="T53" fmla="*/ 16 h 26"/>
                  <a:gd name="T54" fmla="*/ 62 w 62"/>
                  <a:gd name="T55" fmla="*/ 10 h 26"/>
                  <a:gd name="T56" fmla="*/ 59 w 62"/>
                  <a:gd name="T57" fmla="*/ 7 h 26"/>
                  <a:gd name="T58" fmla="*/ 57 w 62"/>
                  <a:gd name="T59" fmla="*/ 5 h 26"/>
                  <a:gd name="T60" fmla="*/ 57 w 62"/>
                  <a:gd name="T61" fmla="*/ 5 h 26"/>
                  <a:gd name="T62" fmla="*/ 57 w 62"/>
                  <a:gd name="T63" fmla="*/ 5 h 26"/>
                  <a:gd name="T64" fmla="*/ 57 w 62"/>
                  <a:gd name="T6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 h="26">
                    <a:moveTo>
                      <a:pt x="57" y="5"/>
                    </a:moveTo>
                    <a:lnTo>
                      <a:pt x="56" y="4"/>
                    </a:lnTo>
                    <a:lnTo>
                      <a:pt x="54" y="2"/>
                    </a:lnTo>
                    <a:lnTo>
                      <a:pt x="49" y="2"/>
                    </a:lnTo>
                    <a:lnTo>
                      <a:pt x="45" y="4"/>
                    </a:lnTo>
                    <a:lnTo>
                      <a:pt x="40" y="2"/>
                    </a:lnTo>
                    <a:lnTo>
                      <a:pt x="38" y="2"/>
                    </a:lnTo>
                    <a:lnTo>
                      <a:pt x="37" y="4"/>
                    </a:lnTo>
                    <a:lnTo>
                      <a:pt x="33" y="5"/>
                    </a:lnTo>
                    <a:lnTo>
                      <a:pt x="32" y="5"/>
                    </a:lnTo>
                    <a:lnTo>
                      <a:pt x="30" y="2"/>
                    </a:lnTo>
                    <a:lnTo>
                      <a:pt x="27" y="0"/>
                    </a:lnTo>
                    <a:lnTo>
                      <a:pt x="24" y="0"/>
                    </a:lnTo>
                    <a:lnTo>
                      <a:pt x="22" y="2"/>
                    </a:lnTo>
                    <a:lnTo>
                      <a:pt x="19" y="2"/>
                    </a:lnTo>
                    <a:lnTo>
                      <a:pt x="13" y="4"/>
                    </a:lnTo>
                    <a:lnTo>
                      <a:pt x="13" y="4"/>
                    </a:lnTo>
                    <a:lnTo>
                      <a:pt x="13" y="7"/>
                    </a:lnTo>
                    <a:lnTo>
                      <a:pt x="11" y="7"/>
                    </a:lnTo>
                    <a:lnTo>
                      <a:pt x="10" y="10"/>
                    </a:lnTo>
                    <a:lnTo>
                      <a:pt x="5" y="10"/>
                    </a:lnTo>
                    <a:lnTo>
                      <a:pt x="2" y="10"/>
                    </a:lnTo>
                    <a:lnTo>
                      <a:pt x="0" y="13"/>
                    </a:lnTo>
                    <a:lnTo>
                      <a:pt x="0" y="16"/>
                    </a:lnTo>
                    <a:lnTo>
                      <a:pt x="0" y="16"/>
                    </a:lnTo>
                    <a:lnTo>
                      <a:pt x="0" y="19"/>
                    </a:lnTo>
                    <a:lnTo>
                      <a:pt x="3" y="21"/>
                    </a:lnTo>
                    <a:lnTo>
                      <a:pt x="6" y="23"/>
                    </a:lnTo>
                    <a:lnTo>
                      <a:pt x="6" y="23"/>
                    </a:lnTo>
                    <a:lnTo>
                      <a:pt x="10" y="26"/>
                    </a:lnTo>
                    <a:lnTo>
                      <a:pt x="13" y="26"/>
                    </a:lnTo>
                    <a:lnTo>
                      <a:pt x="22" y="24"/>
                    </a:lnTo>
                    <a:lnTo>
                      <a:pt x="22" y="23"/>
                    </a:lnTo>
                    <a:lnTo>
                      <a:pt x="22" y="21"/>
                    </a:lnTo>
                    <a:lnTo>
                      <a:pt x="24" y="21"/>
                    </a:lnTo>
                    <a:lnTo>
                      <a:pt x="27" y="21"/>
                    </a:lnTo>
                    <a:lnTo>
                      <a:pt x="29" y="18"/>
                    </a:lnTo>
                    <a:lnTo>
                      <a:pt x="32" y="19"/>
                    </a:lnTo>
                    <a:lnTo>
                      <a:pt x="35" y="19"/>
                    </a:lnTo>
                    <a:lnTo>
                      <a:pt x="37" y="19"/>
                    </a:lnTo>
                    <a:lnTo>
                      <a:pt x="38" y="18"/>
                    </a:lnTo>
                    <a:lnTo>
                      <a:pt x="40" y="16"/>
                    </a:lnTo>
                    <a:lnTo>
                      <a:pt x="40" y="13"/>
                    </a:lnTo>
                    <a:lnTo>
                      <a:pt x="45" y="13"/>
                    </a:lnTo>
                    <a:lnTo>
                      <a:pt x="48" y="16"/>
                    </a:lnTo>
                    <a:lnTo>
                      <a:pt x="49" y="15"/>
                    </a:lnTo>
                    <a:lnTo>
                      <a:pt x="51" y="13"/>
                    </a:lnTo>
                    <a:lnTo>
                      <a:pt x="52" y="16"/>
                    </a:lnTo>
                    <a:lnTo>
                      <a:pt x="54" y="16"/>
                    </a:lnTo>
                    <a:lnTo>
                      <a:pt x="56" y="16"/>
                    </a:lnTo>
                    <a:lnTo>
                      <a:pt x="57" y="16"/>
                    </a:lnTo>
                    <a:lnTo>
                      <a:pt x="59" y="16"/>
                    </a:lnTo>
                    <a:lnTo>
                      <a:pt x="59" y="16"/>
                    </a:lnTo>
                    <a:lnTo>
                      <a:pt x="59" y="16"/>
                    </a:lnTo>
                    <a:lnTo>
                      <a:pt x="59" y="13"/>
                    </a:lnTo>
                    <a:lnTo>
                      <a:pt x="62" y="10"/>
                    </a:lnTo>
                    <a:lnTo>
                      <a:pt x="62" y="7"/>
                    </a:lnTo>
                    <a:lnTo>
                      <a:pt x="59" y="7"/>
                    </a:lnTo>
                    <a:lnTo>
                      <a:pt x="57" y="5"/>
                    </a:lnTo>
                    <a:lnTo>
                      <a:pt x="57" y="5"/>
                    </a:lnTo>
                    <a:lnTo>
                      <a:pt x="57" y="5"/>
                    </a:lnTo>
                    <a:lnTo>
                      <a:pt x="57" y="5"/>
                    </a:lnTo>
                    <a:lnTo>
                      <a:pt x="57" y="5"/>
                    </a:lnTo>
                    <a:lnTo>
                      <a:pt x="57" y="5"/>
                    </a:lnTo>
                    <a:lnTo>
                      <a:pt x="57" y="5"/>
                    </a:lnTo>
                    <a:lnTo>
                      <a:pt x="57" y="5"/>
                    </a:lnTo>
                    <a:lnTo>
                      <a:pt x="57" y="5"/>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51" name="Freeform 192">
                <a:extLst>
                  <a:ext uri="{FF2B5EF4-FFF2-40B4-BE49-F238E27FC236}">
                    <a16:creationId xmlns:a16="http://schemas.microsoft.com/office/drawing/2014/main" id="{81B37C67-F422-26CE-DC69-A1EFFD2454E0}"/>
                  </a:ext>
                </a:extLst>
              </p:cNvPr>
              <p:cNvSpPr>
                <a:spLocks/>
              </p:cNvSpPr>
              <p:nvPr/>
            </p:nvSpPr>
            <p:spPr bwMode="auto">
              <a:xfrm>
                <a:off x="6112363" y="2385424"/>
                <a:ext cx="165988" cy="78508"/>
              </a:xfrm>
              <a:custGeom>
                <a:avLst/>
                <a:gdLst>
                  <a:gd name="T0" fmla="*/ 70 w 74"/>
                  <a:gd name="T1" fmla="*/ 18 h 35"/>
                  <a:gd name="T2" fmla="*/ 65 w 74"/>
                  <a:gd name="T3" fmla="*/ 16 h 35"/>
                  <a:gd name="T4" fmla="*/ 60 w 74"/>
                  <a:gd name="T5" fmla="*/ 16 h 35"/>
                  <a:gd name="T6" fmla="*/ 60 w 74"/>
                  <a:gd name="T7" fmla="*/ 11 h 35"/>
                  <a:gd name="T8" fmla="*/ 55 w 74"/>
                  <a:gd name="T9" fmla="*/ 11 h 35"/>
                  <a:gd name="T10" fmla="*/ 54 w 74"/>
                  <a:gd name="T11" fmla="*/ 11 h 35"/>
                  <a:gd name="T12" fmla="*/ 47 w 74"/>
                  <a:gd name="T13" fmla="*/ 14 h 35"/>
                  <a:gd name="T14" fmla="*/ 44 w 74"/>
                  <a:gd name="T15" fmla="*/ 11 h 35"/>
                  <a:gd name="T16" fmla="*/ 44 w 74"/>
                  <a:gd name="T17" fmla="*/ 8 h 35"/>
                  <a:gd name="T18" fmla="*/ 44 w 74"/>
                  <a:gd name="T19" fmla="*/ 6 h 35"/>
                  <a:gd name="T20" fmla="*/ 41 w 74"/>
                  <a:gd name="T21" fmla="*/ 5 h 35"/>
                  <a:gd name="T22" fmla="*/ 35 w 74"/>
                  <a:gd name="T23" fmla="*/ 5 h 35"/>
                  <a:gd name="T24" fmla="*/ 33 w 74"/>
                  <a:gd name="T25" fmla="*/ 3 h 35"/>
                  <a:gd name="T26" fmla="*/ 30 w 74"/>
                  <a:gd name="T27" fmla="*/ 3 h 35"/>
                  <a:gd name="T28" fmla="*/ 27 w 74"/>
                  <a:gd name="T29" fmla="*/ 3 h 35"/>
                  <a:gd name="T30" fmla="*/ 27 w 74"/>
                  <a:gd name="T31" fmla="*/ 3 h 35"/>
                  <a:gd name="T32" fmla="*/ 24 w 74"/>
                  <a:gd name="T33" fmla="*/ 0 h 35"/>
                  <a:gd name="T34" fmla="*/ 22 w 74"/>
                  <a:gd name="T35" fmla="*/ 3 h 35"/>
                  <a:gd name="T36" fmla="*/ 14 w 74"/>
                  <a:gd name="T37" fmla="*/ 6 h 35"/>
                  <a:gd name="T38" fmla="*/ 4 w 74"/>
                  <a:gd name="T39" fmla="*/ 10 h 35"/>
                  <a:gd name="T40" fmla="*/ 1 w 74"/>
                  <a:gd name="T41" fmla="*/ 13 h 35"/>
                  <a:gd name="T42" fmla="*/ 1 w 74"/>
                  <a:gd name="T43" fmla="*/ 13 h 35"/>
                  <a:gd name="T44" fmla="*/ 3 w 74"/>
                  <a:gd name="T45" fmla="*/ 18 h 35"/>
                  <a:gd name="T46" fmla="*/ 4 w 74"/>
                  <a:gd name="T47" fmla="*/ 22 h 35"/>
                  <a:gd name="T48" fmla="*/ 14 w 74"/>
                  <a:gd name="T49" fmla="*/ 29 h 35"/>
                  <a:gd name="T50" fmla="*/ 17 w 74"/>
                  <a:gd name="T51" fmla="*/ 32 h 35"/>
                  <a:gd name="T52" fmla="*/ 19 w 74"/>
                  <a:gd name="T53" fmla="*/ 32 h 35"/>
                  <a:gd name="T54" fmla="*/ 24 w 74"/>
                  <a:gd name="T55" fmla="*/ 35 h 35"/>
                  <a:gd name="T56" fmla="*/ 27 w 74"/>
                  <a:gd name="T57" fmla="*/ 35 h 35"/>
                  <a:gd name="T58" fmla="*/ 28 w 74"/>
                  <a:gd name="T59" fmla="*/ 32 h 35"/>
                  <a:gd name="T60" fmla="*/ 30 w 74"/>
                  <a:gd name="T61" fmla="*/ 29 h 35"/>
                  <a:gd name="T62" fmla="*/ 38 w 74"/>
                  <a:gd name="T63" fmla="*/ 32 h 35"/>
                  <a:gd name="T64" fmla="*/ 44 w 74"/>
                  <a:gd name="T65" fmla="*/ 32 h 35"/>
                  <a:gd name="T66" fmla="*/ 47 w 74"/>
                  <a:gd name="T67" fmla="*/ 32 h 35"/>
                  <a:gd name="T68" fmla="*/ 51 w 74"/>
                  <a:gd name="T69" fmla="*/ 33 h 35"/>
                  <a:gd name="T70" fmla="*/ 54 w 74"/>
                  <a:gd name="T71" fmla="*/ 35 h 35"/>
                  <a:gd name="T72" fmla="*/ 57 w 74"/>
                  <a:gd name="T73" fmla="*/ 32 h 35"/>
                  <a:gd name="T74" fmla="*/ 63 w 74"/>
                  <a:gd name="T75" fmla="*/ 29 h 35"/>
                  <a:gd name="T76" fmla="*/ 66 w 74"/>
                  <a:gd name="T77" fmla="*/ 26 h 35"/>
                  <a:gd name="T78" fmla="*/ 71 w 74"/>
                  <a:gd name="T79" fmla="*/ 24 h 35"/>
                  <a:gd name="T80" fmla="*/ 71 w 74"/>
                  <a:gd name="T81" fmla="*/ 19 h 35"/>
                  <a:gd name="T82" fmla="*/ 71 w 74"/>
                  <a:gd name="T83" fmla="*/ 19 h 35"/>
                  <a:gd name="T84" fmla="*/ 71 w 74"/>
                  <a:gd name="T85" fmla="*/ 19 h 35"/>
                  <a:gd name="T86" fmla="*/ 71 w 74"/>
                  <a:gd name="T87" fmla="*/ 19 h 35"/>
                  <a:gd name="T88" fmla="*/ 71 w 74"/>
                  <a:gd name="T89"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35">
                    <a:moveTo>
                      <a:pt x="71" y="19"/>
                    </a:moveTo>
                    <a:lnTo>
                      <a:pt x="70" y="18"/>
                    </a:lnTo>
                    <a:lnTo>
                      <a:pt x="66" y="16"/>
                    </a:lnTo>
                    <a:lnTo>
                      <a:pt x="65" y="16"/>
                    </a:lnTo>
                    <a:lnTo>
                      <a:pt x="62" y="16"/>
                    </a:lnTo>
                    <a:lnTo>
                      <a:pt x="60" y="16"/>
                    </a:lnTo>
                    <a:lnTo>
                      <a:pt x="60" y="14"/>
                    </a:lnTo>
                    <a:lnTo>
                      <a:pt x="60" y="11"/>
                    </a:lnTo>
                    <a:lnTo>
                      <a:pt x="57" y="11"/>
                    </a:lnTo>
                    <a:lnTo>
                      <a:pt x="55" y="11"/>
                    </a:lnTo>
                    <a:lnTo>
                      <a:pt x="51" y="10"/>
                    </a:lnTo>
                    <a:lnTo>
                      <a:pt x="54" y="11"/>
                    </a:lnTo>
                    <a:lnTo>
                      <a:pt x="51" y="14"/>
                    </a:lnTo>
                    <a:lnTo>
                      <a:pt x="47" y="14"/>
                    </a:lnTo>
                    <a:lnTo>
                      <a:pt x="47" y="13"/>
                    </a:lnTo>
                    <a:lnTo>
                      <a:pt x="44" y="11"/>
                    </a:lnTo>
                    <a:lnTo>
                      <a:pt x="44" y="10"/>
                    </a:lnTo>
                    <a:lnTo>
                      <a:pt x="44" y="8"/>
                    </a:lnTo>
                    <a:lnTo>
                      <a:pt x="44" y="6"/>
                    </a:lnTo>
                    <a:lnTo>
                      <a:pt x="44" y="6"/>
                    </a:lnTo>
                    <a:lnTo>
                      <a:pt x="41" y="6"/>
                    </a:lnTo>
                    <a:lnTo>
                      <a:pt x="41" y="5"/>
                    </a:lnTo>
                    <a:lnTo>
                      <a:pt x="38" y="5"/>
                    </a:lnTo>
                    <a:lnTo>
                      <a:pt x="35" y="5"/>
                    </a:lnTo>
                    <a:lnTo>
                      <a:pt x="33" y="3"/>
                    </a:lnTo>
                    <a:lnTo>
                      <a:pt x="33" y="3"/>
                    </a:lnTo>
                    <a:lnTo>
                      <a:pt x="31" y="3"/>
                    </a:lnTo>
                    <a:lnTo>
                      <a:pt x="30" y="3"/>
                    </a:lnTo>
                    <a:lnTo>
                      <a:pt x="28" y="3"/>
                    </a:lnTo>
                    <a:lnTo>
                      <a:pt x="27" y="3"/>
                    </a:lnTo>
                    <a:lnTo>
                      <a:pt x="27" y="3"/>
                    </a:lnTo>
                    <a:lnTo>
                      <a:pt x="27" y="3"/>
                    </a:lnTo>
                    <a:lnTo>
                      <a:pt x="24" y="0"/>
                    </a:lnTo>
                    <a:lnTo>
                      <a:pt x="24" y="0"/>
                    </a:lnTo>
                    <a:lnTo>
                      <a:pt x="24" y="3"/>
                    </a:lnTo>
                    <a:lnTo>
                      <a:pt x="22" y="3"/>
                    </a:lnTo>
                    <a:lnTo>
                      <a:pt x="17" y="5"/>
                    </a:lnTo>
                    <a:lnTo>
                      <a:pt x="14" y="6"/>
                    </a:lnTo>
                    <a:lnTo>
                      <a:pt x="9" y="8"/>
                    </a:lnTo>
                    <a:lnTo>
                      <a:pt x="4" y="10"/>
                    </a:lnTo>
                    <a:lnTo>
                      <a:pt x="1" y="11"/>
                    </a:lnTo>
                    <a:lnTo>
                      <a:pt x="1" y="13"/>
                    </a:lnTo>
                    <a:lnTo>
                      <a:pt x="0" y="13"/>
                    </a:lnTo>
                    <a:lnTo>
                      <a:pt x="1" y="13"/>
                    </a:lnTo>
                    <a:lnTo>
                      <a:pt x="1" y="14"/>
                    </a:lnTo>
                    <a:lnTo>
                      <a:pt x="3" y="18"/>
                    </a:lnTo>
                    <a:lnTo>
                      <a:pt x="1" y="19"/>
                    </a:lnTo>
                    <a:lnTo>
                      <a:pt x="4" y="22"/>
                    </a:lnTo>
                    <a:lnTo>
                      <a:pt x="8" y="26"/>
                    </a:lnTo>
                    <a:lnTo>
                      <a:pt x="14" y="29"/>
                    </a:lnTo>
                    <a:lnTo>
                      <a:pt x="17" y="32"/>
                    </a:lnTo>
                    <a:lnTo>
                      <a:pt x="17" y="32"/>
                    </a:lnTo>
                    <a:lnTo>
                      <a:pt x="17" y="32"/>
                    </a:lnTo>
                    <a:lnTo>
                      <a:pt x="19" y="32"/>
                    </a:lnTo>
                    <a:lnTo>
                      <a:pt x="20" y="35"/>
                    </a:lnTo>
                    <a:lnTo>
                      <a:pt x="24" y="35"/>
                    </a:lnTo>
                    <a:lnTo>
                      <a:pt x="27" y="35"/>
                    </a:lnTo>
                    <a:lnTo>
                      <a:pt x="27" y="35"/>
                    </a:lnTo>
                    <a:lnTo>
                      <a:pt x="28" y="35"/>
                    </a:lnTo>
                    <a:lnTo>
                      <a:pt x="28" y="32"/>
                    </a:lnTo>
                    <a:lnTo>
                      <a:pt x="30" y="32"/>
                    </a:lnTo>
                    <a:lnTo>
                      <a:pt x="30" y="29"/>
                    </a:lnTo>
                    <a:lnTo>
                      <a:pt x="35" y="29"/>
                    </a:lnTo>
                    <a:lnTo>
                      <a:pt x="38" y="32"/>
                    </a:lnTo>
                    <a:lnTo>
                      <a:pt x="41" y="32"/>
                    </a:lnTo>
                    <a:lnTo>
                      <a:pt x="44" y="32"/>
                    </a:lnTo>
                    <a:lnTo>
                      <a:pt x="44" y="32"/>
                    </a:lnTo>
                    <a:lnTo>
                      <a:pt x="47" y="32"/>
                    </a:lnTo>
                    <a:lnTo>
                      <a:pt x="51" y="32"/>
                    </a:lnTo>
                    <a:lnTo>
                      <a:pt x="51" y="33"/>
                    </a:lnTo>
                    <a:lnTo>
                      <a:pt x="51" y="35"/>
                    </a:lnTo>
                    <a:lnTo>
                      <a:pt x="54" y="35"/>
                    </a:lnTo>
                    <a:lnTo>
                      <a:pt x="54" y="32"/>
                    </a:lnTo>
                    <a:lnTo>
                      <a:pt x="57" y="32"/>
                    </a:lnTo>
                    <a:lnTo>
                      <a:pt x="62" y="32"/>
                    </a:lnTo>
                    <a:lnTo>
                      <a:pt x="63" y="29"/>
                    </a:lnTo>
                    <a:lnTo>
                      <a:pt x="65" y="29"/>
                    </a:lnTo>
                    <a:lnTo>
                      <a:pt x="66" y="26"/>
                    </a:lnTo>
                    <a:lnTo>
                      <a:pt x="66" y="26"/>
                    </a:lnTo>
                    <a:lnTo>
                      <a:pt x="71" y="24"/>
                    </a:lnTo>
                    <a:lnTo>
                      <a:pt x="74" y="24"/>
                    </a:lnTo>
                    <a:lnTo>
                      <a:pt x="71" y="19"/>
                    </a:lnTo>
                    <a:lnTo>
                      <a:pt x="71" y="19"/>
                    </a:lnTo>
                    <a:lnTo>
                      <a:pt x="71" y="19"/>
                    </a:lnTo>
                    <a:lnTo>
                      <a:pt x="71" y="19"/>
                    </a:lnTo>
                    <a:lnTo>
                      <a:pt x="71" y="19"/>
                    </a:lnTo>
                    <a:lnTo>
                      <a:pt x="71" y="19"/>
                    </a:lnTo>
                    <a:lnTo>
                      <a:pt x="71" y="19"/>
                    </a:lnTo>
                    <a:lnTo>
                      <a:pt x="71" y="19"/>
                    </a:lnTo>
                    <a:lnTo>
                      <a:pt x="71" y="19"/>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52" name="Freeform 202">
                <a:extLst>
                  <a:ext uri="{FF2B5EF4-FFF2-40B4-BE49-F238E27FC236}">
                    <a16:creationId xmlns:a16="http://schemas.microsoft.com/office/drawing/2014/main" id="{0B0387EB-FD10-6482-4A4E-6A163B5C52F2}"/>
                  </a:ext>
                </a:extLst>
              </p:cNvPr>
              <p:cNvSpPr>
                <a:spLocks/>
              </p:cNvSpPr>
              <p:nvPr/>
            </p:nvSpPr>
            <p:spPr bwMode="auto">
              <a:xfrm>
                <a:off x="6143765" y="2528980"/>
                <a:ext cx="150286" cy="116639"/>
              </a:xfrm>
              <a:custGeom>
                <a:avLst/>
                <a:gdLst>
                  <a:gd name="T0" fmla="*/ 48 w 67"/>
                  <a:gd name="T1" fmla="*/ 49 h 52"/>
                  <a:gd name="T2" fmla="*/ 37 w 67"/>
                  <a:gd name="T3" fmla="*/ 38 h 52"/>
                  <a:gd name="T4" fmla="*/ 32 w 67"/>
                  <a:gd name="T5" fmla="*/ 31 h 52"/>
                  <a:gd name="T6" fmla="*/ 25 w 67"/>
                  <a:gd name="T7" fmla="*/ 27 h 52"/>
                  <a:gd name="T8" fmla="*/ 25 w 67"/>
                  <a:gd name="T9" fmla="*/ 22 h 52"/>
                  <a:gd name="T10" fmla="*/ 27 w 67"/>
                  <a:gd name="T11" fmla="*/ 19 h 52"/>
                  <a:gd name="T12" fmla="*/ 33 w 67"/>
                  <a:gd name="T13" fmla="*/ 22 h 52"/>
                  <a:gd name="T14" fmla="*/ 35 w 67"/>
                  <a:gd name="T15" fmla="*/ 19 h 52"/>
                  <a:gd name="T16" fmla="*/ 38 w 67"/>
                  <a:gd name="T17" fmla="*/ 20 h 52"/>
                  <a:gd name="T18" fmla="*/ 43 w 67"/>
                  <a:gd name="T19" fmla="*/ 20 h 52"/>
                  <a:gd name="T20" fmla="*/ 49 w 67"/>
                  <a:gd name="T21" fmla="*/ 22 h 52"/>
                  <a:gd name="T22" fmla="*/ 51 w 67"/>
                  <a:gd name="T23" fmla="*/ 20 h 52"/>
                  <a:gd name="T24" fmla="*/ 57 w 67"/>
                  <a:gd name="T25" fmla="*/ 20 h 52"/>
                  <a:gd name="T26" fmla="*/ 60 w 67"/>
                  <a:gd name="T27" fmla="*/ 23 h 52"/>
                  <a:gd name="T28" fmla="*/ 63 w 67"/>
                  <a:gd name="T29" fmla="*/ 23 h 52"/>
                  <a:gd name="T30" fmla="*/ 63 w 67"/>
                  <a:gd name="T31" fmla="*/ 20 h 52"/>
                  <a:gd name="T32" fmla="*/ 63 w 67"/>
                  <a:gd name="T33" fmla="*/ 17 h 52"/>
                  <a:gd name="T34" fmla="*/ 62 w 67"/>
                  <a:gd name="T35" fmla="*/ 16 h 52"/>
                  <a:gd name="T36" fmla="*/ 62 w 67"/>
                  <a:gd name="T37" fmla="*/ 14 h 52"/>
                  <a:gd name="T38" fmla="*/ 60 w 67"/>
                  <a:gd name="T39" fmla="*/ 9 h 52"/>
                  <a:gd name="T40" fmla="*/ 57 w 67"/>
                  <a:gd name="T41" fmla="*/ 11 h 52"/>
                  <a:gd name="T42" fmla="*/ 51 w 67"/>
                  <a:gd name="T43" fmla="*/ 11 h 52"/>
                  <a:gd name="T44" fmla="*/ 46 w 67"/>
                  <a:gd name="T45" fmla="*/ 9 h 52"/>
                  <a:gd name="T46" fmla="*/ 35 w 67"/>
                  <a:gd name="T47" fmla="*/ 3 h 52"/>
                  <a:gd name="T48" fmla="*/ 32 w 67"/>
                  <a:gd name="T49" fmla="*/ 1 h 52"/>
                  <a:gd name="T50" fmla="*/ 30 w 67"/>
                  <a:gd name="T51" fmla="*/ 3 h 52"/>
                  <a:gd name="T52" fmla="*/ 27 w 67"/>
                  <a:gd name="T53" fmla="*/ 6 h 52"/>
                  <a:gd name="T54" fmla="*/ 25 w 67"/>
                  <a:gd name="T55" fmla="*/ 6 h 52"/>
                  <a:gd name="T56" fmla="*/ 22 w 67"/>
                  <a:gd name="T57" fmla="*/ 11 h 52"/>
                  <a:gd name="T58" fmla="*/ 19 w 67"/>
                  <a:gd name="T59" fmla="*/ 12 h 52"/>
                  <a:gd name="T60" fmla="*/ 22 w 67"/>
                  <a:gd name="T61" fmla="*/ 16 h 52"/>
                  <a:gd name="T62" fmla="*/ 19 w 67"/>
                  <a:gd name="T63" fmla="*/ 16 h 52"/>
                  <a:gd name="T64" fmla="*/ 19 w 67"/>
                  <a:gd name="T65" fmla="*/ 16 h 52"/>
                  <a:gd name="T66" fmla="*/ 16 w 67"/>
                  <a:gd name="T67" fmla="*/ 14 h 52"/>
                  <a:gd name="T68" fmla="*/ 10 w 67"/>
                  <a:gd name="T69" fmla="*/ 16 h 52"/>
                  <a:gd name="T70" fmla="*/ 6 w 67"/>
                  <a:gd name="T71" fmla="*/ 16 h 52"/>
                  <a:gd name="T72" fmla="*/ 3 w 67"/>
                  <a:gd name="T73" fmla="*/ 16 h 52"/>
                  <a:gd name="T74" fmla="*/ 2 w 67"/>
                  <a:gd name="T75" fmla="*/ 16 h 52"/>
                  <a:gd name="T76" fmla="*/ 0 w 67"/>
                  <a:gd name="T77" fmla="*/ 19 h 52"/>
                  <a:gd name="T78" fmla="*/ 3 w 67"/>
                  <a:gd name="T79" fmla="*/ 20 h 52"/>
                  <a:gd name="T80" fmla="*/ 3 w 67"/>
                  <a:gd name="T81" fmla="*/ 23 h 52"/>
                  <a:gd name="T82" fmla="*/ 6 w 67"/>
                  <a:gd name="T83" fmla="*/ 22 h 52"/>
                  <a:gd name="T84" fmla="*/ 8 w 67"/>
                  <a:gd name="T85" fmla="*/ 19 h 52"/>
                  <a:gd name="T86" fmla="*/ 11 w 67"/>
                  <a:gd name="T87" fmla="*/ 17 h 52"/>
                  <a:gd name="T88" fmla="*/ 16 w 67"/>
                  <a:gd name="T89" fmla="*/ 22 h 52"/>
                  <a:gd name="T90" fmla="*/ 16 w 67"/>
                  <a:gd name="T91" fmla="*/ 27 h 52"/>
                  <a:gd name="T92" fmla="*/ 22 w 67"/>
                  <a:gd name="T93" fmla="*/ 31 h 52"/>
                  <a:gd name="T94" fmla="*/ 22 w 67"/>
                  <a:gd name="T95" fmla="*/ 36 h 52"/>
                  <a:gd name="T96" fmla="*/ 27 w 67"/>
                  <a:gd name="T97" fmla="*/ 41 h 52"/>
                  <a:gd name="T98" fmla="*/ 30 w 67"/>
                  <a:gd name="T99" fmla="*/ 43 h 52"/>
                  <a:gd name="T100" fmla="*/ 40 w 67"/>
                  <a:gd name="T101" fmla="*/ 44 h 52"/>
                  <a:gd name="T102" fmla="*/ 48 w 67"/>
                  <a:gd name="T103" fmla="*/ 52 h 52"/>
                  <a:gd name="T104" fmla="*/ 48 w 67"/>
                  <a:gd name="T105"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52">
                    <a:moveTo>
                      <a:pt x="48" y="49"/>
                    </a:moveTo>
                    <a:lnTo>
                      <a:pt x="48" y="49"/>
                    </a:lnTo>
                    <a:lnTo>
                      <a:pt x="48" y="49"/>
                    </a:lnTo>
                    <a:lnTo>
                      <a:pt x="48" y="49"/>
                    </a:lnTo>
                    <a:lnTo>
                      <a:pt x="44" y="46"/>
                    </a:lnTo>
                    <a:lnTo>
                      <a:pt x="44" y="46"/>
                    </a:lnTo>
                    <a:lnTo>
                      <a:pt x="37" y="38"/>
                    </a:lnTo>
                    <a:lnTo>
                      <a:pt x="37" y="38"/>
                    </a:lnTo>
                    <a:lnTo>
                      <a:pt x="32" y="33"/>
                    </a:lnTo>
                    <a:lnTo>
                      <a:pt x="32" y="33"/>
                    </a:lnTo>
                    <a:lnTo>
                      <a:pt x="32" y="31"/>
                    </a:lnTo>
                    <a:lnTo>
                      <a:pt x="32" y="31"/>
                    </a:lnTo>
                    <a:lnTo>
                      <a:pt x="30" y="27"/>
                    </a:lnTo>
                    <a:lnTo>
                      <a:pt x="30" y="27"/>
                    </a:lnTo>
                    <a:lnTo>
                      <a:pt x="25" y="27"/>
                    </a:lnTo>
                    <a:lnTo>
                      <a:pt x="25" y="27"/>
                    </a:lnTo>
                    <a:lnTo>
                      <a:pt x="25" y="23"/>
                    </a:lnTo>
                    <a:lnTo>
                      <a:pt x="25" y="23"/>
                    </a:lnTo>
                    <a:lnTo>
                      <a:pt x="25" y="22"/>
                    </a:lnTo>
                    <a:lnTo>
                      <a:pt x="25" y="22"/>
                    </a:lnTo>
                    <a:lnTo>
                      <a:pt x="25" y="19"/>
                    </a:lnTo>
                    <a:lnTo>
                      <a:pt x="25" y="19"/>
                    </a:lnTo>
                    <a:lnTo>
                      <a:pt x="27" y="19"/>
                    </a:lnTo>
                    <a:lnTo>
                      <a:pt x="27" y="19"/>
                    </a:lnTo>
                    <a:lnTo>
                      <a:pt x="30" y="22"/>
                    </a:lnTo>
                    <a:lnTo>
                      <a:pt x="30" y="22"/>
                    </a:lnTo>
                    <a:lnTo>
                      <a:pt x="33" y="22"/>
                    </a:lnTo>
                    <a:lnTo>
                      <a:pt x="33" y="22"/>
                    </a:lnTo>
                    <a:lnTo>
                      <a:pt x="33" y="20"/>
                    </a:lnTo>
                    <a:lnTo>
                      <a:pt x="33" y="20"/>
                    </a:lnTo>
                    <a:lnTo>
                      <a:pt x="35" y="19"/>
                    </a:lnTo>
                    <a:lnTo>
                      <a:pt x="35" y="19"/>
                    </a:lnTo>
                    <a:lnTo>
                      <a:pt x="37" y="19"/>
                    </a:lnTo>
                    <a:lnTo>
                      <a:pt x="37" y="19"/>
                    </a:lnTo>
                    <a:lnTo>
                      <a:pt x="38" y="20"/>
                    </a:lnTo>
                    <a:lnTo>
                      <a:pt x="38" y="20"/>
                    </a:lnTo>
                    <a:lnTo>
                      <a:pt x="40" y="19"/>
                    </a:lnTo>
                    <a:lnTo>
                      <a:pt x="40" y="19"/>
                    </a:lnTo>
                    <a:lnTo>
                      <a:pt x="43" y="20"/>
                    </a:lnTo>
                    <a:lnTo>
                      <a:pt x="43" y="20"/>
                    </a:lnTo>
                    <a:lnTo>
                      <a:pt x="48" y="20"/>
                    </a:lnTo>
                    <a:lnTo>
                      <a:pt x="48" y="20"/>
                    </a:lnTo>
                    <a:lnTo>
                      <a:pt x="49" y="22"/>
                    </a:lnTo>
                    <a:lnTo>
                      <a:pt x="49" y="22"/>
                    </a:lnTo>
                    <a:lnTo>
                      <a:pt x="51" y="22"/>
                    </a:lnTo>
                    <a:lnTo>
                      <a:pt x="51" y="22"/>
                    </a:lnTo>
                    <a:lnTo>
                      <a:pt x="51" y="20"/>
                    </a:lnTo>
                    <a:lnTo>
                      <a:pt x="51" y="20"/>
                    </a:lnTo>
                    <a:lnTo>
                      <a:pt x="54" y="22"/>
                    </a:lnTo>
                    <a:lnTo>
                      <a:pt x="54" y="22"/>
                    </a:lnTo>
                    <a:lnTo>
                      <a:pt x="57" y="20"/>
                    </a:lnTo>
                    <a:lnTo>
                      <a:pt x="57" y="20"/>
                    </a:lnTo>
                    <a:lnTo>
                      <a:pt x="60" y="22"/>
                    </a:lnTo>
                    <a:lnTo>
                      <a:pt x="60" y="22"/>
                    </a:lnTo>
                    <a:lnTo>
                      <a:pt x="60" y="23"/>
                    </a:lnTo>
                    <a:lnTo>
                      <a:pt x="60" y="23"/>
                    </a:lnTo>
                    <a:lnTo>
                      <a:pt x="62" y="25"/>
                    </a:lnTo>
                    <a:lnTo>
                      <a:pt x="62" y="25"/>
                    </a:lnTo>
                    <a:lnTo>
                      <a:pt x="63" y="23"/>
                    </a:lnTo>
                    <a:lnTo>
                      <a:pt x="63" y="23"/>
                    </a:lnTo>
                    <a:lnTo>
                      <a:pt x="63" y="22"/>
                    </a:lnTo>
                    <a:lnTo>
                      <a:pt x="63" y="22"/>
                    </a:lnTo>
                    <a:lnTo>
                      <a:pt x="63" y="20"/>
                    </a:lnTo>
                    <a:lnTo>
                      <a:pt x="63" y="20"/>
                    </a:lnTo>
                    <a:lnTo>
                      <a:pt x="67" y="20"/>
                    </a:lnTo>
                    <a:lnTo>
                      <a:pt x="67" y="20"/>
                    </a:lnTo>
                    <a:lnTo>
                      <a:pt x="63" y="17"/>
                    </a:lnTo>
                    <a:lnTo>
                      <a:pt x="63" y="17"/>
                    </a:lnTo>
                    <a:lnTo>
                      <a:pt x="63" y="16"/>
                    </a:lnTo>
                    <a:lnTo>
                      <a:pt x="63" y="16"/>
                    </a:lnTo>
                    <a:lnTo>
                      <a:pt x="62" y="16"/>
                    </a:lnTo>
                    <a:lnTo>
                      <a:pt x="62" y="16"/>
                    </a:lnTo>
                    <a:lnTo>
                      <a:pt x="63" y="14"/>
                    </a:lnTo>
                    <a:lnTo>
                      <a:pt x="63" y="14"/>
                    </a:lnTo>
                    <a:lnTo>
                      <a:pt x="62" y="14"/>
                    </a:lnTo>
                    <a:lnTo>
                      <a:pt x="62" y="14"/>
                    </a:lnTo>
                    <a:lnTo>
                      <a:pt x="62" y="12"/>
                    </a:lnTo>
                    <a:lnTo>
                      <a:pt x="62" y="12"/>
                    </a:lnTo>
                    <a:lnTo>
                      <a:pt x="60" y="9"/>
                    </a:lnTo>
                    <a:lnTo>
                      <a:pt x="60" y="9"/>
                    </a:lnTo>
                    <a:lnTo>
                      <a:pt x="57" y="9"/>
                    </a:lnTo>
                    <a:lnTo>
                      <a:pt x="57" y="9"/>
                    </a:lnTo>
                    <a:lnTo>
                      <a:pt x="57" y="11"/>
                    </a:lnTo>
                    <a:lnTo>
                      <a:pt x="57" y="11"/>
                    </a:lnTo>
                    <a:lnTo>
                      <a:pt x="57" y="11"/>
                    </a:lnTo>
                    <a:lnTo>
                      <a:pt x="57" y="11"/>
                    </a:lnTo>
                    <a:lnTo>
                      <a:pt x="51" y="11"/>
                    </a:lnTo>
                    <a:lnTo>
                      <a:pt x="51" y="11"/>
                    </a:lnTo>
                    <a:lnTo>
                      <a:pt x="49" y="11"/>
                    </a:lnTo>
                    <a:lnTo>
                      <a:pt x="49" y="11"/>
                    </a:lnTo>
                    <a:lnTo>
                      <a:pt x="46" y="9"/>
                    </a:lnTo>
                    <a:lnTo>
                      <a:pt x="46" y="9"/>
                    </a:lnTo>
                    <a:lnTo>
                      <a:pt x="41" y="6"/>
                    </a:lnTo>
                    <a:lnTo>
                      <a:pt x="41" y="6"/>
                    </a:lnTo>
                    <a:lnTo>
                      <a:pt x="35" y="3"/>
                    </a:lnTo>
                    <a:lnTo>
                      <a:pt x="35" y="3"/>
                    </a:lnTo>
                    <a:lnTo>
                      <a:pt x="32" y="0"/>
                    </a:lnTo>
                    <a:lnTo>
                      <a:pt x="32" y="0"/>
                    </a:lnTo>
                    <a:lnTo>
                      <a:pt x="32" y="1"/>
                    </a:lnTo>
                    <a:lnTo>
                      <a:pt x="32" y="1"/>
                    </a:lnTo>
                    <a:lnTo>
                      <a:pt x="32" y="3"/>
                    </a:lnTo>
                    <a:lnTo>
                      <a:pt x="32" y="3"/>
                    </a:lnTo>
                    <a:lnTo>
                      <a:pt x="30" y="3"/>
                    </a:lnTo>
                    <a:lnTo>
                      <a:pt x="30" y="3"/>
                    </a:lnTo>
                    <a:lnTo>
                      <a:pt x="29" y="3"/>
                    </a:lnTo>
                    <a:lnTo>
                      <a:pt x="29" y="3"/>
                    </a:lnTo>
                    <a:lnTo>
                      <a:pt x="27" y="6"/>
                    </a:lnTo>
                    <a:lnTo>
                      <a:pt x="27" y="6"/>
                    </a:lnTo>
                    <a:lnTo>
                      <a:pt x="25" y="6"/>
                    </a:lnTo>
                    <a:lnTo>
                      <a:pt x="25" y="6"/>
                    </a:lnTo>
                    <a:lnTo>
                      <a:pt x="25" y="6"/>
                    </a:lnTo>
                    <a:lnTo>
                      <a:pt x="25" y="6"/>
                    </a:lnTo>
                    <a:lnTo>
                      <a:pt x="25" y="9"/>
                    </a:lnTo>
                    <a:lnTo>
                      <a:pt x="25" y="9"/>
                    </a:lnTo>
                    <a:lnTo>
                      <a:pt x="22" y="11"/>
                    </a:lnTo>
                    <a:lnTo>
                      <a:pt x="22" y="11"/>
                    </a:lnTo>
                    <a:lnTo>
                      <a:pt x="22" y="12"/>
                    </a:lnTo>
                    <a:lnTo>
                      <a:pt x="22" y="12"/>
                    </a:lnTo>
                    <a:lnTo>
                      <a:pt x="22" y="12"/>
                    </a:lnTo>
                    <a:lnTo>
                      <a:pt x="19" y="12"/>
                    </a:lnTo>
                    <a:lnTo>
                      <a:pt x="19" y="12"/>
                    </a:lnTo>
                    <a:lnTo>
                      <a:pt x="22" y="12"/>
                    </a:lnTo>
                    <a:lnTo>
                      <a:pt x="22" y="12"/>
                    </a:lnTo>
                    <a:lnTo>
                      <a:pt x="22" y="16"/>
                    </a:lnTo>
                    <a:lnTo>
                      <a:pt x="22" y="16"/>
                    </a:lnTo>
                    <a:lnTo>
                      <a:pt x="22" y="16"/>
                    </a:lnTo>
                    <a:lnTo>
                      <a:pt x="22" y="16"/>
                    </a:lnTo>
                    <a:lnTo>
                      <a:pt x="19" y="16"/>
                    </a:lnTo>
                    <a:lnTo>
                      <a:pt x="19" y="16"/>
                    </a:lnTo>
                    <a:lnTo>
                      <a:pt x="19" y="16"/>
                    </a:lnTo>
                    <a:lnTo>
                      <a:pt x="19" y="16"/>
                    </a:lnTo>
                    <a:lnTo>
                      <a:pt x="19" y="16"/>
                    </a:lnTo>
                    <a:lnTo>
                      <a:pt x="19" y="16"/>
                    </a:lnTo>
                    <a:lnTo>
                      <a:pt x="16" y="16"/>
                    </a:lnTo>
                    <a:lnTo>
                      <a:pt x="16" y="16"/>
                    </a:lnTo>
                    <a:lnTo>
                      <a:pt x="16" y="14"/>
                    </a:lnTo>
                    <a:lnTo>
                      <a:pt x="16" y="14"/>
                    </a:lnTo>
                    <a:lnTo>
                      <a:pt x="13" y="12"/>
                    </a:lnTo>
                    <a:lnTo>
                      <a:pt x="13" y="12"/>
                    </a:lnTo>
                    <a:lnTo>
                      <a:pt x="10" y="16"/>
                    </a:lnTo>
                    <a:lnTo>
                      <a:pt x="10" y="16"/>
                    </a:lnTo>
                    <a:lnTo>
                      <a:pt x="8" y="16"/>
                    </a:lnTo>
                    <a:lnTo>
                      <a:pt x="8" y="16"/>
                    </a:lnTo>
                    <a:lnTo>
                      <a:pt x="6" y="16"/>
                    </a:lnTo>
                    <a:lnTo>
                      <a:pt x="6" y="16"/>
                    </a:lnTo>
                    <a:lnTo>
                      <a:pt x="5" y="16"/>
                    </a:lnTo>
                    <a:lnTo>
                      <a:pt x="5" y="16"/>
                    </a:lnTo>
                    <a:lnTo>
                      <a:pt x="3" y="16"/>
                    </a:lnTo>
                    <a:lnTo>
                      <a:pt x="3" y="16"/>
                    </a:lnTo>
                    <a:lnTo>
                      <a:pt x="3" y="16"/>
                    </a:lnTo>
                    <a:lnTo>
                      <a:pt x="2" y="16"/>
                    </a:lnTo>
                    <a:lnTo>
                      <a:pt x="2" y="16"/>
                    </a:lnTo>
                    <a:lnTo>
                      <a:pt x="0" y="16"/>
                    </a:lnTo>
                    <a:lnTo>
                      <a:pt x="0" y="16"/>
                    </a:lnTo>
                    <a:lnTo>
                      <a:pt x="0" y="19"/>
                    </a:lnTo>
                    <a:lnTo>
                      <a:pt x="0" y="19"/>
                    </a:lnTo>
                    <a:lnTo>
                      <a:pt x="2" y="20"/>
                    </a:lnTo>
                    <a:lnTo>
                      <a:pt x="2" y="20"/>
                    </a:lnTo>
                    <a:lnTo>
                      <a:pt x="3" y="20"/>
                    </a:lnTo>
                    <a:lnTo>
                      <a:pt x="3" y="20"/>
                    </a:lnTo>
                    <a:lnTo>
                      <a:pt x="2" y="22"/>
                    </a:lnTo>
                    <a:lnTo>
                      <a:pt x="2" y="22"/>
                    </a:lnTo>
                    <a:lnTo>
                      <a:pt x="3" y="23"/>
                    </a:lnTo>
                    <a:lnTo>
                      <a:pt x="3" y="23"/>
                    </a:lnTo>
                    <a:lnTo>
                      <a:pt x="5" y="27"/>
                    </a:lnTo>
                    <a:lnTo>
                      <a:pt x="5" y="27"/>
                    </a:lnTo>
                    <a:lnTo>
                      <a:pt x="6" y="22"/>
                    </a:lnTo>
                    <a:lnTo>
                      <a:pt x="6" y="22"/>
                    </a:lnTo>
                    <a:lnTo>
                      <a:pt x="8" y="22"/>
                    </a:lnTo>
                    <a:lnTo>
                      <a:pt x="8" y="22"/>
                    </a:lnTo>
                    <a:lnTo>
                      <a:pt x="8" y="19"/>
                    </a:lnTo>
                    <a:lnTo>
                      <a:pt x="8" y="19"/>
                    </a:lnTo>
                    <a:lnTo>
                      <a:pt x="10" y="19"/>
                    </a:lnTo>
                    <a:lnTo>
                      <a:pt x="10" y="19"/>
                    </a:lnTo>
                    <a:lnTo>
                      <a:pt x="11" y="17"/>
                    </a:lnTo>
                    <a:lnTo>
                      <a:pt x="11" y="17"/>
                    </a:lnTo>
                    <a:lnTo>
                      <a:pt x="14" y="19"/>
                    </a:lnTo>
                    <a:lnTo>
                      <a:pt x="14" y="19"/>
                    </a:lnTo>
                    <a:lnTo>
                      <a:pt x="16" y="22"/>
                    </a:lnTo>
                    <a:lnTo>
                      <a:pt x="16" y="22"/>
                    </a:lnTo>
                    <a:lnTo>
                      <a:pt x="16" y="25"/>
                    </a:lnTo>
                    <a:lnTo>
                      <a:pt x="16" y="25"/>
                    </a:lnTo>
                    <a:lnTo>
                      <a:pt x="16" y="27"/>
                    </a:lnTo>
                    <a:lnTo>
                      <a:pt x="16" y="27"/>
                    </a:lnTo>
                    <a:lnTo>
                      <a:pt x="19" y="30"/>
                    </a:lnTo>
                    <a:lnTo>
                      <a:pt x="19" y="30"/>
                    </a:lnTo>
                    <a:lnTo>
                      <a:pt x="22" y="31"/>
                    </a:lnTo>
                    <a:lnTo>
                      <a:pt x="22" y="31"/>
                    </a:lnTo>
                    <a:lnTo>
                      <a:pt x="19" y="31"/>
                    </a:lnTo>
                    <a:lnTo>
                      <a:pt x="19" y="31"/>
                    </a:lnTo>
                    <a:lnTo>
                      <a:pt x="22" y="36"/>
                    </a:lnTo>
                    <a:lnTo>
                      <a:pt x="22" y="36"/>
                    </a:lnTo>
                    <a:lnTo>
                      <a:pt x="25" y="39"/>
                    </a:lnTo>
                    <a:lnTo>
                      <a:pt x="25" y="39"/>
                    </a:lnTo>
                    <a:lnTo>
                      <a:pt x="27" y="41"/>
                    </a:lnTo>
                    <a:lnTo>
                      <a:pt x="27" y="41"/>
                    </a:lnTo>
                    <a:lnTo>
                      <a:pt x="29" y="43"/>
                    </a:lnTo>
                    <a:lnTo>
                      <a:pt x="29" y="43"/>
                    </a:lnTo>
                    <a:lnTo>
                      <a:pt x="30" y="43"/>
                    </a:lnTo>
                    <a:lnTo>
                      <a:pt x="30" y="43"/>
                    </a:lnTo>
                    <a:lnTo>
                      <a:pt x="35" y="43"/>
                    </a:lnTo>
                    <a:lnTo>
                      <a:pt x="35" y="43"/>
                    </a:lnTo>
                    <a:lnTo>
                      <a:pt x="40" y="44"/>
                    </a:lnTo>
                    <a:lnTo>
                      <a:pt x="40" y="44"/>
                    </a:lnTo>
                    <a:lnTo>
                      <a:pt x="46" y="50"/>
                    </a:lnTo>
                    <a:lnTo>
                      <a:pt x="46" y="50"/>
                    </a:lnTo>
                    <a:lnTo>
                      <a:pt x="48" y="52"/>
                    </a:lnTo>
                    <a:lnTo>
                      <a:pt x="48" y="52"/>
                    </a:lnTo>
                    <a:lnTo>
                      <a:pt x="49" y="50"/>
                    </a:lnTo>
                    <a:lnTo>
                      <a:pt x="48" y="49"/>
                    </a:lnTo>
                    <a:lnTo>
                      <a:pt x="48" y="49"/>
                    </a:lnTo>
                    <a:lnTo>
                      <a:pt x="48" y="49"/>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53" name="Freeform 84">
                <a:extLst>
                  <a:ext uri="{FF2B5EF4-FFF2-40B4-BE49-F238E27FC236}">
                    <a16:creationId xmlns:a16="http://schemas.microsoft.com/office/drawing/2014/main" id="{B9147DF4-ED75-381B-2E7B-3CBF37DC024D}"/>
                  </a:ext>
                </a:extLst>
              </p:cNvPr>
              <p:cNvSpPr>
                <a:spLocks/>
              </p:cNvSpPr>
              <p:nvPr/>
            </p:nvSpPr>
            <p:spPr bwMode="auto">
              <a:xfrm>
                <a:off x="6374801" y="2603002"/>
                <a:ext cx="161502" cy="91966"/>
              </a:xfrm>
              <a:custGeom>
                <a:avLst/>
                <a:gdLst>
                  <a:gd name="T0" fmla="*/ 3 w 72"/>
                  <a:gd name="T1" fmla="*/ 29 h 41"/>
                  <a:gd name="T2" fmla="*/ 7 w 72"/>
                  <a:gd name="T3" fmla="*/ 32 h 41"/>
                  <a:gd name="T4" fmla="*/ 8 w 72"/>
                  <a:gd name="T5" fmla="*/ 35 h 41"/>
                  <a:gd name="T6" fmla="*/ 8 w 72"/>
                  <a:gd name="T7" fmla="*/ 41 h 41"/>
                  <a:gd name="T8" fmla="*/ 11 w 72"/>
                  <a:gd name="T9" fmla="*/ 41 h 41"/>
                  <a:gd name="T10" fmla="*/ 18 w 72"/>
                  <a:gd name="T11" fmla="*/ 41 h 41"/>
                  <a:gd name="T12" fmla="*/ 24 w 72"/>
                  <a:gd name="T13" fmla="*/ 38 h 41"/>
                  <a:gd name="T14" fmla="*/ 27 w 72"/>
                  <a:gd name="T15" fmla="*/ 38 h 41"/>
                  <a:gd name="T16" fmla="*/ 29 w 72"/>
                  <a:gd name="T17" fmla="*/ 41 h 41"/>
                  <a:gd name="T18" fmla="*/ 32 w 72"/>
                  <a:gd name="T19" fmla="*/ 38 h 41"/>
                  <a:gd name="T20" fmla="*/ 35 w 72"/>
                  <a:gd name="T21" fmla="*/ 41 h 41"/>
                  <a:gd name="T22" fmla="*/ 41 w 72"/>
                  <a:gd name="T23" fmla="*/ 41 h 41"/>
                  <a:gd name="T24" fmla="*/ 45 w 72"/>
                  <a:gd name="T25" fmla="*/ 41 h 41"/>
                  <a:gd name="T26" fmla="*/ 46 w 72"/>
                  <a:gd name="T27" fmla="*/ 38 h 41"/>
                  <a:gd name="T28" fmla="*/ 45 w 72"/>
                  <a:gd name="T29" fmla="*/ 35 h 41"/>
                  <a:gd name="T30" fmla="*/ 46 w 72"/>
                  <a:gd name="T31" fmla="*/ 35 h 41"/>
                  <a:gd name="T32" fmla="*/ 49 w 72"/>
                  <a:gd name="T33" fmla="*/ 35 h 41"/>
                  <a:gd name="T34" fmla="*/ 53 w 72"/>
                  <a:gd name="T35" fmla="*/ 32 h 41"/>
                  <a:gd name="T36" fmla="*/ 59 w 72"/>
                  <a:gd name="T37" fmla="*/ 30 h 41"/>
                  <a:gd name="T38" fmla="*/ 62 w 72"/>
                  <a:gd name="T39" fmla="*/ 32 h 41"/>
                  <a:gd name="T40" fmla="*/ 64 w 72"/>
                  <a:gd name="T41" fmla="*/ 32 h 41"/>
                  <a:gd name="T42" fmla="*/ 65 w 72"/>
                  <a:gd name="T43" fmla="*/ 30 h 41"/>
                  <a:gd name="T44" fmla="*/ 59 w 72"/>
                  <a:gd name="T45" fmla="*/ 25 h 41"/>
                  <a:gd name="T46" fmla="*/ 62 w 72"/>
                  <a:gd name="T47" fmla="*/ 22 h 41"/>
                  <a:gd name="T48" fmla="*/ 64 w 72"/>
                  <a:gd name="T49" fmla="*/ 19 h 41"/>
                  <a:gd name="T50" fmla="*/ 65 w 72"/>
                  <a:gd name="T51" fmla="*/ 13 h 41"/>
                  <a:gd name="T52" fmla="*/ 70 w 72"/>
                  <a:gd name="T53" fmla="*/ 11 h 41"/>
                  <a:gd name="T54" fmla="*/ 72 w 72"/>
                  <a:gd name="T55" fmla="*/ 8 h 41"/>
                  <a:gd name="T56" fmla="*/ 70 w 72"/>
                  <a:gd name="T57" fmla="*/ 6 h 41"/>
                  <a:gd name="T58" fmla="*/ 62 w 72"/>
                  <a:gd name="T59" fmla="*/ 3 h 41"/>
                  <a:gd name="T60" fmla="*/ 56 w 72"/>
                  <a:gd name="T61" fmla="*/ 2 h 41"/>
                  <a:gd name="T62" fmla="*/ 53 w 72"/>
                  <a:gd name="T63" fmla="*/ 2 h 41"/>
                  <a:gd name="T64" fmla="*/ 43 w 72"/>
                  <a:gd name="T65" fmla="*/ 3 h 41"/>
                  <a:gd name="T66" fmla="*/ 38 w 72"/>
                  <a:gd name="T67" fmla="*/ 8 h 41"/>
                  <a:gd name="T68" fmla="*/ 32 w 72"/>
                  <a:gd name="T69" fmla="*/ 6 h 41"/>
                  <a:gd name="T70" fmla="*/ 24 w 72"/>
                  <a:gd name="T71" fmla="*/ 6 h 41"/>
                  <a:gd name="T72" fmla="*/ 14 w 72"/>
                  <a:gd name="T73" fmla="*/ 5 h 41"/>
                  <a:gd name="T74" fmla="*/ 7 w 72"/>
                  <a:gd name="T75" fmla="*/ 6 h 41"/>
                  <a:gd name="T76" fmla="*/ 7 w 72"/>
                  <a:gd name="T77" fmla="*/ 3 h 41"/>
                  <a:gd name="T78" fmla="*/ 3 w 72"/>
                  <a:gd name="T79" fmla="*/ 0 h 41"/>
                  <a:gd name="T80" fmla="*/ 0 w 72"/>
                  <a:gd name="T81" fmla="*/ 3 h 41"/>
                  <a:gd name="T82" fmla="*/ 0 w 72"/>
                  <a:gd name="T83" fmla="*/ 6 h 41"/>
                  <a:gd name="T84" fmla="*/ 3 w 72"/>
                  <a:gd name="T85" fmla="*/ 11 h 41"/>
                  <a:gd name="T86" fmla="*/ 5 w 72"/>
                  <a:gd name="T87" fmla="*/ 19 h 41"/>
                  <a:gd name="T88" fmla="*/ 3 w 72"/>
                  <a:gd name="T89" fmla="*/ 21 h 41"/>
                  <a:gd name="T90" fmla="*/ 3 w 72"/>
                  <a:gd name="T91" fmla="*/ 25 h 41"/>
                  <a:gd name="T92" fmla="*/ 0 w 72"/>
                  <a:gd name="T93" fmla="*/ 25 h 41"/>
                  <a:gd name="T94" fmla="*/ 3 w 72"/>
                  <a:gd name="T95" fmla="*/ 29 h 41"/>
                  <a:gd name="T96" fmla="*/ 3 w 72"/>
                  <a:gd name="T97" fmla="*/ 29 h 41"/>
                  <a:gd name="T98" fmla="*/ 3 w 72"/>
                  <a:gd name="T99" fmla="*/ 29 h 41"/>
                  <a:gd name="T100" fmla="*/ 3 w 72"/>
                  <a:gd name="T101" fmla="*/ 29 h 41"/>
                  <a:gd name="T102" fmla="*/ 3 w 72"/>
                  <a:gd name="T103"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 h="41">
                    <a:moveTo>
                      <a:pt x="3" y="29"/>
                    </a:moveTo>
                    <a:lnTo>
                      <a:pt x="3" y="29"/>
                    </a:lnTo>
                    <a:lnTo>
                      <a:pt x="5" y="30"/>
                    </a:lnTo>
                    <a:lnTo>
                      <a:pt x="7" y="32"/>
                    </a:lnTo>
                    <a:lnTo>
                      <a:pt x="8" y="35"/>
                    </a:lnTo>
                    <a:lnTo>
                      <a:pt x="8" y="35"/>
                    </a:lnTo>
                    <a:lnTo>
                      <a:pt x="8" y="38"/>
                    </a:lnTo>
                    <a:lnTo>
                      <a:pt x="8" y="41"/>
                    </a:lnTo>
                    <a:lnTo>
                      <a:pt x="10" y="41"/>
                    </a:lnTo>
                    <a:lnTo>
                      <a:pt x="11" y="41"/>
                    </a:lnTo>
                    <a:lnTo>
                      <a:pt x="14" y="41"/>
                    </a:lnTo>
                    <a:lnTo>
                      <a:pt x="18" y="41"/>
                    </a:lnTo>
                    <a:lnTo>
                      <a:pt x="21" y="38"/>
                    </a:lnTo>
                    <a:lnTo>
                      <a:pt x="24" y="38"/>
                    </a:lnTo>
                    <a:lnTo>
                      <a:pt x="26" y="38"/>
                    </a:lnTo>
                    <a:lnTo>
                      <a:pt x="27" y="38"/>
                    </a:lnTo>
                    <a:lnTo>
                      <a:pt x="29" y="38"/>
                    </a:lnTo>
                    <a:lnTo>
                      <a:pt x="29" y="41"/>
                    </a:lnTo>
                    <a:lnTo>
                      <a:pt x="30" y="40"/>
                    </a:lnTo>
                    <a:lnTo>
                      <a:pt x="32" y="38"/>
                    </a:lnTo>
                    <a:lnTo>
                      <a:pt x="35" y="41"/>
                    </a:lnTo>
                    <a:lnTo>
                      <a:pt x="35" y="41"/>
                    </a:lnTo>
                    <a:lnTo>
                      <a:pt x="38" y="41"/>
                    </a:lnTo>
                    <a:lnTo>
                      <a:pt x="41" y="41"/>
                    </a:lnTo>
                    <a:lnTo>
                      <a:pt x="43" y="41"/>
                    </a:lnTo>
                    <a:lnTo>
                      <a:pt x="45" y="41"/>
                    </a:lnTo>
                    <a:lnTo>
                      <a:pt x="46" y="38"/>
                    </a:lnTo>
                    <a:lnTo>
                      <a:pt x="46" y="38"/>
                    </a:lnTo>
                    <a:lnTo>
                      <a:pt x="46" y="35"/>
                    </a:lnTo>
                    <a:lnTo>
                      <a:pt x="45" y="35"/>
                    </a:lnTo>
                    <a:lnTo>
                      <a:pt x="45" y="35"/>
                    </a:lnTo>
                    <a:lnTo>
                      <a:pt x="46" y="35"/>
                    </a:lnTo>
                    <a:lnTo>
                      <a:pt x="48" y="35"/>
                    </a:lnTo>
                    <a:lnTo>
                      <a:pt x="49" y="35"/>
                    </a:lnTo>
                    <a:lnTo>
                      <a:pt x="49" y="32"/>
                    </a:lnTo>
                    <a:lnTo>
                      <a:pt x="53" y="32"/>
                    </a:lnTo>
                    <a:lnTo>
                      <a:pt x="56" y="30"/>
                    </a:lnTo>
                    <a:lnTo>
                      <a:pt x="59" y="30"/>
                    </a:lnTo>
                    <a:lnTo>
                      <a:pt x="59" y="30"/>
                    </a:lnTo>
                    <a:lnTo>
                      <a:pt x="62" y="32"/>
                    </a:lnTo>
                    <a:lnTo>
                      <a:pt x="62" y="32"/>
                    </a:lnTo>
                    <a:lnTo>
                      <a:pt x="64" y="32"/>
                    </a:lnTo>
                    <a:lnTo>
                      <a:pt x="65" y="32"/>
                    </a:lnTo>
                    <a:lnTo>
                      <a:pt x="65" y="30"/>
                    </a:lnTo>
                    <a:lnTo>
                      <a:pt x="62" y="25"/>
                    </a:lnTo>
                    <a:lnTo>
                      <a:pt x="59" y="25"/>
                    </a:lnTo>
                    <a:lnTo>
                      <a:pt x="62" y="25"/>
                    </a:lnTo>
                    <a:lnTo>
                      <a:pt x="62" y="22"/>
                    </a:lnTo>
                    <a:lnTo>
                      <a:pt x="64" y="22"/>
                    </a:lnTo>
                    <a:lnTo>
                      <a:pt x="64" y="19"/>
                    </a:lnTo>
                    <a:lnTo>
                      <a:pt x="64" y="16"/>
                    </a:lnTo>
                    <a:lnTo>
                      <a:pt x="65" y="13"/>
                    </a:lnTo>
                    <a:lnTo>
                      <a:pt x="68" y="11"/>
                    </a:lnTo>
                    <a:lnTo>
                      <a:pt x="70" y="11"/>
                    </a:lnTo>
                    <a:lnTo>
                      <a:pt x="72" y="11"/>
                    </a:lnTo>
                    <a:lnTo>
                      <a:pt x="72" y="8"/>
                    </a:lnTo>
                    <a:lnTo>
                      <a:pt x="72" y="6"/>
                    </a:lnTo>
                    <a:lnTo>
                      <a:pt x="70" y="6"/>
                    </a:lnTo>
                    <a:lnTo>
                      <a:pt x="67" y="6"/>
                    </a:lnTo>
                    <a:lnTo>
                      <a:pt x="62" y="3"/>
                    </a:lnTo>
                    <a:lnTo>
                      <a:pt x="59" y="3"/>
                    </a:lnTo>
                    <a:lnTo>
                      <a:pt x="56" y="2"/>
                    </a:lnTo>
                    <a:lnTo>
                      <a:pt x="53" y="0"/>
                    </a:lnTo>
                    <a:lnTo>
                      <a:pt x="53" y="2"/>
                    </a:lnTo>
                    <a:lnTo>
                      <a:pt x="48" y="2"/>
                    </a:lnTo>
                    <a:lnTo>
                      <a:pt x="43" y="3"/>
                    </a:lnTo>
                    <a:lnTo>
                      <a:pt x="40" y="6"/>
                    </a:lnTo>
                    <a:lnTo>
                      <a:pt x="38" y="8"/>
                    </a:lnTo>
                    <a:lnTo>
                      <a:pt x="35" y="8"/>
                    </a:lnTo>
                    <a:lnTo>
                      <a:pt x="32" y="6"/>
                    </a:lnTo>
                    <a:lnTo>
                      <a:pt x="27" y="6"/>
                    </a:lnTo>
                    <a:lnTo>
                      <a:pt x="24" y="6"/>
                    </a:lnTo>
                    <a:lnTo>
                      <a:pt x="19" y="6"/>
                    </a:lnTo>
                    <a:lnTo>
                      <a:pt x="14" y="5"/>
                    </a:lnTo>
                    <a:lnTo>
                      <a:pt x="10" y="6"/>
                    </a:lnTo>
                    <a:lnTo>
                      <a:pt x="7" y="6"/>
                    </a:lnTo>
                    <a:lnTo>
                      <a:pt x="5" y="5"/>
                    </a:lnTo>
                    <a:lnTo>
                      <a:pt x="7" y="3"/>
                    </a:lnTo>
                    <a:lnTo>
                      <a:pt x="7" y="2"/>
                    </a:lnTo>
                    <a:lnTo>
                      <a:pt x="3" y="0"/>
                    </a:lnTo>
                    <a:lnTo>
                      <a:pt x="0" y="3"/>
                    </a:lnTo>
                    <a:lnTo>
                      <a:pt x="0" y="3"/>
                    </a:lnTo>
                    <a:lnTo>
                      <a:pt x="0" y="5"/>
                    </a:lnTo>
                    <a:lnTo>
                      <a:pt x="0" y="6"/>
                    </a:lnTo>
                    <a:lnTo>
                      <a:pt x="2" y="8"/>
                    </a:lnTo>
                    <a:lnTo>
                      <a:pt x="3" y="11"/>
                    </a:lnTo>
                    <a:lnTo>
                      <a:pt x="8" y="14"/>
                    </a:lnTo>
                    <a:lnTo>
                      <a:pt x="5" y="19"/>
                    </a:lnTo>
                    <a:lnTo>
                      <a:pt x="3" y="19"/>
                    </a:lnTo>
                    <a:lnTo>
                      <a:pt x="3" y="21"/>
                    </a:lnTo>
                    <a:lnTo>
                      <a:pt x="3" y="22"/>
                    </a:lnTo>
                    <a:lnTo>
                      <a:pt x="3" y="25"/>
                    </a:lnTo>
                    <a:lnTo>
                      <a:pt x="3" y="25"/>
                    </a:lnTo>
                    <a:lnTo>
                      <a:pt x="0" y="25"/>
                    </a:lnTo>
                    <a:lnTo>
                      <a:pt x="2" y="27"/>
                    </a:lnTo>
                    <a:lnTo>
                      <a:pt x="3" y="29"/>
                    </a:lnTo>
                    <a:lnTo>
                      <a:pt x="3" y="29"/>
                    </a:lnTo>
                    <a:lnTo>
                      <a:pt x="3" y="29"/>
                    </a:lnTo>
                    <a:lnTo>
                      <a:pt x="3" y="29"/>
                    </a:lnTo>
                    <a:lnTo>
                      <a:pt x="3" y="29"/>
                    </a:lnTo>
                    <a:lnTo>
                      <a:pt x="3" y="29"/>
                    </a:lnTo>
                    <a:lnTo>
                      <a:pt x="3" y="29"/>
                    </a:lnTo>
                    <a:lnTo>
                      <a:pt x="3" y="29"/>
                    </a:lnTo>
                    <a:lnTo>
                      <a:pt x="3" y="29"/>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54" name="Freeform 215">
                <a:extLst>
                  <a:ext uri="{FF2B5EF4-FFF2-40B4-BE49-F238E27FC236}">
                    <a16:creationId xmlns:a16="http://schemas.microsoft.com/office/drawing/2014/main" id="{2AAE1D62-427A-1962-9519-8C20163E098F}"/>
                  </a:ext>
                </a:extLst>
              </p:cNvPr>
              <p:cNvSpPr>
                <a:spLocks/>
              </p:cNvSpPr>
              <p:nvPr/>
            </p:nvSpPr>
            <p:spPr bwMode="auto">
              <a:xfrm>
                <a:off x="6211056" y="2463932"/>
                <a:ext cx="168231" cy="89723"/>
              </a:xfrm>
              <a:custGeom>
                <a:avLst/>
                <a:gdLst>
                  <a:gd name="T0" fmla="*/ 68 w 75"/>
                  <a:gd name="T1" fmla="*/ 3 h 40"/>
                  <a:gd name="T2" fmla="*/ 65 w 75"/>
                  <a:gd name="T3" fmla="*/ 3 h 40"/>
                  <a:gd name="T4" fmla="*/ 64 w 75"/>
                  <a:gd name="T5" fmla="*/ 3 h 40"/>
                  <a:gd name="T6" fmla="*/ 60 w 75"/>
                  <a:gd name="T7" fmla="*/ 3 h 40"/>
                  <a:gd name="T8" fmla="*/ 57 w 75"/>
                  <a:gd name="T9" fmla="*/ 0 h 40"/>
                  <a:gd name="T10" fmla="*/ 54 w 75"/>
                  <a:gd name="T11" fmla="*/ 3 h 40"/>
                  <a:gd name="T12" fmla="*/ 48 w 75"/>
                  <a:gd name="T13" fmla="*/ 0 h 40"/>
                  <a:gd name="T14" fmla="*/ 46 w 75"/>
                  <a:gd name="T15" fmla="*/ 5 h 40"/>
                  <a:gd name="T16" fmla="*/ 43 w 75"/>
                  <a:gd name="T17" fmla="*/ 6 h 40"/>
                  <a:gd name="T18" fmla="*/ 37 w 75"/>
                  <a:gd name="T19" fmla="*/ 5 h 40"/>
                  <a:gd name="T20" fmla="*/ 32 w 75"/>
                  <a:gd name="T21" fmla="*/ 8 h 40"/>
                  <a:gd name="T22" fmla="*/ 30 w 75"/>
                  <a:gd name="T23" fmla="*/ 10 h 40"/>
                  <a:gd name="T24" fmla="*/ 21 w 75"/>
                  <a:gd name="T25" fmla="*/ 13 h 40"/>
                  <a:gd name="T26" fmla="*/ 14 w 75"/>
                  <a:gd name="T27" fmla="*/ 10 h 40"/>
                  <a:gd name="T28" fmla="*/ 11 w 75"/>
                  <a:gd name="T29" fmla="*/ 8 h 40"/>
                  <a:gd name="T30" fmla="*/ 8 w 75"/>
                  <a:gd name="T31" fmla="*/ 13 h 40"/>
                  <a:gd name="T32" fmla="*/ 7 w 75"/>
                  <a:gd name="T33" fmla="*/ 13 h 40"/>
                  <a:gd name="T34" fmla="*/ 3 w 75"/>
                  <a:gd name="T35" fmla="*/ 13 h 40"/>
                  <a:gd name="T36" fmla="*/ 5 w 75"/>
                  <a:gd name="T37" fmla="*/ 16 h 40"/>
                  <a:gd name="T38" fmla="*/ 3 w 75"/>
                  <a:gd name="T39" fmla="*/ 19 h 40"/>
                  <a:gd name="T40" fmla="*/ 0 w 75"/>
                  <a:gd name="T41" fmla="*/ 24 h 40"/>
                  <a:gd name="T42" fmla="*/ 11 w 75"/>
                  <a:gd name="T43" fmla="*/ 35 h 40"/>
                  <a:gd name="T44" fmla="*/ 19 w 75"/>
                  <a:gd name="T45" fmla="*/ 40 h 40"/>
                  <a:gd name="T46" fmla="*/ 27 w 75"/>
                  <a:gd name="T47" fmla="*/ 40 h 40"/>
                  <a:gd name="T48" fmla="*/ 27 w 75"/>
                  <a:gd name="T49" fmla="*/ 38 h 40"/>
                  <a:gd name="T50" fmla="*/ 33 w 75"/>
                  <a:gd name="T51" fmla="*/ 37 h 40"/>
                  <a:gd name="T52" fmla="*/ 37 w 75"/>
                  <a:gd name="T53" fmla="*/ 37 h 40"/>
                  <a:gd name="T54" fmla="*/ 40 w 75"/>
                  <a:gd name="T55" fmla="*/ 33 h 40"/>
                  <a:gd name="T56" fmla="*/ 46 w 75"/>
                  <a:gd name="T57" fmla="*/ 35 h 40"/>
                  <a:gd name="T58" fmla="*/ 49 w 75"/>
                  <a:gd name="T59" fmla="*/ 33 h 40"/>
                  <a:gd name="T60" fmla="*/ 51 w 75"/>
                  <a:gd name="T61" fmla="*/ 33 h 40"/>
                  <a:gd name="T62" fmla="*/ 54 w 75"/>
                  <a:gd name="T63" fmla="*/ 32 h 40"/>
                  <a:gd name="T64" fmla="*/ 57 w 75"/>
                  <a:gd name="T65" fmla="*/ 30 h 40"/>
                  <a:gd name="T66" fmla="*/ 60 w 75"/>
                  <a:gd name="T67" fmla="*/ 25 h 40"/>
                  <a:gd name="T68" fmla="*/ 65 w 75"/>
                  <a:gd name="T69" fmla="*/ 18 h 40"/>
                  <a:gd name="T70" fmla="*/ 65 w 75"/>
                  <a:gd name="T71" fmla="*/ 14 h 40"/>
                  <a:gd name="T72" fmla="*/ 70 w 75"/>
                  <a:gd name="T73" fmla="*/ 13 h 40"/>
                  <a:gd name="T74" fmla="*/ 73 w 75"/>
                  <a:gd name="T75" fmla="*/ 10 h 40"/>
                  <a:gd name="T76" fmla="*/ 75 w 75"/>
                  <a:gd name="T77" fmla="*/ 8 h 40"/>
                  <a:gd name="T78" fmla="*/ 73 w 75"/>
                  <a:gd name="T79" fmla="*/ 6 h 40"/>
                  <a:gd name="T80" fmla="*/ 73 w 75"/>
                  <a:gd name="T81" fmla="*/ 6 h 40"/>
                  <a:gd name="T82" fmla="*/ 73 w 75"/>
                  <a:gd name="T83" fmla="*/ 6 h 40"/>
                  <a:gd name="T84" fmla="*/ 73 w 75"/>
                  <a:gd name="T85"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 h="40">
                    <a:moveTo>
                      <a:pt x="73" y="6"/>
                    </a:moveTo>
                    <a:lnTo>
                      <a:pt x="68" y="3"/>
                    </a:lnTo>
                    <a:lnTo>
                      <a:pt x="67" y="3"/>
                    </a:lnTo>
                    <a:lnTo>
                      <a:pt x="65" y="3"/>
                    </a:lnTo>
                    <a:lnTo>
                      <a:pt x="65" y="3"/>
                    </a:lnTo>
                    <a:lnTo>
                      <a:pt x="64" y="3"/>
                    </a:lnTo>
                    <a:lnTo>
                      <a:pt x="62" y="3"/>
                    </a:lnTo>
                    <a:lnTo>
                      <a:pt x="60" y="3"/>
                    </a:lnTo>
                    <a:lnTo>
                      <a:pt x="59" y="3"/>
                    </a:lnTo>
                    <a:lnTo>
                      <a:pt x="57" y="0"/>
                    </a:lnTo>
                    <a:lnTo>
                      <a:pt x="56" y="2"/>
                    </a:lnTo>
                    <a:lnTo>
                      <a:pt x="54" y="3"/>
                    </a:lnTo>
                    <a:lnTo>
                      <a:pt x="51" y="0"/>
                    </a:lnTo>
                    <a:lnTo>
                      <a:pt x="48" y="0"/>
                    </a:lnTo>
                    <a:lnTo>
                      <a:pt x="48" y="3"/>
                    </a:lnTo>
                    <a:lnTo>
                      <a:pt x="46" y="5"/>
                    </a:lnTo>
                    <a:lnTo>
                      <a:pt x="45" y="6"/>
                    </a:lnTo>
                    <a:lnTo>
                      <a:pt x="43" y="6"/>
                    </a:lnTo>
                    <a:lnTo>
                      <a:pt x="40" y="6"/>
                    </a:lnTo>
                    <a:lnTo>
                      <a:pt x="37" y="5"/>
                    </a:lnTo>
                    <a:lnTo>
                      <a:pt x="35" y="8"/>
                    </a:lnTo>
                    <a:lnTo>
                      <a:pt x="32" y="8"/>
                    </a:lnTo>
                    <a:lnTo>
                      <a:pt x="30" y="8"/>
                    </a:lnTo>
                    <a:lnTo>
                      <a:pt x="30" y="10"/>
                    </a:lnTo>
                    <a:lnTo>
                      <a:pt x="30" y="11"/>
                    </a:lnTo>
                    <a:lnTo>
                      <a:pt x="21" y="13"/>
                    </a:lnTo>
                    <a:lnTo>
                      <a:pt x="18" y="13"/>
                    </a:lnTo>
                    <a:lnTo>
                      <a:pt x="14" y="10"/>
                    </a:lnTo>
                    <a:lnTo>
                      <a:pt x="14" y="10"/>
                    </a:lnTo>
                    <a:lnTo>
                      <a:pt x="11" y="8"/>
                    </a:lnTo>
                    <a:lnTo>
                      <a:pt x="10" y="10"/>
                    </a:lnTo>
                    <a:lnTo>
                      <a:pt x="8" y="13"/>
                    </a:lnTo>
                    <a:lnTo>
                      <a:pt x="8" y="14"/>
                    </a:lnTo>
                    <a:lnTo>
                      <a:pt x="7" y="13"/>
                    </a:lnTo>
                    <a:lnTo>
                      <a:pt x="5" y="13"/>
                    </a:lnTo>
                    <a:lnTo>
                      <a:pt x="3" y="13"/>
                    </a:lnTo>
                    <a:lnTo>
                      <a:pt x="5" y="14"/>
                    </a:lnTo>
                    <a:lnTo>
                      <a:pt x="5" y="16"/>
                    </a:lnTo>
                    <a:lnTo>
                      <a:pt x="3" y="18"/>
                    </a:lnTo>
                    <a:lnTo>
                      <a:pt x="3" y="19"/>
                    </a:lnTo>
                    <a:lnTo>
                      <a:pt x="3" y="24"/>
                    </a:lnTo>
                    <a:lnTo>
                      <a:pt x="0" y="24"/>
                    </a:lnTo>
                    <a:lnTo>
                      <a:pt x="5" y="30"/>
                    </a:lnTo>
                    <a:lnTo>
                      <a:pt x="11" y="35"/>
                    </a:lnTo>
                    <a:lnTo>
                      <a:pt x="16" y="38"/>
                    </a:lnTo>
                    <a:lnTo>
                      <a:pt x="19" y="40"/>
                    </a:lnTo>
                    <a:lnTo>
                      <a:pt x="21" y="40"/>
                    </a:lnTo>
                    <a:lnTo>
                      <a:pt x="27" y="40"/>
                    </a:lnTo>
                    <a:lnTo>
                      <a:pt x="27" y="40"/>
                    </a:lnTo>
                    <a:lnTo>
                      <a:pt x="27" y="38"/>
                    </a:lnTo>
                    <a:lnTo>
                      <a:pt x="30" y="38"/>
                    </a:lnTo>
                    <a:lnTo>
                      <a:pt x="33" y="37"/>
                    </a:lnTo>
                    <a:lnTo>
                      <a:pt x="35" y="37"/>
                    </a:lnTo>
                    <a:lnTo>
                      <a:pt x="37" y="37"/>
                    </a:lnTo>
                    <a:lnTo>
                      <a:pt x="38" y="35"/>
                    </a:lnTo>
                    <a:lnTo>
                      <a:pt x="40" y="33"/>
                    </a:lnTo>
                    <a:lnTo>
                      <a:pt x="43" y="35"/>
                    </a:lnTo>
                    <a:lnTo>
                      <a:pt x="46" y="35"/>
                    </a:lnTo>
                    <a:lnTo>
                      <a:pt x="46" y="35"/>
                    </a:lnTo>
                    <a:lnTo>
                      <a:pt x="49" y="33"/>
                    </a:lnTo>
                    <a:lnTo>
                      <a:pt x="51" y="35"/>
                    </a:lnTo>
                    <a:lnTo>
                      <a:pt x="51" y="33"/>
                    </a:lnTo>
                    <a:lnTo>
                      <a:pt x="51" y="32"/>
                    </a:lnTo>
                    <a:lnTo>
                      <a:pt x="54" y="32"/>
                    </a:lnTo>
                    <a:lnTo>
                      <a:pt x="56" y="32"/>
                    </a:lnTo>
                    <a:lnTo>
                      <a:pt x="57" y="30"/>
                    </a:lnTo>
                    <a:lnTo>
                      <a:pt x="57" y="29"/>
                    </a:lnTo>
                    <a:lnTo>
                      <a:pt x="60" y="25"/>
                    </a:lnTo>
                    <a:lnTo>
                      <a:pt x="62" y="21"/>
                    </a:lnTo>
                    <a:lnTo>
                      <a:pt x="65" y="18"/>
                    </a:lnTo>
                    <a:lnTo>
                      <a:pt x="65" y="16"/>
                    </a:lnTo>
                    <a:lnTo>
                      <a:pt x="65" y="14"/>
                    </a:lnTo>
                    <a:lnTo>
                      <a:pt x="68" y="13"/>
                    </a:lnTo>
                    <a:lnTo>
                      <a:pt x="70" y="13"/>
                    </a:lnTo>
                    <a:lnTo>
                      <a:pt x="73" y="11"/>
                    </a:lnTo>
                    <a:lnTo>
                      <a:pt x="73" y="10"/>
                    </a:lnTo>
                    <a:lnTo>
                      <a:pt x="75" y="10"/>
                    </a:lnTo>
                    <a:lnTo>
                      <a:pt x="75" y="8"/>
                    </a:lnTo>
                    <a:lnTo>
                      <a:pt x="73" y="6"/>
                    </a:lnTo>
                    <a:lnTo>
                      <a:pt x="73" y="6"/>
                    </a:lnTo>
                    <a:lnTo>
                      <a:pt x="73" y="6"/>
                    </a:lnTo>
                    <a:lnTo>
                      <a:pt x="73" y="6"/>
                    </a:lnTo>
                    <a:lnTo>
                      <a:pt x="73" y="6"/>
                    </a:lnTo>
                    <a:lnTo>
                      <a:pt x="73" y="6"/>
                    </a:lnTo>
                    <a:lnTo>
                      <a:pt x="73" y="6"/>
                    </a:lnTo>
                    <a:lnTo>
                      <a:pt x="73" y="6"/>
                    </a:lnTo>
                    <a:lnTo>
                      <a:pt x="73" y="6"/>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55" name="Freeform 309">
                <a:extLst>
                  <a:ext uri="{FF2B5EF4-FFF2-40B4-BE49-F238E27FC236}">
                    <a16:creationId xmlns:a16="http://schemas.microsoft.com/office/drawing/2014/main" id="{20D861C6-572B-935E-A197-DCF1A7D75E55}"/>
                  </a:ext>
                </a:extLst>
              </p:cNvPr>
              <p:cNvSpPr>
                <a:spLocks/>
              </p:cNvSpPr>
              <p:nvPr/>
            </p:nvSpPr>
            <p:spPr bwMode="auto">
              <a:xfrm>
                <a:off x="6356856" y="2347292"/>
                <a:ext cx="448615" cy="248981"/>
              </a:xfrm>
              <a:custGeom>
                <a:avLst/>
                <a:gdLst>
                  <a:gd name="T0" fmla="*/ 197 w 200"/>
                  <a:gd name="T1" fmla="*/ 44 h 111"/>
                  <a:gd name="T2" fmla="*/ 197 w 200"/>
                  <a:gd name="T3" fmla="*/ 39 h 111"/>
                  <a:gd name="T4" fmla="*/ 186 w 200"/>
                  <a:gd name="T5" fmla="*/ 35 h 111"/>
                  <a:gd name="T6" fmla="*/ 173 w 200"/>
                  <a:gd name="T7" fmla="*/ 33 h 111"/>
                  <a:gd name="T8" fmla="*/ 165 w 200"/>
                  <a:gd name="T9" fmla="*/ 27 h 111"/>
                  <a:gd name="T10" fmla="*/ 151 w 200"/>
                  <a:gd name="T11" fmla="*/ 27 h 111"/>
                  <a:gd name="T12" fmla="*/ 143 w 200"/>
                  <a:gd name="T13" fmla="*/ 17 h 111"/>
                  <a:gd name="T14" fmla="*/ 130 w 200"/>
                  <a:gd name="T15" fmla="*/ 14 h 111"/>
                  <a:gd name="T16" fmla="*/ 130 w 200"/>
                  <a:gd name="T17" fmla="*/ 6 h 111"/>
                  <a:gd name="T18" fmla="*/ 122 w 200"/>
                  <a:gd name="T19" fmla="*/ 0 h 111"/>
                  <a:gd name="T20" fmla="*/ 108 w 200"/>
                  <a:gd name="T21" fmla="*/ 3 h 111"/>
                  <a:gd name="T22" fmla="*/ 94 w 200"/>
                  <a:gd name="T23" fmla="*/ 4 h 111"/>
                  <a:gd name="T24" fmla="*/ 91 w 200"/>
                  <a:gd name="T25" fmla="*/ 14 h 111"/>
                  <a:gd name="T26" fmla="*/ 80 w 200"/>
                  <a:gd name="T27" fmla="*/ 14 h 111"/>
                  <a:gd name="T28" fmla="*/ 70 w 200"/>
                  <a:gd name="T29" fmla="*/ 14 h 111"/>
                  <a:gd name="T30" fmla="*/ 61 w 200"/>
                  <a:gd name="T31" fmla="*/ 11 h 111"/>
                  <a:gd name="T32" fmla="*/ 46 w 200"/>
                  <a:gd name="T33" fmla="*/ 8 h 111"/>
                  <a:gd name="T34" fmla="*/ 22 w 200"/>
                  <a:gd name="T35" fmla="*/ 8 h 111"/>
                  <a:gd name="T36" fmla="*/ 16 w 200"/>
                  <a:gd name="T37" fmla="*/ 17 h 111"/>
                  <a:gd name="T38" fmla="*/ 21 w 200"/>
                  <a:gd name="T39" fmla="*/ 23 h 111"/>
                  <a:gd name="T40" fmla="*/ 7 w 200"/>
                  <a:gd name="T41" fmla="*/ 39 h 111"/>
                  <a:gd name="T42" fmla="*/ 8 w 200"/>
                  <a:gd name="T43" fmla="*/ 46 h 111"/>
                  <a:gd name="T44" fmla="*/ 0 w 200"/>
                  <a:gd name="T45" fmla="*/ 54 h 111"/>
                  <a:gd name="T46" fmla="*/ 10 w 200"/>
                  <a:gd name="T47" fmla="*/ 62 h 111"/>
                  <a:gd name="T48" fmla="*/ 26 w 200"/>
                  <a:gd name="T49" fmla="*/ 62 h 111"/>
                  <a:gd name="T50" fmla="*/ 40 w 200"/>
                  <a:gd name="T51" fmla="*/ 62 h 111"/>
                  <a:gd name="T52" fmla="*/ 53 w 200"/>
                  <a:gd name="T53" fmla="*/ 57 h 111"/>
                  <a:gd name="T54" fmla="*/ 67 w 200"/>
                  <a:gd name="T55" fmla="*/ 55 h 111"/>
                  <a:gd name="T56" fmla="*/ 73 w 200"/>
                  <a:gd name="T57" fmla="*/ 58 h 111"/>
                  <a:gd name="T58" fmla="*/ 81 w 200"/>
                  <a:gd name="T59" fmla="*/ 66 h 111"/>
                  <a:gd name="T60" fmla="*/ 88 w 200"/>
                  <a:gd name="T61" fmla="*/ 73 h 111"/>
                  <a:gd name="T62" fmla="*/ 88 w 200"/>
                  <a:gd name="T63" fmla="*/ 82 h 111"/>
                  <a:gd name="T64" fmla="*/ 81 w 200"/>
                  <a:gd name="T65" fmla="*/ 84 h 111"/>
                  <a:gd name="T66" fmla="*/ 73 w 200"/>
                  <a:gd name="T67" fmla="*/ 97 h 111"/>
                  <a:gd name="T68" fmla="*/ 84 w 200"/>
                  <a:gd name="T69" fmla="*/ 97 h 111"/>
                  <a:gd name="T70" fmla="*/ 91 w 200"/>
                  <a:gd name="T71" fmla="*/ 95 h 111"/>
                  <a:gd name="T72" fmla="*/ 94 w 200"/>
                  <a:gd name="T73" fmla="*/ 90 h 111"/>
                  <a:gd name="T74" fmla="*/ 107 w 200"/>
                  <a:gd name="T75" fmla="*/ 79 h 111"/>
                  <a:gd name="T76" fmla="*/ 113 w 200"/>
                  <a:gd name="T77" fmla="*/ 79 h 111"/>
                  <a:gd name="T78" fmla="*/ 116 w 200"/>
                  <a:gd name="T79" fmla="*/ 81 h 111"/>
                  <a:gd name="T80" fmla="*/ 116 w 200"/>
                  <a:gd name="T81" fmla="*/ 84 h 111"/>
                  <a:gd name="T82" fmla="*/ 129 w 200"/>
                  <a:gd name="T83" fmla="*/ 87 h 111"/>
                  <a:gd name="T84" fmla="*/ 130 w 200"/>
                  <a:gd name="T85" fmla="*/ 92 h 111"/>
                  <a:gd name="T86" fmla="*/ 126 w 200"/>
                  <a:gd name="T87" fmla="*/ 98 h 111"/>
                  <a:gd name="T88" fmla="*/ 132 w 200"/>
                  <a:gd name="T89" fmla="*/ 108 h 111"/>
                  <a:gd name="T90" fmla="*/ 148 w 200"/>
                  <a:gd name="T91" fmla="*/ 104 h 111"/>
                  <a:gd name="T92" fmla="*/ 157 w 200"/>
                  <a:gd name="T93" fmla="*/ 101 h 111"/>
                  <a:gd name="T94" fmla="*/ 167 w 200"/>
                  <a:gd name="T95" fmla="*/ 100 h 111"/>
                  <a:gd name="T96" fmla="*/ 157 w 200"/>
                  <a:gd name="T97" fmla="*/ 98 h 111"/>
                  <a:gd name="T98" fmla="*/ 151 w 200"/>
                  <a:gd name="T99" fmla="*/ 98 h 111"/>
                  <a:gd name="T100" fmla="*/ 146 w 200"/>
                  <a:gd name="T101" fmla="*/ 90 h 111"/>
                  <a:gd name="T102" fmla="*/ 142 w 200"/>
                  <a:gd name="T103" fmla="*/ 89 h 111"/>
                  <a:gd name="T104" fmla="*/ 140 w 200"/>
                  <a:gd name="T105" fmla="*/ 84 h 111"/>
                  <a:gd name="T106" fmla="*/ 145 w 200"/>
                  <a:gd name="T107" fmla="*/ 89 h 111"/>
                  <a:gd name="T108" fmla="*/ 151 w 200"/>
                  <a:gd name="T109" fmla="*/ 84 h 111"/>
                  <a:gd name="T110" fmla="*/ 151 w 200"/>
                  <a:gd name="T111" fmla="*/ 85 h 111"/>
                  <a:gd name="T112" fmla="*/ 165 w 200"/>
                  <a:gd name="T113" fmla="*/ 77 h 111"/>
                  <a:gd name="T114" fmla="*/ 176 w 200"/>
                  <a:gd name="T115" fmla="*/ 73 h 111"/>
                  <a:gd name="T116" fmla="*/ 183 w 200"/>
                  <a:gd name="T117" fmla="*/ 66 h 111"/>
                  <a:gd name="T118" fmla="*/ 192 w 200"/>
                  <a:gd name="T119" fmla="*/ 63 h 111"/>
                  <a:gd name="T120" fmla="*/ 199 w 200"/>
                  <a:gd name="T121" fmla="*/ 55 h 111"/>
                  <a:gd name="T122" fmla="*/ 197 w 200"/>
                  <a:gd name="T123"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 h="111">
                    <a:moveTo>
                      <a:pt x="197" y="49"/>
                    </a:moveTo>
                    <a:lnTo>
                      <a:pt x="197" y="49"/>
                    </a:lnTo>
                    <a:lnTo>
                      <a:pt x="200" y="49"/>
                    </a:lnTo>
                    <a:lnTo>
                      <a:pt x="200" y="49"/>
                    </a:lnTo>
                    <a:lnTo>
                      <a:pt x="199" y="47"/>
                    </a:lnTo>
                    <a:lnTo>
                      <a:pt x="199" y="47"/>
                    </a:lnTo>
                    <a:lnTo>
                      <a:pt x="197" y="47"/>
                    </a:lnTo>
                    <a:lnTo>
                      <a:pt x="197" y="47"/>
                    </a:lnTo>
                    <a:lnTo>
                      <a:pt x="196" y="46"/>
                    </a:lnTo>
                    <a:lnTo>
                      <a:pt x="196" y="46"/>
                    </a:lnTo>
                    <a:lnTo>
                      <a:pt x="197" y="44"/>
                    </a:lnTo>
                    <a:lnTo>
                      <a:pt x="197" y="44"/>
                    </a:lnTo>
                    <a:lnTo>
                      <a:pt x="200" y="44"/>
                    </a:lnTo>
                    <a:lnTo>
                      <a:pt x="200" y="44"/>
                    </a:lnTo>
                    <a:lnTo>
                      <a:pt x="199" y="43"/>
                    </a:lnTo>
                    <a:lnTo>
                      <a:pt x="199" y="43"/>
                    </a:lnTo>
                    <a:lnTo>
                      <a:pt x="199" y="41"/>
                    </a:lnTo>
                    <a:lnTo>
                      <a:pt x="199" y="41"/>
                    </a:lnTo>
                    <a:lnTo>
                      <a:pt x="199" y="39"/>
                    </a:lnTo>
                    <a:lnTo>
                      <a:pt x="199" y="39"/>
                    </a:lnTo>
                    <a:lnTo>
                      <a:pt x="197" y="39"/>
                    </a:lnTo>
                    <a:lnTo>
                      <a:pt x="197" y="39"/>
                    </a:lnTo>
                    <a:lnTo>
                      <a:pt x="196" y="39"/>
                    </a:lnTo>
                    <a:lnTo>
                      <a:pt x="196" y="39"/>
                    </a:lnTo>
                    <a:lnTo>
                      <a:pt x="194" y="39"/>
                    </a:lnTo>
                    <a:lnTo>
                      <a:pt x="194" y="39"/>
                    </a:lnTo>
                    <a:lnTo>
                      <a:pt x="192" y="38"/>
                    </a:lnTo>
                    <a:lnTo>
                      <a:pt x="192" y="38"/>
                    </a:lnTo>
                    <a:lnTo>
                      <a:pt x="189" y="36"/>
                    </a:lnTo>
                    <a:lnTo>
                      <a:pt x="189" y="36"/>
                    </a:lnTo>
                    <a:lnTo>
                      <a:pt x="189" y="35"/>
                    </a:lnTo>
                    <a:lnTo>
                      <a:pt x="189" y="35"/>
                    </a:lnTo>
                    <a:lnTo>
                      <a:pt x="186" y="35"/>
                    </a:lnTo>
                    <a:lnTo>
                      <a:pt x="186" y="35"/>
                    </a:lnTo>
                    <a:lnTo>
                      <a:pt x="183" y="35"/>
                    </a:lnTo>
                    <a:lnTo>
                      <a:pt x="183" y="35"/>
                    </a:lnTo>
                    <a:lnTo>
                      <a:pt x="181" y="33"/>
                    </a:lnTo>
                    <a:lnTo>
                      <a:pt x="181" y="33"/>
                    </a:lnTo>
                    <a:lnTo>
                      <a:pt x="178" y="33"/>
                    </a:lnTo>
                    <a:lnTo>
                      <a:pt x="178" y="33"/>
                    </a:lnTo>
                    <a:lnTo>
                      <a:pt x="175" y="35"/>
                    </a:lnTo>
                    <a:lnTo>
                      <a:pt x="175" y="35"/>
                    </a:lnTo>
                    <a:lnTo>
                      <a:pt x="173" y="33"/>
                    </a:lnTo>
                    <a:lnTo>
                      <a:pt x="173" y="33"/>
                    </a:lnTo>
                    <a:lnTo>
                      <a:pt x="172" y="31"/>
                    </a:lnTo>
                    <a:lnTo>
                      <a:pt x="172" y="31"/>
                    </a:lnTo>
                    <a:lnTo>
                      <a:pt x="172" y="30"/>
                    </a:lnTo>
                    <a:lnTo>
                      <a:pt x="172" y="30"/>
                    </a:lnTo>
                    <a:lnTo>
                      <a:pt x="170" y="28"/>
                    </a:lnTo>
                    <a:lnTo>
                      <a:pt x="170" y="28"/>
                    </a:lnTo>
                    <a:lnTo>
                      <a:pt x="170" y="28"/>
                    </a:lnTo>
                    <a:lnTo>
                      <a:pt x="170" y="28"/>
                    </a:lnTo>
                    <a:lnTo>
                      <a:pt x="167" y="27"/>
                    </a:lnTo>
                    <a:lnTo>
                      <a:pt x="167" y="27"/>
                    </a:lnTo>
                    <a:lnTo>
                      <a:pt x="165" y="27"/>
                    </a:lnTo>
                    <a:lnTo>
                      <a:pt x="165" y="27"/>
                    </a:lnTo>
                    <a:lnTo>
                      <a:pt x="162" y="28"/>
                    </a:lnTo>
                    <a:lnTo>
                      <a:pt x="162" y="28"/>
                    </a:lnTo>
                    <a:lnTo>
                      <a:pt x="157" y="30"/>
                    </a:lnTo>
                    <a:lnTo>
                      <a:pt x="157" y="30"/>
                    </a:lnTo>
                    <a:lnTo>
                      <a:pt x="154" y="28"/>
                    </a:lnTo>
                    <a:lnTo>
                      <a:pt x="154" y="28"/>
                    </a:lnTo>
                    <a:lnTo>
                      <a:pt x="154" y="27"/>
                    </a:lnTo>
                    <a:lnTo>
                      <a:pt x="154" y="27"/>
                    </a:lnTo>
                    <a:lnTo>
                      <a:pt x="151" y="27"/>
                    </a:lnTo>
                    <a:lnTo>
                      <a:pt x="151" y="27"/>
                    </a:lnTo>
                    <a:lnTo>
                      <a:pt x="151" y="27"/>
                    </a:lnTo>
                    <a:lnTo>
                      <a:pt x="151" y="27"/>
                    </a:lnTo>
                    <a:lnTo>
                      <a:pt x="148" y="27"/>
                    </a:lnTo>
                    <a:lnTo>
                      <a:pt x="148" y="27"/>
                    </a:lnTo>
                    <a:lnTo>
                      <a:pt x="148" y="27"/>
                    </a:lnTo>
                    <a:lnTo>
                      <a:pt x="148" y="27"/>
                    </a:lnTo>
                    <a:lnTo>
                      <a:pt x="146" y="25"/>
                    </a:lnTo>
                    <a:lnTo>
                      <a:pt x="146" y="25"/>
                    </a:lnTo>
                    <a:lnTo>
                      <a:pt x="145" y="20"/>
                    </a:lnTo>
                    <a:lnTo>
                      <a:pt x="145" y="20"/>
                    </a:lnTo>
                    <a:lnTo>
                      <a:pt x="143" y="17"/>
                    </a:lnTo>
                    <a:lnTo>
                      <a:pt x="143" y="17"/>
                    </a:lnTo>
                    <a:lnTo>
                      <a:pt x="142" y="17"/>
                    </a:lnTo>
                    <a:lnTo>
                      <a:pt x="142" y="17"/>
                    </a:lnTo>
                    <a:lnTo>
                      <a:pt x="140" y="17"/>
                    </a:lnTo>
                    <a:lnTo>
                      <a:pt x="140" y="17"/>
                    </a:lnTo>
                    <a:lnTo>
                      <a:pt x="138" y="17"/>
                    </a:lnTo>
                    <a:lnTo>
                      <a:pt x="138" y="17"/>
                    </a:lnTo>
                    <a:lnTo>
                      <a:pt x="134" y="17"/>
                    </a:lnTo>
                    <a:lnTo>
                      <a:pt x="134" y="17"/>
                    </a:lnTo>
                    <a:lnTo>
                      <a:pt x="130" y="14"/>
                    </a:lnTo>
                    <a:lnTo>
                      <a:pt x="130" y="14"/>
                    </a:lnTo>
                    <a:lnTo>
                      <a:pt x="130" y="14"/>
                    </a:lnTo>
                    <a:lnTo>
                      <a:pt x="130" y="14"/>
                    </a:lnTo>
                    <a:lnTo>
                      <a:pt x="130" y="11"/>
                    </a:lnTo>
                    <a:lnTo>
                      <a:pt x="130" y="11"/>
                    </a:lnTo>
                    <a:lnTo>
                      <a:pt x="129" y="11"/>
                    </a:lnTo>
                    <a:lnTo>
                      <a:pt x="129" y="11"/>
                    </a:lnTo>
                    <a:lnTo>
                      <a:pt x="130" y="9"/>
                    </a:lnTo>
                    <a:lnTo>
                      <a:pt x="130" y="9"/>
                    </a:lnTo>
                    <a:lnTo>
                      <a:pt x="132" y="9"/>
                    </a:lnTo>
                    <a:lnTo>
                      <a:pt x="132" y="9"/>
                    </a:lnTo>
                    <a:lnTo>
                      <a:pt x="130" y="6"/>
                    </a:lnTo>
                    <a:lnTo>
                      <a:pt x="130" y="6"/>
                    </a:lnTo>
                    <a:lnTo>
                      <a:pt x="129" y="4"/>
                    </a:lnTo>
                    <a:lnTo>
                      <a:pt x="129" y="4"/>
                    </a:lnTo>
                    <a:lnTo>
                      <a:pt x="127" y="4"/>
                    </a:lnTo>
                    <a:lnTo>
                      <a:pt x="127" y="4"/>
                    </a:lnTo>
                    <a:lnTo>
                      <a:pt x="126" y="1"/>
                    </a:lnTo>
                    <a:lnTo>
                      <a:pt x="126" y="1"/>
                    </a:lnTo>
                    <a:lnTo>
                      <a:pt x="126" y="0"/>
                    </a:lnTo>
                    <a:lnTo>
                      <a:pt x="126" y="0"/>
                    </a:lnTo>
                    <a:lnTo>
                      <a:pt x="122" y="0"/>
                    </a:lnTo>
                    <a:lnTo>
                      <a:pt x="122" y="0"/>
                    </a:lnTo>
                    <a:lnTo>
                      <a:pt x="119" y="1"/>
                    </a:lnTo>
                    <a:lnTo>
                      <a:pt x="119" y="1"/>
                    </a:lnTo>
                    <a:lnTo>
                      <a:pt x="116" y="1"/>
                    </a:lnTo>
                    <a:lnTo>
                      <a:pt x="116" y="1"/>
                    </a:lnTo>
                    <a:lnTo>
                      <a:pt x="113" y="1"/>
                    </a:lnTo>
                    <a:lnTo>
                      <a:pt x="113" y="1"/>
                    </a:lnTo>
                    <a:lnTo>
                      <a:pt x="110" y="0"/>
                    </a:lnTo>
                    <a:lnTo>
                      <a:pt x="110" y="0"/>
                    </a:lnTo>
                    <a:lnTo>
                      <a:pt x="108" y="0"/>
                    </a:lnTo>
                    <a:lnTo>
                      <a:pt x="108" y="0"/>
                    </a:lnTo>
                    <a:lnTo>
                      <a:pt x="108" y="3"/>
                    </a:lnTo>
                    <a:lnTo>
                      <a:pt x="108" y="3"/>
                    </a:lnTo>
                    <a:lnTo>
                      <a:pt x="107" y="4"/>
                    </a:lnTo>
                    <a:lnTo>
                      <a:pt x="107" y="4"/>
                    </a:lnTo>
                    <a:lnTo>
                      <a:pt x="103" y="4"/>
                    </a:lnTo>
                    <a:lnTo>
                      <a:pt x="103" y="4"/>
                    </a:lnTo>
                    <a:lnTo>
                      <a:pt x="99" y="4"/>
                    </a:lnTo>
                    <a:lnTo>
                      <a:pt x="99" y="4"/>
                    </a:lnTo>
                    <a:lnTo>
                      <a:pt x="96" y="4"/>
                    </a:lnTo>
                    <a:lnTo>
                      <a:pt x="96" y="4"/>
                    </a:lnTo>
                    <a:lnTo>
                      <a:pt x="94" y="4"/>
                    </a:lnTo>
                    <a:lnTo>
                      <a:pt x="94" y="4"/>
                    </a:lnTo>
                    <a:lnTo>
                      <a:pt x="92" y="4"/>
                    </a:lnTo>
                    <a:lnTo>
                      <a:pt x="92" y="4"/>
                    </a:lnTo>
                    <a:lnTo>
                      <a:pt x="91" y="8"/>
                    </a:lnTo>
                    <a:lnTo>
                      <a:pt x="91" y="8"/>
                    </a:lnTo>
                    <a:lnTo>
                      <a:pt x="91" y="11"/>
                    </a:lnTo>
                    <a:lnTo>
                      <a:pt x="91" y="11"/>
                    </a:lnTo>
                    <a:lnTo>
                      <a:pt x="91" y="11"/>
                    </a:lnTo>
                    <a:lnTo>
                      <a:pt x="91" y="11"/>
                    </a:lnTo>
                    <a:lnTo>
                      <a:pt x="91" y="14"/>
                    </a:lnTo>
                    <a:lnTo>
                      <a:pt x="91" y="14"/>
                    </a:lnTo>
                    <a:lnTo>
                      <a:pt x="91" y="14"/>
                    </a:lnTo>
                    <a:lnTo>
                      <a:pt x="91" y="14"/>
                    </a:lnTo>
                    <a:lnTo>
                      <a:pt x="88" y="14"/>
                    </a:lnTo>
                    <a:lnTo>
                      <a:pt x="88" y="14"/>
                    </a:lnTo>
                    <a:lnTo>
                      <a:pt x="84" y="11"/>
                    </a:lnTo>
                    <a:lnTo>
                      <a:pt x="84" y="11"/>
                    </a:lnTo>
                    <a:lnTo>
                      <a:pt x="84" y="11"/>
                    </a:lnTo>
                    <a:lnTo>
                      <a:pt x="84" y="11"/>
                    </a:lnTo>
                    <a:lnTo>
                      <a:pt x="81" y="11"/>
                    </a:lnTo>
                    <a:lnTo>
                      <a:pt x="81" y="11"/>
                    </a:lnTo>
                    <a:lnTo>
                      <a:pt x="80" y="14"/>
                    </a:lnTo>
                    <a:lnTo>
                      <a:pt x="80" y="14"/>
                    </a:lnTo>
                    <a:lnTo>
                      <a:pt x="78" y="14"/>
                    </a:lnTo>
                    <a:lnTo>
                      <a:pt x="78" y="14"/>
                    </a:lnTo>
                    <a:lnTo>
                      <a:pt x="76" y="14"/>
                    </a:lnTo>
                    <a:lnTo>
                      <a:pt x="76" y="14"/>
                    </a:lnTo>
                    <a:lnTo>
                      <a:pt x="75" y="11"/>
                    </a:lnTo>
                    <a:lnTo>
                      <a:pt x="75" y="11"/>
                    </a:lnTo>
                    <a:lnTo>
                      <a:pt x="72" y="11"/>
                    </a:lnTo>
                    <a:lnTo>
                      <a:pt x="72" y="11"/>
                    </a:lnTo>
                    <a:lnTo>
                      <a:pt x="70" y="11"/>
                    </a:lnTo>
                    <a:lnTo>
                      <a:pt x="70" y="11"/>
                    </a:lnTo>
                    <a:lnTo>
                      <a:pt x="70" y="14"/>
                    </a:lnTo>
                    <a:lnTo>
                      <a:pt x="70" y="14"/>
                    </a:lnTo>
                    <a:lnTo>
                      <a:pt x="70" y="11"/>
                    </a:lnTo>
                    <a:lnTo>
                      <a:pt x="70" y="11"/>
                    </a:lnTo>
                    <a:lnTo>
                      <a:pt x="67" y="11"/>
                    </a:lnTo>
                    <a:lnTo>
                      <a:pt x="67" y="11"/>
                    </a:lnTo>
                    <a:lnTo>
                      <a:pt x="64" y="11"/>
                    </a:lnTo>
                    <a:lnTo>
                      <a:pt x="64" y="11"/>
                    </a:lnTo>
                    <a:lnTo>
                      <a:pt x="61" y="11"/>
                    </a:lnTo>
                    <a:lnTo>
                      <a:pt x="61" y="11"/>
                    </a:lnTo>
                    <a:lnTo>
                      <a:pt x="61" y="11"/>
                    </a:lnTo>
                    <a:lnTo>
                      <a:pt x="61" y="11"/>
                    </a:lnTo>
                    <a:lnTo>
                      <a:pt x="57" y="11"/>
                    </a:lnTo>
                    <a:lnTo>
                      <a:pt x="57" y="11"/>
                    </a:lnTo>
                    <a:lnTo>
                      <a:pt x="57" y="11"/>
                    </a:lnTo>
                    <a:lnTo>
                      <a:pt x="57" y="11"/>
                    </a:lnTo>
                    <a:lnTo>
                      <a:pt x="54" y="11"/>
                    </a:lnTo>
                    <a:lnTo>
                      <a:pt x="54" y="11"/>
                    </a:lnTo>
                    <a:lnTo>
                      <a:pt x="53" y="9"/>
                    </a:lnTo>
                    <a:lnTo>
                      <a:pt x="53" y="9"/>
                    </a:lnTo>
                    <a:lnTo>
                      <a:pt x="49" y="8"/>
                    </a:lnTo>
                    <a:lnTo>
                      <a:pt x="49" y="8"/>
                    </a:lnTo>
                    <a:lnTo>
                      <a:pt x="46" y="8"/>
                    </a:lnTo>
                    <a:lnTo>
                      <a:pt x="46" y="8"/>
                    </a:lnTo>
                    <a:lnTo>
                      <a:pt x="42" y="6"/>
                    </a:lnTo>
                    <a:lnTo>
                      <a:pt x="42" y="6"/>
                    </a:lnTo>
                    <a:lnTo>
                      <a:pt x="37" y="6"/>
                    </a:lnTo>
                    <a:lnTo>
                      <a:pt x="37" y="6"/>
                    </a:lnTo>
                    <a:lnTo>
                      <a:pt x="29" y="6"/>
                    </a:lnTo>
                    <a:lnTo>
                      <a:pt x="29" y="6"/>
                    </a:lnTo>
                    <a:lnTo>
                      <a:pt x="26" y="6"/>
                    </a:lnTo>
                    <a:lnTo>
                      <a:pt x="26" y="6"/>
                    </a:lnTo>
                    <a:lnTo>
                      <a:pt x="22" y="8"/>
                    </a:lnTo>
                    <a:lnTo>
                      <a:pt x="22" y="8"/>
                    </a:lnTo>
                    <a:lnTo>
                      <a:pt x="19" y="11"/>
                    </a:lnTo>
                    <a:lnTo>
                      <a:pt x="19" y="11"/>
                    </a:lnTo>
                    <a:lnTo>
                      <a:pt x="16" y="11"/>
                    </a:lnTo>
                    <a:lnTo>
                      <a:pt x="16" y="11"/>
                    </a:lnTo>
                    <a:lnTo>
                      <a:pt x="15" y="11"/>
                    </a:lnTo>
                    <a:lnTo>
                      <a:pt x="15" y="11"/>
                    </a:lnTo>
                    <a:lnTo>
                      <a:pt x="15" y="11"/>
                    </a:lnTo>
                    <a:lnTo>
                      <a:pt x="15" y="11"/>
                    </a:lnTo>
                    <a:lnTo>
                      <a:pt x="15" y="14"/>
                    </a:lnTo>
                    <a:lnTo>
                      <a:pt x="15" y="14"/>
                    </a:lnTo>
                    <a:lnTo>
                      <a:pt x="16" y="17"/>
                    </a:lnTo>
                    <a:lnTo>
                      <a:pt x="16" y="17"/>
                    </a:lnTo>
                    <a:lnTo>
                      <a:pt x="19" y="19"/>
                    </a:lnTo>
                    <a:lnTo>
                      <a:pt x="19" y="19"/>
                    </a:lnTo>
                    <a:lnTo>
                      <a:pt x="19" y="20"/>
                    </a:lnTo>
                    <a:lnTo>
                      <a:pt x="19" y="20"/>
                    </a:lnTo>
                    <a:lnTo>
                      <a:pt x="21" y="20"/>
                    </a:lnTo>
                    <a:lnTo>
                      <a:pt x="21" y="20"/>
                    </a:lnTo>
                    <a:lnTo>
                      <a:pt x="19" y="22"/>
                    </a:lnTo>
                    <a:lnTo>
                      <a:pt x="19" y="22"/>
                    </a:lnTo>
                    <a:lnTo>
                      <a:pt x="21" y="23"/>
                    </a:lnTo>
                    <a:lnTo>
                      <a:pt x="21" y="23"/>
                    </a:lnTo>
                    <a:lnTo>
                      <a:pt x="21" y="25"/>
                    </a:lnTo>
                    <a:lnTo>
                      <a:pt x="21" y="25"/>
                    </a:lnTo>
                    <a:lnTo>
                      <a:pt x="16" y="27"/>
                    </a:lnTo>
                    <a:lnTo>
                      <a:pt x="16" y="27"/>
                    </a:lnTo>
                    <a:lnTo>
                      <a:pt x="10" y="33"/>
                    </a:lnTo>
                    <a:lnTo>
                      <a:pt x="10" y="33"/>
                    </a:lnTo>
                    <a:lnTo>
                      <a:pt x="7" y="38"/>
                    </a:lnTo>
                    <a:lnTo>
                      <a:pt x="7" y="38"/>
                    </a:lnTo>
                    <a:lnTo>
                      <a:pt x="7" y="39"/>
                    </a:lnTo>
                    <a:lnTo>
                      <a:pt x="7" y="39"/>
                    </a:lnTo>
                    <a:lnTo>
                      <a:pt x="7" y="39"/>
                    </a:lnTo>
                    <a:lnTo>
                      <a:pt x="7" y="39"/>
                    </a:lnTo>
                    <a:lnTo>
                      <a:pt x="7" y="41"/>
                    </a:lnTo>
                    <a:lnTo>
                      <a:pt x="7" y="41"/>
                    </a:lnTo>
                    <a:lnTo>
                      <a:pt x="7" y="43"/>
                    </a:lnTo>
                    <a:lnTo>
                      <a:pt x="7" y="43"/>
                    </a:lnTo>
                    <a:lnTo>
                      <a:pt x="7" y="44"/>
                    </a:lnTo>
                    <a:lnTo>
                      <a:pt x="7" y="44"/>
                    </a:lnTo>
                    <a:lnTo>
                      <a:pt x="8" y="44"/>
                    </a:lnTo>
                    <a:lnTo>
                      <a:pt x="8" y="44"/>
                    </a:lnTo>
                    <a:lnTo>
                      <a:pt x="8" y="46"/>
                    </a:lnTo>
                    <a:lnTo>
                      <a:pt x="8" y="46"/>
                    </a:lnTo>
                    <a:lnTo>
                      <a:pt x="8" y="46"/>
                    </a:lnTo>
                    <a:lnTo>
                      <a:pt x="7" y="44"/>
                    </a:lnTo>
                    <a:lnTo>
                      <a:pt x="7" y="44"/>
                    </a:lnTo>
                    <a:lnTo>
                      <a:pt x="5" y="44"/>
                    </a:lnTo>
                    <a:lnTo>
                      <a:pt x="5" y="44"/>
                    </a:lnTo>
                    <a:lnTo>
                      <a:pt x="3" y="47"/>
                    </a:lnTo>
                    <a:lnTo>
                      <a:pt x="3" y="47"/>
                    </a:lnTo>
                    <a:lnTo>
                      <a:pt x="2" y="50"/>
                    </a:lnTo>
                    <a:lnTo>
                      <a:pt x="2" y="50"/>
                    </a:lnTo>
                    <a:lnTo>
                      <a:pt x="0" y="54"/>
                    </a:lnTo>
                    <a:lnTo>
                      <a:pt x="0" y="54"/>
                    </a:lnTo>
                    <a:lnTo>
                      <a:pt x="0" y="55"/>
                    </a:lnTo>
                    <a:lnTo>
                      <a:pt x="0" y="55"/>
                    </a:lnTo>
                    <a:lnTo>
                      <a:pt x="2" y="55"/>
                    </a:lnTo>
                    <a:lnTo>
                      <a:pt x="2" y="55"/>
                    </a:lnTo>
                    <a:lnTo>
                      <a:pt x="3" y="55"/>
                    </a:lnTo>
                    <a:lnTo>
                      <a:pt x="3" y="55"/>
                    </a:lnTo>
                    <a:lnTo>
                      <a:pt x="8" y="58"/>
                    </a:lnTo>
                    <a:lnTo>
                      <a:pt x="8" y="58"/>
                    </a:lnTo>
                    <a:lnTo>
                      <a:pt x="10" y="60"/>
                    </a:lnTo>
                    <a:lnTo>
                      <a:pt x="10" y="60"/>
                    </a:lnTo>
                    <a:lnTo>
                      <a:pt x="10" y="62"/>
                    </a:lnTo>
                    <a:lnTo>
                      <a:pt x="10" y="62"/>
                    </a:lnTo>
                    <a:lnTo>
                      <a:pt x="11" y="60"/>
                    </a:lnTo>
                    <a:lnTo>
                      <a:pt x="11" y="60"/>
                    </a:lnTo>
                    <a:lnTo>
                      <a:pt x="15" y="60"/>
                    </a:lnTo>
                    <a:lnTo>
                      <a:pt x="15" y="60"/>
                    </a:lnTo>
                    <a:lnTo>
                      <a:pt x="18" y="60"/>
                    </a:lnTo>
                    <a:lnTo>
                      <a:pt x="18" y="60"/>
                    </a:lnTo>
                    <a:lnTo>
                      <a:pt x="22" y="62"/>
                    </a:lnTo>
                    <a:lnTo>
                      <a:pt x="22" y="62"/>
                    </a:lnTo>
                    <a:lnTo>
                      <a:pt x="26" y="62"/>
                    </a:lnTo>
                    <a:lnTo>
                      <a:pt x="26" y="62"/>
                    </a:lnTo>
                    <a:lnTo>
                      <a:pt x="29" y="62"/>
                    </a:lnTo>
                    <a:lnTo>
                      <a:pt x="29" y="62"/>
                    </a:lnTo>
                    <a:lnTo>
                      <a:pt x="32" y="65"/>
                    </a:lnTo>
                    <a:lnTo>
                      <a:pt x="32" y="65"/>
                    </a:lnTo>
                    <a:lnTo>
                      <a:pt x="35" y="65"/>
                    </a:lnTo>
                    <a:lnTo>
                      <a:pt x="35" y="65"/>
                    </a:lnTo>
                    <a:lnTo>
                      <a:pt x="37" y="63"/>
                    </a:lnTo>
                    <a:lnTo>
                      <a:pt x="37" y="63"/>
                    </a:lnTo>
                    <a:lnTo>
                      <a:pt x="38" y="62"/>
                    </a:lnTo>
                    <a:lnTo>
                      <a:pt x="38" y="62"/>
                    </a:lnTo>
                    <a:lnTo>
                      <a:pt x="40" y="62"/>
                    </a:lnTo>
                    <a:lnTo>
                      <a:pt x="40" y="62"/>
                    </a:lnTo>
                    <a:lnTo>
                      <a:pt x="46" y="62"/>
                    </a:lnTo>
                    <a:lnTo>
                      <a:pt x="46" y="62"/>
                    </a:lnTo>
                    <a:lnTo>
                      <a:pt x="48" y="60"/>
                    </a:lnTo>
                    <a:lnTo>
                      <a:pt x="48" y="60"/>
                    </a:lnTo>
                    <a:lnTo>
                      <a:pt x="48" y="58"/>
                    </a:lnTo>
                    <a:lnTo>
                      <a:pt x="48" y="58"/>
                    </a:lnTo>
                    <a:lnTo>
                      <a:pt x="51" y="57"/>
                    </a:lnTo>
                    <a:lnTo>
                      <a:pt x="51" y="57"/>
                    </a:lnTo>
                    <a:lnTo>
                      <a:pt x="53" y="57"/>
                    </a:lnTo>
                    <a:lnTo>
                      <a:pt x="53" y="57"/>
                    </a:lnTo>
                    <a:lnTo>
                      <a:pt x="54" y="55"/>
                    </a:lnTo>
                    <a:lnTo>
                      <a:pt x="54" y="55"/>
                    </a:lnTo>
                    <a:lnTo>
                      <a:pt x="56" y="55"/>
                    </a:lnTo>
                    <a:lnTo>
                      <a:pt x="56" y="55"/>
                    </a:lnTo>
                    <a:lnTo>
                      <a:pt x="57" y="55"/>
                    </a:lnTo>
                    <a:lnTo>
                      <a:pt x="57" y="55"/>
                    </a:lnTo>
                    <a:lnTo>
                      <a:pt x="61" y="54"/>
                    </a:lnTo>
                    <a:lnTo>
                      <a:pt x="61" y="54"/>
                    </a:lnTo>
                    <a:lnTo>
                      <a:pt x="64" y="54"/>
                    </a:lnTo>
                    <a:lnTo>
                      <a:pt x="64" y="54"/>
                    </a:lnTo>
                    <a:lnTo>
                      <a:pt x="67" y="55"/>
                    </a:lnTo>
                    <a:lnTo>
                      <a:pt x="67" y="55"/>
                    </a:lnTo>
                    <a:lnTo>
                      <a:pt x="67" y="58"/>
                    </a:lnTo>
                    <a:lnTo>
                      <a:pt x="67" y="58"/>
                    </a:lnTo>
                    <a:lnTo>
                      <a:pt x="70" y="58"/>
                    </a:lnTo>
                    <a:lnTo>
                      <a:pt x="70" y="58"/>
                    </a:lnTo>
                    <a:lnTo>
                      <a:pt x="72" y="58"/>
                    </a:lnTo>
                    <a:lnTo>
                      <a:pt x="72" y="58"/>
                    </a:lnTo>
                    <a:lnTo>
                      <a:pt x="72" y="60"/>
                    </a:lnTo>
                    <a:lnTo>
                      <a:pt x="72" y="60"/>
                    </a:lnTo>
                    <a:lnTo>
                      <a:pt x="73" y="58"/>
                    </a:lnTo>
                    <a:lnTo>
                      <a:pt x="73" y="58"/>
                    </a:lnTo>
                    <a:lnTo>
                      <a:pt x="76" y="60"/>
                    </a:lnTo>
                    <a:lnTo>
                      <a:pt x="76" y="60"/>
                    </a:lnTo>
                    <a:lnTo>
                      <a:pt x="76" y="62"/>
                    </a:lnTo>
                    <a:lnTo>
                      <a:pt x="76" y="62"/>
                    </a:lnTo>
                    <a:lnTo>
                      <a:pt x="78" y="62"/>
                    </a:lnTo>
                    <a:lnTo>
                      <a:pt x="78" y="62"/>
                    </a:lnTo>
                    <a:lnTo>
                      <a:pt x="80" y="62"/>
                    </a:lnTo>
                    <a:lnTo>
                      <a:pt x="80" y="62"/>
                    </a:lnTo>
                    <a:lnTo>
                      <a:pt x="80" y="63"/>
                    </a:lnTo>
                    <a:lnTo>
                      <a:pt x="80" y="63"/>
                    </a:lnTo>
                    <a:lnTo>
                      <a:pt x="81" y="66"/>
                    </a:lnTo>
                    <a:lnTo>
                      <a:pt x="81" y="66"/>
                    </a:lnTo>
                    <a:lnTo>
                      <a:pt x="84" y="70"/>
                    </a:lnTo>
                    <a:lnTo>
                      <a:pt x="84" y="70"/>
                    </a:lnTo>
                    <a:lnTo>
                      <a:pt x="84" y="70"/>
                    </a:lnTo>
                    <a:lnTo>
                      <a:pt x="84" y="70"/>
                    </a:lnTo>
                    <a:lnTo>
                      <a:pt x="84" y="73"/>
                    </a:lnTo>
                    <a:lnTo>
                      <a:pt x="84" y="73"/>
                    </a:lnTo>
                    <a:lnTo>
                      <a:pt x="84" y="73"/>
                    </a:lnTo>
                    <a:lnTo>
                      <a:pt x="84" y="73"/>
                    </a:lnTo>
                    <a:lnTo>
                      <a:pt x="88" y="73"/>
                    </a:lnTo>
                    <a:lnTo>
                      <a:pt x="88" y="73"/>
                    </a:lnTo>
                    <a:lnTo>
                      <a:pt x="88" y="76"/>
                    </a:lnTo>
                    <a:lnTo>
                      <a:pt x="88" y="76"/>
                    </a:lnTo>
                    <a:lnTo>
                      <a:pt x="91" y="79"/>
                    </a:lnTo>
                    <a:lnTo>
                      <a:pt x="91" y="79"/>
                    </a:lnTo>
                    <a:lnTo>
                      <a:pt x="91" y="81"/>
                    </a:lnTo>
                    <a:lnTo>
                      <a:pt x="91" y="81"/>
                    </a:lnTo>
                    <a:lnTo>
                      <a:pt x="92" y="82"/>
                    </a:lnTo>
                    <a:lnTo>
                      <a:pt x="92" y="82"/>
                    </a:lnTo>
                    <a:lnTo>
                      <a:pt x="91" y="84"/>
                    </a:lnTo>
                    <a:lnTo>
                      <a:pt x="91" y="84"/>
                    </a:lnTo>
                    <a:lnTo>
                      <a:pt x="88" y="82"/>
                    </a:lnTo>
                    <a:lnTo>
                      <a:pt x="88" y="82"/>
                    </a:lnTo>
                    <a:lnTo>
                      <a:pt x="84" y="82"/>
                    </a:lnTo>
                    <a:lnTo>
                      <a:pt x="84" y="82"/>
                    </a:lnTo>
                    <a:lnTo>
                      <a:pt x="84" y="82"/>
                    </a:lnTo>
                    <a:lnTo>
                      <a:pt x="84" y="82"/>
                    </a:lnTo>
                    <a:lnTo>
                      <a:pt x="81" y="81"/>
                    </a:lnTo>
                    <a:lnTo>
                      <a:pt x="81" y="81"/>
                    </a:lnTo>
                    <a:lnTo>
                      <a:pt x="81" y="82"/>
                    </a:lnTo>
                    <a:lnTo>
                      <a:pt x="81" y="82"/>
                    </a:lnTo>
                    <a:lnTo>
                      <a:pt x="81" y="84"/>
                    </a:lnTo>
                    <a:lnTo>
                      <a:pt x="81" y="84"/>
                    </a:lnTo>
                    <a:lnTo>
                      <a:pt x="81" y="87"/>
                    </a:lnTo>
                    <a:lnTo>
                      <a:pt x="81" y="87"/>
                    </a:lnTo>
                    <a:lnTo>
                      <a:pt x="80" y="89"/>
                    </a:lnTo>
                    <a:lnTo>
                      <a:pt x="80" y="89"/>
                    </a:lnTo>
                    <a:lnTo>
                      <a:pt x="78" y="92"/>
                    </a:lnTo>
                    <a:lnTo>
                      <a:pt x="78" y="92"/>
                    </a:lnTo>
                    <a:lnTo>
                      <a:pt x="76" y="95"/>
                    </a:lnTo>
                    <a:lnTo>
                      <a:pt x="76" y="95"/>
                    </a:lnTo>
                    <a:lnTo>
                      <a:pt x="75" y="97"/>
                    </a:lnTo>
                    <a:lnTo>
                      <a:pt x="75" y="97"/>
                    </a:lnTo>
                    <a:lnTo>
                      <a:pt x="73" y="97"/>
                    </a:lnTo>
                    <a:lnTo>
                      <a:pt x="73" y="97"/>
                    </a:lnTo>
                    <a:lnTo>
                      <a:pt x="75" y="98"/>
                    </a:lnTo>
                    <a:lnTo>
                      <a:pt x="75" y="98"/>
                    </a:lnTo>
                    <a:lnTo>
                      <a:pt x="78" y="100"/>
                    </a:lnTo>
                    <a:lnTo>
                      <a:pt x="78" y="100"/>
                    </a:lnTo>
                    <a:lnTo>
                      <a:pt x="80" y="100"/>
                    </a:lnTo>
                    <a:lnTo>
                      <a:pt x="80" y="100"/>
                    </a:lnTo>
                    <a:lnTo>
                      <a:pt x="81" y="98"/>
                    </a:lnTo>
                    <a:lnTo>
                      <a:pt x="81" y="98"/>
                    </a:lnTo>
                    <a:lnTo>
                      <a:pt x="84" y="97"/>
                    </a:lnTo>
                    <a:lnTo>
                      <a:pt x="84" y="97"/>
                    </a:lnTo>
                    <a:lnTo>
                      <a:pt x="88" y="97"/>
                    </a:lnTo>
                    <a:lnTo>
                      <a:pt x="88" y="97"/>
                    </a:lnTo>
                    <a:lnTo>
                      <a:pt x="88" y="98"/>
                    </a:lnTo>
                    <a:lnTo>
                      <a:pt x="88" y="98"/>
                    </a:lnTo>
                    <a:lnTo>
                      <a:pt x="91" y="100"/>
                    </a:lnTo>
                    <a:lnTo>
                      <a:pt x="91" y="100"/>
                    </a:lnTo>
                    <a:lnTo>
                      <a:pt x="91" y="98"/>
                    </a:lnTo>
                    <a:lnTo>
                      <a:pt x="91" y="98"/>
                    </a:lnTo>
                    <a:lnTo>
                      <a:pt x="88" y="97"/>
                    </a:lnTo>
                    <a:lnTo>
                      <a:pt x="88" y="97"/>
                    </a:lnTo>
                    <a:lnTo>
                      <a:pt x="91" y="95"/>
                    </a:lnTo>
                    <a:lnTo>
                      <a:pt x="91" y="95"/>
                    </a:lnTo>
                    <a:lnTo>
                      <a:pt x="88" y="95"/>
                    </a:lnTo>
                    <a:lnTo>
                      <a:pt x="88" y="95"/>
                    </a:lnTo>
                    <a:lnTo>
                      <a:pt x="88" y="92"/>
                    </a:lnTo>
                    <a:lnTo>
                      <a:pt x="88" y="92"/>
                    </a:lnTo>
                    <a:lnTo>
                      <a:pt x="91" y="93"/>
                    </a:lnTo>
                    <a:lnTo>
                      <a:pt x="91" y="93"/>
                    </a:lnTo>
                    <a:lnTo>
                      <a:pt x="91" y="93"/>
                    </a:lnTo>
                    <a:lnTo>
                      <a:pt x="91" y="93"/>
                    </a:lnTo>
                    <a:lnTo>
                      <a:pt x="94" y="90"/>
                    </a:lnTo>
                    <a:lnTo>
                      <a:pt x="94" y="90"/>
                    </a:lnTo>
                    <a:lnTo>
                      <a:pt x="94" y="92"/>
                    </a:lnTo>
                    <a:lnTo>
                      <a:pt x="94" y="92"/>
                    </a:lnTo>
                    <a:lnTo>
                      <a:pt x="94" y="92"/>
                    </a:lnTo>
                    <a:lnTo>
                      <a:pt x="94" y="92"/>
                    </a:lnTo>
                    <a:lnTo>
                      <a:pt x="96" y="89"/>
                    </a:lnTo>
                    <a:lnTo>
                      <a:pt x="96" y="89"/>
                    </a:lnTo>
                    <a:lnTo>
                      <a:pt x="103" y="89"/>
                    </a:lnTo>
                    <a:lnTo>
                      <a:pt x="107" y="87"/>
                    </a:lnTo>
                    <a:lnTo>
                      <a:pt x="107" y="87"/>
                    </a:lnTo>
                    <a:lnTo>
                      <a:pt x="107" y="79"/>
                    </a:lnTo>
                    <a:lnTo>
                      <a:pt x="107" y="79"/>
                    </a:lnTo>
                    <a:lnTo>
                      <a:pt x="108" y="79"/>
                    </a:lnTo>
                    <a:lnTo>
                      <a:pt x="108" y="79"/>
                    </a:lnTo>
                    <a:lnTo>
                      <a:pt x="108" y="77"/>
                    </a:lnTo>
                    <a:lnTo>
                      <a:pt x="108" y="77"/>
                    </a:lnTo>
                    <a:lnTo>
                      <a:pt x="110" y="77"/>
                    </a:lnTo>
                    <a:lnTo>
                      <a:pt x="110" y="77"/>
                    </a:lnTo>
                    <a:lnTo>
                      <a:pt x="110" y="79"/>
                    </a:lnTo>
                    <a:lnTo>
                      <a:pt x="110" y="79"/>
                    </a:lnTo>
                    <a:lnTo>
                      <a:pt x="111" y="79"/>
                    </a:lnTo>
                    <a:lnTo>
                      <a:pt x="111" y="79"/>
                    </a:lnTo>
                    <a:lnTo>
                      <a:pt x="113" y="79"/>
                    </a:lnTo>
                    <a:lnTo>
                      <a:pt x="113" y="79"/>
                    </a:lnTo>
                    <a:lnTo>
                      <a:pt x="113" y="76"/>
                    </a:lnTo>
                    <a:lnTo>
                      <a:pt x="113" y="76"/>
                    </a:lnTo>
                    <a:lnTo>
                      <a:pt x="115" y="79"/>
                    </a:lnTo>
                    <a:lnTo>
                      <a:pt x="115" y="79"/>
                    </a:lnTo>
                    <a:lnTo>
                      <a:pt x="116" y="79"/>
                    </a:lnTo>
                    <a:lnTo>
                      <a:pt x="116" y="79"/>
                    </a:lnTo>
                    <a:lnTo>
                      <a:pt x="116" y="81"/>
                    </a:lnTo>
                    <a:lnTo>
                      <a:pt x="116" y="81"/>
                    </a:lnTo>
                    <a:lnTo>
                      <a:pt x="116" y="81"/>
                    </a:lnTo>
                    <a:lnTo>
                      <a:pt x="116" y="81"/>
                    </a:lnTo>
                    <a:lnTo>
                      <a:pt x="113" y="81"/>
                    </a:lnTo>
                    <a:lnTo>
                      <a:pt x="113" y="81"/>
                    </a:lnTo>
                    <a:lnTo>
                      <a:pt x="111" y="81"/>
                    </a:lnTo>
                    <a:lnTo>
                      <a:pt x="111" y="81"/>
                    </a:lnTo>
                    <a:lnTo>
                      <a:pt x="113" y="82"/>
                    </a:lnTo>
                    <a:lnTo>
                      <a:pt x="113" y="82"/>
                    </a:lnTo>
                    <a:lnTo>
                      <a:pt x="115" y="82"/>
                    </a:lnTo>
                    <a:lnTo>
                      <a:pt x="115" y="82"/>
                    </a:lnTo>
                    <a:lnTo>
                      <a:pt x="113" y="84"/>
                    </a:lnTo>
                    <a:lnTo>
                      <a:pt x="113" y="84"/>
                    </a:lnTo>
                    <a:lnTo>
                      <a:pt x="116" y="84"/>
                    </a:lnTo>
                    <a:lnTo>
                      <a:pt x="116" y="84"/>
                    </a:lnTo>
                    <a:lnTo>
                      <a:pt x="116" y="85"/>
                    </a:lnTo>
                    <a:lnTo>
                      <a:pt x="116" y="85"/>
                    </a:lnTo>
                    <a:lnTo>
                      <a:pt x="119" y="87"/>
                    </a:lnTo>
                    <a:lnTo>
                      <a:pt x="119" y="87"/>
                    </a:lnTo>
                    <a:lnTo>
                      <a:pt x="122" y="87"/>
                    </a:lnTo>
                    <a:lnTo>
                      <a:pt x="122" y="87"/>
                    </a:lnTo>
                    <a:lnTo>
                      <a:pt x="126" y="87"/>
                    </a:lnTo>
                    <a:lnTo>
                      <a:pt x="126" y="87"/>
                    </a:lnTo>
                    <a:lnTo>
                      <a:pt x="129" y="87"/>
                    </a:lnTo>
                    <a:lnTo>
                      <a:pt x="129" y="87"/>
                    </a:lnTo>
                    <a:lnTo>
                      <a:pt x="132" y="87"/>
                    </a:lnTo>
                    <a:lnTo>
                      <a:pt x="132" y="87"/>
                    </a:lnTo>
                    <a:lnTo>
                      <a:pt x="134" y="87"/>
                    </a:lnTo>
                    <a:lnTo>
                      <a:pt x="134" y="87"/>
                    </a:lnTo>
                    <a:lnTo>
                      <a:pt x="134" y="89"/>
                    </a:lnTo>
                    <a:lnTo>
                      <a:pt x="134" y="89"/>
                    </a:lnTo>
                    <a:lnTo>
                      <a:pt x="135" y="90"/>
                    </a:lnTo>
                    <a:lnTo>
                      <a:pt x="135" y="90"/>
                    </a:lnTo>
                    <a:lnTo>
                      <a:pt x="134" y="92"/>
                    </a:lnTo>
                    <a:lnTo>
                      <a:pt x="134" y="92"/>
                    </a:lnTo>
                    <a:lnTo>
                      <a:pt x="130" y="92"/>
                    </a:lnTo>
                    <a:lnTo>
                      <a:pt x="130" y="92"/>
                    </a:lnTo>
                    <a:lnTo>
                      <a:pt x="126" y="93"/>
                    </a:lnTo>
                    <a:lnTo>
                      <a:pt x="126" y="93"/>
                    </a:lnTo>
                    <a:lnTo>
                      <a:pt x="122" y="97"/>
                    </a:lnTo>
                    <a:lnTo>
                      <a:pt x="122" y="97"/>
                    </a:lnTo>
                    <a:lnTo>
                      <a:pt x="122" y="98"/>
                    </a:lnTo>
                    <a:lnTo>
                      <a:pt x="122" y="98"/>
                    </a:lnTo>
                    <a:lnTo>
                      <a:pt x="122" y="98"/>
                    </a:lnTo>
                    <a:lnTo>
                      <a:pt x="122" y="98"/>
                    </a:lnTo>
                    <a:lnTo>
                      <a:pt x="126" y="98"/>
                    </a:lnTo>
                    <a:lnTo>
                      <a:pt x="126" y="98"/>
                    </a:lnTo>
                    <a:lnTo>
                      <a:pt x="127" y="98"/>
                    </a:lnTo>
                    <a:lnTo>
                      <a:pt x="127" y="98"/>
                    </a:lnTo>
                    <a:lnTo>
                      <a:pt x="132" y="101"/>
                    </a:lnTo>
                    <a:lnTo>
                      <a:pt x="132" y="101"/>
                    </a:lnTo>
                    <a:lnTo>
                      <a:pt x="134" y="101"/>
                    </a:lnTo>
                    <a:lnTo>
                      <a:pt x="134" y="101"/>
                    </a:lnTo>
                    <a:lnTo>
                      <a:pt x="135" y="104"/>
                    </a:lnTo>
                    <a:lnTo>
                      <a:pt x="135" y="104"/>
                    </a:lnTo>
                    <a:lnTo>
                      <a:pt x="134" y="108"/>
                    </a:lnTo>
                    <a:lnTo>
                      <a:pt x="134" y="108"/>
                    </a:lnTo>
                    <a:lnTo>
                      <a:pt x="132" y="108"/>
                    </a:lnTo>
                    <a:lnTo>
                      <a:pt x="132" y="108"/>
                    </a:lnTo>
                    <a:lnTo>
                      <a:pt x="135" y="111"/>
                    </a:lnTo>
                    <a:lnTo>
                      <a:pt x="135" y="111"/>
                    </a:lnTo>
                    <a:lnTo>
                      <a:pt x="138" y="111"/>
                    </a:lnTo>
                    <a:lnTo>
                      <a:pt x="138" y="111"/>
                    </a:lnTo>
                    <a:lnTo>
                      <a:pt x="143" y="109"/>
                    </a:lnTo>
                    <a:lnTo>
                      <a:pt x="143" y="109"/>
                    </a:lnTo>
                    <a:lnTo>
                      <a:pt x="145" y="106"/>
                    </a:lnTo>
                    <a:lnTo>
                      <a:pt x="145" y="106"/>
                    </a:lnTo>
                    <a:lnTo>
                      <a:pt x="148" y="104"/>
                    </a:lnTo>
                    <a:lnTo>
                      <a:pt x="148" y="104"/>
                    </a:lnTo>
                    <a:lnTo>
                      <a:pt x="151" y="104"/>
                    </a:lnTo>
                    <a:lnTo>
                      <a:pt x="151" y="104"/>
                    </a:lnTo>
                    <a:lnTo>
                      <a:pt x="154" y="104"/>
                    </a:lnTo>
                    <a:lnTo>
                      <a:pt x="154" y="104"/>
                    </a:lnTo>
                    <a:lnTo>
                      <a:pt x="154" y="101"/>
                    </a:lnTo>
                    <a:lnTo>
                      <a:pt x="154" y="101"/>
                    </a:lnTo>
                    <a:lnTo>
                      <a:pt x="157" y="101"/>
                    </a:lnTo>
                    <a:lnTo>
                      <a:pt x="157" y="101"/>
                    </a:lnTo>
                    <a:lnTo>
                      <a:pt x="157" y="101"/>
                    </a:lnTo>
                    <a:lnTo>
                      <a:pt x="157" y="101"/>
                    </a:lnTo>
                    <a:lnTo>
                      <a:pt x="157" y="101"/>
                    </a:lnTo>
                    <a:lnTo>
                      <a:pt x="157" y="101"/>
                    </a:lnTo>
                    <a:lnTo>
                      <a:pt x="161" y="101"/>
                    </a:lnTo>
                    <a:lnTo>
                      <a:pt x="161" y="101"/>
                    </a:lnTo>
                    <a:lnTo>
                      <a:pt x="164" y="101"/>
                    </a:lnTo>
                    <a:lnTo>
                      <a:pt x="164" y="101"/>
                    </a:lnTo>
                    <a:lnTo>
                      <a:pt x="165" y="101"/>
                    </a:lnTo>
                    <a:lnTo>
                      <a:pt x="165" y="101"/>
                    </a:lnTo>
                    <a:lnTo>
                      <a:pt x="167" y="101"/>
                    </a:lnTo>
                    <a:lnTo>
                      <a:pt x="167" y="101"/>
                    </a:lnTo>
                    <a:lnTo>
                      <a:pt x="167" y="100"/>
                    </a:lnTo>
                    <a:lnTo>
                      <a:pt x="167" y="100"/>
                    </a:lnTo>
                    <a:lnTo>
                      <a:pt x="169" y="98"/>
                    </a:lnTo>
                    <a:lnTo>
                      <a:pt x="169" y="98"/>
                    </a:lnTo>
                    <a:lnTo>
                      <a:pt x="165" y="97"/>
                    </a:lnTo>
                    <a:lnTo>
                      <a:pt x="165" y="97"/>
                    </a:lnTo>
                    <a:lnTo>
                      <a:pt x="162" y="97"/>
                    </a:lnTo>
                    <a:lnTo>
                      <a:pt x="162" y="97"/>
                    </a:lnTo>
                    <a:lnTo>
                      <a:pt x="161" y="98"/>
                    </a:lnTo>
                    <a:lnTo>
                      <a:pt x="161" y="98"/>
                    </a:lnTo>
                    <a:lnTo>
                      <a:pt x="161" y="97"/>
                    </a:lnTo>
                    <a:lnTo>
                      <a:pt x="161" y="97"/>
                    </a:lnTo>
                    <a:lnTo>
                      <a:pt x="157" y="98"/>
                    </a:lnTo>
                    <a:lnTo>
                      <a:pt x="157" y="98"/>
                    </a:lnTo>
                    <a:lnTo>
                      <a:pt x="157" y="98"/>
                    </a:lnTo>
                    <a:lnTo>
                      <a:pt x="157" y="98"/>
                    </a:lnTo>
                    <a:lnTo>
                      <a:pt x="154" y="97"/>
                    </a:lnTo>
                    <a:lnTo>
                      <a:pt x="154" y="97"/>
                    </a:lnTo>
                    <a:lnTo>
                      <a:pt x="151" y="93"/>
                    </a:lnTo>
                    <a:lnTo>
                      <a:pt x="151" y="93"/>
                    </a:lnTo>
                    <a:lnTo>
                      <a:pt x="154" y="100"/>
                    </a:lnTo>
                    <a:lnTo>
                      <a:pt x="154" y="100"/>
                    </a:lnTo>
                    <a:lnTo>
                      <a:pt x="151" y="98"/>
                    </a:lnTo>
                    <a:lnTo>
                      <a:pt x="151" y="98"/>
                    </a:lnTo>
                    <a:lnTo>
                      <a:pt x="151" y="98"/>
                    </a:lnTo>
                    <a:lnTo>
                      <a:pt x="151" y="98"/>
                    </a:lnTo>
                    <a:lnTo>
                      <a:pt x="151" y="97"/>
                    </a:lnTo>
                    <a:lnTo>
                      <a:pt x="151" y="97"/>
                    </a:lnTo>
                    <a:lnTo>
                      <a:pt x="151" y="95"/>
                    </a:lnTo>
                    <a:lnTo>
                      <a:pt x="151" y="95"/>
                    </a:lnTo>
                    <a:lnTo>
                      <a:pt x="148" y="93"/>
                    </a:lnTo>
                    <a:lnTo>
                      <a:pt x="148" y="93"/>
                    </a:lnTo>
                    <a:lnTo>
                      <a:pt x="146" y="92"/>
                    </a:lnTo>
                    <a:lnTo>
                      <a:pt x="146" y="92"/>
                    </a:lnTo>
                    <a:lnTo>
                      <a:pt x="146" y="90"/>
                    </a:lnTo>
                    <a:lnTo>
                      <a:pt x="146" y="90"/>
                    </a:lnTo>
                    <a:lnTo>
                      <a:pt x="143" y="92"/>
                    </a:lnTo>
                    <a:lnTo>
                      <a:pt x="143" y="92"/>
                    </a:lnTo>
                    <a:lnTo>
                      <a:pt x="145" y="90"/>
                    </a:lnTo>
                    <a:lnTo>
                      <a:pt x="145" y="90"/>
                    </a:lnTo>
                    <a:lnTo>
                      <a:pt x="145" y="89"/>
                    </a:lnTo>
                    <a:lnTo>
                      <a:pt x="145" y="89"/>
                    </a:lnTo>
                    <a:lnTo>
                      <a:pt x="143" y="90"/>
                    </a:lnTo>
                    <a:lnTo>
                      <a:pt x="143" y="90"/>
                    </a:lnTo>
                    <a:lnTo>
                      <a:pt x="142" y="89"/>
                    </a:lnTo>
                    <a:lnTo>
                      <a:pt x="142" y="89"/>
                    </a:lnTo>
                    <a:lnTo>
                      <a:pt x="140" y="89"/>
                    </a:lnTo>
                    <a:lnTo>
                      <a:pt x="140" y="89"/>
                    </a:lnTo>
                    <a:lnTo>
                      <a:pt x="138" y="87"/>
                    </a:lnTo>
                    <a:lnTo>
                      <a:pt x="138" y="87"/>
                    </a:lnTo>
                    <a:lnTo>
                      <a:pt x="137" y="89"/>
                    </a:lnTo>
                    <a:lnTo>
                      <a:pt x="137" y="89"/>
                    </a:lnTo>
                    <a:lnTo>
                      <a:pt x="134" y="85"/>
                    </a:lnTo>
                    <a:lnTo>
                      <a:pt x="134" y="85"/>
                    </a:lnTo>
                    <a:lnTo>
                      <a:pt x="138" y="85"/>
                    </a:lnTo>
                    <a:lnTo>
                      <a:pt x="138" y="85"/>
                    </a:lnTo>
                    <a:lnTo>
                      <a:pt x="140" y="84"/>
                    </a:lnTo>
                    <a:lnTo>
                      <a:pt x="140" y="84"/>
                    </a:lnTo>
                    <a:lnTo>
                      <a:pt x="142" y="87"/>
                    </a:lnTo>
                    <a:lnTo>
                      <a:pt x="142" y="87"/>
                    </a:lnTo>
                    <a:lnTo>
                      <a:pt x="142" y="85"/>
                    </a:lnTo>
                    <a:lnTo>
                      <a:pt x="142" y="85"/>
                    </a:lnTo>
                    <a:lnTo>
                      <a:pt x="143" y="87"/>
                    </a:lnTo>
                    <a:lnTo>
                      <a:pt x="143" y="87"/>
                    </a:lnTo>
                    <a:lnTo>
                      <a:pt x="143" y="89"/>
                    </a:lnTo>
                    <a:lnTo>
                      <a:pt x="143" y="89"/>
                    </a:lnTo>
                    <a:lnTo>
                      <a:pt x="145" y="89"/>
                    </a:lnTo>
                    <a:lnTo>
                      <a:pt x="145" y="89"/>
                    </a:lnTo>
                    <a:lnTo>
                      <a:pt x="145" y="85"/>
                    </a:lnTo>
                    <a:lnTo>
                      <a:pt x="145" y="85"/>
                    </a:lnTo>
                    <a:lnTo>
                      <a:pt x="146" y="87"/>
                    </a:lnTo>
                    <a:lnTo>
                      <a:pt x="146" y="87"/>
                    </a:lnTo>
                    <a:lnTo>
                      <a:pt x="146" y="89"/>
                    </a:lnTo>
                    <a:lnTo>
                      <a:pt x="146" y="89"/>
                    </a:lnTo>
                    <a:lnTo>
                      <a:pt x="148" y="89"/>
                    </a:lnTo>
                    <a:lnTo>
                      <a:pt x="148" y="89"/>
                    </a:lnTo>
                    <a:lnTo>
                      <a:pt x="148" y="85"/>
                    </a:lnTo>
                    <a:lnTo>
                      <a:pt x="148" y="85"/>
                    </a:lnTo>
                    <a:lnTo>
                      <a:pt x="151" y="84"/>
                    </a:lnTo>
                    <a:lnTo>
                      <a:pt x="151" y="84"/>
                    </a:lnTo>
                    <a:lnTo>
                      <a:pt x="151" y="82"/>
                    </a:lnTo>
                    <a:lnTo>
                      <a:pt x="151" y="82"/>
                    </a:lnTo>
                    <a:lnTo>
                      <a:pt x="151" y="82"/>
                    </a:lnTo>
                    <a:lnTo>
                      <a:pt x="151" y="82"/>
                    </a:lnTo>
                    <a:lnTo>
                      <a:pt x="151" y="84"/>
                    </a:lnTo>
                    <a:lnTo>
                      <a:pt x="151" y="84"/>
                    </a:lnTo>
                    <a:lnTo>
                      <a:pt x="148" y="87"/>
                    </a:lnTo>
                    <a:lnTo>
                      <a:pt x="148" y="87"/>
                    </a:lnTo>
                    <a:lnTo>
                      <a:pt x="151" y="85"/>
                    </a:lnTo>
                    <a:lnTo>
                      <a:pt x="151" y="85"/>
                    </a:lnTo>
                    <a:lnTo>
                      <a:pt x="154" y="84"/>
                    </a:lnTo>
                    <a:lnTo>
                      <a:pt x="154" y="84"/>
                    </a:lnTo>
                    <a:lnTo>
                      <a:pt x="154" y="81"/>
                    </a:lnTo>
                    <a:lnTo>
                      <a:pt x="154" y="81"/>
                    </a:lnTo>
                    <a:lnTo>
                      <a:pt x="157" y="79"/>
                    </a:lnTo>
                    <a:lnTo>
                      <a:pt x="157" y="79"/>
                    </a:lnTo>
                    <a:lnTo>
                      <a:pt x="161" y="79"/>
                    </a:lnTo>
                    <a:lnTo>
                      <a:pt x="161" y="79"/>
                    </a:lnTo>
                    <a:lnTo>
                      <a:pt x="164" y="77"/>
                    </a:lnTo>
                    <a:lnTo>
                      <a:pt x="164" y="77"/>
                    </a:lnTo>
                    <a:lnTo>
                      <a:pt x="165" y="77"/>
                    </a:lnTo>
                    <a:lnTo>
                      <a:pt x="165" y="77"/>
                    </a:lnTo>
                    <a:lnTo>
                      <a:pt x="169" y="79"/>
                    </a:lnTo>
                    <a:lnTo>
                      <a:pt x="169" y="79"/>
                    </a:lnTo>
                    <a:lnTo>
                      <a:pt x="170" y="76"/>
                    </a:lnTo>
                    <a:lnTo>
                      <a:pt x="170" y="76"/>
                    </a:lnTo>
                    <a:lnTo>
                      <a:pt x="173" y="76"/>
                    </a:lnTo>
                    <a:lnTo>
                      <a:pt x="173" y="76"/>
                    </a:lnTo>
                    <a:lnTo>
                      <a:pt x="175" y="76"/>
                    </a:lnTo>
                    <a:lnTo>
                      <a:pt x="175" y="76"/>
                    </a:lnTo>
                    <a:lnTo>
                      <a:pt x="176" y="73"/>
                    </a:lnTo>
                    <a:lnTo>
                      <a:pt x="176" y="73"/>
                    </a:lnTo>
                    <a:lnTo>
                      <a:pt x="180" y="73"/>
                    </a:lnTo>
                    <a:lnTo>
                      <a:pt x="180" y="73"/>
                    </a:lnTo>
                    <a:lnTo>
                      <a:pt x="183" y="73"/>
                    </a:lnTo>
                    <a:lnTo>
                      <a:pt x="183" y="73"/>
                    </a:lnTo>
                    <a:lnTo>
                      <a:pt x="183" y="73"/>
                    </a:lnTo>
                    <a:lnTo>
                      <a:pt x="183" y="73"/>
                    </a:lnTo>
                    <a:lnTo>
                      <a:pt x="183" y="70"/>
                    </a:lnTo>
                    <a:lnTo>
                      <a:pt x="183" y="70"/>
                    </a:lnTo>
                    <a:lnTo>
                      <a:pt x="183" y="70"/>
                    </a:lnTo>
                    <a:lnTo>
                      <a:pt x="183" y="70"/>
                    </a:lnTo>
                    <a:lnTo>
                      <a:pt x="183" y="66"/>
                    </a:lnTo>
                    <a:lnTo>
                      <a:pt x="183" y="66"/>
                    </a:lnTo>
                    <a:lnTo>
                      <a:pt x="186" y="66"/>
                    </a:lnTo>
                    <a:lnTo>
                      <a:pt x="186" y="66"/>
                    </a:lnTo>
                    <a:lnTo>
                      <a:pt x="189" y="63"/>
                    </a:lnTo>
                    <a:lnTo>
                      <a:pt x="189" y="63"/>
                    </a:lnTo>
                    <a:lnTo>
                      <a:pt x="189" y="63"/>
                    </a:lnTo>
                    <a:lnTo>
                      <a:pt x="189" y="63"/>
                    </a:lnTo>
                    <a:lnTo>
                      <a:pt x="192" y="63"/>
                    </a:lnTo>
                    <a:lnTo>
                      <a:pt x="192" y="63"/>
                    </a:lnTo>
                    <a:lnTo>
                      <a:pt x="192" y="63"/>
                    </a:lnTo>
                    <a:lnTo>
                      <a:pt x="192" y="63"/>
                    </a:lnTo>
                    <a:lnTo>
                      <a:pt x="196" y="63"/>
                    </a:lnTo>
                    <a:lnTo>
                      <a:pt x="196" y="63"/>
                    </a:lnTo>
                    <a:lnTo>
                      <a:pt x="197" y="63"/>
                    </a:lnTo>
                    <a:lnTo>
                      <a:pt x="197" y="63"/>
                    </a:lnTo>
                    <a:lnTo>
                      <a:pt x="199" y="62"/>
                    </a:lnTo>
                    <a:lnTo>
                      <a:pt x="199" y="62"/>
                    </a:lnTo>
                    <a:lnTo>
                      <a:pt x="200" y="60"/>
                    </a:lnTo>
                    <a:lnTo>
                      <a:pt x="200" y="60"/>
                    </a:lnTo>
                    <a:lnTo>
                      <a:pt x="200" y="57"/>
                    </a:lnTo>
                    <a:lnTo>
                      <a:pt x="200" y="57"/>
                    </a:lnTo>
                    <a:lnTo>
                      <a:pt x="199" y="55"/>
                    </a:lnTo>
                    <a:lnTo>
                      <a:pt x="199" y="55"/>
                    </a:lnTo>
                    <a:lnTo>
                      <a:pt x="200" y="55"/>
                    </a:lnTo>
                    <a:lnTo>
                      <a:pt x="200" y="55"/>
                    </a:lnTo>
                    <a:lnTo>
                      <a:pt x="199" y="54"/>
                    </a:lnTo>
                    <a:lnTo>
                      <a:pt x="199" y="54"/>
                    </a:lnTo>
                    <a:lnTo>
                      <a:pt x="196" y="52"/>
                    </a:lnTo>
                    <a:lnTo>
                      <a:pt x="196" y="52"/>
                    </a:lnTo>
                    <a:lnTo>
                      <a:pt x="196" y="50"/>
                    </a:lnTo>
                    <a:lnTo>
                      <a:pt x="197" y="49"/>
                    </a:lnTo>
                    <a:lnTo>
                      <a:pt x="197" y="49"/>
                    </a:lnTo>
                    <a:lnTo>
                      <a:pt x="197" y="49"/>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56" name="Freeform 209">
                <a:extLst>
                  <a:ext uri="{FF2B5EF4-FFF2-40B4-BE49-F238E27FC236}">
                    <a16:creationId xmlns:a16="http://schemas.microsoft.com/office/drawing/2014/main" id="{6E4A3D42-1AB5-471E-3201-69EB45946E76}"/>
                  </a:ext>
                </a:extLst>
              </p:cNvPr>
              <p:cNvSpPr>
                <a:spLocks noEditPoints="1"/>
              </p:cNvSpPr>
              <p:nvPr/>
            </p:nvSpPr>
            <p:spPr bwMode="auto">
              <a:xfrm>
                <a:off x="6294051" y="2253084"/>
                <a:ext cx="80750" cy="35889"/>
              </a:xfrm>
              <a:custGeom>
                <a:avLst/>
                <a:gdLst>
                  <a:gd name="T0" fmla="*/ 11 w 36"/>
                  <a:gd name="T1" fmla="*/ 2 h 16"/>
                  <a:gd name="T2" fmla="*/ 9 w 36"/>
                  <a:gd name="T3" fmla="*/ 5 h 16"/>
                  <a:gd name="T4" fmla="*/ 14 w 36"/>
                  <a:gd name="T5" fmla="*/ 0 h 16"/>
                  <a:gd name="T6" fmla="*/ 11 w 36"/>
                  <a:gd name="T7" fmla="*/ 2 h 16"/>
                  <a:gd name="T8" fmla="*/ 11 w 36"/>
                  <a:gd name="T9" fmla="*/ 2 h 16"/>
                  <a:gd name="T10" fmla="*/ 11 w 36"/>
                  <a:gd name="T11" fmla="*/ 2 h 16"/>
                  <a:gd name="T12" fmla="*/ 11 w 36"/>
                  <a:gd name="T13" fmla="*/ 2 h 16"/>
                  <a:gd name="T14" fmla="*/ 11 w 36"/>
                  <a:gd name="T15" fmla="*/ 2 h 16"/>
                  <a:gd name="T16" fmla="*/ 11 w 36"/>
                  <a:gd name="T17" fmla="*/ 2 h 16"/>
                  <a:gd name="T18" fmla="*/ 11 w 36"/>
                  <a:gd name="T19" fmla="*/ 2 h 16"/>
                  <a:gd name="T20" fmla="*/ 11 w 36"/>
                  <a:gd name="T21" fmla="*/ 2 h 16"/>
                  <a:gd name="T22" fmla="*/ 11 w 36"/>
                  <a:gd name="T23" fmla="*/ 2 h 16"/>
                  <a:gd name="T24" fmla="*/ 36 w 36"/>
                  <a:gd name="T25" fmla="*/ 8 h 16"/>
                  <a:gd name="T26" fmla="*/ 33 w 36"/>
                  <a:gd name="T27" fmla="*/ 5 h 16"/>
                  <a:gd name="T28" fmla="*/ 28 w 36"/>
                  <a:gd name="T29" fmla="*/ 5 h 16"/>
                  <a:gd name="T30" fmla="*/ 22 w 36"/>
                  <a:gd name="T31" fmla="*/ 4 h 16"/>
                  <a:gd name="T32" fmla="*/ 19 w 36"/>
                  <a:gd name="T33" fmla="*/ 2 h 16"/>
                  <a:gd name="T34" fmla="*/ 17 w 36"/>
                  <a:gd name="T35" fmla="*/ 2 h 16"/>
                  <a:gd name="T36" fmla="*/ 16 w 36"/>
                  <a:gd name="T37" fmla="*/ 4 h 16"/>
                  <a:gd name="T38" fmla="*/ 16 w 36"/>
                  <a:gd name="T39" fmla="*/ 7 h 16"/>
                  <a:gd name="T40" fmla="*/ 14 w 36"/>
                  <a:gd name="T41" fmla="*/ 7 h 16"/>
                  <a:gd name="T42" fmla="*/ 8 w 36"/>
                  <a:gd name="T43" fmla="*/ 7 h 16"/>
                  <a:gd name="T44" fmla="*/ 9 w 36"/>
                  <a:gd name="T45" fmla="*/ 5 h 16"/>
                  <a:gd name="T46" fmla="*/ 6 w 36"/>
                  <a:gd name="T47" fmla="*/ 7 h 16"/>
                  <a:gd name="T48" fmla="*/ 4 w 36"/>
                  <a:gd name="T49" fmla="*/ 7 h 16"/>
                  <a:gd name="T50" fmla="*/ 1 w 36"/>
                  <a:gd name="T51" fmla="*/ 7 h 16"/>
                  <a:gd name="T52" fmla="*/ 1 w 36"/>
                  <a:gd name="T53" fmla="*/ 8 h 16"/>
                  <a:gd name="T54" fmla="*/ 0 w 36"/>
                  <a:gd name="T55" fmla="*/ 12 h 16"/>
                  <a:gd name="T56" fmla="*/ 1 w 36"/>
                  <a:gd name="T57" fmla="*/ 10 h 16"/>
                  <a:gd name="T58" fmla="*/ 6 w 36"/>
                  <a:gd name="T59" fmla="*/ 10 h 16"/>
                  <a:gd name="T60" fmla="*/ 4 w 36"/>
                  <a:gd name="T61" fmla="*/ 12 h 16"/>
                  <a:gd name="T62" fmla="*/ 4 w 36"/>
                  <a:gd name="T63" fmla="*/ 12 h 16"/>
                  <a:gd name="T64" fmla="*/ 0 w 36"/>
                  <a:gd name="T65" fmla="*/ 15 h 16"/>
                  <a:gd name="T66" fmla="*/ 1 w 36"/>
                  <a:gd name="T67" fmla="*/ 15 h 16"/>
                  <a:gd name="T68" fmla="*/ 9 w 36"/>
                  <a:gd name="T69" fmla="*/ 15 h 16"/>
                  <a:gd name="T70" fmla="*/ 20 w 36"/>
                  <a:gd name="T71" fmla="*/ 16 h 16"/>
                  <a:gd name="T72" fmla="*/ 33 w 36"/>
                  <a:gd name="T73" fmla="*/ 16 h 16"/>
                  <a:gd name="T74" fmla="*/ 36 w 36"/>
                  <a:gd name="T75" fmla="*/ 16 h 16"/>
                  <a:gd name="T76" fmla="*/ 33 w 36"/>
                  <a:gd name="T77" fmla="*/ 10 h 16"/>
                  <a:gd name="T78" fmla="*/ 36 w 36"/>
                  <a:gd name="T79" fmla="*/ 8 h 16"/>
                  <a:gd name="T80" fmla="*/ 36 w 36"/>
                  <a:gd name="T81" fmla="*/ 8 h 16"/>
                  <a:gd name="T82" fmla="*/ 36 w 36"/>
                  <a:gd name="T83" fmla="*/ 8 h 16"/>
                  <a:gd name="T84" fmla="*/ 36 w 36"/>
                  <a:gd name="T85" fmla="*/ 8 h 16"/>
                  <a:gd name="T86" fmla="*/ 36 w 36"/>
                  <a:gd name="T87" fmla="*/ 8 h 16"/>
                  <a:gd name="T88" fmla="*/ 36 w 36"/>
                  <a:gd name="T89" fmla="*/ 8 h 16"/>
                  <a:gd name="T90" fmla="*/ 36 w 36"/>
                  <a:gd name="T91" fmla="*/ 8 h 16"/>
                  <a:gd name="T92" fmla="*/ 36 w 36"/>
                  <a:gd name="T93" fmla="*/ 8 h 16"/>
                  <a:gd name="T94" fmla="*/ 36 w 36"/>
                  <a:gd name="T95"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 h="16">
                    <a:moveTo>
                      <a:pt x="11" y="2"/>
                    </a:moveTo>
                    <a:lnTo>
                      <a:pt x="9" y="5"/>
                    </a:lnTo>
                    <a:lnTo>
                      <a:pt x="14" y="0"/>
                    </a:lnTo>
                    <a:lnTo>
                      <a:pt x="11" y="2"/>
                    </a:lnTo>
                    <a:lnTo>
                      <a:pt x="11" y="2"/>
                    </a:lnTo>
                    <a:lnTo>
                      <a:pt x="11" y="2"/>
                    </a:lnTo>
                    <a:lnTo>
                      <a:pt x="11" y="2"/>
                    </a:lnTo>
                    <a:lnTo>
                      <a:pt x="11" y="2"/>
                    </a:lnTo>
                    <a:lnTo>
                      <a:pt x="11" y="2"/>
                    </a:lnTo>
                    <a:lnTo>
                      <a:pt x="11" y="2"/>
                    </a:lnTo>
                    <a:lnTo>
                      <a:pt x="11" y="2"/>
                    </a:lnTo>
                    <a:lnTo>
                      <a:pt x="11" y="2"/>
                    </a:lnTo>
                    <a:close/>
                    <a:moveTo>
                      <a:pt x="36" y="8"/>
                    </a:moveTo>
                    <a:lnTo>
                      <a:pt x="33" y="5"/>
                    </a:lnTo>
                    <a:lnTo>
                      <a:pt x="28" y="5"/>
                    </a:lnTo>
                    <a:lnTo>
                      <a:pt x="22" y="4"/>
                    </a:lnTo>
                    <a:lnTo>
                      <a:pt x="19" y="2"/>
                    </a:lnTo>
                    <a:lnTo>
                      <a:pt x="17" y="2"/>
                    </a:lnTo>
                    <a:lnTo>
                      <a:pt x="16" y="4"/>
                    </a:lnTo>
                    <a:lnTo>
                      <a:pt x="16" y="7"/>
                    </a:lnTo>
                    <a:lnTo>
                      <a:pt x="14" y="7"/>
                    </a:lnTo>
                    <a:lnTo>
                      <a:pt x="8" y="7"/>
                    </a:lnTo>
                    <a:lnTo>
                      <a:pt x="9" y="5"/>
                    </a:lnTo>
                    <a:lnTo>
                      <a:pt x="6" y="7"/>
                    </a:lnTo>
                    <a:lnTo>
                      <a:pt x="4" y="7"/>
                    </a:lnTo>
                    <a:lnTo>
                      <a:pt x="1" y="7"/>
                    </a:lnTo>
                    <a:lnTo>
                      <a:pt x="1" y="8"/>
                    </a:lnTo>
                    <a:lnTo>
                      <a:pt x="0" y="12"/>
                    </a:lnTo>
                    <a:lnTo>
                      <a:pt x="1" y="10"/>
                    </a:lnTo>
                    <a:lnTo>
                      <a:pt x="6" y="10"/>
                    </a:lnTo>
                    <a:lnTo>
                      <a:pt x="4" y="12"/>
                    </a:lnTo>
                    <a:lnTo>
                      <a:pt x="4" y="12"/>
                    </a:lnTo>
                    <a:lnTo>
                      <a:pt x="0" y="15"/>
                    </a:lnTo>
                    <a:lnTo>
                      <a:pt x="1" y="15"/>
                    </a:lnTo>
                    <a:lnTo>
                      <a:pt x="9" y="15"/>
                    </a:lnTo>
                    <a:lnTo>
                      <a:pt x="20" y="16"/>
                    </a:lnTo>
                    <a:lnTo>
                      <a:pt x="33" y="16"/>
                    </a:lnTo>
                    <a:lnTo>
                      <a:pt x="36" y="16"/>
                    </a:lnTo>
                    <a:lnTo>
                      <a:pt x="33" y="10"/>
                    </a:lnTo>
                    <a:lnTo>
                      <a:pt x="36" y="8"/>
                    </a:lnTo>
                    <a:lnTo>
                      <a:pt x="36" y="8"/>
                    </a:lnTo>
                    <a:lnTo>
                      <a:pt x="36" y="8"/>
                    </a:lnTo>
                    <a:lnTo>
                      <a:pt x="36" y="8"/>
                    </a:lnTo>
                    <a:lnTo>
                      <a:pt x="36" y="8"/>
                    </a:lnTo>
                    <a:lnTo>
                      <a:pt x="36" y="8"/>
                    </a:lnTo>
                    <a:lnTo>
                      <a:pt x="36" y="8"/>
                    </a:lnTo>
                    <a:lnTo>
                      <a:pt x="36" y="8"/>
                    </a:lnTo>
                    <a:lnTo>
                      <a:pt x="36" y="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57" name="Freeform 194">
                <a:extLst>
                  <a:ext uri="{FF2B5EF4-FFF2-40B4-BE49-F238E27FC236}">
                    <a16:creationId xmlns:a16="http://schemas.microsoft.com/office/drawing/2014/main" id="{92CCE3B3-855D-1310-E716-720FDD26E5A9}"/>
                  </a:ext>
                </a:extLst>
              </p:cNvPr>
              <p:cNvSpPr>
                <a:spLocks noEditPoints="1"/>
              </p:cNvSpPr>
              <p:nvPr/>
            </p:nvSpPr>
            <p:spPr bwMode="auto">
              <a:xfrm>
                <a:off x="6332184" y="2125228"/>
                <a:ext cx="143557" cy="71778"/>
              </a:xfrm>
              <a:custGeom>
                <a:avLst/>
                <a:gdLst>
                  <a:gd name="T0" fmla="*/ 5 w 64"/>
                  <a:gd name="T1" fmla="*/ 15 h 32"/>
                  <a:gd name="T2" fmla="*/ 2 w 64"/>
                  <a:gd name="T3" fmla="*/ 16 h 32"/>
                  <a:gd name="T4" fmla="*/ 0 w 64"/>
                  <a:gd name="T5" fmla="*/ 18 h 32"/>
                  <a:gd name="T6" fmla="*/ 2 w 64"/>
                  <a:gd name="T7" fmla="*/ 22 h 32"/>
                  <a:gd name="T8" fmla="*/ 3 w 64"/>
                  <a:gd name="T9" fmla="*/ 22 h 32"/>
                  <a:gd name="T10" fmla="*/ 6 w 64"/>
                  <a:gd name="T11" fmla="*/ 19 h 32"/>
                  <a:gd name="T12" fmla="*/ 10 w 64"/>
                  <a:gd name="T13" fmla="*/ 19 h 32"/>
                  <a:gd name="T14" fmla="*/ 13 w 64"/>
                  <a:gd name="T15" fmla="*/ 18 h 32"/>
                  <a:gd name="T16" fmla="*/ 11 w 64"/>
                  <a:gd name="T17" fmla="*/ 16 h 32"/>
                  <a:gd name="T18" fmla="*/ 8 w 64"/>
                  <a:gd name="T19" fmla="*/ 15 h 32"/>
                  <a:gd name="T20" fmla="*/ 8 w 64"/>
                  <a:gd name="T21" fmla="*/ 15 h 32"/>
                  <a:gd name="T22" fmla="*/ 8 w 64"/>
                  <a:gd name="T23" fmla="*/ 15 h 32"/>
                  <a:gd name="T24" fmla="*/ 8 w 64"/>
                  <a:gd name="T25" fmla="*/ 15 h 32"/>
                  <a:gd name="T26" fmla="*/ 5 w 64"/>
                  <a:gd name="T27" fmla="*/ 13 h 32"/>
                  <a:gd name="T28" fmla="*/ 8 w 64"/>
                  <a:gd name="T29" fmla="*/ 13 h 32"/>
                  <a:gd name="T30" fmla="*/ 11 w 64"/>
                  <a:gd name="T31" fmla="*/ 10 h 32"/>
                  <a:gd name="T32" fmla="*/ 6 w 64"/>
                  <a:gd name="T33" fmla="*/ 8 h 32"/>
                  <a:gd name="T34" fmla="*/ 0 w 64"/>
                  <a:gd name="T35" fmla="*/ 10 h 32"/>
                  <a:gd name="T36" fmla="*/ 5 w 64"/>
                  <a:gd name="T37" fmla="*/ 13 h 32"/>
                  <a:gd name="T38" fmla="*/ 5 w 64"/>
                  <a:gd name="T39" fmla="*/ 13 h 32"/>
                  <a:gd name="T40" fmla="*/ 5 w 64"/>
                  <a:gd name="T41" fmla="*/ 13 h 32"/>
                  <a:gd name="T42" fmla="*/ 5 w 64"/>
                  <a:gd name="T43" fmla="*/ 13 h 32"/>
                  <a:gd name="T44" fmla="*/ 5 w 64"/>
                  <a:gd name="T45" fmla="*/ 13 h 32"/>
                  <a:gd name="T46" fmla="*/ 60 w 64"/>
                  <a:gd name="T47" fmla="*/ 5 h 32"/>
                  <a:gd name="T48" fmla="*/ 64 w 64"/>
                  <a:gd name="T49" fmla="*/ 5 h 32"/>
                  <a:gd name="T50" fmla="*/ 57 w 64"/>
                  <a:gd name="T51" fmla="*/ 3 h 32"/>
                  <a:gd name="T52" fmla="*/ 43 w 64"/>
                  <a:gd name="T53" fmla="*/ 2 h 32"/>
                  <a:gd name="T54" fmla="*/ 33 w 64"/>
                  <a:gd name="T55" fmla="*/ 0 h 32"/>
                  <a:gd name="T56" fmla="*/ 32 w 64"/>
                  <a:gd name="T57" fmla="*/ 2 h 32"/>
                  <a:gd name="T58" fmla="*/ 26 w 64"/>
                  <a:gd name="T59" fmla="*/ 3 h 32"/>
                  <a:gd name="T60" fmla="*/ 22 w 64"/>
                  <a:gd name="T61" fmla="*/ 3 h 32"/>
                  <a:gd name="T62" fmla="*/ 22 w 64"/>
                  <a:gd name="T63" fmla="*/ 5 h 32"/>
                  <a:gd name="T64" fmla="*/ 16 w 64"/>
                  <a:gd name="T65" fmla="*/ 7 h 32"/>
                  <a:gd name="T66" fmla="*/ 16 w 64"/>
                  <a:gd name="T67" fmla="*/ 8 h 32"/>
                  <a:gd name="T68" fmla="*/ 16 w 64"/>
                  <a:gd name="T69" fmla="*/ 13 h 32"/>
                  <a:gd name="T70" fmla="*/ 16 w 64"/>
                  <a:gd name="T71" fmla="*/ 15 h 32"/>
                  <a:gd name="T72" fmla="*/ 19 w 64"/>
                  <a:gd name="T73" fmla="*/ 19 h 32"/>
                  <a:gd name="T74" fmla="*/ 24 w 64"/>
                  <a:gd name="T75" fmla="*/ 19 h 32"/>
                  <a:gd name="T76" fmla="*/ 26 w 64"/>
                  <a:gd name="T77" fmla="*/ 19 h 32"/>
                  <a:gd name="T78" fmla="*/ 26 w 64"/>
                  <a:gd name="T79" fmla="*/ 19 h 32"/>
                  <a:gd name="T80" fmla="*/ 26 w 64"/>
                  <a:gd name="T81" fmla="*/ 26 h 32"/>
                  <a:gd name="T82" fmla="*/ 32 w 64"/>
                  <a:gd name="T83" fmla="*/ 22 h 32"/>
                  <a:gd name="T84" fmla="*/ 38 w 64"/>
                  <a:gd name="T85" fmla="*/ 22 h 32"/>
                  <a:gd name="T86" fmla="*/ 48 w 64"/>
                  <a:gd name="T87" fmla="*/ 29 h 32"/>
                  <a:gd name="T88" fmla="*/ 54 w 64"/>
                  <a:gd name="T89" fmla="*/ 29 h 32"/>
                  <a:gd name="T90" fmla="*/ 60 w 64"/>
                  <a:gd name="T91" fmla="*/ 30 h 32"/>
                  <a:gd name="T92" fmla="*/ 60 w 64"/>
                  <a:gd name="T93" fmla="*/ 30 h 32"/>
                  <a:gd name="T94" fmla="*/ 57 w 64"/>
                  <a:gd name="T95" fmla="*/ 29 h 32"/>
                  <a:gd name="T96" fmla="*/ 57 w 64"/>
                  <a:gd name="T97" fmla="*/ 22 h 32"/>
                  <a:gd name="T98" fmla="*/ 57 w 64"/>
                  <a:gd name="T99" fmla="*/ 19 h 32"/>
                  <a:gd name="T100" fmla="*/ 57 w 64"/>
                  <a:gd name="T101" fmla="*/ 15 h 32"/>
                  <a:gd name="T102" fmla="*/ 57 w 64"/>
                  <a:gd name="T103" fmla="*/ 10 h 32"/>
                  <a:gd name="T104" fmla="*/ 57 w 64"/>
                  <a:gd name="T105" fmla="*/ 8 h 32"/>
                  <a:gd name="T106" fmla="*/ 57 w 64"/>
                  <a:gd name="T107" fmla="*/ 8 h 32"/>
                  <a:gd name="T108" fmla="*/ 57 w 64"/>
                  <a:gd name="T109" fmla="*/ 8 h 32"/>
                  <a:gd name="T110" fmla="*/ 57 w 64"/>
                  <a:gd name="T111"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 h="32">
                    <a:moveTo>
                      <a:pt x="8" y="15"/>
                    </a:moveTo>
                    <a:lnTo>
                      <a:pt x="5" y="15"/>
                    </a:lnTo>
                    <a:lnTo>
                      <a:pt x="3" y="16"/>
                    </a:lnTo>
                    <a:lnTo>
                      <a:pt x="2" y="16"/>
                    </a:lnTo>
                    <a:lnTo>
                      <a:pt x="0" y="16"/>
                    </a:lnTo>
                    <a:lnTo>
                      <a:pt x="0" y="18"/>
                    </a:lnTo>
                    <a:lnTo>
                      <a:pt x="2" y="19"/>
                    </a:lnTo>
                    <a:lnTo>
                      <a:pt x="2" y="22"/>
                    </a:lnTo>
                    <a:lnTo>
                      <a:pt x="2" y="22"/>
                    </a:lnTo>
                    <a:lnTo>
                      <a:pt x="3" y="22"/>
                    </a:lnTo>
                    <a:lnTo>
                      <a:pt x="5" y="19"/>
                    </a:lnTo>
                    <a:lnTo>
                      <a:pt x="6" y="19"/>
                    </a:lnTo>
                    <a:lnTo>
                      <a:pt x="8" y="19"/>
                    </a:lnTo>
                    <a:lnTo>
                      <a:pt x="10" y="19"/>
                    </a:lnTo>
                    <a:lnTo>
                      <a:pt x="11" y="19"/>
                    </a:lnTo>
                    <a:lnTo>
                      <a:pt x="13" y="18"/>
                    </a:lnTo>
                    <a:lnTo>
                      <a:pt x="13" y="18"/>
                    </a:lnTo>
                    <a:lnTo>
                      <a:pt x="11" y="16"/>
                    </a:lnTo>
                    <a:lnTo>
                      <a:pt x="8" y="15"/>
                    </a:lnTo>
                    <a:lnTo>
                      <a:pt x="8" y="15"/>
                    </a:lnTo>
                    <a:lnTo>
                      <a:pt x="8" y="15"/>
                    </a:lnTo>
                    <a:lnTo>
                      <a:pt x="8" y="15"/>
                    </a:lnTo>
                    <a:lnTo>
                      <a:pt x="8" y="15"/>
                    </a:lnTo>
                    <a:lnTo>
                      <a:pt x="8" y="15"/>
                    </a:lnTo>
                    <a:lnTo>
                      <a:pt x="8" y="15"/>
                    </a:lnTo>
                    <a:lnTo>
                      <a:pt x="8" y="15"/>
                    </a:lnTo>
                    <a:lnTo>
                      <a:pt x="8" y="15"/>
                    </a:lnTo>
                    <a:close/>
                    <a:moveTo>
                      <a:pt x="5" y="13"/>
                    </a:moveTo>
                    <a:lnTo>
                      <a:pt x="6" y="13"/>
                    </a:lnTo>
                    <a:lnTo>
                      <a:pt x="8" y="13"/>
                    </a:lnTo>
                    <a:lnTo>
                      <a:pt x="10" y="11"/>
                    </a:lnTo>
                    <a:lnTo>
                      <a:pt x="11" y="10"/>
                    </a:lnTo>
                    <a:lnTo>
                      <a:pt x="10" y="10"/>
                    </a:lnTo>
                    <a:lnTo>
                      <a:pt x="6" y="8"/>
                    </a:lnTo>
                    <a:lnTo>
                      <a:pt x="3" y="10"/>
                    </a:lnTo>
                    <a:lnTo>
                      <a:pt x="0" y="10"/>
                    </a:lnTo>
                    <a:lnTo>
                      <a:pt x="3" y="11"/>
                    </a:lnTo>
                    <a:lnTo>
                      <a:pt x="5" y="13"/>
                    </a:lnTo>
                    <a:lnTo>
                      <a:pt x="5" y="13"/>
                    </a:lnTo>
                    <a:lnTo>
                      <a:pt x="5" y="13"/>
                    </a:lnTo>
                    <a:lnTo>
                      <a:pt x="5" y="13"/>
                    </a:lnTo>
                    <a:lnTo>
                      <a:pt x="5" y="13"/>
                    </a:lnTo>
                    <a:lnTo>
                      <a:pt x="5" y="13"/>
                    </a:lnTo>
                    <a:lnTo>
                      <a:pt x="5" y="13"/>
                    </a:lnTo>
                    <a:lnTo>
                      <a:pt x="5" y="13"/>
                    </a:lnTo>
                    <a:lnTo>
                      <a:pt x="5" y="13"/>
                    </a:lnTo>
                    <a:close/>
                    <a:moveTo>
                      <a:pt x="57" y="8"/>
                    </a:moveTo>
                    <a:lnTo>
                      <a:pt x="60" y="5"/>
                    </a:lnTo>
                    <a:lnTo>
                      <a:pt x="60" y="5"/>
                    </a:lnTo>
                    <a:lnTo>
                      <a:pt x="64" y="5"/>
                    </a:lnTo>
                    <a:lnTo>
                      <a:pt x="60" y="3"/>
                    </a:lnTo>
                    <a:lnTo>
                      <a:pt x="57" y="3"/>
                    </a:lnTo>
                    <a:lnTo>
                      <a:pt x="51" y="3"/>
                    </a:lnTo>
                    <a:lnTo>
                      <a:pt x="43" y="2"/>
                    </a:lnTo>
                    <a:lnTo>
                      <a:pt x="38" y="2"/>
                    </a:lnTo>
                    <a:lnTo>
                      <a:pt x="33" y="0"/>
                    </a:lnTo>
                    <a:lnTo>
                      <a:pt x="33" y="2"/>
                    </a:lnTo>
                    <a:lnTo>
                      <a:pt x="32" y="2"/>
                    </a:lnTo>
                    <a:lnTo>
                      <a:pt x="26" y="2"/>
                    </a:lnTo>
                    <a:lnTo>
                      <a:pt x="26" y="3"/>
                    </a:lnTo>
                    <a:lnTo>
                      <a:pt x="24" y="3"/>
                    </a:lnTo>
                    <a:lnTo>
                      <a:pt x="22" y="3"/>
                    </a:lnTo>
                    <a:lnTo>
                      <a:pt x="19" y="3"/>
                    </a:lnTo>
                    <a:lnTo>
                      <a:pt x="22" y="5"/>
                    </a:lnTo>
                    <a:lnTo>
                      <a:pt x="19" y="5"/>
                    </a:lnTo>
                    <a:lnTo>
                      <a:pt x="16" y="7"/>
                    </a:lnTo>
                    <a:lnTo>
                      <a:pt x="16" y="10"/>
                    </a:lnTo>
                    <a:lnTo>
                      <a:pt x="16" y="8"/>
                    </a:lnTo>
                    <a:lnTo>
                      <a:pt x="16" y="11"/>
                    </a:lnTo>
                    <a:lnTo>
                      <a:pt x="16" y="13"/>
                    </a:lnTo>
                    <a:lnTo>
                      <a:pt x="16" y="13"/>
                    </a:lnTo>
                    <a:lnTo>
                      <a:pt x="16" y="15"/>
                    </a:lnTo>
                    <a:lnTo>
                      <a:pt x="16" y="16"/>
                    </a:lnTo>
                    <a:lnTo>
                      <a:pt x="19" y="19"/>
                    </a:lnTo>
                    <a:lnTo>
                      <a:pt x="22" y="19"/>
                    </a:lnTo>
                    <a:lnTo>
                      <a:pt x="24" y="19"/>
                    </a:lnTo>
                    <a:lnTo>
                      <a:pt x="26" y="18"/>
                    </a:lnTo>
                    <a:lnTo>
                      <a:pt x="26" y="19"/>
                    </a:lnTo>
                    <a:lnTo>
                      <a:pt x="26" y="19"/>
                    </a:lnTo>
                    <a:lnTo>
                      <a:pt x="26" y="19"/>
                    </a:lnTo>
                    <a:lnTo>
                      <a:pt x="26" y="19"/>
                    </a:lnTo>
                    <a:lnTo>
                      <a:pt x="26" y="26"/>
                    </a:lnTo>
                    <a:lnTo>
                      <a:pt x="29" y="22"/>
                    </a:lnTo>
                    <a:lnTo>
                      <a:pt x="32" y="22"/>
                    </a:lnTo>
                    <a:lnTo>
                      <a:pt x="33" y="22"/>
                    </a:lnTo>
                    <a:lnTo>
                      <a:pt x="38" y="22"/>
                    </a:lnTo>
                    <a:lnTo>
                      <a:pt x="45" y="26"/>
                    </a:lnTo>
                    <a:lnTo>
                      <a:pt x="48" y="29"/>
                    </a:lnTo>
                    <a:lnTo>
                      <a:pt x="49" y="29"/>
                    </a:lnTo>
                    <a:lnTo>
                      <a:pt x="54" y="29"/>
                    </a:lnTo>
                    <a:lnTo>
                      <a:pt x="57" y="29"/>
                    </a:lnTo>
                    <a:lnTo>
                      <a:pt x="60" y="30"/>
                    </a:lnTo>
                    <a:lnTo>
                      <a:pt x="60" y="32"/>
                    </a:lnTo>
                    <a:lnTo>
                      <a:pt x="60" y="30"/>
                    </a:lnTo>
                    <a:lnTo>
                      <a:pt x="57" y="29"/>
                    </a:lnTo>
                    <a:lnTo>
                      <a:pt x="57" y="29"/>
                    </a:lnTo>
                    <a:lnTo>
                      <a:pt x="60" y="26"/>
                    </a:lnTo>
                    <a:lnTo>
                      <a:pt x="57" y="22"/>
                    </a:lnTo>
                    <a:lnTo>
                      <a:pt x="57" y="19"/>
                    </a:lnTo>
                    <a:lnTo>
                      <a:pt x="57" y="19"/>
                    </a:lnTo>
                    <a:lnTo>
                      <a:pt x="57" y="18"/>
                    </a:lnTo>
                    <a:lnTo>
                      <a:pt x="57" y="15"/>
                    </a:lnTo>
                    <a:lnTo>
                      <a:pt x="56" y="13"/>
                    </a:lnTo>
                    <a:lnTo>
                      <a:pt x="57" y="10"/>
                    </a:lnTo>
                    <a:lnTo>
                      <a:pt x="57" y="8"/>
                    </a:lnTo>
                    <a:lnTo>
                      <a:pt x="57" y="8"/>
                    </a:lnTo>
                    <a:lnTo>
                      <a:pt x="57" y="8"/>
                    </a:lnTo>
                    <a:lnTo>
                      <a:pt x="57" y="8"/>
                    </a:lnTo>
                    <a:lnTo>
                      <a:pt x="57" y="8"/>
                    </a:lnTo>
                    <a:lnTo>
                      <a:pt x="57" y="8"/>
                    </a:lnTo>
                    <a:lnTo>
                      <a:pt x="57" y="8"/>
                    </a:lnTo>
                    <a:lnTo>
                      <a:pt x="57" y="8"/>
                    </a:lnTo>
                    <a:lnTo>
                      <a:pt x="57" y="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58" name="Freeform 175">
                <a:extLst>
                  <a:ext uri="{FF2B5EF4-FFF2-40B4-BE49-F238E27FC236}">
                    <a16:creationId xmlns:a16="http://schemas.microsoft.com/office/drawing/2014/main" id="{748882D8-A584-17C1-8853-F97605875B16}"/>
                  </a:ext>
                </a:extLst>
              </p:cNvPr>
              <p:cNvSpPr>
                <a:spLocks/>
              </p:cNvSpPr>
              <p:nvPr/>
            </p:nvSpPr>
            <p:spPr bwMode="auto">
              <a:xfrm>
                <a:off x="6318724" y="2221680"/>
                <a:ext cx="134584" cy="78508"/>
              </a:xfrm>
              <a:custGeom>
                <a:avLst/>
                <a:gdLst>
                  <a:gd name="T0" fmla="*/ 59 w 60"/>
                  <a:gd name="T1" fmla="*/ 13 h 35"/>
                  <a:gd name="T2" fmla="*/ 54 w 60"/>
                  <a:gd name="T3" fmla="*/ 10 h 35"/>
                  <a:gd name="T4" fmla="*/ 49 w 60"/>
                  <a:gd name="T5" fmla="*/ 6 h 35"/>
                  <a:gd name="T6" fmla="*/ 44 w 60"/>
                  <a:gd name="T7" fmla="*/ 5 h 35"/>
                  <a:gd name="T8" fmla="*/ 38 w 60"/>
                  <a:gd name="T9" fmla="*/ 0 h 35"/>
                  <a:gd name="T10" fmla="*/ 35 w 60"/>
                  <a:gd name="T11" fmla="*/ 0 h 35"/>
                  <a:gd name="T12" fmla="*/ 25 w 60"/>
                  <a:gd name="T13" fmla="*/ 0 h 35"/>
                  <a:gd name="T14" fmla="*/ 19 w 60"/>
                  <a:gd name="T15" fmla="*/ 0 h 35"/>
                  <a:gd name="T16" fmla="*/ 6 w 60"/>
                  <a:gd name="T17" fmla="*/ 0 h 35"/>
                  <a:gd name="T18" fmla="*/ 1 w 60"/>
                  <a:gd name="T19" fmla="*/ 5 h 35"/>
                  <a:gd name="T20" fmla="*/ 0 w 60"/>
                  <a:gd name="T21" fmla="*/ 6 h 35"/>
                  <a:gd name="T22" fmla="*/ 3 w 60"/>
                  <a:gd name="T23" fmla="*/ 13 h 35"/>
                  <a:gd name="T24" fmla="*/ 6 w 60"/>
                  <a:gd name="T25" fmla="*/ 16 h 35"/>
                  <a:gd name="T26" fmla="*/ 9 w 60"/>
                  <a:gd name="T27" fmla="*/ 18 h 35"/>
                  <a:gd name="T28" fmla="*/ 20 w 60"/>
                  <a:gd name="T29" fmla="*/ 19 h 35"/>
                  <a:gd name="T30" fmla="*/ 22 w 60"/>
                  <a:gd name="T31" fmla="*/ 24 h 35"/>
                  <a:gd name="T32" fmla="*/ 25 w 60"/>
                  <a:gd name="T33" fmla="*/ 32 h 35"/>
                  <a:gd name="T34" fmla="*/ 27 w 60"/>
                  <a:gd name="T35" fmla="*/ 35 h 35"/>
                  <a:gd name="T36" fmla="*/ 28 w 60"/>
                  <a:gd name="T37" fmla="*/ 35 h 35"/>
                  <a:gd name="T38" fmla="*/ 32 w 60"/>
                  <a:gd name="T39" fmla="*/ 35 h 35"/>
                  <a:gd name="T40" fmla="*/ 35 w 60"/>
                  <a:gd name="T41" fmla="*/ 35 h 35"/>
                  <a:gd name="T42" fmla="*/ 38 w 60"/>
                  <a:gd name="T43" fmla="*/ 35 h 35"/>
                  <a:gd name="T44" fmla="*/ 43 w 60"/>
                  <a:gd name="T45" fmla="*/ 32 h 35"/>
                  <a:gd name="T46" fmla="*/ 46 w 60"/>
                  <a:gd name="T47" fmla="*/ 32 h 35"/>
                  <a:gd name="T48" fmla="*/ 49 w 60"/>
                  <a:gd name="T49" fmla="*/ 30 h 35"/>
                  <a:gd name="T50" fmla="*/ 51 w 60"/>
                  <a:gd name="T51" fmla="*/ 32 h 35"/>
                  <a:gd name="T52" fmla="*/ 52 w 60"/>
                  <a:gd name="T53" fmla="*/ 30 h 35"/>
                  <a:gd name="T54" fmla="*/ 49 w 60"/>
                  <a:gd name="T55" fmla="*/ 29 h 35"/>
                  <a:gd name="T56" fmla="*/ 52 w 60"/>
                  <a:gd name="T57" fmla="*/ 24 h 35"/>
                  <a:gd name="T58" fmla="*/ 52 w 60"/>
                  <a:gd name="T59" fmla="*/ 22 h 35"/>
                  <a:gd name="T60" fmla="*/ 57 w 60"/>
                  <a:gd name="T61" fmla="*/ 19 h 35"/>
                  <a:gd name="T62" fmla="*/ 60 w 60"/>
                  <a:gd name="T63" fmla="*/ 18 h 35"/>
                  <a:gd name="T64" fmla="*/ 57 w 60"/>
                  <a:gd name="T65" fmla="*/ 14 h 35"/>
                  <a:gd name="T66" fmla="*/ 57 w 60"/>
                  <a:gd name="T67" fmla="*/ 14 h 35"/>
                  <a:gd name="T68" fmla="*/ 57 w 60"/>
                  <a:gd name="T69" fmla="*/ 14 h 35"/>
                  <a:gd name="T70" fmla="*/ 57 w 60"/>
                  <a:gd name="T71" fmla="*/ 14 h 35"/>
                  <a:gd name="T72" fmla="*/ 57 w 60"/>
                  <a:gd name="T73" fmla="*/ 1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35">
                    <a:moveTo>
                      <a:pt x="57" y="14"/>
                    </a:moveTo>
                    <a:lnTo>
                      <a:pt x="59" y="13"/>
                    </a:lnTo>
                    <a:lnTo>
                      <a:pt x="60" y="10"/>
                    </a:lnTo>
                    <a:lnTo>
                      <a:pt x="54" y="10"/>
                    </a:lnTo>
                    <a:lnTo>
                      <a:pt x="52" y="8"/>
                    </a:lnTo>
                    <a:lnTo>
                      <a:pt x="49" y="6"/>
                    </a:lnTo>
                    <a:lnTo>
                      <a:pt x="47" y="5"/>
                    </a:lnTo>
                    <a:lnTo>
                      <a:pt x="44" y="5"/>
                    </a:lnTo>
                    <a:lnTo>
                      <a:pt x="43" y="3"/>
                    </a:lnTo>
                    <a:lnTo>
                      <a:pt x="38" y="0"/>
                    </a:lnTo>
                    <a:lnTo>
                      <a:pt x="38" y="0"/>
                    </a:lnTo>
                    <a:lnTo>
                      <a:pt x="35" y="0"/>
                    </a:lnTo>
                    <a:lnTo>
                      <a:pt x="32" y="3"/>
                    </a:lnTo>
                    <a:lnTo>
                      <a:pt x="25" y="0"/>
                    </a:lnTo>
                    <a:lnTo>
                      <a:pt x="22" y="0"/>
                    </a:lnTo>
                    <a:lnTo>
                      <a:pt x="19" y="0"/>
                    </a:lnTo>
                    <a:lnTo>
                      <a:pt x="12" y="0"/>
                    </a:lnTo>
                    <a:lnTo>
                      <a:pt x="6" y="0"/>
                    </a:lnTo>
                    <a:lnTo>
                      <a:pt x="3" y="3"/>
                    </a:lnTo>
                    <a:lnTo>
                      <a:pt x="1" y="5"/>
                    </a:lnTo>
                    <a:lnTo>
                      <a:pt x="0" y="5"/>
                    </a:lnTo>
                    <a:lnTo>
                      <a:pt x="0" y="6"/>
                    </a:lnTo>
                    <a:lnTo>
                      <a:pt x="1" y="11"/>
                    </a:lnTo>
                    <a:lnTo>
                      <a:pt x="3" y="13"/>
                    </a:lnTo>
                    <a:lnTo>
                      <a:pt x="3" y="16"/>
                    </a:lnTo>
                    <a:lnTo>
                      <a:pt x="6" y="16"/>
                    </a:lnTo>
                    <a:lnTo>
                      <a:pt x="6" y="16"/>
                    </a:lnTo>
                    <a:lnTo>
                      <a:pt x="9" y="18"/>
                    </a:lnTo>
                    <a:lnTo>
                      <a:pt x="16" y="19"/>
                    </a:lnTo>
                    <a:lnTo>
                      <a:pt x="20" y="19"/>
                    </a:lnTo>
                    <a:lnTo>
                      <a:pt x="24" y="22"/>
                    </a:lnTo>
                    <a:lnTo>
                      <a:pt x="22" y="24"/>
                    </a:lnTo>
                    <a:lnTo>
                      <a:pt x="24" y="30"/>
                    </a:lnTo>
                    <a:lnTo>
                      <a:pt x="25" y="32"/>
                    </a:lnTo>
                    <a:lnTo>
                      <a:pt x="27" y="35"/>
                    </a:lnTo>
                    <a:lnTo>
                      <a:pt x="27" y="35"/>
                    </a:lnTo>
                    <a:lnTo>
                      <a:pt x="28" y="35"/>
                    </a:lnTo>
                    <a:lnTo>
                      <a:pt x="28" y="35"/>
                    </a:lnTo>
                    <a:lnTo>
                      <a:pt x="30" y="35"/>
                    </a:lnTo>
                    <a:lnTo>
                      <a:pt x="32" y="35"/>
                    </a:lnTo>
                    <a:lnTo>
                      <a:pt x="35" y="35"/>
                    </a:lnTo>
                    <a:lnTo>
                      <a:pt x="35" y="35"/>
                    </a:lnTo>
                    <a:lnTo>
                      <a:pt x="38" y="35"/>
                    </a:lnTo>
                    <a:lnTo>
                      <a:pt x="38" y="35"/>
                    </a:lnTo>
                    <a:lnTo>
                      <a:pt x="41" y="32"/>
                    </a:lnTo>
                    <a:lnTo>
                      <a:pt x="43" y="32"/>
                    </a:lnTo>
                    <a:lnTo>
                      <a:pt x="44" y="32"/>
                    </a:lnTo>
                    <a:lnTo>
                      <a:pt x="46" y="32"/>
                    </a:lnTo>
                    <a:lnTo>
                      <a:pt x="47" y="30"/>
                    </a:lnTo>
                    <a:lnTo>
                      <a:pt x="49" y="30"/>
                    </a:lnTo>
                    <a:lnTo>
                      <a:pt x="51" y="30"/>
                    </a:lnTo>
                    <a:lnTo>
                      <a:pt x="51" y="32"/>
                    </a:lnTo>
                    <a:lnTo>
                      <a:pt x="52" y="32"/>
                    </a:lnTo>
                    <a:lnTo>
                      <a:pt x="52" y="30"/>
                    </a:lnTo>
                    <a:lnTo>
                      <a:pt x="51" y="29"/>
                    </a:lnTo>
                    <a:lnTo>
                      <a:pt x="49" y="29"/>
                    </a:lnTo>
                    <a:lnTo>
                      <a:pt x="51" y="27"/>
                    </a:lnTo>
                    <a:lnTo>
                      <a:pt x="52" y="24"/>
                    </a:lnTo>
                    <a:lnTo>
                      <a:pt x="52" y="22"/>
                    </a:lnTo>
                    <a:lnTo>
                      <a:pt x="52" y="22"/>
                    </a:lnTo>
                    <a:lnTo>
                      <a:pt x="54" y="21"/>
                    </a:lnTo>
                    <a:lnTo>
                      <a:pt x="57" y="19"/>
                    </a:lnTo>
                    <a:lnTo>
                      <a:pt x="57" y="18"/>
                    </a:lnTo>
                    <a:lnTo>
                      <a:pt x="60" y="18"/>
                    </a:lnTo>
                    <a:lnTo>
                      <a:pt x="60" y="16"/>
                    </a:lnTo>
                    <a:lnTo>
                      <a:pt x="57" y="14"/>
                    </a:lnTo>
                    <a:lnTo>
                      <a:pt x="57" y="14"/>
                    </a:lnTo>
                    <a:lnTo>
                      <a:pt x="57" y="14"/>
                    </a:lnTo>
                    <a:lnTo>
                      <a:pt x="57" y="14"/>
                    </a:lnTo>
                    <a:lnTo>
                      <a:pt x="57" y="14"/>
                    </a:lnTo>
                    <a:lnTo>
                      <a:pt x="57" y="14"/>
                    </a:lnTo>
                    <a:lnTo>
                      <a:pt x="57" y="14"/>
                    </a:lnTo>
                    <a:lnTo>
                      <a:pt x="57" y="14"/>
                    </a:lnTo>
                    <a:lnTo>
                      <a:pt x="57" y="1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59" name="Freeform 207">
                <a:extLst>
                  <a:ext uri="{FF2B5EF4-FFF2-40B4-BE49-F238E27FC236}">
                    <a16:creationId xmlns:a16="http://schemas.microsoft.com/office/drawing/2014/main" id="{8303B186-18F7-EC42-FAEC-AD43BFD9BABE}"/>
                  </a:ext>
                </a:extLst>
              </p:cNvPr>
              <p:cNvSpPr>
                <a:spLocks/>
              </p:cNvSpPr>
              <p:nvPr/>
            </p:nvSpPr>
            <p:spPr bwMode="auto">
              <a:xfrm>
                <a:off x="6314237" y="2174575"/>
                <a:ext cx="170474" cy="69536"/>
              </a:xfrm>
              <a:custGeom>
                <a:avLst/>
                <a:gdLst>
                  <a:gd name="T0" fmla="*/ 5 w 76"/>
                  <a:gd name="T1" fmla="*/ 24 h 31"/>
                  <a:gd name="T2" fmla="*/ 14 w 76"/>
                  <a:gd name="T3" fmla="*/ 23 h 31"/>
                  <a:gd name="T4" fmla="*/ 24 w 76"/>
                  <a:gd name="T5" fmla="*/ 23 h 31"/>
                  <a:gd name="T6" fmla="*/ 34 w 76"/>
                  <a:gd name="T7" fmla="*/ 24 h 31"/>
                  <a:gd name="T8" fmla="*/ 40 w 76"/>
                  <a:gd name="T9" fmla="*/ 23 h 31"/>
                  <a:gd name="T10" fmla="*/ 43 w 76"/>
                  <a:gd name="T11" fmla="*/ 24 h 31"/>
                  <a:gd name="T12" fmla="*/ 48 w 76"/>
                  <a:gd name="T13" fmla="*/ 26 h 31"/>
                  <a:gd name="T14" fmla="*/ 53 w 76"/>
                  <a:gd name="T15" fmla="*/ 29 h 31"/>
                  <a:gd name="T16" fmla="*/ 61 w 76"/>
                  <a:gd name="T17" fmla="*/ 31 h 31"/>
                  <a:gd name="T18" fmla="*/ 68 w 76"/>
                  <a:gd name="T19" fmla="*/ 31 h 31"/>
                  <a:gd name="T20" fmla="*/ 72 w 76"/>
                  <a:gd name="T21" fmla="*/ 29 h 31"/>
                  <a:gd name="T22" fmla="*/ 75 w 76"/>
                  <a:gd name="T23" fmla="*/ 26 h 31"/>
                  <a:gd name="T24" fmla="*/ 76 w 76"/>
                  <a:gd name="T25" fmla="*/ 26 h 31"/>
                  <a:gd name="T26" fmla="*/ 75 w 76"/>
                  <a:gd name="T27" fmla="*/ 21 h 31"/>
                  <a:gd name="T28" fmla="*/ 72 w 76"/>
                  <a:gd name="T29" fmla="*/ 16 h 31"/>
                  <a:gd name="T30" fmla="*/ 68 w 76"/>
                  <a:gd name="T31" fmla="*/ 15 h 31"/>
                  <a:gd name="T32" fmla="*/ 68 w 76"/>
                  <a:gd name="T33" fmla="*/ 10 h 31"/>
                  <a:gd name="T34" fmla="*/ 65 w 76"/>
                  <a:gd name="T35" fmla="*/ 7 h 31"/>
                  <a:gd name="T36" fmla="*/ 57 w 76"/>
                  <a:gd name="T37" fmla="*/ 7 h 31"/>
                  <a:gd name="T38" fmla="*/ 53 w 76"/>
                  <a:gd name="T39" fmla="*/ 4 h 31"/>
                  <a:gd name="T40" fmla="*/ 41 w 76"/>
                  <a:gd name="T41" fmla="*/ 0 h 31"/>
                  <a:gd name="T42" fmla="*/ 37 w 76"/>
                  <a:gd name="T43" fmla="*/ 0 h 31"/>
                  <a:gd name="T44" fmla="*/ 34 w 76"/>
                  <a:gd name="T45" fmla="*/ 7 h 31"/>
                  <a:gd name="T46" fmla="*/ 34 w 76"/>
                  <a:gd name="T47" fmla="*/ 10 h 31"/>
                  <a:gd name="T48" fmla="*/ 29 w 76"/>
                  <a:gd name="T49" fmla="*/ 13 h 31"/>
                  <a:gd name="T50" fmla="*/ 22 w 76"/>
                  <a:gd name="T51" fmla="*/ 12 h 31"/>
                  <a:gd name="T52" fmla="*/ 14 w 76"/>
                  <a:gd name="T53" fmla="*/ 4 h 31"/>
                  <a:gd name="T54" fmla="*/ 11 w 76"/>
                  <a:gd name="T55" fmla="*/ 4 h 31"/>
                  <a:gd name="T56" fmla="*/ 5 w 76"/>
                  <a:gd name="T57" fmla="*/ 7 h 31"/>
                  <a:gd name="T58" fmla="*/ 3 w 76"/>
                  <a:gd name="T59" fmla="*/ 13 h 31"/>
                  <a:gd name="T60" fmla="*/ 0 w 76"/>
                  <a:gd name="T61" fmla="*/ 18 h 31"/>
                  <a:gd name="T62" fmla="*/ 0 w 76"/>
                  <a:gd name="T63" fmla="*/ 23 h 31"/>
                  <a:gd name="T64" fmla="*/ 0 w 76"/>
                  <a:gd name="T65" fmla="*/ 26 h 31"/>
                  <a:gd name="T66" fmla="*/ 2 w 76"/>
                  <a:gd name="T67" fmla="*/ 26 h 31"/>
                  <a:gd name="T68" fmla="*/ 3 w 76"/>
                  <a:gd name="T69" fmla="*/ 26 h 31"/>
                  <a:gd name="T70" fmla="*/ 3 w 76"/>
                  <a:gd name="T71" fmla="*/ 26 h 31"/>
                  <a:gd name="T72" fmla="*/ 3 w 76"/>
                  <a:gd name="T73" fmla="*/ 26 h 31"/>
                  <a:gd name="T74" fmla="*/ 3 w 76"/>
                  <a:gd name="T75" fmla="*/ 2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 h="31">
                    <a:moveTo>
                      <a:pt x="3" y="26"/>
                    </a:moveTo>
                    <a:lnTo>
                      <a:pt x="5" y="24"/>
                    </a:lnTo>
                    <a:lnTo>
                      <a:pt x="8" y="23"/>
                    </a:lnTo>
                    <a:lnTo>
                      <a:pt x="14" y="23"/>
                    </a:lnTo>
                    <a:lnTo>
                      <a:pt x="21" y="23"/>
                    </a:lnTo>
                    <a:lnTo>
                      <a:pt x="24" y="23"/>
                    </a:lnTo>
                    <a:lnTo>
                      <a:pt x="27" y="23"/>
                    </a:lnTo>
                    <a:lnTo>
                      <a:pt x="34" y="24"/>
                    </a:lnTo>
                    <a:lnTo>
                      <a:pt x="37" y="23"/>
                    </a:lnTo>
                    <a:lnTo>
                      <a:pt x="40" y="23"/>
                    </a:lnTo>
                    <a:lnTo>
                      <a:pt x="40" y="23"/>
                    </a:lnTo>
                    <a:lnTo>
                      <a:pt x="43" y="24"/>
                    </a:lnTo>
                    <a:lnTo>
                      <a:pt x="45" y="26"/>
                    </a:lnTo>
                    <a:lnTo>
                      <a:pt x="48" y="26"/>
                    </a:lnTo>
                    <a:lnTo>
                      <a:pt x="49" y="27"/>
                    </a:lnTo>
                    <a:lnTo>
                      <a:pt x="53" y="29"/>
                    </a:lnTo>
                    <a:lnTo>
                      <a:pt x="56" y="31"/>
                    </a:lnTo>
                    <a:lnTo>
                      <a:pt x="61" y="31"/>
                    </a:lnTo>
                    <a:lnTo>
                      <a:pt x="64" y="31"/>
                    </a:lnTo>
                    <a:lnTo>
                      <a:pt x="68" y="31"/>
                    </a:lnTo>
                    <a:lnTo>
                      <a:pt x="68" y="31"/>
                    </a:lnTo>
                    <a:lnTo>
                      <a:pt x="72" y="29"/>
                    </a:lnTo>
                    <a:lnTo>
                      <a:pt x="75" y="26"/>
                    </a:lnTo>
                    <a:lnTo>
                      <a:pt x="75" y="26"/>
                    </a:lnTo>
                    <a:lnTo>
                      <a:pt x="76" y="26"/>
                    </a:lnTo>
                    <a:lnTo>
                      <a:pt x="76" y="26"/>
                    </a:lnTo>
                    <a:lnTo>
                      <a:pt x="75" y="24"/>
                    </a:lnTo>
                    <a:lnTo>
                      <a:pt x="75" y="21"/>
                    </a:lnTo>
                    <a:lnTo>
                      <a:pt x="72" y="18"/>
                    </a:lnTo>
                    <a:lnTo>
                      <a:pt x="72" y="16"/>
                    </a:lnTo>
                    <a:lnTo>
                      <a:pt x="68" y="16"/>
                    </a:lnTo>
                    <a:lnTo>
                      <a:pt x="68" y="15"/>
                    </a:lnTo>
                    <a:lnTo>
                      <a:pt x="68" y="12"/>
                    </a:lnTo>
                    <a:lnTo>
                      <a:pt x="68" y="10"/>
                    </a:lnTo>
                    <a:lnTo>
                      <a:pt x="68" y="8"/>
                    </a:lnTo>
                    <a:lnTo>
                      <a:pt x="65" y="7"/>
                    </a:lnTo>
                    <a:lnTo>
                      <a:pt x="62" y="7"/>
                    </a:lnTo>
                    <a:lnTo>
                      <a:pt x="57" y="7"/>
                    </a:lnTo>
                    <a:lnTo>
                      <a:pt x="56" y="7"/>
                    </a:lnTo>
                    <a:lnTo>
                      <a:pt x="53" y="4"/>
                    </a:lnTo>
                    <a:lnTo>
                      <a:pt x="46" y="0"/>
                    </a:lnTo>
                    <a:lnTo>
                      <a:pt x="41" y="0"/>
                    </a:lnTo>
                    <a:lnTo>
                      <a:pt x="40" y="0"/>
                    </a:lnTo>
                    <a:lnTo>
                      <a:pt x="37" y="0"/>
                    </a:lnTo>
                    <a:lnTo>
                      <a:pt x="34" y="4"/>
                    </a:lnTo>
                    <a:lnTo>
                      <a:pt x="34" y="7"/>
                    </a:lnTo>
                    <a:lnTo>
                      <a:pt x="34" y="8"/>
                    </a:lnTo>
                    <a:lnTo>
                      <a:pt x="34" y="10"/>
                    </a:lnTo>
                    <a:lnTo>
                      <a:pt x="30" y="12"/>
                    </a:lnTo>
                    <a:lnTo>
                      <a:pt x="29" y="13"/>
                    </a:lnTo>
                    <a:lnTo>
                      <a:pt x="26" y="13"/>
                    </a:lnTo>
                    <a:lnTo>
                      <a:pt x="22" y="12"/>
                    </a:lnTo>
                    <a:lnTo>
                      <a:pt x="19" y="8"/>
                    </a:lnTo>
                    <a:lnTo>
                      <a:pt x="14" y="4"/>
                    </a:lnTo>
                    <a:lnTo>
                      <a:pt x="13" y="4"/>
                    </a:lnTo>
                    <a:lnTo>
                      <a:pt x="11" y="4"/>
                    </a:lnTo>
                    <a:lnTo>
                      <a:pt x="8" y="7"/>
                    </a:lnTo>
                    <a:lnTo>
                      <a:pt x="5" y="7"/>
                    </a:lnTo>
                    <a:lnTo>
                      <a:pt x="5" y="10"/>
                    </a:lnTo>
                    <a:lnTo>
                      <a:pt x="3" y="13"/>
                    </a:lnTo>
                    <a:lnTo>
                      <a:pt x="2" y="16"/>
                    </a:lnTo>
                    <a:lnTo>
                      <a:pt x="0" y="18"/>
                    </a:lnTo>
                    <a:lnTo>
                      <a:pt x="0" y="21"/>
                    </a:lnTo>
                    <a:lnTo>
                      <a:pt x="0" y="23"/>
                    </a:lnTo>
                    <a:lnTo>
                      <a:pt x="0" y="24"/>
                    </a:lnTo>
                    <a:lnTo>
                      <a:pt x="0" y="26"/>
                    </a:lnTo>
                    <a:lnTo>
                      <a:pt x="2" y="27"/>
                    </a:lnTo>
                    <a:lnTo>
                      <a:pt x="2" y="26"/>
                    </a:lnTo>
                    <a:lnTo>
                      <a:pt x="3" y="26"/>
                    </a:lnTo>
                    <a:lnTo>
                      <a:pt x="3" y="26"/>
                    </a:lnTo>
                    <a:lnTo>
                      <a:pt x="3" y="26"/>
                    </a:lnTo>
                    <a:lnTo>
                      <a:pt x="3" y="26"/>
                    </a:lnTo>
                    <a:lnTo>
                      <a:pt x="3" y="26"/>
                    </a:lnTo>
                    <a:lnTo>
                      <a:pt x="3" y="26"/>
                    </a:lnTo>
                    <a:lnTo>
                      <a:pt x="3" y="26"/>
                    </a:lnTo>
                    <a:lnTo>
                      <a:pt x="3" y="26"/>
                    </a:lnTo>
                    <a:lnTo>
                      <a:pt x="3" y="26"/>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60" name="Freeform 76">
                <a:extLst>
                  <a:ext uri="{FF2B5EF4-FFF2-40B4-BE49-F238E27FC236}">
                    <a16:creationId xmlns:a16="http://schemas.microsoft.com/office/drawing/2014/main" id="{234C1FFE-ACF7-ABD5-88CF-6FD630E16261}"/>
                  </a:ext>
                </a:extLst>
              </p:cNvPr>
              <p:cNvSpPr>
                <a:spLocks/>
              </p:cNvSpPr>
              <p:nvPr/>
            </p:nvSpPr>
            <p:spPr bwMode="auto">
              <a:xfrm>
                <a:off x="6379288" y="2232895"/>
                <a:ext cx="226550" cy="145800"/>
              </a:xfrm>
              <a:custGeom>
                <a:avLst/>
                <a:gdLst>
                  <a:gd name="T0" fmla="*/ 5 w 101"/>
                  <a:gd name="T1" fmla="*/ 41 h 65"/>
                  <a:gd name="T2" fmla="*/ 5 w 101"/>
                  <a:gd name="T3" fmla="*/ 47 h 65"/>
                  <a:gd name="T4" fmla="*/ 0 w 101"/>
                  <a:gd name="T5" fmla="*/ 54 h 65"/>
                  <a:gd name="T6" fmla="*/ 5 w 101"/>
                  <a:gd name="T7" fmla="*/ 59 h 65"/>
                  <a:gd name="T8" fmla="*/ 5 w 101"/>
                  <a:gd name="T9" fmla="*/ 62 h 65"/>
                  <a:gd name="T10" fmla="*/ 11 w 101"/>
                  <a:gd name="T11" fmla="*/ 59 h 65"/>
                  <a:gd name="T12" fmla="*/ 27 w 101"/>
                  <a:gd name="T13" fmla="*/ 57 h 65"/>
                  <a:gd name="T14" fmla="*/ 39 w 101"/>
                  <a:gd name="T15" fmla="*/ 59 h 65"/>
                  <a:gd name="T16" fmla="*/ 46 w 101"/>
                  <a:gd name="T17" fmla="*/ 62 h 65"/>
                  <a:gd name="T18" fmla="*/ 51 w 101"/>
                  <a:gd name="T19" fmla="*/ 62 h 65"/>
                  <a:gd name="T20" fmla="*/ 59 w 101"/>
                  <a:gd name="T21" fmla="*/ 62 h 65"/>
                  <a:gd name="T22" fmla="*/ 62 w 101"/>
                  <a:gd name="T23" fmla="*/ 62 h 65"/>
                  <a:gd name="T24" fmla="*/ 68 w 101"/>
                  <a:gd name="T25" fmla="*/ 65 h 65"/>
                  <a:gd name="T26" fmla="*/ 74 w 101"/>
                  <a:gd name="T27" fmla="*/ 62 h 65"/>
                  <a:gd name="T28" fmla="*/ 81 w 101"/>
                  <a:gd name="T29" fmla="*/ 65 h 65"/>
                  <a:gd name="T30" fmla="*/ 81 w 101"/>
                  <a:gd name="T31" fmla="*/ 62 h 65"/>
                  <a:gd name="T32" fmla="*/ 84 w 101"/>
                  <a:gd name="T33" fmla="*/ 55 h 65"/>
                  <a:gd name="T34" fmla="*/ 93 w 101"/>
                  <a:gd name="T35" fmla="*/ 55 h 65"/>
                  <a:gd name="T36" fmla="*/ 89 w 101"/>
                  <a:gd name="T37" fmla="*/ 47 h 65"/>
                  <a:gd name="T38" fmla="*/ 86 w 101"/>
                  <a:gd name="T39" fmla="*/ 41 h 65"/>
                  <a:gd name="T40" fmla="*/ 90 w 101"/>
                  <a:gd name="T41" fmla="*/ 40 h 65"/>
                  <a:gd name="T42" fmla="*/ 101 w 101"/>
                  <a:gd name="T43" fmla="*/ 36 h 65"/>
                  <a:gd name="T44" fmla="*/ 97 w 101"/>
                  <a:gd name="T45" fmla="*/ 33 h 65"/>
                  <a:gd name="T46" fmla="*/ 89 w 101"/>
                  <a:gd name="T47" fmla="*/ 30 h 65"/>
                  <a:gd name="T48" fmla="*/ 86 w 101"/>
                  <a:gd name="T49" fmla="*/ 27 h 65"/>
                  <a:gd name="T50" fmla="*/ 78 w 101"/>
                  <a:gd name="T51" fmla="*/ 19 h 65"/>
                  <a:gd name="T52" fmla="*/ 78 w 101"/>
                  <a:gd name="T53" fmla="*/ 13 h 65"/>
                  <a:gd name="T54" fmla="*/ 78 w 101"/>
                  <a:gd name="T55" fmla="*/ 6 h 65"/>
                  <a:gd name="T56" fmla="*/ 65 w 101"/>
                  <a:gd name="T57" fmla="*/ 5 h 65"/>
                  <a:gd name="T58" fmla="*/ 60 w 101"/>
                  <a:gd name="T59" fmla="*/ 3 h 65"/>
                  <a:gd name="T60" fmla="*/ 54 w 101"/>
                  <a:gd name="T61" fmla="*/ 1 h 65"/>
                  <a:gd name="T62" fmla="*/ 49 w 101"/>
                  <a:gd name="T63" fmla="*/ 1 h 65"/>
                  <a:gd name="T64" fmla="*/ 46 w 101"/>
                  <a:gd name="T65" fmla="*/ 0 h 65"/>
                  <a:gd name="T66" fmla="*/ 39 w 101"/>
                  <a:gd name="T67" fmla="*/ 5 h 65"/>
                  <a:gd name="T68" fmla="*/ 32 w 101"/>
                  <a:gd name="T69" fmla="*/ 5 h 65"/>
                  <a:gd name="T70" fmla="*/ 33 w 101"/>
                  <a:gd name="T71" fmla="*/ 11 h 65"/>
                  <a:gd name="T72" fmla="*/ 28 w 101"/>
                  <a:gd name="T73" fmla="*/ 14 h 65"/>
                  <a:gd name="T74" fmla="*/ 24 w 101"/>
                  <a:gd name="T75" fmla="*/ 17 h 65"/>
                  <a:gd name="T76" fmla="*/ 20 w 101"/>
                  <a:gd name="T77" fmla="*/ 24 h 65"/>
                  <a:gd name="T78" fmla="*/ 24 w 101"/>
                  <a:gd name="T79" fmla="*/ 27 h 65"/>
                  <a:gd name="T80" fmla="*/ 20 w 101"/>
                  <a:gd name="T81" fmla="*/ 25 h 65"/>
                  <a:gd name="T82" fmla="*/ 16 w 101"/>
                  <a:gd name="T83" fmla="*/ 27 h 65"/>
                  <a:gd name="T84" fmla="*/ 11 w 101"/>
                  <a:gd name="T85" fmla="*/ 30 h 65"/>
                  <a:gd name="T86" fmla="*/ 8 w 101"/>
                  <a:gd name="T87" fmla="*/ 30 h 65"/>
                  <a:gd name="T88" fmla="*/ 1 w 101"/>
                  <a:gd name="T89" fmla="*/ 30 h 65"/>
                  <a:gd name="T90" fmla="*/ 1 w 101"/>
                  <a:gd name="T91" fmla="*/ 33 h 65"/>
                  <a:gd name="T92" fmla="*/ 1 w 101"/>
                  <a:gd name="T93" fmla="*/ 33 h 65"/>
                  <a:gd name="T94" fmla="*/ 1 w 101"/>
                  <a:gd name="T95"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1" h="65">
                    <a:moveTo>
                      <a:pt x="1" y="33"/>
                    </a:moveTo>
                    <a:lnTo>
                      <a:pt x="5" y="38"/>
                    </a:lnTo>
                    <a:lnTo>
                      <a:pt x="5" y="41"/>
                    </a:lnTo>
                    <a:lnTo>
                      <a:pt x="5" y="46"/>
                    </a:lnTo>
                    <a:lnTo>
                      <a:pt x="5" y="47"/>
                    </a:lnTo>
                    <a:lnTo>
                      <a:pt x="5" y="47"/>
                    </a:lnTo>
                    <a:lnTo>
                      <a:pt x="1" y="49"/>
                    </a:lnTo>
                    <a:lnTo>
                      <a:pt x="0" y="52"/>
                    </a:lnTo>
                    <a:lnTo>
                      <a:pt x="0" y="54"/>
                    </a:lnTo>
                    <a:lnTo>
                      <a:pt x="1" y="54"/>
                    </a:lnTo>
                    <a:lnTo>
                      <a:pt x="5" y="55"/>
                    </a:lnTo>
                    <a:lnTo>
                      <a:pt x="5" y="59"/>
                    </a:lnTo>
                    <a:lnTo>
                      <a:pt x="5" y="59"/>
                    </a:lnTo>
                    <a:lnTo>
                      <a:pt x="5" y="60"/>
                    </a:lnTo>
                    <a:lnTo>
                      <a:pt x="5" y="62"/>
                    </a:lnTo>
                    <a:lnTo>
                      <a:pt x="5" y="62"/>
                    </a:lnTo>
                    <a:lnTo>
                      <a:pt x="8" y="62"/>
                    </a:lnTo>
                    <a:lnTo>
                      <a:pt x="11" y="59"/>
                    </a:lnTo>
                    <a:lnTo>
                      <a:pt x="14" y="57"/>
                    </a:lnTo>
                    <a:lnTo>
                      <a:pt x="17" y="57"/>
                    </a:lnTo>
                    <a:lnTo>
                      <a:pt x="27" y="57"/>
                    </a:lnTo>
                    <a:lnTo>
                      <a:pt x="32" y="57"/>
                    </a:lnTo>
                    <a:lnTo>
                      <a:pt x="36" y="59"/>
                    </a:lnTo>
                    <a:lnTo>
                      <a:pt x="39" y="59"/>
                    </a:lnTo>
                    <a:lnTo>
                      <a:pt x="43" y="60"/>
                    </a:lnTo>
                    <a:lnTo>
                      <a:pt x="43" y="62"/>
                    </a:lnTo>
                    <a:lnTo>
                      <a:pt x="46" y="62"/>
                    </a:lnTo>
                    <a:lnTo>
                      <a:pt x="47" y="62"/>
                    </a:lnTo>
                    <a:lnTo>
                      <a:pt x="49" y="62"/>
                    </a:lnTo>
                    <a:lnTo>
                      <a:pt x="51" y="62"/>
                    </a:lnTo>
                    <a:lnTo>
                      <a:pt x="52" y="62"/>
                    </a:lnTo>
                    <a:lnTo>
                      <a:pt x="55" y="62"/>
                    </a:lnTo>
                    <a:lnTo>
                      <a:pt x="59" y="62"/>
                    </a:lnTo>
                    <a:lnTo>
                      <a:pt x="60" y="65"/>
                    </a:lnTo>
                    <a:lnTo>
                      <a:pt x="60" y="62"/>
                    </a:lnTo>
                    <a:lnTo>
                      <a:pt x="62" y="62"/>
                    </a:lnTo>
                    <a:lnTo>
                      <a:pt x="65" y="62"/>
                    </a:lnTo>
                    <a:lnTo>
                      <a:pt x="66" y="65"/>
                    </a:lnTo>
                    <a:lnTo>
                      <a:pt x="68" y="65"/>
                    </a:lnTo>
                    <a:lnTo>
                      <a:pt x="70" y="65"/>
                    </a:lnTo>
                    <a:lnTo>
                      <a:pt x="71" y="62"/>
                    </a:lnTo>
                    <a:lnTo>
                      <a:pt x="74" y="62"/>
                    </a:lnTo>
                    <a:lnTo>
                      <a:pt x="74" y="62"/>
                    </a:lnTo>
                    <a:lnTo>
                      <a:pt x="78" y="65"/>
                    </a:lnTo>
                    <a:lnTo>
                      <a:pt x="81" y="65"/>
                    </a:lnTo>
                    <a:lnTo>
                      <a:pt x="81" y="65"/>
                    </a:lnTo>
                    <a:lnTo>
                      <a:pt x="81" y="62"/>
                    </a:lnTo>
                    <a:lnTo>
                      <a:pt x="81" y="62"/>
                    </a:lnTo>
                    <a:lnTo>
                      <a:pt x="81" y="59"/>
                    </a:lnTo>
                    <a:lnTo>
                      <a:pt x="82" y="55"/>
                    </a:lnTo>
                    <a:lnTo>
                      <a:pt x="84" y="55"/>
                    </a:lnTo>
                    <a:lnTo>
                      <a:pt x="86" y="55"/>
                    </a:lnTo>
                    <a:lnTo>
                      <a:pt x="89" y="55"/>
                    </a:lnTo>
                    <a:lnTo>
                      <a:pt x="93" y="55"/>
                    </a:lnTo>
                    <a:lnTo>
                      <a:pt x="92" y="54"/>
                    </a:lnTo>
                    <a:lnTo>
                      <a:pt x="90" y="52"/>
                    </a:lnTo>
                    <a:lnTo>
                      <a:pt x="89" y="47"/>
                    </a:lnTo>
                    <a:lnTo>
                      <a:pt x="89" y="46"/>
                    </a:lnTo>
                    <a:lnTo>
                      <a:pt x="87" y="44"/>
                    </a:lnTo>
                    <a:lnTo>
                      <a:pt x="86" y="41"/>
                    </a:lnTo>
                    <a:lnTo>
                      <a:pt x="86" y="40"/>
                    </a:lnTo>
                    <a:lnTo>
                      <a:pt x="87" y="40"/>
                    </a:lnTo>
                    <a:lnTo>
                      <a:pt x="90" y="40"/>
                    </a:lnTo>
                    <a:lnTo>
                      <a:pt x="95" y="40"/>
                    </a:lnTo>
                    <a:lnTo>
                      <a:pt x="98" y="38"/>
                    </a:lnTo>
                    <a:lnTo>
                      <a:pt x="101" y="36"/>
                    </a:lnTo>
                    <a:lnTo>
                      <a:pt x="100" y="36"/>
                    </a:lnTo>
                    <a:lnTo>
                      <a:pt x="97" y="33"/>
                    </a:lnTo>
                    <a:lnTo>
                      <a:pt x="97" y="33"/>
                    </a:lnTo>
                    <a:lnTo>
                      <a:pt x="95" y="30"/>
                    </a:lnTo>
                    <a:lnTo>
                      <a:pt x="90" y="30"/>
                    </a:lnTo>
                    <a:lnTo>
                      <a:pt x="89" y="30"/>
                    </a:lnTo>
                    <a:lnTo>
                      <a:pt x="89" y="27"/>
                    </a:lnTo>
                    <a:lnTo>
                      <a:pt x="87" y="27"/>
                    </a:lnTo>
                    <a:lnTo>
                      <a:pt x="86" y="27"/>
                    </a:lnTo>
                    <a:lnTo>
                      <a:pt x="82" y="25"/>
                    </a:lnTo>
                    <a:lnTo>
                      <a:pt x="81" y="22"/>
                    </a:lnTo>
                    <a:lnTo>
                      <a:pt x="78" y="19"/>
                    </a:lnTo>
                    <a:lnTo>
                      <a:pt x="78" y="17"/>
                    </a:lnTo>
                    <a:lnTo>
                      <a:pt x="78" y="16"/>
                    </a:lnTo>
                    <a:lnTo>
                      <a:pt x="78" y="13"/>
                    </a:lnTo>
                    <a:lnTo>
                      <a:pt x="78" y="11"/>
                    </a:lnTo>
                    <a:lnTo>
                      <a:pt x="78" y="9"/>
                    </a:lnTo>
                    <a:lnTo>
                      <a:pt x="78" y="6"/>
                    </a:lnTo>
                    <a:lnTo>
                      <a:pt x="74" y="5"/>
                    </a:lnTo>
                    <a:lnTo>
                      <a:pt x="70" y="5"/>
                    </a:lnTo>
                    <a:lnTo>
                      <a:pt x="65" y="5"/>
                    </a:lnTo>
                    <a:lnTo>
                      <a:pt x="62" y="5"/>
                    </a:lnTo>
                    <a:lnTo>
                      <a:pt x="60" y="5"/>
                    </a:lnTo>
                    <a:lnTo>
                      <a:pt x="60" y="3"/>
                    </a:lnTo>
                    <a:lnTo>
                      <a:pt x="59" y="1"/>
                    </a:lnTo>
                    <a:lnTo>
                      <a:pt x="55" y="1"/>
                    </a:lnTo>
                    <a:lnTo>
                      <a:pt x="54" y="1"/>
                    </a:lnTo>
                    <a:lnTo>
                      <a:pt x="51" y="1"/>
                    </a:lnTo>
                    <a:lnTo>
                      <a:pt x="51" y="1"/>
                    </a:lnTo>
                    <a:lnTo>
                      <a:pt x="49" y="1"/>
                    </a:lnTo>
                    <a:lnTo>
                      <a:pt x="47" y="1"/>
                    </a:lnTo>
                    <a:lnTo>
                      <a:pt x="47" y="0"/>
                    </a:lnTo>
                    <a:lnTo>
                      <a:pt x="46" y="0"/>
                    </a:lnTo>
                    <a:lnTo>
                      <a:pt x="46" y="0"/>
                    </a:lnTo>
                    <a:lnTo>
                      <a:pt x="43" y="3"/>
                    </a:lnTo>
                    <a:lnTo>
                      <a:pt x="39" y="5"/>
                    </a:lnTo>
                    <a:lnTo>
                      <a:pt x="39" y="5"/>
                    </a:lnTo>
                    <a:lnTo>
                      <a:pt x="35" y="5"/>
                    </a:lnTo>
                    <a:lnTo>
                      <a:pt x="32" y="5"/>
                    </a:lnTo>
                    <a:lnTo>
                      <a:pt x="30" y="8"/>
                    </a:lnTo>
                    <a:lnTo>
                      <a:pt x="30" y="9"/>
                    </a:lnTo>
                    <a:lnTo>
                      <a:pt x="33" y="11"/>
                    </a:lnTo>
                    <a:lnTo>
                      <a:pt x="32" y="13"/>
                    </a:lnTo>
                    <a:lnTo>
                      <a:pt x="30" y="13"/>
                    </a:lnTo>
                    <a:lnTo>
                      <a:pt x="28" y="14"/>
                    </a:lnTo>
                    <a:lnTo>
                      <a:pt x="27" y="16"/>
                    </a:lnTo>
                    <a:lnTo>
                      <a:pt x="24" y="17"/>
                    </a:lnTo>
                    <a:lnTo>
                      <a:pt x="24" y="17"/>
                    </a:lnTo>
                    <a:lnTo>
                      <a:pt x="24" y="19"/>
                    </a:lnTo>
                    <a:lnTo>
                      <a:pt x="22" y="22"/>
                    </a:lnTo>
                    <a:lnTo>
                      <a:pt x="20" y="24"/>
                    </a:lnTo>
                    <a:lnTo>
                      <a:pt x="22" y="24"/>
                    </a:lnTo>
                    <a:lnTo>
                      <a:pt x="24" y="25"/>
                    </a:lnTo>
                    <a:lnTo>
                      <a:pt x="24" y="27"/>
                    </a:lnTo>
                    <a:lnTo>
                      <a:pt x="22" y="27"/>
                    </a:lnTo>
                    <a:lnTo>
                      <a:pt x="22" y="25"/>
                    </a:lnTo>
                    <a:lnTo>
                      <a:pt x="20" y="25"/>
                    </a:lnTo>
                    <a:lnTo>
                      <a:pt x="19" y="25"/>
                    </a:lnTo>
                    <a:lnTo>
                      <a:pt x="17" y="27"/>
                    </a:lnTo>
                    <a:lnTo>
                      <a:pt x="16" y="27"/>
                    </a:lnTo>
                    <a:lnTo>
                      <a:pt x="14" y="27"/>
                    </a:lnTo>
                    <a:lnTo>
                      <a:pt x="12" y="27"/>
                    </a:lnTo>
                    <a:lnTo>
                      <a:pt x="11" y="30"/>
                    </a:lnTo>
                    <a:lnTo>
                      <a:pt x="11" y="30"/>
                    </a:lnTo>
                    <a:lnTo>
                      <a:pt x="8" y="30"/>
                    </a:lnTo>
                    <a:lnTo>
                      <a:pt x="8" y="30"/>
                    </a:lnTo>
                    <a:lnTo>
                      <a:pt x="5" y="30"/>
                    </a:lnTo>
                    <a:lnTo>
                      <a:pt x="3" y="30"/>
                    </a:lnTo>
                    <a:lnTo>
                      <a:pt x="1" y="30"/>
                    </a:lnTo>
                    <a:lnTo>
                      <a:pt x="0" y="30"/>
                    </a:lnTo>
                    <a:lnTo>
                      <a:pt x="1" y="30"/>
                    </a:lnTo>
                    <a:lnTo>
                      <a:pt x="1" y="33"/>
                    </a:lnTo>
                    <a:lnTo>
                      <a:pt x="1" y="33"/>
                    </a:lnTo>
                    <a:lnTo>
                      <a:pt x="1" y="33"/>
                    </a:lnTo>
                    <a:lnTo>
                      <a:pt x="1" y="33"/>
                    </a:lnTo>
                    <a:lnTo>
                      <a:pt x="1" y="33"/>
                    </a:lnTo>
                    <a:lnTo>
                      <a:pt x="1" y="33"/>
                    </a:lnTo>
                    <a:lnTo>
                      <a:pt x="1" y="33"/>
                    </a:lnTo>
                    <a:lnTo>
                      <a:pt x="1" y="33"/>
                    </a:lnTo>
                    <a:lnTo>
                      <a:pt x="1" y="33"/>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61" name="Freeform 184">
                <a:extLst>
                  <a:ext uri="{FF2B5EF4-FFF2-40B4-BE49-F238E27FC236}">
                    <a16:creationId xmlns:a16="http://schemas.microsoft.com/office/drawing/2014/main" id="{5FF1755B-9752-4CDE-2334-22DE81FFE3AD}"/>
                  </a:ext>
                </a:extLst>
              </p:cNvPr>
              <p:cNvSpPr>
                <a:spLocks/>
              </p:cNvSpPr>
              <p:nvPr/>
            </p:nvSpPr>
            <p:spPr bwMode="auto">
              <a:xfrm>
                <a:off x="5538136" y="2668051"/>
                <a:ext cx="91966" cy="165988"/>
              </a:xfrm>
              <a:custGeom>
                <a:avLst/>
                <a:gdLst>
                  <a:gd name="T0" fmla="*/ 24 w 41"/>
                  <a:gd name="T1" fmla="*/ 63 h 74"/>
                  <a:gd name="T2" fmla="*/ 27 w 41"/>
                  <a:gd name="T3" fmla="*/ 60 h 74"/>
                  <a:gd name="T4" fmla="*/ 30 w 41"/>
                  <a:gd name="T5" fmla="*/ 55 h 74"/>
                  <a:gd name="T6" fmla="*/ 27 w 41"/>
                  <a:gd name="T7" fmla="*/ 55 h 74"/>
                  <a:gd name="T8" fmla="*/ 25 w 41"/>
                  <a:gd name="T9" fmla="*/ 52 h 74"/>
                  <a:gd name="T10" fmla="*/ 27 w 41"/>
                  <a:gd name="T11" fmla="*/ 49 h 74"/>
                  <a:gd name="T12" fmla="*/ 30 w 41"/>
                  <a:gd name="T13" fmla="*/ 46 h 74"/>
                  <a:gd name="T14" fmla="*/ 27 w 41"/>
                  <a:gd name="T15" fmla="*/ 41 h 74"/>
                  <a:gd name="T16" fmla="*/ 27 w 41"/>
                  <a:gd name="T17" fmla="*/ 38 h 74"/>
                  <a:gd name="T18" fmla="*/ 27 w 41"/>
                  <a:gd name="T19" fmla="*/ 38 h 74"/>
                  <a:gd name="T20" fmla="*/ 30 w 41"/>
                  <a:gd name="T21" fmla="*/ 34 h 74"/>
                  <a:gd name="T22" fmla="*/ 32 w 41"/>
                  <a:gd name="T23" fmla="*/ 31 h 74"/>
                  <a:gd name="T24" fmla="*/ 32 w 41"/>
                  <a:gd name="T25" fmla="*/ 28 h 74"/>
                  <a:gd name="T26" fmla="*/ 33 w 41"/>
                  <a:gd name="T27" fmla="*/ 28 h 74"/>
                  <a:gd name="T28" fmla="*/ 33 w 41"/>
                  <a:gd name="T29" fmla="*/ 23 h 74"/>
                  <a:gd name="T30" fmla="*/ 33 w 41"/>
                  <a:gd name="T31" fmla="*/ 17 h 74"/>
                  <a:gd name="T32" fmla="*/ 35 w 41"/>
                  <a:gd name="T33" fmla="*/ 15 h 74"/>
                  <a:gd name="T34" fmla="*/ 41 w 41"/>
                  <a:gd name="T35" fmla="*/ 9 h 74"/>
                  <a:gd name="T36" fmla="*/ 38 w 41"/>
                  <a:gd name="T37" fmla="*/ 7 h 74"/>
                  <a:gd name="T38" fmla="*/ 38 w 41"/>
                  <a:gd name="T39" fmla="*/ 4 h 74"/>
                  <a:gd name="T40" fmla="*/ 35 w 41"/>
                  <a:gd name="T41" fmla="*/ 3 h 74"/>
                  <a:gd name="T42" fmla="*/ 32 w 41"/>
                  <a:gd name="T43" fmla="*/ 3 h 74"/>
                  <a:gd name="T44" fmla="*/ 29 w 41"/>
                  <a:gd name="T45" fmla="*/ 4 h 74"/>
                  <a:gd name="T46" fmla="*/ 24 w 41"/>
                  <a:gd name="T47" fmla="*/ 4 h 74"/>
                  <a:gd name="T48" fmla="*/ 21 w 41"/>
                  <a:gd name="T49" fmla="*/ 4 h 74"/>
                  <a:gd name="T50" fmla="*/ 19 w 41"/>
                  <a:gd name="T51" fmla="*/ 3 h 74"/>
                  <a:gd name="T52" fmla="*/ 19 w 41"/>
                  <a:gd name="T53" fmla="*/ 3 h 74"/>
                  <a:gd name="T54" fmla="*/ 18 w 41"/>
                  <a:gd name="T55" fmla="*/ 3 h 74"/>
                  <a:gd name="T56" fmla="*/ 13 w 41"/>
                  <a:gd name="T57" fmla="*/ 3 h 74"/>
                  <a:gd name="T58" fmla="*/ 13 w 41"/>
                  <a:gd name="T59" fmla="*/ 4 h 74"/>
                  <a:gd name="T60" fmla="*/ 13 w 41"/>
                  <a:gd name="T61" fmla="*/ 7 h 74"/>
                  <a:gd name="T62" fmla="*/ 13 w 41"/>
                  <a:gd name="T63" fmla="*/ 14 h 74"/>
                  <a:gd name="T64" fmla="*/ 13 w 41"/>
                  <a:gd name="T65" fmla="*/ 20 h 74"/>
                  <a:gd name="T66" fmla="*/ 10 w 41"/>
                  <a:gd name="T67" fmla="*/ 23 h 74"/>
                  <a:gd name="T68" fmla="*/ 6 w 41"/>
                  <a:gd name="T69" fmla="*/ 38 h 74"/>
                  <a:gd name="T70" fmla="*/ 3 w 41"/>
                  <a:gd name="T71" fmla="*/ 39 h 74"/>
                  <a:gd name="T72" fmla="*/ 2 w 41"/>
                  <a:gd name="T73" fmla="*/ 46 h 74"/>
                  <a:gd name="T74" fmla="*/ 2 w 41"/>
                  <a:gd name="T75" fmla="*/ 49 h 74"/>
                  <a:gd name="T76" fmla="*/ 3 w 41"/>
                  <a:gd name="T77" fmla="*/ 49 h 74"/>
                  <a:gd name="T78" fmla="*/ 6 w 41"/>
                  <a:gd name="T79" fmla="*/ 47 h 74"/>
                  <a:gd name="T80" fmla="*/ 6 w 41"/>
                  <a:gd name="T81" fmla="*/ 49 h 74"/>
                  <a:gd name="T82" fmla="*/ 3 w 41"/>
                  <a:gd name="T83" fmla="*/ 52 h 74"/>
                  <a:gd name="T84" fmla="*/ 10 w 41"/>
                  <a:gd name="T85" fmla="*/ 52 h 74"/>
                  <a:gd name="T86" fmla="*/ 10 w 41"/>
                  <a:gd name="T87" fmla="*/ 55 h 74"/>
                  <a:gd name="T88" fmla="*/ 10 w 41"/>
                  <a:gd name="T89" fmla="*/ 55 h 74"/>
                  <a:gd name="T90" fmla="*/ 6 w 41"/>
                  <a:gd name="T91" fmla="*/ 61 h 74"/>
                  <a:gd name="T92" fmla="*/ 6 w 41"/>
                  <a:gd name="T93" fmla="*/ 69 h 74"/>
                  <a:gd name="T94" fmla="*/ 6 w 41"/>
                  <a:gd name="T95" fmla="*/ 74 h 74"/>
                  <a:gd name="T96" fmla="*/ 14 w 41"/>
                  <a:gd name="T97" fmla="*/ 73 h 74"/>
                  <a:gd name="T98" fmla="*/ 21 w 41"/>
                  <a:gd name="T99" fmla="*/ 73 h 74"/>
                  <a:gd name="T100" fmla="*/ 22 w 41"/>
                  <a:gd name="T101" fmla="*/ 68 h 74"/>
                  <a:gd name="T102" fmla="*/ 22 w 41"/>
                  <a:gd name="T103" fmla="*/ 65 h 74"/>
                  <a:gd name="T104" fmla="*/ 22 w 41"/>
                  <a:gd name="T105" fmla="*/ 65 h 74"/>
                  <a:gd name="T106" fmla="*/ 22 w 41"/>
                  <a:gd name="T107" fmla="*/ 65 h 74"/>
                  <a:gd name="T108" fmla="*/ 22 w 41"/>
                  <a:gd name="T109" fmla="*/ 65 h 74"/>
                  <a:gd name="T110" fmla="*/ 22 w 41"/>
                  <a:gd name="T111" fmla="*/ 6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 h="74">
                    <a:moveTo>
                      <a:pt x="22" y="65"/>
                    </a:moveTo>
                    <a:lnTo>
                      <a:pt x="24" y="63"/>
                    </a:lnTo>
                    <a:lnTo>
                      <a:pt x="25" y="61"/>
                    </a:lnTo>
                    <a:lnTo>
                      <a:pt x="27" y="60"/>
                    </a:lnTo>
                    <a:lnTo>
                      <a:pt x="29" y="58"/>
                    </a:lnTo>
                    <a:lnTo>
                      <a:pt x="30" y="55"/>
                    </a:lnTo>
                    <a:lnTo>
                      <a:pt x="29" y="55"/>
                    </a:lnTo>
                    <a:lnTo>
                      <a:pt x="27" y="55"/>
                    </a:lnTo>
                    <a:lnTo>
                      <a:pt x="25" y="52"/>
                    </a:lnTo>
                    <a:lnTo>
                      <a:pt x="25" y="52"/>
                    </a:lnTo>
                    <a:lnTo>
                      <a:pt x="25" y="52"/>
                    </a:lnTo>
                    <a:lnTo>
                      <a:pt x="27" y="49"/>
                    </a:lnTo>
                    <a:lnTo>
                      <a:pt x="27" y="49"/>
                    </a:lnTo>
                    <a:lnTo>
                      <a:pt x="30" y="46"/>
                    </a:lnTo>
                    <a:lnTo>
                      <a:pt x="29" y="42"/>
                    </a:lnTo>
                    <a:lnTo>
                      <a:pt x="27" y="41"/>
                    </a:lnTo>
                    <a:lnTo>
                      <a:pt x="27" y="39"/>
                    </a:lnTo>
                    <a:lnTo>
                      <a:pt x="27" y="38"/>
                    </a:lnTo>
                    <a:lnTo>
                      <a:pt x="24" y="38"/>
                    </a:lnTo>
                    <a:lnTo>
                      <a:pt x="27" y="38"/>
                    </a:lnTo>
                    <a:lnTo>
                      <a:pt x="29" y="38"/>
                    </a:lnTo>
                    <a:lnTo>
                      <a:pt x="30" y="34"/>
                    </a:lnTo>
                    <a:lnTo>
                      <a:pt x="32" y="34"/>
                    </a:lnTo>
                    <a:lnTo>
                      <a:pt x="32" y="31"/>
                    </a:lnTo>
                    <a:lnTo>
                      <a:pt x="32" y="31"/>
                    </a:lnTo>
                    <a:lnTo>
                      <a:pt x="32" y="28"/>
                    </a:lnTo>
                    <a:lnTo>
                      <a:pt x="32" y="28"/>
                    </a:lnTo>
                    <a:lnTo>
                      <a:pt x="33" y="28"/>
                    </a:lnTo>
                    <a:lnTo>
                      <a:pt x="33" y="25"/>
                    </a:lnTo>
                    <a:lnTo>
                      <a:pt x="33" y="23"/>
                    </a:lnTo>
                    <a:lnTo>
                      <a:pt x="35" y="20"/>
                    </a:lnTo>
                    <a:lnTo>
                      <a:pt x="33" y="17"/>
                    </a:lnTo>
                    <a:lnTo>
                      <a:pt x="35" y="15"/>
                    </a:lnTo>
                    <a:lnTo>
                      <a:pt x="35" y="15"/>
                    </a:lnTo>
                    <a:lnTo>
                      <a:pt x="38" y="12"/>
                    </a:lnTo>
                    <a:lnTo>
                      <a:pt x="41" y="9"/>
                    </a:lnTo>
                    <a:lnTo>
                      <a:pt x="41" y="7"/>
                    </a:lnTo>
                    <a:lnTo>
                      <a:pt x="38" y="7"/>
                    </a:lnTo>
                    <a:lnTo>
                      <a:pt x="38" y="6"/>
                    </a:lnTo>
                    <a:lnTo>
                      <a:pt x="38" y="4"/>
                    </a:lnTo>
                    <a:lnTo>
                      <a:pt x="38" y="3"/>
                    </a:lnTo>
                    <a:lnTo>
                      <a:pt x="35" y="3"/>
                    </a:lnTo>
                    <a:lnTo>
                      <a:pt x="33" y="3"/>
                    </a:lnTo>
                    <a:lnTo>
                      <a:pt x="32" y="3"/>
                    </a:lnTo>
                    <a:lnTo>
                      <a:pt x="30" y="4"/>
                    </a:lnTo>
                    <a:lnTo>
                      <a:pt x="29" y="4"/>
                    </a:lnTo>
                    <a:lnTo>
                      <a:pt x="25" y="4"/>
                    </a:lnTo>
                    <a:lnTo>
                      <a:pt x="24" y="4"/>
                    </a:lnTo>
                    <a:lnTo>
                      <a:pt x="22" y="4"/>
                    </a:lnTo>
                    <a:lnTo>
                      <a:pt x="21" y="4"/>
                    </a:lnTo>
                    <a:lnTo>
                      <a:pt x="19" y="4"/>
                    </a:lnTo>
                    <a:lnTo>
                      <a:pt x="19" y="3"/>
                    </a:lnTo>
                    <a:lnTo>
                      <a:pt x="21" y="3"/>
                    </a:lnTo>
                    <a:lnTo>
                      <a:pt x="19" y="3"/>
                    </a:lnTo>
                    <a:lnTo>
                      <a:pt x="19" y="0"/>
                    </a:lnTo>
                    <a:lnTo>
                      <a:pt x="18" y="3"/>
                    </a:lnTo>
                    <a:lnTo>
                      <a:pt x="16" y="3"/>
                    </a:lnTo>
                    <a:lnTo>
                      <a:pt x="13" y="3"/>
                    </a:lnTo>
                    <a:lnTo>
                      <a:pt x="13" y="3"/>
                    </a:lnTo>
                    <a:lnTo>
                      <a:pt x="13" y="4"/>
                    </a:lnTo>
                    <a:lnTo>
                      <a:pt x="13" y="6"/>
                    </a:lnTo>
                    <a:lnTo>
                      <a:pt x="13" y="7"/>
                    </a:lnTo>
                    <a:lnTo>
                      <a:pt x="13" y="9"/>
                    </a:lnTo>
                    <a:lnTo>
                      <a:pt x="13" y="14"/>
                    </a:lnTo>
                    <a:lnTo>
                      <a:pt x="13" y="17"/>
                    </a:lnTo>
                    <a:lnTo>
                      <a:pt x="13" y="20"/>
                    </a:lnTo>
                    <a:lnTo>
                      <a:pt x="13" y="22"/>
                    </a:lnTo>
                    <a:lnTo>
                      <a:pt x="10" y="23"/>
                    </a:lnTo>
                    <a:lnTo>
                      <a:pt x="10" y="31"/>
                    </a:lnTo>
                    <a:lnTo>
                      <a:pt x="6" y="38"/>
                    </a:lnTo>
                    <a:lnTo>
                      <a:pt x="3" y="39"/>
                    </a:lnTo>
                    <a:lnTo>
                      <a:pt x="3" y="39"/>
                    </a:lnTo>
                    <a:lnTo>
                      <a:pt x="3" y="41"/>
                    </a:lnTo>
                    <a:lnTo>
                      <a:pt x="2" y="46"/>
                    </a:lnTo>
                    <a:lnTo>
                      <a:pt x="0" y="49"/>
                    </a:lnTo>
                    <a:lnTo>
                      <a:pt x="2" y="49"/>
                    </a:lnTo>
                    <a:lnTo>
                      <a:pt x="3" y="49"/>
                    </a:lnTo>
                    <a:lnTo>
                      <a:pt x="3" y="49"/>
                    </a:lnTo>
                    <a:lnTo>
                      <a:pt x="6" y="46"/>
                    </a:lnTo>
                    <a:lnTo>
                      <a:pt x="6" y="47"/>
                    </a:lnTo>
                    <a:lnTo>
                      <a:pt x="6" y="49"/>
                    </a:lnTo>
                    <a:lnTo>
                      <a:pt x="6" y="49"/>
                    </a:lnTo>
                    <a:lnTo>
                      <a:pt x="3" y="49"/>
                    </a:lnTo>
                    <a:lnTo>
                      <a:pt x="3" y="52"/>
                    </a:lnTo>
                    <a:lnTo>
                      <a:pt x="6" y="52"/>
                    </a:lnTo>
                    <a:lnTo>
                      <a:pt x="10" y="52"/>
                    </a:lnTo>
                    <a:lnTo>
                      <a:pt x="10" y="52"/>
                    </a:lnTo>
                    <a:lnTo>
                      <a:pt x="10" y="55"/>
                    </a:lnTo>
                    <a:lnTo>
                      <a:pt x="6" y="52"/>
                    </a:lnTo>
                    <a:lnTo>
                      <a:pt x="10" y="55"/>
                    </a:lnTo>
                    <a:lnTo>
                      <a:pt x="6" y="60"/>
                    </a:lnTo>
                    <a:lnTo>
                      <a:pt x="6" y="61"/>
                    </a:lnTo>
                    <a:lnTo>
                      <a:pt x="6" y="65"/>
                    </a:lnTo>
                    <a:lnTo>
                      <a:pt x="6" y="69"/>
                    </a:lnTo>
                    <a:lnTo>
                      <a:pt x="6" y="73"/>
                    </a:lnTo>
                    <a:lnTo>
                      <a:pt x="6" y="74"/>
                    </a:lnTo>
                    <a:lnTo>
                      <a:pt x="10" y="73"/>
                    </a:lnTo>
                    <a:lnTo>
                      <a:pt x="14" y="73"/>
                    </a:lnTo>
                    <a:lnTo>
                      <a:pt x="19" y="74"/>
                    </a:lnTo>
                    <a:lnTo>
                      <a:pt x="21" y="73"/>
                    </a:lnTo>
                    <a:lnTo>
                      <a:pt x="22" y="71"/>
                    </a:lnTo>
                    <a:lnTo>
                      <a:pt x="22" y="68"/>
                    </a:lnTo>
                    <a:lnTo>
                      <a:pt x="22" y="65"/>
                    </a:lnTo>
                    <a:lnTo>
                      <a:pt x="22" y="65"/>
                    </a:lnTo>
                    <a:lnTo>
                      <a:pt x="22" y="65"/>
                    </a:lnTo>
                    <a:lnTo>
                      <a:pt x="22" y="65"/>
                    </a:lnTo>
                    <a:lnTo>
                      <a:pt x="22" y="65"/>
                    </a:lnTo>
                    <a:lnTo>
                      <a:pt x="22" y="65"/>
                    </a:lnTo>
                    <a:lnTo>
                      <a:pt x="22" y="65"/>
                    </a:lnTo>
                    <a:lnTo>
                      <a:pt x="22" y="65"/>
                    </a:lnTo>
                    <a:lnTo>
                      <a:pt x="22" y="65"/>
                    </a:lnTo>
                    <a:lnTo>
                      <a:pt x="22" y="65"/>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62" name="Freeform 186">
                <a:extLst>
                  <a:ext uri="{FF2B5EF4-FFF2-40B4-BE49-F238E27FC236}">
                    <a16:creationId xmlns:a16="http://schemas.microsoft.com/office/drawing/2014/main" id="{8B634618-BEC3-BF74-27FB-9E9E06D20C62}"/>
                  </a:ext>
                </a:extLst>
              </p:cNvPr>
              <p:cNvSpPr>
                <a:spLocks/>
              </p:cNvSpPr>
              <p:nvPr/>
            </p:nvSpPr>
            <p:spPr bwMode="auto">
              <a:xfrm>
                <a:off x="5950861" y="2493091"/>
                <a:ext cx="127855" cy="56077"/>
              </a:xfrm>
              <a:custGeom>
                <a:avLst/>
                <a:gdLst>
                  <a:gd name="T0" fmla="*/ 51 w 57"/>
                  <a:gd name="T1" fmla="*/ 11 h 25"/>
                  <a:gd name="T2" fmla="*/ 48 w 57"/>
                  <a:gd name="T3" fmla="*/ 11 h 25"/>
                  <a:gd name="T4" fmla="*/ 42 w 57"/>
                  <a:gd name="T5" fmla="*/ 8 h 25"/>
                  <a:gd name="T6" fmla="*/ 42 w 57"/>
                  <a:gd name="T7" fmla="*/ 6 h 25"/>
                  <a:gd name="T8" fmla="*/ 42 w 57"/>
                  <a:gd name="T9" fmla="*/ 3 h 25"/>
                  <a:gd name="T10" fmla="*/ 40 w 57"/>
                  <a:gd name="T11" fmla="*/ 1 h 25"/>
                  <a:gd name="T12" fmla="*/ 32 w 57"/>
                  <a:gd name="T13" fmla="*/ 0 h 25"/>
                  <a:gd name="T14" fmla="*/ 29 w 57"/>
                  <a:gd name="T15" fmla="*/ 0 h 25"/>
                  <a:gd name="T16" fmla="*/ 29 w 57"/>
                  <a:gd name="T17" fmla="*/ 1 h 25"/>
                  <a:gd name="T18" fmla="*/ 22 w 57"/>
                  <a:gd name="T19" fmla="*/ 3 h 25"/>
                  <a:gd name="T20" fmla="*/ 19 w 57"/>
                  <a:gd name="T21" fmla="*/ 3 h 25"/>
                  <a:gd name="T22" fmla="*/ 16 w 57"/>
                  <a:gd name="T23" fmla="*/ 5 h 25"/>
                  <a:gd name="T24" fmla="*/ 13 w 57"/>
                  <a:gd name="T25" fmla="*/ 3 h 25"/>
                  <a:gd name="T26" fmla="*/ 15 w 57"/>
                  <a:gd name="T27" fmla="*/ 5 h 25"/>
                  <a:gd name="T28" fmla="*/ 7 w 57"/>
                  <a:gd name="T29" fmla="*/ 11 h 25"/>
                  <a:gd name="T30" fmla="*/ 3 w 57"/>
                  <a:gd name="T31" fmla="*/ 14 h 25"/>
                  <a:gd name="T32" fmla="*/ 2 w 57"/>
                  <a:gd name="T33" fmla="*/ 19 h 25"/>
                  <a:gd name="T34" fmla="*/ 3 w 57"/>
                  <a:gd name="T35" fmla="*/ 20 h 25"/>
                  <a:gd name="T36" fmla="*/ 5 w 57"/>
                  <a:gd name="T37" fmla="*/ 17 h 25"/>
                  <a:gd name="T38" fmla="*/ 8 w 57"/>
                  <a:gd name="T39" fmla="*/ 17 h 25"/>
                  <a:gd name="T40" fmla="*/ 11 w 57"/>
                  <a:gd name="T41" fmla="*/ 19 h 25"/>
                  <a:gd name="T42" fmla="*/ 13 w 57"/>
                  <a:gd name="T43" fmla="*/ 24 h 25"/>
                  <a:gd name="T44" fmla="*/ 18 w 57"/>
                  <a:gd name="T45" fmla="*/ 25 h 25"/>
                  <a:gd name="T46" fmla="*/ 22 w 57"/>
                  <a:gd name="T47" fmla="*/ 24 h 25"/>
                  <a:gd name="T48" fmla="*/ 26 w 57"/>
                  <a:gd name="T49" fmla="*/ 20 h 25"/>
                  <a:gd name="T50" fmla="*/ 29 w 57"/>
                  <a:gd name="T51" fmla="*/ 17 h 25"/>
                  <a:gd name="T52" fmla="*/ 32 w 57"/>
                  <a:gd name="T53" fmla="*/ 22 h 25"/>
                  <a:gd name="T54" fmla="*/ 35 w 57"/>
                  <a:gd name="T55" fmla="*/ 25 h 25"/>
                  <a:gd name="T56" fmla="*/ 37 w 57"/>
                  <a:gd name="T57" fmla="*/ 22 h 25"/>
                  <a:gd name="T58" fmla="*/ 38 w 57"/>
                  <a:gd name="T59" fmla="*/ 19 h 25"/>
                  <a:gd name="T60" fmla="*/ 38 w 57"/>
                  <a:gd name="T61" fmla="*/ 16 h 25"/>
                  <a:gd name="T62" fmla="*/ 42 w 57"/>
                  <a:gd name="T63" fmla="*/ 17 h 25"/>
                  <a:gd name="T64" fmla="*/ 43 w 57"/>
                  <a:gd name="T65" fmla="*/ 19 h 25"/>
                  <a:gd name="T66" fmla="*/ 46 w 57"/>
                  <a:gd name="T67" fmla="*/ 19 h 25"/>
                  <a:gd name="T68" fmla="*/ 49 w 57"/>
                  <a:gd name="T69" fmla="*/ 19 h 25"/>
                  <a:gd name="T70" fmla="*/ 48 w 57"/>
                  <a:gd name="T71" fmla="*/ 16 h 25"/>
                  <a:gd name="T72" fmla="*/ 53 w 57"/>
                  <a:gd name="T73" fmla="*/ 16 h 25"/>
                  <a:gd name="T74" fmla="*/ 53 w 57"/>
                  <a:gd name="T75" fmla="*/ 12 h 25"/>
                  <a:gd name="T76" fmla="*/ 57 w 57"/>
                  <a:gd name="T77" fmla="*/ 12 h 25"/>
                  <a:gd name="T78" fmla="*/ 53 w 57"/>
                  <a:gd name="T79" fmla="*/ 11 h 25"/>
                  <a:gd name="T80" fmla="*/ 53 w 57"/>
                  <a:gd name="T81" fmla="*/ 11 h 25"/>
                  <a:gd name="T82" fmla="*/ 53 w 57"/>
                  <a:gd name="T83" fmla="*/ 11 h 25"/>
                  <a:gd name="T84" fmla="*/ 53 w 57"/>
                  <a:gd name="T85" fmla="*/ 11 h 25"/>
                  <a:gd name="T86" fmla="*/ 53 w 57"/>
                  <a:gd name="T87"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 h="25">
                    <a:moveTo>
                      <a:pt x="53" y="11"/>
                    </a:moveTo>
                    <a:lnTo>
                      <a:pt x="51" y="11"/>
                    </a:lnTo>
                    <a:lnTo>
                      <a:pt x="49" y="11"/>
                    </a:lnTo>
                    <a:lnTo>
                      <a:pt x="48" y="11"/>
                    </a:lnTo>
                    <a:lnTo>
                      <a:pt x="45" y="11"/>
                    </a:lnTo>
                    <a:lnTo>
                      <a:pt x="42" y="8"/>
                    </a:lnTo>
                    <a:lnTo>
                      <a:pt x="43" y="8"/>
                    </a:lnTo>
                    <a:lnTo>
                      <a:pt x="42" y="6"/>
                    </a:lnTo>
                    <a:lnTo>
                      <a:pt x="43" y="5"/>
                    </a:lnTo>
                    <a:lnTo>
                      <a:pt x="42" y="3"/>
                    </a:lnTo>
                    <a:lnTo>
                      <a:pt x="43" y="3"/>
                    </a:lnTo>
                    <a:lnTo>
                      <a:pt x="40" y="1"/>
                    </a:lnTo>
                    <a:lnTo>
                      <a:pt x="37" y="0"/>
                    </a:lnTo>
                    <a:lnTo>
                      <a:pt x="32" y="0"/>
                    </a:lnTo>
                    <a:lnTo>
                      <a:pt x="32" y="0"/>
                    </a:lnTo>
                    <a:lnTo>
                      <a:pt x="29" y="0"/>
                    </a:lnTo>
                    <a:lnTo>
                      <a:pt x="30" y="0"/>
                    </a:lnTo>
                    <a:lnTo>
                      <a:pt x="29" y="1"/>
                    </a:lnTo>
                    <a:lnTo>
                      <a:pt x="26" y="1"/>
                    </a:lnTo>
                    <a:lnTo>
                      <a:pt x="22" y="3"/>
                    </a:lnTo>
                    <a:lnTo>
                      <a:pt x="21" y="1"/>
                    </a:lnTo>
                    <a:lnTo>
                      <a:pt x="19" y="3"/>
                    </a:lnTo>
                    <a:lnTo>
                      <a:pt x="18" y="3"/>
                    </a:lnTo>
                    <a:lnTo>
                      <a:pt x="16" y="5"/>
                    </a:lnTo>
                    <a:lnTo>
                      <a:pt x="15" y="3"/>
                    </a:lnTo>
                    <a:lnTo>
                      <a:pt x="13" y="3"/>
                    </a:lnTo>
                    <a:lnTo>
                      <a:pt x="13" y="5"/>
                    </a:lnTo>
                    <a:lnTo>
                      <a:pt x="15" y="5"/>
                    </a:lnTo>
                    <a:lnTo>
                      <a:pt x="10" y="8"/>
                    </a:lnTo>
                    <a:lnTo>
                      <a:pt x="7" y="11"/>
                    </a:lnTo>
                    <a:lnTo>
                      <a:pt x="5" y="12"/>
                    </a:lnTo>
                    <a:lnTo>
                      <a:pt x="3" y="14"/>
                    </a:lnTo>
                    <a:lnTo>
                      <a:pt x="2" y="16"/>
                    </a:lnTo>
                    <a:lnTo>
                      <a:pt x="2" y="19"/>
                    </a:lnTo>
                    <a:lnTo>
                      <a:pt x="0" y="22"/>
                    </a:lnTo>
                    <a:lnTo>
                      <a:pt x="3" y="20"/>
                    </a:lnTo>
                    <a:lnTo>
                      <a:pt x="5" y="19"/>
                    </a:lnTo>
                    <a:lnTo>
                      <a:pt x="5" y="17"/>
                    </a:lnTo>
                    <a:lnTo>
                      <a:pt x="7" y="17"/>
                    </a:lnTo>
                    <a:lnTo>
                      <a:pt x="8" y="17"/>
                    </a:lnTo>
                    <a:lnTo>
                      <a:pt x="10" y="17"/>
                    </a:lnTo>
                    <a:lnTo>
                      <a:pt x="11" y="19"/>
                    </a:lnTo>
                    <a:lnTo>
                      <a:pt x="11" y="22"/>
                    </a:lnTo>
                    <a:lnTo>
                      <a:pt x="13" y="24"/>
                    </a:lnTo>
                    <a:lnTo>
                      <a:pt x="15" y="25"/>
                    </a:lnTo>
                    <a:lnTo>
                      <a:pt x="18" y="25"/>
                    </a:lnTo>
                    <a:lnTo>
                      <a:pt x="22" y="24"/>
                    </a:lnTo>
                    <a:lnTo>
                      <a:pt x="22" y="24"/>
                    </a:lnTo>
                    <a:lnTo>
                      <a:pt x="26" y="22"/>
                    </a:lnTo>
                    <a:lnTo>
                      <a:pt x="26" y="20"/>
                    </a:lnTo>
                    <a:lnTo>
                      <a:pt x="26" y="19"/>
                    </a:lnTo>
                    <a:lnTo>
                      <a:pt x="29" y="17"/>
                    </a:lnTo>
                    <a:lnTo>
                      <a:pt x="29" y="19"/>
                    </a:lnTo>
                    <a:lnTo>
                      <a:pt x="32" y="22"/>
                    </a:lnTo>
                    <a:lnTo>
                      <a:pt x="35" y="24"/>
                    </a:lnTo>
                    <a:lnTo>
                      <a:pt x="35" y="25"/>
                    </a:lnTo>
                    <a:lnTo>
                      <a:pt x="35" y="24"/>
                    </a:lnTo>
                    <a:lnTo>
                      <a:pt x="37" y="22"/>
                    </a:lnTo>
                    <a:lnTo>
                      <a:pt x="38" y="20"/>
                    </a:lnTo>
                    <a:lnTo>
                      <a:pt x="38" y="19"/>
                    </a:lnTo>
                    <a:lnTo>
                      <a:pt x="38" y="17"/>
                    </a:lnTo>
                    <a:lnTo>
                      <a:pt x="38" y="16"/>
                    </a:lnTo>
                    <a:lnTo>
                      <a:pt x="40" y="16"/>
                    </a:lnTo>
                    <a:lnTo>
                      <a:pt x="42" y="17"/>
                    </a:lnTo>
                    <a:lnTo>
                      <a:pt x="42" y="19"/>
                    </a:lnTo>
                    <a:lnTo>
                      <a:pt x="43" y="19"/>
                    </a:lnTo>
                    <a:lnTo>
                      <a:pt x="45" y="19"/>
                    </a:lnTo>
                    <a:lnTo>
                      <a:pt x="46" y="19"/>
                    </a:lnTo>
                    <a:lnTo>
                      <a:pt x="48" y="20"/>
                    </a:lnTo>
                    <a:lnTo>
                      <a:pt x="49" y="19"/>
                    </a:lnTo>
                    <a:lnTo>
                      <a:pt x="48" y="17"/>
                    </a:lnTo>
                    <a:lnTo>
                      <a:pt x="48" y="16"/>
                    </a:lnTo>
                    <a:lnTo>
                      <a:pt x="49" y="14"/>
                    </a:lnTo>
                    <a:lnTo>
                      <a:pt x="53" y="16"/>
                    </a:lnTo>
                    <a:lnTo>
                      <a:pt x="53" y="14"/>
                    </a:lnTo>
                    <a:lnTo>
                      <a:pt x="53" y="12"/>
                    </a:lnTo>
                    <a:lnTo>
                      <a:pt x="53" y="11"/>
                    </a:lnTo>
                    <a:lnTo>
                      <a:pt x="57" y="12"/>
                    </a:lnTo>
                    <a:lnTo>
                      <a:pt x="54" y="11"/>
                    </a:lnTo>
                    <a:lnTo>
                      <a:pt x="53" y="11"/>
                    </a:lnTo>
                    <a:lnTo>
                      <a:pt x="53" y="11"/>
                    </a:lnTo>
                    <a:lnTo>
                      <a:pt x="53" y="11"/>
                    </a:lnTo>
                    <a:lnTo>
                      <a:pt x="53" y="11"/>
                    </a:lnTo>
                    <a:lnTo>
                      <a:pt x="53" y="11"/>
                    </a:lnTo>
                    <a:lnTo>
                      <a:pt x="53" y="11"/>
                    </a:lnTo>
                    <a:lnTo>
                      <a:pt x="53" y="11"/>
                    </a:lnTo>
                    <a:lnTo>
                      <a:pt x="53" y="11"/>
                    </a:lnTo>
                    <a:lnTo>
                      <a:pt x="53" y="11"/>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63" name="Freeform 196">
                <a:extLst>
                  <a:ext uri="{FF2B5EF4-FFF2-40B4-BE49-F238E27FC236}">
                    <a16:creationId xmlns:a16="http://schemas.microsoft.com/office/drawing/2014/main" id="{C68C9B7F-3911-5E1A-A754-4029E5E82255}"/>
                  </a:ext>
                </a:extLst>
              </p:cNvPr>
              <p:cNvSpPr>
                <a:spLocks noEditPoints="1"/>
              </p:cNvSpPr>
              <p:nvPr/>
            </p:nvSpPr>
            <p:spPr bwMode="auto">
              <a:xfrm>
                <a:off x="6009181" y="2183548"/>
                <a:ext cx="109911" cy="96452"/>
              </a:xfrm>
              <a:custGeom>
                <a:avLst/>
                <a:gdLst>
                  <a:gd name="T0" fmla="*/ 22 w 49"/>
                  <a:gd name="T1" fmla="*/ 17 h 43"/>
                  <a:gd name="T2" fmla="*/ 22 w 49"/>
                  <a:gd name="T3" fmla="*/ 9 h 43"/>
                  <a:gd name="T4" fmla="*/ 25 w 49"/>
                  <a:gd name="T5" fmla="*/ 1 h 43"/>
                  <a:gd name="T6" fmla="*/ 16 w 49"/>
                  <a:gd name="T7" fmla="*/ 6 h 43"/>
                  <a:gd name="T8" fmla="*/ 3 w 49"/>
                  <a:gd name="T9" fmla="*/ 11 h 43"/>
                  <a:gd name="T10" fmla="*/ 6 w 49"/>
                  <a:gd name="T11" fmla="*/ 11 h 43"/>
                  <a:gd name="T12" fmla="*/ 12 w 49"/>
                  <a:gd name="T13" fmla="*/ 11 h 43"/>
                  <a:gd name="T14" fmla="*/ 12 w 49"/>
                  <a:gd name="T15" fmla="*/ 17 h 43"/>
                  <a:gd name="T16" fmla="*/ 9 w 49"/>
                  <a:gd name="T17" fmla="*/ 14 h 43"/>
                  <a:gd name="T18" fmla="*/ 6 w 49"/>
                  <a:gd name="T19" fmla="*/ 16 h 43"/>
                  <a:gd name="T20" fmla="*/ 0 w 49"/>
                  <a:gd name="T21" fmla="*/ 20 h 43"/>
                  <a:gd name="T22" fmla="*/ 1 w 49"/>
                  <a:gd name="T23" fmla="*/ 27 h 43"/>
                  <a:gd name="T24" fmla="*/ 3 w 49"/>
                  <a:gd name="T25" fmla="*/ 28 h 43"/>
                  <a:gd name="T26" fmla="*/ 6 w 49"/>
                  <a:gd name="T27" fmla="*/ 35 h 43"/>
                  <a:gd name="T28" fmla="*/ 12 w 49"/>
                  <a:gd name="T29" fmla="*/ 39 h 43"/>
                  <a:gd name="T30" fmla="*/ 16 w 49"/>
                  <a:gd name="T31" fmla="*/ 36 h 43"/>
                  <a:gd name="T32" fmla="*/ 16 w 49"/>
                  <a:gd name="T33" fmla="*/ 33 h 43"/>
                  <a:gd name="T34" fmla="*/ 16 w 49"/>
                  <a:gd name="T35" fmla="*/ 27 h 43"/>
                  <a:gd name="T36" fmla="*/ 19 w 49"/>
                  <a:gd name="T37" fmla="*/ 27 h 43"/>
                  <a:gd name="T38" fmla="*/ 25 w 49"/>
                  <a:gd name="T39" fmla="*/ 20 h 43"/>
                  <a:gd name="T40" fmla="*/ 30 w 49"/>
                  <a:gd name="T41" fmla="*/ 20 h 43"/>
                  <a:gd name="T42" fmla="*/ 30 w 49"/>
                  <a:gd name="T43" fmla="*/ 17 h 43"/>
                  <a:gd name="T44" fmla="*/ 30 w 49"/>
                  <a:gd name="T45" fmla="*/ 17 h 43"/>
                  <a:gd name="T46" fmla="*/ 23 w 49"/>
                  <a:gd name="T47" fmla="*/ 30 h 43"/>
                  <a:gd name="T48" fmla="*/ 19 w 49"/>
                  <a:gd name="T49" fmla="*/ 31 h 43"/>
                  <a:gd name="T50" fmla="*/ 27 w 49"/>
                  <a:gd name="T51" fmla="*/ 36 h 43"/>
                  <a:gd name="T52" fmla="*/ 27 w 49"/>
                  <a:gd name="T53" fmla="*/ 30 h 43"/>
                  <a:gd name="T54" fmla="*/ 27 w 49"/>
                  <a:gd name="T55" fmla="*/ 28 h 43"/>
                  <a:gd name="T56" fmla="*/ 27 w 49"/>
                  <a:gd name="T57" fmla="*/ 28 h 43"/>
                  <a:gd name="T58" fmla="*/ 49 w 49"/>
                  <a:gd name="T59" fmla="*/ 23 h 43"/>
                  <a:gd name="T60" fmla="*/ 43 w 49"/>
                  <a:gd name="T61" fmla="*/ 27 h 43"/>
                  <a:gd name="T62" fmla="*/ 41 w 49"/>
                  <a:gd name="T63" fmla="*/ 25 h 43"/>
                  <a:gd name="T64" fmla="*/ 41 w 49"/>
                  <a:gd name="T65" fmla="*/ 25 h 43"/>
                  <a:gd name="T66" fmla="*/ 35 w 49"/>
                  <a:gd name="T67" fmla="*/ 27 h 43"/>
                  <a:gd name="T68" fmla="*/ 31 w 49"/>
                  <a:gd name="T69" fmla="*/ 31 h 43"/>
                  <a:gd name="T70" fmla="*/ 41 w 49"/>
                  <a:gd name="T71" fmla="*/ 35 h 43"/>
                  <a:gd name="T72" fmla="*/ 43 w 49"/>
                  <a:gd name="T73" fmla="*/ 35 h 43"/>
                  <a:gd name="T74" fmla="*/ 46 w 49"/>
                  <a:gd name="T75" fmla="*/ 31 h 43"/>
                  <a:gd name="T76" fmla="*/ 49 w 49"/>
                  <a:gd name="T77" fmla="*/ 27 h 43"/>
                  <a:gd name="T78" fmla="*/ 47 w 49"/>
                  <a:gd name="T79" fmla="*/ 25 h 43"/>
                  <a:gd name="T80" fmla="*/ 47 w 49"/>
                  <a:gd name="T81" fmla="*/ 25 h 43"/>
                  <a:gd name="T82" fmla="*/ 41 w 49"/>
                  <a:gd name="T83" fmla="*/ 39 h 43"/>
                  <a:gd name="T84" fmla="*/ 31 w 49"/>
                  <a:gd name="T85" fmla="*/ 38 h 43"/>
                  <a:gd name="T86" fmla="*/ 41 w 49"/>
                  <a:gd name="T87" fmla="*/ 41 h 43"/>
                  <a:gd name="T88" fmla="*/ 43 w 49"/>
                  <a:gd name="T89" fmla="*/ 38 h 43"/>
                  <a:gd name="T90" fmla="*/ 41 w 49"/>
                  <a:gd name="T91" fmla="*/ 39 h 43"/>
                  <a:gd name="T92" fmla="*/ 41 w 49"/>
                  <a:gd name="T93" fmla="*/ 39 h 43"/>
                  <a:gd name="T94" fmla="*/ 3 w 49"/>
                  <a:gd name="T95" fmla="*/ 39 h 43"/>
                  <a:gd name="T96" fmla="*/ 3 w 49"/>
                  <a:gd name="T97" fmla="*/ 39 h 43"/>
                  <a:gd name="T98" fmla="*/ 3 w 49"/>
                  <a:gd name="T99"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 h="43">
                    <a:moveTo>
                      <a:pt x="30" y="17"/>
                    </a:moveTo>
                    <a:lnTo>
                      <a:pt x="25" y="16"/>
                    </a:lnTo>
                    <a:lnTo>
                      <a:pt x="23" y="16"/>
                    </a:lnTo>
                    <a:lnTo>
                      <a:pt x="22" y="17"/>
                    </a:lnTo>
                    <a:lnTo>
                      <a:pt x="22" y="16"/>
                    </a:lnTo>
                    <a:lnTo>
                      <a:pt x="23" y="14"/>
                    </a:lnTo>
                    <a:lnTo>
                      <a:pt x="22" y="11"/>
                    </a:lnTo>
                    <a:lnTo>
                      <a:pt x="22" y="9"/>
                    </a:lnTo>
                    <a:lnTo>
                      <a:pt x="25" y="6"/>
                    </a:lnTo>
                    <a:lnTo>
                      <a:pt x="25" y="4"/>
                    </a:lnTo>
                    <a:lnTo>
                      <a:pt x="25" y="3"/>
                    </a:lnTo>
                    <a:lnTo>
                      <a:pt x="25" y="1"/>
                    </a:lnTo>
                    <a:lnTo>
                      <a:pt x="27" y="0"/>
                    </a:lnTo>
                    <a:lnTo>
                      <a:pt x="22" y="1"/>
                    </a:lnTo>
                    <a:lnTo>
                      <a:pt x="19" y="3"/>
                    </a:lnTo>
                    <a:lnTo>
                      <a:pt x="16" y="6"/>
                    </a:lnTo>
                    <a:lnTo>
                      <a:pt x="12" y="8"/>
                    </a:lnTo>
                    <a:lnTo>
                      <a:pt x="9" y="8"/>
                    </a:lnTo>
                    <a:lnTo>
                      <a:pt x="4" y="9"/>
                    </a:lnTo>
                    <a:lnTo>
                      <a:pt x="3" y="11"/>
                    </a:lnTo>
                    <a:lnTo>
                      <a:pt x="3" y="12"/>
                    </a:lnTo>
                    <a:lnTo>
                      <a:pt x="4" y="14"/>
                    </a:lnTo>
                    <a:lnTo>
                      <a:pt x="6" y="12"/>
                    </a:lnTo>
                    <a:lnTo>
                      <a:pt x="6" y="11"/>
                    </a:lnTo>
                    <a:lnTo>
                      <a:pt x="9" y="9"/>
                    </a:lnTo>
                    <a:lnTo>
                      <a:pt x="9" y="9"/>
                    </a:lnTo>
                    <a:lnTo>
                      <a:pt x="16" y="9"/>
                    </a:lnTo>
                    <a:lnTo>
                      <a:pt x="12" y="11"/>
                    </a:lnTo>
                    <a:lnTo>
                      <a:pt x="12" y="12"/>
                    </a:lnTo>
                    <a:lnTo>
                      <a:pt x="12" y="14"/>
                    </a:lnTo>
                    <a:lnTo>
                      <a:pt x="12" y="16"/>
                    </a:lnTo>
                    <a:lnTo>
                      <a:pt x="12" y="17"/>
                    </a:lnTo>
                    <a:lnTo>
                      <a:pt x="12" y="16"/>
                    </a:lnTo>
                    <a:lnTo>
                      <a:pt x="9" y="16"/>
                    </a:lnTo>
                    <a:lnTo>
                      <a:pt x="12" y="14"/>
                    </a:lnTo>
                    <a:lnTo>
                      <a:pt x="9" y="14"/>
                    </a:lnTo>
                    <a:lnTo>
                      <a:pt x="9" y="14"/>
                    </a:lnTo>
                    <a:lnTo>
                      <a:pt x="8" y="16"/>
                    </a:lnTo>
                    <a:lnTo>
                      <a:pt x="6" y="17"/>
                    </a:lnTo>
                    <a:lnTo>
                      <a:pt x="6" y="16"/>
                    </a:lnTo>
                    <a:lnTo>
                      <a:pt x="3" y="16"/>
                    </a:lnTo>
                    <a:lnTo>
                      <a:pt x="1" y="14"/>
                    </a:lnTo>
                    <a:lnTo>
                      <a:pt x="1" y="16"/>
                    </a:lnTo>
                    <a:lnTo>
                      <a:pt x="0" y="20"/>
                    </a:lnTo>
                    <a:lnTo>
                      <a:pt x="1" y="23"/>
                    </a:lnTo>
                    <a:lnTo>
                      <a:pt x="3" y="25"/>
                    </a:lnTo>
                    <a:lnTo>
                      <a:pt x="3" y="27"/>
                    </a:lnTo>
                    <a:lnTo>
                      <a:pt x="1" y="27"/>
                    </a:lnTo>
                    <a:lnTo>
                      <a:pt x="1" y="27"/>
                    </a:lnTo>
                    <a:lnTo>
                      <a:pt x="1" y="30"/>
                    </a:lnTo>
                    <a:lnTo>
                      <a:pt x="3" y="30"/>
                    </a:lnTo>
                    <a:lnTo>
                      <a:pt x="3" y="28"/>
                    </a:lnTo>
                    <a:lnTo>
                      <a:pt x="6" y="31"/>
                    </a:lnTo>
                    <a:lnTo>
                      <a:pt x="6" y="33"/>
                    </a:lnTo>
                    <a:lnTo>
                      <a:pt x="4" y="35"/>
                    </a:lnTo>
                    <a:lnTo>
                      <a:pt x="6" y="35"/>
                    </a:lnTo>
                    <a:lnTo>
                      <a:pt x="6" y="38"/>
                    </a:lnTo>
                    <a:lnTo>
                      <a:pt x="8" y="38"/>
                    </a:lnTo>
                    <a:lnTo>
                      <a:pt x="12" y="39"/>
                    </a:lnTo>
                    <a:lnTo>
                      <a:pt x="12" y="39"/>
                    </a:lnTo>
                    <a:lnTo>
                      <a:pt x="16" y="38"/>
                    </a:lnTo>
                    <a:lnTo>
                      <a:pt x="16" y="38"/>
                    </a:lnTo>
                    <a:lnTo>
                      <a:pt x="19" y="39"/>
                    </a:lnTo>
                    <a:lnTo>
                      <a:pt x="16" y="36"/>
                    </a:lnTo>
                    <a:lnTo>
                      <a:pt x="16" y="36"/>
                    </a:lnTo>
                    <a:lnTo>
                      <a:pt x="16" y="35"/>
                    </a:lnTo>
                    <a:lnTo>
                      <a:pt x="16" y="35"/>
                    </a:lnTo>
                    <a:lnTo>
                      <a:pt x="16" y="33"/>
                    </a:lnTo>
                    <a:lnTo>
                      <a:pt x="16" y="31"/>
                    </a:lnTo>
                    <a:lnTo>
                      <a:pt x="16" y="30"/>
                    </a:lnTo>
                    <a:lnTo>
                      <a:pt x="19" y="28"/>
                    </a:lnTo>
                    <a:lnTo>
                      <a:pt x="16" y="27"/>
                    </a:lnTo>
                    <a:lnTo>
                      <a:pt x="19" y="27"/>
                    </a:lnTo>
                    <a:lnTo>
                      <a:pt x="20" y="27"/>
                    </a:lnTo>
                    <a:lnTo>
                      <a:pt x="20" y="27"/>
                    </a:lnTo>
                    <a:lnTo>
                      <a:pt x="19" y="27"/>
                    </a:lnTo>
                    <a:lnTo>
                      <a:pt x="22" y="25"/>
                    </a:lnTo>
                    <a:lnTo>
                      <a:pt x="22" y="23"/>
                    </a:lnTo>
                    <a:lnTo>
                      <a:pt x="23" y="20"/>
                    </a:lnTo>
                    <a:lnTo>
                      <a:pt x="25" y="20"/>
                    </a:lnTo>
                    <a:lnTo>
                      <a:pt x="25" y="22"/>
                    </a:lnTo>
                    <a:lnTo>
                      <a:pt x="27" y="22"/>
                    </a:lnTo>
                    <a:lnTo>
                      <a:pt x="28" y="22"/>
                    </a:lnTo>
                    <a:lnTo>
                      <a:pt x="30" y="20"/>
                    </a:lnTo>
                    <a:lnTo>
                      <a:pt x="30" y="17"/>
                    </a:lnTo>
                    <a:lnTo>
                      <a:pt x="30" y="17"/>
                    </a:lnTo>
                    <a:lnTo>
                      <a:pt x="30" y="17"/>
                    </a:lnTo>
                    <a:lnTo>
                      <a:pt x="30" y="17"/>
                    </a:lnTo>
                    <a:lnTo>
                      <a:pt x="30" y="17"/>
                    </a:lnTo>
                    <a:lnTo>
                      <a:pt x="30" y="17"/>
                    </a:lnTo>
                    <a:lnTo>
                      <a:pt x="30" y="17"/>
                    </a:lnTo>
                    <a:lnTo>
                      <a:pt x="30" y="17"/>
                    </a:lnTo>
                    <a:lnTo>
                      <a:pt x="30" y="17"/>
                    </a:lnTo>
                    <a:close/>
                    <a:moveTo>
                      <a:pt x="27" y="28"/>
                    </a:moveTo>
                    <a:lnTo>
                      <a:pt x="25" y="30"/>
                    </a:lnTo>
                    <a:lnTo>
                      <a:pt x="23" y="30"/>
                    </a:lnTo>
                    <a:lnTo>
                      <a:pt x="23" y="28"/>
                    </a:lnTo>
                    <a:lnTo>
                      <a:pt x="22" y="28"/>
                    </a:lnTo>
                    <a:lnTo>
                      <a:pt x="19" y="30"/>
                    </a:lnTo>
                    <a:lnTo>
                      <a:pt x="19" y="31"/>
                    </a:lnTo>
                    <a:lnTo>
                      <a:pt x="20" y="35"/>
                    </a:lnTo>
                    <a:lnTo>
                      <a:pt x="22" y="35"/>
                    </a:lnTo>
                    <a:lnTo>
                      <a:pt x="23" y="36"/>
                    </a:lnTo>
                    <a:lnTo>
                      <a:pt x="27" y="36"/>
                    </a:lnTo>
                    <a:lnTo>
                      <a:pt x="28" y="35"/>
                    </a:lnTo>
                    <a:lnTo>
                      <a:pt x="28" y="33"/>
                    </a:lnTo>
                    <a:lnTo>
                      <a:pt x="28" y="31"/>
                    </a:lnTo>
                    <a:lnTo>
                      <a:pt x="27" y="30"/>
                    </a:lnTo>
                    <a:lnTo>
                      <a:pt x="28" y="30"/>
                    </a:lnTo>
                    <a:lnTo>
                      <a:pt x="27" y="28"/>
                    </a:lnTo>
                    <a:lnTo>
                      <a:pt x="27" y="28"/>
                    </a:lnTo>
                    <a:lnTo>
                      <a:pt x="27" y="28"/>
                    </a:lnTo>
                    <a:lnTo>
                      <a:pt x="27" y="28"/>
                    </a:lnTo>
                    <a:lnTo>
                      <a:pt x="27" y="28"/>
                    </a:lnTo>
                    <a:lnTo>
                      <a:pt x="27" y="28"/>
                    </a:lnTo>
                    <a:lnTo>
                      <a:pt x="27" y="28"/>
                    </a:lnTo>
                    <a:lnTo>
                      <a:pt x="27" y="28"/>
                    </a:lnTo>
                    <a:lnTo>
                      <a:pt x="27" y="28"/>
                    </a:lnTo>
                    <a:close/>
                    <a:moveTo>
                      <a:pt x="47" y="25"/>
                    </a:moveTo>
                    <a:lnTo>
                      <a:pt x="49" y="23"/>
                    </a:lnTo>
                    <a:lnTo>
                      <a:pt x="47" y="22"/>
                    </a:lnTo>
                    <a:lnTo>
                      <a:pt x="44" y="22"/>
                    </a:lnTo>
                    <a:lnTo>
                      <a:pt x="41" y="23"/>
                    </a:lnTo>
                    <a:lnTo>
                      <a:pt x="43" y="27"/>
                    </a:lnTo>
                    <a:lnTo>
                      <a:pt x="43" y="27"/>
                    </a:lnTo>
                    <a:lnTo>
                      <a:pt x="41" y="27"/>
                    </a:lnTo>
                    <a:lnTo>
                      <a:pt x="43" y="27"/>
                    </a:lnTo>
                    <a:lnTo>
                      <a:pt x="41" y="25"/>
                    </a:lnTo>
                    <a:lnTo>
                      <a:pt x="41" y="27"/>
                    </a:lnTo>
                    <a:lnTo>
                      <a:pt x="41" y="27"/>
                    </a:lnTo>
                    <a:lnTo>
                      <a:pt x="38" y="27"/>
                    </a:lnTo>
                    <a:lnTo>
                      <a:pt x="41" y="25"/>
                    </a:lnTo>
                    <a:lnTo>
                      <a:pt x="38" y="25"/>
                    </a:lnTo>
                    <a:lnTo>
                      <a:pt x="38" y="25"/>
                    </a:lnTo>
                    <a:lnTo>
                      <a:pt x="35" y="27"/>
                    </a:lnTo>
                    <a:lnTo>
                      <a:pt x="35" y="27"/>
                    </a:lnTo>
                    <a:lnTo>
                      <a:pt x="30" y="27"/>
                    </a:lnTo>
                    <a:lnTo>
                      <a:pt x="35" y="30"/>
                    </a:lnTo>
                    <a:lnTo>
                      <a:pt x="35" y="31"/>
                    </a:lnTo>
                    <a:lnTo>
                      <a:pt x="31" y="31"/>
                    </a:lnTo>
                    <a:lnTo>
                      <a:pt x="35" y="33"/>
                    </a:lnTo>
                    <a:lnTo>
                      <a:pt x="38" y="33"/>
                    </a:lnTo>
                    <a:lnTo>
                      <a:pt x="38" y="35"/>
                    </a:lnTo>
                    <a:lnTo>
                      <a:pt x="41" y="35"/>
                    </a:lnTo>
                    <a:lnTo>
                      <a:pt x="41" y="36"/>
                    </a:lnTo>
                    <a:lnTo>
                      <a:pt x="41" y="36"/>
                    </a:lnTo>
                    <a:lnTo>
                      <a:pt x="44" y="36"/>
                    </a:lnTo>
                    <a:lnTo>
                      <a:pt x="43" y="35"/>
                    </a:lnTo>
                    <a:lnTo>
                      <a:pt x="44" y="35"/>
                    </a:lnTo>
                    <a:lnTo>
                      <a:pt x="46" y="33"/>
                    </a:lnTo>
                    <a:lnTo>
                      <a:pt x="47" y="33"/>
                    </a:lnTo>
                    <a:lnTo>
                      <a:pt x="46" y="31"/>
                    </a:lnTo>
                    <a:lnTo>
                      <a:pt x="44" y="30"/>
                    </a:lnTo>
                    <a:lnTo>
                      <a:pt x="46" y="28"/>
                    </a:lnTo>
                    <a:lnTo>
                      <a:pt x="47" y="27"/>
                    </a:lnTo>
                    <a:lnTo>
                      <a:pt x="49" y="27"/>
                    </a:lnTo>
                    <a:lnTo>
                      <a:pt x="47" y="27"/>
                    </a:lnTo>
                    <a:lnTo>
                      <a:pt x="47" y="25"/>
                    </a:lnTo>
                    <a:lnTo>
                      <a:pt x="47" y="25"/>
                    </a:lnTo>
                    <a:lnTo>
                      <a:pt x="47" y="25"/>
                    </a:lnTo>
                    <a:lnTo>
                      <a:pt x="47" y="25"/>
                    </a:lnTo>
                    <a:lnTo>
                      <a:pt x="47" y="25"/>
                    </a:lnTo>
                    <a:lnTo>
                      <a:pt x="47" y="25"/>
                    </a:lnTo>
                    <a:lnTo>
                      <a:pt x="47" y="25"/>
                    </a:lnTo>
                    <a:lnTo>
                      <a:pt x="47" y="25"/>
                    </a:lnTo>
                    <a:lnTo>
                      <a:pt x="47" y="25"/>
                    </a:lnTo>
                    <a:close/>
                    <a:moveTo>
                      <a:pt x="41" y="39"/>
                    </a:moveTo>
                    <a:lnTo>
                      <a:pt x="41" y="39"/>
                    </a:lnTo>
                    <a:lnTo>
                      <a:pt x="38" y="39"/>
                    </a:lnTo>
                    <a:lnTo>
                      <a:pt x="35" y="38"/>
                    </a:lnTo>
                    <a:lnTo>
                      <a:pt x="35" y="38"/>
                    </a:lnTo>
                    <a:lnTo>
                      <a:pt x="31" y="38"/>
                    </a:lnTo>
                    <a:lnTo>
                      <a:pt x="31" y="39"/>
                    </a:lnTo>
                    <a:lnTo>
                      <a:pt x="35" y="41"/>
                    </a:lnTo>
                    <a:lnTo>
                      <a:pt x="38" y="43"/>
                    </a:lnTo>
                    <a:lnTo>
                      <a:pt x="41" y="41"/>
                    </a:lnTo>
                    <a:lnTo>
                      <a:pt x="41" y="39"/>
                    </a:lnTo>
                    <a:lnTo>
                      <a:pt x="41" y="43"/>
                    </a:lnTo>
                    <a:lnTo>
                      <a:pt x="43" y="39"/>
                    </a:lnTo>
                    <a:lnTo>
                      <a:pt x="43" y="38"/>
                    </a:lnTo>
                    <a:lnTo>
                      <a:pt x="41" y="36"/>
                    </a:lnTo>
                    <a:lnTo>
                      <a:pt x="41" y="38"/>
                    </a:lnTo>
                    <a:lnTo>
                      <a:pt x="41" y="39"/>
                    </a:lnTo>
                    <a:lnTo>
                      <a:pt x="41" y="39"/>
                    </a:lnTo>
                    <a:lnTo>
                      <a:pt x="41" y="39"/>
                    </a:lnTo>
                    <a:lnTo>
                      <a:pt x="41" y="39"/>
                    </a:lnTo>
                    <a:lnTo>
                      <a:pt x="41" y="39"/>
                    </a:lnTo>
                    <a:lnTo>
                      <a:pt x="41" y="39"/>
                    </a:lnTo>
                    <a:lnTo>
                      <a:pt x="41" y="39"/>
                    </a:lnTo>
                    <a:lnTo>
                      <a:pt x="41" y="39"/>
                    </a:lnTo>
                    <a:lnTo>
                      <a:pt x="41" y="39"/>
                    </a:lnTo>
                    <a:close/>
                    <a:moveTo>
                      <a:pt x="3" y="39"/>
                    </a:moveTo>
                    <a:lnTo>
                      <a:pt x="4" y="38"/>
                    </a:lnTo>
                    <a:lnTo>
                      <a:pt x="3" y="38"/>
                    </a:lnTo>
                    <a:lnTo>
                      <a:pt x="3" y="39"/>
                    </a:lnTo>
                    <a:lnTo>
                      <a:pt x="3" y="39"/>
                    </a:lnTo>
                    <a:lnTo>
                      <a:pt x="3" y="39"/>
                    </a:lnTo>
                    <a:lnTo>
                      <a:pt x="3" y="39"/>
                    </a:lnTo>
                    <a:lnTo>
                      <a:pt x="3" y="39"/>
                    </a:lnTo>
                    <a:lnTo>
                      <a:pt x="3" y="39"/>
                    </a:lnTo>
                    <a:lnTo>
                      <a:pt x="3" y="39"/>
                    </a:lnTo>
                    <a:lnTo>
                      <a:pt x="3" y="39"/>
                    </a:lnTo>
                    <a:lnTo>
                      <a:pt x="3" y="39"/>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64" name="Freeform 211">
                <a:extLst>
                  <a:ext uri="{FF2B5EF4-FFF2-40B4-BE49-F238E27FC236}">
                    <a16:creationId xmlns:a16="http://schemas.microsoft.com/office/drawing/2014/main" id="{3E00769B-43A1-EFE5-C2E8-6A2584E0F328}"/>
                  </a:ext>
                </a:extLst>
              </p:cNvPr>
              <p:cNvSpPr>
                <a:spLocks/>
              </p:cNvSpPr>
              <p:nvPr/>
            </p:nvSpPr>
            <p:spPr bwMode="auto">
              <a:xfrm>
                <a:off x="6157223" y="2271028"/>
                <a:ext cx="246738" cy="179446"/>
              </a:xfrm>
              <a:custGeom>
                <a:avLst/>
                <a:gdLst>
                  <a:gd name="T0" fmla="*/ 107 w 110"/>
                  <a:gd name="T1" fmla="*/ 53 h 80"/>
                  <a:gd name="T2" fmla="*/ 104 w 110"/>
                  <a:gd name="T3" fmla="*/ 45 h 80"/>
                  <a:gd name="T4" fmla="*/ 104 w 110"/>
                  <a:gd name="T5" fmla="*/ 42 h 80"/>
                  <a:gd name="T6" fmla="*/ 100 w 110"/>
                  <a:gd name="T7" fmla="*/ 37 h 80"/>
                  <a:gd name="T8" fmla="*/ 100 w 110"/>
                  <a:gd name="T9" fmla="*/ 32 h 80"/>
                  <a:gd name="T10" fmla="*/ 104 w 110"/>
                  <a:gd name="T11" fmla="*/ 29 h 80"/>
                  <a:gd name="T12" fmla="*/ 100 w 110"/>
                  <a:gd name="T13" fmla="*/ 16 h 80"/>
                  <a:gd name="T14" fmla="*/ 99 w 110"/>
                  <a:gd name="T15" fmla="*/ 13 h 80"/>
                  <a:gd name="T16" fmla="*/ 96 w 110"/>
                  <a:gd name="T17" fmla="*/ 8 h 80"/>
                  <a:gd name="T18" fmla="*/ 70 w 110"/>
                  <a:gd name="T19" fmla="*/ 7 h 80"/>
                  <a:gd name="T20" fmla="*/ 59 w 110"/>
                  <a:gd name="T21" fmla="*/ 7 h 80"/>
                  <a:gd name="T22" fmla="*/ 54 w 110"/>
                  <a:gd name="T23" fmla="*/ 8 h 80"/>
                  <a:gd name="T24" fmla="*/ 45 w 110"/>
                  <a:gd name="T25" fmla="*/ 5 h 80"/>
                  <a:gd name="T26" fmla="*/ 48 w 110"/>
                  <a:gd name="T27" fmla="*/ 2 h 80"/>
                  <a:gd name="T28" fmla="*/ 34 w 110"/>
                  <a:gd name="T29" fmla="*/ 2 h 80"/>
                  <a:gd name="T30" fmla="*/ 21 w 110"/>
                  <a:gd name="T31" fmla="*/ 7 h 80"/>
                  <a:gd name="T32" fmla="*/ 10 w 110"/>
                  <a:gd name="T33" fmla="*/ 10 h 80"/>
                  <a:gd name="T34" fmla="*/ 4 w 110"/>
                  <a:gd name="T35" fmla="*/ 13 h 80"/>
                  <a:gd name="T36" fmla="*/ 0 w 110"/>
                  <a:gd name="T37" fmla="*/ 16 h 80"/>
                  <a:gd name="T38" fmla="*/ 4 w 110"/>
                  <a:gd name="T39" fmla="*/ 21 h 80"/>
                  <a:gd name="T40" fmla="*/ 0 w 110"/>
                  <a:gd name="T41" fmla="*/ 27 h 80"/>
                  <a:gd name="T42" fmla="*/ 7 w 110"/>
                  <a:gd name="T43" fmla="*/ 32 h 80"/>
                  <a:gd name="T44" fmla="*/ 7 w 110"/>
                  <a:gd name="T45" fmla="*/ 37 h 80"/>
                  <a:gd name="T46" fmla="*/ 7 w 110"/>
                  <a:gd name="T47" fmla="*/ 43 h 80"/>
                  <a:gd name="T48" fmla="*/ 8 w 110"/>
                  <a:gd name="T49" fmla="*/ 45 h 80"/>
                  <a:gd name="T50" fmla="*/ 10 w 110"/>
                  <a:gd name="T51" fmla="*/ 54 h 80"/>
                  <a:gd name="T52" fmla="*/ 13 w 110"/>
                  <a:gd name="T53" fmla="*/ 54 h 80"/>
                  <a:gd name="T54" fmla="*/ 21 w 110"/>
                  <a:gd name="T55" fmla="*/ 56 h 80"/>
                  <a:gd name="T56" fmla="*/ 24 w 110"/>
                  <a:gd name="T57" fmla="*/ 57 h 80"/>
                  <a:gd name="T58" fmla="*/ 24 w 110"/>
                  <a:gd name="T59" fmla="*/ 62 h 80"/>
                  <a:gd name="T60" fmla="*/ 31 w 110"/>
                  <a:gd name="T61" fmla="*/ 65 h 80"/>
                  <a:gd name="T62" fmla="*/ 35 w 110"/>
                  <a:gd name="T63" fmla="*/ 62 h 80"/>
                  <a:gd name="T64" fmla="*/ 40 w 110"/>
                  <a:gd name="T65" fmla="*/ 65 h 80"/>
                  <a:gd name="T66" fmla="*/ 45 w 110"/>
                  <a:gd name="T67" fmla="*/ 67 h 80"/>
                  <a:gd name="T68" fmla="*/ 51 w 110"/>
                  <a:gd name="T69" fmla="*/ 70 h 80"/>
                  <a:gd name="T70" fmla="*/ 59 w 110"/>
                  <a:gd name="T71" fmla="*/ 73 h 80"/>
                  <a:gd name="T72" fmla="*/ 65 w 110"/>
                  <a:gd name="T73" fmla="*/ 78 h 80"/>
                  <a:gd name="T74" fmla="*/ 72 w 110"/>
                  <a:gd name="T75" fmla="*/ 75 h 80"/>
                  <a:gd name="T76" fmla="*/ 84 w 110"/>
                  <a:gd name="T77" fmla="*/ 75 h 80"/>
                  <a:gd name="T78" fmla="*/ 91 w 110"/>
                  <a:gd name="T79" fmla="*/ 80 h 80"/>
                  <a:gd name="T80" fmla="*/ 97 w 110"/>
                  <a:gd name="T81" fmla="*/ 80 h 80"/>
                  <a:gd name="T82" fmla="*/ 96 w 110"/>
                  <a:gd name="T83" fmla="*/ 78 h 80"/>
                  <a:gd name="T84" fmla="*/ 96 w 110"/>
                  <a:gd name="T85" fmla="*/ 73 h 80"/>
                  <a:gd name="T86" fmla="*/ 99 w 110"/>
                  <a:gd name="T87" fmla="*/ 67 h 80"/>
                  <a:gd name="T88" fmla="*/ 110 w 110"/>
                  <a:gd name="T89" fmla="*/ 57 h 80"/>
                  <a:gd name="T90" fmla="*/ 110 w 110"/>
                  <a:gd name="T91" fmla="*/ 54 h 80"/>
                  <a:gd name="T92" fmla="*/ 110 w 110"/>
                  <a:gd name="T93" fmla="*/ 54 h 80"/>
                  <a:gd name="T94" fmla="*/ 110 w 110"/>
                  <a:gd name="T95" fmla="*/ 5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80">
                    <a:moveTo>
                      <a:pt x="110" y="54"/>
                    </a:moveTo>
                    <a:lnTo>
                      <a:pt x="107" y="54"/>
                    </a:lnTo>
                    <a:lnTo>
                      <a:pt x="107" y="53"/>
                    </a:lnTo>
                    <a:lnTo>
                      <a:pt x="104" y="51"/>
                    </a:lnTo>
                    <a:lnTo>
                      <a:pt x="104" y="48"/>
                    </a:lnTo>
                    <a:lnTo>
                      <a:pt x="104" y="45"/>
                    </a:lnTo>
                    <a:lnTo>
                      <a:pt x="104" y="45"/>
                    </a:lnTo>
                    <a:lnTo>
                      <a:pt x="104" y="43"/>
                    </a:lnTo>
                    <a:lnTo>
                      <a:pt x="104" y="42"/>
                    </a:lnTo>
                    <a:lnTo>
                      <a:pt x="104" y="42"/>
                    </a:lnTo>
                    <a:lnTo>
                      <a:pt x="104" y="38"/>
                    </a:lnTo>
                    <a:lnTo>
                      <a:pt x="100" y="37"/>
                    </a:lnTo>
                    <a:lnTo>
                      <a:pt x="99" y="37"/>
                    </a:lnTo>
                    <a:lnTo>
                      <a:pt x="99" y="35"/>
                    </a:lnTo>
                    <a:lnTo>
                      <a:pt x="100" y="32"/>
                    </a:lnTo>
                    <a:lnTo>
                      <a:pt x="104" y="30"/>
                    </a:lnTo>
                    <a:lnTo>
                      <a:pt x="104" y="30"/>
                    </a:lnTo>
                    <a:lnTo>
                      <a:pt x="104" y="29"/>
                    </a:lnTo>
                    <a:lnTo>
                      <a:pt x="104" y="24"/>
                    </a:lnTo>
                    <a:lnTo>
                      <a:pt x="104" y="21"/>
                    </a:lnTo>
                    <a:lnTo>
                      <a:pt x="100" y="16"/>
                    </a:lnTo>
                    <a:lnTo>
                      <a:pt x="100" y="16"/>
                    </a:lnTo>
                    <a:lnTo>
                      <a:pt x="100" y="13"/>
                    </a:lnTo>
                    <a:lnTo>
                      <a:pt x="99" y="13"/>
                    </a:lnTo>
                    <a:lnTo>
                      <a:pt x="99" y="13"/>
                    </a:lnTo>
                    <a:lnTo>
                      <a:pt x="97" y="10"/>
                    </a:lnTo>
                    <a:lnTo>
                      <a:pt x="96" y="8"/>
                    </a:lnTo>
                    <a:lnTo>
                      <a:pt x="92" y="8"/>
                    </a:lnTo>
                    <a:lnTo>
                      <a:pt x="80" y="8"/>
                    </a:lnTo>
                    <a:lnTo>
                      <a:pt x="70" y="7"/>
                    </a:lnTo>
                    <a:lnTo>
                      <a:pt x="62" y="7"/>
                    </a:lnTo>
                    <a:lnTo>
                      <a:pt x="61" y="7"/>
                    </a:lnTo>
                    <a:lnTo>
                      <a:pt x="59" y="7"/>
                    </a:lnTo>
                    <a:lnTo>
                      <a:pt x="56" y="7"/>
                    </a:lnTo>
                    <a:lnTo>
                      <a:pt x="54" y="8"/>
                    </a:lnTo>
                    <a:lnTo>
                      <a:pt x="54" y="8"/>
                    </a:lnTo>
                    <a:lnTo>
                      <a:pt x="54" y="7"/>
                    </a:lnTo>
                    <a:lnTo>
                      <a:pt x="48" y="7"/>
                    </a:lnTo>
                    <a:lnTo>
                      <a:pt x="45" y="5"/>
                    </a:lnTo>
                    <a:lnTo>
                      <a:pt x="45" y="2"/>
                    </a:lnTo>
                    <a:lnTo>
                      <a:pt x="45" y="2"/>
                    </a:lnTo>
                    <a:lnTo>
                      <a:pt x="48" y="2"/>
                    </a:lnTo>
                    <a:lnTo>
                      <a:pt x="45" y="0"/>
                    </a:lnTo>
                    <a:lnTo>
                      <a:pt x="42" y="0"/>
                    </a:lnTo>
                    <a:lnTo>
                      <a:pt x="34" y="2"/>
                    </a:lnTo>
                    <a:lnTo>
                      <a:pt x="27" y="4"/>
                    </a:lnTo>
                    <a:lnTo>
                      <a:pt x="24" y="5"/>
                    </a:lnTo>
                    <a:lnTo>
                      <a:pt x="21" y="7"/>
                    </a:lnTo>
                    <a:lnTo>
                      <a:pt x="19" y="8"/>
                    </a:lnTo>
                    <a:lnTo>
                      <a:pt x="16" y="10"/>
                    </a:lnTo>
                    <a:lnTo>
                      <a:pt x="10" y="10"/>
                    </a:lnTo>
                    <a:lnTo>
                      <a:pt x="7" y="13"/>
                    </a:lnTo>
                    <a:lnTo>
                      <a:pt x="4" y="13"/>
                    </a:lnTo>
                    <a:lnTo>
                      <a:pt x="4" y="13"/>
                    </a:lnTo>
                    <a:lnTo>
                      <a:pt x="4" y="16"/>
                    </a:lnTo>
                    <a:lnTo>
                      <a:pt x="4" y="16"/>
                    </a:lnTo>
                    <a:lnTo>
                      <a:pt x="0" y="16"/>
                    </a:lnTo>
                    <a:lnTo>
                      <a:pt x="0" y="16"/>
                    </a:lnTo>
                    <a:lnTo>
                      <a:pt x="4" y="19"/>
                    </a:lnTo>
                    <a:lnTo>
                      <a:pt x="4" y="21"/>
                    </a:lnTo>
                    <a:lnTo>
                      <a:pt x="4" y="23"/>
                    </a:lnTo>
                    <a:lnTo>
                      <a:pt x="0" y="26"/>
                    </a:lnTo>
                    <a:lnTo>
                      <a:pt x="0" y="27"/>
                    </a:lnTo>
                    <a:lnTo>
                      <a:pt x="4" y="29"/>
                    </a:lnTo>
                    <a:lnTo>
                      <a:pt x="7" y="30"/>
                    </a:lnTo>
                    <a:lnTo>
                      <a:pt x="7" y="32"/>
                    </a:lnTo>
                    <a:lnTo>
                      <a:pt x="7" y="34"/>
                    </a:lnTo>
                    <a:lnTo>
                      <a:pt x="7" y="35"/>
                    </a:lnTo>
                    <a:lnTo>
                      <a:pt x="7" y="37"/>
                    </a:lnTo>
                    <a:lnTo>
                      <a:pt x="7" y="40"/>
                    </a:lnTo>
                    <a:lnTo>
                      <a:pt x="7" y="42"/>
                    </a:lnTo>
                    <a:lnTo>
                      <a:pt x="7" y="43"/>
                    </a:lnTo>
                    <a:lnTo>
                      <a:pt x="7" y="43"/>
                    </a:lnTo>
                    <a:lnTo>
                      <a:pt x="7" y="45"/>
                    </a:lnTo>
                    <a:lnTo>
                      <a:pt x="8" y="45"/>
                    </a:lnTo>
                    <a:lnTo>
                      <a:pt x="10" y="48"/>
                    </a:lnTo>
                    <a:lnTo>
                      <a:pt x="10" y="51"/>
                    </a:lnTo>
                    <a:lnTo>
                      <a:pt x="10" y="54"/>
                    </a:lnTo>
                    <a:lnTo>
                      <a:pt x="11" y="54"/>
                    </a:lnTo>
                    <a:lnTo>
                      <a:pt x="13" y="54"/>
                    </a:lnTo>
                    <a:lnTo>
                      <a:pt x="13" y="54"/>
                    </a:lnTo>
                    <a:lnTo>
                      <a:pt x="15" y="56"/>
                    </a:lnTo>
                    <a:lnTo>
                      <a:pt x="18" y="56"/>
                    </a:lnTo>
                    <a:lnTo>
                      <a:pt x="21" y="56"/>
                    </a:lnTo>
                    <a:lnTo>
                      <a:pt x="21" y="57"/>
                    </a:lnTo>
                    <a:lnTo>
                      <a:pt x="24" y="57"/>
                    </a:lnTo>
                    <a:lnTo>
                      <a:pt x="24" y="57"/>
                    </a:lnTo>
                    <a:lnTo>
                      <a:pt x="24" y="59"/>
                    </a:lnTo>
                    <a:lnTo>
                      <a:pt x="24" y="61"/>
                    </a:lnTo>
                    <a:lnTo>
                      <a:pt x="24" y="62"/>
                    </a:lnTo>
                    <a:lnTo>
                      <a:pt x="27" y="64"/>
                    </a:lnTo>
                    <a:lnTo>
                      <a:pt x="27" y="65"/>
                    </a:lnTo>
                    <a:lnTo>
                      <a:pt x="31" y="65"/>
                    </a:lnTo>
                    <a:lnTo>
                      <a:pt x="34" y="62"/>
                    </a:lnTo>
                    <a:lnTo>
                      <a:pt x="31" y="61"/>
                    </a:lnTo>
                    <a:lnTo>
                      <a:pt x="35" y="62"/>
                    </a:lnTo>
                    <a:lnTo>
                      <a:pt x="37" y="62"/>
                    </a:lnTo>
                    <a:lnTo>
                      <a:pt x="40" y="62"/>
                    </a:lnTo>
                    <a:lnTo>
                      <a:pt x="40" y="65"/>
                    </a:lnTo>
                    <a:lnTo>
                      <a:pt x="40" y="67"/>
                    </a:lnTo>
                    <a:lnTo>
                      <a:pt x="42" y="67"/>
                    </a:lnTo>
                    <a:lnTo>
                      <a:pt x="45" y="67"/>
                    </a:lnTo>
                    <a:lnTo>
                      <a:pt x="45" y="67"/>
                    </a:lnTo>
                    <a:lnTo>
                      <a:pt x="48" y="69"/>
                    </a:lnTo>
                    <a:lnTo>
                      <a:pt x="51" y="70"/>
                    </a:lnTo>
                    <a:lnTo>
                      <a:pt x="54" y="75"/>
                    </a:lnTo>
                    <a:lnTo>
                      <a:pt x="56" y="73"/>
                    </a:lnTo>
                    <a:lnTo>
                      <a:pt x="59" y="73"/>
                    </a:lnTo>
                    <a:lnTo>
                      <a:pt x="62" y="75"/>
                    </a:lnTo>
                    <a:lnTo>
                      <a:pt x="64" y="78"/>
                    </a:lnTo>
                    <a:lnTo>
                      <a:pt x="65" y="78"/>
                    </a:lnTo>
                    <a:lnTo>
                      <a:pt x="69" y="77"/>
                    </a:lnTo>
                    <a:lnTo>
                      <a:pt x="70" y="75"/>
                    </a:lnTo>
                    <a:lnTo>
                      <a:pt x="72" y="75"/>
                    </a:lnTo>
                    <a:lnTo>
                      <a:pt x="75" y="77"/>
                    </a:lnTo>
                    <a:lnTo>
                      <a:pt x="80" y="75"/>
                    </a:lnTo>
                    <a:lnTo>
                      <a:pt x="84" y="75"/>
                    </a:lnTo>
                    <a:lnTo>
                      <a:pt x="88" y="77"/>
                    </a:lnTo>
                    <a:lnTo>
                      <a:pt x="88" y="78"/>
                    </a:lnTo>
                    <a:lnTo>
                      <a:pt x="91" y="80"/>
                    </a:lnTo>
                    <a:lnTo>
                      <a:pt x="94" y="80"/>
                    </a:lnTo>
                    <a:lnTo>
                      <a:pt x="96" y="80"/>
                    </a:lnTo>
                    <a:lnTo>
                      <a:pt x="97" y="80"/>
                    </a:lnTo>
                    <a:lnTo>
                      <a:pt x="97" y="80"/>
                    </a:lnTo>
                    <a:lnTo>
                      <a:pt x="97" y="80"/>
                    </a:lnTo>
                    <a:lnTo>
                      <a:pt x="96" y="78"/>
                    </a:lnTo>
                    <a:lnTo>
                      <a:pt x="96" y="77"/>
                    </a:lnTo>
                    <a:lnTo>
                      <a:pt x="96" y="75"/>
                    </a:lnTo>
                    <a:lnTo>
                      <a:pt x="96" y="73"/>
                    </a:lnTo>
                    <a:lnTo>
                      <a:pt x="96" y="73"/>
                    </a:lnTo>
                    <a:lnTo>
                      <a:pt x="96" y="72"/>
                    </a:lnTo>
                    <a:lnTo>
                      <a:pt x="99" y="67"/>
                    </a:lnTo>
                    <a:lnTo>
                      <a:pt x="104" y="61"/>
                    </a:lnTo>
                    <a:lnTo>
                      <a:pt x="110" y="59"/>
                    </a:lnTo>
                    <a:lnTo>
                      <a:pt x="110" y="57"/>
                    </a:lnTo>
                    <a:lnTo>
                      <a:pt x="107" y="56"/>
                    </a:lnTo>
                    <a:lnTo>
                      <a:pt x="110" y="54"/>
                    </a:lnTo>
                    <a:lnTo>
                      <a:pt x="110" y="54"/>
                    </a:lnTo>
                    <a:lnTo>
                      <a:pt x="110" y="54"/>
                    </a:lnTo>
                    <a:lnTo>
                      <a:pt x="110" y="54"/>
                    </a:lnTo>
                    <a:lnTo>
                      <a:pt x="110" y="54"/>
                    </a:lnTo>
                    <a:lnTo>
                      <a:pt x="110" y="54"/>
                    </a:lnTo>
                    <a:lnTo>
                      <a:pt x="110" y="54"/>
                    </a:lnTo>
                    <a:lnTo>
                      <a:pt x="110" y="54"/>
                    </a:lnTo>
                    <a:lnTo>
                      <a:pt x="110" y="5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65" name="Freeform 217">
                <a:extLst>
                  <a:ext uri="{FF2B5EF4-FFF2-40B4-BE49-F238E27FC236}">
                    <a16:creationId xmlns:a16="http://schemas.microsoft.com/office/drawing/2014/main" id="{3BA547C8-7619-5FBA-6958-96C87713E18D}"/>
                  </a:ext>
                </a:extLst>
              </p:cNvPr>
              <p:cNvSpPr>
                <a:spLocks noEditPoints="1"/>
              </p:cNvSpPr>
              <p:nvPr/>
            </p:nvSpPr>
            <p:spPr bwMode="auto">
              <a:xfrm>
                <a:off x="5968804" y="2511036"/>
                <a:ext cx="309544" cy="334219"/>
              </a:xfrm>
              <a:custGeom>
                <a:avLst/>
                <a:gdLst>
                  <a:gd name="T0" fmla="*/ 91 w 138"/>
                  <a:gd name="T1" fmla="*/ 128 h 149"/>
                  <a:gd name="T2" fmla="*/ 76 w 138"/>
                  <a:gd name="T3" fmla="*/ 128 h 149"/>
                  <a:gd name="T4" fmla="*/ 68 w 138"/>
                  <a:gd name="T5" fmla="*/ 133 h 149"/>
                  <a:gd name="T6" fmla="*/ 91 w 138"/>
                  <a:gd name="T7" fmla="*/ 143 h 149"/>
                  <a:gd name="T8" fmla="*/ 102 w 138"/>
                  <a:gd name="T9" fmla="*/ 144 h 149"/>
                  <a:gd name="T10" fmla="*/ 105 w 138"/>
                  <a:gd name="T11" fmla="*/ 125 h 149"/>
                  <a:gd name="T12" fmla="*/ 100 w 138"/>
                  <a:gd name="T13" fmla="*/ 128 h 149"/>
                  <a:gd name="T14" fmla="*/ 100 w 138"/>
                  <a:gd name="T15" fmla="*/ 128 h 149"/>
                  <a:gd name="T16" fmla="*/ 119 w 138"/>
                  <a:gd name="T17" fmla="*/ 85 h 149"/>
                  <a:gd name="T18" fmla="*/ 111 w 138"/>
                  <a:gd name="T19" fmla="*/ 74 h 149"/>
                  <a:gd name="T20" fmla="*/ 97 w 138"/>
                  <a:gd name="T21" fmla="*/ 73 h 149"/>
                  <a:gd name="T22" fmla="*/ 81 w 138"/>
                  <a:gd name="T23" fmla="*/ 51 h 149"/>
                  <a:gd name="T24" fmla="*/ 62 w 138"/>
                  <a:gd name="T25" fmla="*/ 38 h 149"/>
                  <a:gd name="T26" fmla="*/ 65 w 138"/>
                  <a:gd name="T27" fmla="*/ 28 h 149"/>
                  <a:gd name="T28" fmla="*/ 65 w 138"/>
                  <a:gd name="T29" fmla="*/ 24 h 149"/>
                  <a:gd name="T30" fmla="*/ 78 w 138"/>
                  <a:gd name="T31" fmla="*/ 19 h 149"/>
                  <a:gd name="T32" fmla="*/ 80 w 138"/>
                  <a:gd name="T33" fmla="*/ 16 h 149"/>
                  <a:gd name="T34" fmla="*/ 80 w 138"/>
                  <a:gd name="T35" fmla="*/ 8 h 149"/>
                  <a:gd name="T36" fmla="*/ 62 w 138"/>
                  <a:gd name="T37" fmla="*/ 0 h 149"/>
                  <a:gd name="T38" fmla="*/ 53 w 138"/>
                  <a:gd name="T39" fmla="*/ 3 h 149"/>
                  <a:gd name="T40" fmla="*/ 43 w 138"/>
                  <a:gd name="T41" fmla="*/ 6 h 149"/>
                  <a:gd name="T42" fmla="*/ 40 w 138"/>
                  <a:gd name="T43" fmla="*/ 11 h 149"/>
                  <a:gd name="T44" fmla="*/ 34 w 138"/>
                  <a:gd name="T45" fmla="*/ 11 h 149"/>
                  <a:gd name="T46" fmla="*/ 30 w 138"/>
                  <a:gd name="T47" fmla="*/ 11 h 149"/>
                  <a:gd name="T48" fmla="*/ 26 w 138"/>
                  <a:gd name="T49" fmla="*/ 16 h 149"/>
                  <a:gd name="T50" fmla="*/ 18 w 138"/>
                  <a:gd name="T51" fmla="*/ 12 h 149"/>
                  <a:gd name="T52" fmla="*/ 7 w 138"/>
                  <a:gd name="T53" fmla="*/ 17 h 149"/>
                  <a:gd name="T54" fmla="*/ 7 w 138"/>
                  <a:gd name="T55" fmla="*/ 24 h 149"/>
                  <a:gd name="T56" fmla="*/ 3 w 138"/>
                  <a:gd name="T57" fmla="*/ 31 h 149"/>
                  <a:gd name="T58" fmla="*/ 7 w 138"/>
                  <a:gd name="T59" fmla="*/ 41 h 149"/>
                  <a:gd name="T60" fmla="*/ 10 w 138"/>
                  <a:gd name="T61" fmla="*/ 44 h 149"/>
                  <a:gd name="T62" fmla="*/ 16 w 138"/>
                  <a:gd name="T63" fmla="*/ 46 h 149"/>
                  <a:gd name="T64" fmla="*/ 30 w 138"/>
                  <a:gd name="T65" fmla="*/ 39 h 149"/>
                  <a:gd name="T66" fmla="*/ 45 w 138"/>
                  <a:gd name="T67" fmla="*/ 60 h 149"/>
                  <a:gd name="T68" fmla="*/ 54 w 138"/>
                  <a:gd name="T69" fmla="*/ 66 h 149"/>
                  <a:gd name="T70" fmla="*/ 68 w 138"/>
                  <a:gd name="T71" fmla="*/ 79 h 149"/>
                  <a:gd name="T72" fmla="*/ 83 w 138"/>
                  <a:gd name="T73" fmla="*/ 84 h 149"/>
                  <a:gd name="T74" fmla="*/ 91 w 138"/>
                  <a:gd name="T75" fmla="*/ 90 h 149"/>
                  <a:gd name="T76" fmla="*/ 97 w 138"/>
                  <a:gd name="T77" fmla="*/ 95 h 149"/>
                  <a:gd name="T78" fmla="*/ 103 w 138"/>
                  <a:gd name="T79" fmla="*/ 101 h 149"/>
                  <a:gd name="T80" fmla="*/ 111 w 138"/>
                  <a:gd name="T81" fmla="*/ 114 h 149"/>
                  <a:gd name="T82" fmla="*/ 108 w 138"/>
                  <a:gd name="T83" fmla="*/ 122 h 149"/>
                  <a:gd name="T84" fmla="*/ 108 w 138"/>
                  <a:gd name="T85" fmla="*/ 130 h 149"/>
                  <a:gd name="T86" fmla="*/ 119 w 138"/>
                  <a:gd name="T87" fmla="*/ 117 h 149"/>
                  <a:gd name="T88" fmla="*/ 118 w 138"/>
                  <a:gd name="T89" fmla="*/ 108 h 149"/>
                  <a:gd name="T90" fmla="*/ 124 w 138"/>
                  <a:gd name="T91" fmla="*/ 95 h 149"/>
                  <a:gd name="T92" fmla="*/ 134 w 138"/>
                  <a:gd name="T93" fmla="*/ 101 h 149"/>
                  <a:gd name="T94" fmla="*/ 138 w 138"/>
                  <a:gd name="T95" fmla="*/ 98 h 149"/>
                  <a:gd name="T96" fmla="*/ 137 w 138"/>
                  <a:gd name="T97" fmla="*/ 95 h 149"/>
                  <a:gd name="T98" fmla="*/ 19 w 138"/>
                  <a:gd name="T99" fmla="*/ 116 h 149"/>
                  <a:gd name="T100" fmla="*/ 19 w 138"/>
                  <a:gd name="T101" fmla="*/ 116 h 149"/>
                  <a:gd name="T102" fmla="*/ 19 w 138"/>
                  <a:gd name="T103" fmla="*/ 116 h 149"/>
                  <a:gd name="T104" fmla="*/ 34 w 138"/>
                  <a:gd name="T105" fmla="*/ 85 h 149"/>
                  <a:gd name="T106" fmla="*/ 22 w 138"/>
                  <a:gd name="T107" fmla="*/ 89 h 149"/>
                  <a:gd name="T108" fmla="*/ 19 w 138"/>
                  <a:gd name="T109" fmla="*/ 95 h 149"/>
                  <a:gd name="T110" fmla="*/ 21 w 138"/>
                  <a:gd name="T111" fmla="*/ 104 h 149"/>
                  <a:gd name="T112" fmla="*/ 22 w 138"/>
                  <a:gd name="T113" fmla="*/ 117 h 149"/>
                  <a:gd name="T114" fmla="*/ 30 w 138"/>
                  <a:gd name="T115" fmla="*/ 112 h 149"/>
                  <a:gd name="T116" fmla="*/ 34 w 138"/>
                  <a:gd name="T117" fmla="*/ 98 h 149"/>
                  <a:gd name="T118" fmla="*/ 34 w 138"/>
                  <a:gd name="T119" fmla="*/ 89 h 149"/>
                  <a:gd name="T120" fmla="*/ 34 w 138"/>
                  <a:gd name="T121" fmla="*/ 8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 h="149">
                    <a:moveTo>
                      <a:pt x="100" y="128"/>
                    </a:moveTo>
                    <a:lnTo>
                      <a:pt x="99" y="128"/>
                    </a:lnTo>
                    <a:lnTo>
                      <a:pt x="97" y="128"/>
                    </a:lnTo>
                    <a:lnTo>
                      <a:pt x="94" y="128"/>
                    </a:lnTo>
                    <a:lnTo>
                      <a:pt x="91" y="128"/>
                    </a:lnTo>
                    <a:lnTo>
                      <a:pt x="84" y="128"/>
                    </a:lnTo>
                    <a:lnTo>
                      <a:pt x="84" y="128"/>
                    </a:lnTo>
                    <a:lnTo>
                      <a:pt x="81" y="128"/>
                    </a:lnTo>
                    <a:lnTo>
                      <a:pt x="80" y="128"/>
                    </a:lnTo>
                    <a:lnTo>
                      <a:pt x="76" y="128"/>
                    </a:lnTo>
                    <a:lnTo>
                      <a:pt x="73" y="128"/>
                    </a:lnTo>
                    <a:lnTo>
                      <a:pt x="72" y="128"/>
                    </a:lnTo>
                    <a:lnTo>
                      <a:pt x="68" y="130"/>
                    </a:lnTo>
                    <a:lnTo>
                      <a:pt x="68" y="131"/>
                    </a:lnTo>
                    <a:lnTo>
                      <a:pt x="68" y="133"/>
                    </a:lnTo>
                    <a:lnTo>
                      <a:pt x="68" y="135"/>
                    </a:lnTo>
                    <a:lnTo>
                      <a:pt x="73" y="135"/>
                    </a:lnTo>
                    <a:lnTo>
                      <a:pt x="78" y="138"/>
                    </a:lnTo>
                    <a:lnTo>
                      <a:pt x="81" y="141"/>
                    </a:lnTo>
                    <a:lnTo>
                      <a:pt x="91" y="143"/>
                    </a:lnTo>
                    <a:lnTo>
                      <a:pt x="91" y="146"/>
                    </a:lnTo>
                    <a:lnTo>
                      <a:pt x="94" y="149"/>
                    </a:lnTo>
                    <a:lnTo>
                      <a:pt x="100" y="149"/>
                    </a:lnTo>
                    <a:lnTo>
                      <a:pt x="100" y="146"/>
                    </a:lnTo>
                    <a:lnTo>
                      <a:pt x="102" y="144"/>
                    </a:lnTo>
                    <a:lnTo>
                      <a:pt x="102" y="141"/>
                    </a:lnTo>
                    <a:lnTo>
                      <a:pt x="100" y="138"/>
                    </a:lnTo>
                    <a:lnTo>
                      <a:pt x="100" y="135"/>
                    </a:lnTo>
                    <a:lnTo>
                      <a:pt x="102" y="131"/>
                    </a:lnTo>
                    <a:lnTo>
                      <a:pt x="105" y="125"/>
                    </a:lnTo>
                    <a:lnTo>
                      <a:pt x="103" y="125"/>
                    </a:lnTo>
                    <a:lnTo>
                      <a:pt x="100" y="128"/>
                    </a:lnTo>
                    <a:lnTo>
                      <a:pt x="100" y="128"/>
                    </a:lnTo>
                    <a:lnTo>
                      <a:pt x="100" y="128"/>
                    </a:lnTo>
                    <a:lnTo>
                      <a:pt x="100" y="128"/>
                    </a:lnTo>
                    <a:lnTo>
                      <a:pt x="100" y="128"/>
                    </a:lnTo>
                    <a:lnTo>
                      <a:pt x="100" y="128"/>
                    </a:lnTo>
                    <a:lnTo>
                      <a:pt x="100" y="128"/>
                    </a:lnTo>
                    <a:lnTo>
                      <a:pt x="100" y="128"/>
                    </a:lnTo>
                    <a:lnTo>
                      <a:pt x="100" y="128"/>
                    </a:lnTo>
                    <a:close/>
                    <a:moveTo>
                      <a:pt x="137" y="95"/>
                    </a:moveTo>
                    <a:lnTo>
                      <a:pt x="135" y="95"/>
                    </a:lnTo>
                    <a:lnTo>
                      <a:pt x="129" y="92"/>
                    </a:lnTo>
                    <a:lnTo>
                      <a:pt x="124" y="89"/>
                    </a:lnTo>
                    <a:lnTo>
                      <a:pt x="119" y="85"/>
                    </a:lnTo>
                    <a:lnTo>
                      <a:pt x="115" y="84"/>
                    </a:lnTo>
                    <a:lnTo>
                      <a:pt x="111" y="82"/>
                    </a:lnTo>
                    <a:lnTo>
                      <a:pt x="108" y="79"/>
                    </a:lnTo>
                    <a:lnTo>
                      <a:pt x="108" y="77"/>
                    </a:lnTo>
                    <a:lnTo>
                      <a:pt x="111" y="74"/>
                    </a:lnTo>
                    <a:lnTo>
                      <a:pt x="111" y="73"/>
                    </a:lnTo>
                    <a:lnTo>
                      <a:pt x="108" y="73"/>
                    </a:lnTo>
                    <a:lnTo>
                      <a:pt x="105" y="73"/>
                    </a:lnTo>
                    <a:lnTo>
                      <a:pt x="100" y="73"/>
                    </a:lnTo>
                    <a:lnTo>
                      <a:pt x="97" y="73"/>
                    </a:lnTo>
                    <a:lnTo>
                      <a:pt x="91" y="66"/>
                    </a:lnTo>
                    <a:lnTo>
                      <a:pt x="88" y="63"/>
                    </a:lnTo>
                    <a:lnTo>
                      <a:pt x="84" y="62"/>
                    </a:lnTo>
                    <a:lnTo>
                      <a:pt x="84" y="57"/>
                    </a:lnTo>
                    <a:lnTo>
                      <a:pt x="81" y="51"/>
                    </a:lnTo>
                    <a:lnTo>
                      <a:pt x="78" y="49"/>
                    </a:lnTo>
                    <a:lnTo>
                      <a:pt x="75" y="47"/>
                    </a:lnTo>
                    <a:lnTo>
                      <a:pt x="68" y="44"/>
                    </a:lnTo>
                    <a:lnTo>
                      <a:pt x="65" y="41"/>
                    </a:lnTo>
                    <a:lnTo>
                      <a:pt x="62" y="38"/>
                    </a:lnTo>
                    <a:lnTo>
                      <a:pt x="62" y="35"/>
                    </a:lnTo>
                    <a:lnTo>
                      <a:pt x="65" y="31"/>
                    </a:lnTo>
                    <a:lnTo>
                      <a:pt x="65" y="31"/>
                    </a:lnTo>
                    <a:lnTo>
                      <a:pt x="65" y="31"/>
                    </a:lnTo>
                    <a:lnTo>
                      <a:pt x="65" y="28"/>
                    </a:lnTo>
                    <a:lnTo>
                      <a:pt x="65" y="28"/>
                    </a:lnTo>
                    <a:lnTo>
                      <a:pt x="62" y="25"/>
                    </a:lnTo>
                    <a:lnTo>
                      <a:pt x="65" y="24"/>
                    </a:lnTo>
                    <a:lnTo>
                      <a:pt x="68" y="22"/>
                    </a:lnTo>
                    <a:lnTo>
                      <a:pt x="65" y="24"/>
                    </a:lnTo>
                    <a:lnTo>
                      <a:pt x="68" y="24"/>
                    </a:lnTo>
                    <a:lnTo>
                      <a:pt x="68" y="22"/>
                    </a:lnTo>
                    <a:lnTo>
                      <a:pt x="73" y="20"/>
                    </a:lnTo>
                    <a:lnTo>
                      <a:pt x="76" y="19"/>
                    </a:lnTo>
                    <a:lnTo>
                      <a:pt x="78" y="19"/>
                    </a:lnTo>
                    <a:lnTo>
                      <a:pt x="78" y="20"/>
                    </a:lnTo>
                    <a:lnTo>
                      <a:pt x="78" y="19"/>
                    </a:lnTo>
                    <a:lnTo>
                      <a:pt x="81" y="19"/>
                    </a:lnTo>
                    <a:lnTo>
                      <a:pt x="81" y="17"/>
                    </a:lnTo>
                    <a:lnTo>
                      <a:pt x="80" y="16"/>
                    </a:lnTo>
                    <a:lnTo>
                      <a:pt x="81" y="12"/>
                    </a:lnTo>
                    <a:lnTo>
                      <a:pt x="78" y="11"/>
                    </a:lnTo>
                    <a:lnTo>
                      <a:pt x="80" y="9"/>
                    </a:lnTo>
                    <a:lnTo>
                      <a:pt x="81" y="8"/>
                    </a:lnTo>
                    <a:lnTo>
                      <a:pt x="80" y="8"/>
                    </a:lnTo>
                    <a:lnTo>
                      <a:pt x="76" y="8"/>
                    </a:lnTo>
                    <a:lnTo>
                      <a:pt x="68" y="6"/>
                    </a:lnTo>
                    <a:lnTo>
                      <a:pt x="65" y="3"/>
                    </a:lnTo>
                    <a:lnTo>
                      <a:pt x="62" y="3"/>
                    </a:lnTo>
                    <a:lnTo>
                      <a:pt x="62" y="0"/>
                    </a:lnTo>
                    <a:lnTo>
                      <a:pt x="62" y="0"/>
                    </a:lnTo>
                    <a:lnTo>
                      <a:pt x="59" y="3"/>
                    </a:lnTo>
                    <a:lnTo>
                      <a:pt x="56" y="3"/>
                    </a:lnTo>
                    <a:lnTo>
                      <a:pt x="54" y="3"/>
                    </a:lnTo>
                    <a:lnTo>
                      <a:pt x="53" y="3"/>
                    </a:lnTo>
                    <a:lnTo>
                      <a:pt x="51" y="3"/>
                    </a:lnTo>
                    <a:lnTo>
                      <a:pt x="48" y="4"/>
                    </a:lnTo>
                    <a:lnTo>
                      <a:pt x="43" y="3"/>
                    </a:lnTo>
                    <a:lnTo>
                      <a:pt x="43" y="4"/>
                    </a:lnTo>
                    <a:lnTo>
                      <a:pt x="43" y="6"/>
                    </a:lnTo>
                    <a:lnTo>
                      <a:pt x="43" y="8"/>
                    </a:lnTo>
                    <a:lnTo>
                      <a:pt x="40" y="6"/>
                    </a:lnTo>
                    <a:lnTo>
                      <a:pt x="38" y="8"/>
                    </a:lnTo>
                    <a:lnTo>
                      <a:pt x="38" y="9"/>
                    </a:lnTo>
                    <a:lnTo>
                      <a:pt x="40" y="11"/>
                    </a:lnTo>
                    <a:lnTo>
                      <a:pt x="38" y="12"/>
                    </a:lnTo>
                    <a:lnTo>
                      <a:pt x="37" y="11"/>
                    </a:lnTo>
                    <a:lnTo>
                      <a:pt x="37" y="11"/>
                    </a:lnTo>
                    <a:lnTo>
                      <a:pt x="34" y="11"/>
                    </a:lnTo>
                    <a:lnTo>
                      <a:pt x="34" y="11"/>
                    </a:lnTo>
                    <a:lnTo>
                      <a:pt x="34" y="9"/>
                    </a:lnTo>
                    <a:lnTo>
                      <a:pt x="30" y="8"/>
                    </a:lnTo>
                    <a:lnTo>
                      <a:pt x="30" y="8"/>
                    </a:lnTo>
                    <a:lnTo>
                      <a:pt x="30" y="9"/>
                    </a:lnTo>
                    <a:lnTo>
                      <a:pt x="30" y="11"/>
                    </a:lnTo>
                    <a:lnTo>
                      <a:pt x="30" y="12"/>
                    </a:lnTo>
                    <a:lnTo>
                      <a:pt x="27" y="14"/>
                    </a:lnTo>
                    <a:lnTo>
                      <a:pt x="27" y="16"/>
                    </a:lnTo>
                    <a:lnTo>
                      <a:pt x="27" y="17"/>
                    </a:lnTo>
                    <a:lnTo>
                      <a:pt x="26" y="16"/>
                    </a:lnTo>
                    <a:lnTo>
                      <a:pt x="22" y="14"/>
                    </a:lnTo>
                    <a:lnTo>
                      <a:pt x="21" y="11"/>
                    </a:lnTo>
                    <a:lnTo>
                      <a:pt x="19" y="9"/>
                    </a:lnTo>
                    <a:lnTo>
                      <a:pt x="16" y="11"/>
                    </a:lnTo>
                    <a:lnTo>
                      <a:pt x="18" y="12"/>
                    </a:lnTo>
                    <a:lnTo>
                      <a:pt x="16" y="14"/>
                    </a:lnTo>
                    <a:lnTo>
                      <a:pt x="14" y="16"/>
                    </a:lnTo>
                    <a:lnTo>
                      <a:pt x="13" y="16"/>
                    </a:lnTo>
                    <a:lnTo>
                      <a:pt x="10" y="17"/>
                    </a:lnTo>
                    <a:lnTo>
                      <a:pt x="7" y="17"/>
                    </a:lnTo>
                    <a:lnTo>
                      <a:pt x="3" y="16"/>
                    </a:lnTo>
                    <a:lnTo>
                      <a:pt x="3" y="17"/>
                    </a:lnTo>
                    <a:lnTo>
                      <a:pt x="3" y="19"/>
                    </a:lnTo>
                    <a:lnTo>
                      <a:pt x="3" y="22"/>
                    </a:lnTo>
                    <a:lnTo>
                      <a:pt x="7" y="24"/>
                    </a:lnTo>
                    <a:lnTo>
                      <a:pt x="7" y="25"/>
                    </a:lnTo>
                    <a:lnTo>
                      <a:pt x="3" y="28"/>
                    </a:lnTo>
                    <a:lnTo>
                      <a:pt x="0" y="28"/>
                    </a:lnTo>
                    <a:lnTo>
                      <a:pt x="2" y="31"/>
                    </a:lnTo>
                    <a:lnTo>
                      <a:pt x="3" y="31"/>
                    </a:lnTo>
                    <a:lnTo>
                      <a:pt x="3" y="35"/>
                    </a:lnTo>
                    <a:lnTo>
                      <a:pt x="3" y="35"/>
                    </a:lnTo>
                    <a:lnTo>
                      <a:pt x="3" y="38"/>
                    </a:lnTo>
                    <a:lnTo>
                      <a:pt x="3" y="39"/>
                    </a:lnTo>
                    <a:lnTo>
                      <a:pt x="7" y="41"/>
                    </a:lnTo>
                    <a:lnTo>
                      <a:pt x="7" y="41"/>
                    </a:lnTo>
                    <a:lnTo>
                      <a:pt x="10" y="41"/>
                    </a:lnTo>
                    <a:lnTo>
                      <a:pt x="13" y="41"/>
                    </a:lnTo>
                    <a:lnTo>
                      <a:pt x="13" y="43"/>
                    </a:lnTo>
                    <a:lnTo>
                      <a:pt x="10" y="44"/>
                    </a:lnTo>
                    <a:lnTo>
                      <a:pt x="10" y="46"/>
                    </a:lnTo>
                    <a:lnTo>
                      <a:pt x="10" y="47"/>
                    </a:lnTo>
                    <a:lnTo>
                      <a:pt x="10" y="47"/>
                    </a:lnTo>
                    <a:lnTo>
                      <a:pt x="13" y="47"/>
                    </a:lnTo>
                    <a:lnTo>
                      <a:pt x="16" y="46"/>
                    </a:lnTo>
                    <a:lnTo>
                      <a:pt x="18" y="44"/>
                    </a:lnTo>
                    <a:lnTo>
                      <a:pt x="19" y="41"/>
                    </a:lnTo>
                    <a:lnTo>
                      <a:pt x="22" y="38"/>
                    </a:lnTo>
                    <a:lnTo>
                      <a:pt x="26" y="38"/>
                    </a:lnTo>
                    <a:lnTo>
                      <a:pt x="30" y="39"/>
                    </a:lnTo>
                    <a:lnTo>
                      <a:pt x="34" y="41"/>
                    </a:lnTo>
                    <a:lnTo>
                      <a:pt x="38" y="44"/>
                    </a:lnTo>
                    <a:lnTo>
                      <a:pt x="40" y="46"/>
                    </a:lnTo>
                    <a:lnTo>
                      <a:pt x="41" y="49"/>
                    </a:lnTo>
                    <a:lnTo>
                      <a:pt x="45" y="60"/>
                    </a:lnTo>
                    <a:lnTo>
                      <a:pt x="46" y="60"/>
                    </a:lnTo>
                    <a:lnTo>
                      <a:pt x="49" y="63"/>
                    </a:lnTo>
                    <a:lnTo>
                      <a:pt x="51" y="63"/>
                    </a:lnTo>
                    <a:lnTo>
                      <a:pt x="51" y="66"/>
                    </a:lnTo>
                    <a:lnTo>
                      <a:pt x="54" y="66"/>
                    </a:lnTo>
                    <a:lnTo>
                      <a:pt x="56" y="66"/>
                    </a:lnTo>
                    <a:lnTo>
                      <a:pt x="59" y="70"/>
                    </a:lnTo>
                    <a:lnTo>
                      <a:pt x="59" y="73"/>
                    </a:lnTo>
                    <a:lnTo>
                      <a:pt x="62" y="73"/>
                    </a:lnTo>
                    <a:lnTo>
                      <a:pt x="68" y="79"/>
                    </a:lnTo>
                    <a:lnTo>
                      <a:pt x="73" y="82"/>
                    </a:lnTo>
                    <a:lnTo>
                      <a:pt x="75" y="84"/>
                    </a:lnTo>
                    <a:lnTo>
                      <a:pt x="76" y="84"/>
                    </a:lnTo>
                    <a:lnTo>
                      <a:pt x="80" y="84"/>
                    </a:lnTo>
                    <a:lnTo>
                      <a:pt x="83" y="84"/>
                    </a:lnTo>
                    <a:lnTo>
                      <a:pt x="84" y="84"/>
                    </a:lnTo>
                    <a:lnTo>
                      <a:pt x="84" y="85"/>
                    </a:lnTo>
                    <a:lnTo>
                      <a:pt x="84" y="89"/>
                    </a:lnTo>
                    <a:lnTo>
                      <a:pt x="88" y="90"/>
                    </a:lnTo>
                    <a:lnTo>
                      <a:pt x="91" y="90"/>
                    </a:lnTo>
                    <a:lnTo>
                      <a:pt x="91" y="90"/>
                    </a:lnTo>
                    <a:lnTo>
                      <a:pt x="91" y="93"/>
                    </a:lnTo>
                    <a:lnTo>
                      <a:pt x="94" y="92"/>
                    </a:lnTo>
                    <a:lnTo>
                      <a:pt x="95" y="93"/>
                    </a:lnTo>
                    <a:lnTo>
                      <a:pt x="97" y="95"/>
                    </a:lnTo>
                    <a:lnTo>
                      <a:pt x="97" y="98"/>
                    </a:lnTo>
                    <a:lnTo>
                      <a:pt x="99" y="98"/>
                    </a:lnTo>
                    <a:lnTo>
                      <a:pt x="100" y="98"/>
                    </a:lnTo>
                    <a:lnTo>
                      <a:pt x="102" y="101"/>
                    </a:lnTo>
                    <a:lnTo>
                      <a:pt x="103" y="101"/>
                    </a:lnTo>
                    <a:lnTo>
                      <a:pt x="105" y="101"/>
                    </a:lnTo>
                    <a:lnTo>
                      <a:pt x="105" y="101"/>
                    </a:lnTo>
                    <a:lnTo>
                      <a:pt x="108" y="104"/>
                    </a:lnTo>
                    <a:lnTo>
                      <a:pt x="108" y="108"/>
                    </a:lnTo>
                    <a:lnTo>
                      <a:pt x="111" y="114"/>
                    </a:lnTo>
                    <a:lnTo>
                      <a:pt x="111" y="116"/>
                    </a:lnTo>
                    <a:lnTo>
                      <a:pt x="111" y="119"/>
                    </a:lnTo>
                    <a:lnTo>
                      <a:pt x="111" y="119"/>
                    </a:lnTo>
                    <a:lnTo>
                      <a:pt x="108" y="119"/>
                    </a:lnTo>
                    <a:lnTo>
                      <a:pt x="108" y="122"/>
                    </a:lnTo>
                    <a:lnTo>
                      <a:pt x="105" y="125"/>
                    </a:lnTo>
                    <a:lnTo>
                      <a:pt x="105" y="128"/>
                    </a:lnTo>
                    <a:lnTo>
                      <a:pt x="105" y="128"/>
                    </a:lnTo>
                    <a:lnTo>
                      <a:pt x="108" y="130"/>
                    </a:lnTo>
                    <a:lnTo>
                      <a:pt x="108" y="130"/>
                    </a:lnTo>
                    <a:lnTo>
                      <a:pt x="115" y="125"/>
                    </a:lnTo>
                    <a:lnTo>
                      <a:pt x="118" y="122"/>
                    </a:lnTo>
                    <a:lnTo>
                      <a:pt x="118" y="122"/>
                    </a:lnTo>
                    <a:lnTo>
                      <a:pt x="118" y="119"/>
                    </a:lnTo>
                    <a:lnTo>
                      <a:pt x="119" y="117"/>
                    </a:lnTo>
                    <a:lnTo>
                      <a:pt x="122" y="116"/>
                    </a:lnTo>
                    <a:lnTo>
                      <a:pt x="122" y="114"/>
                    </a:lnTo>
                    <a:lnTo>
                      <a:pt x="122" y="109"/>
                    </a:lnTo>
                    <a:lnTo>
                      <a:pt x="119" y="108"/>
                    </a:lnTo>
                    <a:lnTo>
                      <a:pt x="118" y="108"/>
                    </a:lnTo>
                    <a:lnTo>
                      <a:pt x="115" y="104"/>
                    </a:lnTo>
                    <a:lnTo>
                      <a:pt x="115" y="104"/>
                    </a:lnTo>
                    <a:lnTo>
                      <a:pt x="118" y="98"/>
                    </a:lnTo>
                    <a:lnTo>
                      <a:pt x="119" y="95"/>
                    </a:lnTo>
                    <a:lnTo>
                      <a:pt x="124" y="95"/>
                    </a:lnTo>
                    <a:lnTo>
                      <a:pt x="124" y="95"/>
                    </a:lnTo>
                    <a:lnTo>
                      <a:pt x="127" y="98"/>
                    </a:lnTo>
                    <a:lnTo>
                      <a:pt x="130" y="98"/>
                    </a:lnTo>
                    <a:lnTo>
                      <a:pt x="132" y="98"/>
                    </a:lnTo>
                    <a:lnTo>
                      <a:pt x="134" y="101"/>
                    </a:lnTo>
                    <a:lnTo>
                      <a:pt x="135" y="104"/>
                    </a:lnTo>
                    <a:lnTo>
                      <a:pt x="137" y="104"/>
                    </a:lnTo>
                    <a:lnTo>
                      <a:pt x="138" y="101"/>
                    </a:lnTo>
                    <a:lnTo>
                      <a:pt x="138" y="101"/>
                    </a:lnTo>
                    <a:lnTo>
                      <a:pt x="138" y="98"/>
                    </a:lnTo>
                    <a:lnTo>
                      <a:pt x="137" y="95"/>
                    </a:lnTo>
                    <a:lnTo>
                      <a:pt x="137" y="95"/>
                    </a:lnTo>
                    <a:lnTo>
                      <a:pt x="137" y="95"/>
                    </a:lnTo>
                    <a:lnTo>
                      <a:pt x="137" y="95"/>
                    </a:lnTo>
                    <a:lnTo>
                      <a:pt x="137" y="95"/>
                    </a:lnTo>
                    <a:lnTo>
                      <a:pt x="137" y="95"/>
                    </a:lnTo>
                    <a:lnTo>
                      <a:pt x="137" y="95"/>
                    </a:lnTo>
                    <a:lnTo>
                      <a:pt x="137" y="95"/>
                    </a:lnTo>
                    <a:lnTo>
                      <a:pt x="137" y="95"/>
                    </a:lnTo>
                    <a:close/>
                    <a:moveTo>
                      <a:pt x="19" y="116"/>
                    </a:moveTo>
                    <a:lnTo>
                      <a:pt x="21" y="114"/>
                    </a:lnTo>
                    <a:lnTo>
                      <a:pt x="19" y="114"/>
                    </a:lnTo>
                    <a:lnTo>
                      <a:pt x="19" y="116"/>
                    </a:lnTo>
                    <a:lnTo>
                      <a:pt x="19" y="116"/>
                    </a:lnTo>
                    <a:lnTo>
                      <a:pt x="19" y="116"/>
                    </a:lnTo>
                    <a:lnTo>
                      <a:pt x="19" y="116"/>
                    </a:lnTo>
                    <a:lnTo>
                      <a:pt x="19" y="116"/>
                    </a:lnTo>
                    <a:lnTo>
                      <a:pt x="19" y="116"/>
                    </a:lnTo>
                    <a:lnTo>
                      <a:pt x="19" y="116"/>
                    </a:lnTo>
                    <a:lnTo>
                      <a:pt x="19" y="116"/>
                    </a:lnTo>
                    <a:lnTo>
                      <a:pt x="19" y="116"/>
                    </a:lnTo>
                    <a:close/>
                    <a:moveTo>
                      <a:pt x="34" y="89"/>
                    </a:moveTo>
                    <a:lnTo>
                      <a:pt x="34" y="87"/>
                    </a:lnTo>
                    <a:lnTo>
                      <a:pt x="34" y="87"/>
                    </a:lnTo>
                    <a:lnTo>
                      <a:pt x="34" y="85"/>
                    </a:lnTo>
                    <a:lnTo>
                      <a:pt x="30" y="85"/>
                    </a:lnTo>
                    <a:lnTo>
                      <a:pt x="30" y="84"/>
                    </a:lnTo>
                    <a:lnTo>
                      <a:pt x="27" y="84"/>
                    </a:lnTo>
                    <a:lnTo>
                      <a:pt x="27" y="85"/>
                    </a:lnTo>
                    <a:lnTo>
                      <a:pt x="22" y="89"/>
                    </a:lnTo>
                    <a:lnTo>
                      <a:pt x="19" y="90"/>
                    </a:lnTo>
                    <a:lnTo>
                      <a:pt x="18" y="89"/>
                    </a:lnTo>
                    <a:lnTo>
                      <a:pt x="18" y="90"/>
                    </a:lnTo>
                    <a:lnTo>
                      <a:pt x="18" y="93"/>
                    </a:lnTo>
                    <a:lnTo>
                      <a:pt x="19" y="95"/>
                    </a:lnTo>
                    <a:lnTo>
                      <a:pt x="19" y="98"/>
                    </a:lnTo>
                    <a:lnTo>
                      <a:pt x="21" y="98"/>
                    </a:lnTo>
                    <a:lnTo>
                      <a:pt x="19" y="101"/>
                    </a:lnTo>
                    <a:lnTo>
                      <a:pt x="21" y="101"/>
                    </a:lnTo>
                    <a:lnTo>
                      <a:pt x="21" y="104"/>
                    </a:lnTo>
                    <a:lnTo>
                      <a:pt x="21" y="104"/>
                    </a:lnTo>
                    <a:lnTo>
                      <a:pt x="19" y="104"/>
                    </a:lnTo>
                    <a:lnTo>
                      <a:pt x="19" y="111"/>
                    </a:lnTo>
                    <a:lnTo>
                      <a:pt x="21" y="114"/>
                    </a:lnTo>
                    <a:lnTo>
                      <a:pt x="22" y="117"/>
                    </a:lnTo>
                    <a:lnTo>
                      <a:pt x="24" y="117"/>
                    </a:lnTo>
                    <a:lnTo>
                      <a:pt x="26" y="117"/>
                    </a:lnTo>
                    <a:lnTo>
                      <a:pt x="27" y="116"/>
                    </a:lnTo>
                    <a:lnTo>
                      <a:pt x="27" y="112"/>
                    </a:lnTo>
                    <a:lnTo>
                      <a:pt x="30" y="112"/>
                    </a:lnTo>
                    <a:lnTo>
                      <a:pt x="34" y="112"/>
                    </a:lnTo>
                    <a:lnTo>
                      <a:pt x="34" y="111"/>
                    </a:lnTo>
                    <a:lnTo>
                      <a:pt x="34" y="108"/>
                    </a:lnTo>
                    <a:lnTo>
                      <a:pt x="34" y="104"/>
                    </a:lnTo>
                    <a:lnTo>
                      <a:pt x="34" y="98"/>
                    </a:lnTo>
                    <a:lnTo>
                      <a:pt x="34" y="98"/>
                    </a:lnTo>
                    <a:lnTo>
                      <a:pt x="37" y="95"/>
                    </a:lnTo>
                    <a:lnTo>
                      <a:pt x="37" y="92"/>
                    </a:lnTo>
                    <a:lnTo>
                      <a:pt x="34" y="89"/>
                    </a:lnTo>
                    <a:lnTo>
                      <a:pt x="34" y="89"/>
                    </a:lnTo>
                    <a:lnTo>
                      <a:pt x="34" y="89"/>
                    </a:lnTo>
                    <a:lnTo>
                      <a:pt x="34" y="89"/>
                    </a:lnTo>
                    <a:lnTo>
                      <a:pt x="34" y="89"/>
                    </a:lnTo>
                    <a:lnTo>
                      <a:pt x="34" y="89"/>
                    </a:lnTo>
                    <a:lnTo>
                      <a:pt x="34" y="89"/>
                    </a:lnTo>
                    <a:lnTo>
                      <a:pt x="34" y="89"/>
                    </a:lnTo>
                    <a:lnTo>
                      <a:pt x="34" y="89"/>
                    </a:lnTo>
                    <a:lnTo>
                      <a:pt x="34" y="89"/>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66" name="Freeform 227">
                <a:extLst>
                  <a:ext uri="{FF2B5EF4-FFF2-40B4-BE49-F238E27FC236}">
                    <a16:creationId xmlns:a16="http://schemas.microsoft.com/office/drawing/2014/main" id="{276AE470-8C34-1621-7F93-50E9DE51CAC5}"/>
                  </a:ext>
                </a:extLst>
              </p:cNvPr>
              <p:cNvSpPr>
                <a:spLocks noEditPoints="1"/>
              </p:cNvSpPr>
              <p:nvPr/>
            </p:nvSpPr>
            <p:spPr bwMode="auto">
              <a:xfrm>
                <a:off x="5623372" y="2089339"/>
                <a:ext cx="231037" cy="331974"/>
              </a:xfrm>
              <a:custGeom>
                <a:avLst/>
                <a:gdLst>
                  <a:gd name="T0" fmla="*/ 26 w 103"/>
                  <a:gd name="T1" fmla="*/ 85 h 148"/>
                  <a:gd name="T2" fmla="*/ 19 w 103"/>
                  <a:gd name="T3" fmla="*/ 75 h 148"/>
                  <a:gd name="T4" fmla="*/ 7 w 103"/>
                  <a:gd name="T5" fmla="*/ 83 h 148"/>
                  <a:gd name="T6" fmla="*/ 10 w 103"/>
                  <a:gd name="T7" fmla="*/ 89 h 148"/>
                  <a:gd name="T8" fmla="*/ 16 w 103"/>
                  <a:gd name="T9" fmla="*/ 91 h 148"/>
                  <a:gd name="T10" fmla="*/ 21 w 103"/>
                  <a:gd name="T11" fmla="*/ 91 h 148"/>
                  <a:gd name="T12" fmla="*/ 22 w 103"/>
                  <a:gd name="T13" fmla="*/ 38 h 148"/>
                  <a:gd name="T14" fmla="*/ 19 w 103"/>
                  <a:gd name="T15" fmla="*/ 35 h 148"/>
                  <a:gd name="T16" fmla="*/ 16 w 103"/>
                  <a:gd name="T17" fmla="*/ 42 h 148"/>
                  <a:gd name="T18" fmla="*/ 16 w 103"/>
                  <a:gd name="T19" fmla="*/ 42 h 148"/>
                  <a:gd name="T20" fmla="*/ 78 w 103"/>
                  <a:gd name="T21" fmla="*/ 0 h 148"/>
                  <a:gd name="T22" fmla="*/ 64 w 103"/>
                  <a:gd name="T23" fmla="*/ 26 h 148"/>
                  <a:gd name="T24" fmla="*/ 61 w 103"/>
                  <a:gd name="T25" fmla="*/ 27 h 148"/>
                  <a:gd name="T26" fmla="*/ 61 w 103"/>
                  <a:gd name="T27" fmla="*/ 27 h 148"/>
                  <a:gd name="T28" fmla="*/ 84 w 103"/>
                  <a:gd name="T29" fmla="*/ 7 h 148"/>
                  <a:gd name="T30" fmla="*/ 76 w 103"/>
                  <a:gd name="T31" fmla="*/ 7 h 148"/>
                  <a:gd name="T32" fmla="*/ 95 w 103"/>
                  <a:gd name="T33" fmla="*/ 107 h 148"/>
                  <a:gd name="T34" fmla="*/ 88 w 103"/>
                  <a:gd name="T35" fmla="*/ 100 h 148"/>
                  <a:gd name="T36" fmla="*/ 84 w 103"/>
                  <a:gd name="T37" fmla="*/ 91 h 148"/>
                  <a:gd name="T38" fmla="*/ 70 w 103"/>
                  <a:gd name="T39" fmla="*/ 70 h 148"/>
                  <a:gd name="T40" fmla="*/ 56 w 103"/>
                  <a:gd name="T41" fmla="*/ 64 h 148"/>
                  <a:gd name="T42" fmla="*/ 70 w 103"/>
                  <a:gd name="T43" fmla="*/ 46 h 148"/>
                  <a:gd name="T44" fmla="*/ 46 w 103"/>
                  <a:gd name="T45" fmla="*/ 42 h 148"/>
                  <a:gd name="T46" fmla="*/ 59 w 103"/>
                  <a:gd name="T47" fmla="*/ 31 h 148"/>
                  <a:gd name="T48" fmla="*/ 38 w 103"/>
                  <a:gd name="T49" fmla="*/ 31 h 148"/>
                  <a:gd name="T50" fmla="*/ 30 w 103"/>
                  <a:gd name="T51" fmla="*/ 42 h 148"/>
                  <a:gd name="T52" fmla="*/ 29 w 103"/>
                  <a:gd name="T53" fmla="*/ 48 h 148"/>
                  <a:gd name="T54" fmla="*/ 27 w 103"/>
                  <a:gd name="T55" fmla="*/ 56 h 148"/>
                  <a:gd name="T56" fmla="*/ 32 w 103"/>
                  <a:gd name="T57" fmla="*/ 58 h 148"/>
                  <a:gd name="T58" fmla="*/ 27 w 103"/>
                  <a:gd name="T59" fmla="*/ 69 h 148"/>
                  <a:gd name="T60" fmla="*/ 35 w 103"/>
                  <a:gd name="T61" fmla="*/ 67 h 148"/>
                  <a:gd name="T62" fmla="*/ 38 w 103"/>
                  <a:gd name="T63" fmla="*/ 67 h 148"/>
                  <a:gd name="T64" fmla="*/ 32 w 103"/>
                  <a:gd name="T65" fmla="*/ 80 h 148"/>
                  <a:gd name="T66" fmla="*/ 46 w 103"/>
                  <a:gd name="T67" fmla="*/ 81 h 148"/>
                  <a:gd name="T68" fmla="*/ 53 w 103"/>
                  <a:gd name="T69" fmla="*/ 89 h 148"/>
                  <a:gd name="T70" fmla="*/ 56 w 103"/>
                  <a:gd name="T71" fmla="*/ 97 h 148"/>
                  <a:gd name="T72" fmla="*/ 46 w 103"/>
                  <a:gd name="T73" fmla="*/ 102 h 148"/>
                  <a:gd name="T74" fmla="*/ 32 w 103"/>
                  <a:gd name="T75" fmla="*/ 108 h 148"/>
                  <a:gd name="T76" fmla="*/ 41 w 103"/>
                  <a:gd name="T77" fmla="*/ 113 h 148"/>
                  <a:gd name="T78" fmla="*/ 29 w 103"/>
                  <a:gd name="T79" fmla="*/ 124 h 148"/>
                  <a:gd name="T80" fmla="*/ 41 w 103"/>
                  <a:gd name="T81" fmla="*/ 126 h 148"/>
                  <a:gd name="T82" fmla="*/ 49 w 103"/>
                  <a:gd name="T83" fmla="*/ 129 h 148"/>
                  <a:gd name="T84" fmla="*/ 32 w 103"/>
                  <a:gd name="T85" fmla="*/ 138 h 148"/>
                  <a:gd name="T86" fmla="*/ 24 w 103"/>
                  <a:gd name="T87" fmla="*/ 146 h 148"/>
                  <a:gd name="T88" fmla="*/ 41 w 103"/>
                  <a:gd name="T89" fmla="*/ 145 h 148"/>
                  <a:gd name="T90" fmla="*/ 57 w 103"/>
                  <a:gd name="T91" fmla="*/ 138 h 148"/>
                  <a:gd name="T92" fmla="*/ 72 w 103"/>
                  <a:gd name="T93" fmla="*/ 135 h 148"/>
                  <a:gd name="T94" fmla="*/ 91 w 103"/>
                  <a:gd name="T95" fmla="*/ 135 h 148"/>
                  <a:gd name="T96" fmla="*/ 94 w 103"/>
                  <a:gd name="T97" fmla="*/ 126 h 148"/>
                  <a:gd name="T98" fmla="*/ 99 w 103"/>
                  <a:gd name="T99" fmla="*/ 121 h 148"/>
                  <a:gd name="T100" fmla="*/ 100 w 103"/>
                  <a:gd name="T101" fmla="*/ 107 h 148"/>
                  <a:gd name="T102" fmla="*/ 56 w 103"/>
                  <a:gd name="T103" fmla="*/ 61 h 148"/>
                  <a:gd name="T104" fmla="*/ 57 w 103"/>
                  <a:gd name="T105" fmla="*/ 59 h 148"/>
                  <a:gd name="T106" fmla="*/ 18 w 103"/>
                  <a:gd name="T107" fmla="*/ 45 h 148"/>
                  <a:gd name="T108" fmla="*/ 29 w 103"/>
                  <a:gd name="T109" fmla="*/ 48 h 148"/>
                  <a:gd name="T110" fmla="*/ 26 w 103"/>
                  <a:gd name="T111" fmla="*/ 46 h 148"/>
                  <a:gd name="T112" fmla="*/ 27 w 103"/>
                  <a:gd name="T113" fmla="*/ 70 h 148"/>
                  <a:gd name="T114" fmla="*/ 26 w 103"/>
                  <a:gd name="T115" fmla="*/ 73 h 148"/>
                  <a:gd name="T116" fmla="*/ 35 w 103"/>
                  <a:gd name="T117" fmla="*/ 69 h 148"/>
                  <a:gd name="T118" fmla="*/ 24 w 103"/>
                  <a:gd name="T119" fmla="*/ 59 h 148"/>
                  <a:gd name="T120" fmla="*/ 22 w 103"/>
                  <a:gd name="T121" fmla="*/ 5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3" h="148">
                    <a:moveTo>
                      <a:pt x="21" y="91"/>
                    </a:moveTo>
                    <a:lnTo>
                      <a:pt x="22" y="91"/>
                    </a:lnTo>
                    <a:lnTo>
                      <a:pt x="24" y="89"/>
                    </a:lnTo>
                    <a:lnTo>
                      <a:pt x="26" y="89"/>
                    </a:lnTo>
                    <a:lnTo>
                      <a:pt x="27" y="88"/>
                    </a:lnTo>
                    <a:lnTo>
                      <a:pt x="26" y="88"/>
                    </a:lnTo>
                    <a:lnTo>
                      <a:pt x="26" y="86"/>
                    </a:lnTo>
                    <a:lnTo>
                      <a:pt x="26" y="85"/>
                    </a:lnTo>
                    <a:lnTo>
                      <a:pt x="27" y="86"/>
                    </a:lnTo>
                    <a:lnTo>
                      <a:pt x="27" y="83"/>
                    </a:lnTo>
                    <a:lnTo>
                      <a:pt x="26" y="83"/>
                    </a:lnTo>
                    <a:lnTo>
                      <a:pt x="22" y="83"/>
                    </a:lnTo>
                    <a:lnTo>
                      <a:pt x="26" y="81"/>
                    </a:lnTo>
                    <a:lnTo>
                      <a:pt x="24" y="80"/>
                    </a:lnTo>
                    <a:lnTo>
                      <a:pt x="21" y="77"/>
                    </a:lnTo>
                    <a:lnTo>
                      <a:pt x="19" y="75"/>
                    </a:lnTo>
                    <a:lnTo>
                      <a:pt x="16" y="75"/>
                    </a:lnTo>
                    <a:lnTo>
                      <a:pt x="14" y="77"/>
                    </a:lnTo>
                    <a:lnTo>
                      <a:pt x="13" y="77"/>
                    </a:lnTo>
                    <a:lnTo>
                      <a:pt x="11" y="78"/>
                    </a:lnTo>
                    <a:lnTo>
                      <a:pt x="10" y="78"/>
                    </a:lnTo>
                    <a:lnTo>
                      <a:pt x="10" y="78"/>
                    </a:lnTo>
                    <a:lnTo>
                      <a:pt x="7" y="80"/>
                    </a:lnTo>
                    <a:lnTo>
                      <a:pt x="7" y="83"/>
                    </a:lnTo>
                    <a:lnTo>
                      <a:pt x="3" y="83"/>
                    </a:lnTo>
                    <a:lnTo>
                      <a:pt x="3" y="83"/>
                    </a:lnTo>
                    <a:lnTo>
                      <a:pt x="3" y="85"/>
                    </a:lnTo>
                    <a:lnTo>
                      <a:pt x="0" y="86"/>
                    </a:lnTo>
                    <a:lnTo>
                      <a:pt x="0" y="88"/>
                    </a:lnTo>
                    <a:lnTo>
                      <a:pt x="7" y="91"/>
                    </a:lnTo>
                    <a:lnTo>
                      <a:pt x="7" y="91"/>
                    </a:lnTo>
                    <a:lnTo>
                      <a:pt x="10" y="89"/>
                    </a:lnTo>
                    <a:lnTo>
                      <a:pt x="10" y="88"/>
                    </a:lnTo>
                    <a:lnTo>
                      <a:pt x="10" y="88"/>
                    </a:lnTo>
                    <a:lnTo>
                      <a:pt x="11" y="88"/>
                    </a:lnTo>
                    <a:lnTo>
                      <a:pt x="13" y="89"/>
                    </a:lnTo>
                    <a:lnTo>
                      <a:pt x="13" y="89"/>
                    </a:lnTo>
                    <a:lnTo>
                      <a:pt x="14" y="91"/>
                    </a:lnTo>
                    <a:lnTo>
                      <a:pt x="14" y="91"/>
                    </a:lnTo>
                    <a:lnTo>
                      <a:pt x="16" y="91"/>
                    </a:lnTo>
                    <a:lnTo>
                      <a:pt x="19" y="91"/>
                    </a:lnTo>
                    <a:lnTo>
                      <a:pt x="21" y="91"/>
                    </a:lnTo>
                    <a:lnTo>
                      <a:pt x="21" y="91"/>
                    </a:lnTo>
                    <a:lnTo>
                      <a:pt x="21" y="91"/>
                    </a:lnTo>
                    <a:lnTo>
                      <a:pt x="21" y="91"/>
                    </a:lnTo>
                    <a:lnTo>
                      <a:pt x="21" y="91"/>
                    </a:lnTo>
                    <a:lnTo>
                      <a:pt x="21" y="91"/>
                    </a:lnTo>
                    <a:lnTo>
                      <a:pt x="21" y="91"/>
                    </a:lnTo>
                    <a:lnTo>
                      <a:pt x="21" y="91"/>
                    </a:lnTo>
                    <a:lnTo>
                      <a:pt x="21" y="91"/>
                    </a:lnTo>
                    <a:close/>
                    <a:moveTo>
                      <a:pt x="16" y="42"/>
                    </a:moveTo>
                    <a:lnTo>
                      <a:pt x="18" y="42"/>
                    </a:lnTo>
                    <a:lnTo>
                      <a:pt x="19" y="38"/>
                    </a:lnTo>
                    <a:lnTo>
                      <a:pt x="21" y="38"/>
                    </a:lnTo>
                    <a:lnTo>
                      <a:pt x="22" y="38"/>
                    </a:lnTo>
                    <a:lnTo>
                      <a:pt x="22" y="38"/>
                    </a:lnTo>
                    <a:lnTo>
                      <a:pt x="21" y="38"/>
                    </a:lnTo>
                    <a:lnTo>
                      <a:pt x="24" y="35"/>
                    </a:lnTo>
                    <a:lnTo>
                      <a:pt x="26" y="35"/>
                    </a:lnTo>
                    <a:lnTo>
                      <a:pt x="24" y="35"/>
                    </a:lnTo>
                    <a:lnTo>
                      <a:pt x="26" y="34"/>
                    </a:lnTo>
                    <a:lnTo>
                      <a:pt x="26" y="32"/>
                    </a:lnTo>
                    <a:lnTo>
                      <a:pt x="24" y="34"/>
                    </a:lnTo>
                    <a:lnTo>
                      <a:pt x="19" y="35"/>
                    </a:lnTo>
                    <a:lnTo>
                      <a:pt x="19" y="35"/>
                    </a:lnTo>
                    <a:lnTo>
                      <a:pt x="18" y="35"/>
                    </a:lnTo>
                    <a:lnTo>
                      <a:pt x="14" y="35"/>
                    </a:lnTo>
                    <a:lnTo>
                      <a:pt x="16" y="38"/>
                    </a:lnTo>
                    <a:lnTo>
                      <a:pt x="14" y="38"/>
                    </a:lnTo>
                    <a:lnTo>
                      <a:pt x="18" y="38"/>
                    </a:lnTo>
                    <a:lnTo>
                      <a:pt x="14" y="42"/>
                    </a:lnTo>
                    <a:lnTo>
                      <a:pt x="16" y="42"/>
                    </a:lnTo>
                    <a:lnTo>
                      <a:pt x="16" y="42"/>
                    </a:lnTo>
                    <a:lnTo>
                      <a:pt x="16" y="42"/>
                    </a:lnTo>
                    <a:lnTo>
                      <a:pt x="16" y="42"/>
                    </a:lnTo>
                    <a:lnTo>
                      <a:pt x="16" y="42"/>
                    </a:lnTo>
                    <a:lnTo>
                      <a:pt x="16" y="42"/>
                    </a:lnTo>
                    <a:lnTo>
                      <a:pt x="16" y="42"/>
                    </a:lnTo>
                    <a:lnTo>
                      <a:pt x="16" y="42"/>
                    </a:lnTo>
                    <a:lnTo>
                      <a:pt x="16" y="42"/>
                    </a:lnTo>
                    <a:close/>
                    <a:moveTo>
                      <a:pt x="78" y="0"/>
                    </a:moveTo>
                    <a:lnTo>
                      <a:pt x="78" y="4"/>
                    </a:lnTo>
                    <a:lnTo>
                      <a:pt x="78" y="4"/>
                    </a:lnTo>
                    <a:lnTo>
                      <a:pt x="81" y="0"/>
                    </a:lnTo>
                    <a:lnTo>
                      <a:pt x="78" y="0"/>
                    </a:lnTo>
                    <a:lnTo>
                      <a:pt x="78" y="0"/>
                    </a:lnTo>
                    <a:lnTo>
                      <a:pt x="78" y="0"/>
                    </a:lnTo>
                    <a:lnTo>
                      <a:pt x="78" y="0"/>
                    </a:lnTo>
                    <a:lnTo>
                      <a:pt x="78" y="0"/>
                    </a:lnTo>
                    <a:lnTo>
                      <a:pt x="78" y="0"/>
                    </a:lnTo>
                    <a:lnTo>
                      <a:pt x="78" y="0"/>
                    </a:lnTo>
                    <a:lnTo>
                      <a:pt x="78" y="0"/>
                    </a:lnTo>
                    <a:lnTo>
                      <a:pt x="78" y="0"/>
                    </a:lnTo>
                    <a:close/>
                    <a:moveTo>
                      <a:pt x="61" y="27"/>
                    </a:moveTo>
                    <a:lnTo>
                      <a:pt x="62" y="27"/>
                    </a:lnTo>
                    <a:lnTo>
                      <a:pt x="64" y="26"/>
                    </a:lnTo>
                    <a:lnTo>
                      <a:pt x="61" y="26"/>
                    </a:lnTo>
                    <a:lnTo>
                      <a:pt x="59" y="24"/>
                    </a:lnTo>
                    <a:lnTo>
                      <a:pt x="57" y="24"/>
                    </a:lnTo>
                    <a:lnTo>
                      <a:pt x="57" y="23"/>
                    </a:lnTo>
                    <a:lnTo>
                      <a:pt x="56" y="23"/>
                    </a:lnTo>
                    <a:lnTo>
                      <a:pt x="56" y="24"/>
                    </a:lnTo>
                    <a:lnTo>
                      <a:pt x="56" y="26"/>
                    </a:lnTo>
                    <a:lnTo>
                      <a:pt x="61" y="27"/>
                    </a:lnTo>
                    <a:lnTo>
                      <a:pt x="61" y="27"/>
                    </a:lnTo>
                    <a:lnTo>
                      <a:pt x="61" y="27"/>
                    </a:lnTo>
                    <a:lnTo>
                      <a:pt x="61" y="27"/>
                    </a:lnTo>
                    <a:lnTo>
                      <a:pt x="61" y="27"/>
                    </a:lnTo>
                    <a:lnTo>
                      <a:pt x="61" y="27"/>
                    </a:lnTo>
                    <a:lnTo>
                      <a:pt x="61" y="27"/>
                    </a:lnTo>
                    <a:lnTo>
                      <a:pt x="61" y="27"/>
                    </a:lnTo>
                    <a:lnTo>
                      <a:pt x="61" y="27"/>
                    </a:lnTo>
                    <a:close/>
                    <a:moveTo>
                      <a:pt x="76" y="7"/>
                    </a:moveTo>
                    <a:lnTo>
                      <a:pt x="78" y="7"/>
                    </a:lnTo>
                    <a:lnTo>
                      <a:pt x="78" y="10"/>
                    </a:lnTo>
                    <a:lnTo>
                      <a:pt x="78" y="11"/>
                    </a:lnTo>
                    <a:lnTo>
                      <a:pt x="78" y="13"/>
                    </a:lnTo>
                    <a:lnTo>
                      <a:pt x="81" y="11"/>
                    </a:lnTo>
                    <a:lnTo>
                      <a:pt x="81" y="10"/>
                    </a:lnTo>
                    <a:lnTo>
                      <a:pt x="84" y="7"/>
                    </a:lnTo>
                    <a:lnTo>
                      <a:pt x="81" y="4"/>
                    </a:lnTo>
                    <a:lnTo>
                      <a:pt x="81" y="4"/>
                    </a:lnTo>
                    <a:lnTo>
                      <a:pt x="78" y="4"/>
                    </a:lnTo>
                    <a:lnTo>
                      <a:pt x="81" y="7"/>
                    </a:lnTo>
                    <a:lnTo>
                      <a:pt x="75" y="7"/>
                    </a:lnTo>
                    <a:lnTo>
                      <a:pt x="76" y="7"/>
                    </a:lnTo>
                    <a:lnTo>
                      <a:pt x="76" y="7"/>
                    </a:lnTo>
                    <a:lnTo>
                      <a:pt x="76" y="7"/>
                    </a:lnTo>
                    <a:lnTo>
                      <a:pt x="76" y="7"/>
                    </a:lnTo>
                    <a:lnTo>
                      <a:pt x="76" y="7"/>
                    </a:lnTo>
                    <a:lnTo>
                      <a:pt x="76" y="7"/>
                    </a:lnTo>
                    <a:lnTo>
                      <a:pt x="76" y="7"/>
                    </a:lnTo>
                    <a:lnTo>
                      <a:pt x="76" y="7"/>
                    </a:lnTo>
                    <a:lnTo>
                      <a:pt x="76" y="7"/>
                    </a:lnTo>
                    <a:close/>
                    <a:moveTo>
                      <a:pt x="100" y="107"/>
                    </a:moveTo>
                    <a:lnTo>
                      <a:pt x="95" y="107"/>
                    </a:lnTo>
                    <a:lnTo>
                      <a:pt x="92" y="105"/>
                    </a:lnTo>
                    <a:lnTo>
                      <a:pt x="91" y="107"/>
                    </a:lnTo>
                    <a:lnTo>
                      <a:pt x="91" y="110"/>
                    </a:lnTo>
                    <a:lnTo>
                      <a:pt x="88" y="108"/>
                    </a:lnTo>
                    <a:lnTo>
                      <a:pt x="84" y="108"/>
                    </a:lnTo>
                    <a:lnTo>
                      <a:pt x="88" y="104"/>
                    </a:lnTo>
                    <a:lnTo>
                      <a:pt x="91" y="102"/>
                    </a:lnTo>
                    <a:lnTo>
                      <a:pt x="88" y="100"/>
                    </a:lnTo>
                    <a:lnTo>
                      <a:pt x="84" y="97"/>
                    </a:lnTo>
                    <a:lnTo>
                      <a:pt x="84" y="97"/>
                    </a:lnTo>
                    <a:lnTo>
                      <a:pt x="78" y="97"/>
                    </a:lnTo>
                    <a:lnTo>
                      <a:pt x="84" y="97"/>
                    </a:lnTo>
                    <a:lnTo>
                      <a:pt x="88" y="97"/>
                    </a:lnTo>
                    <a:lnTo>
                      <a:pt x="84" y="94"/>
                    </a:lnTo>
                    <a:lnTo>
                      <a:pt x="84" y="91"/>
                    </a:lnTo>
                    <a:lnTo>
                      <a:pt x="84" y="91"/>
                    </a:lnTo>
                    <a:lnTo>
                      <a:pt x="81" y="89"/>
                    </a:lnTo>
                    <a:lnTo>
                      <a:pt x="81" y="86"/>
                    </a:lnTo>
                    <a:lnTo>
                      <a:pt x="78" y="85"/>
                    </a:lnTo>
                    <a:lnTo>
                      <a:pt x="75" y="85"/>
                    </a:lnTo>
                    <a:lnTo>
                      <a:pt x="73" y="83"/>
                    </a:lnTo>
                    <a:lnTo>
                      <a:pt x="72" y="80"/>
                    </a:lnTo>
                    <a:lnTo>
                      <a:pt x="70" y="73"/>
                    </a:lnTo>
                    <a:lnTo>
                      <a:pt x="70" y="70"/>
                    </a:lnTo>
                    <a:lnTo>
                      <a:pt x="67" y="69"/>
                    </a:lnTo>
                    <a:lnTo>
                      <a:pt x="61" y="65"/>
                    </a:lnTo>
                    <a:lnTo>
                      <a:pt x="59" y="65"/>
                    </a:lnTo>
                    <a:lnTo>
                      <a:pt x="57" y="65"/>
                    </a:lnTo>
                    <a:lnTo>
                      <a:pt x="56" y="67"/>
                    </a:lnTo>
                    <a:lnTo>
                      <a:pt x="53" y="65"/>
                    </a:lnTo>
                    <a:lnTo>
                      <a:pt x="53" y="65"/>
                    </a:lnTo>
                    <a:lnTo>
                      <a:pt x="56" y="64"/>
                    </a:lnTo>
                    <a:lnTo>
                      <a:pt x="57" y="64"/>
                    </a:lnTo>
                    <a:lnTo>
                      <a:pt x="59" y="62"/>
                    </a:lnTo>
                    <a:lnTo>
                      <a:pt x="59" y="61"/>
                    </a:lnTo>
                    <a:lnTo>
                      <a:pt x="59" y="59"/>
                    </a:lnTo>
                    <a:lnTo>
                      <a:pt x="59" y="59"/>
                    </a:lnTo>
                    <a:lnTo>
                      <a:pt x="65" y="54"/>
                    </a:lnTo>
                    <a:lnTo>
                      <a:pt x="68" y="48"/>
                    </a:lnTo>
                    <a:lnTo>
                      <a:pt x="70" y="46"/>
                    </a:lnTo>
                    <a:lnTo>
                      <a:pt x="70" y="45"/>
                    </a:lnTo>
                    <a:lnTo>
                      <a:pt x="68" y="42"/>
                    </a:lnTo>
                    <a:lnTo>
                      <a:pt x="65" y="42"/>
                    </a:lnTo>
                    <a:lnTo>
                      <a:pt x="61" y="42"/>
                    </a:lnTo>
                    <a:lnTo>
                      <a:pt x="56" y="42"/>
                    </a:lnTo>
                    <a:lnTo>
                      <a:pt x="53" y="42"/>
                    </a:lnTo>
                    <a:lnTo>
                      <a:pt x="45" y="45"/>
                    </a:lnTo>
                    <a:lnTo>
                      <a:pt x="46" y="42"/>
                    </a:lnTo>
                    <a:lnTo>
                      <a:pt x="48" y="42"/>
                    </a:lnTo>
                    <a:lnTo>
                      <a:pt x="48" y="42"/>
                    </a:lnTo>
                    <a:lnTo>
                      <a:pt x="46" y="42"/>
                    </a:lnTo>
                    <a:lnTo>
                      <a:pt x="48" y="38"/>
                    </a:lnTo>
                    <a:lnTo>
                      <a:pt x="53" y="35"/>
                    </a:lnTo>
                    <a:lnTo>
                      <a:pt x="57" y="34"/>
                    </a:lnTo>
                    <a:lnTo>
                      <a:pt x="59" y="32"/>
                    </a:lnTo>
                    <a:lnTo>
                      <a:pt x="59" y="31"/>
                    </a:lnTo>
                    <a:lnTo>
                      <a:pt x="57" y="31"/>
                    </a:lnTo>
                    <a:lnTo>
                      <a:pt x="53" y="31"/>
                    </a:lnTo>
                    <a:lnTo>
                      <a:pt x="48" y="32"/>
                    </a:lnTo>
                    <a:lnTo>
                      <a:pt x="45" y="32"/>
                    </a:lnTo>
                    <a:lnTo>
                      <a:pt x="43" y="32"/>
                    </a:lnTo>
                    <a:lnTo>
                      <a:pt x="41" y="32"/>
                    </a:lnTo>
                    <a:lnTo>
                      <a:pt x="41" y="32"/>
                    </a:lnTo>
                    <a:lnTo>
                      <a:pt x="38" y="31"/>
                    </a:lnTo>
                    <a:lnTo>
                      <a:pt x="38" y="32"/>
                    </a:lnTo>
                    <a:lnTo>
                      <a:pt x="35" y="35"/>
                    </a:lnTo>
                    <a:lnTo>
                      <a:pt x="35" y="35"/>
                    </a:lnTo>
                    <a:lnTo>
                      <a:pt x="32" y="38"/>
                    </a:lnTo>
                    <a:lnTo>
                      <a:pt x="35" y="42"/>
                    </a:lnTo>
                    <a:lnTo>
                      <a:pt x="32" y="42"/>
                    </a:lnTo>
                    <a:lnTo>
                      <a:pt x="32" y="42"/>
                    </a:lnTo>
                    <a:lnTo>
                      <a:pt x="30" y="42"/>
                    </a:lnTo>
                    <a:lnTo>
                      <a:pt x="30" y="42"/>
                    </a:lnTo>
                    <a:lnTo>
                      <a:pt x="29" y="42"/>
                    </a:lnTo>
                    <a:lnTo>
                      <a:pt x="29" y="45"/>
                    </a:lnTo>
                    <a:lnTo>
                      <a:pt x="30" y="45"/>
                    </a:lnTo>
                    <a:lnTo>
                      <a:pt x="29" y="45"/>
                    </a:lnTo>
                    <a:lnTo>
                      <a:pt x="29" y="46"/>
                    </a:lnTo>
                    <a:lnTo>
                      <a:pt x="32" y="46"/>
                    </a:lnTo>
                    <a:lnTo>
                      <a:pt x="29" y="48"/>
                    </a:lnTo>
                    <a:lnTo>
                      <a:pt x="30" y="48"/>
                    </a:lnTo>
                    <a:lnTo>
                      <a:pt x="30" y="50"/>
                    </a:lnTo>
                    <a:lnTo>
                      <a:pt x="32" y="50"/>
                    </a:lnTo>
                    <a:lnTo>
                      <a:pt x="29" y="51"/>
                    </a:lnTo>
                    <a:lnTo>
                      <a:pt x="27" y="53"/>
                    </a:lnTo>
                    <a:lnTo>
                      <a:pt x="29" y="54"/>
                    </a:lnTo>
                    <a:lnTo>
                      <a:pt x="27" y="54"/>
                    </a:lnTo>
                    <a:lnTo>
                      <a:pt x="27" y="56"/>
                    </a:lnTo>
                    <a:lnTo>
                      <a:pt x="24" y="54"/>
                    </a:lnTo>
                    <a:lnTo>
                      <a:pt x="22" y="56"/>
                    </a:lnTo>
                    <a:lnTo>
                      <a:pt x="26" y="56"/>
                    </a:lnTo>
                    <a:lnTo>
                      <a:pt x="27" y="59"/>
                    </a:lnTo>
                    <a:lnTo>
                      <a:pt x="30" y="58"/>
                    </a:lnTo>
                    <a:lnTo>
                      <a:pt x="35" y="54"/>
                    </a:lnTo>
                    <a:lnTo>
                      <a:pt x="35" y="56"/>
                    </a:lnTo>
                    <a:lnTo>
                      <a:pt x="32" y="58"/>
                    </a:lnTo>
                    <a:lnTo>
                      <a:pt x="32" y="58"/>
                    </a:lnTo>
                    <a:lnTo>
                      <a:pt x="32" y="59"/>
                    </a:lnTo>
                    <a:lnTo>
                      <a:pt x="30" y="61"/>
                    </a:lnTo>
                    <a:lnTo>
                      <a:pt x="29" y="64"/>
                    </a:lnTo>
                    <a:lnTo>
                      <a:pt x="27" y="65"/>
                    </a:lnTo>
                    <a:lnTo>
                      <a:pt x="27" y="67"/>
                    </a:lnTo>
                    <a:lnTo>
                      <a:pt x="29" y="65"/>
                    </a:lnTo>
                    <a:lnTo>
                      <a:pt x="27" y="69"/>
                    </a:lnTo>
                    <a:lnTo>
                      <a:pt x="29" y="69"/>
                    </a:lnTo>
                    <a:lnTo>
                      <a:pt x="30" y="69"/>
                    </a:lnTo>
                    <a:lnTo>
                      <a:pt x="30" y="67"/>
                    </a:lnTo>
                    <a:lnTo>
                      <a:pt x="32" y="65"/>
                    </a:lnTo>
                    <a:lnTo>
                      <a:pt x="32" y="67"/>
                    </a:lnTo>
                    <a:lnTo>
                      <a:pt x="32" y="69"/>
                    </a:lnTo>
                    <a:lnTo>
                      <a:pt x="32" y="67"/>
                    </a:lnTo>
                    <a:lnTo>
                      <a:pt x="35" y="67"/>
                    </a:lnTo>
                    <a:lnTo>
                      <a:pt x="35" y="69"/>
                    </a:lnTo>
                    <a:lnTo>
                      <a:pt x="35" y="65"/>
                    </a:lnTo>
                    <a:lnTo>
                      <a:pt x="35" y="64"/>
                    </a:lnTo>
                    <a:lnTo>
                      <a:pt x="38" y="64"/>
                    </a:lnTo>
                    <a:lnTo>
                      <a:pt x="35" y="65"/>
                    </a:lnTo>
                    <a:lnTo>
                      <a:pt x="38" y="65"/>
                    </a:lnTo>
                    <a:lnTo>
                      <a:pt x="38" y="67"/>
                    </a:lnTo>
                    <a:lnTo>
                      <a:pt x="38" y="67"/>
                    </a:lnTo>
                    <a:lnTo>
                      <a:pt x="35" y="67"/>
                    </a:lnTo>
                    <a:lnTo>
                      <a:pt x="35" y="69"/>
                    </a:lnTo>
                    <a:lnTo>
                      <a:pt x="38" y="70"/>
                    </a:lnTo>
                    <a:lnTo>
                      <a:pt x="38" y="73"/>
                    </a:lnTo>
                    <a:lnTo>
                      <a:pt x="35" y="75"/>
                    </a:lnTo>
                    <a:lnTo>
                      <a:pt x="32" y="77"/>
                    </a:lnTo>
                    <a:lnTo>
                      <a:pt x="32" y="80"/>
                    </a:lnTo>
                    <a:lnTo>
                      <a:pt x="32" y="80"/>
                    </a:lnTo>
                    <a:lnTo>
                      <a:pt x="32" y="81"/>
                    </a:lnTo>
                    <a:lnTo>
                      <a:pt x="35" y="85"/>
                    </a:lnTo>
                    <a:lnTo>
                      <a:pt x="35" y="81"/>
                    </a:lnTo>
                    <a:lnTo>
                      <a:pt x="38" y="81"/>
                    </a:lnTo>
                    <a:lnTo>
                      <a:pt x="38" y="83"/>
                    </a:lnTo>
                    <a:lnTo>
                      <a:pt x="38" y="80"/>
                    </a:lnTo>
                    <a:lnTo>
                      <a:pt x="43" y="81"/>
                    </a:lnTo>
                    <a:lnTo>
                      <a:pt x="46" y="81"/>
                    </a:lnTo>
                    <a:lnTo>
                      <a:pt x="48" y="80"/>
                    </a:lnTo>
                    <a:lnTo>
                      <a:pt x="48" y="78"/>
                    </a:lnTo>
                    <a:lnTo>
                      <a:pt x="56" y="80"/>
                    </a:lnTo>
                    <a:lnTo>
                      <a:pt x="53" y="81"/>
                    </a:lnTo>
                    <a:lnTo>
                      <a:pt x="48" y="83"/>
                    </a:lnTo>
                    <a:lnTo>
                      <a:pt x="48" y="88"/>
                    </a:lnTo>
                    <a:lnTo>
                      <a:pt x="49" y="89"/>
                    </a:lnTo>
                    <a:lnTo>
                      <a:pt x="53" y="89"/>
                    </a:lnTo>
                    <a:lnTo>
                      <a:pt x="53" y="91"/>
                    </a:lnTo>
                    <a:lnTo>
                      <a:pt x="53" y="89"/>
                    </a:lnTo>
                    <a:lnTo>
                      <a:pt x="56" y="91"/>
                    </a:lnTo>
                    <a:lnTo>
                      <a:pt x="56" y="89"/>
                    </a:lnTo>
                    <a:lnTo>
                      <a:pt x="56" y="94"/>
                    </a:lnTo>
                    <a:lnTo>
                      <a:pt x="53" y="94"/>
                    </a:lnTo>
                    <a:lnTo>
                      <a:pt x="53" y="97"/>
                    </a:lnTo>
                    <a:lnTo>
                      <a:pt x="56" y="97"/>
                    </a:lnTo>
                    <a:lnTo>
                      <a:pt x="53" y="97"/>
                    </a:lnTo>
                    <a:lnTo>
                      <a:pt x="53" y="100"/>
                    </a:lnTo>
                    <a:lnTo>
                      <a:pt x="56" y="100"/>
                    </a:lnTo>
                    <a:lnTo>
                      <a:pt x="53" y="100"/>
                    </a:lnTo>
                    <a:lnTo>
                      <a:pt x="53" y="100"/>
                    </a:lnTo>
                    <a:lnTo>
                      <a:pt x="53" y="102"/>
                    </a:lnTo>
                    <a:lnTo>
                      <a:pt x="49" y="102"/>
                    </a:lnTo>
                    <a:lnTo>
                      <a:pt x="46" y="102"/>
                    </a:lnTo>
                    <a:lnTo>
                      <a:pt x="41" y="102"/>
                    </a:lnTo>
                    <a:lnTo>
                      <a:pt x="38" y="100"/>
                    </a:lnTo>
                    <a:lnTo>
                      <a:pt x="35" y="100"/>
                    </a:lnTo>
                    <a:lnTo>
                      <a:pt x="35" y="102"/>
                    </a:lnTo>
                    <a:lnTo>
                      <a:pt x="35" y="104"/>
                    </a:lnTo>
                    <a:lnTo>
                      <a:pt x="38" y="104"/>
                    </a:lnTo>
                    <a:lnTo>
                      <a:pt x="38" y="104"/>
                    </a:lnTo>
                    <a:lnTo>
                      <a:pt x="32" y="108"/>
                    </a:lnTo>
                    <a:lnTo>
                      <a:pt x="35" y="108"/>
                    </a:lnTo>
                    <a:lnTo>
                      <a:pt x="38" y="107"/>
                    </a:lnTo>
                    <a:lnTo>
                      <a:pt x="41" y="107"/>
                    </a:lnTo>
                    <a:lnTo>
                      <a:pt x="41" y="108"/>
                    </a:lnTo>
                    <a:lnTo>
                      <a:pt x="41" y="110"/>
                    </a:lnTo>
                    <a:lnTo>
                      <a:pt x="41" y="111"/>
                    </a:lnTo>
                    <a:lnTo>
                      <a:pt x="41" y="113"/>
                    </a:lnTo>
                    <a:lnTo>
                      <a:pt x="41" y="113"/>
                    </a:lnTo>
                    <a:lnTo>
                      <a:pt x="38" y="115"/>
                    </a:lnTo>
                    <a:lnTo>
                      <a:pt x="38" y="116"/>
                    </a:lnTo>
                    <a:lnTo>
                      <a:pt x="35" y="118"/>
                    </a:lnTo>
                    <a:lnTo>
                      <a:pt x="32" y="119"/>
                    </a:lnTo>
                    <a:lnTo>
                      <a:pt x="27" y="123"/>
                    </a:lnTo>
                    <a:lnTo>
                      <a:pt x="29" y="123"/>
                    </a:lnTo>
                    <a:lnTo>
                      <a:pt x="27" y="124"/>
                    </a:lnTo>
                    <a:lnTo>
                      <a:pt x="29" y="124"/>
                    </a:lnTo>
                    <a:lnTo>
                      <a:pt x="30" y="126"/>
                    </a:lnTo>
                    <a:lnTo>
                      <a:pt x="32" y="126"/>
                    </a:lnTo>
                    <a:lnTo>
                      <a:pt x="35" y="124"/>
                    </a:lnTo>
                    <a:lnTo>
                      <a:pt x="38" y="126"/>
                    </a:lnTo>
                    <a:lnTo>
                      <a:pt x="38" y="126"/>
                    </a:lnTo>
                    <a:lnTo>
                      <a:pt x="38" y="126"/>
                    </a:lnTo>
                    <a:lnTo>
                      <a:pt x="41" y="126"/>
                    </a:lnTo>
                    <a:lnTo>
                      <a:pt x="41" y="126"/>
                    </a:lnTo>
                    <a:lnTo>
                      <a:pt x="41" y="126"/>
                    </a:lnTo>
                    <a:lnTo>
                      <a:pt x="45" y="129"/>
                    </a:lnTo>
                    <a:lnTo>
                      <a:pt x="46" y="129"/>
                    </a:lnTo>
                    <a:lnTo>
                      <a:pt x="48" y="129"/>
                    </a:lnTo>
                    <a:lnTo>
                      <a:pt x="53" y="126"/>
                    </a:lnTo>
                    <a:lnTo>
                      <a:pt x="56" y="126"/>
                    </a:lnTo>
                    <a:lnTo>
                      <a:pt x="57" y="124"/>
                    </a:lnTo>
                    <a:lnTo>
                      <a:pt x="49" y="129"/>
                    </a:lnTo>
                    <a:lnTo>
                      <a:pt x="49" y="132"/>
                    </a:lnTo>
                    <a:lnTo>
                      <a:pt x="45" y="132"/>
                    </a:lnTo>
                    <a:lnTo>
                      <a:pt x="41" y="129"/>
                    </a:lnTo>
                    <a:lnTo>
                      <a:pt x="38" y="132"/>
                    </a:lnTo>
                    <a:lnTo>
                      <a:pt x="35" y="135"/>
                    </a:lnTo>
                    <a:lnTo>
                      <a:pt x="35" y="135"/>
                    </a:lnTo>
                    <a:lnTo>
                      <a:pt x="32" y="135"/>
                    </a:lnTo>
                    <a:lnTo>
                      <a:pt x="32" y="138"/>
                    </a:lnTo>
                    <a:lnTo>
                      <a:pt x="29" y="140"/>
                    </a:lnTo>
                    <a:lnTo>
                      <a:pt x="27" y="140"/>
                    </a:lnTo>
                    <a:lnTo>
                      <a:pt x="27" y="142"/>
                    </a:lnTo>
                    <a:lnTo>
                      <a:pt x="26" y="143"/>
                    </a:lnTo>
                    <a:lnTo>
                      <a:pt x="22" y="143"/>
                    </a:lnTo>
                    <a:lnTo>
                      <a:pt x="19" y="146"/>
                    </a:lnTo>
                    <a:lnTo>
                      <a:pt x="22" y="146"/>
                    </a:lnTo>
                    <a:lnTo>
                      <a:pt x="24" y="146"/>
                    </a:lnTo>
                    <a:lnTo>
                      <a:pt x="24" y="148"/>
                    </a:lnTo>
                    <a:lnTo>
                      <a:pt x="27" y="146"/>
                    </a:lnTo>
                    <a:lnTo>
                      <a:pt x="29" y="145"/>
                    </a:lnTo>
                    <a:lnTo>
                      <a:pt x="32" y="143"/>
                    </a:lnTo>
                    <a:lnTo>
                      <a:pt x="35" y="143"/>
                    </a:lnTo>
                    <a:lnTo>
                      <a:pt x="35" y="142"/>
                    </a:lnTo>
                    <a:lnTo>
                      <a:pt x="38" y="143"/>
                    </a:lnTo>
                    <a:lnTo>
                      <a:pt x="41" y="145"/>
                    </a:lnTo>
                    <a:lnTo>
                      <a:pt x="41" y="143"/>
                    </a:lnTo>
                    <a:lnTo>
                      <a:pt x="43" y="142"/>
                    </a:lnTo>
                    <a:lnTo>
                      <a:pt x="45" y="138"/>
                    </a:lnTo>
                    <a:lnTo>
                      <a:pt x="46" y="138"/>
                    </a:lnTo>
                    <a:lnTo>
                      <a:pt x="49" y="137"/>
                    </a:lnTo>
                    <a:lnTo>
                      <a:pt x="53" y="137"/>
                    </a:lnTo>
                    <a:lnTo>
                      <a:pt x="56" y="140"/>
                    </a:lnTo>
                    <a:lnTo>
                      <a:pt x="57" y="138"/>
                    </a:lnTo>
                    <a:lnTo>
                      <a:pt x="59" y="138"/>
                    </a:lnTo>
                    <a:lnTo>
                      <a:pt x="61" y="138"/>
                    </a:lnTo>
                    <a:lnTo>
                      <a:pt x="62" y="138"/>
                    </a:lnTo>
                    <a:lnTo>
                      <a:pt x="61" y="137"/>
                    </a:lnTo>
                    <a:lnTo>
                      <a:pt x="65" y="137"/>
                    </a:lnTo>
                    <a:lnTo>
                      <a:pt x="68" y="137"/>
                    </a:lnTo>
                    <a:lnTo>
                      <a:pt x="68" y="135"/>
                    </a:lnTo>
                    <a:lnTo>
                      <a:pt x="72" y="135"/>
                    </a:lnTo>
                    <a:lnTo>
                      <a:pt x="73" y="135"/>
                    </a:lnTo>
                    <a:lnTo>
                      <a:pt x="75" y="137"/>
                    </a:lnTo>
                    <a:lnTo>
                      <a:pt x="76" y="137"/>
                    </a:lnTo>
                    <a:lnTo>
                      <a:pt x="78" y="137"/>
                    </a:lnTo>
                    <a:lnTo>
                      <a:pt x="81" y="135"/>
                    </a:lnTo>
                    <a:lnTo>
                      <a:pt x="84" y="137"/>
                    </a:lnTo>
                    <a:lnTo>
                      <a:pt x="88" y="137"/>
                    </a:lnTo>
                    <a:lnTo>
                      <a:pt x="91" y="135"/>
                    </a:lnTo>
                    <a:lnTo>
                      <a:pt x="94" y="132"/>
                    </a:lnTo>
                    <a:lnTo>
                      <a:pt x="97" y="132"/>
                    </a:lnTo>
                    <a:lnTo>
                      <a:pt x="100" y="132"/>
                    </a:lnTo>
                    <a:lnTo>
                      <a:pt x="99" y="129"/>
                    </a:lnTo>
                    <a:lnTo>
                      <a:pt x="95" y="129"/>
                    </a:lnTo>
                    <a:lnTo>
                      <a:pt x="91" y="129"/>
                    </a:lnTo>
                    <a:lnTo>
                      <a:pt x="92" y="126"/>
                    </a:lnTo>
                    <a:lnTo>
                      <a:pt x="94" y="126"/>
                    </a:lnTo>
                    <a:lnTo>
                      <a:pt x="94" y="126"/>
                    </a:lnTo>
                    <a:lnTo>
                      <a:pt x="94" y="124"/>
                    </a:lnTo>
                    <a:lnTo>
                      <a:pt x="92" y="124"/>
                    </a:lnTo>
                    <a:lnTo>
                      <a:pt x="94" y="123"/>
                    </a:lnTo>
                    <a:lnTo>
                      <a:pt x="95" y="123"/>
                    </a:lnTo>
                    <a:lnTo>
                      <a:pt x="99" y="123"/>
                    </a:lnTo>
                    <a:lnTo>
                      <a:pt x="95" y="121"/>
                    </a:lnTo>
                    <a:lnTo>
                      <a:pt x="99" y="121"/>
                    </a:lnTo>
                    <a:lnTo>
                      <a:pt x="100" y="119"/>
                    </a:lnTo>
                    <a:lnTo>
                      <a:pt x="103" y="116"/>
                    </a:lnTo>
                    <a:lnTo>
                      <a:pt x="103" y="113"/>
                    </a:lnTo>
                    <a:lnTo>
                      <a:pt x="103" y="111"/>
                    </a:lnTo>
                    <a:lnTo>
                      <a:pt x="103" y="110"/>
                    </a:lnTo>
                    <a:lnTo>
                      <a:pt x="100" y="107"/>
                    </a:lnTo>
                    <a:lnTo>
                      <a:pt x="100" y="107"/>
                    </a:lnTo>
                    <a:lnTo>
                      <a:pt x="100" y="107"/>
                    </a:lnTo>
                    <a:lnTo>
                      <a:pt x="100" y="107"/>
                    </a:lnTo>
                    <a:lnTo>
                      <a:pt x="100" y="107"/>
                    </a:lnTo>
                    <a:lnTo>
                      <a:pt x="100" y="107"/>
                    </a:lnTo>
                    <a:lnTo>
                      <a:pt x="100" y="107"/>
                    </a:lnTo>
                    <a:lnTo>
                      <a:pt x="100" y="107"/>
                    </a:lnTo>
                    <a:lnTo>
                      <a:pt x="100" y="107"/>
                    </a:lnTo>
                    <a:close/>
                    <a:moveTo>
                      <a:pt x="57" y="59"/>
                    </a:moveTo>
                    <a:lnTo>
                      <a:pt x="56" y="61"/>
                    </a:lnTo>
                    <a:lnTo>
                      <a:pt x="53" y="61"/>
                    </a:lnTo>
                    <a:lnTo>
                      <a:pt x="57" y="59"/>
                    </a:lnTo>
                    <a:lnTo>
                      <a:pt x="57" y="59"/>
                    </a:lnTo>
                    <a:lnTo>
                      <a:pt x="57" y="59"/>
                    </a:lnTo>
                    <a:lnTo>
                      <a:pt x="57" y="59"/>
                    </a:lnTo>
                    <a:lnTo>
                      <a:pt x="57" y="59"/>
                    </a:lnTo>
                    <a:lnTo>
                      <a:pt x="57" y="59"/>
                    </a:lnTo>
                    <a:lnTo>
                      <a:pt x="57" y="59"/>
                    </a:lnTo>
                    <a:lnTo>
                      <a:pt x="57" y="59"/>
                    </a:lnTo>
                    <a:lnTo>
                      <a:pt x="57" y="59"/>
                    </a:lnTo>
                    <a:close/>
                    <a:moveTo>
                      <a:pt x="26" y="46"/>
                    </a:moveTo>
                    <a:lnTo>
                      <a:pt x="24" y="45"/>
                    </a:lnTo>
                    <a:lnTo>
                      <a:pt x="22" y="42"/>
                    </a:lnTo>
                    <a:lnTo>
                      <a:pt x="22" y="45"/>
                    </a:lnTo>
                    <a:lnTo>
                      <a:pt x="21" y="45"/>
                    </a:lnTo>
                    <a:lnTo>
                      <a:pt x="18" y="45"/>
                    </a:lnTo>
                    <a:lnTo>
                      <a:pt x="19" y="46"/>
                    </a:lnTo>
                    <a:lnTo>
                      <a:pt x="22" y="48"/>
                    </a:lnTo>
                    <a:lnTo>
                      <a:pt x="21" y="48"/>
                    </a:lnTo>
                    <a:lnTo>
                      <a:pt x="24" y="50"/>
                    </a:lnTo>
                    <a:lnTo>
                      <a:pt x="26" y="50"/>
                    </a:lnTo>
                    <a:lnTo>
                      <a:pt x="26" y="51"/>
                    </a:lnTo>
                    <a:lnTo>
                      <a:pt x="29" y="50"/>
                    </a:lnTo>
                    <a:lnTo>
                      <a:pt x="29" y="48"/>
                    </a:lnTo>
                    <a:lnTo>
                      <a:pt x="26" y="48"/>
                    </a:lnTo>
                    <a:lnTo>
                      <a:pt x="26" y="46"/>
                    </a:lnTo>
                    <a:lnTo>
                      <a:pt x="26" y="46"/>
                    </a:lnTo>
                    <a:lnTo>
                      <a:pt x="26" y="46"/>
                    </a:lnTo>
                    <a:lnTo>
                      <a:pt x="26" y="46"/>
                    </a:lnTo>
                    <a:lnTo>
                      <a:pt x="26" y="46"/>
                    </a:lnTo>
                    <a:lnTo>
                      <a:pt x="26" y="46"/>
                    </a:lnTo>
                    <a:lnTo>
                      <a:pt x="26" y="46"/>
                    </a:lnTo>
                    <a:lnTo>
                      <a:pt x="26" y="46"/>
                    </a:lnTo>
                    <a:lnTo>
                      <a:pt x="26" y="46"/>
                    </a:lnTo>
                    <a:close/>
                    <a:moveTo>
                      <a:pt x="26" y="73"/>
                    </a:moveTo>
                    <a:lnTo>
                      <a:pt x="27" y="73"/>
                    </a:lnTo>
                    <a:lnTo>
                      <a:pt x="29" y="72"/>
                    </a:lnTo>
                    <a:lnTo>
                      <a:pt x="30" y="70"/>
                    </a:lnTo>
                    <a:lnTo>
                      <a:pt x="30" y="69"/>
                    </a:lnTo>
                    <a:lnTo>
                      <a:pt x="27" y="70"/>
                    </a:lnTo>
                    <a:lnTo>
                      <a:pt x="26" y="73"/>
                    </a:lnTo>
                    <a:lnTo>
                      <a:pt x="26" y="73"/>
                    </a:lnTo>
                    <a:lnTo>
                      <a:pt x="26" y="73"/>
                    </a:lnTo>
                    <a:lnTo>
                      <a:pt x="26" y="73"/>
                    </a:lnTo>
                    <a:lnTo>
                      <a:pt x="26" y="73"/>
                    </a:lnTo>
                    <a:lnTo>
                      <a:pt x="26" y="73"/>
                    </a:lnTo>
                    <a:lnTo>
                      <a:pt x="26" y="73"/>
                    </a:lnTo>
                    <a:lnTo>
                      <a:pt x="26" y="73"/>
                    </a:lnTo>
                    <a:lnTo>
                      <a:pt x="26" y="73"/>
                    </a:lnTo>
                    <a:close/>
                    <a:moveTo>
                      <a:pt x="35" y="69"/>
                    </a:moveTo>
                    <a:lnTo>
                      <a:pt x="35" y="69"/>
                    </a:lnTo>
                    <a:lnTo>
                      <a:pt x="32" y="67"/>
                    </a:lnTo>
                    <a:lnTo>
                      <a:pt x="35" y="69"/>
                    </a:lnTo>
                    <a:lnTo>
                      <a:pt x="35" y="69"/>
                    </a:lnTo>
                    <a:lnTo>
                      <a:pt x="35" y="69"/>
                    </a:lnTo>
                    <a:lnTo>
                      <a:pt x="35" y="69"/>
                    </a:lnTo>
                    <a:lnTo>
                      <a:pt x="35" y="69"/>
                    </a:lnTo>
                    <a:lnTo>
                      <a:pt x="35" y="69"/>
                    </a:lnTo>
                    <a:lnTo>
                      <a:pt x="35" y="69"/>
                    </a:lnTo>
                    <a:lnTo>
                      <a:pt x="35" y="69"/>
                    </a:lnTo>
                    <a:lnTo>
                      <a:pt x="35" y="69"/>
                    </a:lnTo>
                    <a:close/>
                    <a:moveTo>
                      <a:pt x="22" y="58"/>
                    </a:moveTo>
                    <a:lnTo>
                      <a:pt x="21" y="59"/>
                    </a:lnTo>
                    <a:lnTo>
                      <a:pt x="24" y="59"/>
                    </a:lnTo>
                    <a:lnTo>
                      <a:pt x="22" y="61"/>
                    </a:lnTo>
                    <a:lnTo>
                      <a:pt x="24" y="61"/>
                    </a:lnTo>
                    <a:lnTo>
                      <a:pt x="22" y="62"/>
                    </a:lnTo>
                    <a:lnTo>
                      <a:pt x="29" y="61"/>
                    </a:lnTo>
                    <a:lnTo>
                      <a:pt x="27" y="59"/>
                    </a:lnTo>
                    <a:lnTo>
                      <a:pt x="26" y="58"/>
                    </a:lnTo>
                    <a:lnTo>
                      <a:pt x="22" y="58"/>
                    </a:lnTo>
                    <a:lnTo>
                      <a:pt x="22" y="58"/>
                    </a:lnTo>
                    <a:lnTo>
                      <a:pt x="22" y="58"/>
                    </a:lnTo>
                    <a:lnTo>
                      <a:pt x="22" y="58"/>
                    </a:lnTo>
                    <a:lnTo>
                      <a:pt x="22" y="58"/>
                    </a:lnTo>
                    <a:lnTo>
                      <a:pt x="22" y="58"/>
                    </a:lnTo>
                    <a:lnTo>
                      <a:pt x="22" y="58"/>
                    </a:lnTo>
                    <a:lnTo>
                      <a:pt x="22" y="58"/>
                    </a:lnTo>
                    <a:lnTo>
                      <a:pt x="22" y="5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67" name="Freeform 239">
                <a:extLst>
                  <a:ext uri="{FF2B5EF4-FFF2-40B4-BE49-F238E27FC236}">
                    <a16:creationId xmlns:a16="http://schemas.microsoft.com/office/drawing/2014/main" id="{4803283E-E751-7DDE-C43F-B770B2A3417E}"/>
                  </a:ext>
                </a:extLst>
              </p:cNvPr>
              <p:cNvSpPr>
                <a:spLocks/>
              </p:cNvSpPr>
              <p:nvPr/>
            </p:nvSpPr>
            <p:spPr bwMode="auto">
              <a:xfrm>
                <a:off x="5560566" y="2257570"/>
                <a:ext cx="105425" cy="114397"/>
              </a:xfrm>
              <a:custGeom>
                <a:avLst/>
                <a:gdLst>
                  <a:gd name="T0" fmla="*/ 42 w 47"/>
                  <a:gd name="T1" fmla="*/ 16 h 51"/>
                  <a:gd name="T2" fmla="*/ 41 w 47"/>
                  <a:gd name="T3" fmla="*/ 14 h 51"/>
                  <a:gd name="T4" fmla="*/ 38 w 47"/>
                  <a:gd name="T5" fmla="*/ 13 h 51"/>
                  <a:gd name="T6" fmla="*/ 35 w 47"/>
                  <a:gd name="T7" fmla="*/ 16 h 51"/>
                  <a:gd name="T8" fmla="*/ 31 w 47"/>
                  <a:gd name="T9" fmla="*/ 10 h 51"/>
                  <a:gd name="T10" fmla="*/ 35 w 47"/>
                  <a:gd name="T11" fmla="*/ 8 h 51"/>
                  <a:gd name="T12" fmla="*/ 38 w 47"/>
                  <a:gd name="T13" fmla="*/ 2 h 51"/>
                  <a:gd name="T14" fmla="*/ 35 w 47"/>
                  <a:gd name="T15" fmla="*/ 0 h 51"/>
                  <a:gd name="T16" fmla="*/ 28 w 47"/>
                  <a:gd name="T17" fmla="*/ 2 h 51"/>
                  <a:gd name="T18" fmla="*/ 25 w 47"/>
                  <a:gd name="T19" fmla="*/ 6 h 51"/>
                  <a:gd name="T20" fmla="*/ 22 w 47"/>
                  <a:gd name="T21" fmla="*/ 8 h 51"/>
                  <a:gd name="T22" fmla="*/ 25 w 47"/>
                  <a:gd name="T23" fmla="*/ 10 h 51"/>
                  <a:gd name="T24" fmla="*/ 22 w 47"/>
                  <a:gd name="T25" fmla="*/ 13 h 51"/>
                  <a:gd name="T26" fmla="*/ 19 w 47"/>
                  <a:gd name="T27" fmla="*/ 14 h 51"/>
                  <a:gd name="T28" fmla="*/ 14 w 47"/>
                  <a:gd name="T29" fmla="*/ 14 h 51"/>
                  <a:gd name="T30" fmla="*/ 8 w 47"/>
                  <a:gd name="T31" fmla="*/ 14 h 51"/>
                  <a:gd name="T32" fmla="*/ 8 w 47"/>
                  <a:gd name="T33" fmla="*/ 16 h 51"/>
                  <a:gd name="T34" fmla="*/ 11 w 47"/>
                  <a:gd name="T35" fmla="*/ 19 h 51"/>
                  <a:gd name="T36" fmla="*/ 8 w 47"/>
                  <a:gd name="T37" fmla="*/ 22 h 51"/>
                  <a:gd name="T38" fmla="*/ 4 w 47"/>
                  <a:gd name="T39" fmla="*/ 25 h 51"/>
                  <a:gd name="T40" fmla="*/ 11 w 47"/>
                  <a:gd name="T41" fmla="*/ 27 h 51"/>
                  <a:gd name="T42" fmla="*/ 11 w 47"/>
                  <a:gd name="T43" fmla="*/ 30 h 51"/>
                  <a:gd name="T44" fmla="*/ 11 w 47"/>
                  <a:gd name="T45" fmla="*/ 35 h 51"/>
                  <a:gd name="T46" fmla="*/ 8 w 47"/>
                  <a:gd name="T47" fmla="*/ 38 h 51"/>
                  <a:gd name="T48" fmla="*/ 3 w 47"/>
                  <a:gd name="T49" fmla="*/ 41 h 51"/>
                  <a:gd name="T50" fmla="*/ 0 w 47"/>
                  <a:gd name="T51" fmla="*/ 44 h 51"/>
                  <a:gd name="T52" fmla="*/ 1 w 47"/>
                  <a:gd name="T53" fmla="*/ 44 h 51"/>
                  <a:gd name="T54" fmla="*/ 1 w 47"/>
                  <a:gd name="T55" fmla="*/ 49 h 51"/>
                  <a:gd name="T56" fmla="*/ 4 w 47"/>
                  <a:gd name="T57" fmla="*/ 49 h 51"/>
                  <a:gd name="T58" fmla="*/ 6 w 47"/>
                  <a:gd name="T59" fmla="*/ 49 h 51"/>
                  <a:gd name="T60" fmla="*/ 8 w 47"/>
                  <a:gd name="T61" fmla="*/ 51 h 51"/>
                  <a:gd name="T62" fmla="*/ 19 w 47"/>
                  <a:gd name="T63" fmla="*/ 51 h 51"/>
                  <a:gd name="T64" fmla="*/ 25 w 47"/>
                  <a:gd name="T65" fmla="*/ 48 h 51"/>
                  <a:gd name="T66" fmla="*/ 35 w 47"/>
                  <a:gd name="T67" fmla="*/ 43 h 51"/>
                  <a:gd name="T68" fmla="*/ 38 w 47"/>
                  <a:gd name="T69" fmla="*/ 43 h 51"/>
                  <a:gd name="T70" fmla="*/ 42 w 47"/>
                  <a:gd name="T71" fmla="*/ 41 h 51"/>
                  <a:gd name="T72" fmla="*/ 44 w 47"/>
                  <a:gd name="T73" fmla="*/ 38 h 51"/>
                  <a:gd name="T74" fmla="*/ 46 w 47"/>
                  <a:gd name="T75" fmla="*/ 25 h 51"/>
                  <a:gd name="T76" fmla="*/ 46 w 47"/>
                  <a:gd name="T77" fmla="*/ 22 h 51"/>
                  <a:gd name="T78" fmla="*/ 46 w 47"/>
                  <a:gd name="T79" fmla="*/ 16 h 51"/>
                  <a:gd name="T80" fmla="*/ 46 w 47"/>
                  <a:gd name="T81" fmla="*/ 16 h 51"/>
                  <a:gd name="T82" fmla="*/ 46 w 47"/>
                  <a:gd name="T83" fmla="*/ 1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 h="51">
                    <a:moveTo>
                      <a:pt x="46" y="16"/>
                    </a:moveTo>
                    <a:lnTo>
                      <a:pt x="44" y="16"/>
                    </a:lnTo>
                    <a:lnTo>
                      <a:pt x="42" y="16"/>
                    </a:lnTo>
                    <a:lnTo>
                      <a:pt x="42" y="16"/>
                    </a:lnTo>
                    <a:lnTo>
                      <a:pt x="41" y="14"/>
                    </a:lnTo>
                    <a:lnTo>
                      <a:pt x="41" y="14"/>
                    </a:lnTo>
                    <a:lnTo>
                      <a:pt x="39" y="13"/>
                    </a:lnTo>
                    <a:lnTo>
                      <a:pt x="38" y="13"/>
                    </a:lnTo>
                    <a:lnTo>
                      <a:pt x="38" y="13"/>
                    </a:lnTo>
                    <a:lnTo>
                      <a:pt x="38" y="14"/>
                    </a:lnTo>
                    <a:lnTo>
                      <a:pt x="35" y="16"/>
                    </a:lnTo>
                    <a:lnTo>
                      <a:pt x="35" y="16"/>
                    </a:lnTo>
                    <a:lnTo>
                      <a:pt x="28" y="13"/>
                    </a:lnTo>
                    <a:lnTo>
                      <a:pt x="28" y="11"/>
                    </a:lnTo>
                    <a:lnTo>
                      <a:pt x="31" y="10"/>
                    </a:lnTo>
                    <a:lnTo>
                      <a:pt x="31" y="8"/>
                    </a:lnTo>
                    <a:lnTo>
                      <a:pt x="31" y="8"/>
                    </a:lnTo>
                    <a:lnTo>
                      <a:pt x="35" y="8"/>
                    </a:lnTo>
                    <a:lnTo>
                      <a:pt x="35" y="5"/>
                    </a:lnTo>
                    <a:lnTo>
                      <a:pt x="38" y="3"/>
                    </a:lnTo>
                    <a:lnTo>
                      <a:pt x="38" y="2"/>
                    </a:lnTo>
                    <a:lnTo>
                      <a:pt x="41" y="0"/>
                    </a:lnTo>
                    <a:lnTo>
                      <a:pt x="38" y="0"/>
                    </a:lnTo>
                    <a:lnTo>
                      <a:pt x="35" y="0"/>
                    </a:lnTo>
                    <a:lnTo>
                      <a:pt x="31" y="0"/>
                    </a:lnTo>
                    <a:lnTo>
                      <a:pt x="31" y="2"/>
                    </a:lnTo>
                    <a:lnTo>
                      <a:pt x="28" y="2"/>
                    </a:lnTo>
                    <a:lnTo>
                      <a:pt x="25" y="2"/>
                    </a:lnTo>
                    <a:lnTo>
                      <a:pt x="25" y="3"/>
                    </a:lnTo>
                    <a:lnTo>
                      <a:pt x="25" y="6"/>
                    </a:lnTo>
                    <a:lnTo>
                      <a:pt x="23" y="6"/>
                    </a:lnTo>
                    <a:lnTo>
                      <a:pt x="23" y="8"/>
                    </a:lnTo>
                    <a:lnTo>
                      <a:pt x="22" y="8"/>
                    </a:lnTo>
                    <a:lnTo>
                      <a:pt x="20" y="8"/>
                    </a:lnTo>
                    <a:lnTo>
                      <a:pt x="23" y="10"/>
                    </a:lnTo>
                    <a:lnTo>
                      <a:pt x="25" y="10"/>
                    </a:lnTo>
                    <a:lnTo>
                      <a:pt x="25" y="11"/>
                    </a:lnTo>
                    <a:lnTo>
                      <a:pt x="25" y="11"/>
                    </a:lnTo>
                    <a:lnTo>
                      <a:pt x="22" y="13"/>
                    </a:lnTo>
                    <a:lnTo>
                      <a:pt x="23" y="14"/>
                    </a:lnTo>
                    <a:lnTo>
                      <a:pt x="22" y="14"/>
                    </a:lnTo>
                    <a:lnTo>
                      <a:pt x="19" y="14"/>
                    </a:lnTo>
                    <a:lnTo>
                      <a:pt x="17" y="14"/>
                    </a:lnTo>
                    <a:lnTo>
                      <a:pt x="15" y="16"/>
                    </a:lnTo>
                    <a:lnTo>
                      <a:pt x="14" y="14"/>
                    </a:lnTo>
                    <a:lnTo>
                      <a:pt x="11" y="13"/>
                    </a:lnTo>
                    <a:lnTo>
                      <a:pt x="8" y="14"/>
                    </a:lnTo>
                    <a:lnTo>
                      <a:pt x="8" y="14"/>
                    </a:lnTo>
                    <a:lnTo>
                      <a:pt x="8" y="16"/>
                    </a:lnTo>
                    <a:lnTo>
                      <a:pt x="8" y="16"/>
                    </a:lnTo>
                    <a:lnTo>
                      <a:pt x="8" y="16"/>
                    </a:lnTo>
                    <a:lnTo>
                      <a:pt x="8" y="19"/>
                    </a:lnTo>
                    <a:lnTo>
                      <a:pt x="11" y="19"/>
                    </a:lnTo>
                    <a:lnTo>
                      <a:pt x="11" y="19"/>
                    </a:lnTo>
                    <a:lnTo>
                      <a:pt x="11" y="19"/>
                    </a:lnTo>
                    <a:lnTo>
                      <a:pt x="8" y="22"/>
                    </a:lnTo>
                    <a:lnTo>
                      <a:pt x="8" y="22"/>
                    </a:lnTo>
                    <a:lnTo>
                      <a:pt x="4" y="25"/>
                    </a:lnTo>
                    <a:lnTo>
                      <a:pt x="6" y="25"/>
                    </a:lnTo>
                    <a:lnTo>
                      <a:pt x="4" y="25"/>
                    </a:lnTo>
                    <a:lnTo>
                      <a:pt x="6" y="25"/>
                    </a:lnTo>
                    <a:lnTo>
                      <a:pt x="8" y="25"/>
                    </a:lnTo>
                    <a:lnTo>
                      <a:pt x="11" y="27"/>
                    </a:lnTo>
                    <a:lnTo>
                      <a:pt x="17" y="27"/>
                    </a:lnTo>
                    <a:lnTo>
                      <a:pt x="14" y="29"/>
                    </a:lnTo>
                    <a:lnTo>
                      <a:pt x="11" y="30"/>
                    </a:lnTo>
                    <a:lnTo>
                      <a:pt x="11" y="32"/>
                    </a:lnTo>
                    <a:lnTo>
                      <a:pt x="11" y="33"/>
                    </a:lnTo>
                    <a:lnTo>
                      <a:pt x="11" y="35"/>
                    </a:lnTo>
                    <a:lnTo>
                      <a:pt x="6" y="36"/>
                    </a:lnTo>
                    <a:lnTo>
                      <a:pt x="11" y="36"/>
                    </a:lnTo>
                    <a:lnTo>
                      <a:pt x="8" y="38"/>
                    </a:lnTo>
                    <a:lnTo>
                      <a:pt x="6" y="40"/>
                    </a:lnTo>
                    <a:lnTo>
                      <a:pt x="6" y="41"/>
                    </a:lnTo>
                    <a:lnTo>
                      <a:pt x="3" y="41"/>
                    </a:lnTo>
                    <a:lnTo>
                      <a:pt x="1" y="41"/>
                    </a:lnTo>
                    <a:lnTo>
                      <a:pt x="0" y="43"/>
                    </a:lnTo>
                    <a:lnTo>
                      <a:pt x="0" y="44"/>
                    </a:lnTo>
                    <a:lnTo>
                      <a:pt x="3" y="43"/>
                    </a:lnTo>
                    <a:lnTo>
                      <a:pt x="6" y="43"/>
                    </a:lnTo>
                    <a:lnTo>
                      <a:pt x="1" y="44"/>
                    </a:lnTo>
                    <a:lnTo>
                      <a:pt x="0" y="48"/>
                    </a:lnTo>
                    <a:lnTo>
                      <a:pt x="0" y="49"/>
                    </a:lnTo>
                    <a:lnTo>
                      <a:pt x="1" y="49"/>
                    </a:lnTo>
                    <a:lnTo>
                      <a:pt x="3" y="49"/>
                    </a:lnTo>
                    <a:lnTo>
                      <a:pt x="8" y="48"/>
                    </a:lnTo>
                    <a:lnTo>
                      <a:pt x="4" y="49"/>
                    </a:lnTo>
                    <a:lnTo>
                      <a:pt x="1" y="51"/>
                    </a:lnTo>
                    <a:lnTo>
                      <a:pt x="3" y="51"/>
                    </a:lnTo>
                    <a:lnTo>
                      <a:pt x="6" y="49"/>
                    </a:lnTo>
                    <a:lnTo>
                      <a:pt x="8" y="49"/>
                    </a:lnTo>
                    <a:lnTo>
                      <a:pt x="6" y="51"/>
                    </a:lnTo>
                    <a:lnTo>
                      <a:pt x="8" y="51"/>
                    </a:lnTo>
                    <a:lnTo>
                      <a:pt x="11" y="51"/>
                    </a:lnTo>
                    <a:lnTo>
                      <a:pt x="17" y="51"/>
                    </a:lnTo>
                    <a:lnTo>
                      <a:pt x="19" y="51"/>
                    </a:lnTo>
                    <a:lnTo>
                      <a:pt x="20" y="49"/>
                    </a:lnTo>
                    <a:lnTo>
                      <a:pt x="22" y="48"/>
                    </a:lnTo>
                    <a:lnTo>
                      <a:pt x="25" y="48"/>
                    </a:lnTo>
                    <a:lnTo>
                      <a:pt x="28" y="46"/>
                    </a:lnTo>
                    <a:lnTo>
                      <a:pt x="28" y="44"/>
                    </a:lnTo>
                    <a:lnTo>
                      <a:pt x="35" y="43"/>
                    </a:lnTo>
                    <a:lnTo>
                      <a:pt x="35" y="43"/>
                    </a:lnTo>
                    <a:lnTo>
                      <a:pt x="38" y="41"/>
                    </a:lnTo>
                    <a:lnTo>
                      <a:pt x="38" y="43"/>
                    </a:lnTo>
                    <a:lnTo>
                      <a:pt x="38" y="43"/>
                    </a:lnTo>
                    <a:lnTo>
                      <a:pt x="39" y="43"/>
                    </a:lnTo>
                    <a:lnTo>
                      <a:pt x="42" y="41"/>
                    </a:lnTo>
                    <a:lnTo>
                      <a:pt x="41" y="40"/>
                    </a:lnTo>
                    <a:lnTo>
                      <a:pt x="42" y="40"/>
                    </a:lnTo>
                    <a:lnTo>
                      <a:pt x="44" y="38"/>
                    </a:lnTo>
                    <a:lnTo>
                      <a:pt x="46" y="35"/>
                    </a:lnTo>
                    <a:lnTo>
                      <a:pt x="47" y="30"/>
                    </a:lnTo>
                    <a:lnTo>
                      <a:pt x="46" y="25"/>
                    </a:lnTo>
                    <a:lnTo>
                      <a:pt x="47" y="25"/>
                    </a:lnTo>
                    <a:lnTo>
                      <a:pt x="47" y="25"/>
                    </a:lnTo>
                    <a:lnTo>
                      <a:pt x="46" y="22"/>
                    </a:lnTo>
                    <a:lnTo>
                      <a:pt x="44" y="19"/>
                    </a:lnTo>
                    <a:lnTo>
                      <a:pt x="47" y="16"/>
                    </a:lnTo>
                    <a:lnTo>
                      <a:pt x="46" y="16"/>
                    </a:lnTo>
                    <a:lnTo>
                      <a:pt x="46" y="16"/>
                    </a:lnTo>
                    <a:lnTo>
                      <a:pt x="46" y="16"/>
                    </a:lnTo>
                    <a:lnTo>
                      <a:pt x="46" y="16"/>
                    </a:lnTo>
                    <a:lnTo>
                      <a:pt x="46" y="16"/>
                    </a:lnTo>
                    <a:lnTo>
                      <a:pt x="46" y="16"/>
                    </a:lnTo>
                    <a:lnTo>
                      <a:pt x="46" y="16"/>
                    </a:lnTo>
                    <a:lnTo>
                      <a:pt x="46" y="16"/>
                    </a:lnTo>
                    <a:lnTo>
                      <a:pt x="46" y="16"/>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68" name="Freeform 313">
                <a:extLst>
                  <a:ext uri="{FF2B5EF4-FFF2-40B4-BE49-F238E27FC236}">
                    <a16:creationId xmlns:a16="http://schemas.microsoft.com/office/drawing/2014/main" id="{832348D0-B000-6E14-0297-6F26049E0D32}"/>
                  </a:ext>
                </a:extLst>
              </p:cNvPr>
              <p:cNvSpPr>
                <a:spLocks/>
              </p:cNvSpPr>
              <p:nvPr/>
            </p:nvSpPr>
            <p:spPr bwMode="auto">
              <a:xfrm>
                <a:off x="6282834" y="1829143"/>
                <a:ext cx="248981" cy="293843"/>
              </a:xfrm>
              <a:custGeom>
                <a:avLst/>
                <a:gdLst>
                  <a:gd name="T0" fmla="*/ 108 w 111"/>
                  <a:gd name="T1" fmla="*/ 96 h 131"/>
                  <a:gd name="T2" fmla="*/ 111 w 111"/>
                  <a:gd name="T3" fmla="*/ 91 h 131"/>
                  <a:gd name="T4" fmla="*/ 94 w 111"/>
                  <a:gd name="T5" fmla="*/ 80 h 131"/>
                  <a:gd name="T6" fmla="*/ 98 w 111"/>
                  <a:gd name="T7" fmla="*/ 72 h 131"/>
                  <a:gd name="T8" fmla="*/ 94 w 111"/>
                  <a:gd name="T9" fmla="*/ 67 h 131"/>
                  <a:gd name="T10" fmla="*/ 89 w 111"/>
                  <a:gd name="T11" fmla="*/ 64 h 131"/>
                  <a:gd name="T12" fmla="*/ 89 w 111"/>
                  <a:gd name="T13" fmla="*/ 61 h 131"/>
                  <a:gd name="T14" fmla="*/ 89 w 111"/>
                  <a:gd name="T15" fmla="*/ 56 h 131"/>
                  <a:gd name="T16" fmla="*/ 86 w 111"/>
                  <a:gd name="T17" fmla="*/ 47 h 131"/>
                  <a:gd name="T18" fmla="*/ 79 w 111"/>
                  <a:gd name="T19" fmla="*/ 37 h 131"/>
                  <a:gd name="T20" fmla="*/ 86 w 111"/>
                  <a:gd name="T21" fmla="*/ 32 h 131"/>
                  <a:gd name="T22" fmla="*/ 76 w 111"/>
                  <a:gd name="T23" fmla="*/ 24 h 131"/>
                  <a:gd name="T24" fmla="*/ 70 w 111"/>
                  <a:gd name="T25" fmla="*/ 21 h 131"/>
                  <a:gd name="T26" fmla="*/ 71 w 111"/>
                  <a:gd name="T27" fmla="*/ 18 h 131"/>
                  <a:gd name="T28" fmla="*/ 70 w 111"/>
                  <a:gd name="T29" fmla="*/ 15 h 131"/>
                  <a:gd name="T30" fmla="*/ 75 w 111"/>
                  <a:gd name="T31" fmla="*/ 12 h 131"/>
                  <a:gd name="T32" fmla="*/ 73 w 111"/>
                  <a:gd name="T33" fmla="*/ 5 h 131"/>
                  <a:gd name="T34" fmla="*/ 60 w 111"/>
                  <a:gd name="T35" fmla="*/ 0 h 131"/>
                  <a:gd name="T36" fmla="*/ 55 w 111"/>
                  <a:gd name="T37" fmla="*/ 2 h 131"/>
                  <a:gd name="T38" fmla="*/ 44 w 111"/>
                  <a:gd name="T39" fmla="*/ 5 h 131"/>
                  <a:gd name="T40" fmla="*/ 44 w 111"/>
                  <a:gd name="T41" fmla="*/ 15 h 131"/>
                  <a:gd name="T42" fmla="*/ 41 w 111"/>
                  <a:gd name="T43" fmla="*/ 16 h 131"/>
                  <a:gd name="T44" fmla="*/ 35 w 111"/>
                  <a:gd name="T45" fmla="*/ 18 h 131"/>
                  <a:gd name="T46" fmla="*/ 24 w 111"/>
                  <a:gd name="T47" fmla="*/ 18 h 131"/>
                  <a:gd name="T48" fmla="*/ 6 w 111"/>
                  <a:gd name="T49" fmla="*/ 12 h 131"/>
                  <a:gd name="T50" fmla="*/ 3 w 111"/>
                  <a:gd name="T51" fmla="*/ 12 h 131"/>
                  <a:gd name="T52" fmla="*/ 14 w 111"/>
                  <a:gd name="T53" fmla="*/ 20 h 131"/>
                  <a:gd name="T54" fmla="*/ 25 w 111"/>
                  <a:gd name="T55" fmla="*/ 26 h 131"/>
                  <a:gd name="T56" fmla="*/ 25 w 111"/>
                  <a:gd name="T57" fmla="*/ 29 h 131"/>
                  <a:gd name="T58" fmla="*/ 28 w 111"/>
                  <a:gd name="T59" fmla="*/ 35 h 131"/>
                  <a:gd name="T60" fmla="*/ 30 w 111"/>
                  <a:gd name="T61" fmla="*/ 39 h 131"/>
                  <a:gd name="T62" fmla="*/ 30 w 111"/>
                  <a:gd name="T63" fmla="*/ 43 h 131"/>
                  <a:gd name="T64" fmla="*/ 35 w 111"/>
                  <a:gd name="T65" fmla="*/ 53 h 131"/>
                  <a:gd name="T66" fmla="*/ 38 w 111"/>
                  <a:gd name="T67" fmla="*/ 54 h 131"/>
                  <a:gd name="T68" fmla="*/ 44 w 111"/>
                  <a:gd name="T69" fmla="*/ 58 h 131"/>
                  <a:gd name="T70" fmla="*/ 48 w 111"/>
                  <a:gd name="T71" fmla="*/ 61 h 131"/>
                  <a:gd name="T72" fmla="*/ 48 w 111"/>
                  <a:gd name="T73" fmla="*/ 67 h 131"/>
                  <a:gd name="T74" fmla="*/ 38 w 111"/>
                  <a:gd name="T75" fmla="*/ 69 h 131"/>
                  <a:gd name="T76" fmla="*/ 30 w 111"/>
                  <a:gd name="T77" fmla="*/ 75 h 131"/>
                  <a:gd name="T78" fmla="*/ 25 w 111"/>
                  <a:gd name="T79" fmla="*/ 80 h 131"/>
                  <a:gd name="T80" fmla="*/ 22 w 111"/>
                  <a:gd name="T81" fmla="*/ 81 h 131"/>
                  <a:gd name="T82" fmla="*/ 17 w 111"/>
                  <a:gd name="T83" fmla="*/ 85 h 131"/>
                  <a:gd name="T84" fmla="*/ 13 w 111"/>
                  <a:gd name="T85" fmla="*/ 88 h 131"/>
                  <a:gd name="T86" fmla="*/ 11 w 111"/>
                  <a:gd name="T87" fmla="*/ 91 h 131"/>
                  <a:gd name="T88" fmla="*/ 11 w 111"/>
                  <a:gd name="T89" fmla="*/ 99 h 131"/>
                  <a:gd name="T90" fmla="*/ 16 w 111"/>
                  <a:gd name="T91" fmla="*/ 108 h 131"/>
                  <a:gd name="T92" fmla="*/ 14 w 111"/>
                  <a:gd name="T93" fmla="*/ 113 h 131"/>
                  <a:gd name="T94" fmla="*/ 14 w 111"/>
                  <a:gd name="T95" fmla="*/ 120 h 131"/>
                  <a:gd name="T96" fmla="*/ 19 w 111"/>
                  <a:gd name="T97" fmla="*/ 120 h 131"/>
                  <a:gd name="T98" fmla="*/ 28 w 111"/>
                  <a:gd name="T99" fmla="*/ 126 h 131"/>
                  <a:gd name="T100" fmla="*/ 32 w 111"/>
                  <a:gd name="T101" fmla="*/ 126 h 131"/>
                  <a:gd name="T102" fmla="*/ 32 w 111"/>
                  <a:gd name="T103" fmla="*/ 131 h 131"/>
                  <a:gd name="T104" fmla="*/ 43 w 111"/>
                  <a:gd name="T105" fmla="*/ 127 h 131"/>
                  <a:gd name="T106" fmla="*/ 48 w 111"/>
                  <a:gd name="T107" fmla="*/ 126 h 131"/>
                  <a:gd name="T108" fmla="*/ 57 w 111"/>
                  <a:gd name="T109" fmla="*/ 123 h 131"/>
                  <a:gd name="T110" fmla="*/ 59 w 111"/>
                  <a:gd name="T111" fmla="*/ 123 h 131"/>
                  <a:gd name="T112" fmla="*/ 62 w 111"/>
                  <a:gd name="T113" fmla="*/ 123 h 131"/>
                  <a:gd name="T114" fmla="*/ 67 w 111"/>
                  <a:gd name="T115" fmla="*/ 123 h 131"/>
                  <a:gd name="T116" fmla="*/ 75 w 111"/>
                  <a:gd name="T117" fmla="*/ 123 h 131"/>
                  <a:gd name="T118" fmla="*/ 86 w 111"/>
                  <a:gd name="T119" fmla="*/ 116 h 131"/>
                  <a:gd name="T120" fmla="*/ 92 w 111"/>
                  <a:gd name="T121" fmla="*/ 110 h 131"/>
                  <a:gd name="T122" fmla="*/ 92 w 111"/>
                  <a:gd name="T123" fmla="*/ 110 h 131"/>
                  <a:gd name="T124" fmla="*/ 92 w 111"/>
                  <a:gd name="T125" fmla="*/ 11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 h="131">
                    <a:moveTo>
                      <a:pt x="92" y="110"/>
                    </a:moveTo>
                    <a:lnTo>
                      <a:pt x="106" y="97"/>
                    </a:lnTo>
                    <a:lnTo>
                      <a:pt x="108" y="96"/>
                    </a:lnTo>
                    <a:lnTo>
                      <a:pt x="109" y="94"/>
                    </a:lnTo>
                    <a:lnTo>
                      <a:pt x="111" y="91"/>
                    </a:lnTo>
                    <a:lnTo>
                      <a:pt x="111" y="91"/>
                    </a:lnTo>
                    <a:lnTo>
                      <a:pt x="111" y="88"/>
                    </a:lnTo>
                    <a:lnTo>
                      <a:pt x="109" y="88"/>
                    </a:lnTo>
                    <a:lnTo>
                      <a:pt x="94" y="80"/>
                    </a:lnTo>
                    <a:lnTo>
                      <a:pt x="98" y="77"/>
                    </a:lnTo>
                    <a:lnTo>
                      <a:pt x="100" y="74"/>
                    </a:lnTo>
                    <a:lnTo>
                      <a:pt x="98" y="72"/>
                    </a:lnTo>
                    <a:lnTo>
                      <a:pt x="94" y="70"/>
                    </a:lnTo>
                    <a:lnTo>
                      <a:pt x="92" y="69"/>
                    </a:lnTo>
                    <a:lnTo>
                      <a:pt x="94" y="67"/>
                    </a:lnTo>
                    <a:lnTo>
                      <a:pt x="92" y="67"/>
                    </a:lnTo>
                    <a:lnTo>
                      <a:pt x="90" y="67"/>
                    </a:lnTo>
                    <a:lnTo>
                      <a:pt x="89" y="64"/>
                    </a:lnTo>
                    <a:lnTo>
                      <a:pt x="89" y="64"/>
                    </a:lnTo>
                    <a:lnTo>
                      <a:pt x="89" y="61"/>
                    </a:lnTo>
                    <a:lnTo>
                      <a:pt x="89" y="61"/>
                    </a:lnTo>
                    <a:lnTo>
                      <a:pt x="89" y="59"/>
                    </a:lnTo>
                    <a:lnTo>
                      <a:pt x="89" y="58"/>
                    </a:lnTo>
                    <a:lnTo>
                      <a:pt x="89" y="56"/>
                    </a:lnTo>
                    <a:lnTo>
                      <a:pt x="90" y="54"/>
                    </a:lnTo>
                    <a:lnTo>
                      <a:pt x="89" y="51"/>
                    </a:lnTo>
                    <a:lnTo>
                      <a:pt x="86" y="47"/>
                    </a:lnTo>
                    <a:lnTo>
                      <a:pt x="79" y="40"/>
                    </a:lnTo>
                    <a:lnTo>
                      <a:pt x="79" y="39"/>
                    </a:lnTo>
                    <a:lnTo>
                      <a:pt x="79" y="37"/>
                    </a:lnTo>
                    <a:lnTo>
                      <a:pt x="82" y="35"/>
                    </a:lnTo>
                    <a:lnTo>
                      <a:pt x="86" y="32"/>
                    </a:lnTo>
                    <a:lnTo>
                      <a:pt x="86" y="32"/>
                    </a:lnTo>
                    <a:lnTo>
                      <a:pt x="86" y="29"/>
                    </a:lnTo>
                    <a:lnTo>
                      <a:pt x="79" y="26"/>
                    </a:lnTo>
                    <a:lnTo>
                      <a:pt x="76" y="24"/>
                    </a:lnTo>
                    <a:lnTo>
                      <a:pt x="73" y="23"/>
                    </a:lnTo>
                    <a:lnTo>
                      <a:pt x="70" y="21"/>
                    </a:lnTo>
                    <a:lnTo>
                      <a:pt x="70" y="21"/>
                    </a:lnTo>
                    <a:lnTo>
                      <a:pt x="70" y="20"/>
                    </a:lnTo>
                    <a:lnTo>
                      <a:pt x="70" y="20"/>
                    </a:lnTo>
                    <a:lnTo>
                      <a:pt x="71" y="18"/>
                    </a:lnTo>
                    <a:lnTo>
                      <a:pt x="73" y="16"/>
                    </a:lnTo>
                    <a:lnTo>
                      <a:pt x="71" y="16"/>
                    </a:lnTo>
                    <a:lnTo>
                      <a:pt x="70" y="15"/>
                    </a:lnTo>
                    <a:lnTo>
                      <a:pt x="73" y="15"/>
                    </a:lnTo>
                    <a:lnTo>
                      <a:pt x="76" y="13"/>
                    </a:lnTo>
                    <a:lnTo>
                      <a:pt x="75" y="12"/>
                    </a:lnTo>
                    <a:lnTo>
                      <a:pt x="76" y="8"/>
                    </a:lnTo>
                    <a:lnTo>
                      <a:pt x="76" y="7"/>
                    </a:lnTo>
                    <a:lnTo>
                      <a:pt x="73" y="5"/>
                    </a:lnTo>
                    <a:lnTo>
                      <a:pt x="65" y="2"/>
                    </a:lnTo>
                    <a:lnTo>
                      <a:pt x="62" y="0"/>
                    </a:lnTo>
                    <a:lnTo>
                      <a:pt x="60" y="0"/>
                    </a:lnTo>
                    <a:lnTo>
                      <a:pt x="60" y="0"/>
                    </a:lnTo>
                    <a:lnTo>
                      <a:pt x="59" y="0"/>
                    </a:lnTo>
                    <a:lnTo>
                      <a:pt x="55" y="2"/>
                    </a:lnTo>
                    <a:lnTo>
                      <a:pt x="51" y="2"/>
                    </a:lnTo>
                    <a:lnTo>
                      <a:pt x="48" y="2"/>
                    </a:lnTo>
                    <a:lnTo>
                      <a:pt x="44" y="5"/>
                    </a:lnTo>
                    <a:lnTo>
                      <a:pt x="44" y="8"/>
                    </a:lnTo>
                    <a:lnTo>
                      <a:pt x="44" y="13"/>
                    </a:lnTo>
                    <a:lnTo>
                      <a:pt x="44" y="15"/>
                    </a:lnTo>
                    <a:lnTo>
                      <a:pt x="43" y="15"/>
                    </a:lnTo>
                    <a:lnTo>
                      <a:pt x="41" y="15"/>
                    </a:lnTo>
                    <a:lnTo>
                      <a:pt x="41" y="16"/>
                    </a:lnTo>
                    <a:lnTo>
                      <a:pt x="38" y="18"/>
                    </a:lnTo>
                    <a:lnTo>
                      <a:pt x="35" y="18"/>
                    </a:lnTo>
                    <a:lnTo>
                      <a:pt x="35" y="18"/>
                    </a:lnTo>
                    <a:lnTo>
                      <a:pt x="32" y="16"/>
                    </a:lnTo>
                    <a:lnTo>
                      <a:pt x="28" y="16"/>
                    </a:lnTo>
                    <a:lnTo>
                      <a:pt x="24" y="18"/>
                    </a:lnTo>
                    <a:lnTo>
                      <a:pt x="17" y="18"/>
                    </a:lnTo>
                    <a:lnTo>
                      <a:pt x="13" y="15"/>
                    </a:lnTo>
                    <a:lnTo>
                      <a:pt x="6" y="12"/>
                    </a:lnTo>
                    <a:lnTo>
                      <a:pt x="3" y="10"/>
                    </a:lnTo>
                    <a:lnTo>
                      <a:pt x="0" y="12"/>
                    </a:lnTo>
                    <a:lnTo>
                      <a:pt x="3" y="12"/>
                    </a:lnTo>
                    <a:lnTo>
                      <a:pt x="0" y="13"/>
                    </a:lnTo>
                    <a:lnTo>
                      <a:pt x="3" y="13"/>
                    </a:lnTo>
                    <a:lnTo>
                      <a:pt x="14" y="20"/>
                    </a:lnTo>
                    <a:lnTo>
                      <a:pt x="21" y="23"/>
                    </a:lnTo>
                    <a:lnTo>
                      <a:pt x="22" y="24"/>
                    </a:lnTo>
                    <a:lnTo>
                      <a:pt x="25" y="26"/>
                    </a:lnTo>
                    <a:lnTo>
                      <a:pt x="27" y="26"/>
                    </a:lnTo>
                    <a:lnTo>
                      <a:pt x="25" y="29"/>
                    </a:lnTo>
                    <a:lnTo>
                      <a:pt x="25" y="29"/>
                    </a:lnTo>
                    <a:lnTo>
                      <a:pt x="27" y="32"/>
                    </a:lnTo>
                    <a:lnTo>
                      <a:pt x="28" y="32"/>
                    </a:lnTo>
                    <a:lnTo>
                      <a:pt x="28" y="35"/>
                    </a:lnTo>
                    <a:lnTo>
                      <a:pt x="28" y="35"/>
                    </a:lnTo>
                    <a:lnTo>
                      <a:pt x="28" y="37"/>
                    </a:lnTo>
                    <a:lnTo>
                      <a:pt x="30" y="39"/>
                    </a:lnTo>
                    <a:lnTo>
                      <a:pt x="32" y="40"/>
                    </a:lnTo>
                    <a:lnTo>
                      <a:pt x="30" y="42"/>
                    </a:lnTo>
                    <a:lnTo>
                      <a:pt x="30" y="43"/>
                    </a:lnTo>
                    <a:lnTo>
                      <a:pt x="30" y="47"/>
                    </a:lnTo>
                    <a:lnTo>
                      <a:pt x="30" y="48"/>
                    </a:lnTo>
                    <a:lnTo>
                      <a:pt x="35" y="53"/>
                    </a:lnTo>
                    <a:lnTo>
                      <a:pt x="35" y="53"/>
                    </a:lnTo>
                    <a:lnTo>
                      <a:pt x="35" y="54"/>
                    </a:lnTo>
                    <a:lnTo>
                      <a:pt x="38" y="54"/>
                    </a:lnTo>
                    <a:lnTo>
                      <a:pt x="41" y="56"/>
                    </a:lnTo>
                    <a:lnTo>
                      <a:pt x="41" y="56"/>
                    </a:lnTo>
                    <a:lnTo>
                      <a:pt x="44" y="58"/>
                    </a:lnTo>
                    <a:lnTo>
                      <a:pt x="44" y="59"/>
                    </a:lnTo>
                    <a:lnTo>
                      <a:pt x="44" y="61"/>
                    </a:lnTo>
                    <a:lnTo>
                      <a:pt x="48" y="61"/>
                    </a:lnTo>
                    <a:lnTo>
                      <a:pt x="48" y="64"/>
                    </a:lnTo>
                    <a:lnTo>
                      <a:pt x="44" y="64"/>
                    </a:lnTo>
                    <a:lnTo>
                      <a:pt x="48" y="67"/>
                    </a:lnTo>
                    <a:lnTo>
                      <a:pt x="44" y="64"/>
                    </a:lnTo>
                    <a:lnTo>
                      <a:pt x="41" y="67"/>
                    </a:lnTo>
                    <a:lnTo>
                      <a:pt x="38" y="69"/>
                    </a:lnTo>
                    <a:lnTo>
                      <a:pt x="33" y="74"/>
                    </a:lnTo>
                    <a:lnTo>
                      <a:pt x="32" y="75"/>
                    </a:lnTo>
                    <a:lnTo>
                      <a:pt x="30" y="75"/>
                    </a:lnTo>
                    <a:lnTo>
                      <a:pt x="30" y="77"/>
                    </a:lnTo>
                    <a:lnTo>
                      <a:pt x="27" y="78"/>
                    </a:lnTo>
                    <a:lnTo>
                      <a:pt x="25" y="80"/>
                    </a:lnTo>
                    <a:lnTo>
                      <a:pt x="25" y="81"/>
                    </a:lnTo>
                    <a:lnTo>
                      <a:pt x="24" y="81"/>
                    </a:lnTo>
                    <a:lnTo>
                      <a:pt x="22" y="81"/>
                    </a:lnTo>
                    <a:lnTo>
                      <a:pt x="21" y="81"/>
                    </a:lnTo>
                    <a:lnTo>
                      <a:pt x="21" y="85"/>
                    </a:lnTo>
                    <a:lnTo>
                      <a:pt x="17" y="85"/>
                    </a:lnTo>
                    <a:lnTo>
                      <a:pt x="14" y="85"/>
                    </a:lnTo>
                    <a:lnTo>
                      <a:pt x="13" y="85"/>
                    </a:lnTo>
                    <a:lnTo>
                      <a:pt x="13" y="88"/>
                    </a:lnTo>
                    <a:lnTo>
                      <a:pt x="14" y="88"/>
                    </a:lnTo>
                    <a:lnTo>
                      <a:pt x="13" y="88"/>
                    </a:lnTo>
                    <a:lnTo>
                      <a:pt x="11" y="91"/>
                    </a:lnTo>
                    <a:lnTo>
                      <a:pt x="9" y="93"/>
                    </a:lnTo>
                    <a:lnTo>
                      <a:pt x="11" y="96"/>
                    </a:lnTo>
                    <a:lnTo>
                      <a:pt x="11" y="99"/>
                    </a:lnTo>
                    <a:lnTo>
                      <a:pt x="11" y="100"/>
                    </a:lnTo>
                    <a:lnTo>
                      <a:pt x="13" y="105"/>
                    </a:lnTo>
                    <a:lnTo>
                      <a:pt x="16" y="108"/>
                    </a:lnTo>
                    <a:lnTo>
                      <a:pt x="14" y="108"/>
                    </a:lnTo>
                    <a:lnTo>
                      <a:pt x="14" y="110"/>
                    </a:lnTo>
                    <a:lnTo>
                      <a:pt x="14" y="113"/>
                    </a:lnTo>
                    <a:lnTo>
                      <a:pt x="13" y="115"/>
                    </a:lnTo>
                    <a:lnTo>
                      <a:pt x="14" y="116"/>
                    </a:lnTo>
                    <a:lnTo>
                      <a:pt x="14" y="120"/>
                    </a:lnTo>
                    <a:lnTo>
                      <a:pt x="16" y="120"/>
                    </a:lnTo>
                    <a:lnTo>
                      <a:pt x="17" y="120"/>
                    </a:lnTo>
                    <a:lnTo>
                      <a:pt x="19" y="120"/>
                    </a:lnTo>
                    <a:lnTo>
                      <a:pt x="24" y="123"/>
                    </a:lnTo>
                    <a:lnTo>
                      <a:pt x="27" y="123"/>
                    </a:lnTo>
                    <a:lnTo>
                      <a:pt x="28" y="126"/>
                    </a:lnTo>
                    <a:lnTo>
                      <a:pt x="32" y="123"/>
                    </a:lnTo>
                    <a:lnTo>
                      <a:pt x="30" y="126"/>
                    </a:lnTo>
                    <a:lnTo>
                      <a:pt x="32" y="126"/>
                    </a:lnTo>
                    <a:lnTo>
                      <a:pt x="35" y="127"/>
                    </a:lnTo>
                    <a:lnTo>
                      <a:pt x="33" y="127"/>
                    </a:lnTo>
                    <a:lnTo>
                      <a:pt x="32" y="131"/>
                    </a:lnTo>
                    <a:lnTo>
                      <a:pt x="35" y="129"/>
                    </a:lnTo>
                    <a:lnTo>
                      <a:pt x="38" y="127"/>
                    </a:lnTo>
                    <a:lnTo>
                      <a:pt x="43" y="127"/>
                    </a:lnTo>
                    <a:lnTo>
                      <a:pt x="44" y="127"/>
                    </a:lnTo>
                    <a:lnTo>
                      <a:pt x="44" y="127"/>
                    </a:lnTo>
                    <a:lnTo>
                      <a:pt x="48" y="126"/>
                    </a:lnTo>
                    <a:lnTo>
                      <a:pt x="51" y="126"/>
                    </a:lnTo>
                    <a:lnTo>
                      <a:pt x="54" y="126"/>
                    </a:lnTo>
                    <a:lnTo>
                      <a:pt x="57" y="123"/>
                    </a:lnTo>
                    <a:lnTo>
                      <a:pt x="57" y="126"/>
                    </a:lnTo>
                    <a:lnTo>
                      <a:pt x="59" y="126"/>
                    </a:lnTo>
                    <a:lnTo>
                      <a:pt x="59" y="123"/>
                    </a:lnTo>
                    <a:lnTo>
                      <a:pt x="60" y="123"/>
                    </a:lnTo>
                    <a:lnTo>
                      <a:pt x="60" y="123"/>
                    </a:lnTo>
                    <a:lnTo>
                      <a:pt x="62" y="123"/>
                    </a:lnTo>
                    <a:lnTo>
                      <a:pt x="63" y="123"/>
                    </a:lnTo>
                    <a:lnTo>
                      <a:pt x="65" y="123"/>
                    </a:lnTo>
                    <a:lnTo>
                      <a:pt x="67" y="123"/>
                    </a:lnTo>
                    <a:lnTo>
                      <a:pt x="71" y="120"/>
                    </a:lnTo>
                    <a:lnTo>
                      <a:pt x="73" y="120"/>
                    </a:lnTo>
                    <a:lnTo>
                      <a:pt x="75" y="123"/>
                    </a:lnTo>
                    <a:lnTo>
                      <a:pt x="76" y="123"/>
                    </a:lnTo>
                    <a:lnTo>
                      <a:pt x="79" y="120"/>
                    </a:lnTo>
                    <a:lnTo>
                      <a:pt x="86" y="116"/>
                    </a:lnTo>
                    <a:lnTo>
                      <a:pt x="92" y="110"/>
                    </a:lnTo>
                    <a:lnTo>
                      <a:pt x="92" y="110"/>
                    </a:lnTo>
                    <a:lnTo>
                      <a:pt x="92" y="110"/>
                    </a:lnTo>
                    <a:lnTo>
                      <a:pt x="92" y="110"/>
                    </a:lnTo>
                    <a:lnTo>
                      <a:pt x="92" y="110"/>
                    </a:lnTo>
                    <a:lnTo>
                      <a:pt x="92" y="110"/>
                    </a:lnTo>
                    <a:lnTo>
                      <a:pt x="92" y="110"/>
                    </a:lnTo>
                    <a:lnTo>
                      <a:pt x="92" y="110"/>
                    </a:lnTo>
                    <a:lnTo>
                      <a:pt x="92" y="11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69" name="Freeform 315">
                <a:extLst>
                  <a:ext uri="{FF2B5EF4-FFF2-40B4-BE49-F238E27FC236}">
                    <a16:creationId xmlns:a16="http://schemas.microsoft.com/office/drawing/2014/main" id="{050FE22A-4BA9-2946-A6F7-9DECBE21D4E6}"/>
                  </a:ext>
                </a:extLst>
              </p:cNvPr>
              <p:cNvSpPr>
                <a:spLocks noEditPoints="1"/>
              </p:cNvSpPr>
              <p:nvPr/>
            </p:nvSpPr>
            <p:spPr bwMode="auto">
              <a:xfrm>
                <a:off x="5944132" y="1802226"/>
                <a:ext cx="538337" cy="372349"/>
              </a:xfrm>
              <a:custGeom>
                <a:avLst/>
                <a:gdLst>
                  <a:gd name="T0" fmla="*/ 189 w 240"/>
                  <a:gd name="T1" fmla="*/ 30 h 166"/>
                  <a:gd name="T2" fmla="*/ 206 w 240"/>
                  <a:gd name="T3" fmla="*/ 14 h 166"/>
                  <a:gd name="T4" fmla="*/ 229 w 240"/>
                  <a:gd name="T5" fmla="*/ 24 h 166"/>
                  <a:gd name="T6" fmla="*/ 229 w 240"/>
                  <a:gd name="T7" fmla="*/ 14 h 166"/>
                  <a:gd name="T8" fmla="*/ 237 w 240"/>
                  <a:gd name="T9" fmla="*/ 8 h 166"/>
                  <a:gd name="T10" fmla="*/ 218 w 240"/>
                  <a:gd name="T11" fmla="*/ 6 h 166"/>
                  <a:gd name="T12" fmla="*/ 213 w 240"/>
                  <a:gd name="T13" fmla="*/ 1 h 166"/>
                  <a:gd name="T14" fmla="*/ 202 w 240"/>
                  <a:gd name="T15" fmla="*/ 8 h 166"/>
                  <a:gd name="T16" fmla="*/ 191 w 240"/>
                  <a:gd name="T17" fmla="*/ 11 h 166"/>
                  <a:gd name="T18" fmla="*/ 189 w 240"/>
                  <a:gd name="T19" fmla="*/ 3 h 166"/>
                  <a:gd name="T20" fmla="*/ 178 w 240"/>
                  <a:gd name="T21" fmla="*/ 8 h 166"/>
                  <a:gd name="T22" fmla="*/ 162 w 240"/>
                  <a:gd name="T23" fmla="*/ 11 h 166"/>
                  <a:gd name="T24" fmla="*/ 159 w 240"/>
                  <a:gd name="T25" fmla="*/ 14 h 166"/>
                  <a:gd name="T26" fmla="*/ 146 w 240"/>
                  <a:gd name="T27" fmla="*/ 17 h 166"/>
                  <a:gd name="T28" fmla="*/ 143 w 240"/>
                  <a:gd name="T29" fmla="*/ 14 h 166"/>
                  <a:gd name="T30" fmla="*/ 130 w 240"/>
                  <a:gd name="T31" fmla="*/ 20 h 166"/>
                  <a:gd name="T32" fmla="*/ 121 w 240"/>
                  <a:gd name="T33" fmla="*/ 25 h 166"/>
                  <a:gd name="T34" fmla="*/ 110 w 240"/>
                  <a:gd name="T35" fmla="*/ 33 h 166"/>
                  <a:gd name="T36" fmla="*/ 110 w 240"/>
                  <a:gd name="T37" fmla="*/ 38 h 166"/>
                  <a:gd name="T38" fmla="*/ 99 w 240"/>
                  <a:gd name="T39" fmla="*/ 38 h 166"/>
                  <a:gd name="T40" fmla="*/ 100 w 240"/>
                  <a:gd name="T41" fmla="*/ 44 h 166"/>
                  <a:gd name="T42" fmla="*/ 95 w 240"/>
                  <a:gd name="T43" fmla="*/ 47 h 166"/>
                  <a:gd name="T44" fmla="*/ 87 w 240"/>
                  <a:gd name="T45" fmla="*/ 51 h 166"/>
                  <a:gd name="T46" fmla="*/ 83 w 240"/>
                  <a:gd name="T47" fmla="*/ 57 h 166"/>
                  <a:gd name="T48" fmla="*/ 83 w 240"/>
                  <a:gd name="T49" fmla="*/ 60 h 166"/>
                  <a:gd name="T50" fmla="*/ 72 w 240"/>
                  <a:gd name="T51" fmla="*/ 73 h 166"/>
                  <a:gd name="T52" fmla="*/ 62 w 240"/>
                  <a:gd name="T53" fmla="*/ 79 h 166"/>
                  <a:gd name="T54" fmla="*/ 62 w 240"/>
                  <a:gd name="T55" fmla="*/ 84 h 166"/>
                  <a:gd name="T56" fmla="*/ 46 w 240"/>
                  <a:gd name="T57" fmla="*/ 90 h 166"/>
                  <a:gd name="T58" fmla="*/ 64 w 240"/>
                  <a:gd name="T59" fmla="*/ 87 h 166"/>
                  <a:gd name="T60" fmla="*/ 52 w 240"/>
                  <a:gd name="T61" fmla="*/ 97 h 166"/>
                  <a:gd name="T62" fmla="*/ 41 w 240"/>
                  <a:gd name="T63" fmla="*/ 97 h 166"/>
                  <a:gd name="T64" fmla="*/ 33 w 240"/>
                  <a:gd name="T65" fmla="*/ 101 h 166"/>
                  <a:gd name="T66" fmla="*/ 25 w 240"/>
                  <a:gd name="T67" fmla="*/ 101 h 166"/>
                  <a:gd name="T68" fmla="*/ 18 w 240"/>
                  <a:gd name="T69" fmla="*/ 106 h 166"/>
                  <a:gd name="T70" fmla="*/ 10 w 240"/>
                  <a:gd name="T71" fmla="*/ 111 h 166"/>
                  <a:gd name="T72" fmla="*/ 0 w 240"/>
                  <a:gd name="T73" fmla="*/ 119 h 166"/>
                  <a:gd name="T74" fmla="*/ 0 w 240"/>
                  <a:gd name="T75" fmla="*/ 125 h 166"/>
                  <a:gd name="T76" fmla="*/ 5 w 240"/>
                  <a:gd name="T77" fmla="*/ 132 h 166"/>
                  <a:gd name="T78" fmla="*/ 6 w 240"/>
                  <a:gd name="T79" fmla="*/ 138 h 166"/>
                  <a:gd name="T80" fmla="*/ 13 w 240"/>
                  <a:gd name="T81" fmla="*/ 138 h 166"/>
                  <a:gd name="T82" fmla="*/ 5 w 240"/>
                  <a:gd name="T83" fmla="*/ 143 h 166"/>
                  <a:gd name="T84" fmla="*/ 14 w 240"/>
                  <a:gd name="T85" fmla="*/ 146 h 166"/>
                  <a:gd name="T86" fmla="*/ 8 w 240"/>
                  <a:gd name="T87" fmla="*/ 154 h 166"/>
                  <a:gd name="T88" fmla="*/ 25 w 240"/>
                  <a:gd name="T89" fmla="*/ 166 h 166"/>
                  <a:gd name="T90" fmla="*/ 49 w 240"/>
                  <a:gd name="T91" fmla="*/ 154 h 166"/>
                  <a:gd name="T92" fmla="*/ 56 w 240"/>
                  <a:gd name="T93" fmla="*/ 141 h 166"/>
                  <a:gd name="T94" fmla="*/ 64 w 240"/>
                  <a:gd name="T95" fmla="*/ 154 h 166"/>
                  <a:gd name="T96" fmla="*/ 75 w 240"/>
                  <a:gd name="T97" fmla="*/ 138 h 166"/>
                  <a:gd name="T98" fmla="*/ 75 w 240"/>
                  <a:gd name="T99" fmla="*/ 119 h 166"/>
                  <a:gd name="T100" fmla="*/ 72 w 240"/>
                  <a:gd name="T101" fmla="*/ 92 h 166"/>
                  <a:gd name="T102" fmla="*/ 84 w 240"/>
                  <a:gd name="T103" fmla="*/ 82 h 166"/>
                  <a:gd name="T104" fmla="*/ 103 w 240"/>
                  <a:gd name="T105" fmla="*/ 55 h 166"/>
                  <a:gd name="T106" fmla="*/ 126 w 240"/>
                  <a:gd name="T107" fmla="*/ 36 h 166"/>
                  <a:gd name="T108" fmla="*/ 146 w 240"/>
                  <a:gd name="T109" fmla="*/ 27 h 166"/>
                  <a:gd name="T110" fmla="*/ 3 w 240"/>
                  <a:gd name="T111" fmla="*/ 128 h 166"/>
                  <a:gd name="T112" fmla="*/ 10 w 240"/>
                  <a:gd name="T113" fmla="*/ 117 h 166"/>
                  <a:gd name="T114" fmla="*/ 16 w 240"/>
                  <a:gd name="T115" fmla="*/ 124 h 166"/>
                  <a:gd name="T116" fmla="*/ 21 w 240"/>
                  <a:gd name="T117" fmla="*/ 111 h 166"/>
                  <a:gd name="T118" fmla="*/ 30 w 240"/>
                  <a:gd name="T119" fmla="*/ 105 h 166"/>
                  <a:gd name="T120" fmla="*/ 137 w 240"/>
                  <a:gd name="T121" fmla="*/ 2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166">
                    <a:moveTo>
                      <a:pt x="151" y="24"/>
                    </a:moveTo>
                    <a:lnTo>
                      <a:pt x="151" y="24"/>
                    </a:lnTo>
                    <a:lnTo>
                      <a:pt x="154" y="24"/>
                    </a:lnTo>
                    <a:lnTo>
                      <a:pt x="154" y="24"/>
                    </a:lnTo>
                    <a:lnTo>
                      <a:pt x="157" y="24"/>
                    </a:lnTo>
                    <a:lnTo>
                      <a:pt x="157" y="24"/>
                    </a:lnTo>
                    <a:lnTo>
                      <a:pt x="164" y="27"/>
                    </a:lnTo>
                    <a:lnTo>
                      <a:pt x="164" y="27"/>
                    </a:lnTo>
                    <a:lnTo>
                      <a:pt x="168" y="30"/>
                    </a:lnTo>
                    <a:lnTo>
                      <a:pt x="168" y="30"/>
                    </a:lnTo>
                    <a:lnTo>
                      <a:pt x="175" y="30"/>
                    </a:lnTo>
                    <a:lnTo>
                      <a:pt x="175" y="30"/>
                    </a:lnTo>
                    <a:lnTo>
                      <a:pt x="178" y="28"/>
                    </a:lnTo>
                    <a:lnTo>
                      <a:pt x="178" y="28"/>
                    </a:lnTo>
                    <a:lnTo>
                      <a:pt x="181" y="28"/>
                    </a:lnTo>
                    <a:lnTo>
                      <a:pt x="181" y="28"/>
                    </a:lnTo>
                    <a:lnTo>
                      <a:pt x="184" y="30"/>
                    </a:lnTo>
                    <a:lnTo>
                      <a:pt x="184" y="30"/>
                    </a:lnTo>
                    <a:lnTo>
                      <a:pt x="186" y="30"/>
                    </a:lnTo>
                    <a:lnTo>
                      <a:pt x="186" y="30"/>
                    </a:lnTo>
                    <a:lnTo>
                      <a:pt x="189" y="30"/>
                    </a:lnTo>
                    <a:lnTo>
                      <a:pt x="189" y="30"/>
                    </a:lnTo>
                    <a:lnTo>
                      <a:pt x="191" y="28"/>
                    </a:lnTo>
                    <a:lnTo>
                      <a:pt x="191" y="28"/>
                    </a:lnTo>
                    <a:lnTo>
                      <a:pt x="192" y="27"/>
                    </a:lnTo>
                    <a:lnTo>
                      <a:pt x="192" y="27"/>
                    </a:lnTo>
                    <a:lnTo>
                      <a:pt x="194" y="27"/>
                    </a:lnTo>
                    <a:lnTo>
                      <a:pt x="194" y="27"/>
                    </a:lnTo>
                    <a:lnTo>
                      <a:pt x="195" y="27"/>
                    </a:lnTo>
                    <a:lnTo>
                      <a:pt x="195" y="27"/>
                    </a:lnTo>
                    <a:lnTo>
                      <a:pt x="195" y="25"/>
                    </a:lnTo>
                    <a:lnTo>
                      <a:pt x="195" y="25"/>
                    </a:lnTo>
                    <a:lnTo>
                      <a:pt x="195" y="20"/>
                    </a:lnTo>
                    <a:lnTo>
                      <a:pt x="195" y="20"/>
                    </a:lnTo>
                    <a:lnTo>
                      <a:pt x="195" y="17"/>
                    </a:lnTo>
                    <a:lnTo>
                      <a:pt x="195" y="17"/>
                    </a:lnTo>
                    <a:lnTo>
                      <a:pt x="199" y="14"/>
                    </a:lnTo>
                    <a:lnTo>
                      <a:pt x="199" y="14"/>
                    </a:lnTo>
                    <a:lnTo>
                      <a:pt x="202" y="14"/>
                    </a:lnTo>
                    <a:lnTo>
                      <a:pt x="202" y="14"/>
                    </a:lnTo>
                    <a:lnTo>
                      <a:pt x="206" y="14"/>
                    </a:lnTo>
                    <a:lnTo>
                      <a:pt x="206" y="14"/>
                    </a:lnTo>
                    <a:lnTo>
                      <a:pt x="210" y="14"/>
                    </a:lnTo>
                    <a:lnTo>
                      <a:pt x="210" y="14"/>
                    </a:lnTo>
                    <a:lnTo>
                      <a:pt x="211" y="14"/>
                    </a:lnTo>
                    <a:lnTo>
                      <a:pt x="211" y="14"/>
                    </a:lnTo>
                    <a:lnTo>
                      <a:pt x="211" y="14"/>
                    </a:lnTo>
                    <a:lnTo>
                      <a:pt x="213" y="14"/>
                    </a:lnTo>
                    <a:lnTo>
                      <a:pt x="213" y="14"/>
                    </a:lnTo>
                    <a:lnTo>
                      <a:pt x="216" y="14"/>
                    </a:lnTo>
                    <a:lnTo>
                      <a:pt x="216" y="14"/>
                    </a:lnTo>
                    <a:lnTo>
                      <a:pt x="224" y="17"/>
                    </a:lnTo>
                    <a:lnTo>
                      <a:pt x="224" y="17"/>
                    </a:lnTo>
                    <a:lnTo>
                      <a:pt x="227" y="20"/>
                    </a:lnTo>
                    <a:lnTo>
                      <a:pt x="227" y="20"/>
                    </a:lnTo>
                    <a:lnTo>
                      <a:pt x="227" y="20"/>
                    </a:lnTo>
                    <a:lnTo>
                      <a:pt x="227" y="20"/>
                    </a:lnTo>
                    <a:lnTo>
                      <a:pt x="226" y="24"/>
                    </a:lnTo>
                    <a:lnTo>
                      <a:pt x="226" y="24"/>
                    </a:lnTo>
                    <a:lnTo>
                      <a:pt x="227" y="25"/>
                    </a:lnTo>
                    <a:lnTo>
                      <a:pt x="227" y="25"/>
                    </a:lnTo>
                    <a:lnTo>
                      <a:pt x="229" y="24"/>
                    </a:lnTo>
                    <a:lnTo>
                      <a:pt x="229" y="24"/>
                    </a:lnTo>
                    <a:lnTo>
                      <a:pt x="230" y="24"/>
                    </a:lnTo>
                    <a:lnTo>
                      <a:pt x="230" y="24"/>
                    </a:lnTo>
                    <a:lnTo>
                      <a:pt x="232" y="22"/>
                    </a:lnTo>
                    <a:lnTo>
                      <a:pt x="232" y="22"/>
                    </a:lnTo>
                    <a:lnTo>
                      <a:pt x="233" y="20"/>
                    </a:lnTo>
                    <a:lnTo>
                      <a:pt x="233" y="20"/>
                    </a:lnTo>
                    <a:lnTo>
                      <a:pt x="233" y="20"/>
                    </a:lnTo>
                    <a:lnTo>
                      <a:pt x="233" y="20"/>
                    </a:lnTo>
                    <a:lnTo>
                      <a:pt x="233" y="17"/>
                    </a:lnTo>
                    <a:lnTo>
                      <a:pt x="233" y="17"/>
                    </a:lnTo>
                    <a:lnTo>
                      <a:pt x="233" y="17"/>
                    </a:lnTo>
                    <a:lnTo>
                      <a:pt x="233" y="17"/>
                    </a:lnTo>
                    <a:lnTo>
                      <a:pt x="233" y="17"/>
                    </a:lnTo>
                    <a:lnTo>
                      <a:pt x="233" y="17"/>
                    </a:lnTo>
                    <a:lnTo>
                      <a:pt x="230" y="17"/>
                    </a:lnTo>
                    <a:lnTo>
                      <a:pt x="230" y="17"/>
                    </a:lnTo>
                    <a:lnTo>
                      <a:pt x="230" y="14"/>
                    </a:lnTo>
                    <a:lnTo>
                      <a:pt x="230" y="14"/>
                    </a:lnTo>
                    <a:lnTo>
                      <a:pt x="229" y="14"/>
                    </a:lnTo>
                    <a:lnTo>
                      <a:pt x="229" y="14"/>
                    </a:lnTo>
                    <a:lnTo>
                      <a:pt x="229" y="14"/>
                    </a:lnTo>
                    <a:lnTo>
                      <a:pt x="229" y="14"/>
                    </a:lnTo>
                    <a:lnTo>
                      <a:pt x="226" y="14"/>
                    </a:lnTo>
                    <a:lnTo>
                      <a:pt x="226" y="14"/>
                    </a:lnTo>
                    <a:lnTo>
                      <a:pt x="221" y="12"/>
                    </a:lnTo>
                    <a:lnTo>
                      <a:pt x="221" y="12"/>
                    </a:lnTo>
                    <a:lnTo>
                      <a:pt x="222" y="12"/>
                    </a:lnTo>
                    <a:lnTo>
                      <a:pt x="222" y="12"/>
                    </a:lnTo>
                    <a:lnTo>
                      <a:pt x="226" y="12"/>
                    </a:lnTo>
                    <a:lnTo>
                      <a:pt x="226" y="12"/>
                    </a:lnTo>
                    <a:lnTo>
                      <a:pt x="230" y="14"/>
                    </a:lnTo>
                    <a:lnTo>
                      <a:pt x="230" y="14"/>
                    </a:lnTo>
                    <a:lnTo>
                      <a:pt x="233" y="12"/>
                    </a:lnTo>
                    <a:lnTo>
                      <a:pt x="233" y="12"/>
                    </a:lnTo>
                    <a:lnTo>
                      <a:pt x="237" y="11"/>
                    </a:lnTo>
                    <a:lnTo>
                      <a:pt x="237" y="11"/>
                    </a:lnTo>
                    <a:lnTo>
                      <a:pt x="240" y="11"/>
                    </a:lnTo>
                    <a:lnTo>
                      <a:pt x="240" y="11"/>
                    </a:lnTo>
                    <a:lnTo>
                      <a:pt x="240" y="9"/>
                    </a:lnTo>
                    <a:lnTo>
                      <a:pt x="240" y="9"/>
                    </a:lnTo>
                    <a:lnTo>
                      <a:pt x="237" y="8"/>
                    </a:lnTo>
                    <a:lnTo>
                      <a:pt x="237" y="8"/>
                    </a:lnTo>
                    <a:lnTo>
                      <a:pt x="233" y="8"/>
                    </a:lnTo>
                    <a:lnTo>
                      <a:pt x="233" y="8"/>
                    </a:lnTo>
                    <a:lnTo>
                      <a:pt x="233" y="6"/>
                    </a:lnTo>
                    <a:lnTo>
                      <a:pt x="233" y="6"/>
                    </a:lnTo>
                    <a:lnTo>
                      <a:pt x="230" y="6"/>
                    </a:lnTo>
                    <a:lnTo>
                      <a:pt x="230" y="6"/>
                    </a:lnTo>
                    <a:lnTo>
                      <a:pt x="230" y="6"/>
                    </a:lnTo>
                    <a:lnTo>
                      <a:pt x="230" y="6"/>
                    </a:lnTo>
                    <a:lnTo>
                      <a:pt x="229" y="6"/>
                    </a:lnTo>
                    <a:lnTo>
                      <a:pt x="229" y="6"/>
                    </a:lnTo>
                    <a:lnTo>
                      <a:pt x="227" y="6"/>
                    </a:lnTo>
                    <a:lnTo>
                      <a:pt x="227" y="6"/>
                    </a:lnTo>
                    <a:lnTo>
                      <a:pt x="226" y="6"/>
                    </a:lnTo>
                    <a:lnTo>
                      <a:pt x="226" y="6"/>
                    </a:lnTo>
                    <a:lnTo>
                      <a:pt x="226" y="5"/>
                    </a:lnTo>
                    <a:lnTo>
                      <a:pt x="226" y="5"/>
                    </a:lnTo>
                    <a:lnTo>
                      <a:pt x="224" y="3"/>
                    </a:lnTo>
                    <a:lnTo>
                      <a:pt x="224" y="3"/>
                    </a:lnTo>
                    <a:lnTo>
                      <a:pt x="219" y="3"/>
                    </a:lnTo>
                    <a:lnTo>
                      <a:pt x="219" y="3"/>
                    </a:lnTo>
                    <a:lnTo>
                      <a:pt x="218" y="6"/>
                    </a:lnTo>
                    <a:lnTo>
                      <a:pt x="218" y="6"/>
                    </a:lnTo>
                    <a:lnTo>
                      <a:pt x="218" y="8"/>
                    </a:lnTo>
                    <a:lnTo>
                      <a:pt x="218" y="8"/>
                    </a:lnTo>
                    <a:lnTo>
                      <a:pt x="216" y="9"/>
                    </a:lnTo>
                    <a:lnTo>
                      <a:pt x="216" y="9"/>
                    </a:lnTo>
                    <a:lnTo>
                      <a:pt x="216" y="8"/>
                    </a:lnTo>
                    <a:lnTo>
                      <a:pt x="216" y="8"/>
                    </a:lnTo>
                    <a:lnTo>
                      <a:pt x="211" y="8"/>
                    </a:lnTo>
                    <a:lnTo>
                      <a:pt x="211" y="8"/>
                    </a:lnTo>
                    <a:lnTo>
                      <a:pt x="216" y="6"/>
                    </a:lnTo>
                    <a:lnTo>
                      <a:pt x="216" y="6"/>
                    </a:lnTo>
                    <a:lnTo>
                      <a:pt x="214" y="6"/>
                    </a:lnTo>
                    <a:lnTo>
                      <a:pt x="214" y="6"/>
                    </a:lnTo>
                    <a:lnTo>
                      <a:pt x="211" y="5"/>
                    </a:lnTo>
                    <a:lnTo>
                      <a:pt x="211" y="5"/>
                    </a:lnTo>
                    <a:lnTo>
                      <a:pt x="214" y="5"/>
                    </a:lnTo>
                    <a:lnTo>
                      <a:pt x="214" y="5"/>
                    </a:lnTo>
                    <a:lnTo>
                      <a:pt x="216" y="3"/>
                    </a:lnTo>
                    <a:lnTo>
                      <a:pt x="216" y="3"/>
                    </a:lnTo>
                    <a:lnTo>
                      <a:pt x="213" y="1"/>
                    </a:lnTo>
                    <a:lnTo>
                      <a:pt x="213" y="1"/>
                    </a:lnTo>
                    <a:lnTo>
                      <a:pt x="211" y="0"/>
                    </a:lnTo>
                    <a:lnTo>
                      <a:pt x="211" y="0"/>
                    </a:lnTo>
                    <a:lnTo>
                      <a:pt x="210" y="1"/>
                    </a:lnTo>
                    <a:lnTo>
                      <a:pt x="210" y="1"/>
                    </a:lnTo>
                    <a:lnTo>
                      <a:pt x="205" y="3"/>
                    </a:lnTo>
                    <a:lnTo>
                      <a:pt x="205" y="3"/>
                    </a:lnTo>
                    <a:lnTo>
                      <a:pt x="206" y="3"/>
                    </a:lnTo>
                    <a:lnTo>
                      <a:pt x="206" y="3"/>
                    </a:lnTo>
                    <a:lnTo>
                      <a:pt x="208" y="5"/>
                    </a:lnTo>
                    <a:lnTo>
                      <a:pt x="208" y="5"/>
                    </a:lnTo>
                    <a:lnTo>
                      <a:pt x="206" y="5"/>
                    </a:lnTo>
                    <a:lnTo>
                      <a:pt x="206" y="5"/>
                    </a:lnTo>
                    <a:lnTo>
                      <a:pt x="205" y="5"/>
                    </a:lnTo>
                    <a:lnTo>
                      <a:pt x="205" y="5"/>
                    </a:lnTo>
                    <a:lnTo>
                      <a:pt x="205" y="6"/>
                    </a:lnTo>
                    <a:lnTo>
                      <a:pt x="205" y="6"/>
                    </a:lnTo>
                    <a:lnTo>
                      <a:pt x="205" y="8"/>
                    </a:lnTo>
                    <a:lnTo>
                      <a:pt x="205" y="8"/>
                    </a:lnTo>
                    <a:lnTo>
                      <a:pt x="205" y="8"/>
                    </a:lnTo>
                    <a:lnTo>
                      <a:pt x="205" y="8"/>
                    </a:lnTo>
                    <a:lnTo>
                      <a:pt x="202" y="8"/>
                    </a:lnTo>
                    <a:lnTo>
                      <a:pt x="202" y="8"/>
                    </a:lnTo>
                    <a:lnTo>
                      <a:pt x="202" y="9"/>
                    </a:lnTo>
                    <a:lnTo>
                      <a:pt x="202" y="9"/>
                    </a:lnTo>
                    <a:lnTo>
                      <a:pt x="199" y="9"/>
                    </a:lnTo>
                    <a:lnTo>
                      <a:pt x="199" y="9"/>
                    </a:lnTo>
                    <a:lnTo>
                      <a:pt x="199" y="8"/>
                    </a:lnTo>
                    <a:lnTo>
                      <a:pt x="199" y="8"/>
                    </a:lnTo>
                    <a:lnTo>
                      <a:pt x="199" y="6"/>
                    </a:lnTo>
                    <a:lnTo>
                      <a:pt x="199" y="6"/>
                    </a:lnTo>
                    <a:lnTo>
                      <a:pt x="199" y="6"/>
                    </a:lnTo>
                    <a:lnTo>
                      <a:pt x="199" y="6"/>
                    </a:lnTo>
                    <a:lnTo>
                      <a:pt x="202" y="5"/>
                    </a:lnTo>
                    <a:lnTo>
                      <a:pt x="202" y="5"/>
                    </a:lnTo>
                    <a:lnTo>
                      <a:pt x="199" y="3"/>
                    </a:lnTo>
                    <a:lnTo>
                      <a:pt x="199" y="3"/>
                    </a:lnTo>
                    <a:lnTo>
                      <a:pt x="195" y="6"/>
                    </a:lnTo>
                    <a:lnTo>
                      <a:pt x="195" y="6"/>
                    </a:lnTo>
                    <a:lnTo>
                      <a:pt x="191" y="9"/>
                    </a:lnTo>
                    <a:lnTo>
                      <a:pt x="191" y="9"/>
                    </a:lnTo>
                    <a:lnTo>
                      <a:pt x="191" y="11"/>
                    </a:lnTo>
                    <a:lnTo>
                      <a:pt x="191" y="11"/>
                    </a:lnTo>
                    <a:lnTo>
                      <a:pt x="189" y="12"/>
                    </a:lnTo>
                    <a:lnTo>
                      <a:pt x="189" y="12"/>
                    </a:lnTo>
                    <a:lnTo>
                      <a:pt x="186" y="12"/>
                    </a:lnTo>
                    <a:lnTo>
                      <a:pt x="186" y="12"/>
                    </a:lnTo>
                    <a:lnTo>
                      <a:pt x="187" y="11"/>
                    </a:lnTo>
                    <a:lnTo>
                      <a:pt x="187" y="11"/>
                    </a:lnTo>
                    <a:lnTo>
                      <a:pt x="189" y="9"/>
                    </a:lnTo>
                    <a:lnTo>
                      <a:pt x="189" y="9"/>
                    </a:lnTo>
                    <a:lnTo>
                      <a:pt x="187" y="8"/>
                    </a:lnTo>
                    <a:lnTo>
                      <a:pt x="187" y="8"/>
                    </a:lnTo>
                    <a:lnTo>
                      <a:pt x="186" y="8"/>
                    </a:lnTo>
                    <a:lnTo>
                      <a:pt x="186" y="8"/>
                    </a:lnTo>
                    <a:lnTo>
                      <a:pt x="191" y="6"/>
                    </a:lnTo>
                    <a:lnTo>
                      <a:pt x="191" y="6"/>
                    </a:lnTo>
                    <a:lnTo>
                      <a:pt x="192" y="5"/>
                    </a:lnTo>
                    <a:lnTo>
                      <a:pt x="192" y="5"/>
                    </a:lnTo>
                    <a:lnTo>
                      <a:pt x="194" y="3"/>
                    </a:lnTo>
                    <a:lnTo>
                      <a:pt x="194" y="3"/>
                    </a:lnTo>
                    <a:lnTo>
                      <a:pt x="191" y="3"/>
                    </a:lnTo>
                    <a:lnTo>
                      <a:pt x="191" y="3"/>
                    </a:lnTo>
                    <a:lnTo>
                      <a:pt x="189" y="3"/>
                    </a:lnTo>
                    <a:lnTo>
                      <a:pt x="189" y="3"/>
                    </a:lnTo>
                    <a:lnTo>
                      <a:pt x="189" y="5"/>
                    </a:lnTo>
                    <a:lnTo>
                      <a:pt x="189" y="5"/>
                    </a:lnTo>
                    <a:lnTo>
                      <a:pt x="187" y="5"/>
                    </a:lnTo>
                    <a:lnTo>
                      <a:pt x="187" y="5"/>
                    </a:lnTo>
                    <a:lnTo>
                      <a:pt x="186" y="3"/>
                    </a:lnTo>
                    <a:lnTo>
                      <a:pt x="186" y="3"/>
                    </a:lnTo>
                    <a:lnTo>
                      <a:pt x="184" y="3"/>
                    </a:lnTo>
                    <a:lnTo>
                      <a:pt x="184" y="3"/>
                    </a:lnTo>
                    <a:lnTo>
                      <a:pt x="181" y="5"/>
                    </a:lnTo>
                    <a:lnTo>
                      <a:pt x="181" y="5"/>
                    </a:lnTo>
                    <a:lnTo>
                      <a:pt x="178" y="5"/>
                    </a:lnTo>
                    <a:lnTo>
                      <a:pt x="178" y="5"/>
                    </a:lnTo>
                    <a:lnTo>
                      <a:pt x="184" y="6"/>
                    </a:lnTo>
                    <a:lnTo>
                      <a:pt x="184" y="6"/>
                    </a:lnTo>
                    <a:lnTo>
                      <a:pt x="181" y="6"/>
                    </a:lnTo>
                    <a:lnTo>
                      <a:pt x="181" y="6"/>
                    </a:lnTo>
                    <a:lnTo>
                      <a:pt x="178" y="8"/>
                    </a:lnTo>
                    <a:lnTo>
                      <a:pt x="178" y="8"/>
                    </a:lnTo>
                    <a:lnTo>
                      <a:pt x="178" y="8"/>
                    </a:lnTo>
                    <a:lnTo>
                      <a:pt x="178" y="8"/>
                    </a:lnTo>
                    <a:lnTo>
                      <a:pt x="175" y="9"/>
                    </a:lnTo>
                    <a:lnTo>
                      <a:pt x="175" y="9"/>
                    </a:lnTo>
                    <a:lnTo>
                      <a:pt x="173" y="11"/>
                    </a:lnTo>
                    <a:lnTo>
                      <a:pt x="173" y="11"/>
                    </a:lnTo>
                    <a:lnTo>
                      <a:pt x="172" y="11"/>
                    </a:lnTo>
                    <a:lnTo>
                      <a:pt x="172" y="11"/>
                    </a:lnTo>
                    <a:lnTo>
                      <a:pt x="172" y="12"/>
                    </a:lnTo>
                    <a:lnTo>
                      <a:pt x="172" y="12"/>
                    </a:lnTo>
                    <a:lnTo>
                      <a:pt x="173" y="14"/>
                    </a:lnTo>
                    <a:lnTo>
                      <a:pt x="173" y="14"/>
                    </a:lnTo>
                    <a:lnTo>
                      <a:pt x="170" y="14"/>
                    </a:lnTo>
                    <a:lnTo>
                      <a:pt x="170" y="14"/>
                    </a:lnTo>
                    <a:lnTo>
                      <a:pt x="168" y="14"/>
                    </a:lnTo>
                    <a:lnTo>
                      <a:pt x="168" y="14"/>
                    </a:lnTo>
                    <a:lnTo>
                      <a:pt x="168" y="12"/>
                    </a:lnTo>
                    <a:lnTo>
                      <a:pt x="168" y="12"/>
                    </a:lnTo>
                    <a:lnTo>
                      <a:pt x="165" y="14"/>
                    </a:lnTo>
                    <a:lnTo>
                      <a:pt x="165" y="14"/>
                    </a:lnTo>
                    <a:lnTo>
                      <a:pt x="167" y="12"/>
                    </a:lnTo>
                    <a:lnTo>
                      <a:pt x="167" y="12"/>
                    </a:lnTo>
                    <a:lnTo>
                      <a:pt x="162" y="11"/>
                    </a:lnTo>
                    <a:lnTo>
                      <a:pt x="162" y="11"/>
                    </a:lnTo>
                    <a:lnTo>
                      <a:pt x="164" y="12"/>
                    </a:lnTo>
                    <a:lnTo>
                      <a:pt x="164" y="12"/>
                    </a:lnTo>
                    <a:lnTo>
                      <a:pt x="162" y="12"/>
                    </a:lnTo>
                    <a:lnTo>
                      <a:pt x="162" y="12"/>
                    </a:lnTo>
                    <a:lnTo>
                      <a:pt x="162" y="11"/>
                    </a:lnTo>
                    <a:lnTo>
                      <a:pt x="162" y="11"/>
                    </a:lnTo>
                    <a:lnTo>
                      <a:pt x="160" y="11"/>
                    </a:lnTo>
                    <a:lnTo>
                      <a:pt x="160" y="11"/>
                    </a:lnTo>
                    <a:lnTo>
                      <a:pt x="159" y="11"/>
                    </a:lnTo>
                    <a:lnTo>
                      <a:pt x="159" y="11"/>
                    </a:lnTo>
                    <a:lnTo>
                      <a:pt x="157" y="11"/>
                    </a:lnTo>
                    <a:lnTo>
                      <a:pt x="157" y="11"/>
                    </a:lnTo>
                    <a:lnTo>
                      <a:pt x="157" y="12"/>
                    </a:lnTo>
                    <a:lnTo>
                      <a:pt x="157" y="12"/>
                    </a:lnTo>
                    <a:lnTo>
                      <a:pt x="159" y="12"/>
                    </a:lnTo>
                    <a:lnTo>
                      <a:pt x="159" y="12"/>
                    </a:lnTo>
                    <a:lnTo>
                      <a:pt x="157" y="14"/>
                    </a:lnTo>
                    <a:lnTo>
                      <a:pt x="157" y="14"/>
                    </a:lnTo>
                    <a:lnTo>
                      <a:pt x="159" y="14"/>
                    </a:lnTo>
                    <a:lnTo>
                      <a:pt x="159" y="14"/>
                    </a:lnTo>
                    <a:lnTo>
                      <a:pt x="160" y="14"/>
                    </a:lnTo>
                    <a:lnTo>
                      <a:pt x="160" y="14"/>
                    </a:lnTo>
                    <a:lnTo>
                      <a:pt x="159" y="17"/>
                    </a:lnTo>
                    <a:lnTo>
                      <a:pt x="159" y="17"/>
                    </a:lnTo>
                    <a:lnTo>
                      <a:pt x="156" y="14"/>
                    </a:lnTo>
                    <a:lnTo>
                      <a:pt x="156" y="14"/>
                    </a:lnTo>
                    <a:lnTo>
                      <a:pt x="152" y="14"/>
                    </a:lnTo>
                    <a:lnTo>
                      <a:pt x="152" y="14"/>
                    </a:lnTo>
                    <a:lnTo>
                      <a:pt x="152" y="17"/>
                    </a:lnTo>
                    <a:lnTo>
                      <a:pt x="152" y="17"/>
                    </a:lnTo>
                    <a:lnTo>
                      <a:pt x="151" y="14"/>
                    </a:lnTo>
                    <a:lnTo>
                      <a:pt x="151" y="14"/>
                    </a:lnTo>
                    <a:lnTo>
                      <a:pt x="151" y="17"/>
                    </a:lnTo>
                    <a:lnTo>
                      <a:pt x="151" y="17"/>
                    </a:lnTo>
                    <a:lnTo>
                      <a:pt x="149" y="17"/>
                    </a:lnTo>
                    <a:lnTo>
                      <a:pt x="149" y="17"/>
                    </a:lnTo>
                    <a:lnTo>
                      <a:pt x="149" y="14"/>
                    </a:lnTo>
                    <a:lnTo>
                      <a:pt x="149" y="14"/>
                    </a:lnTo>
                    <a:lnTo>
                      <a:pt x="149" y="14"/>
                    </a:lnTo>
                    <a:lnTo>
                      <a:pt x="149" y="14"/>
                    </a:lnTo>
                    <a:lnTo>
                      <a:pt x="146" y="17"/>
                    </a:lnTo>
                    <a:lnTo>
                      <a:pt x="146" y="17"/>
                    </a:lnTo>
                    <a:lnTo>
                      <a:pt x="146" y="17"/>
                    </a:lnTo>
                    <a:lnTo>
                      <a:pt x="146" y="17"/>
                    </a:lnTo>
                    <a:lnTo>
                      <a:pt x="149" y="20"/>
                    </a:lnTo>
                    <a:lnTo>
                      <a:pt x="149" y="20"/>
                    </a:lnTo>
                    <a:lnTo>
                      <a:pt x="146" y="20"/>
                    </a:lnTo>
                    <a:lnTo>
                      <a:pt x="146" y="20"/>
                    </a:lnTo>
                    <a:lnTo>
                      <a:pt x="146" y="20"/>
                    </a:lnTo>
                    <a:lnTo>
                      <a:pt x="146" y="20"/>
                    </a:lnTo>
                    <a:lnTo>
                      <a:pt x="143" y="20"/>
                    </a:lnTo>
                    <a:lnTo>
                      <a:pt x="143" y="20"/>
                    </a:lnTo>
                    <a:lnTo>
                      <a:pt x="140" y="24"/>
                    </a:lnTo>
                    <a:lnTo>
                      <a:pt x="140" y="24"/>
                    </a:lnTo>
                    <a:lnTo>
                      <a:pt x="143" y="17"/>
                    </a:lnTo>
                    <a:lnTo>
                      <a:pt x="143" y="17"/>
                    </a:lnTo>
                    <a:lnTo>
                      <a:pt x="146" y="17"/>
                    </a:lnTo>
                    <a:lnTo>
                      <a:pt x="146" y="17"/>
                    </a:lnTo>
                    <a:lnTo>
                      <a:pt x="143" y="14"/>
                    </a:lnTo>
                    <a:lnTo>
                      <a:pt x="143" y="14"/>
                    </a:lnTo>
                    <a:lnTo>
                      <a:pt x="143" y="14"/>
                    </a:lnTo>
                    <a:lnTo>
                      <a:pt x="143" y="14"/>
                    </a:lnTo>
                    <a:lnTo>
                      <a:pt x="140" y="17"/>
                    </a:lnTo>
                    <a:lnTo>
                      <a:pt x="140" y="17"/>
                    </a:lnTo>
                    <a:lnTo>
                      <a:pt x="140" y="17"/>
                    </a:lnTo>
                    <a:lnTo>
                      <a:pt x="140" y="17"/>
                    </a:lnTo>
                    <a:lnTo>
                      <a:pt x="140" y="20"/>
                    </a:lnTo>
                    <a:lnTo>
                      <a:pt x="140" y="20"/>
                    </a:lnTo>
                    <a:lnTo>
                      <a:pt x="138" y="20"/>
                    </a:lnTo>
                    <a:lnTo>
                      <a:pt x="138" y="20"/>
                    </a:lnTo>
                    <a:lnTo>
                      <a:pt x="140" y="17"/>
                    </a:lnTo>
                    <a:lnTo>
                      <a:pt x="140" y="17"/>
                    </a:lnTo>
                    <a:lnTo>
                      <a:pt x="135" y="17"/>
                    </a:lnTo>
                    <a:lnTo>
                      <a:pt x="135" y="17"/>
                    </a:lnTo>
                    <a:lnTo>
                      <a:pt x="133" y="17"/>
                    </a:lnTo>
                    <a:lnTo>
                      <a:pt x="133" y="17"/>
                    </a:lnTo>
                    <a:lnTo>
                      <a:pt x="132" y="20"/>
                    </a:lnTo>
                    <a:lnTo>
                      <a:pt x="132" y="20"/>
                    </a:lnTo>
                    <a:lnTo>
                      <a:pt x="133" y="20"/>
                    </a:lnTo>
                    <a:lnTo>
                      <a:pt x="133" y="20"/>
                    </a:lnTo>
                    <a:lnTo>
                      <a:pt x="132" y="20"/>
                    </a:lnTo>
                    <a:lnTo>
                      <a:pt x="132" y="20"/>
                    </a:lnTo>
                    <a:lnTo>
                      <a:pt x="130" y="20"/>
                    </a:lnTo>
                    <a:lnTo>
                      <a:pt x="130" y="20"/>
                    </a:lnTo>
                    <a:lnTo>
                      <a:pt x="127" y="20"/>
                    </a:lnTo>
                    <a:lnTo>
                      <a:pt x="127" y="20"/>
                    </a:lnTo>
                    <a:lnTo>
                      <a:pt x="130" y="20"/>
                    </a:lnTo>
                    <a:lnTo>
                      <a:pt x="130" y="20"/>
                    </a:lnTo>
                    <a:lnTo>
                      <a:pt x="129" y="24"/>
                    </a:lnTo>
                    <a:lnTo>
                      <a:pt x="129" y="24"/>
                    </a:lnTo>
                    <a:lnTo>
                      <a:pt x="129" y="24"/>
                    </a:lnTo>
                    <a:lnTo>
                      <a:pt x="129" y="24"/>
                    </a:lnTo>
                    <a:lnTo>
                      <a:pt x="127" y="20"/>
                    </a:lnTo>
                    <a:lnTo>
                      <a:pt x="127" y="20"/>
                    </a:lnTo>
                    <a:lnTo>
                      <a:pt x="126" y="20"/>
                    </a:lnTo>
                    <a:lnTo>
                      <a:pt x="126" y="20"/>
                    </a:lnTo>
                    <a:lnTo>
                      <a:pt x="124" y="24"/>
                    </a:lnTo>
                    <a:lnTo>
                      <a:pt x="124" y="24"/>
                    </a:lnTo>
                    <a:lnTo>
                      <a:pt x="124" y="24"/>
                    </a:lnTo>
                    <a:lnTo>
                      <a:pt x="124" y="24"/>
                    </a:lnTo>
                    <a:lnTo>
                      <a:pt x="122" y="24"/>
                    </a:lnTo>
                    <a:lnTo>
                      <a:pt x="122" y="24"/>
                    </a:lnTo>
                    <a:lnTo>
                      <a:pt x="121" y="25"/>
                    </a:lnTo>
                    <a:lnTo>
                      <a:pt x="121" y="25"/>
                    </a:lnTo>
                    <a:lnTo>
                      <a:pt x="119" y="27"/>
                    </a:lnTo>
                    <a:lnTo>
                      <a:pt x="119" y="27"/>
                    </a:lnTo>
                    <a:lnTo>
                      <a:pt x="121" y="27"/>
                    </a:lnTo>
                    <a:lnTo>
                      <a:pt x="121" y="27"/>
                    </a:lnTo>
                    <a:lnTo>
                      <a:pt x="119" y="28"/>
                    </a:lnTo>
                    <a:lnTo>
                      <a:pt x="119" y="28"/>
                    </a:lnTo>
                    <a:lnTo>
                      <a:pt x="118" y="28"/>
                    </a:lnTo>
                    <a:lnTo>
                      <a:pt x="118" y="28"/>
                    </a:lnTo>
                    <a:lnTo>
                      <a:pt x="119" y="30"/>
                    </a:lnTo>
                    <a:lnTo>
                      <a:pt x="119" y="30"/>
                    </a:lnTo>
                    <a:lnTo>
                      <a:pt x="114" y="30"/>
                    </a:lnTo>
                    <a:lnTo>
                      <a:pt x="114" y="30"/>
                    </a:lnTo>
                    <a:lnTo>
                      <a:pt x="111" y="32"/>
                    </a:lnTo>
                    <a:lnTo>
                      <a:pt x="111" y="32"/>
                    </a:lnTo>
                    <a:lnTo>
                      <a:pt x="111" y="32"/>
                    </a:lnTo>
                    <a:lnTo>
                      <a:pt x="111" y="32"/>
                    </a:lnTo>
                    <a:lnTo>
                      <a:pt x="114" y="33"/>
                    </a:lnTo>
                    <a:lnTo>
                      <a:pt x="114" y="33"/>
                    </a:lnTo>
                    <a:lnTo>
                      <a:pt x="111" y="33"/>
                    </a:lnTo>
                    <a:lnTo>
                      <a:pt x="111" y="33"/>
                    </a:lnTo>
                    <a:lnTo>
                      <a:pt x="110" y="33"/>
                    </a:lnTo>
                    <a:lnTo>
                      <a:pt x="110" y="33"/>
                    </a:lnTo>
                    <a:lnTo>
                      <a:pt x="114" y="36"/>
                    </a:lnTo>
                    <a:lnTo>
                      <a:pt x="114" y="36"/>
                    </a:lnTo>
                    <a:lnTo>
                      <a:pt x="108" y="35"/>
                    </a:lnTo>
                    <a:lnTo>
                      <a:pt x="108" y="35"/>
                    </a:lnTo>
                    <a:lnTo>
                      <a:pt x="111" y="36"/>
                    </a:lnTo>
                    <a:lnTo>
                      <a:pt x="111" y="36"/>
                    </a:lnTo>
                    <a:lnTo>
                      <a:pt x="110" y="36"/>
                    </a:lnTo>
                    <a:lnTo>
                      <a:pt x="110" y="36"/>
                    </a:lnTo>
                    <a:lnTo>
                      <a:pt x="111" y="38"/>
                    </a:lnTo>
                    <a:lnTo>
                      <a:pt x="111" y="38"/>
                    </a:lnTo>
                    <a:lnTo>
                      <a:pt x="111" y="38"/>
                    </a:lnTo>
                    <a:lnTo>
                      <a:pt x="111" y="38"/>
                    </a:lnTo>
                    <a:lnTo>
                      <a:pt x="110" y="38"/>
                    </a:lnTo>
                    <a:lnTo>
                      <a:pt x="110" y="38"/>
                    </a:lnTo>
                    <a:lnTo>
                      <a:pt x="111" y="38"/>
                    </a:lnTo>
                    <a:lnTo>
                      <a:pt x="111" y="38"/>
                    </a:lnTo>
                    <a:lnTo>
                      <a:pt x="108" y="38"/>
                    </a:lnTo>
                    <a:lnTo>
                      <a:pt x="108" y="38"/>
                    </a:lnTo>
                    <a:lnTo>
                      <a:pt x="110" y="38"/>
                    </a:lnTo>
                    <a:lnTo>
                      <a:pt x="110" y="38"/>
                    </a:lnTo>
                    <a:lnTo>
                      <a:pt x="108" y="38"/>
                    </a:lnTo>
                    <a:lnTo>
                      <a:pt x="108" y="38"/>
                    </a:lnTo>
                    <a:lnTo>
                      <a:pt x="108" y="38"/>
                    </a:lnTo>
                    <a:lnTo>
                      <a:pt x="108" y="38"/>
                    </a:lnTo>
                    <a:lnTo>
                      <a:pt x="106" y="36"/>
                    </a:lnTo>
                    <a:lnTo>
                      <a:pt x="106" y="36"/>
                    </a:lnTo>
                    <a:lnTo>
                      <a:pt x="103" y="36"/>
                    </a:lnTo>
                    <a:lnTo>
                      <a:pt x="103" y="36"/>
                    </a:lnTo>
                    <a:lnTo>
                      <a:pt x="102" y="36"/>
                    </a:lnTo>
                    <a:lnTo>
                      <a:pt x="102" y="36"/>
                    </a:lnTo>
                    <a:lnTo>
                      <a:pt x="100" y="38"/>
                    </a:lnTo>
                    <a:lnTo>
                      <a:pt x="100" y="38"/>
                    </a:lnTo>
                    <a:lnTo>
                      <a:pt x="103" y="38"/>
                    </a:lnTo>
                    <a:lnTo>
                      <a:pt x="103" y="38"/>
                    </a:lnTo>
                    <a:lnTo>
                      <a:pt x="106" y="38"/>
                    </a:lnTo>
                    <a:lnTo>
                      <a:pt x="106" y="38"/>
                    </a:lnTo>
                    <a:lnTo>
                      <a:pt x="105" y="38"/>
                    </a:lnTo>
                    <a:lnTo>
                      <a:pt x="105" y="38"/>
                    </a:lnTo>
                    <a:lnTo>
                      <a:pt x="102" y="38"/>
                    </a:lnTo>
                    <a:lnTo>
                      <a:pt x="102" y="38"/>
                    </a:lnTo>
                    <a:lnTo>
                      <a:pt x="99" y="38"/>
                    </a:lnTo>
                    <a:lnTo>
                      <a:pt x="99" y="38"/>
                    </a:lnTo>
                    <a:lnTo>
                      <a:pt x="97" y="38"/>
                    </a:lnTo>
                    <a:lnTo>
                      <a:pt x="97" y="38"/>
                    </a:lnTo>
                    <a:lnTo>
                      <a:pt x="97" y="41"/>
                    </a:lnTo>
                    <a:lnTo>
                      <a:pt x="97" y="41"/>
                    </a:lnTo>
                    <a:lnTo>
                      <a:pt x="95" y="41"/>
                    </a:lnTo>
                    <a:lnTo>
                      <a:pt x="95" y="41"/>
                    </a:lnTo>
                    <a:lnTo>
                      <a:pt x="100" y="41"/>
                    </a:lnTo>
                    <a:lnTo>
                      <a:pt x="100" y="41"/>
                    </a:lnTo>
                    <a:lnTo>
                      <a:pt x="103" y="41"/>
                    </a:lnTo>
                    <a:lnTo>
                      <a:pt x="103" y="41"/>
                    </a:lnTo>
                    <a:lnTo>
                      <a:pt x="105" y="41"/>
                    </a:lnTo>
                    <a:lnTo>
                      <a:pt x="105" y="41"/>
                    </a:lnTo>
                    <a:lnTo>
                      <a:pt x="102" y="41"/>
                    </a:lnTo>
                    <a:lnTo>
                      <a:pt x="102" y="41"/>
                    </a:lnTo>
                    <a:lnTo>
                      <a:pt x="100" y="41"/>
                    </a:lnTo>
                    <a:lnTo>
                      <a:pt x="100" y="41"/>
                    </a:lnTo>
                    <a:lnTo>
                      <a:pt x="99" y="41"/>
                    </a:lnTo>
                    <a:lnTo>
                      <a:pt x="99" y="41"/>
                    </a:lnTo>
                    <a:lnTo>
                      <a:pt x="100" y="44"/>
                    </a:lnTo>
                    <a:lnTo>
                      <a:pt x="100" y="44"/>
                    </a:lnTo>
                    <a:lnTo>
                      <a:pt x="102" y="44"/>
                    </a:lnTo>
                    <a:lnTo>
                      <a:pt x="102" y="44"/>
                    </a:lnTo>
                    <a:lnTo>
                      <a:pt x="105" y="44"/>
                    </a:lnTo>
                    <a:lnTo>
                      <a:pt x="105" y="44"/>
                    </a:lnTo>
                    <a:lnTo>
                      <a:pt x="103" y="44"/>
                    </a:lnTo>
                    <a:lnTo>
                      <a:pt x="103" y="44"/>
                    </a:lnTo>
                    <a:lnTo>
                      <a:pt x="102" y="44"/>
                    </a:lnTo>
                    <a:lnTo>
                      <a:pt x="102" y="44"/>
                    </a:lnTo>
                    <a:lnTo>
                      <a:pt x="100" y="44"/>
                    </a:lnTo>
                    <a:lnTo>
                      <a:pt x="100" y="44"/>
                    </a:lnTo>
                    <a:lnTo>
                      <a:pt x="97" y="44"/>
                    </a:lnTo>
                    <a:lnTo>
                      <a:pt x="97" y="44"/>
                    </a:lnTo>
                    <a:lnTo>
                      <a:pt x="99" y="44"/>
                    </a:lnTo>
                    <a:lnTo>
                      <a:pt x="99" y="44"/>
                    </a:lnTo>
                    <a:lnTo>
                      <a:pt x="95" y="44"/>
                    </a:lnTo>
                    <a:lnTo>
                      <a:pt x="95" y="44"/>
                    </a:lnTo>
                    <a:lnTo>
                      <a:pt x="94" y="44"/>
                    </a:lnTo>
                    <a:lnTo>
                      <a:pt x="94" y="44"/>
                    </a:lnTo>
                    <a:lnTo>
                      <a:pt x="91" y="47"/>
                    </a:lnTo>
                    <a:lnTo>
                      <a:pt x="91" y="47"/>
                    </a:lnTo>
                    <a:lnTo>
                      <a:pt x="95" y="47"/>
                    </a:lnTo>
                    <a:lnTo>
                      <a:pt x="95" y="47"/>
                    </a:lnTo>
                    <a:lnTo>
                      <a:pt x="99" y="47"/>
                    </a:lnTo>
                    <a:lnTo>
                      <a:pt x="99" y="47"/>
                    </a:lnTo>
                    <a:lnTo>
                      <a:pt x="103" y="47"/>
                    </a:lnTo>
                    <a:lnTo>
                      <a:pt x="103" y="47"/>
                    </a:lnTo>
                    <a:lnTo>
                      <a:pt x="103" y="47"/>
                    </a:lnTo>
                    <a:lnTo>
                      <a:pt x="102" y="47"/>
                    </a:lnTo>
                    <a:lnTo>
                      <a:pt x="102" y="47"/>
                    </a:lnTo>
                    <a:lnTo>
                      <a:pt x="99" y="47"/>
                    </a:lnTo>
                    <a:lnTo>
                      <a:pt x="99" y="47"/>
                    </a:lnTo>
                    <a:lnTo>
                      <a:pt x="97" y="47"/>
                    </a:lnTo>
                    <a:lnTo>
                      <a:pt x="97" y="47"/>
                    </a:lnTo>
                    <a:lnTo>
                      <a:pt x="95" y="47"/>
                    </a:lnTo>
                    <a:lnTo>
                      <a:pt x="95" y="47"/>
                    </a:lnTo>
                    <a:lnTo>
                      <a:pt x="94" y="47"/>
                    </a:lnTo>
                    <a:lnTo>
                      <a:pt x="94" y="47"/>
                    </a:lnTo>
                    <a:lnTo>
                      <a:pt x="94" y="47"/>
                    </a:lnTo>
                    <a:lnTo>
                      <a:pt x="94" y="47"/>
                    </a:lnTo>
                    <a:lnTo>
                      <a:pt x="91" y="49"/>
                    </a:lnTo>
                    <a:lnTo>
                      <a:pt x="91" y="49"/>
                    </a:lnTo>
                    <a:lnTo>
                      <a:pt x="87" y="51"/>
                    </a:lnTo>
                    <a:lnTo>
                      <a:pt x="87" y="51"/>
                    </a:lnTo>
                    <a:lnTo>
                      <a:pt x="84" y="51"/>
                    </a:lnTo>
                    <a:lnTo>
                      <a:pt x="84" y="51"/>
                    </a:lnTo>
                    <a:lnTo>
                      <a:pt x="87" y="52"/>
                    </a:lnTo>
                    <a:lnTo>
                      <a:pt x="87" y="52"/>
                    </a:lnTo>
                    <a:lnTo>
                      <a:pt x="84" y="52"/>
                    </a:lnTo>
                    <a:lnTo>
                      <a:pt x="84" y="52"/>
                    </a:lnTo>
                    <a:lnTo>
                      <a:pt x="84" y="52"/>
                    </a:lnTo>
                    <a:lnTo>
                      <a:pt x="84" y="52"/>
                    </a:lnTo>
                    <a:lnTo>
                      <a:pt x="84" y="54"/>
                    </a:lnTo>
                    <a:lnTo>
                      <a:pt x="84" y="54"/>
                    </a:lnTo>
                    <a:lnTo>
                      <a:pt x="84" y="54"/>
                    </a:lnTo>
                    <a:lnTo>
                      <a:pt x="84" y="54"/>
                    </a:lnTo>
                    <a:lnTo>
                      <a:pt x="81" y="54"/>
                    </a:lnTo>
                    <a:lnTo>
                      <a:pt x="81" y="54"/>
                    </a:lnTo>
                    <a:lnTo>
                      <a:pt x="83" y="55"/>
                    </a:lnTo>
                    <a:lnTo>
                      <a:pt x="83" y="55"/>
                    </a:lnTo>
                    <a:lnTo>
                      <a:pt x="84" y="55"/>
                    </a:lnTo>
                    <a:lnTo>
                      <a:pt x="84" y="55"/>
                    </a:lnTo>
                    <a:lnTo>
                      <a:pt x="83" y="57"/>
                    </a:lnTo>
                    <a:lnTo>
                      <a:pt x="83" y="57"/>
                    </a:lnTo>
                    <a:lnTo>
                      <a:pt x="81" y="57"/>
                    </a:lnTo>
                    <a:lnTo>
                      <a:pt x="81" y="57"/>
                    </a:lnTo>
                    <a:lnTo>
                      <a:pt x="79" y="59"/>
                    </a:lnTo>
                    <a:lnTo>
                      <a:pt x="79" y="59"/>
                    </a:lnTo>
                    <a:lnTo>
                      <a:pt x="81" y="59"/>
                    </a:lnTo>
                    <a:lnTo>
                      <a:pt x="81" y="59"/>
                    </a:lnTo>
                    <a:lnTo>
                      <a:pt x="79" y="60"/>
                    </a:lnTo>
                    <a:lnTo>
                      <a:pt x="79" y="60"/>
                    </a:lnTo>
                    <a:lnTo>
                      <a:pt x="91" y="59"/>
                    </a:lnTo>
                    <a:lnTo>
                      <a:pt x="91" y="59"/>
                    </a:lnTo>
                    <a:lnTo>
                      <a:pt x="87" y="60"/>
                    </a:lnTo>
                    <a:lnTo>
                      <a:pt x="87" y="60"/>
                    </a:lnTo>
                    <a:lnTo>
                      <a:pt x="84" y="60"/>
                    </a:lnTo>
                    <a:lnTo>
                      <a:pt x="84" y="60"/>
                    </a:lnTo>
                    <a:lnTo>
                      <a:pt x="87" y="62"/>
                    </a:lnTo>
                    <a:lnTo>
                      <a:pt x="87" y="62"/>
                    </a:lnTo>
                    <a:lnTo>
                      <a:pt x="84" y="62"/>
                    </a:lnTo>
                    <a:lnTo>
                      <a:pt x="84" y="62"/>
                    </a:lnTo>
                    <a:lnTo>
                      <a:pt x="84" y="60"/>
                    </a:lnTo>
                    <a:lnTo>
                      <a:pt x="84" y="60"/>
                    </a:lnTo>
                    <a:lnTo>
                      <a:pt x="83" y="60"/>
                    </a:lnTo>
                    <a:lnTo>
                      <a:pt x="83" y="60"/>
                    </a:lnTo>
                    <a:lnTo>
                      <a:pt x="76" y="62"/>
                    </a:lnTo>
                    <a:lnTo>
                      <a:pt x="76" y="62"/>
                    </a:lnTo>
                    <a:lnTo>
                      <a:pt x="79" y="63"/>
                    </a:lnTo>
                    <a:lnTo>
                      <a:pt x="79" y="63"/>
                    </a:lnTo>
                    <a:lnTo>
                      <a:pt x="81" y="65"/>
                    </a:lnTo>
                    <a:lnTo>
                      <a:pt x="81" y="65"/>
                    </a:lnTo>
                    <a:lnTo>
                      <a:pt x="78" y="63"/>
                    </a:lnTo>
                    <a:lnTo>
                      <a:pt x="78" y="63"/>
                    </a:lnTo>
                    <a:lnTo>
                      <a:pt x="76" y="65"/>
                    </a:lnTo>
                    <a:lnTo>
                      <a:pt x="76" y="65"/>
                    </a:lnTo>
                    <a:lnTo>
                      <a:pt x="75" y="66"/>
                    </a:lnTo>
                    <a:lnTo>
                      <a:pt x="75" y="66"/>
                    </a:lnTo>
                    <a:lnTo>
                      <a:pt x="73" y="68"/>
                    </a:lnTo>
                    <a:lnTo>
                      <a:pt x="73" y="68"/>
                    </a:lnTo>
                    <a:lnTo>
                      <a:pt x="73" y="70"/>
                    </a:lnTo>
                    <a:lnTo>
                      <a:pt x="73" y="70"/>
                    </a:lnTo>
                    <a:lnTo>
                      <a:pt x="72" y="71"/>
                    </a:lnTo>
                    <a:lnTo>
                      <a:pt x="72" y="71"/>
                    </a:lnTo>
                    <a:lnTo>
                      <a:pt x="72" y="73"/>
                    </a:lnTo>
                    <a:lnTo>
                      <a:pt x="72" y="73"/>
                    </a:lnTo>
                    <a:lnTo>
                      <a:pt x="73" y="71"/>
                    </a:lnTo>
                    <a:lnTo>
                      <a:pt x="73" y="71"/>
                    </a:lnTo>
                    <a:lnTo>
                      <a:pt x="73" y="73"/>
                    </a:lnTo>
                    <a:lnTo>
                      <a:pt x="73" y="73"/>
                    </a:lnTo>
                    <a:lnTo>
                      <a:pt x="75" y="73"/>
                    </a:lnTo>
                    <a:lnTo>
                      <a:pt x="75" y="73"/>
                    </a:lnTo>
                    <a:lnTo>
                      <a:pt x="72" y="76"/>
                    </a:lnTo>
                    <a:lnTo>
                      <a:pt x="72" y="76"/>
                    </a:lnTo>
                    <a:lnTo>
                      <a:pt x="70" y="73"/>
                    </a:lnTo>
                    <a:lnTo>
                      <a:pt x="70" y="73"/>
                    </a:lnTo>
                    <a:lnTo>
                      <a:pt x="68" y="73"/>
                    </a:lnTo>
                    <a:lnTo>
                      <a:pt x="68" y="73"/>
                    </a:lnTo>
                    <a:lnTo>
                      <a:pt x="68" y="76"/>
                    </a:lnTo>
                    <a:lnTo>
                      <a:pt x="68" y="76"/>
                    </a:lnTo>
                    <a:lnTo>
                      <a:pt x="65" y="76"/>
                    </a:lnTo>
                    <a:lnTo>
                      <a:pt x="65" y="76"/>
                    </a:lnTo>
                    <a:lnTo>
                      <a:pt x="64" y="76"/>
                    </a:lnTo>
                    <a:lnTo>
                      <a:pt x="64" y="76"/>
                    </a:lnTo>
                    <a:lnTo>
                      <a:pt x="65" y="76"/>
                    </a:lnTo>
                    <a:lnTo>
                      <a:pt x="65" y="76"/>
                    </a:lnTo>
                    <a:lnTo>
                      <a:pt x="62" y="79"/>
                    </a:lnTo>
                    <a:lnTo>
                      <a:pt x="62" y="79"/>
                    </a:lnTo>
                    <a:lnTo>
                      <a:pt x="64" y="79"/>
                    </a:lnTo>
                    <a:lnTo>
                      <a:pt x="64" y="79"/>
                    </a:lnTo>
                    <a:lnTo>
                      <a:pt x="65" y="79"/>
                    </a:lnTo>
                    <a:lnTo>
                      <a:pt x="65" y="79"/>
                    </a:lnTo>
                    <a:lnTo>
                      <a:pt x="68" y="76"/>
                    </a:lnTo>
                    <a:lnTo>
                      <a:pt x="68" y="76"/>
                    </a:lnTo>
                    <a:lnTo>
                      <a:pt x="70" y="76"/>
                    </a:lnTo>
                    <a:lnTo>
                      <a:pt x="70" y="76"/>
                    </a:lnTo>
                    <a:lnTo>
                      <a:pt x="65" y="79"/>
                    </a:lnTo>
                    <a:lnTo>
                      <a:pt x="65" y="79"/>
                    </a:lnTo>
                    <a:lnTo>
                      <a:pt x="64" y="79"/>
                    </a:lnTo>
                    <a:lnTo>
                      <a:pt x="64" y="79"/>
                    </a:lnTo>
                    <a:lnTo>
                      <a:pt x="67" y="82"/>
                    </a:lnTo>
                    <a:lnTo>
                      <a:pt x="67" y="82"/>
                    </a:lnTo>
                    <a:lnTo>
                      <a:pt x="65" y="82"/>
                    </a:lnTo>
                    <a:lnTo>
                      <a:pt x="65" y="82"/>
                    </a:lnTo>
                    <a:lnTo>
                      <a:pt x="65" y="82"/>
                    </a:lnTo>
                    <a:lnTo>
                      <a:pt x="65" y="82"/>
                    </a:lnTo>
                    <a:lnTo>
                      <a:pt x="62" y="84"/>
                    </a:lnTo>
                    <a:lnTo>
                      <a:pt x="62" y="84"/>
                    </a:lnTo>
                    <a:lnTo>
                      <a:pt x="62" y="82"/>
                    </a:lnTo>
                    <a:lnTo>
                      <a:pt x="62" y="82"/>
                    </a:lnTo>
                    <a:lnTo>
                      <a:pt x="59" y="79"/>
                    </a:lnTo>
                    <a:lnTo>
                      <a:pt x="59" y="79"/>
                    </a:lnTo>
                    <a:lnTo>
                      <a:pt x="59" y="82"/>
                    </a:lnTo>
                    <a:lnTo>
                      <a:pt x="59" y="82"/>
                    </a:lnTo>
                    <a:lnTo>
                      <a:pt x="56" y="82"/>
                    </a:lnTo>
                    <a:lnTo>
                      <a:pt x="56" y="82"/>
                    </a:lnTo>
                    <a:lnTo>
                      <a:pt x="56" y="84"/>
                    </a:lnTo>
                    <a:lnTo>
                      <a:pt x="56" y="84"/>
                    </a:lnTo>
                    <a:lnTo>
                      <a:pt x="52" y="86"/>
                    </a:lnTo>
                    <a:lnTo>
                      <a:pt x="52" y="86"/>
                    </a:lnTo>
                    <a:lnTo>
                      <a:pt x="52" y="86"/>
                    </a:lnTo>
                    <a:lnTo>
                      <a:pt x="52" y="86"/>
                    </a:lnTo>
                    <a:lnTo>
                      <a:pt x="52" y="87"/>
                    </a:lnTo>
                    <a:lnTo>
                      <a:pt x="52" y="87"/>
                    </a:lnTo>
                    <a:lnTo>
                      <a:pt x="49" y="89"/>
                    </a:lnTo>
                    <a:lnTo>
                      <a:pt x="49" y="89"/>
                    </a:lnTo>
                    <a:lnTo>
                      <a:pt x="49" y="89"/>
                    </a:lnTo>
                    <a:lnTo>
                      <a:pt x="49" y="89"/>
                    </a:lnTo>
                    <a:lnTo>
                      <a:pt x="46" y="90"/>
                    </a:lnTo>
                    <a:lnTo>
                      <a:pt x="46" y="90"/>
                    </a:lnTo>
                    <a:lnTo>
                      <a:pt x="46" y="92"/>
                    </a:lnTo>
                    <a:lnTo>
                      <a:pt x="46" y="92"/>
                    </a:lnTo>
                    <a:lnTo>
                      <a:pt x="49" y="90"/>
                    </a:lnTo>
                    <a:lnTo>
                      <a:pt x="49" y="90"/>
                    </a:lnTo>
                    <a:lnTo>
                      <a:pt x="49" y="92"/>
                    </a:lnTo>
                    <a:lnTo>
                      <a:pt x="49" y="92"/>
                    </a:lnTo>
                    <a:lnTo>
                      <a:pt x="52" y="95"/>
                    </a:lnTo>
                    <a:lnTo>
                      <a:pt x="52" y="95"/>
                    </a:lnTo>
                    <a:lnTo>
                      <a:pt x="56" y="93"/>
                    </a:lnTo>
                    <a:lnTo>
                      <a:pt x="56" y="93"/>
                    </a:lnTo>
                    <a:lnTo>
                      <a:pt x="59" y="92"/>
                    </a:lnTo>
                    <a:lnTo>
                      <a:pt x="59" y="92"/>
                    </a:lnTo>
                    <a:lnTo>
                      <a:pt x="59" y="90"/>
                    </a:lnTo>
                    <a:lnTo>
                      <a:pt x="59" y="90"/>
                    </a:lnTo>
                    <a:lnTo>
                      <a:pt x="59" y="89"/>
                    </a:lnTo>
                    <a:lnTo>
                      <a:pt x="59" y="89"/>
                    </a:lnTo>
                    <a:lnTo>
                      <a:pt x="60" y="89"/>
                    </a:lnTo>
                    <a:lnTo>
                      <a:pt x="60" y="89"/>
                    </a:lnTo>
                    <a:lnTo>
                      <a:pt x="64" y="87"/>
                    </a:lnTo>
                    <a:lnTo>
                      <a:pt x="64" y="87"/>
                    </a:lnTo>
                    <a:lnTo>
                      <a:pt x="65" y="87"/>
                    </a:lnTo>
                    <a:lnTo>
                      <a:pt x="65" y="87"/>
                    </a:lnTo>
                    <a:lnTo>
                      <a:pt x="62" y="89"/>
                    </a:lnTo>
                    <a:lnTo>
                      <a:pt x="62" y="89"/>
                    </a:lnTo>
                    <a:lnTo>
                      <a:pt x="60" y="90"/>
                    </a:lnTo>
                    <a:lnTo>
                      <a:pt x="60" y="90"/>
                    </a:lnTo>
                    <a:lnTo>
                      <a:pt x="62" y="90"/>
                    </a:lnTo>
                    <a:lnTo>
                      <a:pt x="62" y="90"/>
                    </a:lnTo>
                    <a:lnTo>
                      <a:pt x="64" y="90"/>
                    </a:lnTo>
                    <a:lnTo>
                      <a:pt x="64" y="90"/>
                    </a:lnTo>
                    <a:lnTo>
                      <a:pt x="59" y="92"/>
                    </a:lnTo>
                    <a:lnTo>
                      <a:pt x="59" y="92"/>
                    </a:lnTo>
                    <a:lnTo>
                      <a:pt x="56" y="93"/>
                    </a:lnTo>
                    <a:lnTo>
                      <a:pt x="56" y="93"/>
                    </a:lnTo>
                    <a:lnTo>
                      <a:pt x="59" y="93"/>
                    </a:lnTo>
                    <a:lnTo>
                      <a:pt x="59" y="93"/>
                    </a:lnTo>
                    <a:lnTo>
                      <a:pt x="59" y="95"/>
                    </a:lnTo>
                    <a:lnTo>
                      <a:pt x="59" y="95"/>
                    </a:lnTo>
                    <a:lnTo>
                      <a:pt x="52" y="95"/>
                    </a:lnTo>
                    <a:lnTo>
                      <a:pt x="52" y="95"/>
                    </a:lnTo>
                    <a:lnTo>
                      <a:pt x="52" y="97"/>
                    </a:lnTo>
                    <a:lnTo>
                      <a:pt x="52" y="97"/>
                    </a:lnTo>
                    <a:lnTo>
                      <a:pt x="49" y="97"/>
                    </a:lnTo>
                    <a:lnTo>
                      <a:pt x="49" y="97"/>
                    </a:lnTo>
                    <a:lnTo>
                      <a:pt x="49" y="97"/>
                    </a:lnTo>
                    <a:lnTo>
                      <a:pt x="49" y="97"/>
                    </a:lnTo>
                    <a:lnTo>
                      <a:pt x="49" y="95"/>
                    </a:lnTo>
                    <a:lnTo>
                      <a:pt x="49" y="95"/>
                    </a:lnTo>
                    <a:lnTo>
                      <a:pt x="48" y="93"/>
                    </a:lnTo>
                    <a:lnTo>
                      <a:pt x="48" y="93"/>
                    </a:lnTo>
                    <a:lnTo>
                      <a:pt x="43" y="95"/>
                    </a:lnTo>
                    <a:lnTo>
                      <a:pt x="43" y="95"/>
                    </a:lnTo>
                    <a:lnTo>
                      <a:pt x="45" y="95"/>
                    </a:lnTo>
                    <a:lnTo>
                      <a:pt x="45" y="95"/>
                    </a:lnTo>
                    <a:lnTo>
                      <a:pt x="43" y="97"/>
                    </a:lnTo>
                    <a:lnTo>
                      <a:pt x="43" y="97"/>
                    </a:lnTo>
                    <a:lnTo>
                      <a:pt x="45" y="97"/>
                    </a:lnTo>
                    <a:lnTo>
                      <a:pt x="45" y="97"/>
                    </a:lnTo>
                    <a:lnTo>
                      <a:pt x="41" y="98"/>
                    </a:lnTo>
                    <a:lnTo>
                      <a:pt x="41" y="98"/>
                    </a:lnTo>
                    <a:lnTo>
                      <a:pt x="41" y="97"/>
                    </a:lnTo>
                    <a:lnTo>
                      <a:pt x="41" y="97"/>
                    </a:lnTo>
                    <a:lnTo>
                      <a:pt x="40" y="97"/>
                    </a:lnTo>
                    <a:lnTo>
                      <a:pt x="40" y="97"/>
                    </a:lnTo>
                    <a:lnTo>
                      <a:pt x="38" y="97"/>
                    </a:lnTo>
                    <a:lnTo>
                      <a:pt x="38" y="97"/>
                    </a:lnTo>
                    <a:lnTo>
                      <a:pt x="37" y="97"/>
                    </a:lnTo>
                    <a:lnTo>
                      <a:pt x="37" y="97"/>
                    </a:lnTo>
                    <a:lnTo>
                      <a:pt x="37" y="98"/>
                    </a:lnTo>
                    <a:lnTo>
                      <a:pt x="37" y="98"/>
                    </a:lnTo>
                    <a:lnTo>
                      <a:pt x="40" y="98"/>
                    </a:lnTo>
                    <a:lnTo>
                      <a:pt x="40" y="98"/>
                    </a:lnTo>
                    <a:lnTo>
                      <a:pt x="33" y="100"/>
                    </a:lnTo>
                    <a:lnTo>
                      <a:pt x="33" y="100"/>
                    </a:lnTo>
                    <a:lnTo>
                      <a:pt x="35" y="101"/>
                    </a:lnTo>
                    <a:lnTo>
                      <a:pt x="35" y="101"/>
                    </a:lnTo>
                    <a:lnTo>
                      <a:pt x="37" y="101"/>
                    </a:lnTo>
                    <a:lnTo>
                      <a:pt x="37" y="101"/>
                    </a:lnTo>
                    <a:lnTo>
                      <a:pt x="35" y="103"/>
                    </a:lnTo>
                    <a:lnTo>
                      <a:pt x="35" y="103"/>
                    </a:lnTo>
                    <a:lnTo>
                      <a:pt x="33" y="103"/>
                    </a:lnTo>
                    <a:lnTo>
                      <a:pt x="33" y="103"/>
                    </a:lnTo>
                    <a:lnTo>
                      <a:pt x="33" y="101"/>
                    </a:lnTo>
                    <a:lnTo>
                      <a:pt x="33" y="101"/>
                    </a:lnTo>
                    <a:lnTo>
                      <a:pt x="32" y="100"/>
                    </a:lnTo>
                    <a:lnTo>
                      <a:pt x="32" y="100"/>
                    </a:lnTo>
                    <a:lnTo>
                      <a:pt x="30" y="100"/>
                    </a:lnTo>
                    <a:lnTo>
                      <a:pt x="30" y="100"/>
                    </a:lnTo>
                    <a:lnTo>
                      <a:pt x="30" y="101"/>
                    </a:lnTo>
                    <a:lnTo>
                      <a:pt x="30" y="101"/>
                    </a:lnTo>
                    <a:lnTo>
                      <a:pt x="32" y="103"/>
                    </a:lnTo>
                    <a:lnTo>
                      <a:pt x="32" y="103"/>
                    </a:lnTo>
                    <a:lnTo>
                      <a:pt x="33" y="105"/>
                    </a:lnTo>
                    <a:lnTo>
                      <a:pt x="33" y="105"/>
                    </a:lnTo>
                    <a:lnTo>
                      <a:pt x="30" y="103"/>
                    </a:lnTo>
                    <a:lnTo>
                      <a:pt x="30" y="103"/>
                    </a:lnTo>
                    <a:lnTo>
                      <a:pt x="30" y="101"/>
                    </a:lnTo>
                    <a:lnTo>
                      <a:pt x="30" y="101"/>
                    </a:lnTo>
                    <a:lnTo>
                      <a:pt x="29" y="101"/>
                    </a:lnTo>
                    <a:lnTo>
                      <a:pt x="29" y="101"/>
                    </a:lnTo>
                    <a:lnTo>
                      <a:pt x="25" y="103"/>
                    </a:lnTo>
                    <a:lnTo>
                      <a:pt x="25" y="103"/>
                    </a:lnTo>
                    <a:lnTo>
                      <a:pt x="25" y="101"/>
                    </a:lnTo>
                    <a:lnTo>
                      <a:pt x="25" y="101"/>
                    </a:lnTo>
                    <a:lnTo>
                      <a:pt x="22" y="101"/>
                    </a:lnTo>
                    <a:lnTo>
                      <a:pt x="22" y="101"/>
                    </a:lnTo>
                    <a:lnTo>
                      <a:pt x="21" y="103"/>
                    </a:lnTo>
                    <a:lnTo>
                      <a:pt x="21" y="103"/>
                    </a:lnTo>
                    <a:lnTo>
                      <a:pt x="24" y="105"/>
                    </a:lnTo>
                    <a:lnTo>
                      <a:pt x="24" y="105"/>
                    </a:lnTo>
                    <a:lnTo>
                      <a:pt x="25" y="105"/>
                    </a:lnTo>
                    <a:lnTo>
                      <a:pt x="25" y="105"/>
                    </a:lnTo>
                    <a:lnTo>
                      <a:pt x="25" y="105"/>
                    </a:lnTo>
                    <a:lnTo>
                      <a:pt x="25" y="105"/>
                    </a:lnTo>
                    <a:lnTo>
                      <a:pt x="25" y="106"/>
                    </a:lnTo>
                    <a:lnTo>
                      <a:pt x="25" y="106"/>
                    </a:lnTo>
                    <a:lnTo>
                      <a:pt x="21" y="105"/>
                    </a:lnTo>
                    <a:lnTo>
                      <a:pt x="21" y="105"/>
                    </a:lnTo>
                    <a:lnTo>
                      <a:pt x="18" y="105"/>
                    </a:lnTo>
                    <a:lnTo>
                      <a:pt x="18" y="105"/>
                    </a:lnTo>
                    <a:lnTo>
                      <a:pt x="14" y="105"/>
                    </a:lnTo>
                    <a:lnTo>
                      <a:pt x="14" y="105"/>
                    </a:lnTo>
                    <a:lnTo>
                      <a:pt x="16" y="106"/>
                    </a:lnTo>
                    <a:lnTo>
                      <a:pt x="16" y="106"/>
                    </a:lnTo>
                    <a:lnTo>
                      <a:pt x="18" y="106"/>
                    </a:lnTo>
                    <a:lnTo>
                      <a:pt x="18" y="106"/>
                    </a:lnTo>
                    <a:lnTo>
                      <a:pt x="13" y="108"/>
                    </a:lnTo>
                    <a:lnTo>
                      <a:pt x="13" y="108"/>
                    </a:lnTo>
                    <a:lnTo>
                      <a:pt x="16" y="108"/>
                    </a:lnTo>
                    <a:lnTo>
                      <a:pt x="16" y="108"/>
                    </a:lnTo>
                    <a:lnTo>
                      <a:pt x="16" y="109"/>
                    </a:lnTo>
                    <a:lnTo>
                      <a:pt x="16" y="109"/>
                    </a:lnTo>
                    <a:lnTo>
                      <a:pt x="16" y="111"/>
                    </a:lnTo>
                    <a:lnTo>
                      <a:pt x="16" y="111"/>
                    </a:lnTo>
                    <a:lnTo>
                      <a:pt x="14" y="109"/>
                    </a:lnTo>
                    <a:lnTo>
                      <a:pt x="14" y="109"/>
                    </a:lnTo>
                    <a:lnTo>
                      <a:pt x="11" y="109"/>
                    </a:lnTo>
                    <a:lnTo>
                      <a:pt x="11" y="109"/>
                    </a:lnTo>
                    <a:lnTo>
                      <a:pt x="11" y="111"/>
                    </a:lnTo>
                    <a:lnTo>
                      <a:pt x="11" y="111"/>
                    </a:lnTo>
                    <a:lnTo>
                      <a:pt x="14" y="112"/>
                    </a:lnTo>
                    <a:lnTo>
                      <a:pt x="14" y="112"/>
                    </a:lnTo>
                    <a:lnTo>
                      <a:pt x="11" y="112"/>
                    </a:lnTo>
                    <a:lnTo>
                      <a:pt x="11" y="112"/>
                    </a:lnTo>
                    <a:lnTo>
                      <a:pt x="10" y="111"/>
                    </a:lnTo>
                    <a:lnTo>
                      <a:pt x="10" y="111"/>
                    </a:lnTo>
                    <a:lnTo>
                      <a:pt x="8" y="111"/>
                    </a:lnTo>
                    <a:lnTo>
                      <a:pt x="8" y="111"/>
                    </a:lnTo>
                    <a:lnTo>
                      <a:pt x="8" y="112"/>
                    </a:lnTo>
                    <a:lnTo>
                      <a:pt x="8" y="112"/>
                    </a:lnTo>
                    <a:lnTo>
                      <a:pt x="6" y="111"/>
                    </a:lnTo>
                    <a:lnTo>
                      <a:pt x="6" y="111"/>
                    </a:lnTo>
                    <a:lnTo>
                      <a:pt x="5" y="111"/>
                    </a:lnTo>
                    <a:lnTo>
                      <a:pt x="5" y="111"/>
                    </a:lnTo>
                    <a:lnTo>
                      <a:pt x="5" y="112"/>
                    </a:lnTo>
                    <a:lnTo>
                      <a:pt x="5" y="112"/>
                    </a:lnTo>
                    <a:lnTo>
                      <a:pt x="3" y="114"/>
                    </a:lnTo>
                    <a:lnTo>
                      <a:pt x="3" y="114"/>
                    </a:lnTo>
                    <a:lnTo>
                      <a:pt x="3" y="116"/>
                    </a:lnTo>
                    <a:lnTo>
                      <a:pt x="3" y="116"/>
                    </a:lnTo>
                    <a:lnTo>
                      <a:pt x="3" y="116"/>
                    </a:lnTo>
                    <a:lnTo>
                      <a:pt x="3" y="116"/>
                    </a:lnTo>
                    <a:lnTo>
                      <a:pt x="3" y="117"/>
                    </a:lnTo>
                    <a:lnTo>
                      <a:pt x="3" y="117"/>
                    </a:lnTo>
                    <a:lnTo>
                      <a:pt x="0" y="117"/>
                    </a:lnTo>
                    <a:lnTo>
                      <a:pt x="0" y="117"/>
                    </a:lnTo>
                    <a:lnTo>
                      <a:pt x="0" y="119"/>
                    </a:lnTo>
                    <a:lnTo>
                      <a:pt x="0" y="119"/>
                    </a:lnTo>
                    <a:lnTo>
                      <a:pt x="3" y="119"/>
                    </a:lnTo>
                    <a:lnTo>
                      <a:pt x="3" y="119"/>
                    </a:lnTo>
                    <a:lnTo>
                      <a:pt x="3" y="119"/>
                    </a:lnTo>
                    <a:lnTo>
                      <a:pt x="3" y="119"/>
                    </a:lnTo>
                    <a:lnTo>
                      <a:pt x="3" y="120"/>
                    </a:lnTo>
                    <a:lnTo>
                      <a:pt x="3" y="120"/>
                    </a:lnTo>
                    <a:lnTo>
                      <a:pt x="0" y="122"/>
                    </a:lnTo>
                    <a:lnTo>
                      <a:pt x="0" y="122"/>
                    </a:lnTo>
                    <a:lnTo>
                      <a:pt x="3" y="122"/>
                    </a:lnTo>
                    <a:lnTo>
                      <a:pt x="3" y="122"/>
                    </a:lnTo>
                    <a:lnTo>
                      <a:pt x="3" y="122"/>
                    </a:lnTo>
                    <a:lnTo>
                      <a:pt x="3" y="122"/>
                    </a:lnTo>
                    <a:lnTo>
                      <a:pt x="6" y="122"/>
                    </a:lnTo>
                    <a:lnTo>
                      <a:pt x="6" y="122"/>
                    </a:lnTo>
                    <a:lnTo>
                      <a:pt x="0" y="124"/>
                    </a:lnTo>
                    <a:lnTo>
                      <a:pt x="0" y="124"/>
                    </a:lnTo>
                    <a:lnTo>
                      <a:pt x="3" y="124"/>
                    </a:lnTo>
                    <a:lnTo>
                      <a:pt x="3" y="124"/>
                    </a:lnTo>
                    <a:lnTo>
                      <a:pt x="0" y="125"/>
                    </a:lnTo>
                    <a:lnTo>
                      <a:pt x="0" y="125"/>
                    </a:lnTo>
                    <a:lnTo>
                      <a:pt x="3" y="125"/>
                    </a:lnTo>
                    <a:lnTo>
                      <a:pt x="3" y="125"/>
                    </a:lnTo>
                    <a:lnTo>
                      <a:pt x="5" y="125"/>
                    </a:lnTo>
                    <a:lnTo>
                      <a:pt x="5" y="125"/>
                    </a:lnTo>
                    <a:lnTo>
                      <a:pt x="10" y="125"/>
                    </a:lnTo>
                    <a:lnTo>
                      <a:pt x="10" y="125"/>
                    </a:lnTo>
                    <a:lnTo>
                      <a:pt x="5" y="127"/>
                    </a:lnTo>
                    <a:lnTo>
                      <a:pt x="5" y="127"/>
                    </a:lnTo>
                    <a:lnTo>
                      <a:pt x="3" y="127"/>
                    </a:lnTo>
                    <a:lnTo>
                      <a:pt x="3" y="127"/>
                    </a:lnTo>
                    <a:lnTo>
                      <a:pt x="0" y="128"/>
                    </a:lnTo>
                    <a:lnTo>
                      <a:pt x="0" y="128"/>
                    </a:lnTo>
                    <a:lnTo>
                      <a:pt x="0" y="128"/>
                    </a:lnTo>
                    <a:lnTo>
                      <a:pt x="0" y="128"/>
                    </a:lnTo>
                    <a:lnTo>
                      <a:pt x="0" y="128"/>
                    </a:lnTo>
                    <a:lnTo>
                      <a:pt x="0" y="128"/>
                    </a:lnTo>
                    <a:lnTo>
                      <a:pt x="0" y="132"/>
                    </a:lnTo>
                    <a:lnTo>
                      <a:pt x="0" y="132"/>
                    </a:lnTo>
                    <a:lnTo>
                      <a:pt x="3" y="132"/>
                    </a:lnTo>
                    <a:lnTo>
                      <a:pt x="3" y="132"/>
                    </a:lnTo>
                    <a:lnTo>
                      <a:pt x="5" y="132"/>
                    </a:lnTo>
                    <a:lnTo>
                      <a:pt x="5" y="132"/>
                    </a:lnTo>
                    <a:lnTo>
                      <a:pt x="6" y="128"/>
                    </a:lnTo>
                    <a:lnTo>
                      <a:pt x="6" y="128"/>
                    </a:lnTo>
                    <a:lnTo>
                      <a:pt x="6" y="132"/>
                    </a:lnTo>
                    <a:lnTo>
                      <a:pt x="6" y="132"/>
                    </a:lnTo>
                    <a:lnTo>
                      <a:pt x="5" y="135"/>
                    </a:lnTo>
                    <a:lnTo>
                      <a:pt x="5" y="135"/>
                    </a:lnTo>
                    <a:lnTo>
                      <a:pt x="3" y="135"/>
                    </a:lnTo>
                    <a:lnTo>
                      <a:pt x="3" y="135"/>
                    </a:lnTo>
                    <a:lnTo>
                      <a:pt x="3" y="132"/>
                    </a:lnTo>
                    <a:lnTo>
                      <a:pt x="3" y="132"/>
                    </a:lnTo>
                    <a:lnTo>
                      <a:pt x="0" y="135"/>
                    </a:lnTo>
                    <a:lnTo>
                      <a:pt x="0" y="135"/>
                    </a:lnTo>
                    <a:lnTo>
                      <a:pt x="3" y="135"/>
                    </a:lnTo>
                    <a:lnTo>
                      <a:pt x="3" y="135"/>
                    </a:lnTo>
                    <a:lnTo>
                      <a:pt x="3" y="138"/>
                    </a:lnTo>
                    <a:lnTo>
                      <a:pt x="3" y="138"/>
                    </a:lnTo>
                    <a:lnTo>
                      <a:pt x="5" y="138"/>
                    </a:lnTo>
                    <a:lnTo>
                      <a:pt x="5" y="138"/>
                    </a:lnTo>
                    <a:lnTo>
                      <a:pt x="6" y="138"/>
                    </a:lnTo>
                    <a:lnTo>
                      <a:pt x="6" y="138"/>
                    </a:lnTo>
                    <a:lnTo>
                      <a:pt x="8" y="139"/>
                    </a:lnTo>
                    <a:lnTo>
                      <a:pt x="8" y="139"/>
                    </a:lnTo>
                    <a:lnTo>
                      <a:pt x="10" y="138"/>
                    </a:lnTo>
                    <a:lnTo>
                      <a:pt x="10" y="138"/>
                    </a:lnTo>
                    <a:lnTo>
                      <a:pt x="13" y="135"/>
                    </a:lnTo>
                    <a:lnTo>
                      <a:pt x="13" y="135"/>
                    </a:lnTo>
                    <a:lnTo>
                      <a:pt x="16" y="135"/>
                    </a:lnTo>
                    <a:lnTo>
                      <a:pt x="16" y="135"/>
                    </a:lnTo>
                    <a:lnTo>
                      <a:pt x="18" y="135"/>
                    </a:lnTo>
                    <a:lnTo>
                      <a:pt x="18" y="135"/>
                    </a:lnTo>
                    <a:lnTo>
                      <a:pt x="22" y="135"/>
                    </a:lnTo>
                    <a:lnTo>
                      <a:pt x="22" y="135"/>
                    </a:lnTo>
                    <a:lnTo>
                      <a:pt x="18" y="135"/>
                    </a:lnTo>
                    <a:lnTo>
                      <a:pt x="18" y="135"/>
                    </a:lnTo>
                    <a:lnTo>
                      <a:pt x="16" y="138"/>
                    </a:lnTo>
                    <a:lnTo>
                      <a:pt x="16" y="138"/>
                    </a:lnTo>
                    <a:lnTo>
                      <a:pt x="16" y="135"/>
                    </a:lnTo>
                    <a:lnTo>
                      <a:pt x="16" y="135"/>
                    </a:lnTo>
                    <a:lnTo>
                      <a:pt x="16" y="135"/>
                    </a:lnTo>
                    <a:lnTo>
                      <a:pt x="16" y="135"/>
                    </a:lnTo>
                    <a:lnTo>
                      <a:pt x="13" y="138"/>
                    </a:lnTo>
                    <a:lnTo>
                      <a:pt x="13" y="138"/>
                    </a:lnTo>
                    <a:lnTo>
                      <a:pt x="11" y="138"/>
                    </a:lnTo>
                    <a:lnTo>
                      <a:pt x="11" y="138"/>
                    </a:lnTo>
                    <a:lnTo>
                      <a:pt x="13" y="138"/>
                    </a:lnTo>
                    <a:lnTo>
                      <a:pt x="13" y="138"/>
                    </a:lnTo>
                    <a:lnTo>
                      <a:pt x="8" y="139"/>
                    </a:lnTo>
                    <a:lnTo>
                      <a:pt x="8" y="139"/>
                    </a:lnTo>
                    <a:lnTo>
                      <a:pt x="6" y="141"/>
                    </a:lnTo>
                    <a:lnTo>
                      <a:pt x="6" y="141"/>
                    </a:lnTo>
                    <a:lnTo>
                      <a:pt x="8" y="143"/>
                    </a:lnTo>
                    <a:lnTo>
                      <a:pt x="8" y="143"/>
                    </a:lnTo>
                    <a:lnTo>
                      <a:pt x="8" y="144"/>
                    </a:lnTo>
                    <a:lnTo>
                      <a:pt x="8" y="144"/>
                    </a:lnTo>
                    <a:lnTo>
                      <a:pt x="6" y="144"/>
                    </a:lnTo>
                    <a:lnTo>
                      <a:pt x="6" y="144"/>
                    </a:lnTo>
                    <a:lnTo>
                      <a:pt x="5" y="144"/>
                    </a:lnTo>
                    <a:lnTo>
                      <a:pt x="5" y="144"/>
                    </a:lnTo>
                    <a:lnTo>
                      <a:pt x="3" y="146"/>
                    </a:lnTo>
                    <a:lnTo>
                      <a:pt x="3" y="146"/>
                    </a:lnTo>
                    <a:lnTo>
                      <a:pt x="5" y="143"/>
                    </a:lnTo>
                    <a:lnTo>
                      <a:pt x="5" y="143"/>
                    </a:lnTo>
                    <a:lnTo>
                      <a:pt x="3" y="144"/>
                    </a:lnTo>
                    <a:lnTo>
                      <a:pt x="3" y="144"/>
                    </a:lnTo>
                    <a:lnTo>
                      <a:pt x="3" y="147"/>
                    </a:lnTo>
                    <a:lnTo>
                      <a:pt x="3" y="147"/>
                    </a:lnTo>
                    <a:lnTo>
                      <a:pt x="3" y="149"/>
                    </a:lnTo>
                    <a:lnTo>
                      <a:pt x="3" y="149"/>
                    </a:lnTo>
                    <a:lnTo>
                      <a:pt x="3" y="149"/>
                    </a:lnTo>
                    <a:lnTo>
                      <a:pt x="3" y="149"/>
                    </a:lnTo>
                    <a:lnTo>
                      <a:pt x="5" y="149"/>
                    </a:lnTo>
                    <a:lnTo>
                      <a:pt x="5" y="149"/>
                    </a:lnTo>
                    <a:lnTo>
                      <a:pt x="8" y="149"/>
                    </a:lnTo>
                    <a:lnTo>
                      <a:pt x="8" y="149"/>
                    </a:lnTo>
                    <a:lnTo>
                      <a:pt x="8" y="147"/>
                    </a:lnTo>
                    <a:lnTo>
                      <a:pt x="8" y="147"/>
                    </a:lnTo>
                    <a:lnTo>
                      <a:pt x="10" y="147"/>
                    </a:lnTo>
                    <a:lnTo>
                      <a:pt x="10" y="147"/>
                    </a:lnTo>
                    <a:lnTo>
                      <a:pt x="11" y="146"/>
                    </a:lnTo>
                    <a:lnTo>
                      <a:pt x="11" y="146"/>
                    </a:lnTo>
                    <a:lnTo>
                      <a:pt x="13" y="146"/>
                    </a:lnTo>
                    <a:lnTo>
                      <a:pt x="13" y="146"/>
                    </a:lnTo>
                    <a:lnTo>
                      <a:pt x="14" y="146"/>
                    </a:lnTo>
                    <a:lnTo>
                      <a:pt x="14" y="146"/>
                    </a:lnTo>
                    <a:lnTo>
                      <a:pt x="10" y="149"/>
                    </a:lnTo>
                    <a:lnTo>
                      <a:pt x="10" y="149"/>
                    </a:lnTo>
                    <a:lnTo>
                      <a:pt x="11" y="149"/>
                    </a:lnTo>
                    <a:lnTo>
                      <a:pt x="11" y="149"/>
                    </a:lnTo>
                    <a:lnTo>
                      <a:pt x="13" y="149"/>
                    </a:lnTo>
                    <a:lnTo>
                      <a:pt x="13" y="149"/>
                    </a:lnTo>
                    <a:lnTo>
                      <a:pt x="14" y="149"/>
                    </a:lnTo>
                    <a:lnTo>
                      <a:pt x="14" y="149"/>
                    </a:lnTo>
                    <a:lnTo>
                      <a:pt x="11" y="151"/>
                    </a:lnTo>
                    <a:lnTo>
                      <a:pt x="11" y="151"/>
                    </a:lnTo>
                    <a:lnTo>
                      <a:pt x="8" y="152"/>
                    </a:lnTo>
                    <a:lnTo>
                      <a:pt x="8" y="152"/>
                    </a:lnTo>
                    <a:lnTo>
                      <a:pt x="10" y="152"/>
                    </a:lnTo>
                    <a:lnTo>
                      <a:pt x="10" y="152"/>
                    </a:lnTo>
                    <a:lnTo>
                      <a:pt x="10" y="154"/>
                    </a:lnTo>
                    <a:lnTo>
                      <a:pt x="10" y="154"/>
                    </a:lnTo>
                    <a:lnTo>
                      <a:pt x="11" y="155"/>
                    </a:lnTo>
                    <a:lnTo>
                      <a:pt x="11" y="155"/>
                    </a:lnTo>
                    <a:lnTo>
                      <a:pt x="8" y="154"/>
                    </a:lnTo>
                    <a:lnTo>
                      <a:pt x="8" y="154"/>
                    </a:lnTo>
                    <a:lnTo>
                      <a:pt x="5" y="154"/>
                    </a:lnTo>
                    <a:lnTo>
                      <a:pt x="5" y="154"/>
                    </a:lnTo>
                    <a:lnTo>
                      <a:pt x="5" y="155"/>
                    </a:lnTo>
                    <a:lnTo>
                      <a:pt x="5" y="155"/>
                    </a:lnTo>
                    <a:lnTo>
                      <a:pt x="5" y="157"/>
                    </a:lnTo>
                    <a:lnTo>
                      <a:pt x="5" y="157"/>
                    </a:lnTo>
                    <a:lnTo>
                      <a:pt x="8" y="162"/>
                    </a:lnTo>
                    <a:lnTo>
                      <a:pt x="8" y="162"/>
                    </a:lnTo>
                    <a:lnTo>
                      <a:pt x="13" y="163"/>
                    </a:lnTo>
                    <a:lnTo>
                      <a:pt x="13" y="163"/>
                    </a:lnTo>
                    <a:lnTo>
                      <a:pt x="16" y="163"/>
                    </a:lnTo>
                    <a:lnTo>
                      <a:pt x="16" y="163"/>
                    </a:lnTo>
                    <a:lnTo>
                      <a:pt x="18" y="163"/>
                    </a:lnTo>
                    <a:lnTo>
                      <a:pt x="18" y="163"/>
                    </a:lnTo>
                    <a:lnTo>
                      <a:pt x="16" y="163"/>
                    </a:lnTo>
                    <a:lnTo>
                      <a:pt x="16" y="163"/>
                    </a:lnTo>
                    <a:lnTo>
                      <a:pt x="19" y="166"/>
                    </a:lnTo>
                    <a:lnTo>
                      <a:pt x="19" y="166"/>
                    </a:lnTo>
                    <a:lnTo>
                      <a:pt x="22" y="166"/>
                    </a:lnTo>
                    <a:lnTo>
                      <a:pt x="22" y="166"/>
                    </a:lnTo>
                    <a:lnTo>
                      <a:pt x="25" y="166"/>
                    </a:lnTo>
                    <a:lnTo>
                      <a:pt x="25" y="166"/>
                    </a:lnTo>
                    <a:lnTo>
                      <a:pt x="29" y="166"/>
                    </a:lnTo>
                    <a:lnTo>
                      <a:pt x="29" y="166"/>
                    </a:lnTo>
                    <a:lnTo>
                      <a:pt x="35" y="163"/>
                    </a:lnTo>
                    <a:lnTo>
                      <a:pt x="35" y="163"/>
                    </a:lnTo>
                    <a:lnTo>
                      <a:pt x="38" y="160"/>
                    </a:lnTo>
                    <a:lnTo>
                      <a:pt x="38" y="160"/>
                    </a:lnTo>
                    <a:lnTo>
                      <a:pt x="41" y="159"/>
                    </a:lnTo>
                    <a:lnTo>
                      <a:pt x="41" y="159"/>
                    </a:lnTo>
                    <a:lnTo>
                      <a:pt x="41" y="157"/>
                    </a:lnTo>
                    <a:lnTo>
                      <a:pt x="41" y="157"/>
                    </a:lnTo>
                    <a:lnTo>
                      <a:pt x="45" y="157"/>
                    </a:lnTo>
                    <a:lnTo>
                      <a:pt x="45" y="157"/>
                    </a:lnTo>
                    <a:lnTo>
                      <a:pt x="43" y="155"/>
                    </a:lnTo>
                    <a:lnTo>
                      <a:pt x="43" y="155"/>
                    </a:lnTo>
                    <a:lnTo>
                      <a:pt x="46" y="154"/>
                    </a:lnTo>
                    <a:lnTo>
                      <a:pt x="46" y="154"/>
                    </a:lnTo>
                    <a:lnTo>
                      <a:pt x="46" y="152"/>
                    </a:lnTo>
                    <a:lnTo>
                      <a:pt x="46" y="152"/>
                    </a:lnTo>
                    <a:lnTo>
                      <a:pt x="49" y="154"/>
                    </a:lnTo>
                    <a:lnTo>
                      <a:pt x="49" y="154"/>
                    </a:lnTo>
                    <a:lnTo>
                      <a:pt x="49" y="154"/>
                    </a:lnTo>
                    <a:lnTo>
                      <a:pt x="49" y="154"/>
                    </a:lnTo>
                    <a:lnTo>
                      <a:pt x="49" y="152"/>
                    </a:lnTo>
                    <a:lnTo>
                      <a:pt x="49" y="152"/>
                    </a:lnTo>
                    <a:lnTo>
                      <a:pt x="52" y="151"/>
                    </a:lnTo>
                    <a:lnTo>
                      <a:pt x="52" y="151"/>
                    </a:lnTo>
                    <a:lnTo>
                      <a:pt x="56" y="147"/>
                    </a:lnTo>
                    <a:lnTo>
                      <a:pt x="56" y="147"/>
                    </a:lnTo>
                    <a:lnTo>
                      <a:pt x="52" y="146"/>
                    </a:lnTo>
                    <a:lnTo>
                      <a:pt x="52" y="146"/>
                    </a:lnTo>
                    <a:lnTo>
                      <a:pt x="52" y="146"/>
                    </a:lnTo>
                    <a:lnTo>
                      <a:pt x="52" y="146"/>
                    </a:lnTo>
                    <a:lnTo>
                      <a:pt x="56" y="144"/>
                    </a:lnTo>
                    <a:lnTo>
                      <a:pt x="56" y="144"/>
                    </a:lnTo>
                    <a:lnTo>
                      <a:pt x="56" y="146"/>
                    </a:lnTo>
                    <a:lnTo>
                      <a:pt x="56" y="146"/>
                    </a:lnTo>
                    <a:lnTo>
                      <a:pt x="56" y="144"/>
                    </a:lnTo>
                    <a:lnTo>
                      <a:pt x="56" y="144"/>
                    </a:lnTo>
                    <a:lnTo>
                      <a:pt x="56" y="143"/>
                    </a:lnTo>
                    <a:lnTo>
                      <a:pt x="56" y="143"/>
                    </a:lnTo>
                    <a:lnTo>
                      <a:pt x="56" y="141"/>
                    </a:lnTo>
                    <a:lnTo>
                      <a:pt x="56" y="141"/>
                    </a:lnTo>
                    <a:lnTo>
                      <a:pt x="59" y="141"/>
                    </a:lnTo>
                    <a:lnTo>
                      <a:pt x="59" y="141"/>
                    </a:lnTo>
                    <a:lnTo>
                      <a:pt x="56" y="143"/>
                    </a:lnTo>
                    <a:lnTo>
                      <a:pt x="56" y="143"/>
                    </a:lnTo>
                    <a:lnTo>
                      <a:pt x="56" y="144"/>
                    </a:lnTo>
                    <a:lnTo>
                      <a:pt x="56" y="144"/>
                    </a:lnTo>
                    <a:lnTo>
                      <a:pt x="56" y="147"/>
                    </a:lnTo>
                    <a:lnTo>
                      <a:pt x="56" y="147"/>
                    </a:lnTo>
                    <a:lnTo>
                      <a:pt x="59" y="151"/>
                    </a:lnTo>
                    <a:lnTo>
                      <a:pt x="59" y="151"/>
                    </a:lnTo>
                    <a:lnTo>
                      <a:pt x="60" y="152"/>
                    </a:lnTo>
                    <a:lnTo>
                      <a:pt x="60" y="152"/>
                    </a:lnTo>
                    <a:lnTo>
                      <a:pt x="62" y="152"/>
                    </a:lnTo>
                    <a:lnTo>
                      <a:pt x="62" y="152"/>
                    </a:lnTo>
                    <a:lnTo>
                      <a:pt x="62" y="152"/>
                    </a:lnTo>
                    <a:lnTo>
                      <a:pt x="62" y="152"/>
                    </a:lnTo>
                    <a:lnTo>
                      <a:pt x="64" y="152"/>
                    </a:lnTo>
                    <a:lnTo>
                      <a:pt x="64" y="152"/>
                    </a:lnTo>
                    <a:lnTo>
                      <a:pt x="64" y="154"/>
                    </a:lnTo>
                    <a:lnTo>
                      <a:pt x="64" y="154"/>
                    </a:lnTo>
                    <a:lnTo>
                      <a:pt x="65" y="155"/>
                    </a:lnTo>
                    <a:lnTo>
                      <a:pt x="65" y="155"/>
                    </a:lnTo>
                    <a:lnTo>
                      <a:pt x="67" y="154"/>
                    </a:lnTo>
                    <a:lnTo>
                      <a:pt x="67" y="154"/>
                    </a:lnTo>
                    <a:lnTo>
                      <a:pt x="68" y="152"/>
                    </a:lnTo>
                    <a:lnTo>
                      <a:pt x="68" y="152"/>
                    </a:lnTo>
                    <a:lnTo>
                      <a:pt x="68" y="147"/>
                    </a:lnTo>
                    <a:lnTo>
                      <a:pt x="68" y="147"/>
                    </a:lnTo>
                    <a:lnTo>
                      <a:pt x="67" y="146"/>
                    </a:lnTo>
                    <a:lnTo>
                      <a:pt x="67" y="146"/>
                    </a:lnTo>
                    <a:lnTo>
                      <a:pt x="68" y="144"/>
                    </a:lnTo>
                    <a:lnTo>
                      <a:pt x="68" y="144"/>
                    </a:lnTo>
                    <a:lnTo>
                      <a:pt x="68" y="143"/>
                    </a:lnTo>
                    <a:lnTo>
                      <a:pt x="68" y="143"/>
                    </a:lnTo>
                    <a:lnTo>
                      <a:pt x="70" y="141"/>
                    </a:lnTo>
                    <a:lnTo>
                      <a:pt x="70" y="141"/>
                    </a:lnTo>
                    <a:lnTo>
                      <a:pt x="72" y="139"/>
                    </a:lnTo>
                    <a:lnTo>
                      <a:pt x="72" y="139"/>
                    </a:lnTo>
                    <a:lnTo>
                      <a:pt x="73" y="139"/>
                    </a:lnTo>
                    <a:lnTo>
                      <a:pt x="73" y="139"/>
                    </a:lnTo>
                    <a:lnTo>
                      <a:pt x="75" y="138"/>
                    </a:lnTo>
                    <a:lnTo>
                      <a:pt x="75" y="138"/>
                    </a:lnTo>
                    <a:lnTo>
                      <a:pt x="76" y="135"/>
                    </a:lnTo>
                    <a:lnTo>
                      <a:pt x="76" y="135"/>
                    </a:lnTo>
                    <a:lnTo>
                      <a:pt x="75" y="132"/>
                    </a:lnTo>
                    <a:lnTo>
                      <a:pt x="75" y="132"/>
                    </a:lnTo>
                    <a:lnTo>
                      <a:pt x="73" y="128"/>
                    </a:lnTo>
                    <a:lnTo>
                      <a:pt x="73" y="128"/>
                    </a:lnTo>
                    <a:lnTo>
                      <a:pt x="73" y="128"/>
                    </a:lnTo>
                    <a:lnTo>
                      <a:pt x="73" y="128"/>
                    </a:lnTo>
                    <a:lnTo>
                      <a:pt x="75" y="127"/>
                    </a:lnTo>
                    <a:lnTo>
                      <a:pt x="75" y="127"/>
                    </a:lnTo>
                    <a:lnTo>
                      <a:pt x="78" y="125"/>
                    </a:lnTo>
                    <a:lnTo>
                      <a:pt x="78" y="125"/>
                    </a:lnTo>
                    <a:lnTo>
                      <a:pt x="79" y="124"/>
                    </a:lnTo>
                    <a:lnTo>
                      <a:pt x="79" y="124"/>
                    </a:lnTo>
                    <a:lnTo>
                      <a:pt x="78" y="122"/>
                    </a:lnTo>
                    <a:lnTo>
                      <a:pt x="78" y="122"/>
                    </a:lnTo>
                    <a:lnTo>
                      <a:pt x="78" y="120"/>
                    </a:lnTo>
                    <a:lnTo>
                      <a:pt x="78" y="120"/>
                    </a:lnTo>
                    <a:lnTo>
                      <a:pt x="75" y="119"/>
                    </a:lnTo>
                    <a:lnTo>
                      <a:pt x="75" y="119"/>
                    </a:lnTo>
                    <a:lnTo>
                      <a:pt x="72" y="117"/>
                    </a:lnTo>
                    <a:lnTo>
                      <a:pt x="72" y="117"/>
                    </a:lnTo>
                    <a:lnTo>
                      <a:pt x="72" y="114"/>
                    </a:lnTo>
                    <a:lnTo>
                      <a:pt x="72" y="114"/>
                    </a:lnTo>
                    <a:lnTo>
                      <a:pt x="72" y="109"/>
                    </a:lnTo>
                    <a:lnTo>
                      <a:pt x="72" y="109"/>
                    </a:lnTo>
                    <a:lnTo>
                      <a:pt x="72" y="106"/>
                    </a:lnTo>
                    <a:lnTo>
                      <a:pt x="72" y="106"/>
                    </a:lnTo>
                    <a:lnTo>
                      <a:pt x="70" y="105"/>
                    </a:lnTo>
                    <a:lnTo>
                      <a:pt x="70" y="105"/>
                    </a:lnTo>
                    <a:lnTo>
                      <a:pt x="70" y="103"/>
                    </a:lnTo>
                    <a:lnTo>
                      <a:pt x="70" y="103"/>
                    </a:lnTo>
                    <a:lnTo>
                      <a:pt x="72" y="101"/>
                    </a:lnTo>
                    <a:lnTo>
                      <a:pt x="72" y="101"/>
                    </a:lnTo>
                    <a:lnTo>
                      <a:pt x="70" y="98"/>
                    </a:lnTo>
                    <a:lnTo>
                      <a:pt x="70" y="98"/>
                    </a:lnTo>
                    <a:lnTo>
                      <a:pt x="70" y="95"/>
                    </a:lnTo>
                    <a:lnTo>
                      <a:pt x="70" y="95"/>
                    </a:lnTo>
                    <a:lnTo>
                      <a:pt x="72" y="93"/>
                    </a:lnTo>
                    <a:lnTo>
                      <a:pt x="72" y="93"/>
                    </a:lnTo>
                    <a:lnTo>
                      <a:pt x="72" y="92"/>
                    </a:lnTo>
                    <a:lnTo>
                      <a:pt x="72" y="92"/>
                    </a:lnTo>
                    <a:lnTo>
                      <a:pt x="73" y="90"/>
                    </a:lnTo>
                    <a:lnTo>
                      <a:pt x="73" y="90"/>
                    </a:lnTo>
                    <a:lnTo>
                      <a:pt x="76" y="89"/>
                    </a:lnTo>
                    <a:lnTo>
                      <a:pt x="76" y="89"/>
                    </a:lnTo>
                    <a:lnTo>
                      <a:pt x="81" y="87"/>
                    </a:lnTo>
                    <a:lnTo>
                      <a:pt x="81" y="87"/>
                    </a:lnTo>
                    <a:lnTo>
                      <a:pt x="84" y="87"/>
                    </a:lnTo>
                    <a:lnTo>
                      <a:pt x="84" y="87"/>
                    </a:lnTo>
                    <a:lnTo>
                      <a:pt x="87" y="87"/>
                    </a:lnTo>
                    <a:lnTo>
                      <a:pt x="87" y="87"/>
                    </a:lnTo>
                    <a:lnTo>
                      <a:pt x="91" y="86"/>
                    </a:lnTo>
                    <a:lnTo>
                      <a:pt x="91" y="86"/>
                    </a:lnTo>
                    <a:lnTo>
                      <a:pt x="91" y="84"/>
                    </a:lnTo>
                    <a:lnTo>
                      <a:pt x="91" y="84"/>
                    </a:lnTo>
                    <a:lnTo>
                      <a:pt x="91" y="82"/>
                    </a:lnTo>
                    <a:lnTo>
                      <a:pt x="91" y="82"/>
                    </a:lnTo>
                    <a:lnTo>
                      <a:pt x="87" y="82"/>
                    </a:lnTo>
                    <a:lnTo>
                      <a:pt x="87" y="82"/>
                    </a:lnTo>
                    <a:lnTo>
                      <a:pt x="84" y="82"/>
                    </a:lnTo>
                    <a:lnTo>
                      <a:pt x="84" y="82"/>
                    </a:lnTo>
                    <a:lnTo>
                      <a:pt x="91" y="76"/>
                    </a:lnTo>
                    <a:lnTo>
                      <a:pt x="91" y="76"/>
                    </a:lnTo>
                    <a:lnTo>
                      <a:pt x="94" y="73"/>
                    </a:lnTo>
                    <a:lnTo>
                      <a:pt x="94" y="73"/>
                    </a:lnTo>
                    <a:lnTo>
                      <a:pt x="94" y="70"/>
                    </a:lnTo>
                    <a:lnTo>
                      <a:pt x="94" y="70"/>
                    </a:lnTo>
                    <a:lnTo>
                      <a:pt x="94" y="66"/>
                    </a:lnTo>
                    <a:lnTo>
                      <a:pt x="94" y="66"/>
                    </a:lnTo>
                    <a:lnTo>
                      <a:pt x="94" y="62"/>
                    </a:lnTo>
                    <a:lnTo>
                      <a:pt x="94" y="62"/>
                    </a:lnTo>
                    <a:lnTo>
                      <a:pt x="97" y="62"/>
                    </a:lnTo>
                    <a:lnTo>
                      <a:pt x="97" y="62"/>
                    </a:lnTo>
                    <a:lnTo>
                      <a:pt x="102" y="60"/>
                    </a:lnTo>
                    <a:lnTo>
                      <a:pt x="102" y="60"/>
                    </a:lnTo>
                    <a:lnTo>
                      <a:pt x="102" y="59"/>
                    </a:lnTo>
                    <a:lnTo>
                      <a:pt x="102" y="59"/>
                    </a:lnTo>
                    <a:lnTo>
                      <a:pt x="102" y="57"/>
                    </a:lnTo>
                    <a:lnTo>
                      <a:pt x="102" y="57"/>
                    </a:lnTo>
                    <a:lnTo>
                      <a:pt x="102" y="55"/>
                    </a:lnTo>
                    <a:lnTo>
                      <a:pt x="102" y="55"/>
                    </a:lnTo>
                    <a:lnTo>
                      <a:pt x="103" y="55"/>
                    </a:lnTo>
                    <a:lnTo>
                      <a:pt x="103" y="55"/>
                    </a:lnTo>
                    <a:lnTo>
                      <a:pt x="111" y="49"/>
                    </a:lnTo>
                    <a:lnTo>
                      <a:pt x="111" y="49"/>
                    </a:lnTo>
                    <a:lnTo>
                      <a:pt x="111" y="47"/>
                    </a:lnTo>
                    <a:lnTo>
                      <a:pt x="111" y="47"/>
                    </a:lnTo>
                    <a:lnTo>
                      <a:pt x="110" y="47"/>
                    </a:lnTo>
                    <a:lnTo>
                      <a:pt x="110" y="47"/>
                    </a:lnTo>
                    <a:lnTo>
                      <a:pt x="108" y="44"/>
                    </a:lnTo>
                    <a:lnTo>
                      <a:pt x="108" y="44"/>
                    </a:lnTo>
                    <a:lnTo>
                      <a:pt x="111" y="41"/>
                    </a:lnTo>
                    <a:lnTo>
                      <a:pt x="111" y="41"/>
                    </a:lnTo>
                    <a:lnTo>
                      <a:pt x="116" y="38"/>
                    </a:lnTo>
                    <a:lnTo>
                      <a:pt x="116" y="38"/>
                    </a:lnTo>
                    <a:lnTo>
                      <a:pt x="119" y="38"/>
                    </a:lnTo>
                    <a:lnTo>
                      <a:pt x="119" y="38"/>
                    </a:lnTo>
                    <a:lnTo>
                      <a:pt x="122" y="38"/>
                    </a:lnTo>
                    <a:lnTo>
                      <a:pt x="122" y="38"/>
                    </a:lnTo>
                    <a:lnTo>
                      <a:pt x="124" y="38"/>
                    </a:lnTo>
                    <a:lnTo>
                      <a:pt x="124" y="38"/>
                    </a:lnTo>
                    <a:lnTo>
                      <a:pt x="126" y="36"/>
                    </a:lnTo>
                    <a:lnTo>
                      <a:pt x="126" y="36"/>
                    </a:lnTo>
                    <a:lnTo>
                      <a:pt x="126" y="33"/>
                    </a:lnTo>
                    <a:lnTo>
                      <a:pt x="126" y="33"/>
                    </a:lnTo>
                    <a:lnTo>
                      <a:pt x="126" y="32"/>
                    </a:lnTo>
                    <a:lnTo>
                      <a:pt x="126" y="32"/>
                    </a:lnTo>
                    <a:lnTo>
                      <a:pt x="127" y="32"/>
                    </a:lnTo>
                    <a:lnTo>
                      <a:pt x="127" y="32"/>
                    </a:lnTo>
                    <a:lnTo>
                      <a:pt x="129" y="32"/>
                    </a:lnTo>
                    <a:lnTo>
                      <a:pt x="129" y="32"/>
                    </a:lnTo>
                    <a:lnTo>
                      <a:pt x="132" y="32"/>
                    </a:lnTo>
                    <a:lnTo>
                      <a:pt x="132" y="32"/>
                    </a:lnTo>
                    <a:lnTo>
                      <a:pt x="138" y="33"/>
                    </a:lnTo>
                    <a:lnTo>
                      <a:pt x="138" y="33"/>
                    </a:lnTo>
                    <a:lnTo>
                      <a:pt x="143" y="33"/>
                    </a:lnTo>
                    <a:lnTo>
                      <a:pt x="143" y="33"/>
                    </a:lnTo>
                    <a:lnTo>
                      <a:pt x="146" y="32"/>
                    </a:lnTo>
                    <a:lnTo>
                      <a:pt x="146" y="32"/>
                    </a:lnTo>
                    <a:lnTo>
                      <a:pt x="143" y="32"/>
                    </a:lnTo>
                    <a:lnTo>
                      <a:pt x="143" y="32"/>
                    </a:lnTo>
                    <a:lnTo>
                      <a:pt x="146" y="28"/>
                    </a:lnTo>
                    <a:lnTo>
                      <a:pt x="146" y="28"/>
                    </a:lnTo>
                    <a:lnTo>
                      <a:pt x="146" y="27"/>
                    </a:lnTo>
                    <a:lnTo>
                      <a:pt x="146" y="27"/>
                    </a:lnTo>
                    <a:lnTo>
                      <a:pt x="143" y="25"/>
                    </a:lnTo>
                    <a:lnTo>
                      <a:pt x="143" y="25"/>
                    </a:lnTo>
                    <a:lnTo>
                      <a:pt x="149" y="25"/>
                    </a:lnTo>
                    <a:lnTo>
                      <a:pt x="149" y="25"/>
                    </a:lnTo>
                    <a:lnTo>
                      <a:pt x="149" y="25"/>
                    </a:lnTo>
                    <a:lnTo>
                      <a:pt x="149" y="25"/>
                    </a:lnTo>
                    <a:lnTo>
                      <a:pt x="152" y="24"/>
                    </a:lnTo>
                    <a:lnTo>
                      <a:pt x="151" y="24"/>
                    </a:lnTo>
                    <a:lnTo>
                      <a:pt x="151" y="24"/>
                    </a:lnTo>
                    <a:lnTo>
                      <a:pt x="151" y="24"/>
                    </a:lnTo>
                    <a:close/>
                    <a:moveTo>
                      <a:pt x="3" y="128"/>
                    </a:moveTo>
                    <a:lnTo>
                      <a:pt x="3" y="128"/>
                    </a:lnTo>
                    <a:lnTo>
                      <a:pt x="3" y="132"/>
                    </a:lnTo>
                    <a:lnTo>
                      <a:pt x="3" y="132"/>
                    </a:lnTo>
                    <a:lnTo>
                      <a:pt x="3" y="128"/>
                    </a:lnTo>
                    <a:lnTo>
                      <a:pt x="3" y="128"/>
                    </a:lnTo>
                    <a:lnTo>
                      <a:pt x="5" y="128"/>
                    </a:lnTo>
                    <a:lnTo>
                      <a:pt x="3" y="128"/>
                    </a:lnTo>
                    <a:lnTo>
                      <a:pt x="3" y="128"/>
                    </a:lnTo>
                    <a:lnTo>
                      <a:pt x="3" y="128"/>
                    </a:lnTo>
                    <a:close/>
                    <a:moveTo>
                      <a:pt x="5" y="147"/>
                    </a:moveTo>
                    <a:lnTo>
                      <a:pt x="5" y="147"/>
                    </a:lnTo>
                    <a:lnTo>
                      <a:pt x="3" y="147"/>
                    </a:lnTo>
                    <a:lnTo>
                      <a:pt x="3" y="147"/>
                    </a:lnTo>
                    <a:lnTo>
                      <a:pt x="5" y="146"/>
                    </a:lnTo>
                    <a:lnTo>
                      <a:pt x="5" y="147"/>
                    </a:lnTo>
                    <a:lnTo>
                      <a:pt x="5" y="147"/>
                    </a:lnTo>
                    <a:lnTo>
                      <a:pt x="5" y="147"/>
                    </a:lnTo>
                    <a:close/>
                    <a:moveTo>
                      <a:pt x="10" y="117"/>
                    </a:moveTo>
                    <a:lnTo>
                      <a:pt x="10" y="117"/>
                    </a:lnTo>
                    <a:lnTo>
                      <a:pt x="10" y="116"/>
                    </a:lnTo>
                    <a:lnTo>
                      <a:pt x="10" y="116"/>
                    </a:lnTo>
                    <a:lnTo>
                      <a:pt x="8" y="116"/>
                    </a:lnTo>
                    <a:lnTo>
                      <a:pt x="8" y="116"/>
                    </a:lnTo>
                    <a:lnTo>
                      <a:pt x="6" y="116"/>
                    </a:lnTo>
                    <a:lnTo>
                      <a:pt x="6" y="116"/>
                    </a:lnTo>
                    <a:lnTo>
                      <a:pt x="10" y="114"/>
                    </a:lnTo>
                    <a:lnTo>
                      <a:pt x="10" y="114"/>
                    </a:lnTo>
                    <a:lnTo>
                      <a:pt x="13" y="116"/>
                    </a:lnTo>
                    <a:lnTo>
                      <a:pt x="10" y="117"/>
                    </a:lnTo>
                    <a:lnTo>
                      <a:pt x="10" y="117"/>
                    </a:lnTo>
                    <a:lnTo>
                      <a:pt x="10" y="117"/>
                    </a:lnTo>
                    <a:close/>
                    <a:moveTo>
                      <a:pt x="22" y="125"/>
                    </a:moveTo>
                    <a:lnTo>
                      <a:pt x="22" y="125"/>
                    </a:lnTo>
                    <a:lnTo>
                      <a:pt x="21" y="127"/>
                    </a:lnTo>
                    <a:lnTo>
                      <a:pt x="21" y="127"/>
                    </a:lnTo>
                    <a:lnTo>
                      <a:pt x="22" y="128"/>
                    </a:lnTo>
                    <a:lnTo>
                      <a:pt x="22" y="128"/>
                    </a:lnTo>
                    <a:lnTo>
                      <a:pt x="19" y="128"/>
                    </a:lnTo>
                    <a:lnTo>
                      <a:pt x="19" y="128"/>
                    </a:lnTo>
                    <a:lnTo>
                      <a:pt x="21" y="127"/>
                    </a:lnTo>
                    <a:lnTo>
                      <a:pt x="21" y="127"/>
                    </a:lnTo>
                    <a:lnTo>
                      <a:pt x="19" y="127"/>
                    </a:lnTo>
                    <a:lnTo>
                      <a:pt x="19" y="127"/>
                    </a:lnTo>
                    <a:lnTo>
                      <a:pt x="18" y="125"/>
                    </a:lnTo>
                    <a:lnTo>
                      <a:pt x="18" y="125"/>
                    </a:lnTo>
                    <a:lnTo>
                      <a:pt x="16" y="125"/>
                    </a:lnTo>
                    <a:lnTo>
                      <a:pt x="16" y="125"/>
                    </a:lnTo>
                    <a:lnTo>
                      <a:pt x="14" y="125"/>
                    </a:lnTo>
                    <a:lnTo>
                      <a:pt x="14" y="125"/>
                    </a:lnTo>
                    <a:lnTo>
                      <a:pt x="16" y="124"/>
                    </a:lnTo>
                    <a:lnTo>
                      <a:pt x="16" y="124"/>
                    </a:lnTo>
                    <a:lnTo>
                      <a:pt x="18" y="124"/>
                    </a:lnTo>
                    <a:lnTo>
                      <a:pt x="18" y="124"/>
                    </a:lnTo>
                    <a:lnTo>
                      <a:pt x="22" y="124"/>
                    </a:lnTo>
                    <a:lnTo>
                      <a:pt x="22" y="124"/>
                    </a:lnTo>
                    <a:lnTo>
                      <a:pt x="21" y="125"/>
                    </a:lnTo>
                    <a:lnTo>
                      <a:pt x="22" y="125"/>
                    </a:lnTo>
                    <a:lnTo>
                      <a:pt x="22" y="125"/>
                    </a:lnTo>
                    <a:lnTo>
                      <a:pt x="22" y="125"/>
                    </a:lnTo>
                    <a:close/>
                    <a:moveTo>
                      <a:pt x="22" y="111"/>
                    </a:moveTo>
                    <a:lnTo>
                      <a:pt x="22" y="111"/>
                    </a:lnTo>
                    <a:lnTo>
                      <a:pt x="19" y="112"/>
                    </a:lnTo>
                    <a:lnTo>
                      <a:pt x="19" y="112"/>
                    </a:lnTo>
                    <a:lnTo>
                      <a:pt x="21" y="111"/>
                    </a:lnTo>
                    <a:lnTo>
                      <a:pt x="21" y="111"/>
                    </a:lnTo>
                    <a:lnTo>
                      <a:pt x="21" y="109"/>
                    </a:lnTo>
                    <a:lnTo>
                      <a:pt x="21" y="109"/>
                    </a:lnTo>
                    <a:lnTo>
                      <a:pt x="19" y="108"/>
                    </a:lnTo>
                    <a:lnTo>
                      <a:pt x="19" y="108"/>
                    </a:lnTo>
                    <a:lnTo>
                      <a:pt x="22" y="109"/>
                    </a:lnTo>
                    <a:lnTo>
                      <a:pt x="22" y="109"/>
                    </a:lnTo>
                    <a:lnTo>
                      <a:pt x="21" y="111"/>
                    </a:lnTo>
                    <a:lnTo>
                      <a:pt x="22" y="111"/>
                    </a:lnTo>
                    <a:lnTo>
                      <a:pt x="22" y="111"/>
                    </a:lnTo>
                    <a:lnTo>
                      <a:pt x="22" y="111"/>
                    </a:lnTo>
                    <a:close/>
                    <a:moveTo>
                      <a:pt x="25" y="124"/>
                    </a:moveTo>
                    <a:lnTo>
                      <a:pt x="25" y="124"/>
                    </a:lnTo>
                    <a:lnTo>
                      <a:pt x="24" y="125"/>
                    </a:lnTo>
                    <a:lnTo>
                      <a:pt x="24" y="125"/>
                    </a:lnTo>
                    <a:lnTo>
                      <a:pt x="24" y="124"/>
                    </a:lnTo>
                    <a:lnTo>
                      <a:pt x="24" y="124"/>
                    </a:lnTo>
                    <a:lnTo>
                      <a:pt x="24" y="122"/>
                    </a:lnTo>
                    <a:lnTo>
                      <a:pt x="24" y="122"/>
                    </a:lnTo>
                    <a:lnTo>
                      <a:pt x="25" y="120"/>
                    </a:lnTo>
                    <a:lnTo>
                      <a:pt x="25" y="120"/>
                    </a:lnTo>
                    <a:lnTo>
                      <a:pt x="25" y="124"/>
                    </a:lnTo>
                    <a:lnTo>
                      <a:pt x="25" y="124"/>
                    </a:lnTo>
                    <a:lnTo>
                      <a:pt x="25" y="124"/>
                    </a:lnTo>
                    <a:lnTo>
                      <a:pt x="25" y="124"/>
                    </a:lnTo>
                    <a:close/>
                    <a:moveTo>
                      <a:pt x="29" y="105"/>
                    </a:moveTo>
                    <a:lnTo>
                      <a:pt x="29" y="105"/>
                    </a:lnTo>
                    <a:lnTo>
                      <a:pt x="30" y="105"/>
                    </a:lnTo>
                    <a:lnTo>
                      <a:pt x="30" y="105"/>
                    </a:lnTo>
                    <a:lnTo>
                      <a:pt x="32" y="105"/>
                    </a:lnTo>
                    <a:lnTo>
                      <a:pt x="29" y="105"/>
                    </a:lnTo>
                    <a:lnTo>
                      <a:pt x="29" y="105"/>
                    </a:lnTo>
                    <a:lnTo>
                      <a:pt x="29" y="105"/>
                    </a:lnTo>
                    <a:close/>
                    <a:moveTo>
                      <a:pt x="76" y="71"/>
                    </a:moveTo>
                    <a:lnTo>
                      <a:pt x="76" y="71"/>
                    </a:lnTo>
                    <a:lnTo>
                      <a:pt x="75" y="70"/>
                    </a:lnTo>
                    <a:lnTo>
                      <a:pt x="75" y="70"/>
                    </a:lnTo>
                    <a:lnTo>
                      <a:pt x="78" y="70"/>
                    </a:lnTo>
                    <a:lnTo>
                      <a:pt x="76" y="71"/>
                    </a:lnTo>
                    <a:lnTo>
                      <a:pt x="76" y="71"/>
                    </a:lnTo>
                    <a:lnTo>
                      <a:pt x="76" y="71"/>
                    </a:lnTo>
                    <a:close/>
                    <a:moveTo>
                      <a:pt x="118" y="35"/>
                    </a:moveTo>
                    <a:lnTo>
                      <a:pt x="118" y="35"/>
                    </a:lnTo>
                    <a:lnTo>
                      <a:pt x="116" y="33"/>
                    </a:lnTo>
                    <a:lnTo>
                      <a:pt x="116" y="33"/>
                    </a:lnTo>
                    <a:lnTo>
                      <a:pt x="119" y="33"/>
                    </a:lnTo>
                    <a:lnTo>
                      <a:pt x="118" y="35"/>
                    </a:lnTo>
                    <a:lnTo>
                      <a:pt x="118" y="35"/>
                    </a:lnTo>
                    <a:lnTo>
                      <a:pt x="118" y="35"/>
                    </a:lnTo>
                    <a:close/>
                    <a:moveTo>
                      <a:pt x="137" y="24"/>
                    </a:moveTo>
                    <a:lnTo>
                      <a:pt x="137" y="24"/>
                    </a:lnTo>
                    <a:lnTo>
                      <a:pt x="135" y="20"/>
                    </a:lnTo>
                    <a:lnTo>
                      <a:pt x="135" y="20"/>
                    </a:lnTo>
                    <a:lnTo>
                      <a:pt x="137" y="20"/>
                    </a:lnTo>
                    <a:lnTo>
                      <a:pt x="137" y="24"/>
                    </a:lnTo>
                    <a:lnTo>
                      <a:pt x="137" y="24"/>
                    </a:lnTo>
                    <a:lnTo>
                      <a:pt x="137" y="2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70" name="Freeform 343">
                <a:extLst>
                  <a:ext uri="{FF2B5EF4-FFF2-40B4-BE49-F238E27FC236}">
                    <a16:creationId xmlns:a16="http://schemas.microsoft.com/office/drawing/2014/main" id="{5ACD509A-879F-DABF-DCE1-1770141E4C47}"/>
                  </a:ext>
                </a:extLst>
              </p:cNvPr>
              <p:cNvSpPr>
                <a:spLocks noEditPoints="1"/>
              </p:cNvSpPr>
              <p:nvPr/>
            </p:nvSpPr>
            <p:spPr bwMode="auto">
              <a:xfrm>
                <a:off x="5560566" y="2616461"/>
                <a:ext cx="340947" cy="246738"/>
              </a:xfrm>
              <a:custGeom>
                <a:avLst/>
                <a:gdLst>
                  <a:gd name="T0" fmla="*/ 141 w 152"/>
                  <a:gd name="T1" fmla="*/ 26 h 110"/>
                  <a:gd name="T2" fmla="*/ 143 w 152"/>
                  <a:gd name="T3" fmla="*/ 19 h 110"/>
                  <a:gd name="T4" fmla="*/ 136 w 152"/>
                  <a:gd name="T5" fmla="*/ 19 h 110"/>
                  <a:gd name="T6" fmla="*/ 130 w 152"/>
                  <a:gd name="T7" fmla="*/ 19 h 110"/>
                  <a:gd name="T8" fmla="*/ 122 w 152"/>
                  <a:gd name="T9" fmla="*/ 16 h 110"/>
                  <a:gd name="T10" fmla="*/ 114 w 152"/>
                  <a:gd name="T11" fmla="*/ 15 h 110"/>
                  <a:gd name="T12" fmla="*/ 106 w 152"/>
                  <a:gd name="T13" fmla="*/ 16 h 110"/>
                  <a:gd name="T14" fmla="*/ 101 w 152"/>
                  <a:gd name="T15" fmla="*/ 15 h 110"/>
                  <a:gd name="T16" fmla="*/ 90 w 152"/>
                  <a:gd name="T17" fmla="*/ 11 h 110"/>
                  <a:gd name="T18" fmla="*/ 85 w 152"/>
                  <a:gd name="T19" fmla="*/ 7 h 110"/>
                  <a:gd name="T20" fmla="*/ 71 w 152"/>
                  <a:gd name="T21" fmla="*/ 7 h 110"/>
                  <a:gd name="T22" fmla="*/ 55 w 152"/>
                  <a:gd name="T23" fmla="*/ 5 h 110"/>
                  <a:gd name="T24" fmla="*/ 30 w 152"/>
                  <a:gd name="T25" fmla="*/ 4 h 110"/>
                  <a:gd name="T26" fmla="*/ 20 w 152"/>
                  <a:gd name="T27" fmla="*/ 2 h 110"/>
                  <a:gd name="T28" fmla="*/ 14 w 152"/>
                  <a:gd name="T29" fmla="*/ 0 h 110"/>
                  <a:gd name="T30" fmla="*/ 11 w 152"/>
                  <a:gd name="T31" fmla="*/ 5 h 110"/>
                  <a:gd name="T32" fmla="*/ 1 w 152"/>
                  <a:gd name="T33" fmla="*/ 10 h 110"/>
                  <a:gd name="T34" fmla="*/ 3 w 152"/>
                  <a:gd name="T35" fmla="*/ 15 h 110"/>
                  <a:gd name="T36" fmla="*/ 3 w 152"/>
                  <a:gd name="T37" fmla="*/ 16 h 110"/>
                  <a:gd name="T38" fmla="*/ 4 w 152"/>
                  <a:gd name="T39" fmla="*/ 19 h 110"/>
                  <a:gd name="T40" fmla="*/ 3 w 152"/>
                  <a:gd name="T41" fmla="*/ 26 h 110"/>
                  <a:gd name="T42" fmla="*/ 4 w 152"/>
                  <a:gd name="T43" fmla="*/ 26 h 110"/>
                  <a:gd name="T44" fmla="*/ 11 w 152"/>
                  <a:gd name="T45" fmla="*/ 26 h 110"/>
                  <a:gd name="T46" fmla="*/ 11 w 152"/>
                  <a:gd name="T47" fmla="*/ 27 h 110"/>
                  <a:gd name="T48" fmla="*/ 19 w 152"/>
                  <a:gd name="T49" fmla="*/ 27 h 110"/>
                  <a:gd name="T50" fmla="*/ 25 w 152"/>
                  <a:gd name="T51" fmla="*/ 26 h 110"/>
                  <a:gd name="T52" fmla="*/ 30 w 152"/>
                  <a:gd name="T53" fmla="*/ 30 h 110"/>
                  <a:gd name="T54" fmla="*/ 27 w 152"/>
                  <a:gd name="T55" fmla="*/ 37 h 110"/>
                  <a:gd name="T56" fmla="*/ 23 w 152"/>
                  <a:gd name="T57" fmla="*/ 46 h 110"/>
                  <a:gd name="T58" fmla="*/ 22 w 152"/>
                  <a:gd name="T59" fmla="*/ 51 h 110"/>
                  <a:gd name="T60" fmla="*/ 20 w 152"/>
                  <a:gd name="T61" fmla="*/ 57 h 110"/>
                  <a:gd name="T62" fmla="*/ 17 w 152"/>
                  <a:gd name="T63" fmla="*/ 61 h 110"/>
                  <a:gd name="T64" fmla="*/ 20 w 152"/>
                  <a:gd name="T65" fmla="*/ 69 h 110"/>
                  <a:gd name="T66" fmla="*/ 17 w 152"/>
                  <a:gd name="T67" fmla="*/ 75 h 110"/>
                  <a:gd name="T68" fmla="*/ 20 w 152"/>
                  <a:gd name="T69" fmla="*/ 78 h 110"/>
                  <a:gd name="T70" fmla="*/ 14 w 152"/>
                  <a:gd name="T71" fmla="*/ 86 h 110"/>
                  <a:gd name="T72" fmla="*/ 17 w 152"/>
                  <a:gd name="T73" fmla="*/ 92 h 110"/>
                  <a:gd name="T74" fmla="*/ 22 w 152"/>
                  <a:gd name="T75" fmla="*/ 96 h 110"/>
                  <a:gd name="T76" fmla="*/ 27 w 152"/>
                  <a:gd name="T77" fmla="*/ 102 h 110"/>
                  <a:gd name="T78" fmla="*/ 28 w 152"/>
                  <a:gd name="T79" fmla="*/ 107 h 110"/>
                  <a:gd name="T80" fmla="*/ 36 w 152"/>
                  <a:gd name="T81" fmla="*/ 110 h 110"/>
                  <a:gd name="T82" fmla="*/ 46 w 152"/>
                  <a:gd name="T83" fmla="*/ 105 h 110"/>
                  <a:gd name="T84" fmla="*/ 65 w 152"/>
                  <a:gd name="T85" fmla="*/ 99 h 110"/>
                  <a:gd name="T86" fmla="*/ 74 w 152"/>
                  <a:gd name="T87" fmla="*/ 99 h 110"/>
                  <a:gd name="T88" fmla="*/ 84 w 152"/>
                  <a:gd name="T89" fmla="*/ 91 h 110"/>
                  <a:gd name="T90" fmla="*/ 93 w 152"/>
                  <a:gd name="T91" fmla="*/ 86 h 110"/>
                  <a:gd name="T92" fmla="*/ 104 w 152"/>
                  <a:gd name="T93" fmla="*/ 72 h 110"/>
                  <a:gd name="T94" fmla="*/ 101 w 152"/>
                  <a:gd name="T95" fmla="*/ 61 h 110"/>
                  <a:gd name="T96" fmla="*/ 111 w 152"/>
                  <a:gd name="T97" fmla="*/ 46 h 110"/>
                  <a:gd name="T98" fmla="*/ 117 w 152"/>
                  <a:gd name="T99" fmla="*/ 40 h 110"/>
                  <a:gd name="T100" fmla="*/ 139 w 152"/>
                  <a:gd name="T101" fmla="*/ 30 h 110"/>
                  <a:gd name="T102" fmla="*/ 27 w 152"/>
                  <a:gd name="T103" fmla="*/ 99 h 110"/>
                  <a:gd name="T104" fmla="*/ 133 w 152"/>
                  <a:gd name="T105" fmla="*/ 57 h 110"/>
                  <a:gd name="T106" fmla="*/ 136 w 152"/>
                  <a:gd name="T107" fmla="*/ 64 h 110"/>
                  <a:gd name="T108" fmla="*/ 144 w 152"/>
                  <a:gd name="T109" fmla="*/ 59 h 110"/>
                  <a:gd name="T110" fmla="*/ 120 w 152"/>
                  <a:gd name="T111" fmla="*/ 69 h 110"/>
                  <a:gd name="T112" fmla="*/ 123 w 152"/>
                  <a:gd name="T113" fmla="*/ 67 h 110"/>
                  <a:gd name="T114" fmla="*/ 149 w 152"/>
                  <a:gd name="T115" fmla="*/ 54 h 110"/>
                  <a:gd name="T116" fmla="*/ 152 w 152"/>
                  <a:gd name="T117" fmla="*/ 5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0">
                    <a:moveTo>
                      <a:pt x="139" y="30"/>
                    </a:moveTo>
                    <a:lnTo>
                      <a:pt x="139" y="30"/>
                    </a:lnTo>
                    <a:lnTo>
                      <a:pt x="139" y="29"/>
                    </a:lnTo>
                    <a:lnTo>
                      <a:pt x="139" y="29"/>
                    </a:lnTo>
                    <a:lnTo>
                      <a:pt x="141" y="26"/>
                    </a:lnTo>
                    <a:lnTo>
                      <a:pt x="141" y="26"/>
                    </a:lnTo>
                    <a:lnTo>
                      <a:pt x="141" y="26"/>
                    </a:lnTo>
                    <a:lnTo>
                      <a:pt x="141" y="26"/>
                    </a:lnTo>
                    <a:lnTo>
                      <a:pt x="141" y="23"/>
                    </a:lnTo>
                    <a:lnTo>
                      <a:pt x="141" y="23"/>
                    </a:lnTo>
                    <a:lnTo>
                      <a:pt x="141" y="23"/>
                    </a:lnTo>
                    <a:lnTo>
                      <a:pt x="143" y="23"/>
                    </a:lnTo>
                    <a:lnTo>
                      <a:pt x="143" y="23"/>
                    </a:lnTo>
                    <a:lnTo>
                      <a:pt x="143" y="23"/>
                    </a:lnTo>
                    <a:lnTo>
                      <a:pt x="143" y="23"/>
                    </a:lnTo>
                    <a:lnTo>
                      <a:pt x="143" y="19"/>
                    </a:lnTo>
                    <a:lnTo>
                      <a:pt x="143" y="19"/>
                    </a:lnTo>
                    <a:lnTo>
                      <a:pt x="141" y="19"/>
                    </a:lnTo>
                    <a:lnTo>
                      <a:pt x="141" y="19"/>
                    </a:lnTo>
                    <a:lnTo>
                      <a:pt x="139" y="19"/>
                    </a:lnTo>
                    <a:lnTo>
                      <a:pt x="139" y="19"/>
                    </a:lnTo>
                    <a:lnTo>
                      <a:pt x="136" y="19"/>
                    </a:lnTo>
                    <a:lnTo>
                      <a:pt x="136" y="19"/>
                    </a:lnTo>
                    <a:lnTo>
                      <a:pt x="136" y="19"/>
                    </a:lnTo>
                    <a:lnTo>
                      <a:pt x="136" y="19"/>
                    </a:lnTo>
                    <a:lnTo>
                      <a:pt x="133" y="19"/>
                    </a:lnTo>
                    <a:lnTo>
                      <a:pt x="133" y="19"/>
                    </a:lnTo>
                    <a:lnTo>
                      <a:pt x="133" y="19"/>
                    </a:lnTo>
                    <a:lnTo>
                      <a:pt x="133" y="19"/>
                    </a:lnTo>
                    <a:lnTo>
                      <a:pt x="130" y="19"/>
                    </a:lnTo>
                    <a:lnTo>
                      <a:pt x="130" y="19"/>
                    </a:lnTo>
                    <a:lnTo>
                      <a:pt x="130" y="19"/>
                    </a:lnTo>
                    <a:lnTo>
                      <a:pt x="130" y="19"/>
                    </a:lnTo>
                    <a:lnTo>
                      <a:pt x="125" y="19"/>
                    </a:lnTo>
                    <a:lnTo>
                      <a:pt x="125" y="19"/>
                    </a:lnTo>
                    <a:lnTo>
                      <a:pt x="122" y="19"/>
                    </a:lnTo>
                    <a:lnTo>
                      <a:pt x="122" y="19"/>
                    </a:lnTo>
                    <a:lnTo>
                      <a:pt x="122" y="16"/>
                    </a:lnTo>
                    <a:lnTo>
                      <a:pt x="122" y="16"/>
                    </a:lnTo>
                    <a:lnTo>
                      <a:pt x="122" y="16"/>
                    </a:lnTo>
                    <a:lnTo>
                      <a:pt x="122" y="16"/>
                    </a:lnTo>
                    <a:lnTo>
                      <a:pt x="120" y="16"/>
                    </a:lnTo>
                    <a:lnTo>
                      <a:pt x="120" y="16"/>
                    </a:lnTo>
                    <a:lnTo>
                      <a:pt x="119" y="16"/>
                    </a:lnTo>
                    <a:lnTo>
                      <a:pt x="119" y="16"/>
                    </a:lnTo>
                    <a:lnTo>
                      <a:pt x="116" y="15"/>
                    </a:lnTo>
                    <a:lnTo>
                      <a:pt x="116" y="15"/>
                    </a:lnTo>
                    <a:lnTo>
                      <a:pt x="114" y="15"/>
                    </a:lnTo>
                    <a:lnTo>
                      <a:pt x="114" y="15"/>
                    </a:lnTo>
                    <a:lnTo>
                      <a:pt x="112" y="15"/>
                    </a:lnTo>
                    <a:lnTo>
                      <a:pt x="112" y="15"/>
                    </a:lnTo>
                    <a:lnTo>
                      <a:pt x="112" y="16"/>
                    </a:lnTo>
                    <a:lnTo>
                      <a:pt x="112" y="16"/>
                    </a:lnTo>
                    <a:lnTo>
                      <a:pt x="108" y="16"/>
                    </a:lnTo>
                    <a:lnTo>
                      <a:pt x="108" y="16"/>
                    </a:lnTo>
                    <a:lnTo>
                      <a:pt x="106" y="16"/>
                    </a:lnTo>
                    <a:lnTo>
                      <a:pt x="106" y="16"/>
                    </a:lnTo>
                    <a:lnTo>
                      <a:pt x="104" y="16"/>
                    </a:lnTo>
                    <a:lnTo>
                      <a:pt x="104" y="16"/>
                    </a:lnTo>
                    <a:lnTo>
                      <a:pt x="104" y="16"/>
                    </a:lnTo>
                    <a:lnTo>
                      <a:pt x="104" y="16"/>
                    </a:lnTo>
                    <a:lnTo>
                      <a:pt x="101" y="15"/>
                    </a:lnTo>
                    <a:lnTo>
                      <a:pt x="101" y="15"/>
                    </a:lnTo>
                    <a:lnTo>
                      <a:pt x="101" y="15"/>
                    </a:lnTo>
                    <a:lnTo>
                      <a:pt x="101" y="15"/>
                    </a:lnTo>
                    <a:lnTo>
                      <a:pt x="95" y="13"/>
                    </a:lnTo>
                    <a:lnTo>
                      <a:pt x="95" y="13"/>
                    </a:lnTo>
                    <a:lnTo>
                      <a:pt x="93" y="11"/>
                    </a:lnTo>
                    <a:lnTo>
                      <a:pt x="93" y="11"/>
                    </a:lnTo>
                    <a:lnTo>
                      <a:pt x="92" y="11"/>
                    </a:lnTo>
                    <a:lnTo>
                      <a:pt x="92" y="11"/>
                    </a:lnTo>
                    <a:lnTo>
                      <a:pt x="90" y="11"/>
                    </a:lnTo>
                    <a:lnTo>
                      <a:pt x="90" y="11"/>
                    </a:lnTo>
                    <a:lnTo>
                      <a:pt x="89" y="10"/>
                    </a:lnTo>
                    <a:lnTo>
                      <a:pt x="89" y="10"/>
                    </a:lnTo>
                    <a:lnTo>
                      <a:pt x="90" y="8"/>
                    </a:lnTo>
                    <a:lnTo>
                      <a:pt x="90" y="8"/>
                    </a:lnTo>
                    <a:lnTo>
                      <a:pt x="87" y="7"/>
                    </a:lnTo>
                    <a:lnTo>
                      <a:pt x="87" y="7"/>
                    </a:lnTo>
                    <a:lnTo>
                      <a:pt x="85" y="7"/>
                    </a:lnTo>
                    <a:lnTo>
                      <a:pt x="85" y="7"/>
                    </a:lnTo>
                    <a:lnTo>
                      <a:pt x="84" y="7"/>
                    </a:lnTo>
                    <a:lnTo>
                      <a:pt x="84" y="7"/>
                    </a:lnTo>
                    <a:lnTo>
                      <a:pt x="81" y="7"/>
                    </a:lnTo>
                    <a:lnTo>
                      <a:pt x="81" y="7"/>
                    </a:lnTo>
                    <a:lnTo>
                      <a:pt x="74" y="5"/>
                    </a:lnTo>
                    <a:lnTo>
                      <a:pt x="74" y="5"/>
                    </a:lnTo>
                    <a:lnTo>
                      <a:pt x="71" y="7"/>
                    </a:lnTo>
                    <a:lnTo>
                      <a:pt x="71" y="7"/>
                    </a:lnTo>
                    <a:lnTo>
                      <a:pt x="69" y="5"/>
                    </a:lnTo>
                    <a:lnTo>
                      <a:pt x="69" y="5"/>
                    </a:lnTo>
                    <a:lnTo>
                      <a:pt x="65" y="5"/>
                    </a:lnTo>
                    <a:lnTo>
                      <a:pt x="65" y="5"/>
                    </a:lnTo>
                    <a:lnTo>
                      <a:pt x="62" y="5"/>
                    </a:lnTo>
                    <a:lnTo>
                      <a:pt x="62" y="5"/>
                    </a:lnTo>
                    <a:lnTo>
                      <a:pt x="55" y="5"/>
                    </a:lnTo>
                    <a:lnTo>
                      <a:pt x="55" y="5"/>
                    </a:lnTo>
                    <a:lnTo>
                      <a:pt x="50" y="5"/>
                    </a:lnTo>
                    <a:lnTo>
                      <a:pt x="50" y="5"/>
                    </a:lnTo>
                    <a:lnTo>
                      <a:pt x="42" y="4"/>
                    </a:lnTo>
                    <a:lnTo>
                      <a:pt x="42" y="4"/>
                    </a:lnTo>
                    <a:lnTo>
                      <a:pt x="36" y="4"/>
                    </a:lnTo>
                    <a:lnTo>
                      <a:pt x="36" y="4"/>
                    </a:lnTo>
                    <a:lnTo>
                      <a:pt x="30" y="4"/>
                    </a:lnTo>
                    <a:lnTo>
                      <a:pt x="30" y="4"/>
                    </a:lnTo>
                    <a:lnTo>
                      <a:pt x="27" y="4"/>
                    </a:lnTo>
                    <a:lnTo>
                      <a:pt x="27" y="4"/>
                    </a:lnTo>
                    <a:lnTo>
                      <a:pt x="25" y="5"/>
                    </a:lnTo>
                    <a:lnTo>
                      <a:pt x="25" y="5"/>
                    </a:lnTo>
                    <a:lnTo>
                      <a:pt x="23" y="2"/>
                    </a:lnTo>
                    <a:lnTo>
                      <a:pt x="23" y="2"/>
                    </a:lnTo>
                    <a:lnTo>
                      <a:pt x="20" y="2"/>
                    </a:lnTo>
                    <a:lnTo>
                      <a:pt x="20" y="2"/>
                    </a:lnTo>
                    <a:lnTo>
                      <a:pt x="19" y="2"/>
                    </a:lnTo>
                    <a:lnTo>
                      <a:pt x="19" y="2"/>
                    </a:lnTo>
                    <a:lnTo>
                      <a:pt x="17" y="0"/>
                    </a:lnTo>
                    <a:lnTo>
                      <a:pt x="17" y="0"/>
                    </a:lnTo>
                    <a:lnTo>
                      <a:pt x="14" y="2"/>
                    </a:lnTo>
                    <a:lnTo>
                      <a:pt x="14" y="2"/>
                    </a:lnTo>
                    <a:lnTo>
                      <a:pt x="14" y="0"/>
                    </a:lnTo>
                    <a:lnTo>
                      <a:pt x="14" y="0"/>
                    </a:lnTo>
                    <a:lnTo>
                      <a:pt x="14" y="2"/>
                    </a:lnTo>
                    <a:lnTo>
                      <a:pt x="14" y="2"/>
                    </a:lnTo>
                    <a:lnTo>
                      <a:pt x="11" y="4"/>
                    </a:lnTo>
                    <a:lnTo>
                      <a:pt x="11" y="4"/>
                    </a:lnTo>
                    <a:lnTo>
                      <a:pt x="11" y="5"/>
                    </a:lnTo>
                    <a:lnTo>
                      <a:pt x="11" y="5"/>
                    </a:lnTo>
                    <a:lnTo>
                      <a:pt x="11" y="5"/>
                    </a:lnTo>
                    <a:lnTo>
                      <a:pt x="11" y="5"/>
                    </a:lnTo>
                    <a:lnTo>
                      <a:pt x="8" y="7"/>
                    </a:lnTo>
                    <a:lnTo>
                      <a:pt x="8" y="7"/>
                    </a:lnTo>
                    <a:lnTo>
                      <a:pt x="4" y="7"/>
                    </a:lnTo>
                    <a:lnTo>
                      <a:pt x="4" y="7"/>
                    </a:lnTo>
                    <a:lnTo>
                      <a:pt x="3" y="8"/>
                    </a:lnTo>
                    <a:lnTo>
                      <a:pt x="3" y="8"/>
                    </a:lnTo>
                    <a:lnTo>
                      <a:pt x="1" y="10"/>
                    </a:lnTo>
                    <a:lnTo>
                      <a:pt x="1" y="10"/>
                    </a:lnTo>
                    <a:lnTo>
                      <a:pt x="0" y="11"/>
                    </a:lnTo>
                    <a:lnTo>
                      <a:pt x="0" y="11"/>
                    </a:lnTo>
                    <a:lnTo>
                      <a:pt x="0" y="13"/>
                    </a:lnTo>
                    <a:lnTo>
                      <a:pt x="0" y="13"/>
                    </a:lnTo>
                    <a:lnTo>
                      <a:pt x="1" y="15"/>
                    </a:lnTo>
                    <a:lnTo>
                      <a:pt x="1" y="15"/>
                    </a:lnTo>
                    <a:lnTo>
                      <a:pt x="3" y="15"/>
                    </a:lnTo>
                    <a:lnTo>
                      <a:pt x="3" y="15"/>
                    </a:lnTo>
                    <a:lnTo>
                      <a:pt x="1" y="16"/>
                    </a:lnTo>
                    <a:lnTo>
                      <a:pt x="1" y="16"/>
                    </a:lnTo>
                    <a:lnTo>
                      <a:pt x="1" y="16"/>
                    </a:lnTo>
                    <a:lnTo>
                      <a:pt x="1" y="16"/>
                    </a:lnTo>
                    <a:lnTo>
                      <a:pt x="1" y="19"/>
                    </a:lnTo>
                    <a:lnTo>
                      <a:pt x="1" y="19"/>
                    </a:lnTo>
                    <a:lnTo>
                      <a:pt x="3" y="16"/>
                    </a:lnTo>
                    <a:lnTo>
                      <a:pt x="3" y="16"/>
                    </a:lnTo>
                    <a:lnTo>
                      <a:pt x="4" y="16"/>
                    </a:lnTo>
                    <a:lnTo>
                      <a:pt x="4" y="16"/>
                    </a:lnTo>
                    <a:lnTo>
                      <a:pt x="4" y="16"/>
                    </a:lnTo>
                    <a:lnTo>
                      <a:pt x="4" y="16"/>
                    </a:lnTo>
                    <a:lnTo>
                      <a:pt x="3" y="19"/>
                    </a:lnTo>
                    <a:lnTo>
                      <a:pt x="3" y="19"/>
                    </a:lnTo>
                    <a:lnTo>
                      <a:pt x="4" y="19"/>
                    </a:lnTo>
                    <a:lnTo>
                      <a:pt x="4" y="19"/>
                    </a:lnTo>
                    <a:lnTo>
                      <a:pt x="3" y="23"/>
                    </a:lnTo>
                    <a:lnTo>
                      <a:pt x="3" y="23"/>
                    </a:lnTo>
                    <a:lnTo>
                      <a:pt x="4" y="23"/>
                    </a:lnTo>
                    <a:lnTo>
                      <a:pt x="4" y="23"/>
                    </a:lnTo>
                    <a:lnTo>
                      <a:pt x="3" y="23"/>
                    </a:lnTo>
                    <a:lnTo>
                      <a:pt x="3" y="23"/>
                    </a:lnTo>
                    <a:lnTo>
                      <a:pt x="3" y="26"/>
                    </a:lnTo>
                    <a:lnTo>
                      <a:pt x="3" y="26"/>
                    </a:lnTo>
                    <a:lnTo>
                      <a:pt x="3" y="26"/>
                    </a:lnTo>
                    <a:lnTo>
                      <a:pt x="3" y="26"/>
                    </a:lnTo>
                    <a:lnTo>
                      <a:pt x="4" y="26"/>
                    </a:lnTo>
                    <a:lnTo>
                      <a:pt x="4" y="26"/>
                    </a:lnTo>
                    <a:lnTo>
                      <a:pt x="4" y="26"/>
                    </a:lnTo>
                    <a:lnTo>
                      <a:pt x="4" y="26"/>
                    </a:lnTo>
                    <a:lnTo>
                      <a:pt x="4" y="26"/>
                    </a:lnTo>
                    <a:lnTo>
                      <a:pt x="8" y="26"/>
                    </a:lnTo>
                    <a:lnTo>
                      <a:pt x="8" y="26"/>
                    </a:lnTo>
                    <a:lnTo>
                      <a:pt x="8" y="26"/>
                    </a:lnTo>
                    <a:lnTo>
                      <a:pt x="8" y="26"/>
                    </a:lnTo>
                    <a:lnTo>
                      <a:pt x="11" y="23"/>
                    </a:lnTo>
                    <a:lnTo>
                      <a:pt x="11" y="23"/>
                    </a:lnTo>
                    <a:lnTo>
                      <a:pt x="11" y="26"/>
                    </a:lnTo>
                    <a:lnTo>
                      <a:pt x="11" y="26"/>
                    </a:lnTo>
                    <a:lnTo>
                      <a:pt x="11" y="26"/>
                    </a:lnTo>
                    <a:lnTo>
                      <a:pt x="11" y="26"/>
                    </a:lnTo>
                    <a:lnTo>
                      <a:pt x="11" y="26"/>
                    </a:lnTo>
                    <a:lnTo>
                      <a:pt x="11" y="26"/>
                    </a:lnTo>
                    <a:lnTo>
                      <a:pt x="11" y="27"/>
                    </a:lnTo>
                    <a:lnTo>
                      <a:pt x="11" y="27"/>
                    </a:lnTo>
                    <a:lnTo>
                      <a:pt x="11" y="27"/>
                    </a:lnTo>
                    <a:lnTo>
                      <a:pt x="11" y="27"/>
                    </a:lnTo>
                    <a:lnTo>
                      <a:pt x="14" y="27"/>
                    </a:lnTo>
                    <a:lnTo>
                      <a:pt x="14" y="27"/>
                    </a:lnTo>
                    <a:lnTo>
                      <a:pt x="14" y="27"/>
                    </a:lnTo>
                    <a:lnTo>
                      <a:pt x="14" y="27"/>
                    </a:lnTo>
                    <a:lnTo>
                      <a:pt x="15" y="27"/>
                    </a:lnTo>
                    <a:lnTo>
                      <a:pt x="15" y="27"/>
                    </a:lnTo>
                    <a:lnTo>
                      <a:pt x="19" y="27"/>
                    </a:lnTo>
                    <a:lnTo>
                      <a:pt x="19" y="27"/>
                    </a:lnTo>
                    <a:lnTo>
                      <a:pt x="20" y="27"/>
                    </a:lnTo>
                    <a:lnTo>
                      <a:pt x="20" y="27"/>
                    </a:lnTo>
                    <a:lnTo>
                      <a:pt x="22" y="26"/>
                    </a:lnTo>
                    <a:lnTo>
                      <a:pt x="22" y="26"/>
                    </a:lnTo>
                    <a:lnTo>
                      <a:pt x="23" y="26"/>
                    </a:lnTo>
                    <a:lnTo>
                      <a:pt x="23" y="26"/>
                    </a:lnTo>
                    <a:lnTo>
                      <a:pt x="25" y="26"/>
                    </a:lnTo>
                    <a:lnTo>
                      <a:pt x="25" y="26"/>
                    </a:lnTo>
                    <a:lnTo>
                      <a:pt x="28" y="26"/>
                    </a:lnTo>
                    <a:lnTo>
                      <a:pt x="28" y="26"/>
                    </a:lnTo>
                    <a:lnTo>
                      <a:pt x="28" y="27"/>
                    </a:lnTo>
                    <a:lnTo>
                      <a:pt x="28" y="27"/>
                    </a:lnTo>
                    <a:lnTo>
                      <a:pt x="28" y="29"/>
                    </a:lnTo>
                    <a:lnTo>
                      <a:pt x="28" y="29"/>
                    </a:lnTo>
                    <a:lnTo>
                      <a:pt x="30" y="30"/>
                    </a:lnTo>
                    <a:lnTo>
                      <a:pt x="30" y="30"/>
                    </a:lnTo>
                    <a:lnTo>
                      <a:pt x="33" y="30"/>
                    </a:lnTo>
                    <a:lnTo>
                      <a:pt x="33" y="30"/>
                    </a:lnTo>
                    <a:lnTo>
                      <a:pt x="31" y="32"/>
                    </a:lnTo>
                    <a:lnTo>
                      <a:pt x="31" y="32"/>
                    </a:lnTo>
                    <a:lnTo>
                      <a:pt x="30" y="35"/>
                    </a:lnTo>
                    <a:lnTo>
                      <a:pt x="30" y="35"/>
                    </a:lnTo>
                    <a:lnTo>
                      <a:pt x="27" y="37"/>
                    </a:lnTo>
                    <a:lnTo>
                      <a:pt x="27" y="37"/>
                    </a:lnTo>
                    <a:lnTo>
                      <a:pt x="25" y="37"/>
                    </a:lnTo>
                    <a:lnTo>
                      <a:pt x="25" y="37"/>
                    </a:lnTo>
                    <a:lnTo>
                      <a:pt x="23" y="40"/>
                    </a:lnTo>
                    <a:lnTo>
                      <a:pt x="23" y="40"/>
                    </a:lnTo>
                    <a:lnTo>
                      <a:pt x="25" y="43"/>
                    </a:lnTo>
                    <a:lnTo>
                      <a:pt x="25" y="43"/>
                    </a:lnTo>
                    <a:lnTo>
                      <a:pt x="23" y="46"/>
                    </a:lnTo>
                    <a:lnTo>
                      <a:pt x="23" y="46"/>
                    </a:lnTo>
                    <a:lnTo>
                      <a:pt x="23" y="48"/>
                    </a:lnTo>
                    <a:lnTo>
                      <a:pt x="23" y="48"/>
                    </a:lnTo>
                    <a:lnTo>
                      <a:pt x="23" y="50"/>
                    </a:lnTo>
                    <a:lnTo>
                      <a:pt x="23" y="50"/>
                    </a:lnTo>
                    <a:lnTo>
                      <a:pt x="22" y="50"/>
                    </a:lnTo>
                    <a:lnTo>
                      <a:pt x="22" y="50"/>
                    </a:lnTo>
                    <a:lnTo>
                      <a:pt x="22" y="51"/>
                    </a:lnTo>
                    <a:lnTo>
                      <a:pt x="22" y="51"/>
                    </a:lnTo>
                    <a:lnTo>
                      <a:pt x="22" y="53"/>
                    </a:lnTo>
                    <a:lnTo>
                      <a:pt x="22" y="53"/>
                    </a:lnTo>
                    <a:lnTo>
                      <a:pt x="22" y="54"/>
                    </a:lnTo>
                    <a:lnTo>
                      <a:pt x="22" y="54"/>
                    </a:lnTo>
                    <a:lnTo>
                      <a:pt x="22" y="56"/>
                    </a:lnTo>
                    <a:lnTo>
                      <a:pt x="22" y="56"/>
                    </a:lnTo>
                    <a:lnTo>
                      <a:pt x="20" y="57"/>
                    </a:lnTo>
                    <a:lnTo>
                      <a:pt x="20" y="57"/>
                    </a:lnTo>
                    <a:lnTo>
                      <a:pt x="19" y="59"/>
                    </a:lnTo>
                    <a:lnTo>
                      <a:pt x="19" y="59"/>
                    </a:lnTo>
                    <a:lnTo>
                      <a:pt x="17" y="59"/>
                    </a:lnTo>
                    <a:lnTo>
                      <a:pt x="17" y="59"/>
                    </a:lnTo>
                    <a:lnTo>
                      <a:pt x="14" y="59"/>
                    </a:lnTo>
                    <a:lnTo>
                      <a:pt x="14" y="59"/>
                    </a:lnTo>
                    <a:lnTo>
                      <a:pt x="17" y="61"/>
                    </a:lnTo>
                    <a:lnTo>
                      <a:pt x="17" y="61"/>
                    </a:lnTo>
                    <a:lnTo>
                      <a:pt x="17" y="62"/>
                    </a:lnTo>
                    <a:lnTo>
                      <a:pt x="17" y="62"/>
                    </a:lnTo>
                    <a:lnTo>
                      <a:pt x="17" y="64"/>
                    </a:lnTo>
                    <a:lnTo>
                      <a:pt x="17" y="64"/>
                    </a:lnTo>
                    <a:lnTo>
                      <a:pt x="19" y="65"/>
                    </a:lnTo>
                    <a:lnTo>
                      <a:pt x="19" y="65"/>
                    </a:lnTo>
                    <a:lnTo>
                      <a:pt x="20" y="69"/>
                    </a:lnTo>
                    <a:lnTo>
                      <a:pt x="20" y="69"/>
                    </a:lnTo>
                    <a:lnTo>
                      <a:pt x="17" y="72"/>
                    </a:lnTo>
                    <a:lnTo>
                      <a:pt x="17" y="72"/>
                    </a:lnTo>
                    <a:lnTo>
                      <a:pt x="17" y="72"/>
                    </a:lnTo>
                    <a:lnTo>
                      <a:pt x="17" y="72"/>
                    </a:lnTo>
                    <a:lnTo>
                      <a:pt x="15" y="75"/>
                    </a:lnTo>
                    <a:lnTo>
                      <a:pt x="15" y="75"/>
                    </a:lnTo>
                    <a:lnTo>
                      <a:pt x="17" y="75"/>
                    </a:lnTo>
                    <a:lnTo>
                      <a:pt x="17" y="75"/>
                    </a:lnTo>
                    <a:lnTo>
                      <a:pt x="15" y="75"/>
                    </a:lnTo>
                    <a:lnTo>
                      <a:pt x="15" y="75"/>
                    </a:lnTo>
                    <a:lnTo>
                      <a:pt x="17" y="78"/>
                    </a:lnTo>
                    <a:lnTo>
                      <a:pt x="17" y="78"/>
                    </a:lnTo>
                    <a:lnTo>
                      <a:pt x="19" y="78"/>
                    </a:lnTo>
                    <a:lnTo>
                      <a:pt x="19" y="78"/>
                    </a:lnTo>
                    <a:lnTo>
                      <a:pt x="20" y="78"/>
                    </a:lnTo>
                    <a:lnTo>
                      <a:pt x="20" y="78"/>
                    </a:lnTo>
                    <a:lnTo>
                      <a:pt x="19" y="81"/>
                    </a:lnTo>
                    <a:lnTo>
                      <a:pt x="19" y="81"/>
                    </a:lnTo>
                    <a:lnTo>
                      <a:pt x="17" y="83"/>
                    </a:lnTo>
                    <a:lnTo>
                      <a:pt x="17" y="83"/>
                    </a:lnTo>
                    <a:lnTo>
                      <a:pt x="15" y="84"/>
                    </a:lnTo>
                    <a:lnTo>
                      <a:pt x="15" y="84"/>
                    </a:lnTo>
                    <a:lnTo>
                      <a:pt x="14" y="86"/>
                    </a:lnTo>
                    <a:lnTo>
                      <a:pt x="14" y="86"/>
                    </a:lnTo>
                    <a:lnTo>
                      <a:pt x="14" y="88"/>
                    </a:lnTo>
                    <a:lnTo>
                      <a:pt x="14" y="88"/>
                    </a:lnTo>
                    <a:lnTo>
                      <a:pt x="14" y="88"/>
                    </a:lnTo>
                    <a:lnTo>
                      <a:pt x="14" y="91"/>
                    </a:lnTo>
                    <a:lnTo>
                      <a:pt x="14" y="91"/>
                    </a:lnTo>
                    <a:lnTo>
                      <a:pt x="14" y="92"/>
                    </a:lnTo>
                    <a:lnTo>
                      <a:pt x="14" y="92"/>
                    </a:lnTo>
                    <a:lnTo>
                      <a:pt x="17" y="92"/>
                    </a:lnTo>
                    <a:lnTo>
                      <a:pt x="17" y="92"/>
                    </a:lnTo>
                    <a:lnTo>
                      <a:pt x="19" y="92"/>
                    </a:lnTo>
                    <a:lnTo>
                      <a:pt x="19" y="92"/>
                    </a:lnTo>
                    <a:lnTo>
                      <a:pt x="20" y="92"/>
                    </a:lnTo>
                    <a:lnTo>
                      <a:pt x="20" y="92"/>
                    </a:lnTo>
                    <a:lnTo>
                      <a:pt x="20" y="92"/>
                    </a:lnTo>
                    <a:lnTo>
                      <a:pt x="20" y="92"/>
                    </a:lnTo>
                    <a:lnTo>
                      <a:pt x="22" y="96"/>
                    </a:lnTo>
                    <a:lnTo>
                      <a:pt x="22" y="96"/>
                    </a:lnTo>
                    <a:lnTo>
                      <a:pt x="27" y="99"/>
                    </a:lnTo>
                    <a:lnTo>
                      <a:pt x="27" y="99"/>
                    </a:lnTo>
                    <a:lnTo>
                      <a:pt x="25" y="99"/>
                    </a:lnTo>
                    <a:lnTo>
                      <a:pt x="25" y="99"/>
                    </a:lnTo>
                    <a:lnTo>
                      <a:pt x="25" y="102"/>
                    </a:lnTo>
                    <a:lnTo>
                      <a:pt x="25" y="102"/>
                    </a:lnTo>
                    <a:lnTo>
                      <a:pt x="27" y="102"/>
                    </a:lnTo>
                    <a:lnTo>
                      <a:pt x="27" y="102"/>
                    </a:lnTo>
                    <a:lnTo>
                      <a:pt x="28" y="102"/>
                    </a:lnTo>
                    <a:lnTo>
                      <a:pt x="28" y="102"/>
                    </a:lnTo>
                    <a:lnTo>
                      <a:pt x="28" y="105"/>
                    </a:lnTo>
                    <a:lnTo>
                      <a:pt x="28" y="105"/>
                    </a:lnTo>
                    <a:lnTo>
                      <a:pt x="27" y="105"/>
                    </a:lnTo>
                    <a:lnTo>
                      <a:pt x="27" y="105"/>
                    </a:lnTo>
                    <a:lnTo>
                      <a:pt x="28" y="107"/>
                    </a:lnTo>
                    <a:lnTo>
                      <a:pt x="28" y="107"/>
                    </a:lnTo>
                    <a:lnTo>
                      <a:pt x="30" y="108"/>
                    </a:lnTo>
                    <a:lnTo>
                      <a:pt x="30" y="108"/>
                    </a:lnTo>
                    <a:lnTo>
                      <a:pt x="33" y="110"/>
                    </a:lnTo>
                    <a:lnTo>
                      <a:pt x="33" y="110"/>
                    </a:lnTo>
                    <a:lnTo>
                      <a:pt x="35" y="110"/>
                    </a:lnTo>
                    <a:lnTo>
                      <a:pt x="35" y="110"/>
                    </a:lnTo>
                    <a:lnTo>
                      <a:pt x="36" y="110"/>
                    </a:lnTo>
                    <a:lnTo>
                      <a:pt x="36" y="110"/>
                    </a:lnTo>
                    <a:lnTo>
                      <a:pt x="38" y="108"/>
                    </a:lnTo>
                    <a:lnTo>
                      <a:pt x="38" y="108"/>
                    </a:lnTo>
                    <a:lnTo>
                      <a:pt x="39" y="107"/>
                    </a:lnTo>
                    <a:lnTo>
                      <a:pt x="39" y="107"/>
                    </a:lnTo>
                    <a:lnTo>
                      <a:pt x="39" y="105"/>
                    </a:lnTo>
                    <a:lnTo>
                      <a:pt x="39" y="105"/>
                    </a:lnTo>
                    <a:lnTo>
                      <a:pt x="46" y="105"/>
                    </a:lnTo>
                    <a:lnTo>
                      <a:pt x="46" y="105"/>
                    </a:lnTo>
                    <a:lnTo>
                      <a:pt x="49" y="102"/>
                    </a:lnTo>
                    <a:lnTo>
                      <a:pt x="49" y="102"/>
                    </a:lnTo>
                    <a:lnTo>
                      <a:pt x="49" y="102"/>
                    </a:lnTo>
                    <a:lnTo>
                      <a:pt x="49" y="102"/>
                    </a:lnTo>
                    <a:lnTo>
                      <a:pt x="52" y="102"/>
                    </a:lnTo>
                    <a:lnTo>
                      <a:pt x="52" y="102"/>
                    </a:lnTo>
                    <a:lnTo>
                      <a:pt x="65" y="99"/>
                    </a:lnTo>
                    <a:lnTo>
                      <a:pt x="65" y="99"/>
                    </a:lnTo>
                    <a:lnTo>
                      <a:pt x="68" y="102"/>
                    </a:lnTo>
                    <a:lnTo>
                      <a:pt x="68" y="102"/>
                    </a:lnTo>
                    <a:lnTo>
                      <a:pt x="71" y="99"/>
                    </a:lnTo>
                    <a:lnTo>
                      <a:pt x="71" y="99"/>
                    </a:lnTo>
                    <a:lnTo>
                      <a:pt x="71" y="99"/>
                    </a:lnTo>
                    <a:lnTo>
                      <a:pt x="71" y="99"/>
                    </a:lnTo>
                    <a:lnTo>
                      <a:pt x="74" y="99"/>
                    </a:lnTo>
                    <a:lnTo>
                      <a:pt x="74" y="99"/>
                    </a:lnTo>
                    <a:lnTo>
                      <a:pt x="77" y="99"/>
                    </a:lnTo>
                    <a:lnTo>
                      <a:pt x="77" y="99"/>
                    </a:lnTo>
                    <a:lnTo>
                      <a:pt x="77" y="99"/>
                    </a:lnTo>
                    <a:lnTo>
                      <a:pt x="77" y="99"/>
                    </a:lnTo>
                    <a:lnTo>
                      <a:pt x="81" y="96"/>
                    </a:lnTo>
                    <a:lnTo>
                      <a:pt x="81" y="96"/>
                    </a:lnTo>
                    <a:lnTo>
                      <a:pt x="84" y="91"/>
                    </a:lnTo>
                    <a:lnTo>
                      <a:pt x="84" y="91"/>
                    </a:lnTo>
                    <a:lnTo>
                      <a:pt x="87" y="89"/>
                    </a:lnTo>
                    <a:lnTo>
                      <a:pt x="87" y="89"/>
                    </a:lnTo>
                    <a:lnTo>
                      <a:pt x="92" y="89"/>
                    </a:lnTo>
                    <a:lnTo>
                      <a:pt x="92" y="89"/>
                    </a:lnTo>
                    <a:lnTo>
                      <a:pt x="93" y="88"/>
                    </a:lnTo>
                    <a:lnTo>
                      <a:pt x="93" y="88"/>
                    </a:lnTo>
                    <a:lnTo>
                      <a:pt x="93" y="86"/>
                    </a:lnTo>
                    <a:lnTo>
                      <a:pt x="93" y="86"/>
                    </a:lnTo>
                    <a:lnTo>
                      <a:pt x="95" y="83"/>
                    </a:lnTo>
                    <a:lnTo>
                      <a:pt x="95" y="83"/>
                    </a:lnTo>
                    <a:lnTo>
                      <a:pt x="95" y="78"/>
                    </a:lnTo>
                    <a:lnTo>
                      <a:pt x="95" y="78"/>
                    </a:lnTo>
                    <a:lnTo>
                      <a:pt x="101" y="75"/>
                    </a:lnTo>
                    <a:lnTo>
                      <a:pt x="101" y="75"/>
                    </a:lnTo>
                    <a:lnTo>
                      <a:pt x="104" y="72"/>
                    </a:lnTo>
                    <a:lnTo>
                      <a:pt x="104" y="72"/>
                    </a:lnTo>
                    <a:lnTo>
                      <a:pt x="104" y="72"/>
                    </a:lnTo>
                    <a:lnTo>
                      <a:pt x="104" y="72"/>
                    </a:lnTo>
                    <a:lnTo>
                      <a:pt x="101" y="69"/>
                    </a:lnTo>
                    <a:lnTo>
                      <a:pt x="101" y="69"/>
                    </a:lnTo>
                    <a:lnTo>
                      <a:pt x="101" y="65"/>
                    </a:lnTo>
                    <a:lnTo>
                      <a:pt x="101" y="65"/>
                    </a:lnTo>
                    <a:lnTo>
                      <a:pt x="101" y="61"/>
                    </a:lnTo>
                    <a:lnTo>
                      <a:pt x="101" y="61"/>
                    </a:lnTo>
                    <a:lnTo>
                      <a:pt x="101" y="56"/>
                    </a:lnTo>
                    <a:lnTo>
                      <a:pt x="101" y="56"/>
                    </a:lnTo>
                    <a:lnTo>
                      <a:pt x="104" y="53"/>
                    </a:lnTo>
                    <a:lnTo>
                      <a:pt x="104" y="53"/>
                    </a:lnTo>
                    <a:lnTo>
                      <a:pt x="108" y="50"/>
                    </a:lnTo>
                    <a:lnTo>
                      <a:pt x="108" y="50"/>
                    </a:lnTo>
                    <a:lnTo>
                      <a:pt x="111" y="46"/>
                    </a:lnTo>
                    <a:lnTo>
                      <a:pt x="111" y="46"/>
                    </a:lnTo>
                    <a:lnTo>
                      <a:pt x="112" y="43"/>
                    </a:lnTo>
                    <a:lnTo>
                      <a:pt x="112" y="43"/>
                    </a:lnTo>
                    <a:lnTo>
                      <a:pt x="114" y="43"/>
                    </a:lnTo>
                    <a:lnTo>
                      <a:pt x="114" y="43"/>
                    </a:lnTo>
                    <a:lnTo>
                      <a:pt x="112" y="43"/>
                    </a:lnTo>
                    <a:lnTo>
                      <a:pt x="112" y="43"/>
                    </a:lnTo>
                    <a:lnTo>
                      <a:pt x="117" y="40"/>
                    </a:lnTo>
                    <a:lnTo>
                      <a:pt x="117" y="40"/>
                    </a:lnTo>
                    <a:lnTo>
                      <a:pt x="123" y="37"/>
                    </a:lnTo>
                    <a:lnTo>
                      <a:pt x="123" y="37"/>
                    </a:lnTo>
                    <a:lnTo>
                      <a:pt x="130" y="35"/>
                    </a:lnTo>
                    <a:lnTo>
                      <a:pt x="130" y="35"/>
                    </a:lnTo>
                    <a:lnTo>
                      <a:pt x="133" y="32"/>
                    </a:lnTo>
                    <a:lnTo>
                      <a:pt x="139" y="30"/>
                    </a:lnTo>
                    <a:lnTo>
                      <a:pt x="139" y="30"/>
                    </a:lnTo>
                    <a:lnTo>
                      <a:pt x="139" y="30"/>
                    </a:lnTo>
                    <a:close/>
                    <a:moveTo>
                      <a:pt x="27" y="99"/>
                    </a:moveTo>
                    <a:lnTo>
                      <a:pt x="27" y="99"/>
                    </a:lnTo>
                    <a:lnTo>
                      <a:pt x="27" y="99"/>
                    </a:lnTo>
                    <a:lnTo>
                      <a:pt x="27" y="99"/>
                    </a:lnTo>
                    <a:lnTo>
                      <a:pt x="28" y="99"/>
                    </a:lnTo>
                    <a:lnTo>
                      <a:pt x="27" y="99"/>
                    </a:lnTo>
                    <a:lnTo>
                      <a:pt x="27" y="99"/>
                    </a:lnTo>
                    <a:lnTo>
                      <a:pt x="27" y="99"/>
                    </a:lnTo>
                    <a:close/>
                    <a:moveTo>
                      <a:pt x="139" y="56"/>
                    </a:moveTo>
                    <a:lnTo>
                      <a:pt x="139" y="56"/>
                    </a:lnTo>
                    <a:lnTo>
                      <a:pt x="141" y="54"/>
                    </a:lnTo>
                    <a:lnTo>
                      <a:pt x="141" y="54"/>
                    </a:lnTo>
                    <a:lnTo>
                      <a:pt x="136" y="56"/>
                    </a:lnTo>
                    <a:lnTo>
                      <a:pt x="136" y="56"/>
                    </a:lnTo>
                    <a:lnTo>
                      <a:pt x="133" y="57"/>
                    </a:lnTo>
                    <a:lnTo>
                      <a:pt x="133" y="57"/>
                    </a:lnTo>
                    <a:lnTo>
                      <a:pt x="133" y="61"/>
                    </a:lnTo>
                    <a:lnTo>
                      <a:pt x="133" y="61"/>
                    </a:lnTo>
                    <a:lnTo>
                      <a:pt x="136" y="61"/>
                    </a:lnTo>
                    <a:lnTo>
                      <a:pt x="136" y="61"/>
                    </a:lnTo>
                    <a:lnTo>
                      <a:pt x="136" y="62"/>
                    </a:lnTo>
                    <a:lnTo>
                      <a:pt x="136" y="62"/>
                    </a:lnTo>
                    <a:lnTo>
                      <a:pt x="136" y="64"/>
                    </a:lnTo>
                    <a:lnTo>
                      <a:pt x="136" y="64"/>
                    </a:lnTo>
                    <a:lnTo>
                      <a:pt x="139" y="64"/>
                    </a:lnTo>
                    <a:lnTo>
                      <a:pt x="139" y="64"/>
                    </a:lnTo>
                    <a:lnTo>
                      <a:pt x="141" y="62"/>
                    </a:lnTo>
                    <a:lnTo>
                      <a:pt x="141" y="62"/>
                    </a:lnTo>
                    <a:lnTo>
                      <a:pt x="143" y="59"/>
                    </a:lnTo>
                    <a:lnTo>
                      <a:pt x="143" y="59"/>
                    </a:lnTo>
                    <a:lnTo>
                      <a:pt x="144" y="59"/>
                    </a:lnTo>
                    <a:lnTo>
                      <a:pt x="144" y="59"/>
                    </a:lnTo>
                    <a:lnTo>
                      <a:pt x="144" y="57"/>
                    </a:lnTo>
                    <a:lnTo>
                      <a:pt x="144" y="57"/>
                    </a:lnTo>
                    <a:lnTo>
                      <a:pt x="141" y="57"/>
                    </a:lnTo>
                    <a:lnTo>
                      <a:pt x="139" y="56"/>
                    </a:lnTo>
                    <a:lnTo>
                      <a:pt x="139" y="56"/>
                    </a:lnTo>
                    <a:lnTo>
                      <a:pt x="139" y="56"/>
                    </a:lnTo>
                    <a:close/>
                    <a:moveTo>
                      <a:pt x="120" y="69"/>
                    </a:moveTo>
                    <a:lnTo>
                      <a:pt x="120" y="69"/>
                    </a:lnTo>
                    <a:lnTo>
                      <a:pt x="120" y="70"/>
                    </a:lnTo>
                    <a:lnTo>
                      <a:pt x="120" y="70"/>
                    </a:lnTo>
                    <a:lnTo>
                      <a:pt x="122" y="70"/>
                    </a:lnTo>
                    <a:lnTo>
                      <a:pt x="122" y="70"/>
                    </a:lnTo>
                    <a:lnTo>
                      <a:pt x="123" y="69"/>
                    </a:lnTo>
                    <a:lnTo>
                      <a:pt x="123" y="69"/>
                    </a:lnTo>
                    <a:lnTo>
                      <a:pt x="123" y="67"/>
                    </a:lnTo>
                    <a:lnTo>
                      <a:pt x="123" y="67"/>
                    </a:lnTo>
                    <a:lnTo>
                      <a:pt x="123" y="69"/>
                    </a:lnTo>
                    <a:lnTo>
                      <a:pt x="123" y="69"/>
                    </a:lnTo>
                    <a:lnTo>
                      <a:pt x="120" y="69"/>
                    </a:lnTo>
                    <a:lnTo>
                      <a:pt x="120" y="69"/>
                    </a:lnTo>
                    <a:close/>
                    <a:moveTo>
                      <a:pt x="150" y="54"/>
                    </a:moveTo>
                    <a:lnTo>
                      <a:pt x="150" y="54"/>
                    </a:lnTo>
                    <a:lnTo>
                      <a:pt x="149" y="54"/>
                    </a:lnTo>
                    <a:lnTo>
                      <a:pt x="149" y="54"/>
                    </a:lnTo>
                    <a:lnTo>
                      <a:pt x="147" y="56"/>
                    </a:lnTo>
                    <a:lnTo>
                      <a:pt x="147" y="56"/>
                    </a:lnTo>
                    <a:lnTo>
                      <a:pt x="149" y="56"/>
                    </a:lnTo>
                    <a:lnTo>
                      <a:pt x="149" y="56"/>
                    </a:lnTo>
                    <a:lnTo>
                      <a:pt x="150" y="57"/>
                    </a:lnTo>
                    <a:lnTo>
                      <a:pt x="150" y="57"/>
                    </a:lnTo>
                    <a:lnTo>
                      <a:pt x="152" y="57"/>
                    </a:lnTo>
                    <a:lnTo>
                      <a:pt x="152" y="57"/>
                    </a:lnTo>
                    <a:lnTo>
                      <a:pt x="152" y="56"/>
                    </a:lnTo>
                    <a:lnTo>
                      <a:pt x="152" y="56"/>
                    </a:lnTo>
                    <a:lnTo>
                      <a:pt x="150" y="54"/>
                    </a:lnTo>
                    <a:lnTo>
                      <a:pt x="150" y="54"/>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71" name="Freeform 347">
                <a:extLst>
                  <a:ext uri="{FF2B5EF4-FFF2-40B4-BE49-F238E27FC236}">
                    <a16:creationId xmlns:a16="http://schemas.microsoft.com/office/drawing/2014/main" id="{BCCBE75B-65BE-03A8-914D-1182EAE4D951}"/>
                  </a:ext>
                </a:extLst>
              </p:cNvPr>
              <p:cNvSpPr>
                <a:spLocks noEditPoints="1"/>
              </p:cNvSpPr>
              <p:nvPr/>
            </p:nvSpPr>
            <p:spPr bwMode="auto">
              <a:xfrm>
                <a:off x="6083202" y="1858303"/>
                <a:ext cx="273655" cy="405997"/>
              </a:xfrm>
              <a:custGeom>
                <a:avLst/>
                <a:gdLst>
                  <a:gd name="T0" fmla="*/ 78 w 122"/>
                  <a:gd name="T1" fmla="*/ 151 h 181"/>
                  <a:gd name="T2" fmla="*/ 76 w 122"/>
                  <a:gd name="T3" fmla="*/ 145 h 181"/>
                  <a:gd name="T4" fmla="*/ 76 w 122"/>
                  <a:gd name="T5" fmla="*/ 145 h 181"/>
                  <a:gd name="T6" fmla="*/ 75 w 122"/>
                  <a:gd name="T7" fmla="*/ 156 h 181"/>
                  <a:gd name="T8" fmla="*/ 75 w 122"/>
                  <a:gd name="T9" fmla="*/ 156 h 181"/>
                  <a:gd name="T10" fmla="*/ 41 w 122"/>
                  <a:gd name="T11" fmla="*/ 181 h 181"/>
                  <a:gd name="T12" fmla="*/ 38 w 122"/>
                  <a:gd name="T13" fmla="*/ 180 h 181"/>
                  <a:gd name="T14" fmla="*/ 75 w 122"/>
                  <a:gd name="T15" fmla="*/ 122 h 181"/>
                  <a:gd name="T16" fmla="*/ 75 w 122"/>
                  <a:gd name="T17" fmla="*/ 122 h 181"/>
                  <a:gd name="T18" fmla="*/ 122 w 122"/>
                  <a:gd name="T19" fmla="*/ 40 h 181"/>
                  <a:gd name="T20" fmla="*/ 117 w 122"/>
                  <a:gd name="T21" fmla="*/ 26 h 181"/>
                  <a:gd name="T22" fmla="*/ 113 w 122"/>
                  <a:gd name="T23" fmla="*/ 16 h 181"/>
                  <a:gd name="T24" fmla="*/ 103 w 122"/>
                  <a:gd name="T25" fmla="*/ 7 h 181"/>
                  <a:gd name="T26" fmla="*/ 81 w 122"/>
                  <a:gd name="T27" fmla="*/ 0 h 181"/>
                  <a:gd name="T28" fmla="*/ 76 w 122"/>
                  <a:gd name="T29" fmla="*/ 8 h 181"/>
                  <a:gd name="T30" fmla="*/ 64 w 122"/>
                  <a:gd name="T31" fmla="*/ 11 h 181"/>
                  <a:gd name="T32" fmla="*/ 46 w 122"/>
                  <a:gd name="T33" fmla="*/ 19 h 181"/>
                  <a:gd name="T34" fmla="*/ 40 w 122"/>
                  <a:gd name="T35" fmla="*/ 32 h 181"/>
                  <a:gd name="T36" fmla="*/ 32 w 122"/>
                  <a:gd name="T37" fmla="*/ 45 h 181"/>
                  <a:gd name="T38" fmla="*/ 27 w 122"/>
                  <a:gd name="T39" fmla="*/ 59 h 181"/>
                  <a:gd name="T40" fmla="*/ 11 w 122"/>
                  <a:gd name="T41" fmla="*/ 65 h 181"/>
                  <a:gd name="T42" fmla="*/ 8 w 122"/>
                  <a:gd name="T43" fmla="*/ 78 h 181"/>
                  <a:gd name="T44" fmla="*/ 11 w 122"/>
                  <a:gd name="T45" fmla="*/ 94 h 181"/>
                  <a:gd name="T46" fmla="*/ 11 w 122"/>
                  <a:gd name="T47" fmla="*/ 103 h 181"/>
                  <a:gd name="T48" fmla="*/ 8 w 122"/>
                  <a:gd name="T49" fmla="*/ 114 h 181"/>
                  <a:gd name="T50" fmla="*/ 6 w 122"/>
                  <a:gd name="T51" fmla="*/ 127 h 181"/>
                  <a:gd name="T52" fmla="*/ 0 w 122"/>
                  <a:gd name="T53" fmla="*/ 127 h 181"/>
                  <a:gd name="T54" fmla="*/ 3 w 122"/>
                  <a:gd name="T55" fmla="*/ 138 h 181"/>
                  <a:gd name="T56" fmla="*/ 6 w 122"/>
                  <a:gd name="T57" fmla="*/ 141 h 181"/>
                  <a:gd name="T58" fmla="*/ 11 w 122"/>
                  <a:gd name="T59" fmla="*/ 153 h 181"/>
                  <a:gd name="T60" fmla="*/ 14 w 122"/>
                  <a:gd name="T61" fmla="*/ 165 h 181"/>
                  <a:gd name="T62" fmla="*/ 32 w 122"/>
                  <a:gd name="T63" fmla="*/ 176 h 181"/>
                  <a:gd name="T64" fmla="*/ 35 w 122"/>
                  <a:gd name="T65" fmla="*/ 168 h 181"/>
                  <a:gd name="T66" fmla="*/ 49 w 122"/>
                  <a:gd name="T67" fmla="*/ 167 h 181"/>
                  <a:gd name="T68" fmla="*/ 57 w 122"/>
                  <a:gd name="T69" fmla="*/ 149 h 181"/>
                  <a:gd name="T70" fmla="*/ 57 w 122"/>
                  <a:gd name="T71" fmla="*/ 145 h 181"/>
                  <a:gd name="T72" fmla="*/ 56 w 122"/>
                  <a:gd name="T73" fmla="*/ 137 h 181"/>
                  <a:gd name="T74" fmla="*/ 60 w 122"/>
                  <a:gd name="T75" fmla="*/ 132 h 181"/>
                  <a:gd name="T76" fmla="*/ 67 w 122"/>
                  <a:gd name="T77" fmla="*/ 130 h 181"/>
                  <a:gd name="T78" fmla="*/ 75 w 122"/>
                  <a:gd name="T79" fmla="*/ 126 h 181"/>
                  <a:gd name="T80" fmla="*/ 76 w 122"/>
                  <a:gd name="T81" fmla="*/ 121 h 181"/>
                  <a:gd name="T82" fmla="*/ 78 w 122"/>
                  <a:gd name="T83" fmla="*/ 113 h 181"/>
                  <a:gd name="T84" fmla="*/ 65 w 122"/>
                  <a:gd name="T85" fmla="*/ 107 h 181"/>
                  <a:gd name="T86" fmla="*/ 59 w 122"/>
                  <a:gd name="T87" fmla="*/ 99 h 181"/>
                  <a:gd name="T88" fmla="*/ 62 w 122"/>
                  <a:gd name="T89" fmla="*/ 92 h 181"/>
                  <a:gd name="T90" fmla="*/ 62 w 122"/>
                  <a:gd name="T91" fmla="*/ 83 h 181"/>
                  <a:gd name="T92" fmla="*/ 65 w 122"/>
                  <a:gd name="T93" fmla="*/ 75 h 181"/>
                  <a:gd name="T94" fmla="*/ 70 w 122"/>
                  <a:gd name="T95" fmla="*/ 75 h 181"/>
                  <a:gd name="T96" fmla="*/ 84 w 122"/>
                  <a:gd name="T97" fmla="*/ 68 h 181"/>
                  <a:gd name="T98" fmla="*/ 97 w 122"/>
                  <a:gd name="T99" fmla="*/ 59 h 181"/>
                  <a:gd name="T100" fmla="*/ 100 w 122"/>
                  <a:gd name="T101" fmla="*/ 51 h 181"/>
                  <a:gd name="T102" fmla="*/ 102 w 122"/>
                  <a:gd name="T103" fmla="*/ 45 h 181"/>
                  <a:gd name="T104" fmla="*/ 108 w 122"/>
                  <a:gd name="T105" fmla="*/ 40 h 181"/>
                  <a:gd name="T106" fmla="*/ 117 w 122"/>
                  <a:gd name="T107" fmla="*/ 41 h 181"/>
                  <a:gd name="T108" fmla="*/ 122 w 122"/>
                  <a:gd name="T109" fmla="*/ 40 h 181"/>
                  <a:gd name="T110" fmla="*/ 87 w 122"/>
                  <a:gd name="T111" fmla="*/ 103 h 181"/>
                  <a:gd name="T112" fmla="*/ 87 w 122"/>
                  <a:gd name="T113" fmla="*/ 107 h 181"/>
                  <a:gd name="T114" fmla="*/ 89 w 122"/>
                  <a:gd name="T115" fmla="*/ 105 h 181"/>
                  <a:gd name="T116" fmla="*/ 87 w 122"/>
                  <a:gd name="T117" fmla="*/ 10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2" h="181">
                    <a:moveTo>
                      <a:pt x="76" y="145"/>
                    </a:moveTo>
                    <a:lnTo>
                      <a:pt x="73" y="148"/>
                    </a:lnTo>
                    <a:lnTo>
                      <a:pt x="73" y="151"/>
                    </a:lnTo>
                    <a:lnTo>
                      <a:pt x="73" y="153"/>
                    </a:lnTo>
                    <a:lnTo>
                      <a:pt x="75" y="154"/>
                    </a:lnTo>
                    <a:lnTo>
                      <a:pt x="78" y="151"/>
                    </a:lnTo>
                    <a:lnTo>
                      <a:pt x="81" y="148"/>
                    </a:lnTo>
                    <a:lnTo>
                      <a:pt x="78" y="148"/>
                    </a:lnTo>
                    <a:lnTo>
                      <a:pt x="81" y="145"/>
                    </a:lnTo>
                    <a:lnTo>
                      <a:pt x="81" y="145"/>
                    </a:lnTo>
                    <a:lnTo>
                      <a:pt x="78" y="141"/>
                    </a:lnTo>
                    <a:lnTo>
                      <a:pt x="76" y="145"/>
                    </a:lnTo>
                    <a:lnTo>
                      <a:pt x="76" y="145"/>
                    </a:lnTo>
                    <a:lnTo>
                      <a:pt x="76" y="145"/>
                    </a:lnTo>
                    <a:lnTo>
                      <a:pt x="76" y="145"/>
                    </a:lnTo>
                    <a:lnTo>
                      <a:pt x="76" y="145"/>
                    </a:lnTo>
                    <a:lnTo>
                      <a:pt x="76" y="145"/>
                    </a:lnTo>
                    <a:lnTo>
                      <a:pt x="76" y="145"/>
                    </a:lnTo>
                    <a:lnTo>
                      <a:pt x="76" y="145"/>
                    </a:lnTo>
                    <a:lnTo>
                      <a:pt x="76" y="145"/>
                    </a:lnTo>
                    <a:close/>
                    <a:moveTo>
                      <a:pt x="75" y="156"/>
                    </a:moveTo>
                    <a:lnTo>
                      <a:pt x="75" y="154"/>
                    </a:lnTo>
                    <a:lnTo>
                      <a:pt x="73" y="156"/>
                    </a:lnTo>
                    <a:lnTo>
                      <a:pt x="75" y="156"/>
                    </a:lnTo>
                    <a:lnTo>
                      <a:pt x="75" y="156"/>
                    </a:lnTo>
                    <a:lnTo>
                      <a:pt x="75" y="156"/>
                    </a:lnTo>
                    <a:lnTo>
                      <a:pt x="75" y="156"/>
                    </a:lnTo>
                    <a:lnTo>
                      <a:pt x="75" y="156"/>
                    </a:lnTo>
                    <a:lnTo>
                      <a:pt x="75" y="156"/>
                    </a:lnTo>
                    <a:lnTo>
                      <a:pt x="75" y="156"/>
                    </a:lnTo>
                    <a:lnTo>
                      <a:pt x="75" y="156"/>
                    </a:lnTo>
                    <a:lnTo>
                      <a:pt x="75" y="156"/>
                    </a:lnTo>
                    <a:close/>
                    <a:moveTo>
                      <a:pt x="38" y="180"/>
                    </a:moveTo>
                    <a:lnTo>
                      <a:pt x="38" y="181"/>
                    </a:lnTo>
                    <a:lnTo>
                      <a:pt x="40" y="181"/>
                    </a:lnTo>
                    <a:lnTo>
                      <a:pt x="41" y="181"/>
                    </a:lnTo>
                    <a:lnTo>
                      <a:pt x="41" y="180"/>
                    </a:lnTo>
                    <a:lnTo>
                      <a:pt x="38" y="178"/>
                    </a:lnTo>
                    <a:lnTo>
                      <a:pt x="38" y="180"/>
                    </a:lnTo>
                    <a:lnTo>
                      <a:pt x="38" y="180"/>
                    </a:lnTo>
                    <a:lnTo>
                      <a:pt x="38" y="180"/>
                    </a:lnTo>
                    <a:lnTo>
                      <a:pt x="38" y="180"/>
                    </a:lnTo>
                    <a:lnTo>
                      <a:pt x="38" y="180"/>
                    </a:lnTo>
                    <a:lnTo>
                      <a:pt x="38" y="180"/>
                    </a:lnTo>
                    <a:lnTo>
                      <a:pt x="38" y="180"/>
                    </a:lnTo>
                    <a:lnTo>
                      <a:pt x="38" y="180"/>
                    </a:lnTo>
                    <a:lnTo>
                      <a:pt x="38" y="180"/>
                    </a:lnTo>
                    <a:close/>
                    <a:moveTo>
                      <a:pt x="75" y="122"/>
                    </a:moveTo>
                    <a:lnTo>
                      <a:pt x="75" y="124"/>
                    </a:lnTo>
                    <a:lnTo>
                      <a:pt x="76" y="124"/>
                    </a:lnTo>
                    <a:lnTo>
                      <a:pt x="75" y="122"/>
                    </a:lnTo>
                    <a:lnTo>
                      <a:pt x="75" y="122"/>
                    </a:lnTo>
                    <a:lnTo>
                      <a:pt x="75" y="122"/>
                    </a:lnTo>
                    <a:lnTo>
                      <a:pt x="75" y="122"/>
                    </a:lnTo>
                    <a:lnTo>
                      <a:pt x="75" y="122"/>
                    </a:lnTo>
                    <a:lnTo>
                      <a:pt x="75" y="122"/>
                    </a:lnTo>
                    <a:lnTo>
                      <a:pt x="75" y="122"/>
                    </a:lnTo>
                    <a:lnTo>
                      <a:pt x="75" y="122"/>
                    </a:lnTo>
                    <a:lnTo>
                      <a:pt x="75" y="122"/>
                    </a:lnTo>
                    <a:close/>
                    <a:moveTo>
                      <a:pt x="122" y="40"/>
                    </a:moveTo>
                    <a:lnTo>
                      <a:pt x="117" y="35"/>
                    </a:lnTo>
                    <a:lnTo>
                      <a:pt x="117" y="34"/>
                    </a:lnTo>
                    <a:lnTo>
                      <a:pt x="117" y="30"/>
                    </a:lnTo>
                    <a:lnTo>
                      <a:pt x="117" y="29"/>
                    </a:lnTo>
                    <a:lnTo>
                      <a:pt x="119" y="27"/>
                    </a:lnTo>
                    <a:lnTo>
                      <a:pt x="117" y="26"/>
                    </a:lnTo>
                    <a:lnTo>
                      <a:pt x="116" y="24"/>
                    </a:lnTo>
                    <a:lnTo>
                      <a:pt x="116" y="22"/>
                    </a:lnTo>
                    <a:lnTo>
                      <a:pt x="116" y="22"/>
                    </a:lnTo>
                    <a:lnTo>
                      <a:pt x="116" y="19"/>
                    </a:lnTo>
                    <a:lnTo>
                      <a:pt x="114" y="19"/>
                    </a:lnTo>
                    <a:lnTo>
                      <a:pt x="113" y="16"/>
                    </a:lnTo>
                    <a:lnTo>
                      <a:pt x="113" y="16"/>
                    </a:lnTo>
                    <a:lnTo>
                      <a:pt x="114" y="13"/>
                    </a:lnTo>
                    <a:lnTo>
                      <a:pt x="113" y="13"/>
                    </a:lnTo>
                    <a:lnTo>
                      <a:pt x="111" y="11"/>
                    </a:lnTo>
                    <a:lnTo>
                      <a:pt x="108" y="10"/>
                    </a:lnTo>
                    <a:lnTo>
                      <a:pt x="103" y="7"/>
                    </a:lnTo>
                    <a:lnTo>
                      <a:pt x="92" y="0"/>
                    </a:lnTo>
                    <a:lnTo>
                      <a:pt x="87" y="0"/>
                    </a:lnTo>
                    <a:lnTo>
                      <a:pt x="87" y="0"/>
                    </a:lnTo>
                    <a:lnTo>
                      <a:pt x="87" y="0"/>
                    </a:lnTo>
                    <a:lnTo>
                      <a:pt x="87" y="0"/>
                    </a:lnTo>
                    <a:lnTo>
                      <a:pt x="81" y="0"/>
                    </a:lnTo>
                    <a:lnTo>
                      <a:pt x="84" y="2"/>
                    </a:lnTo>
                    <a:lnTo>
                      <a:pt x="84" y="3"/>
                    </a:lnTo>
                    <a:lnTo>
                      <a:pt x="81" y="7"/>
                    </a:lnTo>
                    <a:lnTo>
                      <a:pt x="84" y="7"/>
                    </a:lnTo>
                    <a:lnTo>
                      <a:pt x="81" y="8"/>
                    </a:lnTo>
                    <a:lnTo>
                      <a:pt x="76" y="8"/>
                    </a:lnTo>
                    <a:lnTo>
                      <a:pt x="70" y="7"/>
                    </a:lnTo>
                    <a:lnTo>
                      <a:pt x="67" y="7"/>
                    </a:lnTo>
                    <a:lnTo>
                      <a:pt x="65" y="7"/>
                    </a:lnTo>
                    <a:lnTo>
                      <a:pt x="64" y="7"/>
                    </a:lnTo>
                    <a:lnTo>
                      <a:pt x="64" y="8"/>
                    </a:lnTo>
                    <a:lnTo>
                      <a:pt x="64" y="11"/>
                    </a:lnTo>
                    <a:lnTo>
                      <a:pt x="62" y="13"/>
                    </a:lnTo>
                    <a:lnTo>
                      <a:pt x="60" y="13"/>
                    </a:lnTo>
                    <a:lnTo>
                      <a:pt x="57" y="13"/>
                    </a:lnTo>
                    <a:lnTo>
                      <a:pt x="54" y="13"/>
                    </a:lnTo>
                    <a:lnTo>
                      <a:pt x="49" y="16"/>
                    </a:lnTo>
                    <a:lnTo>
                      <a:pt x="46" y="19"/>
                    </a:lnTo>
                    <a:lnTo>
                      <a:pt x="46" y="22"/>
                    </a:lnTo>
                    <a:lnTo>
                      <a:pt x="49" y="22"/>
                    </a:lnTo>
                    <a:lnTo>
                      <a:pt x="49" y="24"/>
                    </a:lnTo>
                    <a:lnTo>
                      <a:pt x="41" y="30"/>
                    </a:lnTo>
                    <a:lnTo>
                      <a:pt x="40" y="30"/>
                    </a:lnTo>
                    <a:lnTo>
                      <a:pt x="40" y="32"/>
                    </a:lnTo>
                    <a:lnTo>
                      <a:pt x="40" y="34"/>
                    </a:lnTo>
                    <a:lnTo>
                      <a:pt x="40" y="35"/>
                    </a:lnTo>
                    <a:lnTo>
                      <a:pt x="35" y="37"/>
                    </a:lnTo>
                    <a:lnTo>
                      <a:pt x="30" y="37"/>
                    </a:lnTo>
                    <a:lnTo>
                      <a:pt x="32" y="41"/>
                    </a:lnTo>
                    <a:lnTo>
                      <a:pt x="32" y="45"/>
                    </a:lnTo>
                    <a:lnTo>
                      <a:pt x="30" y="48"/>
                    </a:lnTo>
                    <a:lnTo>
                      <a:pt x="27" y="51"/>
                    </a:lnTo>
                    <a:lnTo>
                      <a:pt x="22" y="56"/>
                    </a:lnTo>
                    <a:lnTo>
                      <a:pt x="25" y="56"/>
                    </a:lnTo>
                    <a:lnTo>
                      <a:pt x="27" y="57"/>
                    </a:lnTo>
                    <a:lnTo>
                      <a:pt x="27" y="59"/>
                    </a:lnTo>
                    <a:lnTo>
                      <a:pt x="27" y="61"/>
                    </a:lnTo>
                    <a:lnTo>
                      <a:pt x="25" y="62"/>
                    </a:lnTo>
                    <a:lnTo>
                      <a:pt x="22" y="62"/>
                    </a:lnTo>
                    <a:lnTo>
                      <a:pt x="17" y="62"/>
                    </a:lnTo>
                    <a:lnTo>
                      <a:pt x="14" y="64"/>
                    </a:lnTo>
                    <a:lnTo>
                      <a:pt x="11" y="65"/>
                    </a:lnTo>
                    <a:lnTo>
                      <a:pt x="8" y="67"/>
                    </a:lnTo>
                    <a:lnTo>
                      <a:pt x="8" y="68"/>
                    </a:lnTo>
                    <a:lnTo>
                      <a:pt x="8" y="68"/>
                    </a:lnTo>
                    <a:lnTo>
                      <a:pt x="8" y="72"/>
                    </a:lnTo>
                    <a:lnTo>
                      <a:pt x="8" y="75"/>
                    </a:lnTo>
                    <a:lnTo>
                      <a:pt x="8" y="78"/>
                    </a:lnTo>
                    <a:lnTo>
                      <a:pt x="8" y="78"/>
                    </a:lnTo>
                    <a:lnTo>
                      <a:pt x="8" y="81"/>
                    </a:lnTo>
                    <a:lnTo>
                      <a:pt x="8" y="84"/>
                    </a:lnTo>
                    <a:lnTo>
                      <a:pt x="8" y="89"/>
                    </a:lnTo>
                    <a:lnTo>
                      <a:pt x="8" y="92"/>
                    </a:lnTo>
                    <a:lnTo>
                      <a:pt x="11" y="94"/>
                    </a:lnTo>
                    <a:lnTo>
                      <a:pt x="14" y="95"/>
                    </a:lnTo>
                    <a:lnTo>
                      <a:pt x="14" y="97"/>
                    </a:lnTo>
                    <a:lnTo>
                      <a:pt x="17" y="99"/>
                    </a:lnTo>
                    <a:lnTo>
                      <a:pt x="14" y="100"/>
                    </a:lnTo>
                    <a:lnTo>
                      <a:pt x="11" y="102"/>
                    </a:lnTo>
                    <a:lnTo>
                      <a:pt x="11" y="103"/>
                    </a:lnTo>
                    <a:lnTo>
                      <a:pt x="11" y="103"/>
                    </a:lnTo>
                    <a:lnTo>
                      <a:pt x="11" y="107"/>
                    </a:lnTo>
                    <a:lnTo>
                      <a:pt x="14" y="110"/>
                    </a:lnTo>
                    <a:lnTo>
                      <a:pt x="11" y="113"/>
                    </a:lnTo>
                    <a:lnTo>
                      <a:pt x="11" y="114"/>
                    </a:lnTo>
                    <a:lnTo>
                      <a:pt x="8" y="114"/>
                    </a:lnTo>
                    <a:lnTo>
                      <a:pt x="8" y="116"/>
                    </a:lnTo>
                    <a:lnTo>
                      <a:pt x="6" y="118"/>
                    </a:lnTo>
                    <a:lnTo>
                      <a:pt x="6" y="119"/>
                    </a:lnTo>
                    <a:lnTo>
                      <a:pt x="5" y="121"/>
                    </a:lnTo>
                    <a:lnTo>
                      <a:pt x="6" y="122"/>
                    </a:lnTo>
                    <a:lnTo>
                      <a:pt x="6" y="127"/>
                    </a:lnTo>
                    <a:lnTo>
                      <a:pt x="5" y="129"/>
                    </a:lnTo>
                    <a:lnTo>
                      <a:pt x="3" y="130"/>
                    </a:lnTo>
                    <a:lnTo>
                      <a:pt x="2" y="129"/>
                    </a:lnTo>
                    <a:lnTo>
                      <a:pt x="2" y="127"/>
                    </a:lnTo>
                    <a:lnTo>
                      <a:pt x="0" y="127"/>
                    </a:lnTo>
                    <a:lnTo>
                      <a:pt x="0" y="127"/>
                    </a:lnTo>
                    <a:lnTo>
                      <a:pt x="0" y="129"/>
                    </a:lnTo>
                    <a:lnTo>
                      <a:pt x="0" y="132"/>
                    </a:lnTo>
                    <a:lnTo>
                      <a:pt x="0" y="135"/>
                    </a:lnTo>
                    <a:lnTo>
                      <a:pt x="0" y="137"/>
                    </a:lnTo>
                    <a:lnTo>
                      <a:pt x="2" y="137"/>
                    </a:lnTo>
                    <a:lnTo>
                      <a:pt x="3" y="138"/>
                    </a:lnTo>
                    <a:lnTo>
                      <a:pt x="3" y="137"/>
                    </a:lnTo>
                    <a:lnTo>
                      <a:pt x="5" y="137"/>
                    </a:lnTo>
                    <a:lnTo>
                      <a:pt x="3" y="138"/>
                    </a:lnTo>
                    <a:lnTo>
                      <a:pt x="5" y="138"/>
                    </a:lnTo>
                    <a:lnTo>
                      <a:pt x="8" y="138"/>
                    </a:lnTo>
                    <a:lnTo>
                      <a:pt x="6" y="141"/>
                    </a:lnTo>
                    <a:lnTo>
                      <a:pt x="6" y="145"/>
                    </a:lnTo>
                    <a:lnTo>
                      <a:pt x="6" y="145"/>
                    </a:lnTo>
                    <a:lnTo>
                      <a:pt x="8" y="148"/>
                    </a:lnTo>
                    <a:lnTo>
                      <a:pt x="8" y="149"/>
                    </a:lnTo>
                    <a:lnTo>
                      <a:pt x="8" y="149"/>
                    </a:lnTo>
                    <a:lnTo>
                      <a:pt x="11" y="153"/>
                    </a:lnTo>
                    <a:lnTo>
                      <a:pt x="14" y="157"/>
                    </a:lnTo>
                    <a:lnTo>
                      <a:pt x="17" y="161"/>
                    </a:lnTo>
                    <a:lnTo>
                      <a:pt x="17" y="162"/>
                    </a:lnTo>
                    <a:lnTo>
                      <a:pt x="14" y="162"/>
                    </a:lnTo>
                    <a:lnTo>
                      <a:pt x="17" y="165"/>
                    </a:lnTo>
                    <a:lnTo>
                      <a:pt x="14" y="165"/>
                    </a:lnTo>
                    <a:lnTo>
                      <a:pt x="14" y="168"/>
                    </a:lnTo>
                    <a:lnTo>
                      <a:pt x="17" y="172"/>
                    </a:lnTo>
                    <a:lnTo>
                      <a:pt x="21" y="173"/>
                    </a:lnTo>
                    <a:lnTo>
                      <a:pt x="17" y="176"/>
                    </a:lnTo>
                    <a:lnTo>
                      <a:pt x="29" y="175"/>
                    </a:lnTo>
                    <a:lnTo>
                      <a:pt x="32" y="176"/>
                    </a:lnTo>
                    <a:lnTo>
                      <a:pt x="33" y="176"/>
                    </a:lnTo>
                    <a:lnTo>
                      <a:pt x="33" y="175"/>
                    </a:lnTo>
                    <a:lnTo>
                      <a:pt x="32" y="172"/>
                    </a:lnTo>
                    <a:lnTo>
                      <a:pt x="32" y="172"/>
                    </a:lnTo>
                    <a:lnTo>
                      <a:pt x="33" y="170"/>
                    </a:lnTo>
                    <a:lnTo>
                      <a:pt x="35" y="168"/>
                    </a:lnTo>
                    <a:lnTo>
                      <a:pt x="38" y="168"/>
                    </a:lnTo>
                    <a:lnTo>
                      <a:pt x="38" y="167"/>
                    </a:lnTo>
                    <a:lnTo>
                      <a:pt x="41" y="167"/>
                    </a:lnTo>
                    <a:lnTo>
                      <a:pt x="43" y="167"/>
                    </a:lnTo>
                    <a:lnTo>
                      <a:pt x="46" y="167"/>
                    </a:lnTo>
                    <a:lnTo>
                      <a:pt x="49" y="167"/>
                    </a:lnTo>
                    <a:lnTo>
                      <a:pt x="52" y="164"/>
                    </a:lnTo>
                    <a:lnTo>
                      <a:pt x="54" y="159"/>
                    </a:lnTo>
                    <a:lnTo>
                      <a:pt x="54" y="156"/>
                    </a:lnTo>
                    <a:lnTo>
                      <a:pt x="56" y="154"/>
                    </a:lnTo>
                    <a:lnTo>
                      <a:pt x="56" y="151"/>
                    </a:lnTo>
                    <a:lnTo>
                      <a:pt x="57" y="149"/>
                    </a:lnTo>
                    <a:lnTo>
                      <a:pt x="57" y="148"/>
                    </a:lnTo>
                    <a:lnTo>
                      <a:pt x="56" y="148"/>
                    </a:lnTo>
                    <a:lnTo>
                      <a:pt x="57" y="145"/>
                    </a:lnTo>
                    <a:lnTo>
                      <a:pt x="56" y="145"/>
                    </a:lnTo>
                    <a:lnTo>
                      <a:pt x="54" y="141"/>
                    </a:lnTo>
                    <a:lnTo>
                      <a:pt x="57" y="145"/>
                    </a:lnTo>
                    <a:lnTo>
                      <a:pt x="57" y="141"/>
                    </a:lnTo>
                    <a:lnTo>
                      <a:pt x="56" y="141"/>
                    </a:lnTo>
                    <a:lnTo>
                      <a:pt x="57" y="141"/>
                    </a:lnTo>
                    <a:lnTo>
                      <a:pt x="57" y="138"/>
                    </a:lnTo>
                    <a:lnTo>
                      <a:pt x="52" y="135"/>
                    </a:lnTo>
                    <a:lnTo>
                      <a:pt x="56" y="137"/>
                    </a:lnTo>
                    <a:lnTo>
                      <a:pt x="59" y="135"/>
                    </a:lnTo>
                    <a:lnTo>
                      <a:pt x="56" y="134"/>
                    </a:lnTo>
                    <a:lnTo>
                      <a:pt x="57" y="134"/>
                    </a:lnTo>
                    <a:lnTo>
                      <a:pt x="59" y="134"/>
                    </a:lnTo>
                    <a:lnTo>
                      <a:pt x="60" y="134"/>
                    </a:lnTo>
                    <a:lnTo>
                      <a:pt x="60" y="132"/>
                    </a:lnTo>
                    <a:lnTo>
                      <a:pt x="62" y="132"/>
                    </a:lnTo>
                    <a:lnTo>
                      <a:pt x="65" y="132"/>
                    </a:lnTo>
                    <a:lnTo>
                      <a:pt x="64" y="130"/>
                    </a:lnTo>
                    <a:lnTo>
                      <a:pt x="65" y="130"/>
                    </a:lnTo>
                    <a:lnTo>
                      <a:pt x="65" y="129"/>
                    </a:lnTo>
                    <a:lnTo>
                      <a:pt x="67" y="130"/>
                    </a:lnTo>
                    <a:lnTo>
                      <a:pt x="65" y="127"/>
                    </a:lnTo>
                    <a:lnTo>
                      <a:pt x="67" y="129"/>
                    </a:lnTo>
                    <a:lnTo>
                      <a:pt x="68" y="130"/>
                    </a:lnTo>
                    <a:lnTo>
                      <a:pt x="70" y="129"/>
                    </a:lnTo>
                    <a:lnTo>
                      <a:pt x="71" y="127"/>
                    </a:lnTo>
                    <a:lnTo>
                      <a:pt x="75" y="126"/>
                    </a:lnTo>
                    <a:lnTo>
                      <a:pt x="75" y="124"/>
                    </a:lnTo>
                    <a:lnTo>
                      <a:pt x="73" y="124"/>
                    </a:lnTo>
                    <a:lnTo>
                      <a:pt x="71" y="124"/>
                    </a:lnTo>
                    <a:lnTo>
                      <a:pt x="70" y="122"/>
                    </a:lnTo>
                    <a:lnTo>
                      <a:pt x="73" y="122"/>
                    </a:lnTo>
                    <a:lnTo>
                      <a:pt x="76" y="121"/>
                    </a:lnTo>
                    <a:lnTo>
                      <a:pt x="78" y="119"/>
                    </a:lnTo>
                    <a:lnTo>
                      <a:pt x="81" y="118"/>
                    </a:lnTo>
                    <a:lnTo>
                      <a:pt x="78" y="116"/>
                    </a:lnTo>
                    <a:lnTo>
                      <a:pt x="78" y="116"/>
                    </a:lnTo>
                    <a:lnTo>
                      <a:pt x="78" y="114"/>
                    </a:lnTo>
                    <a:lnTo>
                      <a:pt x="78" y="113"/>
                    </a:lnTo>
                    <a:lnTo>
                      <a:pt x="75" y="113"/>
                    </a:lnTo>
                    <a:lnTo>
                      <a:pt x="71" y="110"/>
                    </a:lnTo>
                    <a:lnTo>
                      <a:pt x="68" y="110"/>
                    </a:lnTo>
                    <a:lnTo>
                      <a:pt x="68" y="107"/>
                    </a:lnTo>
                    <a:lnTo>
                      <a:pt x="67" y="107"/>
                    </a:lnTo>
                    <a:lnTo>
                      <a:pt x="65" y="107"/>
                    </a:lnTo>
                    <a:lnTo>
                      <a:pt x="64" y="107"/>
                    </a:lnTo>
                    <a:lnTo>
                      <a:pt x="60" y="107"/>
                    </a:lnTo>
                    <a:lnTo>
                      <a:pt x="62" y="103"/>
                    </a:lnTo>
                    <a:lnTo>
                      <a:pt x="60" y="103"/>
                    </a:lnTo>
                    <a:lnTo>
                      <a:pt x="59" y="100"/>
                    </a:lnTo>
                    <a:lnTo>
                      <a:pt x="59" y="99"/>
                    </a:lnTo>
                    <a:lnTo>
                      <a:pt x="59" y="97"/>
                    </a:lnTo>
                    <a:lnTo>
                      <a:pt x="59" y="95"/>
                    </a:lnTo>
                    <a:lnTo>
                      <a:pt x="59" y="94"/>
                    </a:lnTo>
                    <a:lnTo>
                      <a:pt x="60" y="92"/>
                    </a:lnTo>
                    <a:lnTo>
                      <a:pt x="62" y="94"/>
                    </a:lnTo>
                    <a:lnTo>
                      <a:pt x="62" y="92"/>
                    </a:lnTo>
                    <a:lnTo>
                      <a:pt x="60" y="89"/>
                    </a:lnTo>
                    <a:lnTo>
                      <a:pt x="62" y="87"/>
                    </a:lnTo>
                    <a:lnTo>
                      <a:pt x="64" y="86"/>
                    </a:lnTo>
                    <a:lnTo>
                      <a:pt x="60" y="84"/>
                    </a:lnTo>
                    <a:lnTo>
                      <a:pt x="60" y="81"/>
                    </a:lnTo>
                    <a:lnTo>
                      <a:pt x="62" y="83"/>
                    </a:lnTo>
                    <a:lnTo>
                      <a:pt x="65" y="81"/>
                    </a:lnTo>
                    <a:lnTo>
                      <a:pt x="67" y="81"/>
                    </a:lnTo>
                    <a:lnTo>
                      <a:pt x="67" y="78"/>
                    </a:lnTo>
                    <a:lnTo>
                      <a:pt x="65" y="78"/>
                    </a:lnTo>
                    <a:lnTo>
                      <a:pt x="64" y="75"/>
                    </a:lnTo>
                    <a:lnTo>
                      <a:pt x="65" y="75"/>
                    </a:lnTo>
                    <a:lnTo>
                      <a:pt x="65" y="78"/>
                    </a:lnTo>
                    <a:lnTo>
                      <a:pt x="68" y="78"/>
                    </a:lnTo>
                    <a:lnTo>
                      <a:pt x="70" y="78"/>
                    </a:lnTo>
                    <a:lnTo>
                      <a:pt x="71" y="78"/>
                    </a:lnTo>
                    <a:lnTo>
                      <a:pt x="71" y="75"/>
                    </a:lnTo>
                    <a:lnTo>
                      <a:pt x="70" y="75"/>
                    </a:lnTo>
                    <a:lnTo>
                      <a:pt x="73" y="75"/>
                    </a:lnTo>
                    <a:lnTo>
                      <a:pt x="78" y="72"/>
                    </a:lnTo>
                    <a:lnTo>
                      <a:pt x="81" y="68"/>
                    </a:lnTo>
                    <a:lnTo>
                      <a:pt x="81" y="68"/>
                    </a:lnTo>
                    <a:lnTo>
                      <a:pt x="84" y="68"/>
                    </a:lnTo>
                    <a:lnTo>
                      <a:pt x="84" y="68"/>
                    </a:lnTo>
                    <a:lnTo>
                      <a:pt x="87" y="68"/>
                    </a:lnTo>
                    <a:lnTo>
                      <a:pt x="89" y="65"/>
                    </a:lnTo>
                    <a:lnTo>
                      <a:pt x="89" y="67"/>
                    </a:lnTo>
                    <a:lnTo>
                      <a:pt x="90" y="65"/>
                    </a:lnTo>
                    <a:lnTo>
                      <a:pt x="94" y="62"/>
                    </a:lnTo>
                    <a:lnTo>
                      <a:pt x="97" y="59"/>
                    </a:lnTo>
                    <a:lnTo>
                      <a:pt x="100" y="57"/>
                    </a:lnTo>
                    <a:lnTo>
                      <a:pt x="97" y="54"/>
                    </a:lnTo>
                    <a:lnTo>
                      <a:pt x="97" y="54"/>
                    </a:lnTo>
                    <a:lnTo>
                      <a:pt x="95" y="51"/>
                    </a:lnTo>
                    <a:lnTo>
                      <a:pt x="97" y="51"/>
                    </a:lnTo>
                    <a:lnTo>
                      <a:pt x="100" y="51"/>
                    </a:lnTo>
                    <a:lnTo>
                      <a:pt x="100" y="48"/>
                    </a:lnTo>
                    <a:lnTo>
                      <a:pt x="100" y="48"/>
                    </a:lnTo>
                    <a:lnTo>
                      <a:pt x="98" y="46"/>
                    </a:lnTo>
                    <a:lnTo>
                      <a:pt x="102" y="46"/>
                    </a:lnTo>
                    <a:lnTo>
                      <a:pt x="103" y="45"/>
                    </a:lnTo>
                    <a:lnTo>
                      <a:pt x="102" y="45"/>
                    </a:lnTo>
                    <a:lnTo>
                      <a:pt x="103" y="43"/>
                    </a:lnTo>
                    <a:lnTo>
                      <a:pt x="108" y="45"/>
                    </a:lnTo>
                    <a:lnTo>
                      <a:pt x="106" y="43"/>
                    </a:lnTo>
                    <a:lnTo>
                      <a:pt x="106" y="41"/>
                    </a:lnTo>
                    <a:lnTo>
                      <a:pt x="106" y="40"/>
                    </a:lnTo>
                    <a:lnTo>
                      <a:pt x="108" y="40"/>
                    </a:lnTo>
                    <a:lnTo>
                      <a:pt x="108" y="41"/>
                    </a:lnTo>
                    <a:lnTo>
                      <a:pt x="111" y="40"/>
                    </a:lnTo>
                    <a:lnTo>
                      <a:pt x="114" y="41"/>
                    </a:lnTo>
                    <a:lnTo>
                      <a:pt x="113" y="40"/>
                    </a:lnTo>
                    <a:lnTo>
                      <a:pt x="116" y="41"/>
                    </a:lnTo>
                    <a:lnTo>
                      <a:pt x="117" y="41"/>
                    </a:lnTo>
                    <a:lnTo>
                      <a:pt x="122" y="40"/>
                    </a:lnTo>
                    <a:lnTo>
                      <a:pt x="122" y="40"/>
                    </a:lnTo>
                    <a:lnTo>
                      <a:pt x="122" y="40"/>
                    </a:lnTo>
                    <a:lnTo>
                      <a:pt x="122" y="40"/>
                    </a:lnTo>
                    <a:lnTo>
                      <a:pt x="122" y="40"/>
                    </a:lnTo>
                    <a:lnTo>
                      <a:pt x="122" y="40"/>
                    </a:lnTo>
                    <a:lnTo>
                      <a:pt x="122" y="40"/>
                    </a:lnTo>
                    <a:lnTo>
                      <a:pt x="122" y="40"/>
                    </a:lnTo>
                    <a:lnTo>
                      <a:pt x="122" y="40"/>
                    </a:lnTo>
                    <a:lnTo>
                      <a:pt x="122" y="40"/>
                    </a:lnTo>
                    <a:close/>
                    <a:moveTo>
                      <a:pt x="87" y="103"/>
                    </a:moveTo>
                    <a:lnTo>
                      <a:pt x="87" y="103"/>
                    </a:lnTo>
                    <a:lnTo>
                      <a:pt x="86" y="103"/>
                    </a:lnTo>
                    <a:lnTo>
                      <a:pt x="87" y="103"/>
                    </a:lnTo>
                    <a:lnTo>
                      <a:pt x="87" y="105"/>
                    </a:lnTo>
                    <a:lnTo>
                      <a:pt x="86" y="103"/>
                    </a:lnTo>
                    <a:lnTo>
                      <a:pt x="86" y="107"/>
                    </a:lnTo>
                    <a:lnTo>
                      <a:pt x="87" y="107"/>
                    </a:lnTo>
                    <a:lnTo>
                      <a:pt x="87" y="107"/>
                    </a:lnTo>
                    <a:lnTo>
                      <a:pt x="89" y="107"/>
                    </a:lnTo>
                    <a:lnTo>
                      <a:pt x="87" y="107"/>
                    </a:lnTo>
                    <a:lnTo>
                      <a:pt x="87" y="105"/>
                    </a:lnTo>
                    <a:lnTo>
                      <a:pt x="87" y="105"/>
                    </a:lnTo>
                    <a:lnTo>
                      <a:pt x="89" y="105"/>
                    </a:lnTo>
                    <a:lnTo>
                      <a:pt x="89" y="103"/>
                    </a:lnTo>
                    <a:lnTo>
                      <a:pt x="87" y="103"/>
                    </a:lnTo>
                    <a:lnTo>
                      <a:pt x="87" y="103"/>
                    </a:lnTo>
                    <a:lnTo>
                      <a:pt x="87" y="103"/>
                    </a:lnTo>
                    <a:lnTo>
                      <a:pt x="87" y="103"/>
                    </a:lnTo>
                    <a:lnTo>
                      <a:pt x="87" y="103"/>
                    </a:lnTo>
                    <a:lnTo>
                      <a:pt x="87" y="103"/>
                    </a:lnTo>
                    <a:lnTo>
                      <a:pt x="87" y="103"/>
                    </a:lnTo>
                    <a:lnTo>
                      <a:pt x="87" y="103"/>
                    </a:lnTo>
                    <a:lnTo>
                      <a:pt x="87" y="103"/>
                    </a:lnTo>
                    <a:lnTo>
                      <a:pt x="87" y="103"/>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72" name="Freeform 351">
                <a:extLst>
                  <a:ext uri="{FF2B5EF4-FFF2-40B4-BE49-F238E27FC236}">
                    <a16:creationId xmlns:a16="http://schemas.microsoft.com/office/drawing/2014/main" id="{E17FDE8C-EE03-E926-8B60-23562A8B5D9F}"/>
                  </a:ext>
                </a:extLst>
              </p:cNvPr>
              <p:cNvSpPr>
                <a:spLocks noEditPoints="1"/>
              </p:cNvSpPr>
              <p:nvPr/>
            </p:nvSpPr>
            <p:spPr bwMode="auto">
              <a:xfrm>
                <a:off x="5683936" y="2385424"/>
                <a:ext cx="361135" cy="309544"/>
              </a:xfrm>
              <a:custGeom>
                <a:avLst/>
                <a:gdLst>
                  <a:gd name="T0" fmla="*/ 149 w 161"/>
                  <a:gd name="T1" fmla="*/ 122 h 138"/>
                  <a:gd name="T2" fmla="*/ 151 w 161"/>
                  <a:gd name="T3" fmla="*/ 129 h 138"/>
                  <a:gd name="T4" fmla="*/ 154 w 161"/>
                  <a:gd name="T5" fmla="*/ 138 h 138"/>
                  <a:gd name="T6" fmla="*/ 157 w 161"/>
                  <a:gd name="T7" fmla="*/ 113 h 138"/>
                  <a:gd name="T8" fmla="*/ 157 w 161"/>
                  <a:gd name="T9" fmla="*/ 113 h 138"/>
                  <a:gd name="T10" fmla="*/ 137 w 161"/>
                  <a:gd name="T11" fmla="*/ 29 h 138"/>
                  <a:gd name="T12" fmla="*/ 130 w 161"/>
                  <a:gd name="T13" fmla="*/ 29 h 138"/>
                  <a:gd name="T14" fmla="*/ 113 w 161"/>
                  <a:gd name="T15" fmla="*/ 21 h 138"/>
                  <a:gd name="T16" fmla="*/ 105 w 161"/>
                  <a:gd name="T17" fmla="*/ 16 h 138"/>
                  <a:gd name="T18" fmla="*/ 100 w 161"/>
                  <a:gd name="T19" fmla="*/ 11 h 138"/>
                  <a:gd name="T20" fmla="*/ 92 w 161"/>
                  <a:gd name="T21" fmla="*/ 8 h 138"/>
                  <a:gd name="T22" fmla="*/ 84 w 161"/>
                  <a:gd name="T23" fmla="*/ 0 h 138"/>
                  <a:gd name="T24" fmla="*/ 73 w 161"/>
                  <a:gd name="T25" fmla="*/ 8 h 138"/>
                  <a:gd name="T26" fmla="*/ 68 w 161"/>
                  <a:gd name="T27" fmla="*/ 16 h 138"/>
                  <a:gd name="T28" fmla="*/ 61 w 161"/>
                  <a:gd name="T29" fmla="*/ 24 h 138"/>
                  <a:gd name="T30" fmla="*/ 46 w 161"/>
                  <a:gd name="T31" fmla="*/ 26 h 138"/>
                  <a:gd name="T32" fmla="*/ 38 w 161"/>
                  <a:gd name="T33" fmla="*/ 21 h 138"/>
                  <a:gd name="T34" fmla="*/ 37 w 161"/>
                  <a:gd name="T35" fmla="*/ 26 h 138"/>
                  <a:gd name="T36" fmla="*/ 35 w 161"/>
                  <a:gd name="T37" fmla="*/ 35 h 138"/>
                  <a:gd name="T38" fmla="*/ 29 w 161"/>
                  <a:gd name="T39" fmla="*/ 35 h 138"/>
                  <a:gd name="T40" fmla="*/ 19 w 161"/>
                  <a:gd name="T41" fmla="*/ 32 h 138"/>
                  <a:gd name="T42" fmla="*/ 2 w 161"/>
                  <a:gd name="T43" fmla="*/ 38 h 138"/>
                  <a:gd name="T44" fmla="*/ 7 w 161"/>
                  <a:gd name="T45" fmla="*/ 40 h 138"/>
                  <a:gd name="T46" fmla="*/ 7 w 161"/>
                  <a:gd name="T47" fmla="*/ 46 h 138"/>
                  <a:gd name="T48" fmla="*/ 16 w 161"/>
                  <a:gd name="T49" fmla="*/ 48 h 138"/>
                  <a:gd name="T50" fmla="*/ 22 w 161"/>
                  <a:gd name="T51" fmla="*/ 49 h 138"/>
                  <a:gd name="T52" fmla="*/ 26 w 161"/>
                  <a:gd name="T53" fmla="*/ 53 h 138"/>
                  <a:gd name="T54" fmla="*/ 30 w 161"/>
                  <a:gd name="T55" fmla="*/ 56 h 138"/>
                  <a:gd name="T56" fmla="*/ 38 w 161"/>
                  <a:gd name="T57" fmla="*/ 67 h 138"/>
                  <a:gd name="T58" fmla="*/ 38 w 161"/>
                  <a:gd name="T59" fmla="*/ 76 h 138"/>
                  <a:gd name="T60" fmla="*/ 38 w 161"/>
                  <a:gd name="T61" fmla="*/ 91 h 138"/>
                  <a:gd name="T62" fmla="*/ 35 w 161"/>
                  <a:gd name="T63" fmla="*/ 103 h 138"/>
                  <a:gd name="T64" fmla="*/ 35 w 161"/>
                  <a:gd name="T65" fmla="*/ 111 h 138"/>
                  <a:gd name="T66" fmla="*/ 41 w 161"/>
                  <a:gd name="T67" fmla="*/ 114 h 138"/>
                  <a:gd name="T68" fmla="*/ 51 w 161"/>
                  <a:gd name="T69" fmla="*/ 118 h 138"/>
                  <a:gd name="T70" fmla="*/ 61 w 161"/>
                  <a:gd name="T71" fmla="*/ 116 h 138"/>
                  <a:gd name="T72" fmla="*/ 67 w 161"/>
                  <a:gd name="T73" fmla="*/ 121 h 138"/>
                  <a:gd name="T74" fmla="*/ 80 w 161"/>
                  <a:gd name="T75" fmla="*/ 122 h 138"/>
                  <a:gd name="T76" fmla="*/ 88 w 161"/>
                  <a:gd name="T77" fmla="*/ 122 h 138"/>
                  <a:gd name="T78" fmla="*/ 91 w 161"/>
                  <a:gd name="T79" fmla="*/ 110 h 138"/>
                  <a:gd name="T80" fmla="*/ 105 w 161"/>
                  <a:gd name="T81" fmla="*/ 107 h 138"/>
                  <a:gd name="T82" fmla="*/ 110 w 161"/>
                  <a:gd name="T83" fmla="*/ 108 h 138"/>
                  <a:gd name="T84" fmla="*/ 111 w 161"/>
                  <a:gd name="T85" fmla="*/ 111 h 138"/>
                  <a:gd name="T86" fmla="*/ 127 w 161"/>
                  <a:gd name="T87" fmla="*/ 111 h 138"/>
                  <a:gd name="T88" fmla="*/ 137 w 161"/>
                  <a:gd name="T89" fmla="*/ 102 h 138"/>
                  <a:gd name="T90" fmla="*/ 134 w 161"/>
                  <a:gd name="T91" fmla="*/ 97 h 138"/>
                  <a:gd name="T92" fmla="*/ 130 w 161"/>
                  <a:gd name="T93" fmla="*/ 91 h 138"/>
                  <a:gd name="T94" fmla="*/ 134 w 161"/>
                  <a:gd name="T95" fmla="*/ 81 h 138"/>
                  <a:gd name="T96" fmla="*/ 130 w 161"/>
                  <a:gd name="T97" fmla="*/ 72 h 138"/>
                  <a:gd name="T98" fmla="*/ 126 w 161"/>
                  <a:gd name="T99" fmla="*/ 65 h 138"/>
                  <a:gd name="T100" fmla="*/ 121 w 161"/>
                  <a:gd name="T101" fmla="*/ 67 h 138"/>
                  <a:gd name="T102" fmla="*/ 129 w 161"/>
                  <a:gd name="T103" fmla="*/ 56 h 138"/>
                  <a:gd name="T104" fmla="*/ 134 w 161"/>
                  <a:gd name="T105" fmla="*/ 53 h 138"/>
                  <a:gd name="T106" fmla="*/ 137 w 161"/>
                  <a:gd name="T107" fmla="*/ 48 h 138"/>
                  <a:gd name="T108" fmla="*/ 146 w 161"/>
                  <a:gd name="T109" fmla="*/ 29 h 138"/>
                  <a:gd name="T110" fmla="*/ 141 w 161"/>
                  <a:gd name="T111" fmla="*/ 29 h 138"/>
                  <a:gd name="T112" fmla="*/ 141 w 161"/>
                  <a:gd name="T113" fmla="*/ 2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 h="138">
                    <a:moveTo>
                      <a:pt x="157" y="113"/>
                    </a:moveTo>
                    <a:lnTo>
                      <a:pt x="157" y="114"/>
                    </a:lnTo>
                    <a:lnTo>
                      <a:pt x="157" y="118"/>
                    </a:lnTo>
                    <a:lnTo>
                      <a:pt x="151" y="119"/>
                    </a:lnTo>
                    <a:lnTo>
                      <a:pt x="149" y="122"/>
                    </a:lnTo>
                    <a:lnTo>
                      <a:pt x="149" y="124"/>
                    </a:lnTo>
                    <a:lnTo>
                      <a:pt x="149" y="126"/>
                    </a:lnTo>
                    <a:lnTo>
                      <a:pt x="151" y="127"/>
                    </a:lnTo>
                    <a:lnTo>
                      <a:pt x="149" y="129"/>
                    </a:lnTo>
                    <a:lnTo>
                      <a:pt x="151" y="129"/>
                    </a:lnTo>
                    <a:lnTo>
                      <a:pt x="149" y="132"/>
                    </a:lnTo>
                    <a:lnTo>
                      <a:pt x="153" y="132"/>
                    </a:lnTo>
                    <a:lnTo>
                      <a:pt x="151" y="132"/>
                    </a:lnTo>
                    <a:lnTo>
                      <a:pt x="153" y="135"/>
                    </a:lnTo>
                    <a:lnTo>
                      <a:pt x="154" y="138"/>
                    </a:lnTo>
                    <a:lnTo>
                      <a:pt x="161" y="126"/>
                    </a:lnTo>
                    <a:lnTo>
                      <a:pt x="161" y="119"/>
                    </a:lnTo>
                    <a:lnTo>
                      <a:pt x="157" y="113"/>
                    </a:lnTo>
                    <a:lnTo>
                      <a:pt x="157" y="113"/>
                    </a:lnTo>
                    <a:lnTo>
                      <a:pt x="157" y="113"/>
                    </a:lnTo>
                    <a:lnTo>
                      <a:pt x="157" y="113"/>
                    </a:lnTo>
                    <a:lnTo>
                      <a:pt x="157" y="113"/>
                    </a:lnTo>
                    <a:lnTo>
                      <a:pt x="157" y="113"/>
                    </a:lnTo>
                    <a:lnTo>
                      <a:pt x="157" y="113"/>
                    </a:lnTo>
                    <a:lnTo>
                      <a:pt x="157" y="113"/>
                    </a:lnTo>
                    <a:lnTo>
                      <a:pt x="157" y="113"/>
                    </a:lnTo>
                    <a:close/>
                    <a:moveTo>
                      <a:pt x="141" y="29"/>
                    </a:moveTo>
                    <a:lnTo>
                      <a:pt x="140" y="29"/>
                    </a:lnTo>
                    <a:lnTo>
                      <a:pt x="137" y="29"/>
                    </a:lnTo>
                    <a:lnTo>
                      <a:pt x="137" y="29"/>
                    </a:lnTo>
                    <a:lnTo>
                      <a:pt x="134" y="29"/>
                    </a:lnTo>
                    <a:lnTo>
                      <a:pt x="134" y="29"/>
                    </a:lnTo>
                    <a:lnTo>
                      <a:pt x="134" y="27"/>
                    </a:lnTo>
                    <a:lnTo>
                      <a:pt x="130" y="27"/>
                    </a:lnTo>
                    <a:lnTo>
                      <a:pt x="130" y="29"/>
                    </a:lnTo>
                    <a:lnTo>
                      <a:pt x="129" y="26"/>
                    </a:lnTo>
                    <a:lnTo>
                      <a:pt x="126" y="24"/>
                    </a:lnTo>
                    <a:lnTo>
                      <a:pt x="119" y="22"/>
                    </a:lnTo>
                    <a:lnTo>
                      <a:pt x="114" y="22"/>
                    </a:lnTo>
                    <a:lnTo>
                      <a:pt x="113" y="21"/>
                    </a:lnTo>
                    <a:lnTo>
                      <a:pt x="110" y="19"/>
                    </a:lnTo>
                    <a:lnTo>
                      <a:pt x="110" y="16"/>
                    </a:lnTo>
                    <a:lnTo>
                      <a:pt x="110" y="13"/>
                    </a:lnTo>
                    <a:lnTo>
                      <a:pt x="107" y="16"/>
                    </a:lnTo>
                    <a:lnTo>
                      <a:pt x="105" y="16"/>
                    </a:lnTo>
                    <a:lnTo>
                      <a:pt x="103" y="16"/>
                    </a:lnTo>
                    <a:lnTo>
                      <a:pt x="102" y="16"/>
                    </a:lnTo>
                    <a:lnTo>
                      <a:pt x="102" y="13"/>
                    </a:lnTo>
                    <a:lnTo>
                      <a:pt x="102" y="11"/>
                    </a:lnTo>
                    <a:lnTo>
                      <a:pt x="100" y="11"/>
                    </a:lnTo>
                    <a:lnTo>
                      <a:pt x="99" y="11"/>
                    </a:lnTo>
                    <a:lnTo>
                      <a:pt x="97" y="11"/>
                    </a:lnTo>
                    <a:lnTo>
                      <a:pt x="95" y="10"/>
                    </a:lnTo>
                    <a:lnTo>
                      <a:pt x="94" y="8"/>
                    </a:lnTo>
                    <a:lnTo>
                      <a:pt x="92" y="8"/>
                    </a:lnTo>
                    <a:lnTo>
                      <a:pt x="91" y="6"/>
                    </a:lnTo>
                    <a:lnTo>
                      <a:pt x="86" y="5"/>
                    </a:lnTo>
                    <a:lnTo>
                      <a:pt x="84" y="3"/>
                    </a:lnTo>
                    <a:lnTo>
                      <a:pt x="84" y="3"/>
                    </a:lnTo>
                    <a:lnTo>
                      <a:pt x="84" y="0"/>
                    </a:lnTo>
                    <a:lnTo>
                      <a:pt x="84" y="0"/>
                    </a:lnTo>
                    <a:lnTo>
                      <a:pt x="83" y="0"/>
                    </a:lnTo>
                    <a:lnTo>
                      <a:pt x="80" y="0"/>
                    </a:lnTo>
                    <a:lnTo>
                      <a:pt x="75" y="3"/>
                    </a:lnTo>
                    <a:lnTo>
                      <a:pt x="73" y="8"/>
                    </a:lnTo>
                    <a:lnTo>
                      <a:pt x="73" y="11"/>
                    </a:lnTo>
                    <a:lnTo>
                      <a:pt x="75" y="13"/>
                    </a:lnTo>
                    <a:lnTo>
                      <a:pt x="73" y="13"/>
                    </a:lnTo>
                    <a:lnTo>
                      <a:pt x="72" y="14"/>
                    </a:lnTo>
                    <a:lnTo>
                      <a:pt x="68" y="16"/>
                    </a:lnTo>
                    <a:lnTo>
                      <a:pt x="61" y="19"/>
                    </a:lnTo>
                    <a:lnTo>
                      <a:pt x="57" y="21"/>
                    </a:lnTo>
                    <a:lnTo>
                      <a:pt x="57" y="22"/>
                    </a:lnTo>
                    <a:lnTo>
                      <a:pt x="57" y="24"/>
                    </a:lnTo>
                    <a:lnTo>
                      <a:pt x="61" y="24"/>
                    </a:lnTo>
                    <a:lnTo>
                      <a:pt x="61" y="24"/>
                    </a:lnTo>
                    <a:lnTo>
                      <a:pt x="57" y="26"/>
                    </a:lnTo>
                    <a:lnTo>
                      <a:pt x="54" y="26"/>
                    </a:lnTo>
                    <a:lnTo>
                      <a:pt x="51" y="26"/>
                    </a:lnTo>
                    <a:lnTo>
                      <a:pt x="46" y="26"/>
                    </a:lnTo>
                    <a:lnTo>
                      <a:pt x="43" y="26"/>
                    </a:lnTo>
                    <a:lnTo>
                      <a:pt x="41" y="24"/>
                    </a:lnTo>
                    <a:lnTo>
                      <a:pt x="41" y="22"/>
                    </a:lnTo>
                    <a:lnTo>
                      <a:pt x="41" y="21"/>
                    </a:lnTo>
                    <a:lnTo>
                      <a:pt x="38" y="21"/>
                    </a:lnTo>
                    <a:lnTo>
                      <a:pt x="37" y="21"/>
                    </a:lnTo>
                    <a:lnTo>
                      <a:pt x="34" y="19"/>
                    </a:lnTo>
                    <a:lnTo>
                      <a:pt x="35" y="22"/>
                    </a:lnTo>
                    <a:lnTo>
                      <a:pt x="35" y="24"/>
                    </a:lnTo>
                    <a:lnTo>
                      <a:pt x="37" y="26"/>
                    </a:lnTo>
                    <a:lnTo>
                      <a:pt x="38" y="27"/>
                    </a:lnTo>
                    <a:lnTo>
                      <a:pt x="37" y="32"/>
                    </a:lnTo>
                    <a:lnTo>
                      <a:pt x="38" y="35"/>
                    </a:lnTo>
                    <a:lnTo>
                      <a:pt x="40" y="35"/>
                    </a:lnTo>
                    <a:lnTo>
                      <a:pt x="35" y="35"/>
                    </a:lnTo>
                    <a:lnTo>
                      <a:pt x="34" y="35"/>
                    </a:lnTo>
                    <a:lnTo>
                      <a:pt x="32" y="35"/>
                    </a:lnTo>
                    <a:lnTo>
                      <a:pt x="32" y="35"/>
                    </a:lnTo>
                    <a:lnTo>
                      <a:pt x="30" y="35"/>
                    </a:lnTo>
                    <a:lnTo>
                      <a:pt x="29" y="35"/>
                    </a:lnTo>
                    <a:lnTo>
                      <a:pt x="29" y="35"/>
                    </a:lnTo>
                    <a:lnTo>
                      <a:pt x="26" y="35"/>
                    </a:lnTo>
                    <a:lnTo>
                      <a:pt x="22" y="35"/>
                    </a:lnTo>
                    <a:lnTo>
                      <a:pt x="19" y="32"/>
                    </a:lnTo>
                    <a:lnTo>
                      <a:pt x="19" y="32"/>
                    </a:lnTo>
                    <a:lnTo>
                      <a:pt x="16" y="32"/>
                    </a:lnTo>
                    <a:lnTo>
                      <a:pt x="13" y="35"/>
                    </a:lnTo>
                    <a:lnTo>
                      <a:pt x="5" y="35"/>
                    </a:lnTo>
                    <a:lnTo>
                      <a:pt x="2" y="35"/>
                    </a:lnTo>
                    <a:lnTo>
                      <a:pt x="2" y="38"/>
                    </a:lnTo>
                    <a:lnTo>
                      <a:pt x="0" y="38"/>
                    </a:lnTo>
                    <a:lnTo>
                      <a:pt x="2" y="38"/>
                    </a:lnTo>
                    <a:lnTo>
                      <a:pt x="3" y="38"/>
                    </a:lnTo>
                    <a:lnTo>
                      <a:pt x="5" y="38"/>
                    </a:lnTo>
                    <a:lnTo>
                      <a:pt x="7" y="40"/>
                    </a:lnTo>
                    <a:lnTo>
                      <a:pt x="5" y="40"/>
                    </a:lnTo>
                    <a:lnTo>
                      <a:pt x="7" y="41"/>
                    </a:lnTo>
                    <a:lnTo>
                      <a:pt x="2" y="43"/>
                    </a:lnTo>
                    <a:lnTo>
                      <a:pt x="3" y="45"/>
                    </a:lnTo>
                    <a:lnTo>
                      <a:pt x="7" y="46"/>
                    </a:lnTo>
                    <a:lnTo>
                      <a:pt x="10" y="46"/>
                    </a:lnTo>
                    <a:lnTo>
                      <a:pt x="11" y="46"/>
                    </a:lnTo>
                    <a:lnTo>
                      <a:pt x="14" y="48"/>
                    </a:lnTo>
                    <a:lnTo>
                      <a:pt x="16" y="46"/>
                    </a:lnTo>
                    <a:lnTo>
                      <a:pt x="16" y="48"/>
                    </a:lnTo>
                    <a:lnTo>
                      <a:pt x="19" y="48"/>
                    </a:lnTo>
                    <a:lnTo>
                      <a:pt x="19" y="49"/>
                    </a:lnTo>
                    <a:lnTo>
                      <a:pt x="19" y="51"/>
                    </a:lnTo>
                    <a:lnTo>
                      <a:pt x="22" y="49"/>
                    </a:lnTo>
                    <a:lnTo>
                      <a:pt x="22" y="49"/>
                    </a:lnTo>
                    <a:lnTo>
                      <a:pt x="22" y="51"/>
                    </a:lnTo>
                    <a:lnTo>
                      <a:pt x="22" y="51"/>
                    </a:lnTo>
                    <a:lnTo>
                      <a:pt x="26" y="51"/>
                    </a:lnTo>
                    <a:lnTo>
                      <a:pt x="26" y="51"/>
                    </a:lnTo>
                    <a:lnTo>
                      <a:pt x="26" y="53"/>
                    </a:lnTo>
                    <a:lnTo>
                      <a:pt x="26" y="54"/>
                    </a:lnTo>
                    <a:lnTo>
                      <a:pt x="29" y="54"/>
                    </a:lnTo>
                    <a:lnTo>
                      <a:pt x="29" y="54"/>
                    </a:lnTo>
                    <a:lnTo>
                      <a:pt x="29" y="56"/>
                    </a:lnTo>
                    <a:lnTo>
                      <a:pt x="30" y="56"/>
                    </a:lnTo>
                    <a:lnTo>
                      <a:pt x="29" y="59"/>
                    </a:lnTo>
                    <a:lnTo>
                      <a:pt x="30" y="62"/>
                    </a:lnTo>
                    <a:lnTo>
                      <a:pt x="32" y="64"/>
                    </a:lnTo>
                    <a:lnTo>
                      <a:pt x="37" y="67"/>
                    </a:lnTo>
                    <a:lnTo>
                      <a:pt x="38" y="67"/>
                    </a:lnTo>
                    <a:lnTo>
                      <a:pt x="40" y="67"/>
                    </a:lnTo>
                    <a:lnTo>
                      <a:pt x="40" y="72"/>
                    </a:lnTo>
                    <a:lnTo>
                      <a:pt x="40" y="75"/>
                    </a:lnTo>
                    <a:lnTo>
                      <a:pt x="38" y="75"/>
                    </a:lnTo>
                    <a:lnTo>
                      <a:pt x="38" y="76"/>
                    </a:lnTo>
                    <a:lnTo>
                      <a:pt x="41" y="78"/>
                    </a:lnTo>
                    <a:lnTo>
                      <a:pt x="43" y="80"/>
                    </a:lnTo>
                    <a:lnTo>
                      <a:pt x="40" y="78"/>
                    </a:lnTo>
                    <a:lnTo>
                      <a:pt x="38" y="84"/>
                    </a:lnTo>
                    <a:lnTo>
                      <a:pt x="38" y="91"/>
                    </a:lnTo>
                    <a:lnTo>
                      <a:pt x="40" y="91"/>
                    </a:lnTo>
                    <a:lnTo>
                      <a:pt x="38" y="91"/>
                    </a:lnTo>
                    <a:lnTo>
                      <a:pt x="37" y="94"/>
                    </a:lnTo>
                    <a:lnTo>
                      <a:pt x="37" y="95"/>
                    </a:lnTo>
                    <a:lnTo>
                      <a:pt x="35" y="103"/>
                    </a:lnTo>
                    <a:lnTo>
                      <a:pt x="34" y="107"/>
                    </a:lnTo>
                    <a:lnTo>
                      <a:pt x="32" y="108"/>
                    </a:lnTo>
                    <a:lnTo>
                      <a:pt x="30" y="110"/>
                    </a:lnTo>
                    <a:lnTo>
                      <a:pt x="32" y="110"/>
                    </a:lnTo>
                    <a:lnTo>
                      <a:pt x="35" y="111"/>
                    </a:lnTo>
                    <a:lnTo>
                      <a:pt x="34" y="113"/>
                    </a:lnTo>
                    <a:lnTo>
                      <a:pt x="35" y="113"/>
                    </a:lnTo>
                    <a:lnTo>
                      <a:pt x="37" y="113"/>
                    </a:lnTo>
                    <a:lnTo>
                      <a:pt x="38" y="113"/>
                    </a:lnTo>
                    <a:lnTo>
                      <a:pt x="41" y="114"/>
                    </a:lnTo>
                    <a:lnTo>
                      <a:pt x="46" y="116"/>
                    </a:lnTo>
                    <a:lnTo>
                      <a:pt x="48" y="116"/>
                    </a:lnTo>
                    <a:lnTo>
                      <a:pt x="49" y="118"/>
                    </a:lnTo>
                    <a:lnTo>
                      <a:pt x="51" y="118"/>
                    </a:lnTo>
                    <a:lnTo>
                      <a:pt x="51" y="118"/>
                    </a:lnTo>
                    <a:lnTo>
                      <a:pt x="54" y="118"/>
                    </a:lnTo>
                    <a:lnTo>
                      <a:pt x="57" y="118"/>
                    </a:lnTo>
                    <a:lnTo>
                      <a:pt x="57" y="116"/>
                    </a:lnTo>
                    <a:lnTo>
                      <a:pt x="61" y="116"/>
                    </a:lnTo>
                    <a:lnTo>
                      <a:pt x="61" y="116"/>
                    </a:lnTo>
                    <a:lnTo>
                      <a:pt x="64" y="118"/>
                    </a:lnTo>
                    <a:lnTo>
                      <a:pt x="65" y="118"/>
                    </a:lnTo>
                    <a:lnTo>
                      <a:pt x="67" y="118"/>
                    </a:lnTo>
                    <a:lnTo>
                      <a:pt x="67" y="119"/>
                    </a:lnTo>
                    <a:lnTo>
                      <a:pt x="67" y="121"/>
                    </a:lnTo>
                    <a:lnTo>
                      <a:pt x="70" y="121"/>
                    </a:lnTo>
                    <a:lnTo>
                      <a:pt x="75" y="122"/>
                    </a:lnTo>
                    <a:lnTo>
                      <a:pt x="76" y="122"/>
                    </a:lnTo>
                    <a:lnTo>
                      <a:pt x="78" y="122"/>
                    </a:lnTo>
                    <a:lnTo>
                      <a:pt x="80" y="122"/>
                    </a:lnTo>
                    <a:lnTo>
                      <a:pt x="81" y="122"/>
                    </a:lnTo>
                    <a:lnTo>
                      <a:pt x="83" y="122"/>
                    </a:lnTo>
                    <a:lnTo>
                      <a:pt x="84" y="121"/>
                    </a:lnTo>
                    <a:lnTo>
                      <a:pt x="86" y="121"/>
                    </a:lnTo>
                    <a:lnTo>
                      <a:pt x="88" y="122"/>
                    </a:lnTo>
                    <a:lnTo>
                      <a:pt x="84" y="114"/>
                    </a:lnTo>
                    <a:lnTo>
                      <a:pt x="86" y="113"/>
                    </a:lnTo>
                    <a:lnTo>
                      <a:pt x="86" y="113"/>
                    </a:lnTo>
                    <a:lnTo>
                      <a:pt x="88" y="111"/>
                    </a:lnTo>
                    <a:lnTo>
                      <a:pt x="91" y="110"/>
                    </a:lnTo>
                    <a:lnTo>
                      <a:pt x="94" y="108"/>
                    </a:lnTo>
                    <a:lnTo>
                      <a:pt x="97" y="107"/>
                    </a:lnTo>
                    <a:lnTo>
                      <a:pt x="102" y="108"/>
                    </a:lnTo>
                    <a:lnTo>
                      <a:pt x="105" y="108"/>
                    </a:lnTo>
                    <a:lnTo>
                      <a:pt x="105" y="107"/>
                    </a:lnTo>
                    <a:lnTo>
                      <a:pt x="107" y="108"/>
                    </a:lnTo>
                    <a:lnTo>
                      <a:pt x="108" y="108"/>
                    </a:lnTo>
                    <a:lnTo>
                      <a:pt x="110" y="108"/>
                    </a:lnTo>
                    <a:lnTo>
                      <a:pt x="110" y="107"/>
                    </a:lnTo>
                    <a:lnTo>
                      <a:pt x="110" y="108"/>
                    </a:lnTo>
                    <a:lnTo>
                      <a:pt x="110" y="108"/>
                    </a:lnTo>
                    <a:lnTo>
                      <a:pt x="110" y="110"/>
                    </a:lnTo>
                    <a:lnTo>
                      <a:pt x="110" y="110"/>
                    </a:lnTo>
                    <a:lnTo>
                      <a:pt x="111" y="110"/>
                    </a:lnTo>
                    <a:lnTo>
                      <a:pt x="111" y="111"/>
                    </a:lnTo>
                    <a:lnTo>
                      <a:pt x="114" y="113"/>
                    </a:lnTo>
                    <a:lnTo>
                      <a:pt x="119" y="113"/>
                    </a:lnTo>
                    <a:lnTo>
                      <a:pt x="121" y="113"/>
                    </a:lnTo>
                    <a:lnTo>
                      <a:pt x="122" y="113"/>
                    </a:lnTo>
                    <a:lnTo>
                      <a:pt x="127" y="111"/>
                    </a:lnTo>
                    <a:lnTo>
                      <a:pt x="127" y="110"/>
                    </a:lnTo>
                    <a:lnTo>
                      <a:pt x="134" y="107"/>
                    </a:lnTo>
                    <a:lnTo>
                      <a:pt x="137" y="103"/>
                    </a:lnTo>
                    <a:lnTo>
                      <a:pt x="137" y="103"/>
                    </a:lnTo>
                    <a:lnTo>
                      <a:pt x="137" y="102"/>
                    </a:lnTo>
                    <a:lnTo>
                      <a:pt x="137" y="100"/>
                    </a:lnTo>
                    <a:lnTo>
                      <a:pt x="140" y="99"/>
                    </a:lnTo>
                    <a:lnTo>
                      <a:pt x="140" y="97"/>
                    </a:lnTo>
                    <a:lnTo>
                      <a:pt x="137" y="97"/>
                    </a:lnTo>
                    <a:lnTo>
                      <a:pt x="134" y="97"/>
                    </a:lnTo>
                    <a:lnTo>
                      <a:pt x="134" y="97"/>
                    </a:lnTo>
                    <a:lnTo>
                      <a:pt x="130" y="95"/>
                    </a:lnTo>
                    <a:lnTo>
                      <a:pt x="130" y="94"/>
                    </a:lnTo>
                    <a:lnTo>
                      <a:pt x="130" y="91"/>
                    </a:lnTo>
                    <a:lnTo>
                      <a:pt x="130" y="91"/>
                    </a:lnTo>
                    <a:lnTo>
                      <a:pt x="130" y="87"/>
                    </a:lnTo>
                    <a:lnTo>
                      <a:pt x="129" y="87"/>
                    </a:lnTo>
                    <a:lnTo>
                      <a:pt x="127" y="84"/>
                    </a:lnTo>
                    <a:lnTo>
                      <a:pt x="130" y="84"/>
                    </a:lnTo>
                    <a:lnTo>
                      <a:pt x="134" y="81"/>
                    </a:lnTo>
                    <a:lnTo>
                      <a:pt x="134" y="80"/>
                    </a:lnTo>
                    <a:lnTo>
                      <a:pt x="130" y="78"/>
                    </a:lnTo>
                    <a:lnTo>
                      <a:pt x="130" y="75"/>
                    </a:lnTo>
                    <a:lnTo>
                      <a:pt x="130" y="73"/>
                    </a:lnTo>
                    <a:lnTo>
                      <a:pt x="130" y="72"/>
                    </a:lnTo>
                    <a:lnTo>
                      <a:pt x="130" y="70"/>
                    </a:lnTo>
                    <a:lnTo>
                      <a:pt x="130" y="67"/>
                    </a:lnTo>
                    <a:lnTo>
                      <a:pt x="129" y="65"/>
                    </a:lnTo>
                    <a:lnTo>
                      <a:pt x="127" y="65"/>
                    </a:lnTo>
                    <a:lnTo>
                      <a:pt x="126" y="65"/>
                    </a:lnTo>
                    <a:lnTo>
                      <a:pt x="124" y="65"/>
                    </a:lnTo>
                    <a:lnTo>
                      <a:pt x="124" y="67"/>
                    </a:lnTo>
                    <a:lnTo>
                      <a:pt x="122" y="68"/>
                    </a:lnTo>
                    <a:lnTo>
                      <a:pt x="119" y="70"/>
                    </a:lnTo>
                    <a:lnTo>
                      <a:pt x="121" y="67"/>
                    </a:lnTo>
                    <a:lnTo>
                      <a:pt x="121" y="64"/>
                    </a:lnTo>
                    <a:lnTo>
                      <a:pt x="122" y="62"/>
                    </a:lnTo>
                    <a:lnTo>
                      <a:pt x="124" y="60"/>
                    </a:lnTo>
                    <a:lnTo>
                      <a:pt x="126" y="59"/>
                    </a:lnTo>
                    <a:lnTo>
                      <a:pt x="129" y="56"/>
                    </a:lnTo>
                    <a:lnTo>
                      <a:pt x="134" y="53"/>
                    </a:lnTo>
                    <a:lnTo>
                      <a:pt x="130" y="53"/>
                    </a:lnTo>
                    <a:lnTo>
                      <a:pt x="130" y="51"/>
                    </a:lnTo>
                    <a:lnTo>
                      <a:pt x="134" y="51"/>
                    </a:lnTo>
                    <a:lnTo>
                      <a:pt x="134" y="53"/>
                    </a:lnTo>
                    <a:lnTo>
                      <a:pt x="137" y="51"/>
                    </a:lnTo>
                    <a:lnTo>
                      <a:pt x="137" y="51"/>
                    </a:lnTo>
                    <a:lnTo>
                      <a:pt x="140" y="49"/>
                    </a:lnTo>
                    <a:lnTo>
                      <a:pt x="137" y="49"/>
                    </a:lnTo>
                    <a:lnTo>
                      <a:pt x="137" y="48"/>
                    </a:lnTo>
                    <a:lnTo>
                      <a:pt x="137" y="46"/>
                    </a:lnTo>
                    <a:lnTo>
                      <a:pt x="140" y="43"/>
                    </a:lnTo>
                    <a:lnTo>
                      <a:pt x="140" y="38"/>
                    </a:lnTo>
                    <a:lnTo>
                      <a:pt x="141" y="35"/>
                    </a:lnTo>
                    <a:lnTo>
                      <a:pt x="146" y="29"/>
                    </a:lnTo>
                    <a:lnTo>
                      <a:pt x="145" y="29"/>
                    </a:lnTo>
                    <a:lnTo>
                      <a:pt x="141" y="29"/>
                    </a:lnTo>
                    <a:lnTo>
                      <a:pt x="141" y="29"/>
                    </a:lnTo>
                    <a:lnTo>
                      <a:pt x="141" y="29"/>
                    </a:lnTo>
                    <a:lnTo>
                      <a:pt x="141" y="29"/>
                    </a:lnTo>
                    <a:lnTo>
                      <a:pt x="141" y="29"/>
                    </a:lnTo>
                    <a:lnTo>
                      <a:pt x="141" y="29"/>
                    </a:lnTo>
                    <a:lnTo>
                      <a:pt x="141" y="29"/>
                    </a:lnTo>
                    <a:lnTo>
                      <a:pt x="141" y="29"/>
                    </a:lnTo>
                    <a:lnTo>
                      <a:pt x="141" y="29"/>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73" name="Freeform 353">
                <a:extLst>
                  <a:ext uri="{FF2B5EF4-FFF2-40B4-BE49-F238E27FC236}">
                    <a16:creationId xmlns:a16="http://schemas.microsoft.com/office/drawing/2014/main" id="{97C4AF3C-90EE-36A2-2666-4CB2B6236BE2}"/>
                  </a:ext>
                </a:extLst>
              </p:cNvPr>
              <p:cNvSpPr>
                <a:spLocks noEditPoints="1"/>
              </p:cNvSpPr>
              <p:nvPr/>
            </p:nvSpPr>
            <p:spPr bwMode="auto">
              <a:xfrm>
                <a:off x="5955346" y="2268784"/>
                <a:ext cx="224307" cy="237766"/>
              </a:xfrm>
              <a:custGeom>
                <a:avLst/>
                <a:gdLst>
                  <a:gd name="T0" fmla="*/ 98 w 100"/>
                  <a:gd name="T1" fmla="*/ 46 h 106"/>
                  <a:gd name="T2" fmla="*/ 95 w 100"/>
                  <a:gd name="T3" fmla="*/ 43 h 106"/>
                  <a:gd name="T4" fmla="*/ 95 w 100"/>
                  <a:gd name="T5" fmla="*/ 35 h 106"/>
                  <a:gd name="T6" fmla="*/ 90 w 100"/>
                  <a:gd name="T7" fmla="*/ 28 h 106"/>
                  <a:gd name="T8" fmla="*/ 92 w 100"/>
                  <a:gd name="T9" fmla="*/ 20 h 106"/>
                  <a:gd name="T10" fmla="*/ 86 w 100"/>
                  <a:gd name="T11" fmla="*/ 14 h 106"/>
                  <a:gd name="T12" fmla="*/ 81 w 100"/>
                  <a:gd name="T13" fmla="*/ 11 h 106"/>
                  <a:gd name="T14" fmla="*/ 73 w 100"/>
                  <a:gd name="T15" fmla="*/ 6 h 106"/>
                  <a:gd name="T16" fmla="*/ 67 w 100"/>
                  <a:gd name="T17" fmla="*/ 11 h 106"/>
                  <a:gd name="T18" fmla="*/ 60 w 100"/>
                  <a:gd name="T19" fmla="*/ 14 h 106"/>
                  <a:gd name="T20" fmla="*/ 54 w 100"/>
                  <a:gd name="T21" fmla="*/ 11 h 106"/>
                  <a:gd name="T22" fmla="*/ 51 w 100"/>
                  <a:gd name="T23" fmla="*/ 8 h 106"/>
                  <a:gd name="T24" fmla="*/ 44 w 100"/>
                  <a:gd name="T25" fmla="*/ 6 h 106"/>
                  <a:gd name="T26" fmla="*/ 36 w 100"/>
                  <a:gd name="T27" fmla="*/ 1 h 106"/>
                  <a:gd name="T28" fmla="*/ 33 w 100"/>
                  <a:gd name="T29" fmla="*/ 5 h 106"/>
                  <a:gd name="T30" fmla="*/ 32 w 100"/>
                  <a:gd name="T31" fmla="*/ 9 h 106"/>
                  <a:gd name="T32" fmla="*/ 33 w 100"/>
                  <a:gd name="T33" fmla="*/ 14 h 106"/>
                  <a:gd name="T34" fmla="*/ 32 w 100"/>
                  <a:gd name="T35" fmla="*/ 14 h 106"/>
                  <a:gd name="T36" fmla="*/ 28 w 100"/>
                  <a:gd name="T37" fmla="*/ 20 h 106"/>
                  <a:gd name="T38" fmla="*/ 24 w 100"/>
                  <a:gd name="T39" fmla="*/ 20 h 106"/>
                  <a:gd name="T40" fmla="*/ 14 w 100"/>
                  <a:gd name="T41" fmla="*/ 17 h 106"/>
                  <a:gd name="T42" fmla="*/ 14 w 100"/>
                  <a:gd name="T43" fmla="*/ 25 h 106"/>
                  <a:gd name="T44" fmla="*/ 13 w 100"/>
                  <a:gd name="T45" fmla="*/ 31 h 106"/>
                  <a:gd name="T46" fmla="*/ 13 w 100"/>
                  <a:gd name="T47" fmla="*/ 35 h 106"/>
                  <a:gd name="T48" fmla="*/ 9 w 100"/>
                  <a:gd name="T49" fmla="*/ 41 h 106"/>
                  <a:gd name="T50" fmla="*/ 0 w 100"/>
                  <a:gd name="T51" fmla="*/ 43 h 106"/>
                  <a:gd name="T52" fmla="*/ 3 w 100"/>
                  <a:gd name="T53" fmla="*/ 49 h 106"/>
                  <a:gd name="T54" fmla="*/ 1 w 100"/>
                  <a:gd name="T55" fmla="*/ 55 h 106"/>
                  <a:gd name="T56" fmla="*/ 5 w 100"/>
                  <a:gd name="T57" fmla="*/ 62 h 106"/>
                  <a:gd name="T58" fmla="*/ 1 w 100"/>
                  <a:gd name="T59" fmla="*/ 66 h 106"/>
                  <a:gd name="T60" fmla="*/ 6 w 100"/>
                  <a:gd name="T61" fmla="*/ 73 h 106"/>
                  <a:gd name="T62" fmla="*/ 11 w 100"/>
                  <a:gd name="T63" fmla="*/ 79 h 106"/>
                  <a:gd name="T64" fmla="*/ 16 w 100"/>
                  <a:gd name="T65" fmla="*/ 81 h 106"/>
                  <a:gd name="T66" fmla="*/ 24 w 100"/>
                  <a:gd name="T67" fmla="*/ 81 h 106"/>
                  <a:gd name="T68" fmla="*/ 19 w 100"/>
                  <a:gd name="T69" fmla="*/ 95 h 106"/>
                  <a:gd name="T70" fmla="*/ 19 w 100"/>
                  <a:gd name="T71" fmla="*/ 101 h 106"/>
                  <a:gd name="T72" fmla="*/ 28 w 100"/>
                  <a:gd name="T73" fmla="*/ 100 h 106"/>
                  <a:gd name="T74" fmla="*/ 35 w 100"/>
                  <a:gd name="T75" fmla="*/ 100 h 106"/>
                  <a:gd name="T76" fmla="*/ 44 w 100"/>
                  <a:gd name="T77" fmla="*/ 103 h 106"/>
                  <a:gd name="T78" fmla="*/ 47 w 100"/>
                  <a:gd name="T79" fmla="*/ 105 h 106"/>
                  <a:gd name="T80" fmla="*/ 55 w 100"/>
                  <a:gd name="T81" fmla="*/ 103 h 106"/>
                  <a:gd name="T82" fmla="*/ 62 w 100"/>
                  <a:gd name="T83" fmla="*/ 103 h 106"/>
                  <a:gd name="T84" fmla="*/ 73 w 100"/>
                  <a:gd name="T85" fmla="*/ 101 h 106"/>
                  <a:gd name="T86" fmla="*/ 74 w 100"/>
                  <a:gd name="T87" fmla="*/ 101 h 106"/>
                  <a:gd name="T88" fmla="*/ 78 w 100"/>
                  <a:gd name="T89" fmla="*/ 100 h 106"/>
                  <a:gd name="T90" fmla="*/ 76 w 100"/>
                  <a:gd name="T91" fmla="*/ 95 h 106"/>
                  <a:gd name="T92" fmla="*/ 82 w 100"/>
                  <a:gd name="T93" fmla="*/ 90 h 106"/>
                  <a:gd name="T94" fmla="*/ 87 w 100"/>
                  <a:gd name="T95" fmla="*/ 87 h 106"/>
                  <a:gd name="T96" fmla="*/ 74 w 100"/>
                  <a:gd name="T97" fmla="*/ 74 h 106"/>
                  <a:gd name="T98" fmla="*/ 70 w 100"/>
                  <a:gd name="T99" fmla="*/ 65 h 106"/>
                  <a:gd name="T100" fmla="*/ 74 w 100"/>
                  <a:gd name="T101" fmla="*/ 62 h 106"/>
                  <a:gd name="T102" fmla="*/ 90 w 100"/>
                  <a:gd name="T103" fmla="*/ 55 h 106"/>
                  <a:gd name="T104" fmla="*/ 95 w 100"/>
                  <a:gd name="T105" fmla="*/ 55 h 106"/>
                  <a:gd name="T106" fmla="*/ 100 w 100"/>
                  <a:gd name="T107" fmla="*/ 55 h 106"/>
                  <a:gd name="T108" fmla="*/ 71 w 100"/>
                  <a:gd name="T109" fmla="*/ 8 h 106"/>
                  <a:gd name="T110" fmla="*/ 82 w 100"/>
                  <a:gd name="T111" fmla="*/ 8 h 106"/>
                  <a:gd name="T112" fmla="*/ 84 w 100"/>
                  <a:gd name="T113" fmla="*/ 3 h 106"/>
                  <a:gd name="T114" fmla="*/ 81 w 100"/>
                  <a:gd name="T115" fmla="*/ 1 h 106"/>
                  <a:gd name="T116" fmla="*/ 81 w 100"/>
                  <a:gd name="T117" fmla="*/ 5 h 106"/>
                  <a:gd name="T118" fmla="*/ 78 w 100"/>
                  <a:gd name="T119" fmla="*/ 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0" h="106">
                    <a:moveTo>
                      <a:pt x="100" y="54"/>
                    </a:moveTo>
                    <a:lnTo>
                      <a:pt x="100" y="54"/>
                    </a:lnTo>
                    <a:lnTo>
                      <a:pt x="100" y="52"/>
                    </a:lnTo>
                    <a:lnTo>
                      <a:pt x="100" y="52"/>
                    </a:lnTo>
                    <a:lnTo>
                      <a:pt x="100" y="49"/>
                    </a:lnTo>
                    <a:lnTo>
                      <a:pt x="100" y="49"/>
                    </a:lnTo>
                    <a:lnTo>
                      <a:pt x="98" y="46"/>
                    </a:lnTo>
                    <a:lnTo>
                      <a:pt x="98" y="46"/>
                    </a:lnTo>
                    <a:lnTo>
                      <a:pt x="97" y="46"/>
                    </a:lnTo>
                    <a:lnTo>
                      <a:pt x="97" y="46"/>
                    </a:lnTo>
                    <a:lnTo>
                      <a:pt x="97" y="44"/>
                    </a:lnTo>
                    <a:lnTo>
                      <a:pt x="97" y="44"/>
                    </a:lnTo>
                    <a:lnTo>
                      <a:pt x="95" y="44"/>
                    </a:lnTo>
                    <a:lnTo>
                      <a:pt x="95" y="44"/>
                    </a:lnTo>
                    <a:lnTo>
                      <a:pt x="95" y="43"/>
                    </a:lnTo>
                    <a:lnTo>
                      <a:pt x="95" y="43"/>
                    </a:lnTo>
                    <a:lnTo>
                      <a:pt x="97" y="41"/>
                    </a:lnTo>
                    <a:lnTo>
                      <a:pt x="97" y="41"/>
                    </a:lnTo>
                    <a:lnTo>
                      <a:pt x="97" y="38"/>
                    </a:lnTo>
                    <a:lnTo>
                      <a:pt x="97" y="38"/>
                    </a:lnTo>
                    <a:lnTo>
                      <a:pt x="95" y="36"/>
                    </a:lnTo>
                    <a:lnTo>
                      <a:pt x="95" y="36"/>
                    </a:lnTo>
                    <a:lnTo>
                      <a:pt x="95" y="35"/>
                    </a:lnTo>
                    <a:lnTo>
                      <a:pt x="95" y="35"/>
                    </a:lnTo>
                    <a:lnTo>
                      <a:pt x="95" y="33"/>
                    </a:lnTo>
                    <a:lnTo>
                      <a:pt x="95" y="33"/>
                    </a:lnTo>
                    <a:lnTo>
                      <a:pt x="95" y="31"/>
                    </a:lnTo>
                    <a:lnTo>
                      <a:pt x="95" y="31"/>
                    </a:lnTo>
                    <a:lnTo>
                      <a:pt x="94" y="30"/>
                    </a:lnTo>
                    <a:lnTo>
                      <a:pt x="94" y="30"/>
                    </a:lnTo>
                    <a:lnTo>
                      <a:pt x="90" y="28"/>
                    </a:lnTo>
                    <a:lnTo>
                      <a:pt x="90" y="28"/>
                    </a:lnTo>
                    <a:lnTo>
                      <a:pt x="89" y="27"/>
                    </a:lnTo>
                    <a:lnTo>
                      <a:pt x="89" y="27"/>
                    </a:lnTo>
                    <a:lnTo>
                      <a:pt x="92" y="24"/>
                    </a:lnTo>
                    <a:lnTo>
                      <a:pt x="92" y="24"/>
                    </a:lnTo>
                    <a:lnTo>
                      <a:pt x="92" y="22"/>
                    </a:lnTo>
                    <a:lnTo>
                      <a:pt x="92" y="22"/>
                    </a:lnTo>
                    <a:lnTo>
                      <a:pt x="92" y="20"/>
                    </a:lnTo>
                    <a:lnTo>
                      <a:pt x="92" y="20"/>
                    </a:lnTo>
                    <a:lnTo>
                      <a:pt x="90" y="17"/>
                    </a:lnTo>
                    <a:lnTo>
                      <a:pt x="90" y="17"/>
                    </a:lnTo>
                    <a:lnTo>
                      <a:pt x="89" y="17"/>
                    </a:lnTo>
                    <a:lnTo>
                      <a:pt x="89" y="17"/>
                    </a:lnTo>
                    <a:lnTo>
                      <a:pt x="87" y="14"/>
                    </a:lnTo>
                    <a:lnTo>
                      <a:pt x="87" y="14"/>
                    </a:lnTo>
                    <a:lnTo>
                      <a:pt x="86" y="14"/>
                    </a:lnTo>
                    <a:lnTo>
                      <a:pt x="86" y="14"/>
                    </a:lnTo>
                    <a:lnTo>
                      <a:pt x="84" y="11"/>
                    </a:lnTo>
                    <a:lnTo>
                      <a:pt x="84" y="11"/>
                    </a:lnTo>
                    <a:lnTo>
                      <a:pt x="84" y="11"/>
                    </a:lnTo>
                    <a:lnTo>
                      <a:pt x="84" y="11"/>
                    </a:lnTo>
                    <a:lnTo>
                      <a:pt x="82" y="11"/>
                    </a:lnTo>
                    <a:lnTo>
                      <a:pt x="82" y="11"/>
                    </a:lnTo>
                    <a:lnTo>
                      <a:pt x="81" y="11"/>
                    </a:lnTo>
                    <a:lnTo>
                      <a:pt x="81" y="11"/>
                    </a:lnTo>
                    <a:lnTo>
                      <a:pt x="79" y="9"/>
                    </a:lnTo>
                    <a:lnTo>
                      <a:pt x="79" y="9"/>
                    </a:lnTo>
                    <a:lnTo>
                      <a:pt x="78" y="8"/>
                    </a:lnTo>
                    <a:lnTo>
                      <a:pt x="78" y="8"/>
                    </a:lnTo>
                    <a:lnTo>
                      <a:pt x="74" y="8"/>
                    </a:lnTo>
                    <a:lnTo>
                      <a:pt x="74" y="8"/>
                    </a:lnTo>
                    <a:lnTo>
                      <a:pt x="73" y="6"/>
                    </a:lnTo>
                    <a:lnTo>
                      <a:pt x="73" y="6"/>
                    </a:lnTo>
                    <a:lnTo>
                      <a:pt x="70" y="8"/>
                    </a:lnTo>
                    <a:lnTo>
                      <a:pt x="70" y="8"/>
                    </a:lnTo>
                    <a:lnTo>
                      <a:pt x="68" y="9"/>
                    </a:lnTo>
                    <a:lnTo>
                      <a:pt x="68" y="9"/>
                    </a:lnTo>
                    <a:lnTo>
                      <a:pt x="67" y="11"/>
                    </a:lnTo>
                    <a:lnTo>
                      <a:pt x="67" y="11"/>
                    </a:lnTo>
                    <a:lnTo>
                      <a:pt x="67" y="11"/>
                    </a:lnTo>
                    <a:lnTo>
                      <a:pt x="67" y="11"/>
                    </a:lnTo>
                    <a:lnTo>
                      <a:pt x="65" y="11"/>
                    </a:lnTo>
                    <a:lnTo>
                      <a:pt x="65" y="11"/>
                    </a:lnTo>
                    <a:lnTo>
                      <a:pt x="60" y="11"/>
                    </a:lnTo>
                    <a:lnTo>
                      <a:pt x="60" y="11"/>
                    </a:lnTo>
                    <a:lnTo>
                      <a:pt x="62" y="11"/>
                    </a:lnTo>
                    <a:lnTo>
                      <a:pt x="62" y="11"/>
                    </a:lnTo>
                    <a:lnTo>
                      <a:pt x="60" y="14"/>
                    </a:lnTo>
                    <a:lnTo>
                      <a:pt x="60" y="14"/>
                    </a:lnTo>
                    <a:lnTo>
                      <a:pt x="55" y="11"/>
                    </a:lnTo>
                    <a:lnTo>
                      <a:pt x="55" y="11"/>
                    </a:lnTo>
                    <a:lnTo>
                      <a:pt x="54" y="11"/>
                    </a:lnTo>
                    <a:lnTo>
                      <a:pt x="54" y="11"/>
                    </a:lnTo>
                    <a:lnTo>
                      <a:pt x="54" y="14"/>
                    </a:lnTo>
                    <a:lnTo>
                      <a:pt x="54" y="14"/>
                    </a:lnTo>
                    <a:lnTo>
                      <a:pt x="54" y="11"/>
                    </a:lnTo>
                    <a:lnTo>
                      <a:pt x="54" y="11"/>
                    </a:lnTo>
                    <a:lnTo>
                      <a:pt x="55" y="11"/>
                    </a:lnTo>
                    <a:lnTo>
                      <a:pt x="55" y="11"/>
                    </a:lnTo>
                    <a:lnTo>
                      <a:pt x="55" y="8"/>
                    </a:lnTo>
                    <a:lnTo>
                      <a:pt x="55" y="8"/>
                    </a:lnTo>
                    <a:lnTo>
                      <a:pt x="54" y="8"/>
                    </a:lnTo>
                    <a:lnTo>
                      <a:pt x="54" y="8"/>
                    </a:lnTo>
                    <a:lnTo>
                      <a:pt x="51" y="8"/>
                    </a:lnTo>
                    <a:lnTo>
                      <a:pt x="51" y="8"/>
                    </a:lnTo>
                    <a:lnTo>
                      <a:pt x="47" y="8"/>
                    </a:lnTo>
                    <a:lnTo>
                      <a:pt x="47" y="8"/>
                    </a:lnTo>
                    <a:lnTo>
                      <a:pt x="47" y="8"/>
                    </a:lnTo>
                    <a:lnTo>
                      <a:pt x="47" y="8"/>
                    </a:lnTo>
                    <a:lnTo>
                      <a:pt x="47" y="6"/>
                    </a:lnTo>
                    <a:lnTo>
                      <a:pt x="47" y="6"/>
                    </a:lnTo>
                    <a:lnTo>
                      <a:pt x="44" y="6"/>
                    </a:lnTo>
                    <a:lnTo>
                      <a:pt x="44" y="6"/>
                    </a:lnTo>
                    <a:lnTo>
                      <a:pt x="44" y="5"/>
                    </a:lnTo>
                    <a:lnTo>
                      <a:pt x="44" y="5"/>
                    </a:lnTo>
                    <a:lnTo>
                      <a:pt x="44" y="3"/>
                    </a:lnTo>
                    <a:lnTo>
                      <a:pt x="44" y="3"/>
                    </a:lnTo>
                    <a:lnTo>
                      <a:pt x="41" y="1"/>
                    </a:lnTo>
                    <a:lnTo>
                      <a:pt x="41" y="1"/>
                    </a:lnTo>
                    <a:lnTo>
                      <a:pt x="36" y="1"/>
                    </a:lnTo>
                    <a:lnTo>
                      <a:pt x="36" y="1"/>
                    </a:lnTo>
                    <a:lnTo>
                      <a:pt x="32" y="0"/>
                    </a:lnTo>
                    <a:lnTo>
                      <a:pt x="32" y="0"/>
                    </a:lnTo>
                    <a:lnTo>
                      <a:pt x="30" y="0"/>
                    </a:lnTo>
                    <a:lnTo>
                      <a:pt x="30" y="0"/>
                    </a:lnTo>
                    <a:lnTo>
                      <a:pt x="32" y="3"/>
                    </a:lnTo>
                    <a:lnTo>
                      <a:pt x="32" y="3"/>
                    </a:lnTo>
                    <a:lnTo>
                      <a:pt x="33" y="5"/>
                    </a:lnTo>
                    <a:lnTo>
                      <a:pt x="33" y="5"/>
                    </a:lnTo>
                    <a:lnTo>
                      <a:pt x="33" y="6"/>
                    </a:lnTo>
                    <a:lnTo>
                      <a:pt x="33" y="6"/>
                    </a:lnTo>
                    <a:lnTo>
                      <a:pt x="32" y="8"/>
                    </a:lnTo>
                    <a:lnTo>
                      <a:pt x="32" y="8"/>
                    </a:lnTo>
                    <a:lnTo>
                      <a:pt x="30" y="9"/>
                    </a:lnTo>
                    <a:lnTo>
                      <a:pt x="30" y="9"/>
                    </a:lnTo>
                    <a:lnTo>
                      <a:pt x="32" y="9"/>
                    </a:lnTo>
                    <a:lnTo>
                      <a:pt x="32" y="9"/>
                    </a:lnTo>
                    <a:lnTo>
                      <a:pt x="33" y="11"/>
                    </a:lnTo>
                    <a:lnTo>
                      <a:pt x="33" y="11"/>
                    </a:lnTo>
                    <a:lnTo>
                      <a:pt x="35" y="11"/>
                    </a:lnTo>
                    <a:lnTo>
                      <a:pt x="35" y="11"/>
                    </a:lnTo>
                    <a:lnTo>
                      <a:pt x="33" y="11"/>
                    </a:lnTo>
                    <a:lnTo>
                      <a:pt x="33" y="11"/>
                    </a:lnTo>
                    <a:lnTo>
                      <a:pt x="33" y="14"/>
                    </a:lnTo>
                    <a:lnTo>
                      <a:pt x="33" y="14"/>
                    </a:lnTo>
                    <a:lnTo>
                      <a:pt x="35" y="14"/>
                    </a:lnTo>
                    <a:lnTo>
                      <a:pt x="35" y="14"/>
                    </a:lnTo>
                    <a:lnTo>
                      <a:pt x="36" y="14"/>
                    </a:lnTo>
                    <a:lnTo>
                      <a:pt x="36" y="14"/>
                    </a:lnTo>
                    <a:lnTo>
                      <a:pt x="35" y="14"/>
                    </a:lnTo>
                    <a:lnTo>
                      <a:pt x="35" y="14"/>
                    </a:lnTo>
                    <a:lnTo>
                      <a:pt x="32" y="14"/>
                    </a:lnTo>
                    <a:lnTo>
                      <a:pt x="32" y="14"/>
                    </a:lnTo>
                    <a:lnTo>
                      <a:pt x="30" y="14"/>
                    </a:lnTo>
                    <a:lnTo>
                      <a:pt x="30" y="14"/>
                    </a:lnTo>
                    <a:lnTo>
                      <a:pt x="28" y="14"/>
                    </a:lnTo>
                    <a:lnTo>
                      <a:pt x="28" y="14"/>
                    </a:lnTo>
                    <a:lnTo>
                      <a:pt x="28" y="17"/>
                    </a:lnTo>
                    <a:lnTo>
                      <a:pt x="28" y="17"/>
                    </a:lnTo>
                    <a:lnTo>
                      <a:pt x="28" y="20"/>
                    </a:lnTo>
                    <a:lnTo>
                      <a:pt x="28" y="20"/>
                    </a:lnTo>
                    <a:lnTo>
                      <a:pt x="27" y="17"/>
                    </a:lnTo>
                    <a:lnTo>
                      <a:pt x="27" y="17"/>
                    </a:lnTo>
                    <a:lnTo>
                      <a:pt x="25" y="17"/>
                    </a:lnTo>
                    <a:lnTo>
                      <a:pt x="25" y="17"/>
                    </a:lnTo>
                    <a:lnTo>
                      <a:pt x="25" y="20"/>
                    </a:lnTo>
                    <a:lnTo>
                      <a:pt x="25" y="20"/>
                    </a:lnTo>
                    <a:lnTo>
                      <a:pt x="24" y="20"/>
                    </a:lnTo>
                    <a:lnTo>
                      <a:pt x="24" y="20"/>
                    </a:lnTo>
                    <a:lnTo>
                      <a:pt x="24" y="17"/>
                    </a:lnTo>
                    <a:lnTo>
                      <a:pt x="24" y="17"/>
                    </a:lnTo>
                    <a:lnTo>
                      <a:pt x="22" y="17"/>
                    </a:lnTo>
                    <a:lnTo>
                      <a:pt x="22" y="17"/>
                    </a:lnTo>
                    <a:lnTo>
                      <a:pt x="17" y="17"/>
                    </a:lnTo>
                    <a:lnTo>
                      <a:pt x="17" y="17"/>
                    </a:lnTo>
                    <a:lnTo>
                      <a:pt x="14" y="17"/>
                    </a:lnTo>
                    <a:lnTo>
                      <a:pt x="14" y="17"/>
                    </a:lnTo>
                    <a:lnTo>
                      <a:pt x="13" y="20"/>
                    </a:lnTo>
                    <a:lnTo>
                      <a:pt x="13" y="20"/>
                    </a:lnTo>
                    <a:lnTo>
                      <a:pt x="16" y="22"/>
                    </a:lnTo>
                    <a:lnTo>
                      <a:pt x="16" y="22"/>
                    </a:lnTo>
                    <a:lnTo>
                      <a:pt x="14" y="24"/>
                    </a:lnTo>
                    <a:lnTo>
                      <a:pt x="14" y="24"/>
                    </a:lnTo>
                    <a:lnTo>
                      <a:pt x="14" y="25"/>
                    </a:lnTo>
                    <a:lnTo>
                      <a:pt x="14" y="25"/>
                    </a:lnTo>
                    <a:lnTo>
                      <a:pt x="14" y="27"/>
                    </a:lnTo>
                    <a:lnTo>
                      <a:pt x="14" y="27"/>
                    </a:lnTo>
                    <a:lnTo>
                      <a:pt x="14" y="30"/>
                    </a:lnTo>
                    <a:lnTo>
                      <a:pt x="14" y="30"/>
                    </a:lnTo>
                    <a:lnTo>
                      <a:pt x="13" y="30"/>
                    </a:lnTo>
                    <a:lnTo>
                      <a:pt x="13" y="30"/>
                    </a:lnTo>
                    <a:lnTo>
                      <a:pt x="13" y="31"/>
                    </a:lnTo>
                    <a:lnTo>
                      <a:pt x="13" y="31"/>
                    </a:lnTo>
                    <a:lnTo>
                      <a:pt x="11" y="31"/>
                    </a:lnTo>
                    <a:lnTo>
                      <a:pt x="11" y="31"/>
                    </a:lnTo>
                    <a:lnTo>
                      <a:pt x="9" y="31"/>
                    </a:lnTo>
                    <a:lnTo>
                      <a:pt x="9" y="31"/>
                    </a:lnTo>
                    <a:lnTo>
                      <a:pt x="9" y="33"/>
                    </a:lnTo>
                    <a:lnTo>
                      <a:pt x="9" y="33"/>
                    </a:lnTo>
                    <a:lnTo>
                      <a:pt x="13" y="35"/>
                    </a:lnTo>
                    <a:lnTo>
                      <a:pt x="13" y="35"/>
                    </a:lnTo>
                    <a:lnTo>
                      <a:pt x="13" y="36"/>
                    </a:lnTo>
                    <a:lnTo>
                      <a:pt x="13" y="36"/>
                    </a:lnTo>
                    <a:lnTo>
                      <a:pt x="11" y="38"/>
                    </a:lnTo>
                    <a:lnTo>
                      <a:pt x="11" y="38"/>
                    </a:lnTo>
                    <a:lnTo>
                      <a:pt x="9" y="39"/>
                    </a:lnTo>
                    <a:lnTo>
                      <a:pt x="9" y="39"/>
                    </a:lnTo>
                    <a:lnTo>
                      <a:pt x="9" y="41"/>
                    </a:lnTo>
                    <a:lnTo>
                      <a:pt x="9" y="41"/>
                    </a:lnTo>
                    <a:lnTo>
                      <a:pt x="8" y="43"/>
                    </a:lnTo>
                    <a:lnTo>
                      <a:pt x="8" y="43"/>
                    </a:lnTo>
                    <a:lnTo>
                      <a:pt x="3" y="41"/>
                    </a:lnTo>
                    <a:lnTo>
                      <a:pt x="3" y="41"/>
                    </a:lnTo>
                    <a:lnTo>
                      <a:pt x="1" y="43"/>
                    </a:lnTo>
                    <a:lnTo>
                      <a:pt x="1" y="43"/>
                    </a:lnTo>
                    <a:lnTo>
                      <a:pt x="0" y="43"/>
                    </a:lnTo>
                    <a:lnTo>
                      <a:pt x="0" y="43"/>
                    </a:lnTo>
                    <a:lnTo>
                      <a:pt x="0" y="44"/>
                    </a:lnTo>
                    <a:lnTo>
                      <a:pt x="0" y="44"/>
                    </a:lnTo>
                    <a:lnTo>
                      <a:pt x="3" y="46"/>
                    </a:lnTo>
                    <a:lnTo>
                      <a:pt x="3" y="46"/>
                    </a:lnTo>
                    <a:lnTo>
                      <a:pt x="3" y="46"/>
                    </a:lnTo>
                    <a:lnTo>
                      <a:pt x="3" y="46"/>
                    </a:lnTo>
                    <a:lnTo>
                      <a:pt x="3" y="49"/>
                    </a:lnTo>
                    <a:lnTo>
                      <a:pt x="3" y="49"/>
                    </a:lnTo>
                    <a:lnTo>
                      <a:pt x="1" y="52"/>
                    </a:lnTo>
                    <a:lnTo>
                      <a:pt x="1" y="52"/>
                    </a:lnTo>
                    <a:lnTo>
                      <a:pt x="0" y="52"/>
                    </a:lnTo>
                    <a:lnTo>
                      <a:pt x="0" y="52"/>
                    </a:lnTo>
                    <a:lnTo>
                      <a:pt x="1" y="55"/>
                    </a:lnTo>
                    <a:lnTo>
                      <a:pt x="1" y="55"/>
                    </a:lnTo>
                    <a:lnTo>
                      <a:pt x="1" y="55"/>
                    </a:lnTo>
                    <a:lnTo>
                      <a:pt x="1" y="55"/>
                    </a:lnTo>
                    <a:lnTo>
                      <a:pt x="1" y="57"/>
                    </a:lnTo>
                    <a:lnTo>
                      <a:pt x="1" y="57"/>
                    </a:lnTo>
                    <a:lnTo>
                      <a:pt x="3" y="58"/>
                    </a:lnTo>
                    <a:lnTo>
                      <a:pt x="3" y="58"/>
                    </a:lnTo>
                    <a:lnTo>
                      <a:pt x="3" y="60"/>
                    </a:lnTo>
                    <a:lnTo>
                      <a:pt x="3" y="60"/>
                    </a:lnTo>
                    <a:lnTo>
                      <a:pt x="5" y="62"/>
                    </a:lnTo>
                    <a:lnTo>
                      <a:pt x="5" y="62"/>
                    </a:lnTo>
                    <a:lnTo>
                      <a:pt x="5" y="63"/>
                    </a:lnTo>
                    <a:lnTo>
                      <a:pt x="5" y="63"/>
                    </a:lnTo>
                    <a:lnTo>
                      <a:pt x="3" y="65"/>
                    </a:lnTo>
                    <a:lnTo>
                      <a:pt x="3" y="65"/>
                    </a:lnTo>
                    <a:lnTo>
                      <a:pt x="1" y="65"/>
                    </a:lnTo>
                    <a:lnTo>
                      <a:pt x="1" y="65"/>
                    </a:lnTo>
                    <a:lnTo>
                      <a:pt x="1" y="66"/>
                    </a:lnTo>
                    <a:lnTo>
                      <a:pt x="1" y="66"/>
                    </a:lnTo>
                    <a:lnTo>
                      <a:pt x="1" y="68"/>
                    </a:lnTo>
                    <a:lnTo>
                      <a:pt x="1" y="68"/>
                    </a:lnTo>
                    <a:lnTo>
                      <a:pt x="5" y="70"/>
                    </a:lnTo>
                    <a:lnTo>
                      <a:pt x="5" y="70"/>
                    </a:lnTo>
                    <a:lnTo>
                      <a:pt x="6" y="71"/>
                    </a:lnTo>
                    <a:lnTo>
                      <a:pt x="6" y="71"/>
                    </a:lnTo>
                    <a:lnTo>
                      <a:pt x="6" y="73"/>
                    </a:lnTo>
                    <a:lnTo>
                      <a:pt x="6" y="73"/>
                    </a:lnTo>
                    <a:lnTo>
                      <a:pt x="5" y="76"/>
                    </a:lnTo>
                    <a:lnTo>
                      <a:pt x="5" y="76"/>
                    </a:lnTo>
                    <a:lnTo>
                      <a:pt x="8" y="78"/>
                    </a:lnTo>
                    <a:lnTo>
                      <a:pt x="8" y="78"/>
                    </a:lnTo>
                    <a:lnTo>
                      <a:pt x="9" y="81"/>
                    </a:lnTo>
                    <a:lnTo>
                      <a:pt x="9" y="81"/>
                    </a:lnTo>
                    <a:lnTo>
                      <a:pt x="11" y="79"/>
                    </a:lnTo>
                    <a:lnTo>
                      <a:pt x="11" y="79"/>
                    </a:lnTo>
                    <a:lnTo>
                      <a:pt x="13" y="79"/>
                    </a:lnTo>
                    <a:lnTo>
                      <a:pt x="13" y="79"/>
                    </a:lnTo>
                    <a:lnTo>
                      <a:pt x="13" y="81"/>
                    </a:lnTo>
                    <a:lnTo>
                      <a:pt x="13" y="81"/>
                    </a:lnTo>
                    <a:lnTo>
                      <a:pt x="14" y="81"/>
                    </a:lnTo>
                    <a:lnTo>
                      <a:pt x="14" y="81"/>
                    </a:lnTo>
                    <a:lnTo>
                      <a:pt x="16" y="81"/>
                    </a:lnTo>
                    <a:lnTo>
                      <a:pt x="16" y="81"/>
                    </a:lnTo>
                    <a:lnTo>
                      <a:pt x="17" y="81"/>
                    </a:lnTo>
                    <a:lnTo>
                      <a:pt x="17" y="81"/>
                    </a:lnTo>
                    <a:lnTo>
                      <a:pt x="19" y="81"/>
                    </a:lnTo>
                    <a:lnTo>
                      <a:pt x="19" y="81"/>
                    </a:lnTo>
                    <a:lnTo>
                      <a:pt x="20" y="81"/>
                    </a:lnTo>
                    <a:lnTo>
                      <a:pt x="20" y="81"/>
                    </a:lnTo>
                    <a:lnTo>
                      <a:pt x="24" y="81"/>
                    </a:lnTo>
                    <a:lnTo>
                      <a:pt x="24" y="81"/>
                    </a:lnTo>
                    <a:lnTo>
                      <a:pt x="25" y="81"/>
                    </a:lnTo>
                    <a:lnTo>
                      <a:pt x="25" y="81"/>
                    </a:lnTo>
                    <a:lnTo>
                      <a:pt x="20" y="87"/>
                    </a:lnTo>
                    <a:lnTo>
                      <a:pt x="20" y="87"/>
                    </a:lnTo>
                    <a:lnTo>
                      <a:pt x="20" y="90"/>
                    </a:lnTo>
                    <a:lnTo>
                      <a:pt x="20" y="90"/>
                    </a:lnTo>
                    <a:lnTo>
                      <a:pt x="19" y="95"/>
                    </a:lnTo>
                    <a:lnTo>
                      <a:pt x="19" y="95"/>
                    </a:lnTo>
                    <a:lnTo>
                      <a:pt x="17" y="98"/>
                    </a:lnTo>
                    <a:lnTo>
                      <a:pt x="17" y="98"/>
                    </a:lnTo>
                    <a:lnTo>
                      <a:pt x="17" y="100"/>
                    </a:lnTo>
                    <a:lnTo>
                      <a:pt x="17" y="100"/>
                    </a:lnTo>
                    <a:lnTo>
                      <a:pt x="17" y="101"/>
                    </a:lnTo>
                    <a:lnTo>
                      <a:pt x="17" y="101"/>
                    </a:lnTo>
                    <a:lnTo>
                      <a:pt x="19" y="101"/>
                    </a:lnTo>
                    <a:lnTo>
                      <a:pt x="19" y="101"/>
                    </a:lnTo>
                    <a:lnTo>
                      <a:pt x="20" y="103"/>
                    </a:lnTo>
                    <a:lnTo>
                      <a:pt x="20" y="103"/>
                    </a:lnTo>
                    <a:lnTo>
                      <a:pt x="24" y="101"/>
                    </a:lnTo>
                    <a:lnTo>
                      <a:pt x="24" y="101"/>
                    </a:lnTo>
                    <a:lnTo>
                      <a:pt x="27" y="101"/>
                    </a:lnTo>
                    <a:lnTo>
                      <a:pt x="27" y="101"/>
                    </a:lnTo>
                    <a:lnTo>
                      <a:pt x="28" y="100"/>
                    </a:lnTo>
                    <a:lnTo>
                      <a:pt x="28" y="100"/>
                    </a:lnTo>
                    <a:lnTo>
                      <a:pt x="27" y="100"/>
                    </a:lnTo>
                    <a:lnTo>
                      <a:pt x="27" y="100"/>
                    </a:lnTo>
                    <a:lnTo>
                      <a:pt x="28" y="100"/>
                    </a:lnTo>
                    <a:lnTo>
                      <a:pt x="28" y="100"/>
                    </a:lnTo>
                    <a:lnTo>
                      <a:pt x="30" y="100"/>
                    </a:lnTo>
                    <a:lnTo>
                      <a:pt x="30" y="100"/>
                    </a:lnTo>
                    <a:lnTo>
                      <a:pt x="35" y="100"/>
                    </a:lnTo>
                    <a:lnTo>
                      <a:pt x="35" y="100"/>
                    </a:lnTo>
                    <a:lnTo>
                      <a:pt x="38" y="101"/>
                    </a:lnTo>
                    <a:lnTo>
                      <a:pt x="38" y="101"/>
                    </a:lnTo>
                    <a:lnTo>
                      <a:pt x="41" y="103"/>
                    </a:lnTo>
                    <a:lnTo>
                      <a:pt x="41" y="103"/>
                    </a:lnTo>
                    <a:lnTo>
                      <a:pt x="43" y="103"/>
                    </a:lnTo>
                    <a:lnTo>
                      <a:pt x="43" y="103"/>
                    </a:lnTo>
                    <a:lnTo>
                      <a:pt x="44" y="103"/>
                    </a:lnTo>
                    <a:lnTo>
                      <a:pt x="44" y="103"/>
                    </a:lnTo>
                    <a:lnTo>
                      <a:pt x="47" y="105"/>
                    </a:lnTo>
                    <a:lnTo>
                      <a:pt x="47" y="105"/>
                    </a:lnTo>
                    <a:lnTo>
                      <a:pt x="47" y="106"/>
                    </a:lnTo>
                    <a:lnTo>
                      <a:pt x="47" y="106"/>
                    </a:lnTo>
                    <a:lnTo>
                      <a:pt x="47" y="106"/>
                    </a:lnTo>
                    <a:lnTo>
                      <a:pt x="47" y="106"/>
                    </a:lnTo>
                    <a:lnTo>
                      <a:pt x="47" y="105"/>
                    </a:lnTo>
                    <a:lnTo>
                      <a:pt x="47" y="105"/>
                    </a:lnTo>
                    <a:lnTo>
                      <a:pt x="51" y="101"/>
                    </a:lnTo>
                    <a:lnTo>
                      <a:pt x="51" y="101"/>
                    </a:lnTo>
                    <a:lnTo>
                      <a:pt x="54" y="103"/>
                    </a:lnTo>
                    <a:lnTo>
                      <a:pt x="54" y="103"/>
                    </a:lnTo>
                    <a:lnTo>
                      <a:pt x="54" y="103"/>
                    </a:lnTo>
                    <a:lnTo>
                      <a:pt x="54" y="103"/>
                    </a:lnTo>
                    <a:lnTo>
                      <a:pt x="55" y="103"/>
                    </a:lnTo>
                    <a:lnTo>
                      <a:pt x="55" y="103"/>
                    </a:lnTo>
                    <a:lnTo>
                      <a:pt x="57" y="105"/>
                    </a:lnTo>
                    <a:lnTo>
                      <a:pt x="57" y="105"/>
                    </a:lnTo>
                    <a:lnTo>
                      <a:pt x="59" y="105"/>
                    </a:lnTo>
                    <a:lnTo>
                      <a:pt x="59" y="105"/>
                    </a:lnTo>
                    <a:lnTo>
                      <a:pt x="60" y="103"/>
                    </a:lnTo>
                    <a:lnTo>
                      <a:pt x="60" y="103"/>
                    </a:lnTo>
                    <a:lnTo>
                      <a:pt x="62" y="103"/>
                    </a:lnTo>
                    <a:lnTo>
                      <a:pt x="62" y="103"/>
                    </a:lnTo>
                    <a:lnTo>
                      <a:pt x="65" y="101"/>
                    </a:lnTo>
                    <a:lnTo>
                      <a:pt x="65" y="101"/>
                    </a:lnTo>
                    <a:lnTo>
                      <a:pt x="70" y="101"/>
                    </a:lnTo>
                    <a:lnTo>
                      <a:pt x="70" y="101"/>
                    </a:lnTo>
                    <a:lnTo>
                      <a:pt x="70" y="100"/>
                    </a:lnTo>
                    <a:lnTo>
                      <a:pt x="70" y="100"/>
                    </a:lnTo>
                    <a:lnTo>
                      <a:pt x="73" y="101"/>
                    </a:lnTo>
                    <a:lnTo>
                      <a:pt x="73" y="101"/>
                    </a:lnTo>
                    <a:lnTo>
                      <a:pt x="73" y="101"/>
                    </a:lnTo>
                    <a:lnTo>
                      <a:pt x="73" y="101"/>
                    </a:lnTo>
                    <a:lnTo>
                      <a:pt x="74" y="101"/>
                    </a:lnTo>
                    <a:lnTo>
                      <a:pt x="74" y="101"/>
                    </a:lnTo>
                    <a:lnTo>
                      <a:pt x="74" y="100"/>
                    </a:lnTo>
                    <a:lnTo>
                      <a:pt x="74" y="100"/>
                    </a:lnTo>
                    <a:lnTo>
                      <a:pt x="74" y="101"/>
                    </a:lnTo>
                    <a:lnTo>
                      <a:pt x="74" y="101"/>
                    </a:lnTo>
                    <a:lnTo>
                      <a:pt x="78" y="103"/>
                    </a:lnTo>
                    <a:lnTo>
                      <a:pt x="78" y="103"/>
                    </a:lnTo>
                    <a:lnTo>
                      <a:pt x="78" y="103"/>
                    </a:lnTo>
                    <a:lnTo>
                      <a:pt x="78" y="103"/>
                    </a:lnTo>
                    <a:lnTo>
                      <a:pt x="78" y="101"/>
                    </a:lnTo>
                    <a:lnTo>
                      <a:pt x="78" y="101"/>
                    </a:lnTo>
                    <a:lnTo>
                      <a:pt x="78" y="100"/>
                    </a:lnTo>
                    <a:lnTo>
                      <a:pt x="78" y="100"/>
                    </a:lnTo>
                    <a:lnTo>
                      <a:pt x="78" y="98"/>
                    </a:lnTo>
                    <a:lnTo>
                      <a:pt x="78" y="98"/>
                    </a:lnTo>
                    <a:lnTo>
                      <a:pt x="78" y="97"/>
                    </a:lnTo>
                    <a:lnTo>
                      <a:pt x="78" y="97"/>
                    </a:lnTo>
                    <a:lnTo>
                      <a:pt x="78" y="95"/>
                    </a:lnTo>
                    <a:lnTo>
                      <a:pt x="78" y="95"/>
                    </a:lnTo>
                    <a:lnTo>
                      <a:pt x="76" y="95"/>
                    </a:lnTo>
                    <a:lnTo>
                      <a:pt x="76" y="95"/>
                    </a:lnTo>
                    <a:lnTo>
                      <a:pt x="78" y="93"/>
                    </a:lnTo>
                    <a:lnTo>
                      <a:pt x="78" y="93"/>
                    </a:lnTo>
                    <a:lnTo>
                      <a:pt x="79" y="92"/>
                    </a:lnTo>
                    <a:lnTo>
                      <a:pt x="79" y="92"/>
                    </a:lnTo>
                    <a:lnTo>
                      <a:pt x="81" y="90"/>
                    </a:lnTo>
                    <a:lnTo>
                      <a:pt x="81" y="90"/>
                    </a:lnTo>
                    <a:lnTo>
                      <a:pt x="82" y="90"/>
                    </a:lnTo>
                    <a:lnTo>
                      <a:pt x="82" y="90"/>
                    </a:lnTo>
                    <a:lnTo>
                      <a:pt x="82" y="87"/>
                    </a:lnTo>
                    <a:lnTo>
                      <a:pt x="82" y="87"/>
                    </a:lnTo>
                    <a:lnTo>
                      <a:pt x="84" y="87"/>
                    </a:lnTo>
                    <a:lnTo>
                      <a:pt x="84" y="87"/>
                    </a:lnTo>
                    <a:lnTo>
                      <a:pt x="84" y="87"/>
                    </a:lnTo>
                    <a:lnTo>
                      <a:pt x="86" y="87"/>
                    </a:lnTo>
                    <a:lnTo>
                      <a:pt x="86" y="87"/>
                    </a:lnTo>
                    <a:lnTo>
                      <a:pt x="87" y="87"/>
                    </a:lnTo>
                    <a:lnTo>
                      <a:pt x="87" y="87"/>
                    </a:lnTo>
                    <a:lnTo>
                      <a:pt x="86" y="84"/>
                    </a:lnTo>
                    <a:lnTo>
                      <a:pt x="86" y="84"/>
                    </a:lnTo>
                    <a:lnTo>
                      <a:pt x="82" y="81"/>
                    </a:lnTo>
                    <a:lnTo>
                      <a:pt x="82" y="81"/>
                    </a:lnTo>
                    <a:lnTo>
                      <a:pt x="78" y="78"/>
                    </a:lnTo>
                    <a:lnTo>
                      <a:pt x="78" y="78"/>
                    </a:lnTo>
                    <a:lnTo>
                      <a:pt x="74" y="74"/>
                    </a:lnTo>
                    <a:lnTo>
                      <a:pt x="74" y="74"/>
                    </a:lnTo>
                    <a:lnTo>
                      <a:pt x="71" y="71"/>
                    </a:lnTo>
                    <a:lnTo>
                      <a:pt x="71" y="71"/>
                    </a:lnTo>
                    <a:lnTo>
                      <a:pt x="73" y="70"/>
                    </a:lnTo>
                    <a:lnTo>
                      <a:pt x="73" y="70"/>
                    </a:lnTo>
                    <a:lnTo>
                      <a:pt x="71" y="66"/>
                    </a:lnTo>
                    <a:lnTo>
                      <a:pt x="71" y="66"/>
                    </a:lnTo>
                    <a:lnTo>
                      <a:pt x="70" y="65"/>
                    </a:lnTo>
                    <a:lnTo>
                      <a:pt x="70" y="65"/>
                    </a:lnTo>
                    <a:lnTo>
                      <a:pt x="70" y="65"/>
                    </a:lnTo>
                    <a:lnTo>
                      <a:pt x="70" y="65"/>
                    </a:lnTo>
                    <a:lnTo>
                      <a:pt x="70" y="65"/>
                    </a:lnTo>
                    <a:lnTo>
                      <a:pt x="70" y="65"/>
                    </a:lnTo>
                    <a:lnTo>
                      <a:pt x="71" y="63"/>
                    </a:lnTo>
                    <a:lnTo>
                      <a:pt x="71" y="63"/>
                    </a:lnTo>
                    <a:lnTo>
                      <a:pt x="74" y="62"/>
                    </a:lnTo>
                    <a:lnTo>
                      <a:pt x="74" y="62"/>
                    </a:lnTo>
                    <a:lnTo>
                      <a:pt x="78" y="60"/>
                    </a:lnTo>
                    <a:lnTo>
                      <a:pt x="78" y="60"/>
                    </a:lnTo>
                    <a:lnTo>
                      <a:pt x="82" y="58"/>
                    </a:lnTo>
                    <a:lnTo>
                      <a:pt x="82" y="58"/>
                    </a:lnTo>
                    <a:lnTo>
                      <a:pt x="86" y="57"/>
                    </a:lnTo>
                    <a:lnTo>
                      <a:pt x="86" y="57"/>
                    </a:lnTo>
                    <a:lnTo>
                      <a:pt x="90" y="55"/>
                    </a:lnTo>
                    <a:lnTo>
                      <a:pt x="90" y="55"/>
                    </a:lnTo>
                    <a:lnTo>
                      <a:pt x="92" y="55"/>
                    </a:lnTo>
                    <a:lnTo>
                      <a:pt x="92" y="55"/>
                    </a:lnTo>
                    <a:lnTo>
                      <a:pt x="94" y="52"/>
                    </a:lnTo>
                    <a:lnTo>
                      <a:pt x="94" y="52"/>
                    </a:lnTo>
                    <a:lnTo>
                      <a:pt x="94" y="52"/>
                    </a:lnTo>
                    <a:lnTo>
                      <a:pt x="95" y="55"/>
                    </a:lnTo>
                    <a:lnTo>
                      <a:pt x="95" y="55"/>
                    </a:lnTo>
                    <a:lnTo>
                      <a:pt x="95" y="55"/>
                    </a:lnTo>
                    <a:lnTo>
                      <a:pt x="95" y="55"/>
                    </a:lnTo>
                    <a:lnTo>
                      <a:pt x="97" y="55"/>
                    </a:lnTo>
                    <a:lnTo>
                      <a:pt x="97" y="55"/>
                    </a:lnTo>
                    <a:lnTo>
                      <a:pt x="98" y="55"/>
                    </a:lnTo>
                    <a:lnTo>
                      <a:pt x="98" y="55"/>
                    </a:lnTo>
                    <a:lnTo>
                      <a:pt x="100" y="55"/>
                    </a:lnTo>
                    <a:lnTo>
                      <a:pt x="100" y="55"/>
                    </a:lnTo>
                    <a:lnTo>
                      <a:pt x="100" y="55"/>
                    </a:lnTo>
                    <a:lnTo>
                      <a:pt x="100" y="54"/>
                    </a:lnTo>
                    <a:lnTo>
                      <a:pt x="100" y="54"/>
                    </a:lnTo>
                    <a:lnTo>
                      <a:pt x="100" y="54"/>
                    </a:lnTo>
                    <a:close/>
                    <a:moveTo>
                      <a:pt x="70" y="9"/>
                    </a:moveTo>
                    <a:lnTo>
                      <a:pt x="70" y="9"/>
                    </a:lnTo>
                    <a:lnTo>
                      <a:pt x="71" y="8"/>
                    </a:lnTo>
                    <a:lnTo>
                      <a:pt x="71" y="8"/>
                    </a:lnTo>
                    <a:lnTo>
                      <a:pt x="73" y="8"/>
                    </a:lnTo>
                    <a:lnTo>
                      <a:pt x="70" y="9"/>
                    </a:lnTo>
                    <a:lnTo>
                      <a:pt x="70" y="9"/>
                    </a:lnTo>
                    <a:lnTo>
                      <a:pt x="70" y="9"/>
                    </a:lnTo>
                    <a:close/>
                    <a:moveTo>
                      <a:pt x="81" y="8"/>
                    </a:moveTo>
                    <a:lnTo>
                      <a:pt x="81" y="8"/>
                    </a:lnTo>
                    <a:lnTo>
                      <a:pt x="82" y="8"/>
                    </a:lnTo>
                    <a:lnTo>
                      <a:pt x="82" y="8"/>
                    </a:lnTo>
                    <a:lnTo>
                      <a:pt x="84" y="8"/>
                    </a:lnTo>
                    <a:lnTo>
                      <a:pt x="84" y="8"/>
                    </a:lnTo>
                    <a:lnTo>
                      <a:pt x="84" y="6"/>
                    </a:lnTo>
                    <a:lnTo>
                      <a:pt x="84" y="6"/>
                    </a:lnTo>
                    <a:lnTo>
                      <a:pt x="84" y="5"/>
                    </a:lnTo>
                    <a:lnTo>
                      <a:pt x="84" y="5"/>
                    </a:lnTo>
                    <a:lnTo>
                      <a:pt x="84" y="3"/>
                    </a:lnTo>
                    <a:lnTo>
                      <a:pt x="84" y="3"/>
                    </a:lnTo>
                    <a:lnTo>
                      <a:pt x="82" y="1"/>
                    </a:lnTo>
                    <a:lnTo>
                      <a:pt x="82" y="1"/>
                    </a:lnTo>
                    <a:lnTo>
                      <a:pt x="81" y="1"/>
                    </a:lnTo>
                    <a:lnTo>
                      <a:pt x="81" y="1"/>
                    </a:lnTo>
                    <a:lnTo>
                      <a:pt x="81" y="1"/>
                    </a:lnTo>
                    <a:lnTo>
                      <a:pt x="81" y="1"/>
                    </a:lnTo>
                    <a:lnTo>
                      <a:pt x="81" y="1"/>
                    </a:lnTo>
                    <a:lnTo>
                      <a:pt x="81" y="1"/>
                    </a:lnTo>
                    <a:lnTo>
                      <a:pt x="79" y="1"/>
                    </a:lnTo>
                    <a:lnTo>
                      <a:pt x="79" y="1"/>
                    </a:lnTo>
                    <a:lnTo>
                      <a:pt x="81" y="1"/>
                    </a:lnTo>
                    <a:lnTo>
                      <a:pt x="81" y="1"/>
                    </a:lnTo>
                    <a:lnTo>
                      <a:pt x="81" y="3"/>
                    </a:lnTo>
                    <a:lnTo>
                      <a:pt x="81" y="3"/>
                    </a:lnTo>
                    <a:lnTo>
                      <a:pt x="81" y="5"/>
                    </a:lnTo>
                    <a:lnTo>
                      <a:pt x="81" y="5"/>
                    </a:lnTo>
                    <a:lnTo>
                      <a:pt x="79" y="3"/>
                    </a:lnTo>
                    <a:lnTo>
                      <a:pt x="79" y="3"/>
                    </a:lnTo>
                    <a:lnTo>
                      <a:pt x="78" y="3"/>
                    </a:lnTo>
                    <a:lnTo>
                      <a:pt x="78" y="3"/>
                    </a:lnTo>
                    <a:lnTo>
                      <a:pt x="79" y="5"/>
                    </a:lnTo>
                    <a:lnTo>
                      <a:pt x="79" y="5"/>
                    </a:lnTo>
                    <a:lnTo>
                      <a:pt x="78" y="5"/>
                    </a:lnTo>
                    <a:lnTo>
                      <a:pt x="78" y="5"/>
                    </a:lnTo>
                    <a:lnTo>
                      <a:pt x="78" y="6"/>
                    </a:lnTo>
                    <a:lnTo>
                      <a:pt x="78" y="6"/>
                    </a:lnTo>
                    <a:lnTo>
                      <a:pt x="79" y="8"/>
                    </a:lnTo>
                    <a:lnTo>
                      <a:pt x="79" y="8"/>
                    </a:lnTo>
                    <a:lnTo>
                      <a:pt x="81" y="8"/>
                    </a:lnTo>
                    <a:lnTo>
                      <a:pt x="81" y="8"/>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74" name="Freeform 355">
                <a:extLst>
                  <a:ext uri="{FF2B5EF4-FFF2-40B4-BE49-F238E27FC236}">
                    <a16:creationId xmlns:a16="http://schemas.microsoft.com/office/drawing/2014/main" id="{F3D25B56-4BA3-7264-6877-35D4A7B46030}"/>
                  </a:ext>
                </a:extLst>
              </p:cNvPr>
              <p:cNvSpPr>
                <a:spLocks/>
              </p:cNvSpPr>
              <p:nvPr/>
            </p:nvSpPr>
            <p:spPr bwMode="auto">
              <a:xfrm>
                <a:off x="5870110" y="2371966"/>
                <a:ext cx="96453" cy="62806"/>
              </a:xfrm>
              <a:custGeom>
                <a:avLst/>
                <a:gdLst>
                  <a:gd name="T0" fmla="*/ 1 w 43"/>
                  <a:gd name="T1" fmla="*/ 9 h 28"/>
                  <a:gd name="T2" fmla="*/ 1 w 43"/>
                  <a:gd name="T3" fmla="*/ 9 h 28"/>
                  <a:gd name="T4" fmla="*/ 3 w 43"/>
                  <a:gd name="T5" fmla="*/ 11 h 28"/>
                  <a:gd name="T6" fmla="*/ 8 w 43"/>
                  <a:gd name="T7" fmla="*/ 12 h 28"/>
                  <a:gd name="T8" fmla="*/ 9 w 43"/>
                  <a:gd name="T9" fmla="*/ 14 h 28"/>
                  <a:gd name="T10" fmla="*/ 11 w 43"/>
                  <a:gd name="T11" fmla="*/ 14 h 28"/>
                  <a:gd name="T12" fmla="*/ 12 w 43"/>
                  <a:gd name="T13" fmla="*/ 16 h 28"/>
                  <a:gd name="T14" fmla="*/ 12 w 43"/>
                  <a:gd name="T15" fmla="*/ 17 h 28"/>
                  <a:gd name="T16" fmla="*/ 16 w 43"/>
                  <a:gd name="T17" fmla="*/ 17 h 28"/>
                  <a:gd name="T18" fmla="*/ 16 w 43"/>
                  <a:gd name="T19" fmla="*/ 17 h 28"/>
                  <a:gd name="T20" fmla="*/ 19 w 43"/>
                  <a:gd name="T21" fmla="*/ 17 h 28"/>
                  <a:gd name="T22" fmla="*/ 19 w 43"/>
                  <a:gd name="T23" fmla="*/ 19 h 28"/>
                  <a:gd name="T24" fmla="*/ 19 w 43"/>
                  <a:gd name="T25" fmla="*/ 22 h 28"/>
                  <a:gd name="T26" fmla="*/ 19 w 43"/>
                  <a:gd name="T27" fmla="*/ 22 h 28"/>
                  <a:gd name="T28" fmla="*/ 22 w 43"/>
                  <a:gd name="T29" fmla="*/ 22 h 28"/>
                  <a:gd name="T30" fmla="*/ 22 w 43"/>
                  <a:gd name="T31" fmla="*/ 22 h 28"/>
                  <a:gd name="T32" fmla="*/ 25 w 43"/>
                  <a:gd name="T33" fmla="*/ 19 h 28"/>
                  <a:gd name="T34" fmla="*/ 25 w 43"/>
                  <a:gd name="T35" fmla="*/ 22 h 28"/>
                  <a:gd name="T36" fmla="*/ 25 w 43"/>
                  <a:gd name="T37" fmla="*/ 25 h 28"/>
                  <a:gd name="T38" fmla="*/ 30 w 43"/>
                  <a:gd name="T39" fmla="*/ 27 h 28"/>
                  <a:gd name="T40" fmla="*/ 31 w 43"/>
                  <a:gd name="T41" fmla="*/ 28 h 28"/>
                  <a:gd name="T42" fmla="*/ 36 w 43"/>
                  <a:gd name="T43" fmla="*/ 28 h 28"/>
                  <a:gd name="T44" fmla="*/ 36 w 43"/>
                  <a:gd name="T45" fmla="*/ 27 h 28"/>
                  <a:gd name="T46" fmla="*/ 36 w 43"/>
                  <a:gd name="T47" fmla="*/ 25 h 28"/>
                  <a:gd name="T48" fmla="*/ 36 w 43"/>
                  <a:gd name="T49" fmla="*/ 24 h 28"/>
                  <a:gd name="T50" fmla="*/ 36 w 43"/>
                  <a:gd name="T51" fmla="*/ 22 h 28"/>
                  <a:gd name="T52" fmla="*/ 36 w 43"/>
                  <a:gd name="T53" fmla="*/ 20 h 28"/>
                  <a:gd name="T54" fmla="*/ 38 w 43"/>
                  <a:gd name="T55" fmla="*/ 20 h 28"/>
                  <a:gd name="T56" fmla="*/ 39 w 43"/>
                  <a:gd name="T57" fmla="*/ 20 h 28"/>
                  <a:gd name="T58" fmla="*/ 39 w 43"/>
                  <a:gd name="T59" fmla="*/ 19 h 28"/>
                  <a:gd name="T60" fmla="*/ 41 w 43"/>
                  <a:gd name="T61" fmla="*/ 19 h 28"/>
                  <a:gd name="T62" fmla="*/ 43 w 43"/>
                  <a:gd name="T63" fmla="*/ 17 h 28"/>
                  <a:gd name="T64" fmla="*/ 43 w 43"/>
                  <a:gd name="T65" fmla="*/ 16 h 28"/>
                  <a:gd name="T66" fmla="*/ 41 w 43"/>
                  <a:gd name="T67" fmla="*/ 14 h 28"/>
                  <a:gd name="T68" fmla="*/ 41 w 43"/>
                  <a:gd name="T69" fmla="*/ 12 h 28"/>
                  <a:gd name="T70" fmla="*/ 39 w 43"/>
                  <a:gd name="T71" fmla="*/ 11 h 28"/>
                  <a:gd name="T72" fmla="*/ 38 w 43"/>
                  <a:gd name="T73" fmla="*/ 11 h 28"/>
                  <a:gd name="T74" fmla="*/ 36 w 43"/>
                  <a:gd name="T75" fmla="*/ 11 h 28"/>
                  <a:gd name="T76" fmla="*/ 35 w 43"/>
                  <a:gd name="T77" fmla="*/ 9 h 28"/>
                  <a:gd name="T78" fmla="*/ 35 w 43"/>
                  <a:gd name="T79" fmla="*/ 9 h 28"/>
                  <a:gd name="T80" fmla="*/ 36 w 43"/>
                  <a:gd name="T81" fmla="*/ 6 h 28"/>
                  <a:gd name="T82" fmla="*/ 35 w 43"/>
                  <a:gd name="T83" fmla="*/ 5 h 28"/>
                  <a:gd name="T84" fmla="*/ 31 w 43"/>
                  <a:gd name="T85" fmla="*/ 3 h 28"/>
                  <a:gd name="T86" fmla="*/ 30 w 43"/>
                  <a:gd name="T87" fmla="*/ 3 h 28"/>
                  <a:gd name="T88" fmla="*/ 28 w 43"/>
                  <a:gd name="T89" fmla="*/ 0 h 28"/>
                  <a:gd name="T90" fmla="*/ 27 w 43"/>
                  <a:gd name="T91" fmla="*/ 3 h 28"/>
                  <a:gd name="T92" fmla="*/ 25 w 43"/>
                  <a:gd name="T93" fmla="*/ 0 h 28"/>
                  <a:gd name="T94" fmla="*/ 25 w 43"/>
                  <a:gd name="T95" fmla="*/ 3 h 28"/>
                  <a:gd name="T96" fmla="*/ 22 w 43"/>
                  <a:gd name="T97" fmla="*/ 0 h 28"/>
                  <a:gd name="T98" fmla="*/ 22 w 43"/>
                  <a:gd name="T99" fmla="*/ 3 h 28"/>
                  <a:gd name="T100" fmla="*/ 20 w 43"/>
                  <a:gd name="T101" fmla="*/ 3 h 28"/>
                  <a:gd name="T102" fmla="*/ 19 w 43"/>
                  <a:gd name="T103" fmla="*/ 3 h 28"/>
                  <a:gd name="T104" fmla="*/ 19 w 43"/>
                  <a:gd name="T105" fmla="*/ 3 h 28"/>
                  <a:gd name="T106" fmla="*/ 19 w 43"/>
                  <a:gd name="T107" fmla="*/ 3 h 28"/>
                  <a:gd name="T108" fmla="*/ 16 w 43"/>
                  <a:gd name="T109" fmla="*/ 6 h 28"/>
                  <a:gd name="T110" fmla="*/ 12 w 43"/>
                  <a:gd name="T111" fmla="*/ 3 h 28"/>
                  <a:gd name="T112" fmla="*/ 11 w 43"/>
                  <a:gd name="T113" fmla="*/ 3 h 28"/>
                  <a:gd name="T114" fmla="*/ 11 w 43"/>
                  <a:gd name="T115" fmla="*/ 3 h 28"/>
                  <a:gd name="T116" fmla="*/ 0 w 43"/>
                  <a:gd name="T117" fmla="*/ 6 h 28"/>
                  <a:gd name="T118" fmla="*/ 1 w 43"/>
                  <a:gd name="T119" fmla="*/ 9 h 28"/>
                  <a:gd name="T120" fmla="*/ 1 w 43"/>
                  <a:gd name="T121"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 h="28">
                    <a:moveTo>
                      <a:pt x="1" y="9"/>
                    </a:moveTo>
                    <a:lnTo>
                      <a:pt x="1" y="9"/>
                    </a:lnTo>
                    <a:lnTo>
                      <a:pt x="1" y="9"/>
                    </a:lnTo>
                    <a:lnTo>
                      <a:pt x="1" y="9"/>
                    </a:lnTo>
                    <a:lnTo>
                      <a:pt x="3" y="11"/>
                    </a:lnTo>
                    <a:lnTo>
                      <a:pt x="3" y="11"/>
                    </a:lnTo>
                    <a:lnTo>
                      <a:pt x="8" y="12"/>
                    </a:lnTo>
                    <a:lnTo>
                      <a:pt x="8" y="12"/>
                    </a:lnTo>
                    <a:lnTo>
                      <a:pt x="9" y="14"/>
                    </a:lnTo>
                    <a:lnTo>
                      <a:pt x="9" y="14"/>
                    </a:lnTo>
                    <a:lnTo>
                      <a:pt x="11" y="14"/>
                    </a:lnTo>
                    <a:lnTo>
                      <a:pt x="11" y="14"/>
                    </a:lnTo>
                    <a:lnTo>
                      <a:pt x="12" y="16"/>
                    </a:lnTo>
                    <a:lnTo>
                      <a:pt x="12" y="16"/>
                    </a:lnTo>
                    <a:lnTo>
                      <a:pt x="12" y="17"/>
                    </a:lnTo>
                    <a:lnTo>
                      <a:pt x="12" y="17"/>
                    </a:lnTo>
                    <a:lnTo>
                      <a:pt x="16" y="17"/>
                    </a:lnTo>
                    <a:lnTo>
                      <a:pt x="16" y="17"/>
                    </a:lnTo>
                    <a:lnTo>
                      <a:pt x="16" y="17"/>
                    </a:lnTo>
                    <a:lnTo>
                      <a:pt x="16" y="17"/>
                    </a:lnTo>
                    <a:lnTo>
                      <a:pt x="19" y="17"/>
                    </a:lnTo>
                    <a:lnTo>
                      <a:pt x="19" y="17"/>
                    </a:lnTo>
                    <a:lnTo>
                      <a:pt x="19" y="19"/>
                    </a:lnTo>
                    <a:lnTo>
                      <a:pt x="19" y="19"/>
                    </a:lnTo>
                    <a:lnTo>
                      <a:pt x="19" y="22"/>
                    </a:lnTo>
                    <a:lnTo>
                      <a:pt x="19" y="22"/>
                    </a:lnTo>
                    <a:lnTo>
                      <a:pt x="19" y="22"/>
                    </a:lnTo>
                    <a:lnTo>
                      <a:pt x="19" y="22"/>
                    </a:lnTo>
                    <a:lnTo>
                      <a:pt x="22" y="22"/>
                    </a:lnTo>
                    <a:lnTo>
                      <a:pt x="22" y="22"/>
                    </a:lnTo>
                    <a:lnTo>
                      <a:pt x="22" y="22"/>
                    </a:lnTo>
                    <a:lnTo>
                      <a:pt x="22" y="22"/>
                    </a:lnTo>
                    <a:lnTo>
                      <a:pt x="25" y="19"/>
                    </a:lnTo>
                    <a:lnTo>
                      <a:pt x="25" y="19"/>
                    </a:lnTo>
                    <a:lnTo>
                      <a:pt x="25" y="22"/>
                    </a:lnTo>
                    <a:lnTo>
                      <a:pt x="25" y="22"/>
                    </a:lnTo>
                    <a:lnTo>
                      <a:pt x="25" y="25"/>
                    </a:lnTo>
                    <a:lnTo>
                      <a:pt x="25" y="25"/>
                    </a:lnTo>
                    <a:lnTo>
                      <a:pt x="30" y="27"/>
                    </a:lnTo>
                    <a:lnTo>
                      <a:pt x="30" y="27"/>
                    </a:lnTo>
                    <a:lnTo>
                      <a:pt x="31" y="28"/>
                    </a:lnTo>
                    <a:lnTo>
                      <a:pt x="31" y="28"/>
                    </a:lnTo>
                    <a:lnTo>
                      <a:pt x="36" y="28"/>
                    </a:lnTo>
                    <a:lnTo>
                      <a:pt x="36" y="28"/>
                    </a:lnTo>
                    <a:lnTo>
                      <a:pt x="36" y="27"/>
                    </a:lnTo>
                    <a:lnTo>
                      <a:pt x="36" y="27"/>
                    </a:lnTo>
                    <a:lnTo>
                      <a:pt x="36" y="25"/>
                    </a:lnTo>
                    <a:lnTo>
                      <a:pt x="36" y="25"/>
                    </a:lnTo>
                    <a:lnTo>
                      <a:pt x="36" y="24"/>
                    </a:lnTo>
                    <a:lnTo>
                      <a:pt x="36" y="24"/>
                    </a:lnTo>
                    <a:lnTo>
                      <a:pt x="36" y="22"/>
                    </a:lnTo>
                    <a:lnTo>
                      <a:pt x="36" y="22"/>
                    </a:lnTo>
                    <a:lnTo>
                      <a:pt x="36" y="20"/>
                    </a:lnTo>
                    <a:lnTo>
                      <a:pt x="36" y="20"/>
                    </a:lnTo>
                    <a:lnTo>
                      <a:pt x="38" y="20"/>
                    </a:lnTo>
                    <a:lnTo>
                      <a:pt x="38" y="20"/>
                    </a:lnTo>
                    <a:lnTo>
                      <a:pt x="39" y="20"/>
                    </a:lnTo>
                    <a:lnTo>
                      <a:pt x="39" y="20"/>
                    </a:lnTo>
                    <a:lnTo>
                      <a:pt x="39" y="19"/>
                    </a:lnTo>
                    <a:lnTo>
                      <a:pt x="39" y="19"/>
                    </a:lnTo>
                    <a:lnTo>
                      <a:pt x="41" y="19"/>
                    </a:lnTo>
                    <a:lnTo>
                      <a:pt x="41" y="19"/>
                    </a:lnTo>
                    <a:lnTo>
                      <a:pt x="43" y="17"/>
                    </a:lnTo>
                    <a:lnTo>
                      <a:pt x="43" y="17"/>
                    </a:lnTo>
                    <a:lnTo>
                      <a:pt x="43" y="16"/>
                    </a:lnTo>
                    <a:lnTo>
                      <a:pt x="43" y="16"/>
                    </a:lnTo>
                    <a:lnTo>
                      <a:pt x="41" y="14"/>
                    </a:lnTo>
                    <a:lnTo>
                      <a:pt x="41" y="14"/>
                    </a:lnTo>
                    <a:lnTo>
                      <a:pt x="41" y="12"/>
                    </a:lnTo>
                    <a:lnTo>
                      <a:pt x="41" y="12"/>
                    </a:lnTo>
                    <a:lnTo>
                      <a:pt x="39" y="11"/>
                    </a:lnTo>
                    <a:lnTo>
                      <a:pt x="39" y="11"/>
                    </a:lnTo>
                    <a:lnTo>
                      <a:pt x="38" y="11"/>
                    </a:lnTo>
                    <a:lnTo>
                      <a:pt x="38" y="11"/>
                    </a:lnTo>
                    <a:lnTo>
                      <a:pt x="36" y="11"/>
                    </a:lnTo>
                    <a:lnTo>
                      <a:pt x="36" y="11"/>
                    </a:lnTo>
                    <a:lnTo>
                      <a:pt x="35" y="9"/>
                    </a:lnTo>
                    <a:lnTo>
                      <a:pt x="35" y="9"/>
                    </a:lnTo>
                    <a:lnTo>
                      <a:pt x="35" y="9"/>
                    </a:lnTo>
                    <a:lnTo>
                      <a:pt x="35" y="9"/>
                    </a:lnTo>
                    <a:lnTo>
                      <a:pt x="36" y="6"/>
                    </a:lnTo>
                    <a:lnTo>
                      <a:pt x="36" y="6"/>
                    </a:lnTo>
                    <a:lnTo>
                      <a:pt x="35" y="5"/>
                    </a:lnTo>
                    <a:lnTo>
                      <a:pt x="35" y="5"/>
                    </a:lnTo>
                    <a:lnTo>
                      <a:pt x="31" y="3"/>
                    </a:lnTo>
                    <a:lnTo>
                      <a:pt x="31" y="3"/>
                    </a:lnTo>
                    <a:lnTo>
                      <a:pt x="30" y="3"/>
                    </a:lnTo>
                    <a:lnTo>
                      <a:pt x="30" y="3"/>
                    </a:lnTo>
                    <a:lnTo>
                      <a:pt x="28" y="0"/>
                    </a:lnTo>
                    <a:lnTo>
                      <a:pt x="28" y="0"/>
                    </a:lnTo>
                    <a:lnTo>
                      <a:pt x="27" y="3"/>
                    </a:lnTo>
                    <a:lnTo>
                      <a:pt x="27" y="3"/>
                    </a:lnTo>
                    <a:lnTo>
                      <a:pt x="25" y="0"/>
                    </a:lnTo>
                    <a:lnTo>
                      <a:pt x="25" y="0"/>
                    </a:lnTo>
                    <a:lnTo>
                      <a:pt x="25" y="3"/>
                    </a:lnTo>
                    <a:lnTo>
                      <a:pt x="25" y="3"/>
                    </a:lnTo>
                    <a:lnTo>
                      <a:pt x="22" y="0"/>
                    </a:lnTo>
                    <a:lnTo>
                      <a:pt x="22" y="0"/>
                    </a:lnTo>
                    <a:lnTo>
                      <a:pt x="22" y="3"/>
                    </a:lnTo>
                    <a:lnTo>
                      <a:pt x="22" y="3"/>
                    </a:lnTo>
                    <a:lnTo>
                      <a:pt x="20" y="3"/>
                    </a:lnTo>
                    <a:lnTo>
                      <a:pt x="20" y="3"/>
                    </a:lnTo>
                    <a:lnTo>
                      <a:pt x="19" y="3"/>
                    </a:lnTo>
                    <a:lnTo>
                      <a:pt x="19" y="3"/>
                    </a:lnTo>
                    <a:lnTo>
                      <a:pt x="19" y="3"/>
                    </a:lnTo>
                    <a:lnTo>
                      <a:pt x="19" y="3"/>
                    </a:lnTo>
                    <a:lnTo>
                      <a:pt x="19" y="3"/>
                    </a:lnTo>
                    <a:lnTo>
                      <a:pt x="19" y="3"/>
                    </a:lnTo>
                    <a:lnTo>
                      <a:pt x="16" y="6"/>
                    </a:lnTo>
                    <a:lnTo>
                      <a:pt x="16" y="6"/>
                    </a:lnTo>
                    <a:lnTo>
                      <a:pt x="12" y="3"/>
                    </a:lnTo>
                    <a:lnTo>
                      <a:pt x="12" y="3"/>
                    </a:lnTo>
                    <a:lnTo>
                      <a:pt x="11" y="3"/>
                    </a:lnTo>
                    <a:lnTo>
                      <a:pt x="11" y="3"/>
                    </a:lnTo>
                    <a:lnTo>
                      <a:pt x="11" y="3"/>
                    </a:lnTo>
                    <a:lnTo>
                      <a:pt x="11" y="3"/>
                    </a:lnTo>
                    <a:lnTo>
                      <a:pt x="0" y="6"/>
                    </a:lnTo>
                    <a:lnTo>
                      <a:pt x="0" y="6"/>
                    </a:lnTo>
                    <a:lnTo>
                      <a:pt x="1" y="6"/>
                    </a:lnTo>
                    <a:lnTo>
                      <a:pt x="1" y="9"/>
                    </a:lnTo>
                    <a:lnTo>
                      <a:pt x="1" y="9"/>
                    </a:lnTo>
                    <a:lnTo>
                      <a:pt x="1" y="9"/>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75" name="Freeform 357">
                <a:extLst>
                  <a:ext uri="{FF2B5EF4-FFF2-40B4-BE49-F238E27FC236}">
                    <a16:creationId xmlns:a16="http://schemas.microsoft.com/office/drawing/2014/main" id="{13297C97-F9D9-3AF6-AFAE-60F792C64AEC}"/>
                  </a:ext>
                </a:extLst>
              </p:cNvPr>
              <p:cNvSpPr>
                <a:spLocks/>
              </p:cNvSpPr>
              <p:nvPr/>
            </p:nvSpPr>
            <p:spPr bwMode="auto">
              <a:xfrm>
                <a:off x="5894783" y="2313645"/>
                <a:ext cx="96453" cy="78508"/>
              </a:xfrm>
              <a:custGeom>
                <a:avLst/>
                <a:gdLst>
                  <a:gd name="T0" fmla="*/ 38 w 43"/>
                  <a:gd name="T1" fmla="*/ 0 h 35"/>
                  <a:gd name="T2" fmla="*/ 35 w 43"/>
                  <a:gd name="T3" fmla="*/ 0 h 35"/>
                  <a:gd name="T4" fmla="*/ 25 w 43"/>
                  <a:gd name="T5" fmla="*/ 2 h 35"/>
                  <a:gd name="T6" fmla="*/ 22 w 43"/>
                  <a:gd name="T7" fmla="*/ 5 h 35"/>
                  <a:gd name="T8" fmla="*/ 19 w 43"/>
                  <a:gd name="T9" fmla="*/ 7 h 35"/>
                  <a:gd name="T10" fmla="*/ 16 w 43"/>
                  <a:gd name="T11" fmla="*/ 7 h 35"/>
                  <a:gd name="T12" fmla="*/ 13 w 43"/>
                  <a:gd name="T13" fmla="*/ 15 h 35"/>
                  <a:gd name="T14" fmla="*/ 8 w 43"/>
                  <a:gd name="T15" fmla="*/ 21 h 35"/>
                  <a:gd name="T16" fmla="*/ 11 w 43"/>
                  <a:gd name="T17" fmla="*/ 24 h 35"/>
                  <a:gd name="T18" fmla="*/ 13 w 43"/>
                  <a:gd name="T19" fmla="*/ 24 h 35"/>
                  <a:gd name="T20" fmla="*/ 9 w 43"/>
                  <a:gd name="T21" fmla="*/ 24 h 35"/>
                  <a:gd name="T22" fmla="*/ 8 w 43"/>
                  <a:gd name="T23" fmla="*/ 24 h 35"/>
                  <a:gd name="T24" fmla="*/ 8 w 43"/>
                  <a:gd name="T25" fmla="*/ 26 h 35"/>
                  <a:gd name="T26" fmla="*/ 5 w 43"/>
                  <a:gd name="T27" fmla="*/ 24 h 35"/>
                  <a:gd name="T28" fmla="*/ 0 w 43"/>
                  <a:gd name="T29" fmla="*/ 26 h 35"/>
                  <a:gd name="T30" fmla="*/ 3 w 43"/>
                  <a:gd name="T31" fmla="*/ 27 h 35"/>
                  <a:gd name="T32" fmla="*/ 9 w 43"/>
                  <a:gd name="T33" fmla="*/ 27 h 35"/>
                  <a:gd name="T34" fmla="*/ 9 w 43"/>
                  <a:gd name="T35" fmla="*/ 27 h 35"/>
                  <a:gd name="T36" fmla="*/ 11 w 43"/>
                  <a:gd name="T37" fmla="*/ 26 h 35"/>
                  <a:gd name="T38" fmla="*/ 14 w 43"/>
                  <a:gd name="T39" fmla="*/ 27 h 35"/>
                  <a:gd name="T40" fmla="*/ 16 w 43"/>
                  <a:gd name="T41" fmla="*/ 27 h 35"/>
                  <a:gd name="T42" fmla="*/ 19 w 43"/>
                  <a:gd name="T43" fmla="*/ 26 h 35"/>
                  <a:gd name="T44" fmla="*/ 22 w 43"/>
                  <a:gd name="T45" fmla="*/ 29 h 35"/>
                  <a:gd name="T46" fmla="*/ 25 w 43"/>
                  <a:gd name="T47" fmla="*/ 31 h 35"/>
                  <a:gd name="T48" fmla="*/ 25 w 43"/>
                  <a:gd name="T49" fmla="*/ 34 h 35"/>
                  <a:gd name="T50" fmla="*/ 25 w 43"/>
                  <a:gd name="T51" fmla="*/ 35 h 35"/>
                  <a:gd name="T52" fmla="*/ 27 w 43"/>
                  <a:gd name="T53" fmla="*/ 35 h 35"/>
                  <a:gd name="T54" fmla="*/ 28 w 43"/>
                  <a:gd name="T55" fmla="*/ 35 h 35"/>
                  <a:gd name="T56" fmla="*/ 28 w 43"/>
                  <a:gd name="T57" fmla="*/ 34 h 35"/>
                  <a:gd name="T58" fmla="*/ 27 w 43"/>
                  <a:gd name="T59" fmla="*/ 32 h 35"/>
                  <a:gd name="T60" fmla="*/ 30 w 43"/>
                  <a:gd name="T61" fmla="*/ 29 h 35"/>
                  <a:gd name="T62" fmla="*/ 30 w 43"/>
                  <a:gd name="T63" fmla="*/ 26 h 35"/>
                  <a:gd name="T64" fmla="*/ 27 w 43"/>
                  <a:gd name="T65" fmla="*/ 24 h 35"/>
                  <a:gd name="T66" fmla="*/ 27 w 43"/>
                  <a:gd name="T67" fmla="*/ 21 h 35"/>
                  <a:gd name="T68" fmla="*/ 30 w 43"/>
                  <a:gd name="T69" fmla="*/ 21 h 35"/>
                  <a:gd name="T70" fmla="*/ 35 w 43"/>
                  <a:gd name="T71" fmla="*/ 21 h 35"/>
                  <a:gd name="T72" fmla="*/ 36 w 43"/>
                  <a:gd name="T73" fmla="*/ 19 h 35"/>
                  <a:gd name="T74" fmla="*/ 38 w 43"/>
                  <a:gd name="T75" fmla="*/ 18 h 35"/>
                  <a:gd name="T76" fmla="*/ 40 w 43"/>
                  <a:gd name="T77" fmla="*/ 15 h 35"/>
                  <a:gd name="T78" fmla="*/ 36 w 43"/>
                  <a:gd name="T79" fmla="*/ 13 h 35"/>
                  <a:gd name="T80" fmla="*/ 38 w 43"/>
                  <a:gd name="T81" fmla="*/ 11 h 35"/>
                  <a:gd name="T82" fmla="*/ 40 w 43"/>
                  <a:gd name="T83" fmla="*/ 11 h 35"/>
                  <a:gd name="T84" fmla="*/ 41 w 43"/>
                  <a:gd name="T85" fmla="*/ 10 h 35"/>
                  <a:gd name="T86" fmla="*/ 41 w 43"/>
                  <a:gd name="T87" fmla="*/ 7 h 35"/>
                  <a:gd name="T88" fmla="*/ 41 w 43"/>
                  <a:gd name="T89" fmla="*/ 5 h 35"/>
                  <a:gd name="T90" fmla="*/ 40 w 43"/>
                  <a:gd name="T91"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 h="35">
                    <a:moveTo>
                      <a:pt x="40" y="2"/>
                    </a:moveTo>
                    <a:lnTo>
                      <a:pt x="40" y="2"/>
                    </a:lnTo>
                    <a:lnTo>
                      <a:pt x="38" y="0"/>
                    </a:lnTo>
                    <a:lnTo>
                      <a:pt x="38" y="0"/>
                    </a:lnTo>
                    <a:lnTo>
                      <a:pt x="35" y="0"/>
                    </a:lnTo>
                    <a:lnTo>
                      <a:pt x="35" y="0"/>
                    </a:lnTo>
                    <a:lnTo>
                      <a:pt x="28" y="2"/>
                    </a:lnTo>
                    <a:lnTo>
                      <a:pt x="28" y="2"/>
                    </a:lnTo>
                    <a:lnTo>
                      <a:pt x="25" y="2"/>
                    </a:lnTo>
                    <a:lnTo>
                      <a:pt x="25" y="2"/>
                    </a:lnTo>
                    <a:lnTo>
                      <a:pt x="22" y="5"/>
                    </a:lnTo>
                    <a:lnTo>
                      <a:pt x="22" y="5"/>
                    </a:lnTo>
                    <a:lnTo>
                      <a:pt x="22" y="5"/>
                    </a:lnTo>
                    <a:lnTo>
                      <a:pt x="22" y="5"/>
                    </a:lnTo>
                    <a:lnTo>
                      <a:pt x="19" y="7"/>
                    </a:lnTo>
                    <a:lnTo>
                      <a:pt x="19" y="7"/>
                    </a:lnTo>
                    <a:lnTo>
                      <a:pt x="16" y="7"/>
                    </a:lnTo>
                    <a:lnTo>
                      <a:pt x="16" y="7"/>
                    </a:lnTo>
                    <a:lnTo>
                      <a:pt x="14" y="8"/>
                    </a:lnTo>
                    <a:lnTo>
                      <a:pt x="14" y="8"/>
                    </a:lnTo>
                    <a:lnTo>
                      <a:pt x="13" y="15"/>
                    </a:lnTo>
                    <a:lnTo>
                      <a:pt x="13" y="15"/>
                    </a:lnTo>
                    <a:lnTo>
                      <a:pt x="8" y="21"/>
                    </a:lnTo>
                    <a:lnTo>
                      <a:pt x="8" y="21"/>
                    </a:lnTo>
                    <a:lnTo>
                      <a:pt x="8" y="21"/>
                    </a:lnTo>
                    <a:lnTo>
                      <a:pt x="8" y="21"/>
                    </a:lnTo>
                    <a:lnTo>
                      <a:pt x="11" y="24"/>
                    </a:lnTo>
                    <a:lnTo>
                      <a:pt x="11" y="24"/>
                    </a:lnTo>
                    <a:lnTo>
                      <a:pt x="13" y="24"/>
                    </a:lnTo>
                    <a:lnTo>
                      <a:pt x="13" y="24"/>
                    </a:lnTo>
                    <a:lnTo>
                      <a:pt x="11" y="24"/>
                    </a:lnTo>
                    <a:lnTo>
                      <a:pt x="11" y="24"/>
                    </a:lnTo>
                    <a:lnTo>
                      <a:pt x="9" y="24"/>
                    </a:lnTo>
                    <a:lnTo>
                      <a:pt x="9" y="24"/>
                    </a:lnTo>
                    <a:lnTo>
                      <a:pt x="8" y="24"/>
                    </a:lnTo>
                    <a:lnTo>
                      <a:pt x="8" y="24"/>
                    </a:lnTo>
                    <a:lnTo>
                      <a:pt x="6" y="24"/>
                    </a:lnTo>
                    <a:lnTo>
                      <a:pt x="6" y="24"/>
                    </a:lnTo>
                    <a:lnTo>
                      <a:pt x="8" y="26"/>
                    </a:lnTo>
                    <a:lnTo>
                      <a:pt x="8" y="26"/>
                    </a:lnTo>
                    <a:lnTo>
                      <a:pt x="5" y="24"/>
                    </a:lnTo>
                    <a:lnTo>
                      <a:pt x="5" y="24"/>
                    </a:lnTo>
                    <a:lnTo>
                      <a:pt x="3" y="24"/>
                    </a:lnTo>
                    <a:lnTo>
                      <a:pt x="3" y="24"/>
                    </a:lnTo>
                    <a:lnTo>
                      <a:pt x="0" y="26"/>
                    </a:lnTo>
                    <a:lnTo>
                      <a:pt x="0" y="26"/>
                    </a:lnTo>
                    <a:lnTo>
                      <a:pt x="3" y="27"/>
                    </a:lnTo>
                    <a:lnTo>
                      <a:pt x="3" y="27"/>
                    </a:lnTo>
                    <a:lnTo>
                      <a:pt x="6" y="27"/>
                    </a:lnTo>
                    <a:lnTo>
                      <a:pt x="6" y="27"/>
                    </a:lnTo>
                    <a:lnTo>
                      <a:pt x="9" y="27"/>
                    </a:lnTo>
                    <a:lnTo>
                      <a:pt x="9" y="27"/>
                    </a:lnTo>
                    <a:lnTo>
                      <a:pt x="9" y="27"/>
                    </a:lnTo>
                    <a:lnTo>
                      <a:pt x="9" y="27"/>
                    </a:lnTo>
                    <a:lnTo>
                      <a:pt x="11" y="27"/>
                    </a:lnTo>
                    <a:lnTo>
                      <a:pt x="11" y="27"/>
                    </a:lnTo>
                    <a:lnTo>
                      <a:pt x="11" y="26"/>
                    </a:lnTo>
                    <a:lnTo>
                      <a:pt x="11" y="26"/>
                    </a:lnTo>
                    <a:lnTo>
                      <a:pt x="14" y="27"/>
                    </a:lnTo>
                    <a:lnTo>
                      <a:pt x="14" y="27"/>
                    </a:lnTo>
                    <a:lnTo>
                      <a:pt x="14" y="26"/>
                    </a:lnTo>
                    <a:lnTo>
                      <a:pt x="14" y="26"/>
                    </a:lnTo>
                    <a:lnTo>
                      <a:pt x="16" y="27"/>
                    </a:lnTo>
                    <a:lnTo>
                      <a:pt x="16" y="27"/>
                    </a:lnTo>
                    <a:lnTo>
                      <a:pt x="19" y="26"/>
                    </a:lnTo>
                    <a:lnTo>
                      <a:pt x="19" y="26"/>
                    </a:lnTo>
                    <a:lnTo>
                      <a:pt x="19" y="29"/>
                    </a:lnTo>
                    <a:lnTo>
                      <a:pt x="19" y="29"/>
                    </a:lnTo>
                    <a:lnTo>
                      <a:pt x="22" y="29"/>
                    </a:lnTo>
                    <a:lnTo>
                      <a:pt x="22" y="29"/>
                    </a:lnTo>
                    <a:lnTo>
                      <a:pt x="25" y="31"/>
                    </a:lnTo>
                    <a:lnTo>
                      <a:pt x="25" y="31"/>
                    </a:lnTo>
                    <a:lnTo>
                      <a:pt x="25" y="32"/>
                    </a:lnTo>
                    <a:lnTo>
                      <a:pt x="25" y="32"/>
                    </a:lnTo>
                    <a:lnTo>
                      <a:pt x="25" y="34"/>
                    </a:lnTo>
                    <a:lnTo>
                      <a:pt x="25" y="34"/>
                    </a:lnTo>
                    <a:lnTo>
                      <a:pt x="25" y="35"/>
                    </a:lnTo>
                    <a:lnTo>
                      <a:pt x="25" y="35"/>
                    </a:lnTo>
                    <a:lnTo>
                      <a:pt x="25" y="35"/>
                    </a:lnTo>
                    <a:lnTo>
                      <a:pt x="25" y="35"/>
                    </a:lnTo>
                    <a:lnTo>
                      <a:pt x="27" y="35"/>
                    </a:lnTo>
                    <a:lnTo>
                      <a:pt x="27" y="35"/>
                    </a:lnTo>
                    <a:lnTo>
                      <a:pt x="28" y="35"/>
                    </a:lnTo>
                    <a:lnTo>
                      <a:pt x="28" y="35"/>
                    </a:lnTo>
                    <a:lnTo>
                      <a:pt x="28" y="35"/>
                    </a:lnTo>
                    <a:lnTo>
                      <a:pt x="28" y="35"/>
                    </a:lnTo>
                    <a:lnTo>
                      <a:pt x="28" y="34"/>
                    </a:lnTo>
                    <a:lnTo>
                      <a:pt x="28" y="34"/>
                    </a:lnTo>
                    <a:lnTo>
                      <a:pt x="27" y="32"/>
                    </a:lnTo>
                    <a:lnTo>
                      <a:pt x="27" y="32"/>
                    </a:lnTo>
                    <a:lnTo>
                      <a:pt x="28" y="31"/>
                    </a:lnTo>
                    <a:lnTo>
                      <a:pt x="28" y="31"/>
                    </a:lnTo>
                    <a:lnTo>
                      <a:pt x="30" y="29"/>
                    </a:lnTo>
                    <a:lnTo>
                      <a:pt x="30" y="29"/>
                    </a:lnTo>
                    <a:lnTo>
                      <a:pt x="30" y="26"/>
                    </a:lnTo>
                    <a:lnTo>
                      <a:pt x="30" y="26"/>
                    </a:lnTo>
                    <a:lnTo>
                      <a:pt x="30" y="24"/>
                    </a:lnTo>
                    <a:lnTo>
                      <a:pt x="30" y="24"/>
                    </a:lnTo>
                    <a:lnTo>
                      <a:pt x="27" y="24"/>
                    </a:lnTo>
                    <a:lnTo>
                      <a:pt x="27" y="24"/>
                    </a:lnTo>
                    <a:lnTo>
                      <a:pt x="27" y="21"/>
                    </a:lnTo>
                    <a:lnTo>
                      <a:pt x="27" y="21"/>
                    </a:lnTo>
                    <a:lnTo>
                      <a:pt x="28" y="21"/>
                    </a:lnTo>
                    <a:lnTo>
                      <a:pt x="28" y="21"/>
                    </a:lnTo>
                    <a:lnTo>
                      <a:pt x="30" y="21"/>
                    </a:lnTo>
                    <a:lnTo>
                      <a:pt x="30" y="21"/>
                    </a:lnTo>
                    <a:lnTo>
                      <a:pt x="35" y="21"/>
                    </a:lnTo>
                    <a:lnTo>
                      <a:pt x="35" y="21"/>
                    </a:lnTo>
                    <a:lnTo>
                      <a:pt x="36" y="21"/>
                    </a:lnTo>
                    <a:lnTo>
                      <a:pt x="36" y="21"/>
                    </a:lnTo>
                    <a:lnTo>
                      <a:pt x="36" y="19"/>
                    </a:lnTo>
                    <a:lnTo>
                      <a:pt x="36" y="19"/>
                    </a:lnTo>
                    <a:lnTo>
                      <a:pt x="38" y="18"/>
                    </a:lnTo>
                    <a:lnTo>
                      <a:pt x="38" y="18"/>
                    </a:lnTo>
                    <a:lnTo>
                      <a:pt x="40" y="16"/>
                    </a:lnTo>
                    <a:lnTo>
                      <a:pt x="40" y="16"/>
                    </a:lnTo>
                    <a:lnTo>
                      <a:pt x="40" y="15"/>
                    </a:lnTo>
                    <a:lnTo>
                      <a:pt x="40" y="15"/>
                    </a:lnTo>
                    <a:lnTo>
                      <a:pt x="36" y="13"/>
                    </a:lnTo>
                    <a:lnTo>
                      <a:pt x="36" y="13"/>
                    </a:lnTo>
                    <a:lnTo>
                      <a:pt x="36" y="11"/>
                    </a:lnTo>
                    <a:lnTo>
                      <a:pt x="36" y="11"/>
                    </a:lnTo>
                    <a:lnTo>
                      <a:pt x="38" y="11"/>
                    </a:lnTo>
                    <a:lnTo>
                      <a:pt x="38" y="11"/>
                    </a:lnTo>
                    <a:lnTo>
                      <a:pt x="40" y="11"/>
                    </a:lnTo>
                    <a:lnTo>
                      <a:pt x="40" y="11"/>
                    </a:lnTo>
                    <a:lnTo>
                      <a:pt x="40" y="10"/>
                    </a:lnTo>
                    <a:lnTo>
                      <a:pt x="40" y="10"/>
                    </a:lnTo>
                    <a:lnTo>
                      <a:pt x="41" y="10"/>
                    </a:lnTo>
                    <a:lnTo>
                      <a:pt x="41" y="10"/>
                    </a:lnTo>
                    <a:lnTo>
                      <a:pt x="41" y="7"/>
                    </a:lnTo>
                    <a:lnTo>
                      <a:pt x="41" y="7"/>
                    </a:lnTo>
                    <a:lnTo>
                      <a:pt x="41" y="5"/>
                    </a:lnTo>
                    <a:lnTo>
                      <a:pt x="41" y="5"/>
                    </a:lnTo>
                    <a:lnTo>
                      <a:pt x="41" y="5"/>
                    </a:lnTo>
                    <a:lnTo>
                      <a:pt x="41" y="5"/>
                    </a:lnTo>
                    <a:lnTo>
                      <a:pt x="43" y="2"/>
                    </a:lnTo>
                    <a:lnTo>
                      <a:pt x="40" y="2"/>
                    </a:lnTo>
                    <a:lnTo>
                      <a:pt x="40" y="2"/>
                    </a:lnTo>
                    <a:lnTo>
                      <a:pt x="40" y="2"/>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76" name="Freeform 381">
                <a:extLst>
                  <a:ext uri="{FF2B5EF4-FFF2-40B4-BE49-F238E27FC236}">
                    <a16:creationId xmlns:a16="http://schemas.microsoft.com/office/drawing/2014/main" id="{49D2087E-3035-9CFB-9E0B-ACB44B298820}"/>
                  </a:ext>
                </a:extLst>
              </p:cNvPr>
              <p:cNvSpPr>
                <a:spLocks/>
              </p:cNvSpPr>
              <p:nvPr/>
            </p:nvSpPr>
            <p:spPr bwMode="auto">
              <a:xfrm>
                <a:off x="6439850" y="1833629"/>
                <a:ext cx="899472" cy="865825"/>
              </a:xfrm>
              <a:custGeom>
                <a:avLst/>
                <a:gdLst>
                  <a:gd name="T0" fmla="*/ 395 w 401"/>
                  <a:gd name="T1" fmla="*/ 194 h 386"/>
                  <a:gd name="T2" fmla="*/ 379 w 401"/>
                  <a:gd name="T3" fmla="*/ 157 h 386"/>
                  <a:gd name="T4" fmla="*/ 381 w 401"/>
                  <a:gd name="T5" fmla="*/ 124 h 386"/>
                  <a:gd name="T6" fmla="*/ 370 w 401"/>
                  <a:gd name="T7" fmla="*/ 64 h 386"/>
                  <a:gd name="T8" fmla="*/ 344 w 401"/>
                  <a:gd name="T9" fmla="*/ 11 h 386"/>
                  <a:gd name="T10" fmla="*/ 290 w 401"/>
                  <a:gd name="T11" fmla="*/ 3 h 386"/>
                  <a:gd name="T12" fmla="*/ 289 w 401"/>
                  <a:gd name="T13" fmla="*/ 19 h 386"/>
                  <a:gd name="T14" fmla="*/ 270 w 401"/>
                  <a:gd name="T15" fmla="*/ 16 h 386"/>
                  <a:gd name="T16" fmla="*/ 236 w 401"/>
                  <a:gd name="T17" fmla="*/ 22 h 386"/>
                  <a:gd name="T18" fmla="*/ 224 w 401"/>
                  <a:gd name="T19" fmla="*/ 21 h 386"/>
                  <a:gd name="T20" fmla="*/ 187 w 401"/>
                  <a:gd name="T21" fmla="*/ 27 h 386"/>
                  <a:gd name="T22" fmla="*/ 160 w 401"/>
                  <a:gd name="T23" fmla="*/ 33 h 386"/>
                  <a:gd name="T24" fmla="*/ 141 w 401"/>
                  <a:gd name="T25" fmla="*/ 16 h 386"/>
                  <a:gd name="T26" fmla="*/ 154 w 401"/>
                  <a:gd name="T27" fmla="*/ 37 h 386"/>
                  <a:gd name="T28" fmla="*/ 144 w 401"/>
                  <a:gd name="T29" fmla="*/ 43 h 386"/>
                  <a:gd name="T30" fmla="*/ 117 w 401"/>
                  <a:gd name="T31" fmla="*/ 65 h 386"/>
                  <a:gd name="T32" fmla="*/ 89 w 401"/>
                  <a:gd name="T33" fmla="*/ 59 h 386"/>
                  <a:gd name="T34" fmla="*/ 89 w 401"/>
                  <a:gd name="T35" fmla="*/ 75 h 386"/>
                  <a:gd name="T36" fmla="*/ 68 w 401"/>
                  <a:gd name="T37" fmla="*/ 59 h 386"/>
                  <a:gd name="T38" fmla="*/ 44 w 401"/>
                  <a:gd name="T39" fmla="*/ 40 h 386"/>
                  <a:gd name="T40" fmla="*/ 57 w 401"/>
                  <a:gd name="T41" fmla="*/ 38 h 386"/>
                  <a:gd name="T42" fmla="*/ 122 w 401"/>
                  <a:gd name="T43" fmla="*/ 33 h 386"/>
                  <a:gd name="T44" fmla="*/ 70 w 401"/>
                  <a:gd name="T45" fmla="*/ 10 h 386"/>
                  <a:gd name="T46" fmla="*/ 41 w 401"/>
                  <a:gd name="T47" fmla="*/ 2 h 386"/>
                  <a:gd name="T48" fmla="*/ 12 w 401"/>
                  <a:gd name="T49" fmla="*/ 5 h 386"/>
                  <a:gd name="T50" fmla="*/ 3 w 401"/>
                  <a:gd name="T51" fmla="*/ 21 h 386"/>
                  <a:gd name="T52" fmla="*/ 19 w 401"/>
                  <a:gd name="T53" fmla="*/ 56 h 386"/>
                  <a:gd name="T54" fmla="*/ 39 w 401"/>
                  <a:gd name="T55" fmla="*/ 86 h 386"/>
                  <a:gd name="T56" fmla="*/ 19 w 401"/>
                  <a:gd name="T57" fmla="*/ 118 h 386"/>
                  <a:gd name="T58" fmla="*/ 16 w 401"/>
                  <a:gd name="T59" fmla="*/ 127 h 386"/>
                  <a:gd name="T60" fmla="*/ 9 w 401"/>
                  <a:gd name="T61" fmla="*/ 148 h 386"/>
                  <a:gd name="T62" fmla="*/ 19 w 401"/>
                  <a:gd name="T63" fmla="*/ 176 h 386"/>
                  <a:gd name="T64" fmla="*/ 47 w 401"/>
                  <a:gd name="T65" fmla="*/ 184 h 386"/>
                  <a:gd name="T66" fmla="*/ 68 w 401"/>
                  <a:gd name="T67" fmla="*/ 208 h 386"/>
                  <a:gd name="T68" fmla="*/ 63 w 401"/>
                  <a:gd name="T69" fmla="*/ 230 h 386"/>
                  <a:gd name="T70" fmla="*/ 93 w 401"/>
                  <a:gd name="T71" fmla="*/ 235 h 386"/>
                  <a:gd name="T72" fmla="*/ 109 w 401"/>
                  <a:gd name="T73" fmla="*/ 256 h 386"/>
                  <a:gd name="T74" fmla="*/ 138 w 401"/>
                  <a:gd name="T75" fmla="*/ 264 h 386"/>
                  <a:gd name="T76" fmla="*/ 163 w 401"/>
                  <a:gd name="T77" fmla="*/ 273 h 386"/>
                  <a:gd name="T78" fmla="*/ 160 w 401"/>
                  <a:gd name="T79" fmla="*/ 292 h 386"/>
                  <a:gd name="T80" fmla="*/ 155 w 401"/>
                  <a:gd name="T81" fmla="*/ 300 h 386"/>
                  <a:gd name="T82" fmla="*/ 151 w 401"/>
                  <a:gd name="T83" fmla="*/ 318 h 386"/>
                  <a:gd name="T84" fmla="*/ 135 w 401"/>
                  <a:gd name="T85" fmla="*/ 327 h 386"/>
                  <a:gd name="T86" fmla="*/ 159 w 401"/>
                  <a:gd name="T87" fmla="*/ 343 h 386"/>
                  <a:gd name="T88" fmla="*/ 219 w 401"/>
                  <a:gd name="T89" fmla="*/ 365 h 386"/>
                  <a:gd name="T90" fmla="*/ 251 w 401"/>
                  <a:gd name="T91" fmla="*/ 375 h 386"/>
                  <a:gd name="T92" fmla="*/ 270 w 401"/>
                  <a:gd name="T93" fmla="*/ 368 h 386"/>
                  <a:gd name="T94" fmla="*/ 247 w 401"/>
                  <a:gd name="T95" fmla="*/ 340 h 386"/>
                  <a:gd name="T96" fmla="*/ 266 w 401"/>
                  <a:gd name="T97" fmla="*/ 319 h 386"/>
                  <a:gd name="T98" fmla="*/ 266 w 401"/>
                  <a:gd name="T99" fmla="*/ 306 h 386"/>
                  <a:gd name="T100" fmla="*/ 241 w 401"/>
                  <a:gd name="T101" fmla="*/ 286 h 386"/>
                  <a:gd name="T102" fmla="*/ 239 w 401"/>
                  <a:gd name="T103" fmla="*/ 260 h 386"/>
                  <a:gd name="T104" fmla="*/ 252 w 401"/>
                  <a:gd name="T105" fmla="*/ 252 h 386"/>
                  <a:gd name="T106" fmla="*/ 273 w 401"/>
                  <a:gd name="T107" fmla="*/ 238 h 386"/>
                  <a:gd name="T108" fmla="*/ 301 w 401"/>
                  <a:gd name="T109" fmla="*/ 240 h 386"/>
                  <a:gd name="T110" fmla="*/ 328 w 401"/>
                  <a:gd name="T111" fmla="*/ 252 h 386"/>
                  <a:gd name="T112" fmla="*/ 354 w 401"/>
                  <a:gd name="T113" fmla="*/ 246 h 386"/>
                  <a:gd name="T114" fmla="*/ 379 w 401"/>
                  <a:gd name="T115" fmla="*/ 249 h 386"/>
                  <a:gd name="T116" fmla="*/ 382 w 401"/>
                  <a:gd name="T117" fmla="*/ 240 h 386"/>
                  <a:gd name="T118" fmla="*/ 392 w 401"/>
                  <a:gd name="T119" fmla="*/ 219 h 386"/>
                  <a:gd name="T120" fmla="*/ 378 w 401"/>
                  <a:gd name="T121" fmla="*/ 208 h 386"/>
                  <a:gd name="T122" fmla="*/ 398 w 401"/>
                  <a:gd name="T123" fmla="*/ 203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1" h="386">
                    <a:moveTo>
                      <a:pt x="401" y="200"/>
                    </a:moveTo>
                    <a:lnTo>
                      <a:pt x="401" y="200"/>
                    </a:lnTo>
                    <a:lnTo>
                      <a:pt x="400" y="200"/>
                    </a:lnTo>
                    <a:lnTo>
                      <a:pt x="400" y="200"/>
                    </a:lnTo>
                    <a:lnTo>
                      <a:pt x="397" y="202"/>
                    </a:lnTo>
                    <a:lnTo>
                      <a:pt x="397" y="202"/>
                    </a:lnTo>
                    <a:lnTo>
                      <a:pt x="395" y="200"/>
                    </a:lnTo>
                    <a:lnTo>
                      <a:pt x="395" y="200"/>
                    </a:lnTo>
                    <a:lnTo>
                      <a:pt x="397" y="200"/>
                    </a:lnTo>
                    <a:lnTo>
                      <a:pt x="397" y="200"/>
                    </a:lnTo>
                    <a:lnTo>
                      <a:pt x="397" y="199"/>
                    </a:lnTo>
                    <a:lnTo>
                      <a:pt x="397" y="199"/>
                    </a:lnTo>
                    <a:lnTo>
                      <a:pt x="398" y="199"/>
                    </a:lnTo>
                    <a:lnTo>
                      <a:pt x="398" y="199"/>
                    </a:lnTo>
                    <a:lnTo>
                      <a:pt x="398" y="199"/>
                    </a:lnTo>
                    <a:lnTo>
                      <a:pt x="398" y="199"/>
                    </a:lnTo>
                    <a:lnTo>
                      <a:pt x="397" y="199"/>
                    </a:lnTo>
                    <a:lnTo>
                      <a:pt x="397" y="199"/>
                    </a:lnTo>
                    <a:lnTo>
                      <a:pt x="395" y="199"/>
                    </a:lnTo>
                    <a:lnTo>
                      <a:pt x="395" y="199"/>
                    </a:lnTo>
                    <a:lnTo>
                      <a:pt x="395" y="199"/>
                    </a:lnTo>
                    <a:lnTo>
                      <a:pt x="395" y="199"/>
                    </a:lnTo>
                    <a:lnTo>
                      <a:pt x="395" y="197"/>
                    </a:lnTo>
                    <a:lnTo>
                      <a:pt x="395" y="197"/>
                    </a:lnTo>
                    <a:lnTo>
                      <a:pt x="394" y="195"/>
                    </a:lnTo>
                    <a:lnTo>
                      <a:pt x="394" y="195"/>
                    </a:lnTo>
                    <a:lnTo>
                      <a:pt x="395" y="194"/>
                    </a:lnTo>
                    <a:lnTo>
                      <a:pt x="395" y="194"/>
                    </a:lnTo>
                    <a:lnTo>
                      <a:pt x="395" y="194"/>
                    </a:lnTo>
                    <a:lnTo>
                      <a:pt x="390" y="192"/>
                    </a:lnTo>
                    <a:lnTo>
                      <a:pt x="390" y="192"/>
                    </a:lnTo>
                    <a:lnTo>
                      <a:pt x="389" y="187"/>
                    </a:lnTo>
                    <a:lnTo>
                      <a:pt x="389" y="187"/>
                    </a:lnTo>
                    <a:lnTo>
                      <a:pt x="390" y="181"/>
                    </a:lnTo>
                    <a:lnTo>
                      <a:pt x="390" y="181"/>
                    </a:lnTo>
                    <a:lnTo>
                      <a:pt x="398" y="175"/>
                    </a:lnTo>
                    <a:lnTo>
                      <a:pt x="398" y="175"/>
                    </a:lnTo>
                    <a:lnTo>
                      <a:pt x="395" y="168"/>
                    </a:lnTo>
                    <a:lnTo>
                      <a:pt x="395" y="168"/>
                    </a:lnTo>
                    <a:lnTo>
                      <a:pt x="389" y="172"/>
                    </a:lnTo>
                    <a:lnTo>
                      <a:pt x="389" y="172"/>
                    </a:lnTo>
                    <a:lnTo>
                      <a:pt x="386" y="173"/>
                    </a:lnTo>
                    <a:lnTo>
                      <a:pt x="386" y="173"/>
                    </a:lnTo>
                    <a:lnTo>
                      <a:pt x="379" y="175"/>
                    </a:lnTo>
                    <a:lnTo>
                      <a:pt x="379" y="175"/>
                    </a:lnTo>
                    <a:lnTo>
                      <a:pt x="376" y="175"/>
                    </a:lnTo>
                    <a:lnTo>
                      <a:pt x="376" y="175"/>
                    </a:lnTo>
                    <a:lnTo>
                      <a:pt x="371" y="175"/>
                    </a:lnTo>
                    <a:lnTo>
                      <a:pt x="371" y="175"/>
                    </a:lnTo>
                    <a:lnTo>
                      <a:pt x="370" y="168"/>
                    </a:lnTo>
                    <a:lnTo>
                      <a:pt x="370" y="168"/>
                    </a:lnTo>
                    <a:lnTo>
                      <a:pt x="373" y="164"/>
                    </a:lnTo>
                    <a:lnTo>
                      <a:pt x="373" y="164"/>
                    </a:lnTo>
                    <a:lnTo>
                      <a:pt x="373" y="162"/>
                    </a:lnTo>
                    <a:lnTo>
                      <a:pt x="373" y="162"/>
                    </a:lnTo>
                    <a:lnTo>
                      <a:pt x="374" y="159"/>
                    </a:lnTo>
                    <a:lnTo>
                      <a:pt x="374" y="159"/>
                    </a:lnTo>
                    <a:lnTo>
                      <a:pt x="379" y="157"/>
                    </a:lnTo>
                    <a:lnTo>
                      <a:pt x="379" y="157"/>
                    </a:lnTo>
                    <a:lnTo>
                      <a:pt x="381" y="157"/>
                    </a:lnTo>
                    <a:lnTo>
                      <a:pt x="382" y="157"/>
                    </a:lnTo>
                    <a:lnTo>
                      <a:pt x="382" y="157"/>
                    </a:lnTo>
                    <a:lnTo>
                      <a:pt x="386" y="159"/>
                    </a:lnTo>
                    <a:lnTo>
                      <a:pt x="386" y="159"/>
                    </a:lnTo>
                    <a:lnTo>
                      <a:pt x="392" y="154"/>
                    </a:lnTo>
                    <a:lnTo>
                      <a:pt x="392" y="154"/>
                    </a:lnTo>
                    <a:lnTo>
                      <a:pt x="394" y="154"/>
                    </a:lnTo>
                    <a:lnTo>
                      <a:pt x="394" y="154"/>
                    </a:lnTo>
                    <a:lnTo>
                      <a:pt x="390" y="152"/>
                    </a:lnTo>
                    <a:lnTo>
                      <a:pt x="390" y="152"/>
                    </a:lnTo>
                    <a:lnTo>
                      <a:pt x="384" y="151"/>
                    </a:lnTo>
                    <a:lnTo>
                      <a:pt x="384" y="151"/>
                    </a:lnTo>
                    <a:lnTo>
                      <a:pt x="381" y="149"/>
                    </a:lnTo>
                    <a:lnTo>
                      <a:pt x="381" y="149"/>
                    </a:lnTo>
                    <a:lnTo>
                      <a:pt x="384" y="149"/>
                    </a:lnTo>
                    <a:lnTo>
                      <a:pt x="384" y="148"/>
                    </a:lnTo>
                    <a:lnTo>
                      <a:pt x="382" y="146"/>
                    </a:lnTo>
                    <a:lnTo>
                      <a:pt x="382" y="146"/>
                    </a:lnTo>
                    <a:lnTo>
                      <a:pt x="381" y="143"/>
                    </a:lnTo>
                    <a:lnTo>
                      <a:pt x="381" y="138"/>
                    </a:lnTo>
                    <a:lnTo>
                      <a:pt x="381" y="133"/>
                    </a:lnTo>
                    <a:lnTo>
                      <a:pt x="381" y="133"/>
                    </a:lnTo>
                    <a:lnTo>
                      <a:pt x="386" y="135"/>
                    </a:lnTo>
                    <a:lnTo>
                      <a:pt x="386" y="135"/>
                    </a:lnTo>
                    <a:lnTo>
                      <a:pt x="384" y="133"/>
                    </a:lnTo>
                    <a:lnTo>
                      <a:pt x="384" y="133"/>
                    </a:lnTo>
                    <a:lnTo>
                      <a:pt x="381" y="124"/>
                    </a:lnTo>
                    <a:lnTo>
                      <a:pt x="381" y="124"/>
                    </a:lnTo>
                    <a:lnTo>
                      <a:pt x="379" y="121"/>
                    </a:lnTo>
                    <a:lnTo>
                      <a:pt x="379" y="121"/>
                    </a:lnTo>
                    <a:lnTo>
                      <a:pt x="378" y="121"/>
                    </a:lnTo>
                    <a:lnTo>
                      <a:pt x="376" y="119"/>
                    </a:lnTo>
                    <a:lnTo>
                      <a:pt x="376" y="114"/>
                    </a:lnTo>
                    <a:lnTo>
                      <a:pt x="376" y="114"/>
                    </a:lnTo>
                    <a:lnTo>
                      <a:pt x="376" y="111"/>
                    </a:lnTo>
                    <a:lnTo>
                      <a:pt x="376" y="111"/>
                    </a:lnTo>
                    <a:lnTo>
                      <a:pt x="378" y="106"/>
                    </a:lnTo>
                    <a:lnTo>
                      <a:pt x="378" y="106"/>
                    </a:lnTo>
                    <a:lnTo>
                      <a:pt x="378" y="103"/>
                    </a:lnTo>
                    <a:lnTo>
                      <a:pt x="379" y="102"/>
                    </a:lnTo>
                    <a:lnTo>
                      <a:pt x="379" y="102"/>
                    </a:lnTo>
                    <a:lnTo>
                      <a:pt x="378" y="97"/>
                    </a:lnTo>
                    <a:lnTo>
                      <a:pt x="378" y="97"/>
                    </a:lnTo>
                    <a:lnTo>
                      <a:pt x="376" y="92"/>
                    </a:lnTo>
                    <a:lnTo>
                      <a:pt x="376" y="92"/>
                    </a:lnTo>
                    <a:lnTo>
                      <a:pt x="373" y="86"/>
                    </a:lnTo>
                    <a:lnTo>
                      <a:pt x="373" y="86"/>
                    </a:lnTo>
                    <a:lnTo>
                      <a:pt x="373" y="83"/>
                    </a:lnTo>
                    <a:lnTo>
                      <a:pt x="373" y="83"/>
                    </a:lnTo>
                    <a:lnTo>
                      <a:pt x="373" y="78"/>
                    </a:lnTo>
                    <a:lnTo>
                      <a:pt x="373" y="78"/>
                    </a:lnTo>
                    <a:lnTo>
                      <a:pt x="370" y="75"/>
                    </a:lnTo>
                    <a:lnTo>
                      <a:pt x="370" y="72"/>
                    </a:lnTo>
                    <a:lnTo>
                      <a:pt x="370" y="68"/>
                    </a:lnTo>
                    <a:lnTo>
                      <a:pt x="370" y="68"/>
                    </a:lnTo>
                    <a:lnTo>
                      <a:pt x="370" y="64"/>
                    </a:lnTo>
                    <a:lnTo>
                      <a:pt x="373" y="59"/>
                    </a:lnTo>
                    <a:lnTo>
                      <a:pt x="373" y="59"/>
                    </a:lnTo>
                    <a:lnTo>
                      <a:pt x="374" y="54"/>
                    </a:lnTo>
                    <a:lnTo>
                      <a:pt x="376" y="51"/>
                    </a:lnTo>
                    <a:lnTo>
                      <a:pt x="376" y="51"/>
                    </a:lnTo>
                    <a:lnTo>
                      <a:pt x="376" y="49"/>
                    </a:lnTo>
                    <a:lnTo>
                      <a:pt x="376" y="49"/>
                    </a:lnTo>
                    <a:lnTo>
                      <a:pt x="379" y="40"/>
                    </a:lnTo>
                    <a:lnTo>
                      <a:pt x="379" y="40"/>
                    </a:lnTo>
                    <a:lnTo>
                      <a:pt x="376" y="27"/>
                    </a:lnTo>
                    <a:lnTo>
                      <a:pt x="376" y="27"/>
                    </a:lnTo>
                    <a:lnTo>
                      <a:pt x="374" y="24"/>
                    </a:lnTo>
                    <a:lnTo>
                      <a:pt x="374" y="24"/>
                    </a:lnTo>
                    <a:lnTo>
                      <a:pt x="373" y="24"/>
                    </a:lnTo>
                    <a:lnTo>
                      <a:pt x="373" y="24"/>
                    </a:lnTo>
                    <a:lnTo>
                      <a:pt x="373" y="22"/>
                    </a:lnTo>
                    <a:lnTo>
                      <a:pt x="373" y="22"/>
                    </a:lnTo>
                    <a:lnTo>
                      <a:pt x="371" y="21"/>
                    </a:lnTo>
                    <a:lnTo>
                      <a:pt x="371" y="21"/>
                    </a:lnTo>
                    <a:lnTo>
                      <a:pt x="368" y="19"/>
                    </a:lnTo>
                    <a:lnTo>
                      <a:pt x="368" y="19"/>
                    </a:lnTo>
                    <a:lnTo>
                      <a:pt x="360" y="16"/>
                    </a:lnTo>
                    <a:lnTo>
                      <a:pt x="360" y="16"/>
                    </a:lnTo>
                    <a:lnTo>
                      <a:pt x="354" y="13"/>
                    </a:lnTo>
                    <a:lnTo>
                      <a:pt x="354" y="13"/>
                    </a:lnTo>
                    <a:lnTo>
                      <a:pt x="347" y="11"/>
                    </a:lnTo>
                    <a:lnTo>
                      <a:pt x="347" y="11"/>
                    </a:lnTo>
                    <a:lnTo>
                      <a:pt x="344" y="11"/>
                    </a:lnTo>
                    <a:lnTo>
                      <a:pt x="344" y="11"/>
                    </a:lnTo>
                    <a:lnTo>
                      <a:pt x="343" y="10"/>
                    </a:lnTo>
                    <a:lnTo>
                      <a:pt x="343" y="10"/>
                    </a:lnTo>
                    <a:lnTo>
                      <a:pt x="340" y="8"/>
                    </a:lnTo>
                    <a:lnTo>
                      <a:pt x="340" y="8"/>
                    </a:lnTo>
                    <a:lnTo>
                      <a:pt x="336" y="8"/>
                    </a:lnTo>
                    <a:lnTo>
                      <a:pt x="336" y="8"/>
                    </a:lnTo>
                    <a:lnTo>
                      <a:pt x="335" y="10"/>
                    </a:lnTo>
                    <a:lnTo>
                      <a:pt x="335" y="10"/>
                    </a:lnTo>
                    <a:lnTo>
                      <a:pt x="333" y="10"/>
                    </a:lnTo>
                    <a:lnTo>
                      <a:pt x="333" y="10"/>
                    </a:lnTo>
                    <a:lnTo>
                      <a:pt x="333" y="8"/>
                    </a:lnTo>
                    <a:lnTo>
                      <a:pt x="333" y="8"/>
                    </a:lnTo>
                    <a:lnTo>
                      <a:pt x="335" y="8"/>
                    </a:lnTo>
                    <a:lnTo>
                      <a:pt x="335" y="8"/>
                    </a:lnTo>
                    <a:lnTo>
                      <a:pt x="320" y="3"/>
                    </a:lnTo>
                    <a:lnTo>
                      <a:pt x="320" y="3"/>
                    </a:lnTo>
                    <a:lnTo>
                      <a:pt x="306" y="2"/>
                    </a:lnTo>
                    <a:lnTo>
                      <a:pt x="306" y="2"/>
                    </a:lnTo>
                    <a:lnTo>
                      <a:pt x="298" y="2"/>
                    </a:lnTo>
                    <a:lnTo>
                      <a:pt x="298" y="2"/>
                    </a:lnTo>
                    <a:lnTo>
                      <a:pt x="295" y="0"/>
                    </a:lnTo>
                    <a:lnTo>
                      <a:pt x="295" y="0"/>
                    </a:lnTo>
                    <a:lnTo>
                      <a:pt x="292" y="2"/>
                    </a:lnTo>
                    <a:lnTo>
                      <a:pt x="292" y="2"/>
                    </a:lnTo>
                    <a:lnTo>
                      <a:pt x="292" y="3"/>
                    </a:lnTo>
                    <a:lnTo>
                      <a:pt x="292" y="3"/>
                    </a:lnTo>
                    <a:lnTo>
                      <a:pt x="292" y="3"/>
                    </a:lnTo>
                    <a:lnTo>
                      <a:pt x="292" y="3"/>
                    </a:lnTo>
                    <a:lnTo>
                      <a:pt x="290" y="3"/>
                    </a:lnTo>
                    <a:lnTo>
                      <a:pt x="290" y="3"/>
                    </a:lnTo>
                    <a:lnTo>
                      <a:pt x="289" y="5"/>
                    </a:lnTo>
                    <a:lnTo>
                      <a:pt x="289" y="5"/>
                    </a:lnTo>
                    <a:lnTo>
                      <a:pt x="292" y="6"/>
                    </a:lnTo>
                    <a:lnTo>
                      <a:pt x="292" y="6"/>
                    </a:lnTo>
                    <a:lnTo>
                      <a:pt x="295" y="8"/>
                    </a:lnTo>
                    <a:lnTo>
                      <a:pt x="295" y="8"/>
                    </a:lnTo>
                    <a:lnTo>
                      <a:pt x="298" y="10"/>
                    </a:lnTo>
                    <a:lnTo>
                      <a:pt x="298" y="10"/>
                    </a:lnTo>
                    <a:lnTo>
                      <a:pt x="298" y="11"/>
                    </a:lnTo>
                    <a:lnTo>
                      <a:pt x="298" y="11"/>
                    </a:lnTo>
                    <a:lnTo>
                      <a:pt x="298" y="13"/>
                    </a:lnTo>
                    <a:lnTo>
                      <a:pt x="298" y="13"/>
                    </a:lnTo>
                    <a:lnTo>
                      <a:pt x="298" y="14"/>
                    </a:lnTo>
                    <a:lnTo>
                      <a:pt x="298" y="14"/>
                    </a:lnTo>
                    <a:lnTo>
                      <a:pt x="295" y="14"/>
                    </a:lnTo>
                    <a:lnTo>
                      <a:pt x="295" y="14"/>
                    </a:lnTo>
                    <a:lnTo>
                      <a:pt x="292" y="16"/>
                    </a:lnTo>
                    <a:lnTo>
                      <a:pt x="292" y="16"/>
                    </a:lnTo>
                    <a:lnTo>
                      <a:pt x="290" y="16"/>
                    </a:lnTo>
                    <a:lnTo>
                      <a:pt x="290" y="16"/>
                    </a:lnTo>
                    <a:lnTo>
                      <a:pt x="292" y="18"/>
                    </a:lnTo>
                    <a:lnTo>
                      <a:pt x="292" y="18"/>
                    </a:lnTo>
                    <a:lnTo>
                      <a:pt x="292" y="19"/>
                    </a:lnTo>
                    <a:lnTo>
                      <a:pt x="292" y="19"/>
                    </a:lnTo>
                    <a:lnTo>
                      <a:pt x="292" y="21"/>
                    </a:lnTo>
                    <a:lnTo>
                      <a:pt x="292" y="21"/>
                    </a:lnTo>
                    <a:lnTo>
                      <a:pt x="289" y="19"/>
                    </a:lnTo>
                    <a:lnTo>
                      <a:pt x="289" y="19"/>
                    </a:lnTo>
                    <a:lnTo>
                      <a:pt x="287" y="19"/>
                    </a:lnTo>
                    <a:lnTo>
                      <a:pt x="287" y="19"/>
                    </a:lnTo>
                    <a:lnTo>
                      <a:pt x="286" y="18"/>
                    </a:lnTo>
                    <a:lnTo>
                      <a:pt x="286" y="18"/>
                    </a:lnTo>
                    <a:lnTo>
                      <a:pt x="286" y="16"/>
                    </a:lnTo>
                    <a:lnTo>
                      <a:pt x="286" y="16"/>
                    </a:lnTo>
                    <a:lnTo>
                      <a:pt x="287" y="14"/>
                    </a:lnTo>
                    <a:lnTo>
                      <a:pt x="287" y="14"/>
                    </a:lnTo>
                    <a:lnTo>
                      <a:pt x="284" y="13"/>
                    </a:lnTo>
                    <a:lnTo>
                      <a:pt x="284" y="13"/>
                    </a:lnTo>
                    <a:lnTo>
                      <a:pt x="282" y="13"/>
                    </a:lnTo>
                    <a:lnTo>
                      <a:pt x="282" y="13"/>
                    </a:lnTo>
                    <a:lnTo>
                      <a:pt x="284" y="11"/>
                    </a:lnTo>
                    <a:lnTo>
                      <a:pt x="284" y="11"/>
                    </a:lnTo>
                    <a:lnTo>
                      <a:pt x="279" y="11"/>
                    </a:lnTo>
                    <a:lnTo>
                      <a:pt x="279" y="11"/>
                    </a:lnTo>
                    <a:lnTo>
                      <a:pt x="274" y="13"/>
                    </a:lnTo>
                    <a:lnTo>
                      <a:pt x="274" y="13"/>
                    </a:lnTo>
                    <a:lnTo>
                      <a:pt x="276" y="14"/>
                    </a:lnTo>
                    <a:lnTo>
                      <a:pt x="276" y="14"/>
                    </a:lnTo>
                    <a:lnTo>
                      <a:pt x="274" y="14"/>
                    </a:lnTo>
                    <a:lnTo>
                      <a:pt x="274" y="14"/>
                    </a:lnTo>
                    <a:lnTo>
                      <a:pt x="273" y="13"/>
                    </a:lnTo>
                    <a:lnTo>
                      <a:pt x="273" y="13"/>
                    </a:lnTo>
                    <a:lnTo>
                      <a:pt x="273" y="14"/>
                    </a:lnTo>
                    <a:lnTo>
                      <a:pt x="273" y="14"/>
                    </a:lnTo>
                    <a:lnTo>
                      <a:pt x="271" y="14"/>
                    </a:lnTo>
                    <a:lnTo>
                      <a:pt x="271" y="14"/>
                    </a:lnTo>
                    <a:lnTo>
                      <a:pt x="270" y="16"/>
                    </a:lnTo>
                    <a:lnTo>
                      <a:pt x="270" y="16"/>
                    </a:lnTo>
                    <a:lnTo>
                      <a:pt x="270" y="16"/>
                    </a:lnTo>
                    <a:lnTo>
                      <a:pt x="270" y="16"/>
                    </a:lnTo>
                    <a:lnTo>
                      <a:pt x="266" y="18"/>
                    </a:lnTo>
                    <a:lnTo>
                      <a:pt x="266" y="18"/>
                    </a:lnTo>
                    <a:lnTo>
                      <a:pt x="263" y="16"/>
                    </a:lnTo>
                    <a:lnTo>
                      <a:pt x="263" y="16"/>
                    </a:lnTo>
                    <a:lnTo>
                      <a:pt x="260" y="16"/>
                    </a:lnTo>
                    <a:lnTo>
                      <a:pt x="260" y="16"/>
                    </a:lnTo>
                    <a:lnTo>
                      <a:pt x="254" y="16"/>
                    </a:lnTo>
                    <a:lnTo>
                      <a:pt x="254" y="16"/>
                    </a:lnTo>
                    <a:lnTo>
                      <a:pt x="249" y="18"/>
                    </a:lnTo>
                    <a:lnTo>
                      <a:pt x="249" y="18"/>
                    </a:lnTo>
                    <a:lnTo>
                      <a:pt x="247" y="19"/>
                    </a:lnTo>
                    <a:lnTo>
                      <a:pt x="247" y="19"/>
                    </a:lnTo>
                    <a:lnTo>
                      <a:pt x="247" y="22"/>
                    </a:lnTo>
                    <a:lnTo>
                      <a:pt x="247" y="22"/>
                    </a:lnTo>
                    <a:lnTo>
                      <a:pt x="244" y="21"/>
                    </a:lnTo>
                    <a:lnTo>
                      <a:pt x="244" y="21"/>
                    </a:lnTo>
                    <a:lnTo>
                      <a:pt x="243" y="21"/>
                    </a:lnTo>
                    <a:lnTo>
                      <a:pt x="243" y="21"/>
                    </a:lnTo>
                    <a:lnTo>
                      <a:pt x="241" y="22"/>
                    </a:lnTo>
                    <a:lnTo>
                      <a:pt x="241" y="22"/>
                    </a:lnTo>
                    <a:lnTo>
                      <a:pt x="239" y="21"/>
                    </a:lnTo>
                    <a:lnTo>
                      <a:pt x="239" y="21"/>
                    </a:lnTo>
                    <a:lnTo>
                      <a:pt x="238" y="22"/>
                    </a:lnTo>
                    <a:lnTo>
                      <a:pt x="238" y="22"/>
                    </a:lnTo>
                    <a:lnTo>
                      <a:pt x="236" y="22"/>
                    </a:lnTo>
                    <a:lnTo>
                      <a:pt x="236" y="22"/>
                    </a:lnTo>
                    <a:lnTo>
                      <a:pt x="232" y="21"/>
                    </a:lnTo>
                    <a:lnTo>
                      <a:pt x="232" y="21"/>
                    </a:lnTo>
                    <a:lnTo>
                      <a:pt x="232" y="19"/>
                    </a:lnTo>
                    <a:lnTo>
                      <a:pt x="232" y="19"/>
                    </a:lnTo>
                    <a:lnTo>
                      <a:pt x="235" y="19"/>
                    </a:lnTo>
                    <a:lnTo>
                      <a:pt x="235" y="19"/>
                    </a:lnTo>
                    <a:lnTo>
                      <a:pt x="236" y="19"/>
                    </a:lnTo>
                    <a:lnTo>
                      <a:pt x="236" y="19"/>
                    </a:lnTo>
                    <a:lnTo>
                      <a:pt x="235" y="16"/>
                    </a:lnTo>
                    <a:lnTo>
                      <a:pt x="235" y="16"/>
                    </a:lnTo>
                    <a:lnTo>
                      <a:pt x="235" y="14"/>
                    </a:lnTo>
                    <a:lnTo>
                      <a:pt x="235" y="14"/>
                    </a:lnTo>
                    <a:lnTo>
                      <a:pt x="232" y="13"/>
                    </a:lnTo>
                    <a:lnTo>
                      <a:pt x="232" y="13"/>
                    </a:lnTo>
                    <a:lnTo>
                      <a:pt x="235" y="13"/>
                    </a:lnTo>
                    <a:lnTo>
                      <a:pt x="235" y="13"/>
                    </a:lnTo>
                    <a:lnTo>
                      <a:pt x="239" y="11"/>
                    </a:lnTo>
                    <a:lnTo>
                      <a:pt x="239" y="11"/>
                    </a:lnTo>
                    <a:lnTo>
                      <a:pt x="232" y="13"/>
                    </a:lnTo>
                    <a:lnTo>
                      <a:pt x="232" y="13"/>
                    </a:lnTo>
                    <a:lnTo>
                      <a:pt x="225" y="14"/>
                    </a:lnTo>
                    <a:lnTo>
                      <a:pt x="225" y="14"/>
                    </a:lnTo>
                    <a:lnTo>
                      <a:pt x="222" y="18"/>
                    </a:lnTo>
                    <a:lnTo>
                      <a:pt x="222" y="18"/>
                    </a:lnTo>
                    <a:lnTo>
                      <a:pt x="224" y="18"/>
                    </a:lnTo>
                    <a:lnTo>
                      <a:pt x="224" y="18"/>
                    </a:lnTo>
                    <a:lnTo>
                      <a:pt x="225" y="19"/>
                    </a:lnTo>
                    <a:lnTo>
                      <a:pt x="225" y="19"/>
                    </a:lnTo>
                    <a:lnTo>
                      <a:pt x="224" y="21"/>
                    </a:lnTo>
                    <a:lnTo>
                      <a:pt x="224" y="21"/>
                    </a:lnTo>
                    <a:lnTo>
                      <a:pt x="222" y="21"/>
                    </a:lnTo>
                    <a:lnTo>
                      <a:pt x="222" y="21"/>
                    </a:lnTo>
                    <a:lnTo>
                      <a:pt x="222" y="19"/>
                    </a:lnTo>
                    <a:lnTo>
                      <a:pt x="222" y="19"/>
                    </a:lnTo>
                    <a:lnTo>
                      <a:pt x="220" y="18"/>
                    </a:lnTo>
                    <a:lnTo>
                      <a:pt x="220" y="18"/>
                    </a:lnTo>
                    <a:lnTo>
                      <a:pt x="217" y="18"/>
                    </a:lnTo>
                    <a:lnTo>
                      <a:pt x="217" y="18"/>
                    </a:lnTo>
                    <a:lnTo>
                      <a:pt x="216" y="19"/>
                    </a:lnTo>
                    <a:lnTo>
                      <a:pt x="216" y="19"/>
                    </a:lnTo>
                    <a:lnTo>
                      <a:pt x="214" y="19"/>
                    </a:lnTo>
                    <a:lnTo>
                      <a:pt x="214" y="19"/>
                    </a:lnTo>
                    <a:lnTo>
                      <a:pt x="211" y="19"/>
                    </a:lnTo>
                    <a:lnTo>
                      <a:pt x="211" y="19"/>
                    </a:lnTo>
                    <a:lnTo>
                      <a:pt x="205" y="21"/>
                    </a:lnTo>
                    <a:lnTo>
                      <a:pt x="205" y="21"/>
                    </a:lnTo>
                    <a:lnTo>
                      <a:pt x="201" y="24"/>
                    </a:lnTo>
                    <a:lnTo>
                      <a:pt x="201" y="24"/>
                    </a:lnTo>
                    <a:lnTo>
                      <a:pt x="197" y="24"/>
                    </a:lnTo>
                    <a:lnTo>
                      <a:pt x="197" y="24"/>
                    </a:lnTo>
                    <a:lnTo>
                      <a:pt x="190" y="24"/>
                    </a:lnTo>
                    <a:lnTo>
                      <a:pt x="190" y="24"/>
                    </a:lnTo>
                    <a:lnTo>
                      <a:pt x="197" y="27"/>
                    </a:lnTo>
                    <a:lnTo>
                      <a:pt x="197" y="27"/>
                    </a:lnTo>
                    <a:lnTo>
                      <a:pt x="192" y="27"/>
                    </a:lnTo>
                    <a:lnTo>
                      <a:pt x="192" y="27"/>
                    </a:lnTo>
                    <a:lnTo>
                      <a:pt x="187" y="27"/>
                    </a:lnTo>
                    <a:lnTo>
                      <a:pt x="187" y="27"/>
                    </a:lnTo>
                    <a:lnTo>
                      <a:pt x="186" y="30"/>
                    </a:lnTo>
                    <a:lnTo>
                      <a:pt x="186" y="30"/>
                    </a:lnTo>
                    <a:lnTo>
                      <a:pt x="184" y="30"/>
                    </a:lnTo>
                    <a:lnTo>
                      <a:pt x="184" y="30"/>
                    </a:lnTo>
                    <a:lnTo>
                      <a:pt x="186" y="30"/>
                    </a:lnTo>
                    <a:lnTo>
                      <a:pt x="186" y="30"/>
                    </a:lnTo>
                    <a:lnTo>
                      <a:pt x="184" y="33"/>
                    </a:lnTo>
                    <a:lnTo>
                      <a:pt x="184" y="33"/>
                    </a:lnTo>
                    <a:lnTo>
                      <a:pt x="184" y="35"/>
                    </a:lnTo>
                    <a:lnTo>
                      <a:pt x="184" y="35"/>
                    </a:lnTo>
                    <a:lnTo>
                      <a:pt x="186" y="37"/>
                    </a:lnTo>
                    <a:lnTo>
                      <a:pt x="186" y="37"/>
                    </a:lnTo>
                    <a:lnTo>
                      <a:pt x="184" y="37"/>
                    </a:lnTo>
                    <a:lnTo>
                      <a:pt x="184" y="37"/>
                    </a:lnTo>
                    <a:lnTo>
                      <a:pt x="179" y="38"/>
                    </a:lnTo>
                    <a:lnTo>
                      <a:pt x="179" y="38"/>
                    </a:lnTo>
                    <a:lnTo>
                      <a:pt x="176" y="38"/>
                    </a:lnTo>
                    <a:lnTo>
                      <a:pt x="176" y="38"/>
                    </a:lnTo>
                    <a:lnTo>
                      <a:pt x="173" y="40"/>
                    </a:lnTo>
                    <a:lnTo>
                      <a:pt x="173" y="40"/>
                    </a:lnTo>
                    <a:lnTo>
                      <a:pt x="176" y="38"/>
                    </a:lnTo>
                    <a:lnTo>
                      <a:pt x="176" y="38"/>
                    </a:lnTo>
                    <a:lnTo>
                      <a:pt x="170" y="38"/>
                    </a:lnTo>
                    <a:lnTo>
                      <a:pt x="170" y="38"/>
                    </a:lnTo>
                    <a:lnTo>
                      <a:pt x="168" y="37"/>
                    </a:lnTo>
                    <a:lnTo>
                      <a:pt x="168" y="37"/>
                    </a:lnTo>
                    <a:lnTo>
                      <a:pt x="163" y="33"/>
                    </a:lnTo>
                    <a:lnTo>
                      <a:pt x="163" y="33"/>
                    </a:lnTo>
                    <a:lnTo>
                      <a:pt x="160" y="33"/>
                    </a:lnTo>
                    <a:lnTo>
                      <a:pt x="160" y="33"/>
                    </a:lnTo>
                    <a:lnTo>
                      <a:pt x="159" y="33"/>
                    </a:lnTo>
                    <a:lnTo>
                      <a:pt x="159" y="33"/>
                    </a:lnTo>
                    <a:lnTo>
                      <a:pt x="157" y="30"/>
                    </a:lnTo>
                    <a:lnTo>
                      <a:pt x="157" y="30"/>
                    </a:lnTo>
                    <a:lnTo>
                      <a:pt x="159" y="30"/>
                    </a:lnTo>
                    <a:lnTo>
                      <a:pt x="159" y="30"/>
                    </a:lnTo>
                    <a:lnTo>
                      <a:pt x="160" y="30"/>
                    </a:lnTo>
                    <a:lnTo>
                      <a:pt x="160" y="30"/>
                    </a:lnTo>
                    <a:lnTo>
                      <a:pt x="160" y="27"/>
                    </a:lnTo>
                    <a:lnTo>
                      <a:pt x="160" y="27"/>
                    </a:lnTo>
                    <a:lnTo>
                      <a:pt x="166" y="27"/>
                    </a:lnTo>
                    <a:lnTo>
                      <a:pt x="166" y="27"/>
                    </a:lnTo>
                    <a:lnTo>
                      <a:pt x="173" y="27"/>
                    </a:lnTo>
                    <a:lnTo>
                      <a:pt x="173" y="27"/>
                    </a:lnTo>
                    <a:lnTo>
                      <a:pt x="170" y="24"/>
                    </a:lnTo>
                    <a:lnTo>
                      <a:pt x="170" y="24"/>
                    </a:lnTo>
                    <a:lnTo>
                      <a:pt x="165" y="21"/>
                    </a:lnTo>
                    <a:lnTo>
                      <a:pt x="165" y="21"/>
                    </a:lnTo>
                    <a:lnTo>
                      <a:pt x="162" y="19"/>
                    </a:lnTo>
                    <a:lnTo>
                      <a:pt x="162" y="19"/>
                    </a:lnTo>
                    <a:lnTo>
                      <a:pt x="157" y="18"/>
                    </a:lnTo>
                    <a:lnTo>
                      <a:pt x="157" y="18"/>
                    </a:lnTo>
                    <a:lnTo>
                      <a:pt x="151" y="18"/>
                    </a:lnTo>
                    <a:lnTo>
                      <a:pt x="151" y="18"/>
                    </a:lnTo>
                    <a:lnTo>
                      <a:pt x="144" y="18"/>
                    </a:lnTo>
                    <a:lnTo>
                      <a:pt x="144" y="18"/>
                    </a:lnTo>
                    <a:lnTo>
                      <a:pt x="141" y="16"/>
                    </a:lnTo>
                    <a:lnTo>
                      <a:pt x="141" y="16"/>
                    </a:lnTo>
                    <a:lnTo>
                      <a:pt x="138" y="16"/>
                    </a:lnTo>
                    <a:lnTo>
                      <a:pt x="138" y="16"/>
                    </a:lnTo>
                    <a:lnTo>
                      <a:pt x="138" y="16"/>
                    </a:lnTo>
                    <a:lnTo>
                      <a:pt x="138" y="16"/>
                    </a:lnTo>
                    <a:lnTo>
                      <a:pt x="146" y="21"/>
                    </a:lnTo>
                    <a:lnTo>
                      <a:pt x="146" y="21"/>
                    </a:lnTo>
                    <a:lnTo>
                      <a:pt x="147" y="22"/>
                    </a:lnTo>
                    <a:lnTo>
                      <a:pt x="147" y="22"/>
                    </a:lnTo>
                    <a:lnTo>
                      <a:pt x="147" y="24"/>
                    </a:lnTo>
                    <a:lnTo>
                      <a:pt x="147" y="24"/>
                    </a:lnTo>
                    <a:lnTo>
                      <a:pt x="149" y="24"/>
                    </a:lnTo>
                    <a:lnTo>
                      <a:pt x="149" y="24"/>
                    </a:lnTo>
                    <a:lnTo>
                      <a:pt x="147" y="24"/>
                    </a:lnTo>
                    <a:lnTo>
                      <a:pt x="147" y="24"/>
                    </a:lnTo>
                    <a:lnTo>
                      <a:pt x="149" y="24"/>
                    </a:lnTo>
                    <a:lnTo>
                      <a:pt x="149" y="24"/>
                    </a:lnTo>
                    <a:lnTo>
                      <a:pt x="147" y="27"/>
                    </a:lnTo>
                    <a:lnTo>
                      <a:pt x="147" y="27"/>
                    </a:lnTo>
                    <a:lnTo>
                      <a:pt x="147" y="27"/>
                    </a:lnTo>
                    <a:lnTo>
                      <a:pt x="147" y="27"/>
                    </a:lnTo>
                    <a:lnTo>
                      <a:pt x="147" y="30"/>
                    </a:lnTo>
                    <a:lnTo>
                      <a:pt x="147" y="30"/>
                    </a:lnTo>
                    <a:lnTo>
                      <a:pt x="146" y="33"/>
                    </a:lnTo>
                    <a:lnTo>
                      <a:pt x="146" y="33"/>
                    </a:lnTo>
                    <a:lnTo>
                      <a:pt x="147" y="33"/>
                    </a:lnTo>
                    <a:lnTo>
                      <a:pt x="147" y="33"/>
                    </a:lnTo>
                    <a:lnTo>
                      <a:pt x="151" y="35"/>
                    </a:lnTo>
                    <a:lnTo>
                      <a:pt x="151" y="35"/>
                    </a:lnTo>
                    <a:lnTo>
                      <a:pt x="154" y="37"/>
                    </a:lnTo>
                    <a:lnTo>
                      <a:pt x="154" y="37"/>
                    </a:lnTo>
                    <a:lnTo>
                      <a:pt x="155" y="38"/>
                    </a:lnTo>
                    <a:lnTo>
                      <a:pt x="155" y="38"/>
                    </a:lnTo>
                    <a:lnTo>
                      <a:pt x="157" y="40"/>
                    </a:lnTo>
                    <a:lnTo>
                      <a:pt x="157" y="40"/>
                    </a:lnTo>
                    <a:lnTo>
                      <a:pt x="154" y="43"/>
                    </a:lnTo>
                    <a:lnTo>
                      <a:pt x="154" y="43"/>
                    </a:lnTo>
                    <a:lnTo>
                      <a:pt x="154" y="45"/>
                    </a:lnTo>
                    <a:lnTo>
                      <a:pt x="154" y="45"/>
                    </a:lnTo>
                    <a:lnTo>
                      <a:pt x="155" y="51"/>
                    </a:lnTo>
                    <a:lnTo>
                      <a:pt x="155" y="51"/>
                    </a:lnTo>
                    <a:lnTo>
                      <a:pt x="154" y="48"/>
                    </a:lnTo>
                    <a:lnTo>
                      <a:pt x="154" y="48"/>
                    </a:lnTo>
                    <a:lnTo>
                      <a:pt x="151" y="46"/>
                    </a:lnTo>
                    <a:lnTo>
                      <a:pt x="151" y="46"/>
                    </a:lnTo>
                    <a:lnTo>
                      <a:pt x="149" y="48"/>
                    </a:lnTo>
                    <a:lnTo>
                      <a:pt x="149" y="48"/>
                    </a:lnTo>
                    <a:lnTo>
                      <a:pt x="147" y="49"/>
                    </a:lnTo>
                    <a:lnTo>
                      <a:pt x="147" y="49"/>
                    </a:lnTo>
                    <a:lnTo>
                      <a:pt x="146" y="48"/>
                    </a:lnTo>
                    <a:lnTo>
                      <a:pt x="146" y="48"/>
                    </a:lnTo>
                    <a:lnTo>
                      <a:pt x="149" y="46"/>
                    </a:lnTo>
                    <a:lnTo>
                      <a:pt x="149" y="46"/>
                    </a:lnTo>
                    <a:lnTo>
                      <a:pt x="147" y="45"/>
                    </a:lnTo>
                    <a:lnTo>
                      <a:pt x="147" y="45"/>
                    </a:lnTo>
                    <a:lnTo>
                      <a:pt x="146" y="45"/>
                    </a:lnTo>
                    <a:lnTo>
                      <a:pt x="146" y="45"/>
                    </a:lnTo>
                    <a:lnTo>
                      <a:pt x="144" y="43"/>
                    </a:lnTo>
                    <a:lnTo>
                      <a:pt x="144" y="43"/>
                    </a:lnTo>
                    <a:lnTo>
                      <a:pt x="138" y="43"/>
                    </a:lnTo>
                    <a:lnTo>
                      <a:pt x="138" y="43"/>
                    </a:lnTo>
                    <a:lnTo>
                      <a:pt x="135" y="43"/>
                    </a:lnTo>
                    <a:lnTo>
                      <a:pt x="135" y="43"/>
                    </a:lnTo>
                    <a:lnTo>
                      <a:pt x="132" y="45"/>
                    </a:lnTo>
                    <a:lnTo>
                      <a:pt x="132" y="45"/>
                    </a:lnTo>
                    <a:lnTo>
                      <a:pt x="128" y="48"/>
                    </a:lnTo>
                    <a:lnTo>
                      <a:pt x="128" y="48"/>
                    </a:lnTo>
                    <a:lnTo>
                      <a:pt x="125" y="49"/>
                    </a:lnTo>
                    <a:lnTo>
                      <a:pt x="125" y="49"/>
                    </a:lnTo>
                    <a:lnTo>
                      <a:pt x="122" y="51"/>
                    </a:lnTo>
                    <a:lnTo>
                      <a:pt x="122" y="51"/>
                    </a:lnTo>
                    <a:lnTo>
                      <a:pt x="119" y="52"/>
                    </a:lnTo>
                    <a:lnTo>
                      <a:pt x="119" y="52"/>
                    </a:lnTo>
                    <a:lnTo>
                      <a:pt x="116" y="54"/>
                    </a:lnTo>
                    <a:lnTo>
                      <a:pt x="116" y="54"/>
                    </a:lnTo>
                    <a:lnTo>
                      <a:pt x="114" y="56"/>
                    </a:lnTo>
                    <a:lnTo>
                      <a:pt x="114" y="56"/>
                    </a:lnTo>
                    <a:lnTo>
                      <a:pt x="116" y="59"/>
                    </a:lnTo>
                    <a:lnTo>
                      <a:pt x="116" y="59"/>
                    </a:lnTo>
                    <a:lnTo>
                      <a:pt x="120" y="62"/>
                    </a:lnTo>
                    <a:lnTo>
                      <a:pt x="120" y="62"/>
                    </a:lnTo>
                    <a:lnTo>
                      <a:pt x="122" y="65"/>
                    </a:lnTo>
                    <a:lnTo>
                      <a:pt x="122" y="65"/>
                    </a:lnTo>
                    <a:lnTo>
                      <a:pt x="125" y="68"/>
                    </a:lnTo>
                    <a:lnTo>
                      <a:pt x="125" y="68"/>
                    </a:lnTo>
                    <a:lnTo>
                      <a:pt x="122" y="65"/>
                    </a:lnTo>
                    <a:lnTo>
                      <a:pt x="122" y="65"/>
                    </a:lnTo>
                    <a:lnTo>
                      <a:pt x="117" y="65"/>
                    </a:lnTo>
                    <a:lnTo>
                      <a:pt x="117" y="65"/>
                    </a:lnTo>
                    <a:lnTo>
                      <a:pt x="114" y="68"/>
                    </a:lnTo>
                    <a:lnTo>
                      <a:pt x="114" y="68"/>
                    </a:lnTo>
                    <a:lnTo>
                      <a:pt x="112" y="65"/>
                    </a:lnTo>
                    <a:lnTo>
                      <a:pt x="112" y="65"/>
                    </a:lnTo>
                    <a:lnTo>
                      <a:pt x="109" y="65"/>
                    </a:lnTo>
                    <a:lnTo>
                      <a:pt x="109" y="65"/>
                    </a:lnTo>
                    <a:lnTo>
                      <a:pt x="105" y="65"/>
                    </a:lnTo>
                    <a:lnTo>
                      <a:pt x="105" y="65"/>
                    </a:lnTo>
                    <a:lnTo>
                      <a:pt x="103" y="65"/>
                    </a:lnTo>
                    <a:lnTo>
                      <a:pt x="103" y="65"/>
                    </a:lnTo>
                    <a:lnTo>
                      <a:pt x="101" y="65"/>
                    </a:lnTo>
                    <a:lnTo>
                      <a:pt x="101" y="65"/>
                    </a:lnTo>
                    <a:lnTo>
                      <a:pt x="101" y="65"/>
                    </a:lnTo>
                    <a:lnTo>
                      <a:pt x="101" y="65"/>
                    </a:lnTo>
                    <a:lnTo>
                      <a:pt x="103" y="62"/>
                    </a:lnTo>
                    <a:lnTo>
                      <a:pt x="103" y="62"/>
                    </a:lnTo>
                    <a:lnTo>
                      <a:pt x="100" y="62"/>
                    </a:lnTo>
                    <a:lnTo>
                      <a:pt x="100" y="62"/>
                    </a:lnTo>
                    <a:lnTo>
                      <a:pt x="98" y="62"/>
                    </a:lnTo>
                    <a:lnTo>
                      <a:pt x="98" y="62"/>
                    </a:lnTo>
                    <a:lnTo>
                      <a:pt x="93" y="59"/>
                    </a:lnTo>
                    <a:lnTo>
                      <a:pt x="93" y="59"/>
                    </a:lnTo>
                    <a:lnTo>
                      <a:pt x="90" y="59"/>
                    </a:lnTo>
                    <a:lnTo>
                      <a:pt x="90" y="59"/>
                    </a:lnTo>
                    <a:lnTo>
                      <a:pt x="89" y="59"/>
                    </a:lnTo>
                    <a:lnTo>
                      <a:pt x="89" y="59"/>
                    </a:lnTo>
                    <a:lnTo>
                      <a:pt x="89" y="59"/>
                    </a:lnTo>
                    <a:lnTo>
                      <a:pt x="89" y="59"/>
                    </a:lnTo>
                    <a:lnTo>
                      <a:pt x="85" y="62"/>
                    </a:lnTo>
                    <a:lnTo>
                      <a:pt x="85" y="62"/>
                    </a:lnTo>
                    <a:lnTo>
                      <a:pt x="85" y="62"/>
                    </a:lnTo>
                    <a:lnTo>
                      <a:pt x="85" y="62"/>
                    </a:lnTo>
                    <a:lnTo>
                      <a:pt x="89" y="65"/>
                    </a:lnTo>
                    <a:lnTo>
                      <a:pt x="89" y="65"/>
                    </a:lnTo>
                    <a:lnTo>
                      <a:pt x="92" y="68"/>
                    </a:lnTo>
                    <a:lnTo>
                      <a:pt x="92" y="68"/>
                    </a:lnTo>
                    <a:lnTo>
                      <a:pt x="95" y="70"/>
                    </a:lnTo>
                    <a:lnTo>
                      <a:pt x="95" y="70"/>
                    </a:lnTo>
                    <a:lnTo>
                      <a:pt x="97" y="68"/>
                    </a:lnTo>
                    <a:lnTo>
                      <a:pt x="97" y="68"/>
                    </a:lnTo>
                    <a:lnTo>
                      <a:pt x="100" y="68"/>
                    </a:lnTo>
                    <a:lnTo>
                      <a:pt x="100" y="68"/>
                    </a:lnTo>
                    <a:lnTo>
                      <a:pt x="101" y="70"/>
                    </a:lnTo>
                    <a:lnTo>
                      <a:pt x="101" y="70"/>
                    </a:lnTo>
                    <a:lnTo>
                      <a:pt x="101" y="72"/>
                    </a:lnTo>
                    <a:lnTo>
                      <a:pt x="101" y="72"/>
                    </a:lnTo>
                    <a:lnTo>
                      <a:pt x="103" y="73"/>
                    </a:lnTo>
                    <a:lnTo>
                      <a:pt x="103" y="73"/>
                    </a:lnTo>
                    <a:lnTo>
                      <a:pt x="101" y="75"/>
                    </a:lnTo>
                    <a:lnTo>
                      <a:pt x="101" y="75"/>
                    </a:lnTo>
                    <a:lnTo>
                      <a:pt x="100" y="75"/>
                    </a:lnTo>
                    <a:lnTo>
                      <a:pt x="100" y="75"/>
                    </a:lnTo>
                    <a:lnTo>
                      <a:pt x="97" y="76"/>
                    </a:lnTo>
                    <a:lnTo>
                      <a:pt x="97" y="76"/>
                    </a:lnTo>
                    <a:lnTo>
                      <a:pt x="95" y="76"/>
                    </a:lnTo>
                    <a:lnTo>
                      <a:pt x="95" y="76"/>
                    </a:lnTo>
                    <a:lnTo>
                      <a:pt x="89" y="75"/>
                    </a:lnTo>
                    <a:lnTo>
                      <a:pt x="89" y="75"/>
                    </a:lnTo>
                    <a:lnTo>
                      <a:pt x="85" y="73"/>
                    </a:lnTo>
                    <a:lnTo>
                      <a:pt x="85" y="73"/>
                    </a:lnTo>
                    <a:lnTo>
                      <a:pt x="82" y="72"/>
                    </a:lnTo>
                    <a:lnTo>
                      <a:pt x="82" y="72"/>
                    </a:lnTo>
                    <a:lnTo>
                      <a:pt x="82" y="72"/>
                    </a:lnTo>
                    <a:lnTo>
                      <a:pt x="82" y="72"/>
                    </a:lnTo>
                    <a:lnTo>
                      <a:pt x="82" y="70"/>
                    </a:lnTo>
                    <a:lnTo>
                      <a:pt x="82" y="70"/>
                    </a:lnTo>
                    <a:lnTo>
                      <a:pt x="79" y="70"/>
                    </a:lnTo>
                    <a:lnTo>
                      <a:pt x="79" y="70"/>
                    </a:lnTo>
                    <a:lnTo>
                      <a:pt x="78" y="70"/>
                    </a:lnTo>
                    <a:lnTo>
                      <a:pt x="78" y="70"/>
                    </a:lnTo>
                    <a:lnTo>
                      <a:pt x="74" y="70"/>
                    </a:lnTo>
                    <a:lnTo>
                      <a:pt x="74" y="70"/>
                    </a:lnTo>
                    <a:lnTo>
                      <a:pt x="70" y="68"/>
                    </a:lnTo>
                    <a:lnTo>
                      <a:pt x="70" y="68"/>
                    </a:lnTo>
                    <a:lnTo>
                      <a:pt x="71" y="65"/>
                    </a:lnTo>
                    <a:lnTo>
                      <a:pt x="71" y="65"/>
                    </a:lnTo>
                    <a:lnTo>
                      <a:pt x="70" y="65"/>
                    </a:lnTo>
                    <a:lnTo>
                      <a:pt x="70" y="65"/>
                    </a:lnTo>
                    <a:lnTo>
                      <a:pt x="71" y="65"/>
                    </a:lnTo>
                    <a:lnTo>
                      <a:pt x="71" y="65"/>
                    </a:lnTo>
                    <a:lnTo>
                      <a:pt x="70" y="62"/>
                    </a:lnTo>
                    <a:lnTo>
                      <a:pt x="70" y="62"/>
                    </a:lnTo>
                    <a:lnTo>
                      <a:pt x="68" y="62"/>
                    </a:lnTo>
                    <a:lnTo>
                      <a:pt x="68" y="62"/>
                    </a:lnTo>
                    <a:lnTo>
                      <a:pt x="68" y="59"/>
                    </a:lnTo>
                    <a:lnTo>
                      <a:pt x="68" y="59"/>
                    </a:lnTo>
                    <a:lnTo>
                      <a:pt x="66" y="59"/>
                    </a:lnTo>
                    <a:lnTo>
                      <a:pt x="66" y="59"/>
                    </a:lnTo>
                    <a:lnTo>
                      <a:pt x="63" y="57"/>
                    </a:lnTo>
                    <a:lnTo>
                      <a:pt x="63" y="57"/>
                    </a:lnTo>
                    <a:lnTo>
                      <a:pt x="65" y="56"/>
                    </a:lnTo>
                    <a:lnTo>
                      <a:pt x="65" y="56"/>
                    </a:lnTo>
                    <a:lnTo>
                      <a:pt x="66" y="54"/>
                    </a:lnTo>
                    <a:lnTo>
                      <a:pt x="66" y="54"/>
                    </a:lnTo>
                    <a:lnTo>
                      <a:pt x="66" y="52"/>
                    </a:lnTo>
                    <a:lnTo>
                      <a:pt x="66" y="52"/>
                    </a:lnTo>
                    <a:lnTo>
                      <a:pt x="66" y="51"/>
                    </a:lnTo>
                    <a:lnTo>
                      <a:pt x="66" y="51"/>
                    </a:lnTo>
                    <a:lnTo>
                      <a:pt x="63" y="48"/>
                    </a:lnTo>
                    <a:lnTo>
                      <a:pt x="63" y="48"/>
                    </a:lnTo>
                    <a:lnTo>
                      <a:pt x="57" y="46"/>
                    </a:lnTo>
                    <a:lnTo>
                      <a:pt x="57" y="46"/>
                    </a:lnTo>
                    <a:lnTo>
                      <a:pt x="51" y="45"/>
                    </a:lnTo>
                    <a:lnTo>
                      <a:pt x="51" y="45"/>
                    </a:lnTo>
                    <a:lnTo>
                      <a:pt x="54" y="45"/>
                    </a:lnTo>
                    <a:lnTo>
                      <a:pt x="54" y="45"/>
                    </a:lnTo>
                    <a:lnTo>
                      <a:pt x="54" y="43"/>
                    </a:lnTo>
                    <a:lnTo>
                      <a:pt x="54" y="43"/>
                    </a:lnTo>
                    <a:lnTo>
                      <a:pt x="47" y="43"/>
                    </a:lnTo>
                    <a:lnTo>
                      <a:pt x="47" y="43"/>
                    </a:lnTo>
                    <a:lnTo>
                      <a:pt x="51" y="41"/>
                    </a:lnTo>
                    <a:lnTo>
                      <a:pt x="51" y="41"/>
                    </a:lnTo>
                    <a:lnTo>
                      <a:pt x="47" y="40"/>
                    </a:lnTo>
                    <a:lnTo>
                      <a:pt x="47" y="40"/>
                    </a:lnTo>
                    <a:lnTo>
                      <a:pt x="44" y="40"/>
                    </a:lnTo>
                    <a:lnTo>
                      <a:pt x="44" y="40"/>
                    </a:lnTo>
                    <a:lnTo>
                      <a:pt x="44" y="38"/>
                    </a:lnTo>
                    <a:lnTo>
                      <a:pt x="44" y="38"/>
                    </a:lnTo>
                    <a:lnTo>
                      <a:pt x="41" y="38"/>
                    </a:lnTo>
                    <a:lnTo>
                      <a:pt x="41" y="38"/>
                    </a:lnTo>
                    <a:lnTo>
                      <a:pt x="43" y="37"/>
                    </a:lnTo>
                    <a:lnTo>
                      <a:pt x="43" y="37"/>
                    </a:lnTo>
                    <a:lnTo>
                      <a:pt x="39" y="35"/>
                    </a:lnTo>
                    <a:lnTo>
                      <a:pt x="39" y="35"/>
                    </a:lnTo>
                    <a:lnTo>
                      <a:pt x="35" y="33"/>
                    </a:lnTo>
                    <a:lnTo>
                      <a:pt x="35" y="33"/>
                    </a:lnTo>
                    <a:lnTo>
                      <a:pt x="38" y="33"/>
                    </a:lnTo>
                    <a:lnTo>
                      <a:pt x="38" y="33"/>
                    </a:lnTo>
                    <a:lnTo>
                      <a:pt x="41" y="33"/>
                    </a:lnTo>
                    <a:lnTo>
                      <a:pt x="41" y="33"/>
                    </a:lnTo>
                    <a:lnTo>
                      <a:pt x="44" y="35"/>
                    </a:lnTo>
                    <a:lnTo>
                      <a:pt x="44" y="35"/>
                    </a:lnTo>
                    <a:lnTo>
                      <a:pt x="47" y="37"/>
                    </a:lnTo>
                    <a:lnTo>
                      <a:pt x="47" y="37"/>
                    </a:lnTo>
                    <a:lnTo>
                      <a:pt x="51" y="40"/>
                    </a:lnTo>
                    <a:lnTo>
                      <a:pt x="51" y="40"/>
                    </a:lnTo>
                    <a:lnTo>
                      <a:pt x="54" y="40"/>
                    </a:lnTo>
                    <a:lnTo>
                      <a:pt x="54" y="40"/>
                    </a:lnTo>
                    <a:lnTo>
                      <a:pt x="54" y="40"/>
                    </a:lnTo>
                    <a:lnTo>
                      <a:pt x="54" y="40"/>
                    </a:lnTo>
                    <a:lnTo>
                      <a:pt x="55" y="40"/>
                    </a:lnTo>
                    <a:lnTo>
                      <a:pt x="55" y="40"/>
                    </a:lnTo>
                    <a:lnTo>
                      <a:pt x="57" y="38"/>
                    </a:lnTo>
                    <a:lnTo>
                      <a:pt x="57" y="38"/>
                    </a:lnTo>
                    <a:lnTo>
                      <a:pt x="57" y="40"/>
                    </a:lnTo>
                    <a:lnTo>
                      <a:pt x="57" y="40"/>
                    </a:lnTo>
                    <a:lnTo>
                      <a:pt x="59" y="40"/>
                    </a:lnTo>
                    <a:lnTo>
                      <a:pt x="59" y="40"/>
                    </a:lnTo>
                    <a:lnTo>
                      <a:pt x="62" y="41"/>
                    </a:lnTo>
                    <a:lnTo>
                      <a:pt x="62" y="41"/>
                    </a:lnTo>
                    <a:lnTo>
                      <a:pt x="66" y="41"/>
                    </a:lnTo>
                    <a:lnTo>
                      <a:pt x="66" y="41"/>
                    </a:lnTo>
                    <a:lnTo>
                      <a:pt x="73" y="45"/>
                    </a:lnTo>
                    <a:lnTo>
                      <a:pt x="73" y="45"/>
                    </a:lnTo>
                    <a:lnTo>
                      <a:pt x="79" y="45"/>
                    </a:lnTo>
                    <a:lnTo>
                      <a:pt x="79" y="45"/>
                    </a:lnTo>
                    <a:lnTo>
                      <a:pt x="89" y="46"/>
                    </a:lnTo>
                    <a:lnTo>
                      <a:pt x="89" y="46"/>
                    </a:lnTo>
                    <a:lnTo>
                      <a:pt x="97" y="48"/>
                    </a:lnTo>
                    <a:lnTo>
                      <a:pt x="97" y="48"/>
                    </a:lnTo>
                    <a:lnTo>
                      <a:pt x="105" y="48"/>
                    </a:lnTo>
                    <a:lnTo>
                      <a:pt x="105" y="48"/>
                    </a:lnTo>
                    <a:lnTo>
                      <a:pt x="111" y="46"/>
                    </a:lnTo>
                    <a:lnTo>
                      <a:pt x="111" y="46"/>
                    </a:lnTo>
                    <a:lnTo>
                      <a:pt x="116" y="45"/>
                    </a:lnTo>
                    <a:lnTo>
                      <a:pt x="116" y="45"/>
                    </a:lnTo>
                    <a:lnTo>
                      <a:pt x="122" y="40"/>
                    </a:lnTo>
                    <a:lnTo>
                      <a:pt x="122" y="40"/>
                    </a:lnTo>
                    <a:lnTo>
                      <a:pt x="125" y="37"/>
                    </a:lnTo>
                    <a:lnTo>
                      <a:pt x="125" y="37"/>
                    </a:lnTo>
                    <a:lnTo>
                      <a:pt x="124" y="35"/>
                    </a:lnTo>
                    <a:lnTo>
                      <a:pt x="124" y="35"/>
                    </a:lnTo>
                    <a:lnTo>
                      <a:pt x="122" y="33"/>
                    </a:lnTo>
                    <a:lnTo>
                      <a:pt x="122" y="33"/>
                    </a:lnTo>
                    <a:lnTo>
                      <a:pt x="120" y="33"/>
                    </a:lnTo>
                    <a:lnTo>
                      <a:pt x="120" y="33"/>
                    </a:lnTo>
                    <a:lnTo>
                      <a:pt x="120" y="30"/>
                    </a:lnTo>
                    <a:lnTo>
                      <a:pt x="120" y="30"/>
                    </a:lnTo>
                    <a:lnTo>
                      <a:pt x="119" y="27"/>
                    </a:lnTo>
                    <a:lnTo>
                      <a:pt x="119" y="27"/>
                    </a:lnTo>
                    <a:lnTo>
                      <a:pt x="117" y="27"/>
                    </a:lnTo>
                    <a:lnTo>
                      <a:pt x="117" y="27"/>
                    </a:lnTo>
                    <a:lnTo>
                      <a:pt x="114" y="27"/>
                    </a:lnTo>
                    <a:lnTo>
                      <a:pt x="114" y="27"/>
                    </a:lnTo>
                    <a:lnTo>
                      <a:pt x="111" y="24"/>
                    </a:lnTo>
                    <a:lnTo>
                      <a:pt x="111" y="24"/>
                    </a:lnTo>
                    <a:lnTo>
                      <a:pt x="106" y="22"/>
                    </a:lnTo>
                    <a:lnTo>
                      <a:pt x="106" y="22"/>
                    </a:lnTo>
                    <a:lnTo>
                      <a:pt x="106" y="24"/>
                    </a:lnTo>
                    <a:lnTo>
                      <a:pt x="106" y="24"/>
                    </a:lnTo>
                    <a:lnTo>
                      <a:pt x="101" y="22"/>
                    </a:lnTo>
                    <a:lnTo>
                      <a:pt x="101" y="22"/>
                    </a:lnTo>
                    <a:lnTo>
                      <a:pt x="95" y="19"/>
                    </a:lnTo>
                    <a:lnTo>
                      <a:pt x="95" y="19"/>
                    </a:lnTo>
                    <a:lnTo>
                      <a:pt x="97" y="21"/>
                    </a:lnTo>
                    <a:lnTo>
                      <a:pt x="97" y="21"/>
                    </a:lnTo>
                    <a:lnTo>
                      <a:pt x="90" y="18"/>
                    </a:lnTo>
                    <a:lnTo>
                      <a:pt x="90" y="18"/>
                    </a:lnTo>
                    <a:lnTo>
                      <a:pt x="85" y="14"/>
                    </a:lnTo>
                    <a:lnTo>
                      <a:pt x="85" y="14"/>
                    </a:lnTo>
                    <a:lnTo>
                      <a:pt x="70" y="10"/>
                    </a:lnTo>
                    <a:lnTo>
                      <a:pt x="70" y="10"/>
                    </a:lnTo>
                    <a:lnTo>
                      <a:pt x="63" y="10"/>
                    </a:lnTo>
                    <a:lnTo>
                      <a:pt x="63" y="10"/>
                    </a:lnTo>
                    <a:lnTo>
                      <a:pt x="57" y="8"/>
                    </a:lnTo>
                    <a:lnTo>
                      <a:pt x="57" y="8"/>
                    </a:lnTo>
                    <a:lnTo>
                      <a:pt x="51" y="8"/>
                    </a:lnTo>
                    <a:lnTo>
                      <a:pt x="51" y="8"/>
                    </a:lnTo>
                    <a:lnTo>
                      <a:pt x="47" y="8"/>
                    </a:lnTo>
                    <a:lnTo>
                      <a:pt x="47" y="8"/>
                    </a:lnTo>
                    <a:lnTo>
                      <a:pt x="44" y="10"/>
                    </a:lnTo>
                    <a:lnTo>
                      <a:pt x="44" y="10"/>
                    </a:lnTo>
                    <a:lnTo>
                      <a:pt x="44" y="10"/>
                    </a:lnTo>
                    <a:lnTo>
                      <a:pt x="44" y="10"/>
                    </a:lnTo>
                    <a:lnTo>
                      <a:pt x="44" y="8"/>
                    </a:lnTo>
                    <a:lnTo>
                      <a:pt x="44" y="8"/>
                    </a:lnTo>
                    <a:lnTo>
                      <a:pt x="44" y="8"/>
                    </a:lnTo>
                    <a:lnTo>
                      <a:pt x="44" y="8"/>
                    </a:lnTo>
                    <a:lnTo>
                      <a:pt x="44" y="6"/>
                    </a:lnTo>
                    <a:lnTo>
                      <a:pt x="44" y="6"/>
                    </a:lnTo>
                    <a:lnTo>
                      <a:pt x="43" y="6"/>
                    </a:lnTo>
                    <a:lnTo>
                      <a:pt x="43" y="6"/>
                    </a:lnTo>
                    <a:lnTo>
                      <a:pt x="39" y="8"/>
                    </a:lnTo>
                    <a:lnTo>
                      <a:pt x="39" y="8"/>
                    </a:lnTo>
                    <a:lnTo>
                      <a:pt x="41" y="6"/>
                    </a:lnTo>
                    <a:lnTo>
                      <a:pt x="41" y="6"/>
                    </a:lnTo>
                    <a:lnTo>
                      <a:pt x="36" y="5"/>
                    </a:lnTo>
                    <a:lnTo>
                      <a:pt x="36" y="5"/>
                    </a:lnTo>
                    <a:lnTo>
                      <a:pt x="39" y="5"/>
                    </a:lnTo>
                    <a:lnTo>
                      <a:pt x="39" y="5"/>
                    </a:lnTo>
                    <a:lnTo>
                      <a:pt x="41" y="2"/>
                    </a:lnTo>
                    <a:lnTo>
                      <a:pt x="41" y="2"/>
                    </a:lnTo>
                    <a:lnTo>
                      <a:pt x="35" y="2"/>
                    </a:lnTo>
                    <a:lnTo>
                      <a:pt x="35" y="2"/>
                    </a:lnTo>
                    <a:lnTo>
                      <a:pt x="32" y="0"/>
                    </a:lnTo>
                    <a:lnTo>
                      <a:pt x="32" y="0"/>
                    </a:lnTo>
                    <a:lnTo>
                      <a:pt x="30" y="0"/>
                    </a:lnTo>
                    <a:lnTo>
                      <a:pt x="30" y="0"/>
                    </a:lnTo>
                    <a:lnTo>
                      <a:pt x="28" y="0"/>
                    </a:lnTo>
                    <a:lnTo>
                      <a:pt x="28" y="0"/>
                    </a:lnTo>
                    <a:lnTo>
                      <a:pt x="27" y="2"/>
                    </a:lnTo>
                    <a:lnTo>
                      <a:pt x="27" y="2"/>
                    </a:lnTo>
                    <a:lnTo>
                      <a:pt x="25" y="3"/>
                    </a:lnTo>
                    <a:lnTo>
                      <a:pt x="25" y="3"/>
                    </a:lnTo>
                    <a:lnTo>
                      <a:pt x="19" y="2"/>
                    </a:lnTo>
                    <a:lnTo>
                      <a:pt x="19" y="2"/>
                    </a:lnTo>
                    <a:lnTo>
                      <a:pt x="20" y="3"/>
                    </a:lnTo>
                    <a:lnTo>
                      <a:pt x="20" y="3"/>
                    </a:lnTo>
                    <a:lnTo>
                      <a:pt x="19" y="2"/>
                    </a:lnTo>
                    <a:lnTo>
                      <a:pt x="19" y="2"/>
                    </a:lnTo>
                    <a:lnTo>
                      <a:pt x="16" y="3"/>
                    </a:lnTo>
                    <a:lnTo>
                      <a:pt x="16" y="3"/>
                    </a:lnTo>
                    <a:lnTo>
                      <a:pt x="16" y="2"/>
                    </a:lnTo>
                    <a:lnTo>
                      <a:pt x="16" y="2"/>
                    </a:lnTo>
                    <a:lnTo>
                      <a:pt x="12" y="0"/>
                    </a:lnTo>
                    <a:lnTo>
                      <a:pt x="12" y="0"/>
                    </a:lnTo>
                    <a:lnTo>
                      <a:pt x="12" y="3"/>
                    </a:lnTo>
                    <a:lnTo>
                      <a:pt x="12" y="3"/>
                    </a:lnTo>
                    <a:lnTo>
                      <a:pt x="12" y="5"/>
                    </a:lnTo>
                    <a:lnTo>
                      <a:pt x="12" y="5"/>
                    </a:lnTo>
                    <a:lnTo>
                      <a:pt x="12" y="6"/>
                    </a:lnTo>
                    <a:lnTo>
                      <a:pt x="12" y="6"/>
                    </a:lnTo>
                    <a:lnTo>
                      <a:pt x="11" y="8"/>
                    </a:lnTo>
                    <a:lnTo>
                      <a:pt x="11" y="8"/>
                    </a:lnTo>
                    <a:lnTo>
                      <a:pt x="9" y="8"/>
                    </a:lnTo>
                    <a:lnTo>
                      <a:pt x="9" y="8"/>
                    </a:lnTo>
                    <a:lnTo>
                      <a:pt x="8" y="8"/>
                    </a:lnTo>
                    <a:lnTo>
                      <a:pt x="8" y="8"/>
                    </a:lnTo>
                    <a:lnTo>
                      <a:pt x="6" y="11"/>
                    </a:lnTo>
                    <a:lnTo>
                      <a:pt x="6" y="11"/>
                    </a:lnTo>
                    <a:lnTo>
                      <a:pt x="3" y="13"/>
                    </a:lnTo>
                    <a:lnTo>
                      <a:pt x="3" y="13"/>
                    </a:lnTo>
                    <a:lnTo>
                      <a:pt x="0" y="13"/>
                    </a:lnTo>
                    <a:lnTo>
                      <a:pt x="0" y="13"/>
                    </a:lnTo>
                    <a:lnTo>
                      <a:pt x="1" y="14"/>
                    </a:lnTo>
                    <a:lnTo>
                      <a:pt x="1" y="14"/>
                    </a:lnTo>
                    <a:lnTo>
                      <a:pt x="3" y="14"/>
                    </a:lnTo>
                    <a:lnTo>
                      <a:pt x="3" y="14"/>
                    </a:lnTo>
                    <a:lnTo>
                      <a:pt x="1" y="16"/>
                    </a:lnTo>
                    <a:lnTo>
                      <a:pt x="1" y="16"/>
                    </a:lnTo>
                    <a:lnTo>
                      <a:pt x="0" y="18"/>
                    </a:lnTo>
                    <a:lnTo>
                      <a:pt x="0" y="18"/>
                    </a:lnTo>
                    <a:lnTo>
                      <a:pt x="0" y="18"/>
                    </a:lnTo>
                    <a:lnTo>
                      <a:pt x="0" y="18"/>
                    </a:lnTo>
                    <a:lnTo>
                      <a:pt x="0" y="19"/>
                    </a:lnTo>
                    <a:lnTo>
                      <a:pt x="0" y="19"/>
                    </a:lnTo>
                    <a:lnTo>
                      <a:pt x="0" y="19"/>
                    </a:lnTo>
                    <a:lnTo>
                      <a:pt x="0" y="19"/>
                    </a:lnTo>
                    <a:lnTo>
                      <a:pt x="3" y="21"/>
                    </a:lnTo>
                    <a:lnTo>
                      <a:pt x="3" y="21"/>
                    </a:lnTo>
                    <a:lnTo>
                      <a:pt x="6" y="22"/>
                    </a:lnTo>
                    <a:lnTo>
                      <a:pt x="6" y="22"/>
                    </a:lnTo>
                    <a:lnTo>
                      <a:pt x="9" y="24"/>
                    </a:lnTo>
                    <a:lnTo>
                      <a:pt x="9" y="24"/>
                    </a:lnTo>
                    <a:lnTo>
                      <a:pt x="16" y="27"/>
                    </a:lnTo>
                    <a:lnTo>
                      <a:pt x="16" y="27"/>
                    </a:lnTo>
                    <a:lnTo>
                      <a:pt x="16" y="30"/>
                    </a:lnTo>
                    <a:lnTo>
                      <a:pt x="16" y="30"/>
                    </a:lnTo>
                    <a:lnTo>
                      <a:pt x="16" y="30"/>
                    </a:lnTo>
                    <a:lnTo>
                      <a:pt x="16" y="30"/>
                    </a:lnTo>
                    <a:lnTo>
                      <a:pt x="12" y="33"/>
                    </a:lnTo>
                    <a:lnTo>
                      <a:pt x="12" y="33"/>
                    </a:lnTo>
                    <a:lnTo>
                      <a:pt x="9" y="35"/>
                    </a:lnTo>
                    <a:lnTo>
                      <a:pt x="9" y="35"/>
                    </a:lnTo>
                    <a:lnTo>
                      <a:pt x="9" y="37"/>
                    </a:lnTo>
                    <a:lnTo>
                      <a:pt x="9" y="37"/>
                    </a:lnTo>
                    <a:lnTo>
                      <a:pt x="9" y="38"/>
                    </a:lnTo>
                    <a:lnTo>
                      <a:pt x="9" y="38"/>
                    </a:lnTo>
                    <a:lnTo>
                      <a:pt x="16" y="45"/>
                    </a:lnTo>
                    <a:lnTo>
                      <a:pt x="16" y="45"/>
                    </a:lnTo>
                    <a:lnTo>
                      <a:pt x="19" y="49"/>
                    </a:lnTo>
                    <a:lnTo>
                      <a:pt x="19" y="49"/>
                    </a:lnTo>
                    <a:lnTo>
                      <a:pt x="20" y="52"/>
                    </a:lnTo>
                    <a:lnTo>
                      <a:pt x="20" y="52"/>
                    </a:lnTo>
                    <a:lnTo>
                      <a:pt x="19" y="54"/>
                    </a:lnTo>
                    <a:lnTo>
                      <a:pt x="19" y="54"/>
                    </a:lnTo>
                    <a:lnTo>
                      <a:pt x="19" y="56"/>
                    </a:lnTo>
                    <a:lnTo>
                      <a:pt x="19" y="56"/>
                    </a:lnTo>
                    <a:lnTo>
                      <a:pt x="19" y="57"/>
                    </a:lnTo>
                    <a:lnTo>
                      <a:pt x="19" y="57"/>
                    </a:lnTo>
                    <a:lnTo>
                      <a:pt x="19" y="59"/>
                    </a:lnTo>
                    <a:lnTo>
                      <a:pt x="19" y="59"/>
                    </a:lnTo>
                    <a:lnTo>
                      <a:pt x="19" y="59"/>
                    </a:lnTo>
                    <a:lnTo>
                      <a:pt x="19" y="59"/>
                    </a:lnTo>
                    <a:lnTo>
                      <a:pt x="19" y="62"/>
                    </a:lnTo>
                    <a:lnTo>
                      <a:pt x="19" y="62"/>
                    </a:lnTo>
                    <a:lnTo>
                      <a:pt x="19" y="62"/>
                    </a:lnTo>
                    <a:lnTo>
                      <a:pt x="19" y="62"/>
                    </a:lnTo>
                    <a:lnTo>
                      <a:pt x="20" y="65"/>
                    </a:lnTo>
                    <a:lnTo>
                      <a:pt x="20" y="65"/>
                    </a:lnTo>
                    <a:lnTo>
                      <a:pt x="22" y="65"/>
                    </a:lnTo>
                    <a:lnTo>
                      <a:pt x="22" y="65"/>
                    </a:lnTo>
                    <a:lnTo>
                      <a:pt x="24" y="65"/>
                    </a:lnTo>
                    <a:lnTo>
                      <a:pt x="24" y="65"/>
                    </a:lnTo>
                    <a:lnTo>
                      <a:pt x="22" y="68"/>
                    </a:lnTo>
                    <a:lnTo>
                      <a:pt x="22" y="68"/>
                    </a:lnTo>
                    <a:lnTo>
                      <a:pt x="24" y="68"/>
                    </a:lnTo>
                    <a:lnTo>
                      <a:pt x="24" y="68"/>
                    </a:lnTo>
                    <a:lnTo>
                      <a:pt x="28" y="70"/>
                    </a:lnTo>
                    <a:lnTo>
                      <a:pt x="28" y="70"/>
                    </a:lnTo>
                    <a:lnTo>
                      <a:pt x="30" y="72"/>
                    </a:lnTo>
                    <a:lnTo>
                      <a:pt x="30" y="72"/>
                    </a:lnTo>
                    <a:lnTo>
                      <a:pt x="28" y="75"/>
                    </a:lnTo>
                    <a:lnTo>
                      <a:pt x="28" y="75"/>
                    </a:lnTo>
                    <a:lnTo>
                      <a:pt x="24" y="78"/>
                    </a:lnTo>
                    <a:lnTo>
                      <a:pt x="24" y="78"/>
                    </a:lnTo>
                    <a:lnTo>
                      <a:pt x="39" y="86"/>
                    </a:lnTo>
                    <a:lnTo>
                      <a:pt x="39" y="86"/>
                    </a:lnTo>
                    <a:lnTo>
                      <a:pt x="41" y="86"/>
                    </a:lnTo>
                    <a:lnTo>
                      <a:pt x="41" y="86"/>
                    </a:lnTo>
                    <a:lnTo>
                      <a:pt x="41" y="89"/>
                    </a:lnTo>
                    <a:lnTo>
                      <a:pt x="41" y="89"/>
                    </a:lnTo>
                    <a:lnTo>
                      <a:pt x="41" y="89"/>
                    </a:lnTo>
                    <a:lnTo>
                      <a:pt x="41" y="89"/>
                    </a:lnTo>
                    <a:lnTo>
                      <a:pt x="39" y="92"/>
                    </a:lnTo>
                    <a:lnTo>
                      <a:pt x="39" y="92"/>
                    </a:lnTo>
                    <a:lnTo>
                      <a:pt x="38" y="94"/>
                    </a:lnTo>
                    <a:lnTo>
                      <a:pt x="38" y="94"/>
                    </a:lnTo>
                    <a:lnTo>
                      <a:pt x="36" y="95"/>
                    </a:lnTo>
                    <a:lnTo>
                      <a:pt x="36" y="95"/>
                    </a:lnTo>
                    <a:lnTo>
                      <a:pt x="22" y="108"/>
                    </a:lnTo>
                    <a:lnTo>
                      <a:pt x="22" y="108"/>
                    </a:lnTo>
                    <a:lnTo>
                      <a:pt x="16" y="114"/>
                    </a:lnTo>
                    <a:lnTo>
                      <a:pt x="16" y="114"/>
                    </a:lnTo>
                    <a:lnTo>
                      <a:pt x="9" y="118"/>
                    </a:lnTo>
                    <a:lnTo>
                      <a:pt x="9" y="118"/>
                    </a:lnTo>
                    <a:lnTo>
                      <a:pt x="11" y="118"/>
                    </a:lnTo>
                    <a:lnTo>
                      <a:pt x="11" y="118"/>
                    </a:lnTo>
                    <a:lnTo>
                      <a:pt x="12" y="118"/>
                    </a:lnTo>
                    <a:lnTo>
                      <a:pt x="12" y="118"/>
                    </a:lnTo>
                    <a:lnTo>
                      <a:pt x="12" y="118"/>
                    </a:lnTo>
                    <a:lnTo>
                      <a:pt x="12" y="118"/>
                    </a:lnTo>
                    <a:lnTo>
                      <a:pt x="16" y="118"/>
                    </a:lnTo>
                    <a:lnTo>
                      <a:pt x="16" y="118"/>
                    </a:lnTo>
                    <a:lnTo>
                      <a:pt x="19" y="118"/>
                    </a:lnTo>
                    <a:lnTo>
                      <a:pt x="19" y="118"/>
                    </a:lnTo>
                    <a:lnTo>
                      <a:pt x="16" y="118"/>
                    </a:lnTo>
                    <a:lnTo>
                      <a:pt x="16" y="118"/>
                    </a:lnTo>
                    <a:lnTo>
                      <a:pt x="19" y="121"/>
                    </a:lnTo>
                    <a:lnTo>
                      <a:pt x="19" y="121"/>
                    </a:lnTo>
                    <a:lnTo>
                      <a:pt x="22" y="124"/>
                    </a:lnTo>
                    <a:lnTo>
                      <a:pt x="22" y="124"/>
                    </a:lnTo>
                    <a:lnTo>
                      <a:pt x="25" y="124"/>
                    </a:lnTo>
                    <a:lnTo>
                      <a:pt x="25" y="124"/>
                    </a:lnTo>
                    <a:lnTo>
                      <a:pt x="28" y="124"/>
                    </a:lnTo>
                    <a:lnTo>
                      <a:pt x="28" y="124"/>
                    </a:lnTo>
                    <a:lnTo>
                      <a:pt x="30" y="124"/>
                    </a:lnTo>
                    <a:lnTo>
                      <a:pt x="30" y="124"/>
                    </a:lnTo>
                    <a:lnTo>
                      <a:pt x="33" y="125"/>
                    </a:lnTo>
                    <a:lnTo>
                      <a:pt x="33" y="125"/>
                    </a:lnTo>
                    <a:lnTo>
                      <a:pt x="33" y="127"/>
                    </a:lnTo>
                    <a:lnTo>
                      <a:pt x="33" y="127"/>
                    </a:lnTo>
                    <a:lnTo>
                      <a:pt x="28" y="125"/>
                    </a:lnTo>
                    <a:lnTo>
                      <a:pt x="28" y="125"/>
                    </a:lnTo>
                    <a:lnTo>
                      <a:pt x="25" y="125"/>
                    </a:lnTo>
                    <a:lnTo>
                      <a:pt x="25" y="125"/>
                    </a:lnTo>
                    <a:lnTo>
                      <a:pt x="24" y="125"/>
                    </a:lnTo>
                    <a:lnTo>
                      <a:pt x="24" y="125"/>
                    </a:lnTo>
                    <a:lnTo>
                      <a:pt x="22" y="127"/>
                    </a:lnTo>
                    <a:lnTo>
                      <a:pt x="22" y="127"/>
                    </a:lnTo>
                    <a:lnTo>
                      <a:pt x="19" y="129"/>
                    </a:lnTo>
                    <a:lnTo>
                      <a:pt x="19" y="129"/>
                    </a:lnTo>
                    <a:lnTo>
                      <a:pt x="19" y="127"/>
                    </a:lnTo>
                    <a:lnTo>
                      <a:pt x="19" y="127"/>
                    </a:lnTo>
                    <a:lnTo>
                      <a:pt x="16" y="127"/>
                    </a:lnTo>
                    <a:lnTo>
                      <a:pt x="16" y="127"/>
                    </a:lnTo>
                    <a:lnTo>
                      <a:pt x="16" y="129"/>
                    </a:lnTo>
                    <a:lnTo>
                      <a:pt x="16" y="129"/>
                    </a:lnTo>
                    <a:lnTo>
                      <a:pt x="16" y="130"/>
                    </a:lnTo>
                    <a:lnTo>
                      <a:pt x="16" y="130"/>
                    </a:lnTo>
                    <a:lnTo>
                      <a:pt x="12" y="129"/>
                    </a:lnTo>
                    <a:lnTo>
                      <a:pt x="12" y="129"/>
                    </a:lnTo>
                    <a:lnTo>
                      <a:pt x="12" y="129"/>
                    </a:lnTo>
                    <a:lnTo>
                      <a:pt x="12" y="129"/>
                    </a:lnTo>
                    <a:lnTo>
                      <a:pt x="12" y="130"/>
                    </a:lnTo>
                    <a:lnTo>
                      <a:pt x="12" y="130"/>
                    </a:lnTo>
                    <a:lnTo>
                      <a:pt x="12" y="132"/>
                    </a:lnTo>
                    <a:lnTo>
                      <a:pt x="12" y="132"/>
                    </a:lnTo>
                    <a:lnTo>
                      <a:pt x="16" y="135"/>
                    </a:lnTo>
                    <a:lnTo>
                      <a:pt x="16" y="135"/>
                    </a:lnTo>
                    <a:lnTo>
                      <a:pt x="12" y="135"/>
                    </a:lnTo>
                    <a:lnTo>
                      <a:pt x="12" y="135"/>
                    </a:lnTo>
                    <a:lnTo>
                      <a:pt x="12" y="135"/>
                    </a:lnTo>
                    <a:lnTo>
                      <a:pt x="12" y="135"/>
                    </a:lnTo>
                    <a:lnTo>
                      <a:pt x="9" y="138"/>
                    </a:lnTo>
                    <a:lnTo>
                      <a:pt x="9" y="138"/>
                    </a:lnTo>
                    <a:lnTo>
                      <a:pt x="9" y="140"/>
                    </a:lnTo>
                    <a:lnTo>
                      <a:pt x="9" y="140"/>
                    </a:lnTo>
                    <a:lnTo>
                      <a:pt x="8" y="143"/>
                    </a:lnTo>
                    <a:lnTo>
                      <a:pt x="8" y="143"/>
                    </a:lnTo>
                    <a:lnTo>
                      <a:pt x="9" y="145"/>
                    </a:lnTo>
                    <a:lnTo>
                      <a:pt x="9" y="145"/>
                    </a:lnTo>
                    <a:lnTo>
                      <a:pt x="9" y="148"/>
                    </a:lnTo>
                    <a:lnTo>
                      <a:pt x="9" y="148"/>
                    </a:lnTo>
                    <a:lnTo>
                      <a:pt x="9" y="149"/>
                    </a:lnTo>
                    <a:lnTo>
                      <a:pt x="9" y="149"/>
                    </a:lnTo>
                    <a:lnTo>
                      <a:pt x="9" y="149"/>
                    </a:lnTo>
                    <a:lnTo>
                      <a:pt x="9" y="149"/>
                    </a:lnTo>
                    <a:lnTo>
                      <a:pt x="9" y="152"/>
                    </a:lnTo>
                    <a:lnTo>
                      <a:pt x="9" y="152"/>
                    </a:lnTo>
                    <a:lnTo>
                      <a:pt x="12" y="156"/>
                    </a:lnTo>
                    <a:lnTo>
                      <a:pt x="12" y="156"/>
                    </a:lnTo>
                    <a:lnTo>
                      <a:pt x="9" y="159"/>
                    </a:lnTo>
                    <a:lnTo>
                      <a:pt x="9" y="159"/>
                    </a:lnTo>
                    <a:lnTo>
                      <a:pt x="9" y="159"/>
                    </a:lnTo>
                    <a:lnTo>
                      <a:pt x="9" y="159"/>
                    </a:lnTo>
                    <a:lnTo>
                      <a:pt x="12" y="160"/>
                    </a:lnTo>
                    <a:lnTo>
                      <a:pt x="12" y="160"/>
                    </a:lnTo>
                    <a:lnTo>
                      <a:pt x="12" y="162"/>
                    </a:lnTo>
                    <a:lnTo>
                      <a:pt x="12" y="162"/>
                    </a:lnTo>
                    <a:lnTo>
                      <a:pt x="12" y="164"/>
                    </a:lnTo>
                    <a:lnTo>
                      <a:pt x="12" y="164"/>
                    </a:lnTo>
                    <a:lnTo>
                      <a:pt x="12" y="167"/>
                    </a:lnTo>
                    <a:lnTo>
                      <a:pt x="12" y="167"/>
                    </a:lnTo>
                    <a:lnTo>
                      <a:pt x="12" y="168"/>
                    </a:lnTo>
                    <a:lnTo>
                      <a:pt x="12" y="168"/>
                    </a:lnTo>
                    <a:lnTo>
                      <a:pt x="16" y="168"/>
                    </a:lnTo>
                    <a:lnTo>
                      <a:pt x="16" y="168"/>
                    </a:lnTo>
                    <a:lnTo>
                      <a:pt x="16" y="170"/>
                    </a:lnTo>
                    <a:lnTo>
                      <a:pt x="16" y="170"/>
                    </a:lnTo>
                    <a:lnTo>
                      <a:pt x="19" y="173"/>
                    </a:lnTo>
                    <a:lnTo>
                      <a:pt x="19" y="173"/>
                    </a:lnTo>
                    <a:lnTo>
                      <a:pt x="19" y="176"/>
                    </a:lnTo>
                    <a:lnTo>
                      <a:pt x="19" y="176"/>
                    </a:lnTo>
                    <a:lnTo>
                      <a:pt x="20" y="178"/>
                    </a:lnTo>
                    <a:lnTo>
                      <a:pt x="20" y="178"/>
                    </a:lnTo>
                    <a:lnTo>
                      <a:pt x="20" y="178"/>
                    </a:lnTo>
                    <a:lnTo>
                      <a:pt x="20" y="178"/>
                    </a:lnTo>
                    <a:lnTo>
                      <a:pt x="20" y="179"/>
                    </a:lnTo>
                    <a:lnTo>
                      <a:pt x="20" y="179"/>
                    </a:lnTo>
                    <a:lnTo>
                      <a:pt x="22" y="179"/>
                    </a:lnTo>
                    <a:lnTo>
                      <a:pt x="22" y="179"/>
                    </a:lnTo>
                    <a:lnTo>
                      <a:pt x="24" y="179"/>
                    </a:lnTo>
                    <a:lnTo>
                      <a:pt x="24" y="179"/>
                    </a:lnTo>
                    <a:lnTo>
                      <a:pt x="27" y="179"/>
                    </a:lnTo>
                    <a:lnTo>
                      <a:pt x="27" y="179"/>
                    </a:lnTo>
                    <a:lnTo>
                      <a:pt x="28" y="179"/>
                    </a:lnTo>
                    <a:lnTo>
                      <a:pt x="28" y="179"/>
                    </a:lnTo>
                    <a:lnTo>
                      <a:pt x="32" y="179"/>
                    </a:lnTo>
                    <a:lnTo>
                      <a:pt x="32" y="179"/>
                    </a:lnTo>
                    <a:lnTo>
                      <a:pt x="33" y="181"/>
                    </a:lnTo>
                    <a:lnTo>
                      <a:pt x="33" y="181"/>
                    </a:lnTo>
                    <a:lnTo>
                      <a:pt x="33" y="183"/>
                    </a:lnTo>
                    <a:lnTo>
                      <a:pt x="33" y="183"/>
                    </a:lnTo>
                    <a:lnTo>
                      <a:pt x="35" y="184"/>
                    </a:lnTo>
                    <a:lnTo>
                      <a:pt x="35" y="184"/>
                    </a:lnTo>
                    <a:lnTo>
                      <a:pt x="38" y="183"/>
                    </a:lnTo>
                    <a:lnTo>
                      <a:pt x="38" y="183"/>
                    </a:lnTo>
                    <a:lnTo>
                      <a:pt x="43" y="183"/>
                    </a:lnTo>
                    <a:lnTo>
                      <a:pt x="43" y="183"/>
                    </a:lnTo>
                    <a:lnTo>
                      <a:pt x="47" y="184"/>
                    </a:lnTo>
                    <a:lnTo>
                      <a:pt x="47" y="184"/>
                    </a:lnTo>
                    <a:lnTo>
                      <a:pt x="51" y="184"/>
                    </a:lnTo>
                    <a:lnTo>
                      <a:pt x="51" y="184"/>
                    </a:lnTo>
                    <a:lnTo>
                      <a:pt x="51" y="187"/>
                    </a:lnTo>
                    <a:lnTo>
                      <a:pt x="51" y="187"/>
                    </a:lnTo>
                    <a:lnTo>
                      <a:pt x="51" y="191"/>
                    </a:lnTo>
                    <a:lnTo>
                      <a:pt x="51" y="191"/>
                    </a:lnTo>
                    <a:lnTo>
                      <a:pt x="51" y="191"/>
                    </a:lnTo>
                    <a:lnTo>
                      <a:pt x="51" y="191"/>
                    </a:lnTo>
                    <a:lnTo>
                      <a:pt x="51" y="194"/>
                    </a:lnTo>
                    <a:lnTo>
                      <a:pt x="51" y="194"/>
                    </a:lnTo>
                    <a:lnTo>
                      <a:pt x="51" y="195"/>
                    </a:lnTo>
                    <a:lnTo>
                      <a:pt x="51" y="195"/>
                    </a:lnTo>
                    <a:lnTo>
                      <a:pt x="51" y="197"/>
                    </a:lnTo>
                    <a:lnTo>
                      <a:pt x="51" y="197"/>
                    </a:lnTo>
                    <a:lnTo>
                      <a:pt x="54" y="200"/>
                    </a:lnTo>
                    <a:lnTo>
                      <a:pt x="54" y="200"/>
                    </a:lnTo>
                    <a:lnTo>
                      <a:pt x="55" y="203"/>
                    </a:lnTo>
                    <a:lnTo>
                      <a:pt x="55" y="203"/>
                    </a:lnTo>
                    <a:lnTo>
                      <a:pt x="59" y="205"/>
                    </a:lnTo>
                    <a:lnTo>
                      <a:pt x="59" y="205"/>
                    </a:lnTo>
                    <a:lnTo>
                      <a:pt x="60" y="205"/>
                    </a:lnTo>
                    <a:lnTo>
                      <a:pt x="60" y="205"/>
                    </a:lnTo>
                    <a:lnTo>
                      <a:pt x="62" y="205"/>
                    </a:lnTo>
                    <a:lnTo>
                      <a:pt x="62" y="205"/>
                    </a:lnTo>
                    <a:lnTo>
                      <a:pt x="62" y="208"/>
                    </a:lnTo>
                    <a:lnTo>
                      <a:pt x="62" y="208"/>
                    </a:lnTo>
                    <a:lnTo>
                      <a:pt x="63" y="208"/>
                    </a:lnTo>
                    <a:lnTo>
                      <a:pt x="63" y="208"/>
                    </a:lnTo>
                    <a:lnTo>
                      <a:pt x="68" y="208"/>
                    </a:lnTo>
                    <a:lnTo>
                      <a:pt x="68" y="208"/>
                    </a:lnTo>
                    <a:lnTo>
                      <a:pt x="70" y="211"/>
                    </a:lnTo>
                    <a:lnTo>
                      <a:pt x="70" y="211"/>
                    </a:lnTo>
                    <a:lnTo>
                      <a:pt x="70" y="211"/>
                    </a:lnTo>
                    <a:lnTo>
                      <a:pt x="70" y="211"/>
                    </a:lnTo>
                    <a:lnTo>
                      <a:pt x="73" y="214"/>
                    </a:lnTo>
                    <a:lnTo>
                      <a:pt x="73" y="214"/>
                    </a:lnTo>
                    <a:lnTo>
                      <a:pt x="74" y="214"/>
                    </a:lnTo>
                    <a:lnTo>
                      <a:pt x="74" y="214"/>
                    </a:lnTo>
                    <a:lnTo>
                      <a:pt x="71" y="216"/>
                    </a:lnTo>
                    <a:lnTo>
                      <a:pt x="71" y="216"/>
                    </a:lnTo>
                    <a:lnTo>
                      <a:pt x="68" y="218"/>
                    </a:lnTo>
                    <a:lnTo>
                      <a:pt x="68" y="218"/>
                    </a:lnTo>
                    <a:lnTo>
                      <a:pt x="63" y="218"/>
                    </a:lnTo>
                    <a:lnTo>
                      <a:pt x="63" y="218"/>
                    </a:lnTo>
                    <a:lnTo>
                      <a:pt x="60" y="218"/>
                    </a:lnTo>
                    <a:lnTo>
                      <a:pt x="60" y="218"/>
                    </a:lnTo>
                    <a:lnTo>
                      <a:pt x="59" y="218"/>
                    </a:lnTo>
                    <a:lnTo>
                      <a:pt x="59" y="218"/>
                    </a:lnTo>
                    <a:lnTo>
                      <a:pt x="59" y="219"/>
                    </a:lnTo>
                    <a:lnTo>
                      <a:pt x="59" y="219"/>
                    </a:lnTo>
                    <a:lnTo>
                      <a:pt x="60" y="222"/>
                    </a:lnTo>
                    <a:lnTo>
                      <a:pt x="60" y="222"/>
                    </a:lnTo>
                    <a:lnTo>
                      <a:pt x="62" y="224"/>
                    </a:lnTo>
                    <a:lnTo>
                      <a:pt x="62" y="224"/>
                    </a:lnTo>
                    <a:lnTo>
                      <a:pt x="62" y="225"/>
                    </a:lnTo>
                    <a:lnTo>
                      <a:pt x="62" y="225"/>
                    </a:lnTo>
                    <a:lnTo>
                      <a:pt x="63" y="230"/>
                    </a:lnTo>
                    <a:lnTo>
                      <a:pt x="63" y="230"/>
                    </a:lnTo>
                    <a:lnTo>
                      <a:pt x="65" y="232"/>
                    </a:lnTo>
                    <a:lnTo>
                      <a:pt x="65" y="232"/>
                    </a:lnTo>
                    <a:lnTo>
                      <a:pt x="66" y="233"/>
                    </a:lnTo>
                    <a:lnTo>
                      <a:pt x="66" y="233"/>
                    </a:lnTo>
                    <a:lnTo>
                      <a:pt x="70" y="233"/>
                    </a:lnTo>
                    <a:lnTo>
                      <a:pt x="70" y="233"/>
                    </a:lnTo>
                    <a:lnTo>
                      <a:pt x="71" y="232"/>
                    </a:lnTo>
                    <a:lnTo>
                      <a:pt x="71" y="232"/>
                    </a:lnTo>
                    <a:lnTo>
                      <a:pt x="71" y="229"/>
                    </a:lnTo>
                    <a:lnTo>
                      <a:pt x="71" y="229"/>
                    </a:lnTo>
                    <a:lnTo>
                      <a:pt x="73" y="229"/>
                    </a:lnTo>
                    <a:lnTo>
                      <a:pt x="73" y="229"/>
                    </a:lnTo>
                    <a:lnTo>
                      <a:pt x="76" y="230"/>
                    </a:lnTo>
                    <a:lnTo>
                      <a:pt x="76" y="230"/>
                    </a:lnTo>
                    <a:lnTo>
                      <a:pt x="79" y="230"/>
                    </a:lnTo>
                    <a:lnTo>
                      <a:pt x="79" y="230"/>
                    </a:lnTo>
                    <a:lnTo>
                      <a:pt x="82" y="230"/>
                    </a:lnTo>
                    <a:lnTo>
                      <a:pt x="82" y="230"/>
                    </a:lnTo>
                    <a:lnTo>
                      <a:pt x="85" y="229"/>
                    </a:lnTo>
                    <a:lnTo>
                      <a:pt x="85" y="229"/>
                    </a:lnTo>
                    <a:lnTo>
                      <a:pt x="89" y="229"/>
                    </a:lnTo>
                    <a:lnTo>
                      <a:pt x="89" y="229"/>
                    </a:lnTo>
                    <a:lnTo>
                      <a:pt x="89" y="230"/>
                    </a:lnTo>
                    <a:lnTo>
                      <a:pt x="89" y="230"/>
                    </a:lnTo>
                    <a:lnTo>
                      <a:pt x="90" y="233"/>
                    </a:lnTo>
                    <a:lnTo>
                      <a:pt x="90" y="233"/>
                    </a:lnTo>
                    <a:lnTo>
                      <a:pt x="92" y="233"/>
                    </a:lnTo>
                    <a:lnTo>
                      <a:pt x="92" y="233"/>
                    </a:lnTo>
                    <a:lnTo>
                      <a:pt x="93" y="235"/>
                    </a:lnTo>
                    <a:lnTo>
                      <a:pt x="93" y="235"/>
                    </a:lnTo>
                    <a:lnTo>
                      <a:pt x="95" y="238"/>
                    </a:lnTo>
                    <a:lnTo>
                      <a:pt x="95" y="238"/>
                    </a:lnTo>
                    <a:lnTo>
                      <a:pt x="93" y="238"/>
                    </a:lnTo>
                    <a:lnTo>
                      <a:pt x="93" y="238"/>
                    </a:lnTo>
                    <a:lnTo>
                      <a:pt x="92" y="240"/>
                    </a:lnTo>
                    <a:lnTo>
                      <a:pt x="92" y="240"/>
                    </a:lnTo>
                    <a:lnTo>
                      <a:pt x="93" y="240"/>
                    </a:lnTo>
                    <a:lnTo>
                      <a:pt x="93" y="240"/>
                    </a:lnTo>
                    <a:lnTo>
                      <a:pt x="93" y="243"/>
                    </a:lnTo>
                    <a:lnTo>
                      <a:pt x="93" y="243"/>
                    </a:lnTo>
                    <a:lnTo>
                      <a:pt x="93" y="243"/>
                    </a:lnTo>
                    <a:lnTo>
                      <a:pt x="93" y="243"/>
                    </a:lnTo>
                    <a:lnTo>
                      <a:pt x="97" y="246"/>
                    </a:lnTo>
                    <a:lnTo>
                      <a:pt x="97" y="246"/>
                    </a:lnTo>
                    <a:lnTo>
                      <a:pt x="101" y="246"/>
                    </a:lnTo>
                    <a:lnTo>
                      <a:pt x="101" y="246"/>
                    </a:lnTo>
                    <a:lnTo>
                      <a:pt x="103" y="246"/>
                    </a:lnTo>
                    <a:lnTo>
                      <a:pt x="103" y="246"/>
                    </a:lnTo>
                    <a:lnTo>
                      <a:pt x="105" y="246"/>
                    </a:lnTo>
                    <a:lnTo>
                      <a:pt x="105" y="246"/>
                    </a:lnTo>
                    <a:lnTo>
                      <a:pt x="106" y="246"/>
                    </a:lnTo>
                    <a:lnTo>
                      <a:pt x="106" y="246"/>
                    </a:lnTo>
                    <a:lnTo>
                      <a:pt x="106" y="249"/>
                    </a:lnTo>
                    <a:lnTo>
                      <a:pt x="106" y="249"/>
                    </a:lnTo>
                    <a:lnTo>
                      <a:pt x="109" y="254"/>
                    </a:lnTo>
                    <a:lnTo>
                      <a:pt x="109" y="254"/>
                    </a:lnTo>
                    <a:lnTo>
                      <a:pt x="109" y="256"/>
                    </a:lnTo>
                    <a:lnTo>
                      <a:pt x="109" y="256"/>
                    </a:lnTo>
                    <a:lnTo>
                      <a:pt x="111" y="256"/>
                    </a:lnTo>
                    <a:lnTo>
                      <a:pt x="111" y="256"/>
                    </a:lnTo>
                    <a:lnTo>
                      <a:pt x="112" y="256"/>
                    </a:lnTo>
                    <a:lnTo>
                      <a:pt x="112" y="256"/>
                    </a:lnTo>
                    <a:lnTo>
                      <a:pt x="114" y="256"/>
                    </a:lnTo>
                    <a:lnTo>
                      <a:pt x="114" y="256"/>
                    </a:lnTo>
                    <a:lnTo>
                      <a:pt x="116" y="256"/>
                    </a:lnTo>
                    <a:lnTo>
                      <a:pt x="116" y="256"/>
                    </a:lnTo>
                    <a:lnTo>
                      <a:pt x="117" y="257"/>
                    </a:lnTo>
                    <a:lnTo>
                      <a:pt x="117" y="257"/>
                    </a:lnTo>
                    <a:lnTo>
                      <a:pt x="120" y="259"/>
                    </a:lnTo>
                    <a:lnTo>
                      <a:pt x="120" y="259"/>
                    </a:lnTo>
                    <a:lnTo>
                      <a:pt x="125" y="257"/>
                    </a:lnTo>
                    <a:lnTo>
                      <a:pt x="125" y="257"/>
                    </a:lnTo>
                    <a:lnTo>
                      <a:pt x="128" y="256"/>
                    </a:lnTo>
                    <a:lnTo>
                      <a:pt x="128" y="256"/>
                    </a:lnTo>
                    <a:lnTo>
                      <a:pt x="130" y="256"/>
                    </a:lnTo>
                    <a:lnTo>
                      <a:pt x="130" y="256"/>
                    </a:lnTo>
                    <a:lnTo>
                      <a:pt x="132" y="257"/>
                    </a:lnTo>
                    <a:lnTo>
                      <a:pt x="132" y="257"/>
                    </a:lnTo>
                    <a:lnTo>
                      <a:pt x="133" y="257"/>
                    </a:lnTo>
                    <a:lnTo>
                      <a:pt x="133" y="257"/>
                    </a:lnTo>
                    <a:lnTo>
                      <a:pt x="135" y="259"/>
                    </a:lnTo>
                    <a:lnTo>
                      <a:pt x="135" y="259"/>
                    </a:lnTo>
                    <a:lnTo>
                      <a:pt x="135" y="260"/>
                    </a:lnTo>
                    <a:lnTo>
                      <a:pt x="135" y="260"/>
                    </a:lnTo>
                    <a:lnTo>
                      <a:pt x="135" y="262"/>
                    </a:lnTo>
                    <a:lnTo>
                      <a:pt x="135" y="262"/>
                    </a:lnTo>
                    <a:lnTo>
                      <a:pt x="138" y="264"/>
                    </a:lnTo>
                    <a:lnTo>
                      <a:pt x="138" y="264"/>
                    </a:lnTo>
                    <a:lnTo>
                      <a:pt x="141" y="262"/>
                    </a:lnTo>
                    <a:lnTo>
                      <a:pt x="141" y="262"/>
                    </a:lnTo>
                    <a:lnTo>
                      <a:pt x="144" y="262"/>
                    </a:lnTo>
                    <a:lnTo>
                      <a:pt x="144" y="262"/>
                    </a:lnTo>
                    <a:lnTo>
                      <a:pt x="146" y="264"/>
                    </a:lnTo>
                    <a:lnTo>
                      <a:pt x="146" y="264"/>
                    </a:lnTo>
                    <a:lnTo>
                      <a:pt x="149" y="264"/>
                    </a:lnTo>
                    <a:lnTo>
                      <a:pt x="149" y="264"/>
                    </a:lnTo>
                    <a:lnTo>
                      <a:pt x="151" y="264"/>
                    </a:lnTo>
                    <a:lnTo>
                      <a:pt x="151" y="264"/>
                    </a:lnTo>
                    <a:lnTo>
                      <a:pt x="152" y="265"/>
                    </a:lnTo>
                    <a:lnTo>
                      <a:pt x="152" y="265"/>
                    </a:lnTo>
                    <a:lnTo>
                      <a:pt x="155" y="267"/>
                    </a:lnTo>
                    <a:lnTo>
                      <a:pt x="155" y="267"/>
                    </a:lnTo>
                    <a:lnTo>
                      <a:pt x="157" y="268"/>
                    </a:lnTo>
                    <a:lnTo>
                      <a:pt x="157" y="268"/>
                    </a:lnTo>
                    <a:lnTo>
                      <a:pt x="159" y="268"/>
                    </a:lnTo>
                    <a:lnTo>
                      <a:pt x="159" y="268"/>
                    </a:lnTo>
                    <a:lnTo>
                      <a:pt x="160" y="268"/>
                    </a:lnTo>
                    <a:lnTo>
                      <a:pt x="160" y="268"/>
                    </a:lnTo>
                    <a:lnTo>
                      <a:pt x="162" y="268"/>
                    </a:lnTo>
                    <a:lnTo>
                      <a:pt x="162" y="268"/>
                    </a:lnTo>
                    <a:lnTo>
                      <a:pt x="162" y="270"/>
                    </a:lnTo>
                    <a:lnTo>
                      <a:pt x="162" y="270"/>
                    </a:lnTo>
                    <a:lnTo>
                      <a:pt x="162" y="272"/>
                    </a:lnTo>
                    <a:lnTo>
                      <a:pt x="162" y="272"/>
                    </a:lnTo>
                    <a:lnTo>
                      <a:pt x="163" y="273"/>
                    </a:lnTo>
                    <a:lnTo>
                      <a:pt x="163" y="273"/>
                    </a:lnTo>
                    <a:lnTo>
                      <a:pt x="160" y="275"/>
                    </a:lnTo>
                    <a:lnTo>
                      <a:pt x="160" y="275"/>
                    </a:lnTo>
                    <a:lnTo>
                      <a:pt x="159" y="275"/>
                    </a:lnTo>
                    <a:lnTo>
                      <a:pt x="159" y="275"/>
                    </a:lnTo>
                    <a:lnTo>
                      <a:pt x="160" y="278"/>
                    </a:lnTo>
                    <a:lnTo>
                      <a:pt x="160" y="278"/>
                    </a:lnTo>
                    <a:lnTo>
                      <a:pt x="162" y="278"/>
                    </a:lnTo>
                    <a:lnTo>
                      <a:pt x="162" y="278"/>
                    </a:lnTo>
                    <a:lnTo>
                      <a:pt x="163" y="278"/>
                    </a:lnTo>
                    <a:lnTo>
                      <a:pt x="163" y="278"/>
                    </a:lnTo>
                    <a:lnTo>
                      <a:pt x="160" y="278"/>
                    </a:lnTo>
                    <a:lnTo>
                      <a:pt x="160" y="278"/>
                    </a:lnTo>
                    <a:lnTo>
                      <a:pt x="159" y="281"/>
                    </a:lnTo>
                    <a:lnTo>
                      <a:pt x="159" y="281"/>
                    </a:lnTo>
                    <a:lnTo>
                      <a:pt x="159" y="281"/>
                    </a:lnTo>
                    <a:lnTo>
                      <a:pt x="159" y="281"/>
                    </a:lnTo>
                    <a:lnTo>
                      <a:pt x="162" y="284"/>
                    </a:lnTo>
                    <a:lnTo>
                      <a:pt x="162" y="284"/>
                    </a:lnTo>
                    <a:lnTo>
                      <a:pt x="163" y="284"/>
                    </a:lnTo>
                    <a:lnTo>
                      <a:pt x="163" y="284"/>
                    </a:lnTo>
                    <a:lnTo>
                      <a:pt x="162" y="284"/>
                    </a:lnTo>
                    <a:lnTo>
                      <a:pt x="162" y="284"/>
                    </a:lnTo>
                    <a:lnTo>
                      <a:pt x="163" y="286"/>
                    </a:lnTo>
                    <a:lnTo>
                      <a:pt x="163" y="286"/>
                    </a:lnTo>
                    <a:lnTo>
                      <a:pt x="163" y="289"/>
                    </a:lnTo>
                    <a:lnTo>
                      <a:pt x="163" y="289"/>
                    </a:lnTo>
                    <a:lnTo>
                      <a:pt x="162" y="291"/>
                    </a:lnTo>
                    <a:lnTo>
                      <a:pt x="162" y="291"/>
                    </a:lnTo>
                    <a:lnTo>
                      <a:pt x="160" y="292"/>
                    </a:lnTo>
                    <a:lnTo>
                      <a:pt x="160" y="292"/>
                    </a:lnTo>
                    <a:lnTo>
                      <a:pt x="159" y="292"/>
                    </a:lnTo>
                    <a:lnTo>
                      <a:pt x="159" y="292"/>
                    </a:lnTo>
                    <a:lnTo>
                      <a:pt x="155" y="292"/>
                    </a:lnTo>
                    <a:lnTo>
                      <a:pt x="155" y="292"/>
                    </a:lnTo>
                    <a:lnTo>
                      <a:pt x="154" y="292"/>
                    </a:lnTo>
                    <a:lnTo>
                      <a:pt x="154" y="292"/>
                    </a:lnTo>
                    <a:lnTo>
                      <a:pt x="152" y="292"/>
                    </a:lnTo>
                    <a:lnTo>
                      <a:pt x="152" y="292"/>
                    </a:lnTo>
                    <a:lnTo>
                      <a:pt x="151" y="292"/>
                    </a:lnTo>
                    <a:lnTo>
                      <a:pt x="151" y="292"/>
                    </a:lnTo>
                    <a:lnTo>
                      <a:pt x="147" y="295"/>
                    </a:lnTo>
                    <a:lnTo>
                      <a:pt x="147" y="295"/>
                    </a:lnTo>
                    <a:lnTo>
                      <a:pt x="146" y="297"/>
                    </a:lnTo>
                    <a:lnTo>
                      <a:pt x="146" y="297"/>
                    </a:lnTo>
                    <a:lnTo>
                      <a:pt x="144" y="299"/>
                    </a:lnTo>
                    <a:lnTo>
                      <a:pt x="144" y="299"/>
                    </a:lnTo>
                    <a:lnTo>
                      <a:pt x="146" y="300"/>
                    </a:lnTo>
                    <a:lnTo>
                      <a:pt x="146" y="300"/>
                    </a:lnTo>
                    <a:lnTo>
                      <a:pt x="146" y="302"/>
                    </a:lnTo>
                    <a:lnTo>
                      <a:pt x="146" y="302"/>
                    </a:lnTo>
                    <a:lnTo>
                      <a:pt x="147" y="302"/>
                    </a:lnTo>
                    <a:lnTo>
                      <a:pt x="147" y="302"/>
                    </a:lnTo>
                    <a:lnTo>
                      <a:pt x="149" y="302"/>
                    </a:lnTo>
                    <a:lnTo>
                      <a:pt x="149" y="302"/>
                    </a:lnTo>
                    <a:lnTo>
                      <a:pt x="152" y="302"/>
                    </a:lnTo>
                    <a:lnTo>
                      <a:pt x="152" y="302"/>
                    </a:lnTo>
                    <a:lnTo>
                      <a:pt x="155" y="300"/>
                    </a:lnTo>
                    <a:lnTo>
                      <a:pt x="155" y="300"/>
                    </a:lnTo>
                    <a:lnTo>
                      <a:pt x="157" y="300"/>
                    </a:lnTo>
                    <a:lnTo>
                      <a:pt x="157" y="300"/>
                    </a:lnTo>
                    <a:lnTo>
                      <a:pt x="157" y="302"/>
                    </a:lnTo>
                    <a:lnTo>
                      <a:pt x="157" y="302"/>
                    </a:lnTo>
                    <a:lnTo>
                      <a:pt x="159" y="303"/>
                    </a:lnTo>
                    <a:lnTo>
                      <a:pt x="159" y="303"/>
                    </a:lnTo>
                    <a:lnTo>
                      <a:pt x="155" y="305"/>
                    </a:lnTo>
                    <a:lnTo>
                      <a:pt x="155" y="305"/>
                    </a:lnTo>
                    <a:lnTo>
                      <a:pt x="152" y="306"/>
                    </a:lnTo>
                    <a:lnTo>
                      <a:pt x="152" y="306"/>
                    </a:lnTo>
                    <a:lnTo>
                      <a:pt x="149" y="306"/>
                    </a:lnTo>
                    <a:lnTo>
                      <a:pt x="149" y="306"/>
                    </a:lnTo>
                    <a:lnTo>
                      <a:pt x="149" y="308"/>
                    </a:lnTo>
                    <a:lnTo>
                      <a:pt x="149" y="308"/>
                    </a:lnTo>
                    <a:lnTo>
                      <a:pt x="146" y="308"/>
                    </a:lnTo>
                    <a:lnTo>
                      <a:pt x="146" y="308"/>
                    </a:lnTo>
                    <a:lnTo>
                      <a:pt x="144" y="308"/>
                    </a:lnTo>
                    <a:lnTo>
                      <a:pt x="144" y="308"/>
                    </a:lnTo>
                    <a:lnTo>
                      <a:pt x="141" y="308"/>
                    </a:lnTo>
                    <a:lnTo>
                      <a:pt x="141" y="308"/>
                    </a:lnTo>
                    <a:lnTo>
                      <a:pt x="144" y="310"/>
                    </a:lnTo>
                    <a:lnTo>
                      <a:pt x="144" y="310"/>
                    </a:lnTo>
                    <a:lnTo>
                      <a:pt x="144" y="311"/>
                    </a:lnTo>
                    <a:lnTo>
                      <a:pt x="144" y="311"/>
                    </a:lnTo>
                    <a:lnTo>
                      <a:pt x="147" y="313"/>
                    </a:lnTo>
                    <a:lnTo>
                      <a:pt x="147" y="313"/>
                    </a:lnTo>
                    <a:lnTo>
                      <a:pt x="149" y="314"/>
                    </a:lnTo>
                    <a:lnTo>
                      <a:pt x="149" y="314"/>
                    </a:lnTo>
                    <a:lnTo>
                      <a:pt x="151" y="318"/>
                    </a:lnTo>
                    <a:lnTo>
                      <a:pt x="151" y="318"/>
                    </a:lnTo>
                    <a:lnTo>
                      <a:pt x="149" y="316"/>
                    </a:lnTo>
                    <a:lnTo>
                      <a:pt x="149" y="316"/>
                    </a:lnTo>
                    <a:lnTo>
                      <a:pt x="147" y="316"/>
                    </a:lnTo>
                    <a:lnTo>
                      <a:pt x="147" y="316"/>
                    </a:lnTo>
                    <a:lnTo>
                      <a:pt x="146" y="318"/>
                    </a:lnTo>
                    <a:lnTo>
                      <a:pt x="146" y="318"/>
                    </a:lnTo>
                    <a:lnTo>
                      <a:pt x="144" y="321"/>
                    </a:lnTo>
                    <a:lnTo>
                      <a:pt x="144" y="321"/>
                    </a:lnTo>
                    <a:lnTo>
                      <a:pt x="144" y="322"/>
                    </a:lnTo>
                    <a:lnTo>
                      <a:pt x="144" y="322"/>
                    </a:lnTo>
                    <a:lnTo>
                      <a:pt x="141" y="322"/>
                    </a:lnTo>
                    <a:lnTo>
                      <a:pt x="141" y="322"/>
                    </a:lnTo>
                    <a:lnTo>
                      <a:pt x="141" y="326"/>
                    </a:lnTo>
                    <a:lnTo>
                      <a:pt x="141" y="326"/>
                    </a:lnTo>
                    <a:lnTo>
                      <a:pt x="144" y="324"/>
                    </a:lnTo>
                    <a:lnTo>
                      <a:pt x="144" y="324"/>
                    </a:lnTo>
                    <a:lnTo>
                      <a:pt x="144" y="326"/>
                    </a:lnTo>
                    <a:lnTo>
                      <a:pt x="144" y="326"/>
                    </a:lnTo>
                    <a:lnTo>
                      <a:pt x="144" y="329"/>
                    </a:lnTo>
                    <a:lnTo>
                      <a:pt x="144" y="329"/>
                    </a:lnTo>
                    <a:lnTo>
                      <a:pt x="138" y="327"/>
                    </a:lnTo>
                    <a:lnTo>
                      <a:pt x="138" y="327"/>
                    </a:lnTo>
                    <a:lnTo>
                      <a:pt x="138" y="327"/>
                    </a:lnTo>
                    <a:lnTo>
                      <a:pt x="138" y="327"/>
                    </a:lnTo>
                    <a:lnTo>
                      <a:pt x="138" y="329"/>
                    </a:lnTo>
                    <a:lnTo>
                      <a:pt x="138" y="329"/>
                    </a:lnTo>
                    <a:lnTo>
                      <a:pt x="135" y="327"/>
                    </a:lnTo>
                    <a:lnTo>
                      <a:pt x="135" y="327"/>
                    </a:lnTo>
                    <a:lnTo>
                      <a:pt x="133" y="326"/>
                    </a:lnTo>
                    <a:lnTo>
                      <a:pt x="133" y="326"/>
                    </a:lnTo>
                    <a:lnTo>
                      <a:pt x="132" y="327"/>
                    </a:lnTo>
                    <a:lnTo>
                      <a:pt x="132" y="327"/>
                    </a:lnTo>
                    <a:lnTo>
                      <a:pt x="133" y="327"/>
                    </a:lnTo>
                    <a:lnTo>
                      <a:pt x="133" y="327"/>
                    </a:lnTo>
                    <a:lnTo>
                      <a:pt x="135" y="329"/>
                    </a:lnTo>
                    <a:lnTo>
                      <a:pt x="135" y="329"/>
                    </a:lnTo>
                    <a:lnTo>
                      <a:pt x="133" y="329"/>
                    </a:lnTo>
                    <a:lnTo>
                      <a:pt x="133" y="329"/>
                    </a:lnTo>
                    <a:lnTo>
                      <a:pt x="132" y="330"/>
                    </a:lnTo>
                    <a:lnTo>
                      <a:pt x="132" y="330"/>
                    </a:lnTo>
                    <a:lnTo>
                      <a:pt x="138" y="330"/>
                    </a:lnTo>
                    <a:lnTo>
                      <a:pt x="138" y="330"/>
                    </a:lnTo>
                    <a:lnTo>
                      <a:pt x="138" y="333"/>
                    </a:lnTo>
                    <a:lnTo>
                      <a:pt x="138" y="333"/>
                    </a:lnTo>
                    <a:lnTo>
                      <a:pt x="141" y="333"/>
                    </a:lnTo>
                    <a:lnTo>
                      <a:pt x="141" y="333"/>
                    </a:lnTo>
                    <a:lnTo>
                      <a:pt x="144" y="337"/>
                    </a:lnTo>
                    <a:lnTo>
                      <a:pt x="144" y="337"/>
                    </a:lnTo>
                    <a:lnTo>
                      <a:pt x="146" y="337"/>
                    </a:lnTo>
                    <a:lnTo>
                      <a:pt x="146" y="337"/>
                    </a:lnTo>
                    <a:lnTo>
                      <a:pt x="146" y="337"/>
                    </a:lnTo>
                    <a:lnTo>
                      <a:pt x="146" y="337"/>
                    </a:lnTo>
                    <a:lnTo>
                      <a:pt x="149" y="337"/>
                    </a:lnTo>
                    <a:lnTo>
                      <a:pt x="149" y="337"/>
                    </a:lnTo>
                    <a:lnTo>
                      <a:pt x="151" y="340"/>
                    </a:lnTo>
                    <a:lnTo>
                      <a:pt x="151" y="340"/>
                    </a:lnTo>
                    <a:lnTo>
                      <a:pt x="159" y="343"/>
                    </a:lnTo>
                    <a:lnTo>
                      <a:pt x="159" y="343"/>
                    </a:lnTo>
                    <a:lnTo>
                      <a:pt x="166" y="349"/>
                    </a:lnTo>
                    <a:lnTo>
                      <a:pt x="166" y="349"/>
                    </a:lnTo>
                    <a:lnTo>
                      <a:pt x="173" y="356"/>
                    </a:lnTo>
                    <a:lnTo>
                      <a:pt x="173" y="356"/>
                    </a:lnTo>
                    <a:lnTo>
                      <a:pt x="173" y="356"/>
                    </a:lnTo>
                    <a:lnTo>
                      <a:pt x="173" y="356"/>
                    </a:lnTo>
                    <a:lnTo>
                      <a:pt x="173" y="353"/>
                    </a:lnTo>
                    <a:lnTo>
                      <a:pt x="173" y="353"/>
                    </a:lnTo>
                    <a:lnTo>
                      <a:pt x="176" y="353"/>
                    </a:lnTo>
                    <a:lnTo>
                      <a:pt x="176" y="353"/>
                    </a:lnTo>
                    <a:lnTo>
                      <a:pt x="179" y="353"/>
                    </a:lnTo>
                    <a:lnTo>
                      <a:pt x="179" y="353"/>
                    </a:lnTo>
                    <a:lnTo>
                      <a:pt x="189" y="356"/>
                    </a:lnTo>
                    <a:lnTo>
                      <a:pt x="189" y="356"/>
                    </a:lnTo>
                    <a:lnTo>
                      <a:pt x="195" y="357"/>
                    </a:lnTo>
                    <a:lnTo>
                      <a:pt x="195" y="357"/>
                    </a:lnTo>
                    <a:lnTo>
                      <a:pt x="201" y="357"/>
                    </a:lnTo>
                    <a:lnTo>
                      <a:pt x="201" y="357"/>
                    </a:lnTo>
                    <a:lnTo>
                      <a:pt x="205" y="359"/>
                    </a:lnTo>
                    <a:lnTo>
                      <a:pt x="205" y="359"/>
                    </a:lnTo>
                    <a:lnTo>
                      <a:pt x="208" y="359"/>
                    </a:lnTo>
                    <a:lnTo>
                      <a:pt x="208" y="359"/>
                    </a:lnTo>
                    <a:lnTo>
                      <a:pt x="214" y="362"/>
                    </a:lnTo>
                    <a:lnTo>
                      <a:pt x="214" y="362"/>
                    </a:lnTo>
                    <a:lnTo>
                      <a:pt x="217" y="364"/>
                    </a:lnTo>
                    <a:lnTo>
                      <a:pt x="217" y="364"/>
                    </a:lnTo>
                    <a:lnTo>
                      <a:pt x="219" y="365"/>
                    </a:lnTo>
                    <a:lnTo>
                      <a:pt x="219" y="365"/>
                    </a:lnTo>
                    <a:lnTo>
                      <a:pt x="222" y="365"/>
                    </a:lnTo>
                    <a:lnTo>
                      <a:pt x="222" y="365"/>
                    </a:lnTo>
                    <a:lnTo>
                      <a:pt x="225" y="365"/>
                    </a:lnTo>
                    <a:lnTo>
                      <a:pt x="225" y="365"/>
                    </a:lnTo>
                    <a:lnTo>
                      <a:pt x="228" y="365"/>
                    </a:lnTo>
                    <a:lnTo>
                      <a:pt x="228" y="365"/>
                    </a:lnTo>
                    <a:lnTo>
                      <a:pt x="228" y="365"/>
                    </a:lnTo>
                    <a:lnTo>
                      <a:pt x="228" y="365"/>
                    </a:lnTo>
                    <a:lnTo>
                      <a:pt x="232" y="365"/>
                    </a:lnTo>
                    <a:lnTo>
                      <a:pt x="232" y="365"/>
                    </a:lnTo>
                    <a:lnTo>
                      <a:pt x="232" y="365"/>
                    </a:lnTo>
                    <a:lnTo>
                      <a:pt x="232" y="365"/>
                    </a:lnTo>
                    <a:lnTo>
                      <a:pt x="232" y="365"/>
                    </a:lnTo>
                    <a:lnTo>
                      <a:pt x="232" y="365"/>
                    </a:lnTo>
                    <a:lnTo>
                      <a:pt x="235" y="365"/>
                    </a:lnTo>
                    <a:lnTo>
                      <a:pt x="235" y="365"/>
                    </a:lnTo>
                    <a:lnTo>
                      <a:pt x="238" y="365"/>
                    </a:lnTo>
                    <a:lnTo>
                      <a:pt x="238" y="365"/>
                    </a:lnTo>
                    <a:lnTo>
                      <a:pt x="241" y="368"/>
                    </a:lnTo>
                    <a:lnTo>
                      <a:pt x="241" y="368"/>
                    </a:lnTo>
                    <a:lnTo>
                      <a:pt x="241" y="368"/>
                    </a:lnTo>
                    <a:lnTo>
                      <a:pt x="241" y="368"/>
                    </a:lnTo>
                    <a:lnTo>
                      <a:pt x="241" y="372"/>
                    </a:lnTo>
                    <a:lnTo>
                      <a:pt x="241" y="372"/>
                    </a:lnTo>
                    <a:lnTo>
                      <a:pt x="243" y="372"/>
                    </a:lnTo>
                    <a:lnTo>
                      <a:pt x="243" y="372"/>
                    </a:lnTo>
                    <a:lnTo>
                      <a:pt x="246" y="375"/>
                    </a:lnTo>
                    <a:lnTo>
                      <a:pt x="246" y="375"/>
                    </a:lnTo>
                    <a:lnTo>
                      <a:pt x="251" y="375"/>
                    </a:lnTo>
                    <a:lnTo>
                      <a:pt x="251" y="375"/>
                    </a:lnTo>
                    <a:lnTo>
                      <a:pt x="254" y="376"/>
                    </a:lnTo>
                    <a:lnTo>
                      <a:pt x="254" y="376"/>
                    </a:lnTo>
                    <a:lnTo>
                      <a:pt x="259" y="379"/>
                    </a:lnTo>
                    <a:lnTo>
                      <a:pt x="259" y="379"/>
                    </a:lnTo>
                    <a:lnTo>
                      <a:pt x="260" y="381"/>
                    </a:lnTo>
                    <a:lnTo>
                      <a:pt x="260" y="381"/>
                    </a:lnTo>
                    <a:lnTo>
                      <a:pt x="262" y="384"/>
                    </a:lnTo>
                    <a:lnTo>
                      <a:pt x="262" y="384"/>
                    </a:lnTo>
                    <a:lnTo>
                      <a:pt x="263" y="384"/>
                    </a:lnTo>
                    <a:lnTo>
                      <a:pt x="263" y="384"/>
                    </a:lnTo>
                    <a:lnTo>
                      <a:pt x="263" y="384"/>
                    </a:lnTo>
                    <a:lnTo>
                      <a:pt x="263" y="384"/>
                    </a:lnTo>
                    <a:lnTo>
                      <a:pt x="270" y="386"/>
                    </a:lnTo>
                    <a:lnTo>
                      <a:pt x="270" y="386"/>
                    </a:lnTo>
                    <a:lnTo>
                      <a:pt x="270" y="384"/>
                    </a:lnTo>
                    <a:lnTo>
                      <a:pt x="270" y="384"/>
                    </a:lnTo>
                    <a:lnTo>
                      <a:pt x="271" y="383"/>
                    </a:lnTo>
                    <a:lnTo>
                      <a:pt x="271" y="383"/>
                    </a:lnTo>
                    <a:lnTo>
                      <a:pt x="273" y="379"/>
                    </a:lnTo>
                    <a:lnTo>
                      <a:pt x="273" y="379"/>
                    </a:lnTo>
                    <a:lnTo>
                      <a:pt x="274" y="378"/>
                    </a:lnTo>
                    <a:lnTo>
                      <a:pt x="274" y="378"/>
                    </a:lnTo>
                    <a:lnTo>
                      <a:pt x="274" y="376"/>
                    </a:lnTo>
                    <a:lnTo>
                      <a:pt x="274" y="376"/>
                    </a:lnTo>
                    <a:lnTo>
                      <a:pt x="273" y="375"/>
                    </a:lnTo>
                    <a:lnTo>
                      <a:pt x="273" y="375"/>
                    </a:lnTo>
                    <a:lnTo>
                      <a:pt x="270" y="368"/>
                    </a:lnTo>
                    <a:lnTo>
                      <a:pt x="270" y="368"/>
                    </a:lnTo>
                    <a:lnTo>
                      <a:pt x="263" y="365"/>
                    </a:lnTo>
                    <a:lnTo>
                      <a:pt x="263" y="365"/>
                    </a:lnTo>
                    <a:lnTo>
                      <a:pt x="263" y="364"/>
                    </a:lnTo>
                    <a:lnTo>
                      <a:pt x="263" y="364"/>
                    </a:lnTo>
                    <a:lnTo>
                      <a:pt x="260" y="360"/>
                    </a:lnTo>
                    <a:lnTo>
                      <a:pt x="260" y="360"/>
                    </a:lnTo>
                    <a:lnTo>
                      <a:pt x="260" y="359"/>
                    </a:lnTo>
                    <a:lnTo>
                      <a:pt x="260" y="359"/>
                    </a:lnTo>
                    <a:lnTo>
                      <a:pt x="260" y="356"/>
                    </a:lnTo>
                    <a:lnTo>
                      <a:pt x="260" y="356"/>
                    </a:lnTo>
                    <a:lnTo>
                      <a:pt x="260" y="354"/>
                    </a:lnTo>
                    <a:lnTo>
                      <a:pt x="260" y="354"/>
                    </a:lnTo>
                    <a:lnTo>
                      <a:pt x="260" y="353"/>
                    </a:lnTo>
                    <a:lnTo>
                      <a:pt x="260" y="353"/>
                    </a:lnTo>
                    <a:lnTo>
                      <a:pt x="259" y="353"/>
                    </a:lnTo>
                    <a:lnTo>
                      <a:pt x="259" y="353"/>
                    </a:lnTo>
                    <a:lnTo>
                      <a:pt x="259" y="351"/>
                    </a:lnTo>
                    <a:lnTo>
                      <a:pt x="259" y="351"/>
                    </a:lnTo>
                    <a:lnTo>
                      <a:pt x="259" y="349"/>
                    </a:lnTo>
                    <a:lnTo>
                      <a:pt x="259" y="349"/>
                    </a:lnTo>
                    <a:lnTo>
                      <a:pt x="259" y="348"/>
                    </a:lnTo>
                    <a:lnTo>
                      <a:pt x="259" y="348"/>
                    </a:lnTo>
                    <a:lnTo>
                      <a:pt x="257" y="345"/>
                    </a:lnTo>
                    <a:lnTo>
                      <a:pt x="257" y="345"/>
                    </a:lnTo>
                    <a:lnTo>
                      <a:pt x="252" y="341"/>
                    </a:lnTo>
                    <a:lnTo>
                      <a:pt x="252" y="341"/>
                    </a:lnTo>
                    <a:lnTo>
                      <a:pt x="249" y="340"/>
                    </a:lnTo>
                    <a:lnTo>
                      <a:pt x="249" y="340"/>
                    </a:lnTo>
                    <a:lnTo>
                      <a:pt x="247" y="340"/>
                    </a:lnTo>
                    <a:lnTo>
                      <a:pt x="247" y="340"/>
                    </a:lnTo>
                    <a:lnTo>
                      <a:pt x="247" y="337"/>
                    </a:lnTo>
                    <a:lnTo>
                      <a:pt x="247" y="337"/>
                    </a:lnTo>
                    <a:lnTo>
                      <a:pt x="249" y="337"/>
                    </a:lnTo>
                    <a:lnTo>
                      <a:pt x="249" y="337"/>
                    </a:lnTo>
                    <a:lnTo>
                      <a:pt x="251" y="333"/>
                    </a:lnTo>
                    <a:lnTo>
                      <a:pt x="251" y="333"/>
                    </a:lnTo>
                    <a:lnTo>
                      <a:pt x="254" y="329"/>
                    </a:lnTo>
                    <a:lnTo>
                      <a:pt x="254" y="329"/>
                    </a:lnTo>
                    <a:lnTo>
                      <a:pt x="254" y="326"/>
                    </a:lnTo>
                    <a:lnTo>
                      <a:pt x="254" y="326"/>
                    </a:lnTo>
                    <a:lnTo>
                      <a:pt x="252" y="321"/>
                    </a:lnTo>
                    <a:lnTo>
                      <a:pt x="252" y="321"/>
                    </a:lnTo>
                    <a:lnTo>
                      <a:pt x="255" y="322"/>
                    </a:lnTo>
                    <a:lnTo>
                      <a:pt x="255" y="322"/>
                    </a:lnTo>
                    <a:lnTo>
                      <a:pt x="255" y="321"/>
                    </a:lnTo>
                    <a:lnTo>
                      <a:pt x="255" y="321"/>
                    </a:lnTo>
                    <a:lnTo>
                      <a:pt x="259" y="322"/>
                    </a:lnTo>
                    <a:lnTo>
                      <a:pt x="259" y="322"/>
                    </a:lnTo>
                    <a:lnTo>
                      <a:pt x="260" y="321"/>
                    </a:lnTo>
                    <a:lnTo>
                      <a:pt x="260" y="321"/>
                    </a:lnTo>
                    <a:lnTo>
                      <a:pt x="260" y="321"/>
                    </a:lnTo>
                    <a:lnTo>
                      <a:pt x="260" y="321"/>
                    </a:lnTo>
                    <a:lnTo>
                      <a:pt x="263" y="321"/>
                    </a:lnTo>
                    <a:lnTo>
                      <a:pt x="263" y="321"/>
                    </a:lnTo>
                    <a:lnTo>
                      <a:pt x="263" y="319"/>
                    </a:lnTo>
                    <a:lnTo>
                      <a:pt x="263" y="319"/>
                    </a:lnTo>
                    <a:lnTo>
                      <a:pt x="266" y="319"/>
                    </a:lnTo>
                    <a:lnTo>
                      <a:pt x="266" y="319"/>
                    </a:lnTo>
                    <a:lnTo>
                      <a:pt x="266" y="318"/>
                    </a:lnTo>
                    <a:lnTo>
                      <a:pt x="266" y="318"/>
                    </a:lnTo>
                    <a:lnTo>
                      <a:pt x="266" y="318"/>
                    </a:lnTo>
                    <a:lnTo>
                      <a:pt x="266" y="318"/>
                    </a:lnTo>
                    <a:lnTo>
                      <a:pt x="266" y="316"/>
                    </a:lnTo>
                    <a:lnTo>
                      <a:pt x="266" y="316"/>
                    </a:lnTo>
                    <a:lnTo>
                      <a:pt x="270" y="316"/>
                    </a:lnTo>
                    <a:lnTo>
                      <a:pt x="270" y="316"/>
                    </a:lnTo>
                    <a:lnTo>
                      <a:pt x="270" y="314"/>
                    </a:lnTo>
                    <a:lnTo>
                      <a:pt x="270" y="314"/>
                    </a:lnTo>
                    <a:lnTo>
                      <a:pt x="271" y="316"/>
                    </a:lnTo>
                    <a:lnTo>
                      <a:pt x="271" y="316"/>
                    </a:lnTo>
                    <a:lnTo>
                      <a:pt x="270" y="313"/>
                    </a:lnTo>
                    <a:lnTo>
                      <a:pt x="270" y="313"/>
                    </a:lnTo>
                    <a:lnTo>
                      <a:pt x="271" y="313"/>
                    </a:lnTo>
                    <a:lnTo>
                      <a:pt x="271" y="313"/>
                    </a:lnTo>
                    <a:lnTo>
                      <a:pt x="270" y="311"/>
                    </a:lnTo>
                    <a:lnTo>
                      <a:pt x="270" y="311"/>
                    </a:lnTo>
                    <a:lnTo>
                      <a:pt x="266" y="310"/>
                    </a:lnTo>
                    <a:lnTo>
                      <a:pt x="266" y="310"/>
                    </a:lnTo>
                    <a:lnTo>
                      <a:pt x="263" y="308"/>
                    </a:lnTo>
                    <a:lnTo>
                      <a:pt x="263" y="308"/>
                    </a:lnTo>
                    <a:lnTo>
                      <a:pt x="263" y="308"/>
                    </a:lnTo>
                    <a:lnTo>
                      <a:pt x="263" y="308"/>
                    </a:lnTo>
                    <a:lnTo>
                      <a:pt x="263" y="306"/>
                    </a:lnTo>
                    <a:lnTo>
                      <a:pt x="263" y="306"/>
                    </a:lnTo>
                    <a:lnTo>
                      <a:pt x="263" y="306"/>
                    </a:lnTo>
                    <a:lnTo>
                      <a:pt x="263" y="306"/>
                    </a:lnTo>
                    <a:lnTo>
                      <a:pt x="266" y="306"/>
                    </a:lnTo>
                    <a:lnTo>
                      <a:pt x="266" y="306"/>
                    </a:lnTo>
                    <a:lnTo>
                      <a:pt x="266" y="306"/>
                    </a:lnTo>
                    <a:lnTo>
                      <a:pt x="266" y="306"/>
                    </a:lnTo>
                    <a:lnTo>
                      <a:pt x="266" y="305"/>
                    </a:lnTo>
                    <a:lnTo>
                      <a:pt x="266" y="305"/>
                    </a:lnTo>
                    <a:lnTo>
                      <a:pt x="263" y="303"/>
                    </a:lnTo>
                    <a:lnTo>
                      <a:pt x="263" y="303"/>
                    </a:lnTo>
                    <a:lnTo>
                      <a:pt x="260" y="299"/>
                    </a:lnTo>
                    <a:lnTo>
                      <a:pt x="260" y="299"/>
                    </a:lnTo>
                    <a:lnTo>
                      <a:pt x="259" y="295"/>
                    </a:lnTo>
                    <a:lnTo>
                      <a:pt x="259" y="295"/>
                    </a:lnTo>
                    <a:lnTo>
                      <a:pt x="254" y="294"/>
                    </a:lnTo>
                    <a:lnTo>
                      <a:pt x="254" y="294"/>
                    </a:lnTo>
                    <a:lnTo>
                      <a:pt x="251" y="292"/>
                    </a:lnTo>
                    <a:lnTo>
                      <a:pt x="251" y="292"/>
                    </a:lnTo>
                    <a:lnTo>
                      <a:pt x="249" y="292"/>
                    </a:lnTo>
                    <a:lnTo>
                      <a:pt x="249" y="292"/>
                    </a:lnTo>
                    <a:lnTo>
                      <a:pt x="247" y="294"/>
                    </a:lnTo>
                    <a:lnTo>
                      <a:pt x="247" y="294"/>
                    </a:lnTo>
                    <a:lnTo>
                      <a:pt x="246" y="294"/>
                    </a:lnTo>
                    <a:lnTo>
                      <a:pt x="246" y="294"/>
                    </a:lnTo>
                    <a:lnTo>
                      <a:pt x="244" y="292"/>
                    </a:lnTo>
                    <a:lnTo>
                      <a:pt x="244" y="292"/>
                    </a:lnTo>
                    <a:lnTo>
                      <a:pt x="243" y="289"/>
                    </a:lnTo>
                    <a:lnTo>
                      <a:pt x="243" y="289"/>
                    </a:lnTo>
                    <a:lnTo>
                      <a:pt x="244" y="289"/>
                    </a:lnTo>
                    <a:lnTo>
                      <a:pt x="244" y="289"/>
                    </a:lnTo>
                    <a:lnTo>
                      <a:pt x="241" y="286"/>
                    </a:lnTo>
                    <a:lnTo>
                      <a:pt x="241" y="286"/>
                    </a:lnTo>
                    <a:lnTo>
                      <a:pt x="239" y="284"/>
                    </a:lnTo>
                    <a:lnTo>
                      <a:pt x="239" y="284"/>
                    </a:lnTo>
                    <a:lnTo>
                      <a:pt x="238" y="284"/>
                    </a:lnTo>
                    <a:lnTo>
                      <a:pt x="238" y="284"/>
                    </a:lnTo>
                    <a:lnTo>
                      <a:pt x="236" y="284"/>
                    </a:lnTo>
                    <a:lnTo>
                      <a:pt x="236" y="284"/>
                    </a:lnTo>
                    <a:lnTo>
                      <a:pt x="235" y="281"/>
                    </a:lnTo>
                    <a:lnTo>
                      <a:pt x="235" y="281"/>
                    </a:lnTo>
                    <a:lnTo>
                      <a:pt x="235" y="281"/>
                    </a:lnTo>
                    <a:lnTo>
                      <a:pt x="235" y="281"/>
                    </a:lnTo>
                    <a:lnTo>
                      <a:pt x="236" y="278"/>
                    </a:lnTo>
                    <a:lnTo>
                      <a:pt x="236" y="278"/>
                    </a:lnTo>
                    <a:lnTo>
                      <a:pt x="238" y="275"/>
                    </a:lnTo>
                    <a:lnTo>
                      <a:pt x="238" y="275"/>
                    </a:lnTo>
                    <a:lnTo>
                      <a:pt x="239" y="275"/>
                    </a:lnTo>
                    <a:lnTo>
                      <a:pt x="239" y="275"/>
                    </a:lnTo>
                    <a:lnTo>
                      <a:pt x="238" y="273"/>
                    </a:lnTo>
                    <a:lnTo>
                      <a:pt x="238" y="273"/>
                    </a:lnTo>
                    <a:lnTo>
                      <a:pt x="238" y="272"/>
                    </a:lnTo>
                    <a:lnTo>
                      <a:pt x="238" y="272"/>
                    </a:lnTo>
                    <a:lnTo>
                      <a:pt x="236" y="272"/>
                    </a:lnTo>
                    <a:lnTo>
                      <a:pt x="236" y="272"/>
                    </a:lnTo>
                    <a:lnTo>
                      <a:pt x="235" y="268"/>
                    </a:lnTo>
                    <a:lnTo>
                      <a:pt x="235" y="268"/>
                    </a:lnTo>
                    <a:lnTo>
                      <a:pt x="236" y="265"/>
                    </a:lnTo>
                    <a:lnTo>
                      <a:pt x="236" y="265"/>
                    </a:lnTo>
                    <a:lnTo>
                      <a:pt x="239" y="262"/>
                    </a:lnTo>
                    <a:lnTo>
                      <a:pt x="239" y="262"/>
                    </a:lnTo>
                    <a:lnTo>
                      <a:pt x="239" y="260"/>
                    </a:lnTo>
                    <a:lnTo>
                      <a:pt x="239" y="260"/>
                    </a:lnTo>
                    <a:lnTo>
                      <a:pt x="239" y="259"/>
                    </a:lnTo>
                    <a:lnTo>
                      <a:pt x="239" y="259"/>
                    </a:lnTo>
                    <a:lnTo>
                      <a:pt x="239" y="257"/>
                    </a:lnTo>
                    <a:lnTo>
                      <a:pt x="239" y="257"/>
                    </a:lnTo>
                    <a:lnTo>
                      <a:pt x="239" y="256"/>
                    </a:lnTo>
                    <a:lnTo>
                      <a:pt x="239" y="256"/>
                    </a:lnTo>
                    <a:lnTo>
                      <a:pt x="241" y="256"/>
                    </a:lnTo>
                    <a:lnTo>
                      <a:pt x="241" y="256"/>
                    </a:lnTo>
                    <a:lnTo>
                      <a:pt x="243" y="256"/>
                    </a:lnTo>
                    <a:lnTo>
                      <a:pt x="243" y="256"/>
                    </a:lnTo>
                    <a:lnTo>
                      <a:pt x="244" y="257"/>
                    </a:lnTo>
                    <a:lnTo>
                      <a:pt x="244" y="257"/>
                    </a:lnTo>
                    <a:lnTo>
                      <a:pt x="247" y="259"/>
                    </a:lnTo>
                    <a:lnTo>
                      <a:pt x="247" y="259"/>
                    </a:lnTo>
                    <a:lnTo>
                      <a:pt x="252" y="264"/>
                    </a:lnTo>
                    <a:lnTo>
                      <a:pt x="252" y="264"/>
                    </a:lnTo>
                    <a:lnTo>
                      <a:pt x="255" y="264"/>
                    </a:lnTo>
                    <a:lnTo>
                      <a:pt x="255" y="264"/>
                    </a:lnTo>
                    <a:lnTo>
                      <a:pt x="257" y="262"/>
                    </a:lnTo>
                    <a:lnTo>
                      <a:pt x="257" y="262"/>
                    </a:lnTo>
                    <a:lnTo>
                      <a:pt x="257" y="260"/>
                    </a:lnTo>
                    <a:lnTo>
                      <a:pt x="257" y="260"/>
                    </a:lnTo>
                    <a:lnTo>
                      <a:pt x="255" y="256"/>
                    </a:lnTo>
                    <a:lnTo>
                      <a:pt x="255" y="256"/>
                    </a:lnTo>
                    <a:lnTo>
                      <a:pt x="254" y="254"/>
                    </a:lnTo>
                    <a:lnTo>
                      <a:pt x="254" y="254"/>
                    </a:lnTo>
                    <a:lnTo>
                      <a:pt x="252" y="252"/>
                    </a:lnTo>
                    <a:lnTo>
                      <a:pt x="252" y="252"/>
                    </a:lnTo>
                    <a:lnTo>
                      <a:pt x="257" y="252"/>
                    </a:lnTo>
                    <a:lnTo>
                      <a:pt x="257" y="252"/>
                    </a:lnTo>
                    <a:lnTo>
                      <a:pt x="260" y="249"/>
                    </a:lnTo>
                    <a:lnTo>
                      <a:pt x="260" y="249"/>
                    </a:lnTo>
                    <a:lnTo>
                      <a:pt x="260" y="249"/>
                    </a:lnTo>
                    <a:lnTo>
                      <a:pt x="260" y="249"/>
                    </a:lnTo>
                    <a:lnTo>
                      <a:pt x="260" y="249"/>
                    </a:lnTo>
                    <a:lnTo>
                      <a:pt x="260" y="249"/>
                    </a:lnTo>
                    <a:lnTo>
                      <a:pt x="260" y="246"/>
                    </a:lnTo>
                    <a:lnTo>
                      <a:pt x="260" y="246"/>
                    </a:lnTo>
                    <a:lnTo>
                      <a:pt x="260" y="246"/>
                    </a:lnTo>
                    <a:lnTo>
                      <a:pt x="260" y="246"/>
                    </a:lnTo>
                    <a:lnTo>
                      <a:pt x="263" y="246"/>
                    </a:lnTo>
                    <a:lnTo>
                      <a:pt x="263" y="246"/>
                    </a:lnTo>
                    <a:lnTo>
                      <a:pt x="266" y="243"/>
                    </a:lnTo>
                    <a:lnTo>
                      <a:pt x="266" y="243"/>
                    </a:lnTo>
                    <a:lnTo>
                      <a:pt x="266" y="243"/>
                    </a:lnTo>
                    <a:lnTo>
                      <a:pt x="266" y="243"/>
                    </a:lnTo>
                    <a:lnTo>
                      <a:pt x="270" y="243"/>
                    </a:lnTo>
                    <a:lnTo>
                      <a:pt x="270" y="243"/>
                    </a:lnTo>
                    <a:lnTo>
                      <a:pt x="270" y="243"/>
                    </a:lnTo>
                    <a:lnTo>
                      <a:pt x="270" y="243"/>
                    </a:lnTo>
                    <a:lnTo>
                      <a:pt x="270" y="240"/>
                    </a:lnTo>
                    <a:lnTo>
                      <a:pt x="270" y="240"/>
                    </a:lnTo>
                    <a:lnTo>
                      <a:pt x="271" y="240"/>
                    </a:lnTo>
                    <a:lnTo>
                      <a:pt x="271" y="240"/>
                    </a:lnTo>
                    <a:lnTo>
                      <a:pt x="273" y="240"/>
                    </a:lnTo>
                    <a:lnTo>
                      <a:pt x="273" y="240"/>
                    </a:lnTo>
                    <a:lnTo>
                      <a:pt x="273" y="238"/>
                    </a:lnTo>
                    <a:lnTo>
                      <a:pt x="273" y="238"/>
                    </a:lnTo>
                    <a:lnTo>
                      <a:pt x="276" y="238"/>
                    </a:lnTo>
                    <a:lnTo>
                      <a:pt x="276" y="238"/>
                    </a:lnTo>
                    <a:lnTo>
                      <a:pt x="279" y="240"/>
                    </a:lnTo>
                    <a:lnTo>
                      <a:pt x="279" y="240"/>
                    </a:lnTo>
                    <a:lnTo>
                      <a:pt x="281" y="240"/>
                    </a:lnTo>
                    <a:lnTo>
                      <a:pt x="281" y="240"/>
                    </a:lnTo>
                    <a:lnTo>
                      <a:pt x="282" y="240"/>
                    </a:lnTo>
                    <a:lnTo>
                      <a:pt x="282" y="240"/>
                    </a:lnTo>
                    <a:lnTo>
                      <a:pt x="284" y="240"/>
                    </a:lnTo>
                    <a:lnTo>
                      <a:pt x="284" y="240"/>
                    </a:lnTo>
                    <a:lnTo>
                      <a:pt x="284" y="240"/>
                    </a:lnTo>
                    <a:lnTo>
                      <a:pt x="284" y="240"/>
                    </a:lnTo>
                    <a:lnTo>
                      <a:pt x="286" y="238"/>
                    </a:lnTo>
                    <a:lnTo>
                      <a:pt x="286" y="238"/>
                    </a:lnTo>
                    <a:lnTo>
                      <a:pt x="290" y="237"/>
                    </a:lnTo>
                    <a:lnTo>
                      <a:pt x="290" y="237"/>
                    </a:lnTo>
                    <a:lnTo>
                      <a:pt x="292" y="240"/>
                    </a:lnTo>
                    <a:lnTo>
                      <a:pt x="292" y="240"/>
                    </a:lnTo>
                    <a:lnTo>
                      <a:pt x="292" y="240"/>
                    </a:lnTo>
                    <a:lnTo>
                      <a:pt x="292" y="240"/>
                    </a:lnTo>
                    <a:lnTo>
                      <a:pt x="295" y="240"/>
                    </a:lnTo>
                    <a:lnTo>
                      <a:pt x="295" y="240"/>
                    </a:lnTo>
                    <a:lnTo>
                      <a:pt x="295" y="240"/>
                    </a:lnTo>
                    <a:lnTo>
                      <a:pt x="295" y="240"/>
                    </a:lnTo>
                    <a:lnTo>
                      <a:pt x="301" y="240"/>
                    </a:lnTo>
                    <a:lnTo>
                      <a:pt x="301" y="240"/>
                    </a:lnTo>
                    <a:lnTo>
                      <a:pt x="301" y="240"/>
                    </a:lnTo>
                    <a:lnTo>
                      <a:pt x="301" y="240"/>
                    </a:lnTo>
                    <a:lnTo>
                      <a:pt x="305" y="243"/>
                    </a:lnTo>
                    <a:lnTo>
                      <a:pt x="305" y="243"/>
                    </a:lnTo>
                    <a:lnTo>
                      <a:pt x="306" y="243"/>
                    </a:lnTo>
                    <a:lnTo>
                      <a:pt x="306" y="243"/>
                    </a:lnTo>
                    <a:lnTo>
                      <a:pt x="311" y="246"/>
                    </a:lnTo>
                    <a:lnTo>
                      <a:pt x="311" y="246"/>
                    </a:lnTo>
                    <a:lnTo>
                      <a:pt x="317" y="249"/>
                    </a:lnTo>
                    <a:lnTo>
                      <a:pt x="317" y="249"/>
                    </a:lnTo>
                    <a:lnTo>
                      <a:pt x="317" y="252"/>
                    </a:lnTo>
                    <a:lnTo>
                      <a:pt x="317" y="252"/>
                    </a:lnTo>
                    <a:lnTo>
                      <a:pt x="317" y="254"/>
                    </a:lnTo>
                    <a:lnTo>
                      <a:pt x="317" y="254"/>
                    </a:lnTo>
                    <a:lnTo>
                      <a:pt x="319" y="254"/>
                    </a:lnTo>
                    <a:lnTo>
                      <a:pt x="319" y="254"/>
                    </a:lnTo>
                    <a:lnTo>
                      <a:pt x="319" y="252"/>
                    </a:lnTo>
                    <a:lnTo>
                      <a:pt x="319" y="252"/>
                    </a:lnTo>
                    <a:lnTo>
                      <a:pt x="319" y="251"/>
                    </a:lnTo>
                    <a:lnTo>
                      <a:pt x="319" y="251"/>
                    </a:lnTo>
                    <a:lnTo>
                      <a:pt x="317" y="249"/>
                    </a:lnTo>
                    <a:lnTo>
                      <a:pt x="317" y="249"/>
                    </a:lnTo>
                    <a:lnTo>
                      <a:pt x="319" y="246"/>
                    </a:lnTo>
                    <a:lnTo>
                      <a:pt x="319" y="246"/>
                    </a:lnTo>
                    <a:lnTo>
                      <a:pt x="320" y="249"/>
                    </a:lnTo>
                    <a:lnTo>
                      <a:pt x="320" y="249"/>
                    </a:lnTo>
                    <a:lnTo>
                      <a:pt x="322" y="249"/>
                    </a:lnTo>
                    <a:lnTo>
                      <a:pt x="322" y="249"/>
                    </a:lnTo>
                    <a:lnTo>
                      <a:pt x="325" y="251"/>
                    </a:lnTo>
                    <a:lnTo>
                      <a:pt x="325" y="251"/>
                    </a:lnTo>
                    <a:lnTo>
                      <a:pt x="328" y="252"/>
                    </a:lnTo>
                    <a:lnTo>
                      <a:pt x="328" y="252"/>
                    </a:lnTo>
                    <a:lnTo>
                      <a:pt x="332" y="252"/>
                    </a:lnTo>
                    <a:lnTo>
                      <a:pt x="332" y="252"/>
                    </a:lnTo>
                    <a:lnTo>
                      <a:pt x="333" y="251"/>
                    </a:lnTo>
                    <a:lnTo>
                      <a:pt x="333" y="251"/>
                    </a:lnTo>
                    <a:lnTo>
                      <a:pt x="335" y="249"/>
                    </a:lnTo>
                    <a:lnTo>
                      <a:pt x="335" y="249"/>
                    </a:lnTo>
                    <a:lnTo>
                      <a:pt x="336" y="249"/>
                    </a:lnTo>
                    <a:lnTo>
                      <a:pt x="336" y="249"/>
                    </a:lnTo>
                    <a:lnTo>
                      <a:pt x="336" y="246"/>
                    </a:lnTo>
                    <a:lnTo>
                      <a:pt x="336" y="246"/>
                    </a:lnTo>
                    <a:lnTo>
                      <a:pt x="340" y="249"/>
                    </a:lnTo>
                    <a:lnTo>
                      <a:pt x="340" y="249"/>
                    </a:lnTo>
                    <a:lnTo>
                      <a:pt x="341" y="246"/>
                    </a:lnTo>
                    <a:lnTo>
                      <a:pt x="341" y="246"/>
                    </a:lnTo>
                    <a:lnTo>
                      <a:pt x="343" y="246"/>
                    </a:lnTo>
                    <a:lnTo>
                      <a:pt x="343" y="246"/>
                    </a:lnTo>
                    <a:lnTo>
                      <a:pt x="346" y="246"/>
                    </a:lnTo>
                    <a:lnTo>
                      <a:pt x="346" y="246"/>
                    </a:lnTo>
                    <a:lnTo>
                      <a:pt x="349" y="249"/>
                    </a:lnTo>
                    <a:lnTo>
                      <a:pt x="349" y="249"/>
                    </a:lnTo>
                    <a:lnTo>
                      <a:pt x="351" y="249"/>
                    </a:lnTo>
                    <a:lnTo>
                      <a:pt x="351" y="249"/>
                    </a:lnTo>
                    <a:lnTo>
                      <a:pt x="351" y="249"/>
                    </a:lnTo>
                    <a:lnTo>
                      <a:pt x="351" y="249"/>
                    </a:lnTo>
                    <a:lnTo>
                      <a:pt x="351" y="246"/>
                    </a:lnTo>
                    <a:lnTo>
                      <a:pt x="351" y="246"/>
                    </a:lnTo>
                    <a:lnTo>
                      <a:pt x="354" y="246"/>
                    </a:lnTo>
                    <a:lnTo>
                      <a:pt x="354" y="246"/>
                    </a:lnTo>
                    <a:lnTo>
                      <a:pt x="354" y="246"/>
                    </a:lnTo>
                    <a:lnTo>
                      <a:pt x="354" y="246"/>
                    </a:lnTo>
                    <a:lnTo>
                      <a:pt x="357" y="246"/>
                    </a:lnTo>
                    <a:lnTo>
                      <a:pt x="357" y="246"/>
                    </a:lnTo>
                    <a:lnTo>
                      <a:pt x="357" y="246"/>
                    </a:lnTo>
                    <a:lnTo>
                      <a:pt x="357" y="246"/>
                    </a:lnTo>
                    <a:lnTo>
                      <a:pt x="360" y="246"/>
                    </a:lnTo>
                    <a:lnTo>
                      <a:pt x="360" y="246"/>
                    </a:lnTo>
                    <a:lnTo>
                      <a:pt x="362" y="249"/>
                    </a:lnTo>
                    <a:lnTo>
                      <a:pt x="362" y="249"/>
                    </a:lnTo>
                    <a:lnTo>
                      <a:pt x="365" y="251"/>
                    </a:lnTo>
                    <a:lnTo>
                      <a:pt x="365" y="251"/>
                    </a:lnTo>
                    <a:lnTo>
                      <a:pt x="368" y="252"/>
                    </a:lnTo>
                    <a:lnTo>
                      <a:pt x="368" y="252"/>
                    </a:lnTo>
                    <a:lnTo>
                      <a:pt x="371" y="252"/>
                    </a:lnTo>
                    <a:lnTo>
                      <a:pt x="371" y="252"/>
                    </a:lnTo>
                    <a:lnTo>
                      <a:pt x="373" y="252"/>
                    </a:lnTo>
                    <a:lnTo>
                      <a:pt x="373" y="252"/>
                    </a:lnTo>
                    <a:lnTo>
                      <a:pt x="373" y="254"/>
                    </a:lnTo>
                    <a:lnTo>
                      <a:pt x="373" y="254"/>
                    </a:lnTo>
                    <a:lnTo>
                      <a:pt x="374" y="254"/>
                    </a:lnTo>
                    <a:lnTo>
                      <a:pt x="374" y="254"/>
                    </a:lnTo>
                    <a:lnTo>
                      <a:pt x="376" y="252"/>
                    </a:lnTo>
                    <a:lnTo>
                      <a:pt x="376" y="252"/>
                    </a:lnTo>
                    <a:lnTo>
                      <a:pt x="376" y="251"/>
                    </a:lnTo>
                    <a:lnTo>
                      <a:pt x="376" y="251"/>
                    </a:lnTo>
                    <a:lnTo>
                      <a:pt x="378" y="249"/>
                    </a:lnTo>
                    <a:lnTo>
                      <a:pt x="378" y="249"/>
                    </a:lnTo>
                    <a:lnTo>
                      <a:pt x="379" y="249"/>
                    </a:lnTo>
                    <a:lnTo>
                      <a:pt x="379" y="249"/>
                    </a:lnTo>
                    <a:lnTo>
                      <a:pt x="381" y="251"/>
                    </a:lnTo>
                    <a:lnTo>
                      <a:pt x="381" y="251"/>
                    </a:lnTo>
                    <a:lnTo>
                      <a:pt x="386" y="252"/>
                    </a:lnTo>
                    <a:lnTo>
                      <a:pt x="386" y="252"/>
                    </a:lnTo>
                    <a:lnTo>
                      <a:pt x="389" y="251"/>
                    </a:lnTo>
                    <a:lnTo>
                      <a:pt x="389" y="251"/>
                    </a:lnTo>
                    <a:lnTo>
                      <a:pt x="392" y="251"/>
                    </a:lnTo>
                    <a:lnTo>
                      <a:pt x="392" y="251"/>
                    </a:lnTo>
                    <a:lnTo>
                      <a:pt x="392" y="249"/>
                    </a:lnTo>
                    <a:lnTo>
                      <a:pt x="392" y="249"/>
                    </a:lnTo>
                    <a:lnTo>
                      <a:pt x="392" y="246"/>
                    </a:lnTo>
                    <a:lnTo>
                      <a:pt x="392" y="246"/>
                    </a:lnTo>
                    <a:lnTo>
                      <a:pt x="392" y="246"/>
                    </a:lnTo>
                    <a:lnTo>
                      <a:pt x="392" y="246"/>
                    </a:lnTo>
                    <a:lnTo>
                      <a:pt x="395" y="243"/>
                    </a:lnTo>
                    <a:lnTo>
                      <a:pt x="395" y="243"/>
                    </a:lnTo>
                    <a:lnTo>
                      <a:pt x="392" y="243"/>
                    </a:lnTo>
                    <a:lnTo>
                      <a:pt x="392" y="243"/>
                    </a:lnTo>
                    <a:lnTo>
                      <a:pt x="389" y="243"/>
                    </a:lnTo>
                    <a:lnTo>
                      <a:pt x="389" y="243"/>
                    </a:lnTo>
                    <a:lnTo>
                      <a:pt x="386" y="243"/>
                    </a:lnTo>
                    <a:lnTo>
                      <a:pt x="386" y="243"/>
                    </a:lnTo>
                    <a:lnTo>
                      <a:pt x="386" y="240"/>
                    </a:lnTo>
                    <a:lnTo>
                      <a:pt x="386" y="240"/>
                    </a:lnTo>
                    <a:lnTo>
                      <a:pt x="384" y="240"/>
                    </a:lnTo>
                    <a:lnTo>
                      <a:pt x="384" y="240"/>
                    </a:lnTo>
                    <a:lnTo>
                      <a:pt x="382" y="240"/>
                    </a:lnTo>
                    <a:lnTo>
                      <a:pt x="382" y="240"/>
                    </a:lnTo>
                    <a:lnTo>
                      <a:pt x="381" y="240"/>
                    </a:lnTo>
                    <a:lnTo>
                      <a:pt x="381" y="240"/>
                    </a:lnTo>
                    <a:lnTo>
                      <a:pt x="378" y="238"/>
                    </a:lnTo>
                    <a:lnTo>
                      <a:pt x="378" y="238"/>
                    </a:lnTo>
                    <a:lnTo>
                      <a:pt x="374" y="237"/>
                    </a:lnTo>
                    <a:lnTo>
                      <a:pt x="374" y="237"/>
                    </a:lnTo>
                    <a:lnTo>
                      <a:pt x="373" y="237"/>
                    </a:lnTo>
                    <a:lnTo>
                      <a:pt x="373" y="237"/>
                    </a:lnTo>
                    <a:lnTo>
                      <a:pt x="373" y="235"/>
                    </a:lnTo>
                    <a:lnTo>
                      <a:pt x="373" y="235"/>
                    </a:lnTo>
                    <a:lnTo>
                      <a:pt x="378" y="232"/>
                    </a:lnTo>
                    <a:lnTo>
                      <a:pt x="378" y="232"/>
                    </a:lnTo>
                    <a:lnTo>
                      <a:pt x="379" y="232"/>
                    </a:lnTo>
                    <a:lnTo>
                      <a:pt x="379" y="232"/>
                    </a:lnTo>
                    <a:lnTo>
                      <a:pt x="382" y="229"/>
                    </a:lnTo>
                    <a:lnTo>
                      <a:pt x="382" y="229"/>
                    </a:lnTo>
                    <a:lnTo>
                      <a:pt x="378" y="224"/>
                    </a:lnTo>
                    <a:lnTo>
                      <a:pt x="378" y="224"/>
                    </a:lnTo>
                    <a:lnTo>
                      <a:pt x="379" y="222"/>
                    </a:lnTo>
                    <a:lnTo>
                      <a:pt x="379" y="222"/>
                    </a:lnTo>
                    <a:lnTo>
                      <a:pt x="379" y="221"/>
                    </a:lnTo>
                    <a:lnTo>
                      <a:pt x="379" y="221"/>
                    </a:lnTo>
                    <a:lnTo>
                      <a:pt x="379" y="219"/>
                    </a:lnTo>
                    <a:lnTo>
                      <a:pt x="379" y="219"/>
                    </a:lnTo>
                    <a:lnTo>
                      <a:pt x="384" y="219"/>
                    </a:lnTo>
                    <a:lnTo>
                      <a:pt x="384" y="219"/>
                    </a:lnTo>
                    <a:lnTo>
                      <a:pt x="386" y="221"/>
                    </a:lnTo>
                    <a:lnTo>
                      <a:pt x="386" y="221"/>
                    </a:lnTo>
                    <a:lnTo>
                      <a:pt x="392" y="219"/>
                    </a:lnTo>
                    <a:lnTo>
                      <a:pt x="392" y="219"/>
                    </a:lnTo>
                    <a:lnTo>
                      <a:pt x="389" y="218"/>
                    </a:lnTo>
                    <a:lnTo>
                      <a:pt x="389" y="218"/>
                    </a:lnTo>
                    <a:lnTo>
                      <a:pt x="389" y="218"/>
                    </a:lnTo>
                    <a:lnTo>
                      <a:pt x="389" y="218"/>
                    </a:lnTo>
                    <a:lnTo>
                      <a:pt x="379" y="216"/>
                    </a:lnTo>
                    <a:lnTo>
                      <a:pt x="379" y="216"/>
                    </a:lnTo>
                    <a:lnTo>
                      <a:pt x="379" y="214"/>
                    </a:lnTo>
                    <a:lnTo>
                      <a:pt x="379" y="214"/>
                    </a:lnTo>
                    <a:lnTo>
                      <a:pt x="381" y="214"/>
                    </a:lnTo>
                    <a:lnTo>
                      <a:pt x="381" y="214"/>
                    </a:lnTo>
                    <a:lnTo>
                      <a:pt x="384" y="214"/>
                    </a:lnTo>
                    <a:lnTo>
                      <a:pt x="384" y="214"/>
                    </a:lnTo>
                    <a:lnTo>
                      <a:pt x="382" y="213"/>
                    </a:lnTo>
                    <a:lnTo>
                      <a:pt x="382" y="213"/>
                    </a:lnTo>
                    <a:lnTo>
                      <a:pt x="382" y="211"/>
                    </a:lnTo>
                    <a:lnTo>
                      <a:pt x="382" y="211"/>
                    </a:lnTo>
                    <a:lnTo>
                      <a:pt x="381" y="211"/>
                    </a:lnTo>
                    <a:lnTo>
                      <a:pt x="381" y="211"/>
                    </a:lnTo>
                    <a:lnTo>
                      <a:pt x="379" y="211"/>
                    </a:lnTo>
                    <a:lnTo>
                      <a:pt x="379" y="211"/>
                    </a:lnTo>
                    <a:lnTo>
                      <a:pt x="378" y="211"/>
                    </a:lnTo>
                    <a:lnTo>
                      <a:pt x="378" y="211"/>
                    </a:lnTo>
                    <a:lnTo>
                      <a:pt x="376" y="211"/>
                    </a:lnTo>
                    <a:lnTo>
                      <a:pt x="376" y="211"/>
                    </a:lnTo>
                    <a:lnTo>
                      <a:pt x="378" y="211"/>
                    </a:lnTo>
                    <a:lnTo>
                      <a:pt x="378" y="211"/>
                    </a:lnTo>
                    <a:lnTo>
                      <a:pt x="378" y="208"/>
                    </a:lnTo>
                    <a:lnTo>
                      <a:pt x="378" y="208"/>
                    </a:lnTo>
                    <a:lnTo>
                      <a:pt x="374" y="208"/>
                    </a:lnTo>
                    <a:lnTo>
                      <a:pt x="374" y="208"/>
                    </a:lnTo>
                    <a:lnTo>
                      <a:pt x="378" y="208"/>
                    </a:lnTo>
                    <a:lnTo>
                      <a:pt x="378" y="208"/>
                    </a:lnTo>
                    <a:lnTo>
                      <a:pt x="378" y="205"/>
                    </a:lnTo>
                    <a:lnTo>
                      <a:pt x="378" y="205"/>
                    </a:lnTo>
                    <a:lnTo>
                      <a:pt x="379" y="205"/>
                    </a:lnTo>
                    <a:lnTo>
                      <a:pt x="379" y="205"/>
                    </a:lnTo>
                    <a:lnTo>
                      <a:pt x="381" y="205"/>
                    </a:lnTo>
                    <a:lnTo>
                      <a:pt x="381" y="205"/>
                    </a:lnTo>
                    <a:lnTo>
                      <a:pt x="384" y="208"/>
                    </a:lnTo>
                    <a:lnTo>
                      <a:pt x="384" y="208"/>
                    </a:lnTo>
                    <a:lnTo>
                      <a:pt x="384" y="208"/>
                    </a:lnTo>
                    <a:lnTo>
                      <a:pt x="386" y="205"/>
                    </a:lnTo>
                    <a:lnTo>
                      <a:pt x="386" y="205"/>
                    </a:lnTo>
                    <a:lnTo>
                      <a:pt x="389" y="205"/>
                    </a:lnTo>
                    <a:lnTo>
                      <a:pt x="389" y="205"/>
                    </a:lnTo>
                    <a:lnTo>
                      <a:pt x="389" y="205"/>
                    </a:lnTo>
                    <a:lnTo>
                      <a:pt x="389" y="205"/>
                    </a:lnTo>
                    <a:lnTo>
                      <a:pt x="392" y="208"/>
                    </a:lnTo>
                    <a:lnTo>
                      <a:pt x="392" y="208"/>
                    </a:lnTo>
                    <a:lnTo>
                      <a:pt x="392" y="205"/>
                    </a:lnTo>
                    <a:lnTo>
                      <a:pt x="392" y="205"/>
                    </a:lnTo>
                    <a:lnTo>
                      <a:pt x="392" y="205"/>
                    </a:lnTo>
                    <a:lnTo>
                      <a:pt x="394" y="205"/>
                    </a:lnTo>
                    <a:lnTo>
                      <a:pt x="394" y="205"/>
                    </a:lnTo>
                    <a:lnTo>
                      <a:pt x="397" y="205"/>
                    </a:lnTo>
                    <a:lnTo>
                      <a:pt x="397" y="205"/>
                    </a:lnTo>
                    <a:lnTo>
                      <a:pt x="398" y="203"/>
                    </a:lnTo>
                    <a:lnTo>
                      <a:pt x="398" y="203"/>
                    </a:lnTo>
                    <a:lnTo>
                      <a:pt x="400" y="203"/>
                    </a:lnTo>
                    <a:lnTo>
                      <a:pt x="400" y="203"/>
                    </a:lnTo>
                    <a:lnTo>
                      <a:pt x="400" y="203"/>
                    </a:lnTo>
                    <a:lnTo>
                      <a:pt x="401" y="203"/>
                    </a:lnTo>
                    <a:lnTo>
                      <a:pt x="401" y="203"/>
                    </a:lnTo>
                    <a:lnTo>
                      <a:pt x="401" y="202"/>
                    </a:lnTo>
                    <a:lnTo>
                      <a:pt x="401" y="202"/>
                    </a:lnTo>
                    <a:lnTo>
                      <a:pt x="401" y="202"/>
                    </a:lnTo>
                    <a:lnTo>
                      <a:pt x="401" y="202"/>
                    </a:lnTo>
                    <a:lnTo>
                      <a:pt x="401" y="200"/>
                    </a:lnTo>
                    <a:lnTo>
                      <a:pt x="401" y="200"/>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sp>
            <p:nvSpPr>
              <p:cNvPr id="1177" name="Freeform 383">
                <a:extLst>
                  <a:ext uri="{FF2B5EF4-FFF2-40B4-BE49-F238E27FC236}">
                    <a16:creationId xmlns:a16="http://schemas.microsoft.com/office/drawing/2014/main" id="{814E0270-AAED-2216-0670-7CDB1FF54D17}"/>
                  </a:ext>
                </a:extLst>
              </p:cNvPr>
              <p:cNvSpPr>
                <a:spLocks/>
              </p:cNvSpPr>
              <p:nvPr/>
            </p:nvSpPr>
            <p:spPr bwMode="auto">
              <a:xfrm>
                <a:off x="6969215" y="2250839"/>
                <a:ext cx="1011626" cy="468802"/>
              </a:xfrm>
              <a:custGeom>
                <a:avLst/>
                <a:gdLst>
                  <a:gd name="T0" fmla="*/ 439 w 451"/>
                  <a:gd name="T1" fmla="*/ 78 h 209"/>
                  <a:gd name="T2" fmla="*/ 419 w 451"/>
                  <a:gd name="T3" fmla="*/ 74 h 209"/>
                  <a:gd name="T4" fmla="*/ 391 w 451"/>
                  <a:gd name="T5" fmla="*/ 62 h 209"/>
                  <a:gd name="T6" fmla="*/ 375 w 451"/>
                  <a:gd name="T7" fmla="*/ 63 h 209"/>
                  <a:gd name="T8" fmla="*/ 364 w 451"/>
                  <a:gd name="T9" fmla="*/ 59 h 209"/>
                  <a:gd name="T10" fmla="*/ 335 w 451"/>
                  <a:gd name="T11" fmla="*/ 39 h 209"/>
                  <a:gd name="T12" fmla="*/ 304 w 451"/>
                  <a:gd name="T13" fmla="*/ 14 h 209"/>
                  <a:gd name="T14" fmla="*/ 285 w 451"/>
                  <a:gd name="T15" fmla="*/ 27 h 209"/>
                  <a:gd name="T16" fmla="*/ 275 w 451"/>
                  <a:gd name="T17" fmla="*/ 17 h 209"/>
                  <a:gd name="T18" fmla="*/ 261 w 451"/>
                  <a:gd name="T19" fmla="*/ 19 h 209"/>
                  <a:gd name="T20" fmla="*/ 246 w 451"/>
                  <a:gd name="T21" fmla="*/ 17 h 209"/>
                  <a:gd name="T22" fmla="*/ 237 w 451"/>
                  <a:gd name="T23" fmla="*/ 3 h 209"/>
                  <a:gd name="T24" fmla="*/ 215 w 451"/>
                  <a:gd name="T25" fmla="*/ 1 h 209"/>
                  <a:gd name="T26" fmla="*/ 188 w 451"/>
                  <a:gd name="T27" fmla="*/ 11 h 209"/>
                  <a:gd name="T28" fmla="*/ 165 w 451"/>
                  <a:gd name="T29" fmla="*/ 17 h 209"/>
                  <a:gd name="T30" fmla="*/ 153 w 451"/>
                  <a:gd name="T31" fmla="*/ 19 h 209"/>
                  <a:gd name="T32" fmla="*/ 142 w 451"/>
                  <a:gd name="T33" fmla="*/ 22 h 209"/>
                  <a:gd name="T34" fmla="*/ 143 w 451"/>
                  <a:gd name="T35" fmla="*/ 28 h 209"/>
                  <a:gd name="T36" fmla="*/ 143 w 451"/>
                  <a:gd name="T37" fmla="*/ 36 h 209"/>
                  <a:gd name="T38" fmla="*/ 146 w 451"/>
                  <a:gd name="T39" fmla="*/ 52 h 209"/>
                  <a:gd name="T40" fmla="*/ 156 w 451"/>
                  <a:gd name="T41" fmla="*/ 63 h 209"/>
                  <a:gd name="T42" fmla="*/ 137 w 451"/>
                  <a:gd name="T43" fmla="*/ 68 h 209"/>
                  <a:gd name="T44" fmla="*/ 119 w 451"/>
                  <a:gd name="T45" fmla="*/ 60 h 209"/>
                  <a:gd name="T46" fmla="*/ 100 w 451"/>
                  <a:gd name="T47" fmla="*/ 60 h 209"/>
                  <a:gd name="T48" fmla="*/ 83 w 451"/>
                  <a:gd name="T49" fmla="*/ 60 h 209"/>
                  <a:gd name="T50" fmla="*/ 69 w 451"/>
                  <a:gd name="T51" fmla="*/ 55 h 209"/>
                  <a:gd name="T52" fmla="*/ 48 w 451"/>
                  <a:gd name="T53" fmla="*/ 52 h 209"/>
                  <a:gd name="T54" fmla="*/ 35 w 451"/>
                  <a:gd name="T55" fmla="*/ 55 h 209"/>
                  <a:gd name="T56" fmla="*/ 24 w 451"/>
                  <a:gd name="T57" fmla="*/ 63 h 209"/>
                  <a:gd name="T58" fmla="*/ 10 w 451"/>
                  <a:gd name="T59" fmla="*/ 71 h 209"/>
                  <a:gd name="T60" fmla="*/ 0 w 451"/>
                  <a:gd name="T61" fmla="*/ 81 h 209"/>
                  <a:gd name="T62" fmla="*/ 3 w 451"/>
                  <a:gd name="T63" fmla="*/ 98 h 209"/>
                  <a:gd name="T64" fmla="*/ 15 w 451"/>
                  <a:gd name="T65" fmla="*/ 106 h 209"/>
                  <a:gd name="T66" fmla="*/ 29 w 451"/>
                  <a:gd name="T67" fmla="*/ 122 h 209"/>
                  <a:gd name="T68" fmla="*/ 40 w 451"/>
                  <a:gd name="T69" fmla="*/ 124 h 209"/>
                  <a:gd name="T70" fmla="*/ 69 w 451"/>
                  <a:gd name="T71" fmla="*/ 119 h 209"/>
                  <a:gd name="T72" fmla="*/ 78 w 451"/>
                  <a:gd name="T73" fmla="*/ 138 h 209"/>
                  <a:gd name="T74" fmla="*/ 59 w 451"/>
                  <a:gd name="T75" fmla="*/ 147 h 209"/>
                  <a:gd name="T76" fmla="*/ 53 w 451"/>
                  <a:gd name="T77" fmla="*/ 154 h 209"/>
                  <a:gd name="T78" fmla="*/ 72 w 451"/>
                  <a:gd name="T79" fmla="*/ 171 h 209"/>
                  <a:gd name="T80" fmla="*/ 84 w 451"/>
                  <a:gd name="T81" fmla="*/ 186 h 209"/>
                  <a:gd name="T82" fmla="*/ 104 w 451"/>
                  <a:gd name="T83" fmla="*/ 184 h 209"/>
                  <a:gd name="T84" fmla="*/ 118 w 451"/>
                  <a:gd name="T85" fmla="*/ 144 h 209"/>
                  <a:gd name="T86" fmla="*/ 153 w 451"/>
                  <a:gd name="T87" fmla="*/ 135 h 209"/>
                  <a:gd name="T88" fmla="*/ 161 w 451"/>
                  <a:gd name="T89" fmla="*/ 130 h 209"/>
                  <a:gd name="T90" fmla="*/ 162 w 451"/>
                  <a:gd name="T91" fmla="*/ 138 h 209"/>
                  <a:gd name="T92" fmla="*/ 172 w 451"/>
                  <a:gd name="T93" fmla="*/ 152 h 209"/>
                  <a:gd name="T94" fmla="*/ 215 w 451"/>
                  <a:gd name="T95" fmla="*/ 165 h 209"/>
                  <a:gd name="T96" fmla="*/ 237 w 451"/>
                  <a:gd name="T97" fmla="*/ 174 h 209"/>
                  <a:gd name="T98" fmla="*/ 258 w 451"/>
                  <a:gd name="T99" fmla="*/ 200 h 209"/>
                  <a:gd name="T100" fmla="*/ 275 w 451"/>
                  <a:gd name="T101" fmla="*/ 203 h 209"/>
                  <a:gd name="T102" fmla="*/ 294 w 451"/>
                  <a:gd name="T103" fmla="*/ 187 h 209"/>
                  <a:gd name="T104" fmla="*/ 310 w 451"/>
                  <a:gd name="T105" fmla="*/ 178 h 209"/>
                  <a:gd name="T106" fmla="*/ 327 w 451"/>
                  <a:gd name="T107" fmla="*/ 171 h 209"/>
                  <a:gd name="T108" fmla="*/ 356 w 451"/>
                  <a:gd name="T109" fmla="*/ 174 h 209"/>
                  <a:gd name="T110" fmla="*/ 388 w 451"/>
                  <a:gd name="T111" fmla="*/ 178 h 209"/>
                  <a:gd name="T112" fmla="*/ 407 w 451"/>
                  <a:gd name="T113" fmla="*/ 182 h 209"/>
                  <a:gd name="T114" fmla="*/ 407 w 451"/>
                  <a:gd name="T115" fmla="*/ 168 h 209"/>
                  <a:gd name="T116" fmla="*/ 391 w 451"/>
                  <a:gd name="T117" fmla="*/ 147 h 209"/>
                  <a:gd name="T118" fmla="*/ 419 w 451"/>
                  <a:gd name="T119" fmla="*/ 143 h 209"/>
                  <a:gd name="T120" fmla="*/ 415 w 451"/>
                  <a:gd name="T121" fmla="*/ 116 h 209"/>
                  <a:gd name="T122" fmla="*/ 442 w 451"/>
                  <a:gd name="T123" fmla="*/ 113 h 209"/>
                  <a:gd name="T124" fmla="*/ 445 w 451"/>
                  <a:gd name="T125" fmla="*/ 8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1" h="209">
                    <a:moveTo>
                      <a:pt x="451" y="87"/>
                    </a:moveTo>
                    <a:lnTo>
                      <a:pt x="451" y="87"/>
                    </a:lnTo>
                    <a:lnTo>
                      <a:pt x="450" y="87"/>
                    </a:lnTo>
                    <a:lnTo>
                      <a:pt x="450" y="87"/>
                    </a:lnTo>
                    <a:lnTo>
                      <a:pt x="448" y="87"/>
                    </a:lnTo>
                    <a:lnTo>
                      <a:pt x="448" y="87"/>
                    </a:lnTo>
                    <a:lnTo>
                      <a:pt x="448" y="86"/>
                    </a:lnTo>
                    <a:lnTo>
                      <a:pt x="448" y="86"/>
                    </a:lnTo>
                    <a:lnTo>
                      <a:pt x="445" y="84"/>
                    </a:lnTo>
                    <a:lnTo>
                      <a:pt x="445" y="84"/>
                    </a:lnTo>
                    <a:lnTo>
                      <a:pt x="443" y="81"/>
                    </a:lnTo>
                    <a:lnTo>
                      <a:pt x="443" y="81"/>
                    </a:lnTo>
                    <a:lnTo>
                      <a:pt x="442" y="81"/>
                    </a:lnTo>
                    <a:lnTo>
                      <a:pt x="442" y="81"/>
                    </a:lnTo>
                    <a:lnTo>
                      <a:pt x="442" y="81"/>
                    </a:lnTo>
                    <a:lnTo>
                      <a:pt x="442" y="81"/>
                    </a:lnTo>
                    <a:lnTo>
                      <a:pt x="442" y="78"/>
                    </a:lnTo>
                    <a:lnTo>
                      <a:pt x="442" y="78"/>
                    </a:lnTo>
                    <a:lnTo>
                      <a:pt x="439" y="78"/>
                    </a:lnTo>
                    <a:lnTo>
                      <a:pt x="439" y="78"/>
                    </a:lnTo>
                    <a:lnTo>
                      <a:pt x="439" y="81"/>
                    </a:lnTo>
                    <a:lnTo>
                      <a:pt x="439" y="81"/>
                    </a:lnTo>
                    <a:lnTo>
                      <a:pt x="435" y="81"/>
                    </a:lnTo>
                    <a:lnTo>
                      <a:pt x="435" y="81"/>
                    </a:lnTo>
                    <a:lnTo>
                      <a:pt x="435" y="81"/>
                    </a:lnTo>
                    <a:lnTo>
                      <a:pt x="435" y="81"/>
                    </a:lnTo>
                    <a:lnTo>
                      <a:pt x="432" y="81"/>
                    </a:lnTo>
                    <a:lnTo>
                      <a:pt x="432" y="81"/>
                    </a:lnTo>
                    <a:lnTo>
                      <a:pt x="431" y="81"/>
                    </a:lnTo>
                    <a:lnTo>
                      <a:pt x="431" y="81"/>
                    </a:lnTo>
                    <a:lnTo>
                      <a:pt x="424" y="81"/>
                    </a:lnTo>
                    <a:lnTo>
                      <a:pt x="424" y="81"/>
                    </a:lnTo>
                    <a:lnTo>
                      <a:pt x="423" y="78"/>
                    </a:lnTo>
                    <a:lnTo>
                      <a:pt x="423" y="78"/>
                    </a:lnTo>
                    <a:lnTo>
                      <a:pt x="421" y="74"/>
                    </a:lnTo>
                    <a:lnTo>
                      <a:pt x="421" y="74"/>
                    </a:lnTo>
                    <a:lnTo>
                      <a:pt x="419" y="74"/>
                    </a:lnTo>
                    <a:lnTo>
                      <a:pt x="419" y="74"/>
                    </a:lnTo>
                    <a:lnTo>
                      <a:pt x="418" y="73"/>
                    </a:lnTo>
                    <a:lnTo>
                      <a:pt x="418" y="73"/>
                    </a:lnTo>
                    <a:lnTo>
                      <a:pt x="415" y="73"/>
                    </a:lnTo>
                    <a:lnTo>
                      <a:pt x="415" y="73"/>
                    </a:lnTo>
                    <a:lnTo>
                      <a:pt x="412" y="71"/>
                    </a:lnTo>
                    <a:lnTo>
                      <a:pt x="412" y="71"/>
                    </a:lnTo>
                    <a:lnTo>
                      <a:pt x="410" y="70"/>
                    </a:lnTo>
                    <a:lnTo>
                      <a:pt x="410" y="70"/>
                    </a:lnTo>
                    <a:lnTo>
                      <a:pt x="407" y="68"/>
                    </a:lnTo>
                    <a:lnTo>
                      <a:pt x="407" y="68"/>
                    </a:lnTo>
                    <a:lnTo>
                      <a:pt x="404" y="63"/>
                    </a:lnTo>
                    <a:lnTo>
                      <a:pt x="404" y="63"/>
                    </a:lnTo>
                    <a:lnTo>
                      <a:pt x="397" y="62"/>
                    </a:lnTo>
                    <a:lnTo>
                      <a:pt x="397" y="62"/>
                    </a:lnTo>
                    <a:lnTo>
                      <a:pt x="394" y="60"/>
                    </a:lnTo>
                    <a:lnTo>
                      <a:pt x="394" y="60"/>
                    </a:lnTo>
                    <a:lnTo>
                      <a:pt x="392" y="62"/>
                    </a:lnTo>
                    <a:lnTo>
                      <a:pt x="392" y="62"/>
                    </a:lnTo>
                    <a:lnTo>
                      <a:pt x="391" y="62"/>
                    </a:lnTo>
                    <a:lnTo>
                      <a:pt x="391" y="62"/>
                    </a:lnTo>
                    <a:lnTo>
                      <a:pt x="389" y="63"/>
                    </a:lnTo>
                    <a:lnTo>
                      <a:pt x="389" y="63"/>
                    </a:lnTo>
                    <a:lnTo>
                      <a:pt x="388" y="65"/>
                    </a:lnTo>
                    <a:lnTo>
                      <a:pt x="388" y="65"/>
                    </a:lnTo>
                    <a:lnTo>
                      <a:pt x="386" y="65"/>
                    </a:lnTo>
                    <a:lnTo>
                      <a:pt x="386" y="65"/>
                    </a:lnTo>
                    <a:lnTo>
                      <a:pt x="385" y="65"/>
                    </a:lnTo>
                    <a:lnTo>
                      <a:pt x="385" y="65"/>
                    </a:lnTo>
                    <a:lnTo>
                      <a:pt x="383" y="65"/>
                    </a:lnTo>
                    <a:lnTo>
                      <a:pt x="383" y="65"/>
                    </a:lnTo>
                    <a:lnTo>
                      <a:pt x="381" y="65"/>
                    </a:lnTo>
                    <a:lnTo>
                      <a:pt x="381" y="65"/>
                    </a:lnTo>
                    <a:lnTo>
                      <a:pt x="380" y="65"/>
                    </a:lnTo>
                    <a:lnTo>
                      <a:pt x="380" y="65"/>
                    </a:lnTo>
                    <a:lnTo>
                      <a:pt x="378" y="65"/>
                    </a:lnTo>
                    <a:lnTo>
                      <a:pt x="378" y="65"/>
                    </a:lnTo>
                    <a:lnTo>
                      <a:pt x="375" y="63"/>
                    </a:lnTo>
                    <a:lnTo>
                      <a:pt x="375" y="63"/>
                    </a:lnTo>
                    <a:lnTo>
                      <a:pt x="375" y="62"/>
                    </a:lnTo>
                    <a:lnTo>
                      <a:pt x="375" y="62"/>
                    </a:lnTo>
                    <a:lnTo>
                      <a:pt x="375" y="62"/>
                    </a:lnTo>
                    <a:lnTo>
                      <a:pt x="375" y="62"/>
                    </a:lnTo>
                    <a:lnTo>
                      <a:pt x="372" y="62"/>
                    </a:lnTo>
                    <a:lnTo>
                      <a:pt x="372" y="62"/>
                    </a:lnTo>
                    <a:lnTo>
                      <a:pt x="372" y="62"/>
                    </a:lnTo>
                    <a:lnTo>
                      <a:pt x="372" y="62"/>
                    </a:lnTo>
                    <a:lnTo>
                      <a:pt x="372" y="59"/>
                    </a:lnTo>
                    <a:lnTo>
                      <a:pt x="372" y="59"/>
                    </a:lnTo>
                    <a:lnTo>
                      <a:pt x="370" y="59"/>
                    </a:lnTo>
                    <a:lnTo>
                      <a:pt x="370" y="59"/>
                    </a:lnTo>
                    <a:lnTo>
                      <a:pt x="369" y="57"/>
                    </a:lnTo>
                    <a:lnTo>
                      <a:pt x="369" y="57"/>
                    </a:lnTo>
                    <a:lnTo>
                      <a:pt x="365" y="57"/>
                    </a:lnTo>
                    <a:lnTo>
                      <a:pt x="365" y="57"/>
                    </a:lnTo>
                    <a:lnTo>
                      <a:pt x="364" y="57"/>
                    </a:lnTo>
                    <a:lnTo>
                      <a:pt x="364" y="57"/>
                    </a:lnTo>
                    <a:lnTo>
                      <a:pt x="364" y="59"/>
                    </a:lnTo>
                    <a:lnTo>
                      <a:pt x="364" y="59"/>
                    </a:lnTo>
                    <a:lnTo>
                      <a:pt x="364" y="60"/>
                    </a:lnTo>
                    <a:lnTo>
                      <a:pt x="364" y="60"/>
                    </a:lnTo>
                    <a:lnTo>
                      <a:pt x="364" y="62"/>
                    </a:lnTo>
                    <a:lnTo>
                      <a:pt x="364" y="62"/>
                    </a:lnTo>
                    <a:lnTo>
                      <a:pt x="362" y="63"/>
                    </a:lnTo>
                    <a:lnTo>
                      <a:pt x="362" y="63"/>
                    </a:lnTo>
                    <a:lnTo>
                      <a:pt x="362" y="65"/>
                    </a:lnTo>
                    <a:lnTo>
                      <a:pt x="362" y="65"/>
                    </a:lnTo>
                    <a:lnTo>
                      <a:pt x="359" y="63"/>
                    </a:lnTo>
                    <a:lnTo>
                      <a:pt x="359" y="63"/>
                    </a:lnTo>
                    <a:lnTo>
                      <a:pt x="356" y="60"/>
                    </a:lnTo>
                    <a:lnTo>
                      <a:pt x="356" y="60"/>
                    </a:lnTo>
                    <a:lnTo>
                      <a:pt x="351" y="54"/>
                    </a:lnTo>
                    <a:lnTo>
                      <a:pt x="351" y="54"/>
                    </a:lnTo>
                    <a:lnTo>
                      <a:pt x="337" y="41"/>
                    </a:lnTo>
                    <a:lnTo>
                      <a:pt x="337" y="41"/>
                    </a:lnTo>
                    <a:lnTo>
                      <a:pt x="335" y="39"/>
                    </a:lnTo>
                    <a:lnTo>
                      <a:pt x="335" y="39"/>
                    </a:lnTo>
                    <a:lnTo>
                      <a:pt x="327" y="33"/>
                    </a:lnTo>
                    <a:lnTo>
                      <a:pt x="327" y="33"/>
                    </a:lnTo>
                    <a:lnTo>
                      <a:pt x="319" y="27"/>
                    </a:lnTo>
                    <a:lnTo>
                      <a:pt x="319" y="27"/>
                    </a:lnTo>
                    <a:lnTo>
                      <a:pt x="310" y="22"/>
                    </a:lnTo>
                    <a:lnTo>
                      <a:pt x="310" y="22"/>
                    </a:lnTo>
                    <a:lnTo>
                      <a:pt x="304" y="17"/>
                    </a:lnTo>
                    <a:lnTo>
                      <a:pt x="304" y="17"/>
                    </a:lnTo>
                    <a:lnTo>
                      <a:pt x="305" y="17"/>
                    </a:lnTo>
                    <a:lnTo>
                      <a:pt x="305" y="17"/>
                    </a:lnTo>
                    <a:lnTo>
                      <a:pt x="307" y="17"/>
                    </a:lnTo>
                    <a:lnTo>
                      <a:pt x="307" y="17"/>
                    </a:lnTo>
                    <a:lnTo>
                      <a:pt x="307" y="17"/>
                    </a:lnTo>
                    <a:lnTo>
                      <a:pt x="307" y="17"/>
                    </a:lnTo>
                    <a:lnTo>
                      <a:pt x="305" y="14"/>
                    </a:lnTo>
                    <a:lnTo>
                      <a:pt x="305" y="14"/>
                    </a:lnTo>
                    <a:lnTo>
                      <a:pt x="307" y="14"/>
                    </a:lnTo>
                    <a:lnTo>
                      <a:pt x="307" y="14"/>
                    </a:lnTo>
                    <a:lnTo>
                      <a:pt x="304" y="14"/>
                    </a:lnTo>
                    <a:lnTo>
                      <a:pt x="304" y="14"/>
                    </a:lnTo>
                    <a:lnTo>
                      <a:pt x="300" y="14"/>
                    </a:lnTo>
                    <a:lnTo>
                      <a:pt x="300" y="14"/>
                    </a:lnTo>
                    <a:lnTo>
                      <a:pt x="299" y="17"/>
                    </a:lnTo>
                    <a:lnTo>
                      <a:pt x="299" y="17"/>
                    </a:lnTo>
                    <a:lnTo>
                      <a:pt x="292" y="17"/>
                    </a:lnTo>
                    <a:lnTo>
                      <a:pt x="292" y="17"/>
                    </a:lnTo>
                    <a:lnTo>
                      <a:pt x="292" y="19"/>
                    </a:lnTo>
                    <a:lnTo>
                      <a:pt x="292" y="19"/>
                    </a:lnTo>
                    <a:lnTo>
                      <a:pt x="292" y="20"/>
                    </a:lnTo>
                    <a:lnTo>
                      <a:pt x="292" y="20"/>
                    </a:lnTo>
                    <a:lnTo>
                      <a:pt x="289" y="22"/>
                    </a:lnTo>
                    <a:lnTo>
                      <a:pt x="289" y="22"/>
                    </a:lnTo>
                    <a:lnTo>
                      <a:pt x="286" y="24"/>
                    </a:lnTo>
                    <a:lnTo>
                      <a:pt x="286" y="24"/>
                    </a:lnTo>
                    <a:lnTo>
                      <a:pt x="285" y="25"/>
                    </a:lnTo>
                    <a:lnTo>
                      <a:pt x="285" y="25"/>
                    </a:lnTo>
                    <a:lnTo>
                      <a:pt x="285" y="27"/>
                    </a:lnTo>
                    <a:lnTo>
                      <a:pt x="285" y="27"/>
                    </a:lnTo>
                    <a:lnTo>
                      <a:pt x="285" y="25"/>
                    </a:lnTo>
                    <a:lnTo>
                      <a:pt x="285" y="25"/>
                    </a:lnTo>
                    <a:lnTo>
                      <a:pt x="281" y="25"/>
                    </a:lnTo>
                    <a:lnTo>
                      <a:pt x="281" y="25"/>
                    </a:lnTo>
                    <a:lnTo>
                      <a:pt x="281" y="24"/>
                    </a:lnTo>
                    <a:lnTo>
                      <a:pt x="281" y="24"/>
                    </a:lnTo>
                    <a:lnTo>
                      <a:pt x="278" y="25"/>
                    </a:lnTo>
                    <a:lnTo>
                      <a:pt x="278" y="25"/>
                    </a:lnTo>
                    <a:lnTo>
                      <a:pt x="275" y="27"/>
                    </a:lnTo>
                    <a:lnTo>
                      <a:pt x="275" y="27"/>
                    </a:lnTo>
                    <a:lnTo>
                      <a:pt x="272" y="25"/>
                    </a:lnTo>
                    <a:lnTo>
                      <a:pt x="272" y="25"/>
                    </a:lnTo>
                    <a:lnTo>
                      <a:pt x="272" y="24"/>
                    </a:lnTo>
                    <a:lnTo>
                      <a:pt x="272" y="24"/>
                    </a:lnTo>
                    <a:lnTo>
                      <a:pt x="272" y="22"/>
                    </a:lnTo>
                    <a:lnTo>
                      <a:pt x="272" y="22"/>
                    </a:lnTo>
                    <a:lnTo>
                      <a:pt x="275" y="20"/>
                    </a:lnTo>
                    <a:lnTo>
                      <a:pt x="275" y="20"/>
                    </a:lnTo>
                    <a:lnTo>
                      <a:pt x="275" y="17"/>
                    </a:lnTo>
                    <a:lnTo>
                      <a:pt x="275" y="17"/>
                    </a:lnTo>
                    <a:lnTo>
                      <a:pt x="272" y="19"/>
                    </a:lnTo>
                    <a:lnTo>
                      <a:pt x="272" y="19"/>
                    </a:lnTo>
                    <a:lnTo>
                      <a:pt x="272" y="20"/>
                    </a:lnTo>
                    <a:lnTo>
                      <a:pt x="272" y="20"/>
                    </a:lnTo>
                    <a:lnTo>
                      <a:pt x="267" y="19"/>
                    </a:lnTo>
                    <a:lnTo>
                      <a:pt x="267" y="19"/>
                    </a:lnTo>
                    <a:lnTo>
                      <a:pt x="264" y="17"/>
                    </a:lnTo>
                    <a:lnTo>
                      <a:pt x="264" y="17"/>
                    </a:lnTo>
                    <a:lnTo>
                      <a:pt x="262" y="17"/>
                    </a:lnTo>
                    <a:lnTo>
                      <a:pt x="262" y="17"/>
                    </a:lnTo>
                    <a:lnTo>
                      <a:pt x="262" y="19"/>
                    </a:lnTo>
                    <a:lnTo>
                      <a:pt x="262" y="19"/>
                    </a:lnTo>
                    <a:lnTo>
                      <a:pt x="264" y="19"/>
                    </a:lnTo>
                    <a:lnTo>
                      <a:pt x="264" y="19"/>
                    </a:lnTo>
                    <a:lnTo>
                      <a:pt x="261" y="20"/>
                    </a:lnTo>
                    <a:lnTo>
                      <a:pt x="261" y="20"/>
                    </a:lnTo>
                    <a:lnTo>
                      <a:pt x="261" y="19"/>
                    </a:lnTo>
                    <a:lnTo>
                      <a:pt x="261" y="19"/>
                    </a:lnTo>
                    <a:lnTo>
                      <a:pt x="261" y="17"/>
                    </a:lnTo>
                    <a:lnTo>
                      <a:pt x="261" y="17"/>
                    </a:lnTo>
                    <a:lnTo>
                      <a:pt x="258" y="17"/>
                    </a:lnTo>
                    <a:lnTo>
                      <a:pt x="258" y="17"/>
                    </a:lnTo>
                    <a:lnTo>
                      <a:pt x="258" y="14"/>
                    </a:lnTo>
                    <a:lnTo>
                      <a:pt x="258" y="14"/>
                    </a:lnTo>
                    <a:lnTo>
                      <a:pt x="258" y="17"/>
                    </a:lnTo>
                    <a:lnTo>
                      <a:pt x="258" y="17"/>
                    </a:lnTo>
                    <a:lnTo>
                      <a:pt x="254" y="17"/>
                    </a:lnTo>
                    <a:lnTo>
                      <a:pt x="254" y="17"/>
                    </a:lnTo>
                    <a:lnTo>
                      <a:pt x="254" y="17"/>
                    </a:lnTo>
                    <a:lnTo>
                      <a:pt x="254" y="17"/>
                    </a:lnTo>
                    <a:lnTo>
                      <a:pt x="251" y="17"/>
                    </a:lnTo>
                    <a:lnTo>
                      <a:pt x="251" y="17"/>
                    </a:lnTo>
                    <a:lnTo>
                      <a:pt x="251" y="17"/>
                    </a:lnTo>
                    <a:lnTo>
                      <a:pt x="251" y="17"/>
                    </a:lnTo>
                    <a:lnTo>
                      <a:pt x="248" y="17"/>
                    </a:lnTo>
                    <a:lnTo>
                      <a:pt x="248" y="17"/>
                    </a:lnTo>
                    <a:lnTo>
                      <a:pt x="246" y="17"/>
                    </a:lnTo>
                    <a:lnTo>
                      <a:pt x="246" y="17"/>
                    </a:lnTo>
                    <a:lnTo>
                      <a:pt x="245" y="17"/>
                    </a:lnTo>
                    <a:lnTo>
                      <a:pt x="245" y="17"/>
                    </a:lnTo>
                    <a:lnTo>
                      <a:pt x="246" y="14"/>
                    </a:lnTo>
                    <a:lnTo>
                      <a:pt x="246" y="14"/>
                    </a:lnTo>
                    <a:lnTo>
                      <a:pt x="246" y="14"/>
                    </a:lnTo>
                    <a:lnTo>
                      <a:pt x="246" y="14"/>
                    </a:lnTo>
                    <a:lnTo>
                      <a:pt x="245" y="11"/>
                    </a:lnTo>
                    <a:lnTo>
                      <a:pt x="245" y="11"/>
                    </a:lnTo>
                    <a:lnTo>
                      <a:pt x="245" y="11"/>
                    </a:lnTo>
                    <a:lnTo>
                      <a:pt x="245" y="11"/>
                    </a:lnTo>
                    <a:lnTo>
                      <a:pt x="243" y="8"/>
                    </a:lnTo>
                    <a:lnTo>
                      <a:pt x="243" y="8"/>
                    </a:lnTo>
                    <a:lnTo>
                      <a:pt x="242" y="8"/>
                    </a:lnTo>
                    <a:lnTo>
                      <a:pt x="242" y="8"/>
                    </a:lnTo>
                    <a:lnTo>
                      <a:pt x="240" y="5"/>
                    </a:lnTo>
                    <a:lnTo>
                      <a:pt x="240" y="5"/>
                    </a:lnTo>
                    <a:lnTo>
                      <a:pt x="237" y="3"/>
                    </a:lnTo>
                    <a:lnTo>
                      <a:pt x="237" y="3"/>
                    </a:lnTo>
                    <a:lnTo>
                      <a:pt x="235" y="1"/>
                    </a:lnTo>
                    <a:lnTo>
                      <a:pt x="235" y="1"/>
                    </a:lnTo>
                    <a:lnTo>
                      <a:pt x="232" y="3"/>
                    </a:lnTo>
                    <a:lnTo>
                      <a:pt x="232" y="3"/>
                    </a:lnTo>
                    <a:lnTo>
                      <a:pt x="231" y="5"/>
                    </a:lnTo>
                    <a:lnTo>
                      <a:pt x="231" y="5"/>
                    </a:lnTo>
                    <a:lnTo>
                      <a:pt x="227" y="3"/>
                    </a:lnTo>
                    <a:lnTo>
                      <a:pt x="227" y="3"/>
                    </a:lnTo>
                    <a:lnTo>
                      <a:pt x="226" y="1"/>
                    </a:lnTo>
                    <a:lnTo>
                      <a:pt x="226" y="1"/>
                    </a:lnTo>
                    <a:lnTo>
                      <a:pt x="219" y="1"/>
                    </a:lnTo>
                    <a:lnTo>
                      <a:pt x="219" y="1"/>
                    </a:lnTo>
                    <a:lnTo>
                      <a:pt x="219" y="1"/>
                    </a:lnTo>
                    <a:lnTo>
                      <a:pt x="219" y="1"/>
                    </a:lnTo>
                    <a:lnTo>
                      <a:pt x="216" y="0"/>
                    </a:lnTo>
                    <a:lnTo>
                      <a:pt x="216" y="0"/>
                    </a:lnTo>
                    <a:lnTo>
                      <a:pt x="216" y="1"/>
                    </a:lnTo>
                    <a:lnTo>
                      <a:pt x="216" y="1"/>
                    </a:lnTo>
                    <a:lnTo>
                      <a:pt x="215" y="1"/>
                    </a:lnTo>
                    <a:lnTo>
                      <a:pt x="215" y="1"/>
                    </a:lnTo>
                    <a:lnTo>
                      <a:pt x="215" y="3"/>
                    </a:lnTo>
                    <a:lnTo>
                      <a:pt x="215" y="3"/>
                    </a:lnTo>
                    <a:lnTo>
                      <a:pt x="213" y="3"/>
                    </a:lnTo>
                    <a:lnTo>
                      <a:pt x="213" y="3"/>
                    </a:lnTo>
                    <a:lnTo>
                      <a:pt x="211" y="5"/>
                    </a:lnTo>
                    <a:lnTo>
                      <a:pt x="211" y="5"/>
                    </a:lnTo>
                    <a:lnTo>
                      <a:pt x="210" y="5"/>
                    </a:lnTo>
                    <a:lnTo>
                      <a:pt x="210" y="5"/>
                    </a:lnTo>
                    <a:lnTo>
                      <a:pt x="211" y="6"/>
                    </a:lnTo>
                    <a:lnTo>
                      <a:pt x="211" y="6"/>
                    </a:lnTo>
                    <a:lnTo>
                      <a:pt x="207" y="8"/>
                    </a:lnTo>
                    <a:lnTo>
                      <a:pt x="207" y="8"/>
                    </a:lnTo>
                    <a:lnTo>
                      <a:pt x="202" y="8"/>
                    </a:lnTo>
                    <a:lnTo>
                      <a:pt x="202" y="8"/>
                    </a:lnTo>
                    <a:lnTo>
                      <a:pt x="194" y="11"/>
                    </a:lnTo>
                    <a:lnTo>
                      <a:pt x="194" y="11"/>
                    </a:lnTo>
                    <a:lnTo>
                      <a:pt x="188" y="11"/>
                    </a:lnTo>
                    <a:lnTo>
                      <a:pt x="188" y="11"/>
                    </a:lnTo>
                    <a:lnTo>
                      <a:pt x="181" y="11"/>
                    </a:lnTo>
                    <a:lnTo>
                      <a:pt x="181" y="11"/>
                    </a:lnTo>
                    <a:lnTo>
                      <a:pt x="181" y="14"/>
                    </a:lnTo>
                    <a:lnTo>
                      <a:pt x="181" y="14"/>
                    </a:lnTo>
                    <a:lnTo>
                      <a:pt x="181" y="14"/>
                    </a:lnTo>
                    <a:lnTo>
                      <a:pt x="181" y="14"/>
                    </a:lnTo>
                    <a:lnTo>
                      <a:pt x="180" y="14"/>
                    </a:lnTo>
                    <a:lnTo>
                      <a:pt x="180" y="14"/>
                    </a:lnTo>
                    <a:lnTo>
                      <a:pt x="178" y="14"/>
                    </a:lnTo>
                    <a:lnTo>
                      <a:pt x="178" y="14"/>
                    </a:lnTo>
                    <a:lnTo>
                      <a:pt x="177" y="14"/>
                    </a:lnTo>
                    <a:lnTo>
                      <a:pt x="177" y="14"/>
                    </a:lnTo>
                    <a:lnTo>
                      <a:pt x="172" y="14"/>
                    </a:lnTo>
                    <a:lnTo>
                      <a:pt x="172" y="14"/>
                    </a:lnTo>
                    <a:lnTo>
                      <a:pt x="170" y="14"/>
                    </a:lnTo>
                    <a:lnTo>
                      <a:pt x="170" y="14"/>
                    </a:lnTo>
                    <a:lnTo>
                      <a:pt x="170" y="17"/>
                    </a:lnTo>
                    <a:lnTo>
                      <a:pt x="170" y="17"/>
                    </a:lnTo>
                    <a:lnTo>
                      <a:pt x="165" y="17"/>
                    </a:lnTo>
                    <a:lnTo>
                      <a:pt x="165" y="17"/>
                    </a:lnTo>
                    <a:lnTo>
                      <a:pt x="165" y="17"/>
                    </a:lnTo>
                    <a:lnTo>
                      <a:pt x="165" y="17"/>
                    </a:lnTo>
                    <a:lnTo>
                      <a:pt x="164" y="17"/>
                    </a:lnTo>
                    <a:lnTo>
                      <a:pt x="164" y="17"/>
                    </a:lnTo>
                    <a:lnTo>
                      <a:pt x="164" y="17"/>
                    </a:lnTo>
                    <a:lnTo>
                      <a:pt x="162" y="17"/>
                    </a:lnTo>
                    <a:lnTo>
                      <a:pt x="162" y="17"/>
                    </a:lnTo>
                    <a:lnTo>
                      <a:pt x="161" y="17"/>
                    </a:lnTo>
                    <a:lnTo>
                      <a:pt x="161" y="17"/>
                    </a:lnTo>
                    <a:lnTo>
                      <a:pt x="158" y="17"/>
                    </a:lnTo>
                    <a:lnTo>
                      <a:pt x="156" y="17"/>
                    </a:lnTo>
                    <a:lnTo>
                      <a:pt x="156" y="17"/>
                    </a:lnTo>
                    <a:lnTo>
                      <a:pt x="156" y="19"/>
                    </a:lnTo>
                    <a:lnTo>
                      <a:pt x="156" y="19"/>
                    </a:lnTo>
                    <a:lnTo>
                      <a:pt x="156" y="20"/>
                    </a:lnTo>
                    <a:lnTo>
                      <a:pt x="156" y="20"/>
                    </a:lnTo>
                    <a:lnTo>
                      <a:pt x="153" y="19"/>
                    </a:lnTo>
                    <a:lnTo>
                      <a:pt x="153" y="19"/>
                    </a:lnTo>
                    <a:lnTo>
                      <a:pt x="153" y="19"/>
                    </a:lnTo>
                    <a:lnTo>
                      <a:pt x="153" y="19"/>
                    </a:lnTo>
                    <a:lnTo>
                      <a:pt x="150" y="19"/>
                    </a:lnTo>
                    <a:lnTo>
                      <a:pt x="150" y="19"/>
                    </a:lnTo>
                    <a:lnTo>
                      <a:pt x="148" y="20"/>
                    </a:lnTo>
                    <a:lnTo>
                      <a:pt x="148" y="20"/>
                    </a:lnTo>
                    <a:lnTo>
                      <a:pt x="148" y="20"/>
                    </a:lnTo>
                    <a:lnTo>
                      <a:pt x="145" y="19"/>
                    </a:lnTo>
                    <a:lnTo>
                      <a:pt x="145" y="19"/>
                    </a:lnTo>
                    <a:lnTo>
                      <a:pt x="145" y="19"/>
                    </a:lnTo>
                    <a:lnTo>
                      <a:pt x="145" y="19"/>
                    </a:lnTo>
                    <a:lnTo>
                      <a:pt x="142" y="19"/>
                    </a:lnTo>
                    <a:lnTo>
                      <a:pt x="142" y="19"/>
                    </a:lnTo>
                    <a:lnTo>
                      <a:pt x="142" y="20"/>
                    </a:lnTo>
                    <a:lnTo>
                      <a:pt x="142" y="20"/>
                    </a:lnTo>
                    <a:lnTo>
                      <a:pt x="138" y="20"/>
                    </a:lnTo>
                    <a:lnTo>
                      <a:pt x="138" y="20"/>
                    </a:lnTo>
                    <a:lnTo>
                      <a:pt x="142" y="22"/>
                    </a:lnTo>
                    <a:lnTo>
                      <a:pt x="142" y="22"/>
                    </a:lnTo>
                    <a:lnTo>
                      <a:pt x="142" y="24"/>
                    </a:lnTo>
                    <a:lnTo>
                      <a:pt x="142" y="24"/>
                    </a:lnTo>
                    <a:lnTo>
                      <a:pt x="142" y="24"/>
                    </a:lnTo>
                    <a:lnTo>
                      <a:pt x="142" y="24"/>
                    </a:lnTo>
                    <a:lnTo>
                      <a:pt x="142" y="25"/>
                    </a:lnTo>
                    <a:lnTo>
                      <a:pt x="142" y="25"/>
                    </a:lnTo>
                    <a:lnTo>
                      <a:pt x="143" y="25"/>
                    </a:lnTo>
                    <a:lnTo>
                      <a:pt x="143" y="25"/>
                    </a:lnTo>
                    <a:lnTo>
                      <a:pt x="145" y="25"/>
                    </a:lnTo>
                    <a:lnTo>
                      <a:pt x="145" y="25"/>
                    </a:lnTo>
                    <a:lnTo>
                      <a:pt x="146" y="25"/>
                    </a:lnTo>
                    <a:lnTo>
                      <a:pt x="146" y="25"/>
                    </a:lnTo>
                    <a:lnTo>
                      <a:pt x="148" y="27"/>
                    </a:lnTo>
                    <a:lnTo>
                      <a:pt x="148" y="27"/>
                    </a:lnTo>
                    <a:lnTo>
                      <a:pt x="148" y="27"/>
                    </a:lnTo>
                    <a:lnTo>
                      <a:pt x="148" y="27"/>
                    </a:lnTo>
                    <a:lnTo>
                      <a:pt x="145" y="27"/>
                    </a:lnTo>
                    <a:lnTo>
                      <a:pt x="145" y="27"/>
                    </a:lnTo>
                    <a:lnTo>
                      <a:pt x="143" y="28"/>
                    </a:lnTo>
                    <a:lnTo>
                      <a:pt x="143" y="28"/>
                    </a:lnTo>
                    <a:lnTo>
                      <a:pt x="143" y="30"/>
                    </a:lnTo>
                    <a:lnTo>
                      <a:pt x="143" y="30"/>
                    </a:lnTo>
                    <a:lnTo>
                      <a:pt x="153" y="32"/>
                    </a:lnTo>
                    <a:lnTo>
                      <a:pt x="153" y="32"/>
                    </a:lnTo>
                    <a:lnTo>
                      <a:pt x="153" y="32"/>
                    </a:lnTo>
                    <a:lnTo>
                      <a:pt x="153" y="32"/>
                    </a:lnTo>
                    <a:lnTo>
                      <a:pt x="156" y="33"/>
                    </a:lnTo>
                    <a:lnTo>
                      <a:pt x="156" y="33"/>
                    </a:lnTo>
                    <a:lnTo>
                      <a:pt x="150" y="35"/>
                    </a:lnTo>
                    <a:lnTo>
                      <a:pt x="150" y="35"/>
                    </a:lnTo>
                    <a:lnTo>
                      <a:pt x="148" y="33"/>
                    </a:lnTo>
                    <a:lnTo>
                      <a:pt x="148" y="33"/>
                    </a:lnTo>
                    <a:lnTo>
                      <a:pt x="143" y="33"/>
                    </a:lnTo>
                    <a:lnTo>
                      <a:pt x="143" y="33"/>
                    </a:lnTo>
                    <a:lnTo>
                      <a:pt x="143" y="35"/>
                    </a:lnTo>
                    <a:lnTo>
                      <a:pt x="143" y="35"/>
                    </a:lnTo>
                    <a:lnTo>
                      <a:pt x="143" y="36"/>
                    </a:lnTo>
                    <a:lnTo>
                      <a:pt x="143" y="36"/>
                    </a:lnTo>
                    <a:lnTo>
                      <a:pt x="142" y="38"/>
                    </a:lnTo>
                    <a:lnTo>
                      <a:pt x="142" y="38"/>
                    </a:lnTo>
                    <a:lnTo>
                      <a:pt x="146" y="43"/>
                    </a:lnTo>
                    <a:lnTo>
                      <a:pt x="146" y="43"/>
                    </a:lnTo>
                    <a:lnTo>
                      <a:pt x="143" y="46"/>
                    </a:lnTo>
                    <a:lnTo>
                      <a:pt x="143" y="46"/>
                    </a:lnTo>
                    <a:lnTo>
                      <a:pt x="142" y="46"/>
                    </a:lnTo>
                    <a:lnTo>
                      <a:pt x="142" y="46"/>
                    </a:lnTo>
                    <a:lnTo>
                      <a:pt x="137" y="49"/>
                    </a:lnTo>
                    <a:lnTo>
                      <a:pt x="137" y="49"/>
                    </a:lnTo>
                    <a:lnTo>
                      <a:pt x="137" y="49"/>
                    </a:lnTo>
                    <a:lnTo>
                      <a:pt x="137" y="49"/>
                    </a:lnTo>
                    <a:lnTo>
                      <a:pt x="138" y="49"/>
                    </a:lnTo>
                    <a:lnTo>
                      <a:pt x="138" y="49"/>
                    </a:lnTo>
                    <a:lnTo>
                      <a:pt x="142" y="52"/>
                    </a:lnTo>
                    <a:lnTo>
                      <a:pt x="142" y="52"/>
                    </a:lnTo>
                    <a:lnTo>
                      <a:pt x="145" y="52"/>
                    </a:lnTo>
                    <a:lnTo>
                      <a:pt x="145" y="52"/>
                    </a:lnTo>
                    <a:lnTo>
                      <a:pt x="146" y="52"/>
                    </a:lnTo>
                    <a:lnTo>
                      <a:pt x="146" y="52"/>
                    </a:lnTo>
                    <a:lnTo>
                      <a:pt x="148" y="52"/>
                    </a:lnTo>
                    <a:lnTo>
                      <a:pt x="148" y="52"/>
                    </a:lnTo>
                    <a:lnTo>
                      <a:pt x="150" y="54"/>
                    </a:lnTo>
                    <a:lnTo>
                      <a:pt x="150" y="54"/>
                    </a:lnTo>
                    <a:lnTo>
                      <a:pt x="150" y="55"/>
                    </a:lnTo>
                    <a:lnTo>
                      <a:pt x="150" y="55"/>
                    </a:lnTo>
                    <a:lnTo>
                      <a:pt x="153" y="55"/>
                    </a:lnTo>
                    <a:lnTo>
                      <a:pt x="153" y="55"/>
                    </a:lnTo>
                    <a:lnTo>
                      <a:pt x="156" y="55"/>
                    </a:lnTo>
                    <a:lnTo>
                      <a:pt x="156" y="55"/>
                    </a:lnTo>
                    <a:lnTo>
                      <a:pt x="159" y="57"/>
                    </a:lnTo>
                    <a:lnTo>
                      <a:pt x="159" y="57"/>
                    </a:lnTo>
                    <a:lnTo>
                      <a:pt x="156" y="59"/>
                    </a:lnTo>
                    <a:lnTo>
                      <a:pt x="156" y="59"/>
                    </a:lnTo>
                    <a:lnTo>
                      <a:pt x="156" y="60"/>
                    </a:lnTo>
                    <a:lnTo>
                      <a:pt x="156" y="60"/>
                    </a:lnTo>
                    <a:lnTo>
                      <a:pt x="156" y="63"/>
                    </a:lnTo>
                    <a:lnTo>
                      <a:pt x="156" y="63"/>
                    </a:lnTo>
                    <a:lnTo>
                      <a:pt x="156" y="65"/>
                    </a:lnTo>
                    <a:lnTo>
                      <a:pt x="156" y="65"/>
                    </a:lnTo>
                    <a:lnTo>
                      <a:pt x="153" y="65"/>
                    </a:lnTo>
                    <a:lnTo>
                      <a:pt x="153" y="65"/>
                    </a:lnTo>
                    <a:lnTo>
                      <a:pt x="150" y="66"/>
                    </a:lnTo>
                    <a:lnTo>
                      <a:pt x="150" y="66"/>
                    </a:lnTo>
                    <a:lnTo>
                      <a:pt x="145" y="65"/>
                    </a:lnTo>
                    <a:lnTo>
                      <a:pt x="145" y="65"/>
                    </a:lnTo>
                    <a:lnTo>
                      <a:pt x="143" y="63"/>
                    </a:lnTo>
                    <a:lnTo>
                      <a:pt x="143" y="63"/>
                    </a:lnTo>
                    <a:lnTo>
                      <a:pt x="142" y="63"/>
                    </a:lnTo>
                    <a:lnTo>
                      <a:pt x="142" y="63"/>
                    </a:lnTo>
                    <a:lnTo>
                      <a:pt x="140" y="65"/>
                    </a:lnTo>
                    <a:lnTo>
                      <a:pt x="140" y="65"/>
                    </a:lnTo>
                    <a:lnTo>
                      <a:pt x="140" y="66"/>
                    </a:lnTo>
                    <a:lnTo>
                      <a:pt x="140" y="66"/>
                    </a:lnTo>
                    <a:lnTo>
                      <a:pt x="138" y="68"/>
                    </a:lnTo>
                    <a:lnTo>
                      <a:pt x="138" y="68"/>
                    </a:lnTo>
                    <a:lnTo>
                      <a:pt x="137" y="68"/>
                    </a:lnTo>
                    <a:lnTo>
                      <a:pt x="137" y="68"/>
                    </a:lnTo>
                    <a:lnTo>
                      <a:pt x="137" y="66"/>
                    </a:lnTo>
                    <a:lnTo>
                      <a:pt x="137" y="66"/>
                    </a:lnTo>
                    <a:lnTo>
                      <a:pt x="135" y="66"/>
                    </a:lnTo>
                    <a:lnTo>
                      <a:pt x="135" y="66"/>
                    </a:lnTo>
                    <a:lnTo>
                      <a:pt x="132" y="66"/>
                    </a:lnTo>
                    <a:lnTo>
                      <a:pt x="132" y="66"/>
                    </a:lnTo>
                    <a:lnTo>
                      <a:pt x="129" y="65"/>
                    </a:lnTo>
                    <a:lnTo>
                      <a:pt x="129" y="65"/>
                    </a:lnTo>
                    <a:lnTo>
                      <a:pt x="126" y="63"/>
                    </a:lnTo>
                    <a:lnTo>
                      <a:pt x="126" y="63"/>
                    </a:lnTo>
                    <a:lnTo>
                      <a:pt x="124" y="59"/>
                    </a:lnTo>
                    <a:lnTo>
                      <a:pt x="124" y="59"/>
                    </a:lnTo>
                    <a:lnTo>
                      <a:pt x="123" y="59"/>
                    </a:lnTo>
                    <a:lnTo>
                      <a:pt x="123" y="59"/>
                    </a:lnTo>
                    <a:lnTo>
                      <a:pt x="121" y="59"/>
                    </a:lnTo>
                    <a:lnTo>
                      <a:pt x="121" y="59"/>
                    </a:lnTo>
                    <a:lnTo>
                      <a:pt x="119" y="60"/>
                    </a:lnTo>
                    <a:lnTo>
                      <a:pt x="119" y="60"/>
                    </a:lnTo>
                    <a:lnTo>
                      <a:pt x="118" y="60"/>
                    </a:lnTo>
                    <a:lnTo>
                      <a:pt x="118" y="60"/>
                    </a:lnTo>
                    <a:lnTo>
                      <a:pt x="116" y="60"/>
                    </a:lnTo>
                    <a:lnTo>
                      <a:pt x="116" y="60"/>
                    </a:lnTo>
                    <a:lnTo>
                      <a:pt x="116" y="62"/>
                    </a:lnTo>
                    <a:lnTo>
                      <a:pt x="116" y="62"/>
                    </a:lnTo>
                    <a:lnTo>
                      <a:pt x="115" y="63"/>
                    </a:lnTo>
                    <a:lnTo>
                      <a:pt x="115" y="63"/>
                    </a:lnTo>
                    <a:lnTo>
                      <a:pt x="113" y="63"/>
                    </a:lnTo>
                    <a:lnTo>
                      <a:pt x="113" y="63"/>
                    </a:lnTo>
                    <a:lnTo>
                      <a:pt x="110" y="60"/>
                    </a:lnTo>
                    <a:lnTo>
                      <a:pt x="110" y="60"/>
                    </a:lnTo>
                    <a:lnTo>
                      <a:pt x="107" y="60"/>
                    </a:lnTo>
                    <a:lnTo>
                      <a:pt x="107" y="60"/>
                    </a:lnTo>
                    <a:lnTo>
                      <a:pt x="105" y="60"/>
                    </a:lnTo>
                    <a:lnTo>
                      <a:pt x="105" y="60"/>
                    </a:lnTo>
                    <a:lnTo>
                      <a:pt x="104" y="62"/>
                    </a:lnTo>
                    <a:lnTo>
                      <a:pt x="104" y="62"/>
                    </a:lnTo>
                    <a:lnTo>
                      <a:pt x="100" y="60"/>
                    </a:lnTo>
                    <a:lnTo>
                      <a:pt x="100" y="60"/>
                    </a:lnTo>
                    <a:lnTo>
                      <a:pt x="100" y="62"/>
                    </a:lnTo>
                    <a:lnTo>
                      <a:pt x="100" y="62"/>
                    </a:lnTo>
                    <a:lnTo>
                      <a:pt x="100" y="63"/>
                    </a:lnTo>
                    <a:lnTo>
                      <a:pt x="100" y="63"/>
                    </a:lnTo>
                    <a:lnTo>
                      <a:pt x="97" y="65"/>
                    </a:lnTo>
                    <a:lnTo>
                      <a:pt x="97" y="65"/>
                    </a:lnTo>
                    <a:lnTo>
                      <a:pt x="97" y="66"/>
                    </a:lnTo>
                    <a:lnTo>
                      <a:pt x="97" y="66"/>
                    </a:lnTo>
                    <a:lnTo>
                      <a:pt x="94" y="66"/>
                    </a:lnTo>
                    <a:lnTo>
                      <a:pt x="94" y="66"/>
                    </a:lnTo>
                    <a:lnTo>
                      <a:pt x="91" y="65"/>
                    </a:lnTo>
                    <a:lnTo>
                      <a:pt x="91" y="65"/>
                    </a:lnTo>
                    <a:lnTo>
                      <a:pt x="88" y="63"/>
                    </a:lnTo>
                    <a:lnTo>
                      <a:pt x="88" y="63"/>
                    </a:lnTo>
                    <a:lnTo>
                      <a:pt x="84" y="62"/>
                    </a:lnTo>
                    <a:lnTo>
                      <a:pt x="84" y="62"/>
                    </a:lnTo>
                    <a:lnTo>
                      <a:pt x="83" y="60"/>
                    </a:lnTo>
                    <a:lnTo>
                      <a:pt x="83" y="60"/>
                    </a:lnTo>
                    <a:lnTo>
                      <a:pt x="81" y="62"/>
                    </a:lnTo>
                    <a:lnTo>
                      <a:pt x="81" y="62"/>
                    </a:lnTo>
                    <a:lnTo>
                      <a:pt x="83" y="65"/>
                    </a:lnTo>
                    <a:lnTo>
                      <a:pt x="83" y="65"/>
                    </a:lnTo>
                    <a:lnTo>
                      <a:pt x="83" y="66"/>
                    </a:lnTo>
                    <a:lnTo>
                      <a:pt x="83" y="66"/>
                    </a:lnTo>
                    <a:lnTo>
                      <a:pt x="83" y="68"/>
                    </a:lnTo>
                    <a:lnTo>
                      <a:pt x="83" y="68"/>
                    </a:lnTo>
                    <a:lnTo>
                      <a:pt x="81" y="68"/>
                    </a:lnTo>
                    <a:lnTo>
                      <a:pt x="81" y="68"/>
                    </a:lnTo>
                    <a:lnTo>
                      <a:pt x="81" y="66"/>
                    </a:lnTo>
                    <a:lnTo>
                      <a:pt x="81" y="66"/>
                    </a:lnTo>
                    <a:lnTo>
                      <a:pt x="81" y="63"/>
                    </a:lnTo>
                    <a:lnTo>
                      <a:pt x="81" y="63"/>
                    </a:lnTo>
                    <a:lnTo>
                      <a:pt x="75" y="59"/>
                    </a:lnTo>
                    <a:lnTo>
                      <a:pt x="75" y="59"/>
                    </a:lnTo>
                    <a:lnTo>
                      <a:pt x="70" y="57"/>
                    </a:lnTo>
                    <a:lnTo>
                      <a:pt x="70" y="57"/>
                    </a:lnTo>
                    <a:lnTo>
                      <a:pt x="69" y="55"/>
                    </a:lnTo>
                    <a:lnTo>
                      <a:pt x="69" y="55"/>
                    </a:lnTo>
                    <a:lnTo>
                      <a:pt x="65" y="54"/>
                    </a:lnTo>
                    <a:lnTo>
                      <a:pt x="65" y="54"/>
                    </a:lnTo>
                    <a:lnTo>
                      <a:pt x="65" y="54"/>
                    </a:lnTo>
                    <a:lnTo>
                      <a:pt x="65" y="54"/>
                    </a:lnTo>
                    <a:lnTo>
                      <a:pt x="59" y="54"/>
                    </a:lnTo>
                    <a:lnTo>
                      <a:pt x="59" y="54"/>
                    </a:lnTo>
                    <a:lnTo>
                      <a:pt x="59" y="54"/>
                    </a:lnTo>
                    <a:lnTo>
                      <a:pt x="59" y="54"/>
                    </a:lnTo>
                    <a:lnTo>
                      <a:pt x="56" y="54"/>
                    </a:lnTo>
                    <a:lnTo>
                      <a:pt x="56" y="54"/>
                    </a:lnTo>
                    <a:lnTo>
                      <a:pt x="56" y="52"/>
                    </a:lnTo>
                    <a:lnTo>
                      <a:pt x="56" y="52"/>
                    </a:lnTo>
                    <a:lnTo>
                      <a:pt x="54" y="49"/>
                    </a:lnTo>
                    <a:lnTo>
                      <a:pt x="54" y="49"/>
                    </a:lnTo>
                    <a:lnTo>
                      <a:pt x="50" y="52"/>
                    </a:lnTo>
                    <a:lnTo>
                      <a:pt x="50" y="52"/>
                    </a:lnTo>
                    <a:lnTo>
                      <a:pt x="48" y="52"/>
                    </a:lnTo>
                    <a:lnTo>
                      <a:pt x="48" y="52"/>
                    </a:lnTo>
                    <a:lnTo>
                      <a:pt x="48" y="54"/>
                    </a:lnTo>
                    <a:lnTo>
                      <a:pt x="48" y="54"/>
                    </a:lnTo>
                    <a:lnTo>
                      <a:pt x="46" y="54"/>
                    </a:lnTo>
                    <a:lnTo>
                      <a:pt x="46" y="54"/>
                    </a:lnTo>
                    <a:lnTo>
                      <a:pt x="45" y="54"/>
                    </a:lnTo>
                    <a:lnTo>
                      <a:pt x="45" y="54"/>
                    </a:lnTo>
                    <a:lnTo>
                      <a:pt x="43" y="52"/>
                    </a:lnTo>
                    <a:lnTo>
                      <a:pt x="43" y="52"/>
                    </a:lnTo>
                    <a:lnTo>
                      <a:pt x="40" y="52"/>
                    </a:lnTo>
                    <a:lnTo>
                      <a:pt x="40" y="52"/>
                    </a:lnTo>
                    <a:lnTo>
                      <a:pt x="38" y="52"/>
                    </a:lnTo>
                    <a:lnTo>
                      <a:pt x="38" y="52"/>
                    </a:lnTo>
                    <a:lnTo>
                      <a:pt x="38" y="52"/>
                    </a:lnTo>
                    <a:lnTo>
                      <a:pt x="38" y="52"/>
                    </a:lnTo>
                    <a:lnTo>
                      <a:pt x="35" y="52"/>
                    </a:lnTo>
                    <a:lnTo>
                      <a:pt x="35" y="52"/>
                    </a:lnTo>
                    <a:lnTo>
                      <a:pt x="35" y="54"/>
                    </a:lnTo>
                    <a:lnTo>
                      <a:pt x="35" y="54"/>
                    </a:lnTo>
                    <a:lnTo>
                      <a:pt x="35" y="55"/>
                    </a:lnTo>
                    <a:lnTo>
                      <a:pt x="35" y="55"/>
                    </a:lnTo>
                    <a:lnTo>
                      <a:pt x="34" y="57"/>
                    </a:lnTo>
                    <a:lnTo>
                      <a:pt x="34" y="57"/>
                    </a:lnTo>
                    <a:lnTo>
                      <a:pt x="32" y="57"/>
                    </a:lnTo>
                    <a:lnTo>
                      <a:pt x="32" y="57"/>
                    </a:lnTo>
                    <a:lnTo>
                      <a:pt x="30" y="57"/>
                    </a:lnTo>
                    <a:lnTo>
                      <a:pt x="30" y="57"/>
                    </a:lnTo>
                    <a:lnTo>
                      <a:pt x="29" y="59"/>
                    </a:lnTo>
                    <a:lnTo>
                      <a:pt x="29" y="59"/>
                    </a:lnTo>
                    <a:lnTo>
                      <a:pt x="26" y="60"/>
                    </a:lnTo>
                    <a:lnTo>
                      <a:pt x="26" y="60"/>
                    </a:lnTo>
                    <a:lnTo>
                      <a:pt x="24" y="60"/>
                    </a:lnTo>
                    <a:lnTo>
                      <a:pt x="24" y="60"/>
                    </a:lnTo>
                    <a:lnTo>
                      <a:pt x="24" y="62"/>
                    </a:lnTo>
                    <a:lnTo>
                      <a:pt x="24" y="62"/>
                    </a:lnTo>
                    <a:lnTo>
                      <a:pt x="26" y="62"/>
                    </a:lnTo>
                    <a:lnTo>
                      <a:pt x="26" y="62"/>
                    </a:lnTo>
                    <a:lnTo>
                      <a:pt x="24" y="63"/>
                    </a:lnTo>
                    <a:lnTo>
                      <a:pt x="24" y="63"/>
                    </a:lnTo>
                    <a:lnTo>
                      <a:pt x="21" y="66"/>
                    </a:lnTo>
                    <a:lnTo>
                      <a:pt x="21" y="66"/>
                    </a:lnTo>
                    <a:lnTo>
                      <a:pt x="16" y="66"/>
                    </a:lnTo>
                    <a:lnTo>
                      <a:pt x="16" y="66"/>
                    </a:lnTo>
                    <a:lnTo>
                      <a:pt x="18" y="68"/>
                    </a:lnTo>
                    <a:lnTo>
                      <a:pt x="18" y="68"/>
                    </a:lnTo>
                    <a:lnTo>
                      <a:pt x="19" y="70"/>
                    </a:lnTo>
                    <a:lnTo>
                      <a:pt x="19" y="70"/>
                    </a:lnTo>
                    <a:lnTo>
                      <a:pt x="21" y="74"/>
                    </a:lnTo>
                    <a:lnTo>
                      <a:pt x="21" y="74"/>
                    </a:lnTo>
                    <a:lnTo>
                      <a:pt x="21" y="74"/>
                    </a:lnTo>
                    <a:lnTo>
                      <a:pt x="21" y="74"/>
                    </a:lnTo>
                    <a:lnTo>
                      <a:pt x="19" y="78"/>
                    </a:lnTo>
                    <a:lnTo>
                      <a:pt x="19" y="78"/>
                    </a:lnTo>
                    <a:lnTo>
                      <a:pt x="16" y="78"/>
                    </a:lnTo>
                    <a:lnTo>
                      <a:pt x="16" y="78"/>
                    </a:lnTo>
                    <a:lnTo>
                      <a:pt x="11" y="73"/>
                    </a:lnTo>
                    <a:lnTo>
                      <a:pt x="11" y="73"/>
                    </a:lnTo>
                    <a:lnTo>
                      <a:pt x="10" y="71"/>
                    </a:lnTo>
                    <a:lnTo>
                      <a:pt x="10" y="71"/>
                    </a:lnTo>
                    <a:lnTo>
                      <a:pt x="7" y="70"/>
                    </a:lnTo>
                    <a:lnTo>
                      <a:pt x="7" y="70"/>
                    </a:lnTo>
                    <a:lnTo>
                      <a:pt x="7" y="70"/>
                    </a:lnTo>
                    <a:lnTo>
                      <a:pt x="7" y="70"/>
                    </a:lnTo>
                    <a:lnTo>
                      <a:pt x="3" y="70"/>
                    </a:lnTo>
                    <a:lnTo>
                      <a:pt x="3" y="70"/>
                    </a:lnTo>
                    <a:lnTo>
                      <a:pt x="3" y="71"/>
                    </a:lnTo>
                    <a:lnTo>
                      <a:pt x="3" y="71"/>
                    </a:lnTo>
                    <a:lnTo>
                      <a:pt x="3" y="73"/>
                    </a:lnTo>
                    <a:lnTo>
                      <a:pt x="3" y="73"/>
                    </a:lnTo>
                    <a:lnTo>
                      <a:pt x="3" y="74"/>
                    </a:lnTo>
                    <a:lnTo>
                      <a:pt x="3" y="74"/>
                    </a:lnTo>
                    <a:lnTo>
                      <a:pt x="3" y="74"/>
                    </a:lnTo>
                    <a:lnTo>
                      <a:pt x="3" y="74"/>
                    </a:lnTo>
                    <a:lnTo>
                      <a:pt x="0" y="78"/>
                    </a:lnTo>
                    <a:lnTo>
                      <a:pt x="0" y="78"/>
                    </a:lnTo>
                    <a:lnTo>
                      <a:pt x="0" y="81"/>
                    </a:lnTo>
                    <a:lnTo>
                      <a:pt x="0" y="81"/>
                    </a:lnTo>
                    <a:lnTo>
                      <a:pt x="0" y="84"/>
                    </a:lnTo>
                    <a:lnTo>
                      <a:pt x="0" y="84"/>
                    </a:lnTo>
                    <a:lnTo>
                      <a:pt x="2" y="86"/>
                    </a:lnTo>
                    <a:lnTo>
                      <a:pt x="2" y="86"/>
                    </a:lnTo>
                    <a:lnTo>
                      <a:pt x="3" y="87"/>
                    </a:lnTo>
                    <a:lnTo>
                      <a:pt x="3" y="87"/>
                    </a:lnTo>
                    <a:lnTo>
                      <a:pt x="3" y="87"/>
                    </a:lnTo>
                    <a:lnTo>
                      <a:pt x="3" y="87"/>
                    </a:lnTo>
                    <a:lnTo>
                      <a:pt x="3" y="89"/>
                    </a:lnTo>
                    <a:lnTo>
                      <a:pt x="3" y="89"/>
                    </a:lnTo>
                    <a:lnTo>
                      <a:pt x="0" y="90"/>
                    </a:lnTo>
                    <a:lnTo>
                      <a:pt x="0" y="90"/>
                    </a:lnTo>
                    <a:lnTo>
                      <a:pt x="0" y="93"/>
                    </a:lnTo>
                    <a:lnTo>
                      <a:pt x="0" y="93"/>
                    </a:lnTo>
                    <a:lnTo>
                      <a:pt x="0" y="95"/>
                    </a:lnTo>
                    <a:lnTo>
                      <a:pt x="0" y="95"/>
                    </a:lnTo>
                    <a:lnTo>
                      <a:pt x="0" y="97"/>
                    </a:lnTo>
                    <a:lnTo>
                      <a:pt x="0" y="97"/>
                    </a:lnTo>
                    <a:lnTo>
                      <a:pt x="3" y="98"/>
                    </a:lnTo>
                    <a:lnTo>
                      <a:pt x="3" y="98"/>
                    </a:lnTo>
                    <a:lnTo>
                      <a:pt x="3" y="98"/>
                    </a:lnTo>
                    <a:lnTo>
                      <a:pt x="3" y="98"/>
                    </a:lnTo>
                    <a:lnTo>
                      <a:pt x="7" y="100"/>
                    </a:lnTo>
                    <a:lnTo>
                      <a:pt x="7" y="100"/>
                    </a:lnTo>
                    <a:lnTo>
                      <a:pt x="10" y="103"/>
                    </a:lnTo>
                    <a:lnTo>
                      <a:pt x="10" y="103"/>
                    </a:lnTo>
                    <a:lnTo>
                      <a:pt x="7" y="103"/>
                    </a:lnTo>
                    <a:lnTo>
                      <a:pt x="7" y="103"/>
                    </a:lnTo>
                    <a:lnTo>
                      <a:pt x="10" y="106"/>
                    </a:lnTo>
                    <a:lnTo>
                      <a:pt x="10" y="106"/>
                    </a:lnTo>
                    <a:lnTo>
                      <a:pt x="10" y="108"/>
                    </a:lnTo>
                    <a:lnTo>
                      <a:pt x="10" y="108"/>
                    </a:lnTo>
                    <a:lnTo>
                      <a:pt x="11" y="108"/>
                    </a:lnTo>
                    <a:lnTo>
                      <a:pt x="11" y="108"/>
                    </a:lnTo>
                    <a:lnTo>
                      <a:pt x="13" y="106"/>
                    </a:lnTo>
                    <a:lnTo>
                      <a:pt x="13" y="106"/>
                    </a:lnTo>
                    <a:lnTo>
                      <a:pt x="15" y="106"/>
                    </a:lnTo>
                    <a:lnTo>
                      <a:pt x="15" y="106"/>
                    </a:lnTo>
                    <a:lnTo>
                      <a:pt x="18" y="108"/>
                    </a:lnTo>
                    <a:lnTo>
                      <a:pt x="18" y="108"/>
                    </a:lnTo>
                    <a:lnTo>
                      <a:pt x="23" y="109"/>
                    </a:lnTo>
                    <a:lnTo>
                      <a:pt x="23" y="109"/>
                    </a:lnTo>
                    <a:lnTo>
                      <a:pt x="24" y="113"/>
                    </a:lnTo>
                    <a:lnTo>
                      <a:pt x="24" y="113"/>
                    </a:lnTo>
                    <a:lnTo>
                      <a:pt x="29" y="116"/>
                    </a:lnTo>
                    <a:lnTo>
                      <a:pt x="29" y="116"/>
                    </a:lnTo>
                    <a:lnTo>
                      <a:pt x="30" y="119"/>
                    </a:lnTo>
                    <a:lnTo>
                      <a:pt x="30" y="119"/>
                    </a:lnTo>
                    <a:lnTo>
                      <a:pt x="32" y="120"/>
                    </a:lnTo>
                    <a:lnTo>
                      <a:pt x="32" y="120"/>
                    </a:lnTo>
                    <a:lnTo>
                      <a:pt x="30" y="120"/>
                    </a:lnTo>
                    <a:lnTo>
                      <a:pt x="30" y="120"/>
                    </a:lnTo>
                    <a:lnTo>
                      <a:pt x="29" y="120"/>
                    </a:lnTo>
                    <a:lnTo>
                      <a:pt x="29" y="120"/>
                    </a:lnTo>
                    <a:lnTo>
                      <a:pt x="27" y="120"/>
                    </a:lnTo>
                    <a:lnTo>
                      <a:pt x="27" y="120"/>
                    </a:lnTo>
                    <a:lnTo>
                      <a:pt x="29" y="122"/>
                    </a:lnTo>
                    <a:lnTo>
                      <a:pt x="29" y="122"/>
                    </a:lnTo>
                    <a:lnTo>
                      <a:pt x="27" y="122"/>
                    </a:lnTo>
                    <a:lnTo>
                      <a:pt x="27" y="122"/>
                    </a:lnTo>
                    <a:lnTo>
                      <a:pt x="32" y="124"/>
                    </a:lnTo>
                    <a:lnTo>
                      <a:pt x="32" y="124"/>
                    </a:lnTo>
                    <a:lnTo>
                      <a:pt x="34" y="125"/>
                    </a:lnTo>
                    <a:lnTo>
                      <a:pt x="34" y="125"/>
                    </a:lnTo>
                    <a:lnTo>
                      <a:pt x="35" y="127"/>
                    </a:lnTo>
                    <a:lnTo>
                      <a:pt x="35" y="127"/>
                    </a:lnTo>
                    <a:lnTo>
                      <a:pt x="35" y="125"/>
                    </a:lnTo>
                    <a:lnTo>
                      <a:pt x="35" y="125"/>
                    </a:lnTo>
                    <a:lnTo>
                      <a:pt x="38" y="125"/>
                    </a:lnTo>
                    <a:lnTo>
                      <a:pt x="38" y="125"/>
                    </a:lnTo>
                    <a:lnTo>
                      <a:pt x="35" y="124"/>
                    </a:lnTo>
                    <a:lnTo>
                      <a:pt x="35" y="124"/>
                    </a:lnTo>
                    <a:lnTo>
                      <a:pt x="38" y="124"/>
                    </a:lnTo>
                    <a:lnTo>
                      <a:pt x="38" y="124"/>
                    </a:lnTo>
                    <a:lnTo>
                      <a:pt x="40" y="124"/>
                    </a:lnTo>
                    <a:lnTo>
                      <a:pt x="40" y="124"/>
                    </a:lnTo>
                    <a:lnTo>
                      <a:pt x="42" y="124"/>
                    </a:lnTo>
                    <a:lnTo>
                      <a:pt x="42" y="124"/>
                    </a:lnTo>
                    <a:lnTo>
                      <a:pt x="46" y="120"/>
                    </a:lnTo>
                    <a:lnTo>
                      <a:pt x="46" y="120"/>
                    </a:lnTo>
                    <a:lnTo>
                      <a:pt x="48" y="119"/>
                    </a:lnTo>
                    <a:lnTo>
                      <a:pt x="48" y="119"/>
                    </a:lnTo>
                    <a:lnTo>
                      <a:pt x="50" y="119"/>
                    </a:lnTo>
                    <a:lnTo>
                      <a:pt x="50" y="119"/>
                    </a:lnTo>
                    <a:lnTo>
                      <a:pt x="53" y="119"/>
                    </a:lnTo>
                    <a:lnTo>
                      <a:pt x="53" y="119"/>
                    </a:lnTo>
                    <a:lnTo>
                      <a:pt x="54" y="116"/>
                    </a:lnTo>
                    <a:lnTo>
                      <a:pt x="54" y="116"/>
                    </a:lnTo>
                    <a:lnTo>
                      <a:pt x="56" y="116"/>
                    </a:lnTo>
                    <a:lnTo>
                      <a:pt x="56" y="116"/>
                    </a:lnTo>
                    <a:lnTo>
                      <a:pt x="59" y="119"/>
                    </a:lnTo>
                    <a:lnTo>
                      <a:pt x="59" y="119"/>
                    </a:lnTo>
                    <a:lnTo>
                      <a:pt x="65" y="119"/>
                    </a:lnTo>
                    <a:lnTo>
                      <a:pt x="65" y="119"/>
                    </a:lnTo>
                    <a:lnTo>
                      <a:pt x="69" y="119"/>
                    </a:lnTo>
                    <a:lnTo>
                      <a:pt x="69" y="119"/>
                    </a:lnTo>
                    <a:lnTo>
                      <a:pt x="70" y="119"/>
                    </a:lnTo>
                    <a:lnTo>
                      <a:pt x="70" y="119"/>
                    </a:lnTo>
                    <a:lnTo>
                      <a:pt x="73" y="119"/>
                    </a:lnTo>
                    <a:lnTo>
                      <a:pt x="73" y="119"/>
                    </a:lnTo>
                    <a:lnTo>
                      <a:pt x="77" y="119"/>
                    </a:lnTo>
                    <a:lnTo>
                      <a:pt x="77" y="119"/>
                    </a:lnTo>
                    <a:lnTo>
                      <a:pt x="78" y="122"/>
                    </a:lnTo>
                    <a:lnTo>
                      <a:pt x="78" y="122"/>
                    </a:lnTo>
                    <a:lnTo>
                      <a:pt x="81" y="127"/>
                    </a:lnTo>
                    <a:lnTo>
                      <a:pt x="81" y="127"/>
                    </a:lnTo>
                    <a:lnTo>
                      <a:pt x="81" y="130"/>
                    </a:lnTo>
                    <a:lnTo>
                      <a:pt x="81" y="130"/>
                    </a:lnTo>
                    <a:lnTo>
                      <a:pt x="80" y="133"/>
                    </a:lnTo>
                    <a:lnTo>
                      <a:pt x="80" y="133"/>
                    </a:lnTo>
                    <a:lnTo>
                      <a:pt x="78" y="135"/>
                    </a:lnTo>
                    <a:lnTo>
                      <a:pt x="78" y="135"/>
                    </a:lnTo>
                    <a:lnTo>
                      <a:pt x="78" y="138"/>
                    </a:lnTo>
                    <a:lnTo>
                      <a:pt x="78" y="138"/>
                    </a:lnTo>
                    <a:lnTo>
                      <a:pt x="81" y="140"/>
                    </a:lnTo>
                    <a:lnTo>
                      <a:pt x="81" y="140"/>
                    </a:lnTo>
                    <a:lnTo>
                      <a:pt x="84" y="141"/>
                    </a:lnTo>
                    <a:lnTo>
                      <a:pt x="84" y="141"/>
                    </a:lnTo>
                    <a:lnTo>
                      <a:pt x="81" y="143"/>
                    </a:lnTo>
                    <a:lnTo>
                      <a:pt x="81" y="143"/>
                    </a:lnTo>
                    <a:lnTo>
                      <a:pt x="78" y="141"/>
                    </a:lnTo>
                    <a:lnTo>
                      <a:pt x="78" y="141"/>
                    </a:lnTo>
                    <a:lnTo>
                      <a:pt x="72" y="141"/>
                    </a:lnTo>
                    <a:lnTo>
                      <a:pt x="72" y="141"/>
                    </a:lnTo>
                    <a:lnTo>
                      <a:pt x="69" y="141"/>
                    </a:lnTo>
                    <a:lnTo>
                      <a:pt x="69" y="141"/>
                    </a:lnTo>
                    <a:lnTo>
                      <a:pt x="69" y="140"/>
                    </a:lnTo>
                    <a:lnTo>
                      <a:pt x="69" y="140"/>
                    </a:lnTo>
                    <a:lnTo>
                      <a:pt x="65" y="141"/>
                    </a:lnTo>
                    <a:lnTo>
                      <a:pt x="65" y="141"/>
                    </a:lnTo>
                    <a:lnTo>
                      <a:pt x="62" y="144"/>
                    </a:lnTo>
                    <a:lnTo>
                      <a:pt x="62" y="144"/>
                    </a:lnTo>
                    <a:lnTo>
                      <a:pt x="59" y="147"/>
                    </a:lnTo>
                    <a:lnTo>
                      <a:pt x="59" y="147"/>
                    </a:lnTo>
                    <a:lnTo>
                      <a:pt x="62" y="147"/>
                    </a:lnTo>
                    <a:lnTo>
                      <a:pt x="62" y="147"/>
                    </a:lnTo>
                    <a:lnTo>
                      <a:pt x="65" y="151"/>
                    </a:lnTo>
                    <a:lnTo>
                      <a:pt x="65" y="151"/>
                    </a:lnTo>
                    <a:lnTo>
                      <a:pt x="69" y="152"/>
                    </a:lnTo>
                    <a:lnTo>
                      <a:pt x="69" y="152"/>
                    </a:lnTo>
                    <a:lnTo>
                      <a:pt x="62" y="152"/>
                    </a:lnTo>
                    <a:lnTo>
                      <a:pt x="62" y="152"/>
                    </a:lnTo>
                    <a:lnTo>
                      <a:pt x="59" y="151"/>
                    </a:lnTo>
                    <a:lnTo>
                      <a:pt x="59" y="151"/>
                    </a:lnTo>
                    <a:lnTo>
                      <a:pt x="56" y="151"/>
                    </a:lnTo>
                    <a:lnTo>
                      <a:pt x="56" y="151"/>
                    </a:lnTo>
                    <a:lnTo>
                      <a:pt x="53" y="151"/>
                    </a:lnTo>
                    <a:lnTo>
                      <a:pt x="53" y="151"/>
                    </a:lnTo>
                    <a:lnTo>
                      <a:pt x="53" y="152"/>
                    </a:lnTo>
                    <a:lnTo>
                      <a:pt x="53" y="152"/>
                    </a:lnTo>
                    <a:lnTo>
                      <a:pt x="53" y="154"/>
                    </a:lnTo>
                    <a:lnTo>
                      <a:pt x="53" y="154"/>
                    </a:lnTo>
                    <a:lnTo>
                      <a:pt x="56" y="155"/>
                    </a:lnTo>
                    <a:lnTo>
                      <a:pt x="56" y="155"/>
                    </a:lnTo>
                    <a:lnTo>
                      <a:pt x="59" y="157"/>
                    </a:lnTo>
                    <a:lnTo>
                      <a:pt x="59" y="157"/>
                    </a:lnTo>
                    <a:lnTo>
                      <a:pt x="62" y="160"/>
                    </a:lnTo>
                    <a:lnTo>
                      <a:pt x="62" y="160"/>
                    </a:lnTo>
                    <a:lnTo>
                      <a:pt x="65" y="163"/>
                    </a:lnTo>
                    <a:lnTo>
                      <a:pt x="65" y="163"/>
                    </a:lnTo>
                    <a:lnTo>
                      <a:pt x="65" y="165"/>
                    </a:lnTo>
                    <a:lnTo>
                      <a:pt x="65" y="165"/>
                    </a:lnTo>
                    <a:lnTo>
                      <a:pt x="69" y="168"/>
                    </a:lnTo>
                    <a:lnTo>
                      <a:pt x="69" y="168"/>
                    </a:lnTo>
                    <a:lnTo>
                      <a:pt x="69" y="168"/>
                    </a:lnTo>
                    <a:lnTo>
                      <a:pt x="69" y="168"/>
                    </a:lnTo>
                    <a:lnTo>
                      <a:pt x="69" y="171"/>
                    </a:lnTo>
                    <a:lnTo>
                      <a:pt x="69" y="171"/>
                    </a:lnTo>
                    <a:lnTo>
                      <a:pt x="70" y="171"/>
                    </a:lnTo>
                    <a:lnTo>
                      <a:pt x="70" y="171"/>
                    </a:lnTo>
                    <a:lnTo>
                      <a:pt x="72" y="171"/>
                    </a:lnTo>
                    <a:lnTo>
                      <a:pt x="72" y="171"/>
                    </a:lnTo>
                    <a:lnTo>
                      <a:pt x="72" y="171"/>
                    </a:lnTo>
                    <a:lnTo>
                      <a:pt x="72" y="171"/>
                    </a:lnTo>
                    <a:lnTo>
                      <a:pt x="75" y="174"/>
                    </a:lnTo>
                    <a:lnTo>
                      <a:pt x="75" y="174"/>
                    </a:lnTo>
                    <a:lnTo>
                      <a:pt x="77" y="174"/>
                    </a:lnTo>
                    <a:lnTo>
                      <a:pt x="77" y="174"/>
                    </a:lnTo>
                    <a:lnTo>
                      <a:pt x="80" y="174"/>
                    </a:lnTo>
                    <a:lnTo>
                      <a:pt x="80" y="174"/>
                    </a:lnTo>
                    <a:lnTo>
                      <a:pt x="84" y="178"/>
                    </a:lnTo>
                    <a:lnTo>
                      <a:pt x="84" y="178"/>
                    </a:lnTo>
                    <a:lnTo>
                      <a:pt x="86" y="178"/>
                    </a:lnTo>
                    <a:lnTo>
                      <a:pt x="86" y="178"/>
                    </a:lnTo>
                    <a:lnTo>
                      <a:pt x="86" y="179"/>
                    </a:lnTo>
                    <a:lnTo>
                      <a:pt x="86" y="179"/>
                    </a:lnTo>
                    <a:lnTo>
                      <a:pt x="86" y="181"/>
                    </a:lnTo>
                    <a:lnTo>
                      <a:pt x="86" y="181"/>
                    </a:lnTo>
                    <a:lnTo>
                      <a:pt x="84" y="186"/>
                    </a:lnTo>
                    <a:lnTo>
                      <a:pt x="84" y="186"/>
                    </a:lnTo>
                    <a:lnTo>
                      <a:pt x="84" y="189"/>
                    </a:lnTo>
                    <a:lnTo>
                      <a:pt x="84" y="189"/>
                    </a:lnTo>
                    <a:lnTo>
                      <a:pt x="86" y="192"/>
                    </a:lnTo>
                    <a:lnTo>
                      <a:pt x="86" y="192"/>
                    </a:lnTo>
                    <a:lnTo>
                      <a:pt x="89" y="189"/>
                    </a:lnTo>
                    <a:lnTo>
                      <a:pt x="89" y="189"/>
                    </a:lnTo>
                    <a:lnTo>
                      <a:pt x="91" y="187"/>
                    </a:lnTo>
                    <a:lnTo>
                      <a:pt x="91" y="187"/>
                    </a:lnTo>
                    <a:lnTo>
                      <a:pt x="91" y="186"/>
                    </a:lnTo>
                    <a:lnTo>
                      <a:pt x="91" y="186"/>
                    </a:lnTo>
                    <a:lnTo>
                      <a:pt x="94" y="184"/>
                    </a:lnTo>
                    <a:lnTo>
                      <a:pt x="94" y="184"/>
                    </a:lnTo>
                    <a:lnTo>
                      <a:pt x="94" y="184"/>
                    </a:lnTo>
                    <a:lnTo>
                      <a:pt x="94" y="184"/>
                    </a:lnTo>
                    <a:lnTo>
                      <a:pt x="97" y="184"/>
                    </a:lnTo>
                    <a:lnTo>
                      <a:pt x="97" y="184"/>
                    </a:lnTo>
                    <a:lnTo>
                      <a:pt x="100" y="184"/>
                    </a:lnTo>
                    <a:lnTo>
                      <a:pt x="100" y="184"/>
                    </a:lnTo>
                    <a:lnTo>
                      <a:pt x="104" y="184"/>
                    </a:lnTo>
                    <a:lnTo>
                      <a:pt x="104" y="184"/>
                    </a:lnTo>
                    <a:lnTo>
                      <a:pt x="108" y="186"/>
                    </a:lnTo>
                    <a:lnTo>
                      <a:pt x="108" y="186"/>
                    </a:lnTo>
                    <a:lnTo>
                      <a:pt x="115" y="190"/>
                    </a:lnTo>
                    <a:lnTo>
                      <a:pt x="115" y="190"/>
                    </a:lnTo>
                    <a:lnTo>
                      <a:pt x="119" y="195"/>
                    </a:lnTo>
                    <a:lnTo>
                      <a:pt x="119" y="195"/>
                    </a:lnTo>
                    <a:lnTo>
                      <a:pt x="119" y="195"/>
                    </a:lnTo>
                    <a:lnTo>
                      <a:pt x="119" y="195"/>
                    </a:lnTo>
                    <a:lnTo>
                      <a:pt x="121" y="197"/>
                    </a:lnTo>
                    <a:lnTo>
                      <a:pt x="121" y="197"/>
                    </a:lnTo>
                    <a:lnTo>
                      <a:pt x="124" y="198"/>
                    </a:lnTo>
                    <a:lnTo>
                      <a:pt x="124" y="198"/>
                    </a:lnTo>
                    <a:lnTo>
                      <a:pt x="126" y="198"/>
                    </a:lnTo>
                    <a:lnTo>
                      <a:pt x="126" y="198"/>
                    </a:lnTo>
                    <a:lnTo>
                      <a:pt x="129" y="198"/>
                    </a:lnTo>
                    <a:lnTo>
                      <a:pt x="129" y="198"/>
                    </a:lnTo>
                    <a:lnTo>
                      <a:pt x="118" y="144"/>
                    </a:lnTo>
                    <a:lnTo>
                      <a:pt x="118" y="144"/>
                    </a:lnTo>
                    <a:lnTo>
                      <a:pt x="143" y="138"/>
                    </a:lnTo>
                    <a:lnTo>
                      <a:pt x="143" y="138"/>
                    </a:lnTo>
                    <a:lnTo>
                      <a:pt x="145" y="136"/>
                    </a:lnTo>
                    <a:lnTo>
                      <a:pt x="145" y="136"/>
                    </a:lnTo>
                    <a:lnTo>
                      <a:pt x="145" y="135"/>
                    </a:lnTo>
                    <a:lnTo>
                      <a:pt x="145" y="135"/>
                    </a:lnTo>
                    <a:lnTo>
                      <a:pt x="146" y="133"/>
                    </a:lnTo>
                    <a:lnTo>
                      <a:pt x="146" y="133"/>
                    </a:lnTo>
                    <a:lnTo>
                      <a:pt x="148" y="133"/>
                    </a:lnTo>
                    <a:lnTo>
                      <a:pt x="148" y="133"/>
                    </a:lnTo>
                    <a:lnTo>
                      <a:pt x="153" y="132"/>
                    </a:lnTo>
                    <a:lnTo>
                      <a:pt x="153" y="132"/>
                    </a:lnTo>
                    <a:lnTo>
                      <a:pt x="153" y="133"/>
                    </a:lnTo>
                    <a:lnTo>
                      <a:pt x="153" y="133"/>
                    </a:lnTo>
                    <a:lnTo>
                      <a:pt x="150" y="133"/>
                    </a:lnTo>
                    <a:lnTo>
                      <a:pt x="150" y="133"/>
                    </a:lnTo>
                    <a:lnTo>
                      <a:pt x="150" y="135"/>
                    </a:lnTo>
                    <a:lnTo>
                      <a:pt x="150" y="135"/>
                    </a:lnTo>
                    <a:lnTo>
                      <a:pt x="153" y="135"/>
                    </a:lnTo>
                    <a:lnTo>
                      <a:pt x="153" y="135"/>
                    </a:lnTo>
                    <a:lnTo>
                      <a:pt x="156" y="136"/>
                    </a:lnTo>
                    <a:lnTo>
                      <a:pt x="156" y="136"/>
                    </a:lnTo>
                    <a:lnTo>
                      <a:pt x="156" y="135"/>
                    </a:lnTo>
                    <a:lnTo>
                      <a:pt x="156" y="135"/>
                    </a:lnTo>
                    <a:lnTo>
                      <a:pt x="156" y="132"/>
                    </a:lnTo>
                    <a:lnTo>
                      <a:pt x="156" y="132"/>
                    </a:lnTo>
                    <a:lnTo>
                      <a:pt x="153" y="128"/>
                    </a:lnTo>
                    <a:lnTo>
                      <a:pt x="153" y="128"/>
                    </a:lnTo>
                    <a:lnTo>
                      <a:pt x="153" y="127"/>
                    </a:lnTo>
                    <a:lnTo>
                      <a:pt x="153" y="127"/>
                    </a:lnTo>
                    <a:lnTo>
                      <a:pt x="156" y="128"/>
                    </a:lnTo>
                    <a:lnTo>
                      <a:pt x="156" y="128"/>
                    </a:lnTo>
                    <a:lnTo>
                      <a:pt x="156" y="128"/>
                    </a:lnTo>
                    <a:lnTo>
                      <a:pt x="156" y="128"/>
                    </a:lnTo>
                    <a:lnTo>
                      <a:pt x="156" y="130"/>
                    </a:lnTo>
                    <a:lnTo>
                      <a:pt x="156" y="130"/>
                    </a:lnTo>
                    <a:lnTo>
                      <a:pt x="161" y="130"/>
                    </a:lnTo>
                    <a:lnTo>
                      <a:pt x="161" y="130"/>
                    </a:lnTo>
                    <a:lnTo>
                      <a:pt x="162" y="132"/>
                    </a:lnTo>
                    <a:lnTo>
                      <a:pt x="162" y="132"/>
                    </a:lnTo>
                    <a:lnTo>
                      <a:pt x="161" y="132"/>
                    </a:lnTo>
                    <a:lnTo>
                      <a:pt x="161" y="132"/>
                    </a:lnTo>
                    <a:lnTo>
                      <a:pt x="159" y="132"/>
                    </a:lnTo>
                    <a:lnTo>
                      <a:pt x="159" y="132"/>
                    </a:lnTo>
                    <a:lnTo>
                      <a:pt x="161" y="133"/>
                    </a:lnTo>
                    <a:lnTo>
                      <a:pt x="161" y="133"/>
                    </a:lnTo>
                    <a:lnTo>
                      <a:pt x="164" y="136"/>
                    </a:lnTo>
                    <a:lnTo>
                      <a:pt x="164" y="136"/>
                    </a:lnTo>
                    <a:lnTo>
                      <a:pt x="161" y="136"/>
                    </a:lnTo>
                    <a:lnTo>
                      <a:pt x="161" y="136"/>
                    </a:lnTo>
                    <a:lnTo>
                      <a:pt x="159" y="136"/>
                    </a:lnTo>
                    <a:lnTo>
                      <a:pt x="159" y="136"/>
                    </a:lnTo>
                    <a:lnTo>
                      <a:pt x="156" y="136"/>
                    </a:lnTo>
                    <a:lnTo>
                      <a:pt x="156" y="136"/>
                    </a:lnTo>
                    <a:lnTo>
                      <a:pt x="159" y="138"/>
                    </a:lnTo>
                    <a:lnTo>
                      <a:pt x="159" y="138"/>
                    </a:lnTo>
                    <a:lnTo>
                      <a:pt x="162" y="138"/>
                    </a:lnTo>
                    <a:lnTo>
                      <a:pt x="162" y="138"/>
                    </a:lnTo>
                    <a:lnTo>
                      <a:pt x="165" y="138"/>
                    </a:lnTo>
                    <a:lnTo>
                      <a:pt x="165" y="138"/>
                    </a:lnTo>
                    <a:lnTo>
                      <a:pt x="165" y="141"/>
                    </a:lnTo>
                    <a:lnTo>
                      <a:pt x="165" y="141"/>
                    </a:lnTo>
                    <a:lnTo>
                      <a:pt x="165" y="143"/>
                    </a:lnTo>
                    <a:lnTo>
                      <a:pt x="165" y="143"/>
                    </a:lnTo>
                    <a:lnTo>
                      <a:pt x="165" y="144"/>
                    </a:lnTo>
                    <a:lnTo>
                      <a:pt x="165" y="144"/>
                    </a:lnTo>
                    <a:lnTo>
                      <a:pt x="167" y="144"/>
                    </a:lnTo>
                    <a:lnTo>
                      <a:pt x="167" y="144"/>
                    </a:lnTo>
                    <a:lnTo>
                      <a:pt x="170" y="151"/>
                    </a:lnTo>
                    <a:lnTo>
                      <a:pt x="170" y="151"/>
                    </a:lnTo>
                    <a:lnTo>
                      <a:pt x="172" y="151"/>
                    </a:lnTo>
                    <a:lnTo>
                      <a:pt x="172" y="151"/>
                    </a:lnTo>
                    <a:lnTo>
                      <a:pt x="170" y="151"/>
                    </a:lnTo>
                    <a:lnTo>
                      <a:pt x="170" y="151"/>
                    </a:lnTo>
                    <a:lnTo>
                      <a:pt x="172" y="152"/>
                    </a:lnTo>
                    <a:lnTo>
                      <a:pt x="172" y="152"/>
                    </a:lnTo>
                    <a:lnTo>
                      <a:pt x="177" y="154"/>
                    </a:lnTo>
                    <a:lnTo>
                      <a:pt x="177" y="154"/>
                    </a:lnTo>
                    <a:lnTo>
                      <a:pt x="184" y="163"/>
                    </a:lnTo>
                    <a:lnTo>
                      <a:pt x="184" y="163"/>
                    </a:lnTo>
                    <a:lnTo>
                      <a:pt x="188" y="163"/>
                    </a:lnTo>
                    <a:lnTo>
                      <a:pt x="188" y="163"/>
                    </a:lnTo>
                    <a:lnTo>
                      <a:pt x="188" y="165"/>
                    </a:lnTo>
                    <a:lnTo>
                      <a:pt x="188" y="165"/>
                    </a:lnTo>
                    <a:lnTo>
                      <a:pt x="191" y="165"/>
                    </a:lnTo>
                    <a:lnTo>
                      <a:pt x="191" y="165"/>
                    </a:lnTo>
                    <a:lnTo>
                      <a:pt x="194" y="165"/>
                    </a:lnTo>
                    <a:lnTo>
                      <a:pt x="194" y="165"/>
                    </a:lnTo>
                    <a:lnTo>
                      <a:pt x="197" y="165"/>
                    </a:lnTo>
                    <a:lnTo>
                      <a:pt x="197" y="165"/>
                    </a:lnTo>
                    <a:lnTo>
                      <a:pt x="202" y="165"/>
                    </a:lnTo>
                    <a:lnTo>
                      <a:pt x="202" y="165"/>
                    </a:lnTo>
                    <a:lnTo>
                      <a:pt x="210" y="165"/>
                    </a:lnTo>
                    <a:lnTo>
                      <a:pt x="210" y="165"/>
                    </a:lnTo>
                    <a:lnTo>
                      <a:pt x="215" y="165"/>
                    </a:lnTo>
                    <a:lnTo>
                      <a:pt x="215" y="165"/>
                    </a:lnTo>
                    <a:lnTo>
                      <a:pt x="219" y="165"/>
                    </a:lnTo>
                    <a:lnTo>
                      <a:pt x="219" y="165"/>
                    </a:lnTo>
                    <a:lnTo>
                      <a:pt x="223" y="165"/>
                    </a:lnTo>
                    <a:lnTo>
                      <a:pt x="223" y="165"/>
                    </a:lnTo>
                    <a:lnTo>
                      <a:pt x="223" y="163"/>
                    </a:lnTo>
                    <a:lnTo>
                      <a:pt x="223" y="163"/>
                    </a:lnTo>
                    <a:lnTo>
                      <a:pt x="226" y="165"/>
                    </a:lnTo>
                    <a:lnTo>
                      <a:pt x="226" y="165"/>
                    </a:lnTo>
                    <a:lnTo>
                      <a:pt x="229" y="167"/>
                    </a:lnTo>
                    <a:lnTo>
                      <a:pt x="229" y="167"/>
                    </a:lnTo>
                    <a:lnTo>
                      <a:pt x="231" y="168"/>
                    </a:lnTo>
                    <a:lnTo>
                      <a:pt x="231" y="168"/>
                    </a:lnTo>
                    <a:lnTo>
                      <a:pt x="232" y="171"/>
                    </a:lnTo>
                    <a:lnTo>
                      <a:pt x="232" y="171"/>
                    </a:lnTo>
                    <a:lnTo>
                      <a:pt x="235" y="174"/>
                    </a:lnTo>
                    <a:lnTo>
                      <a:pt x="235" y="174"/>
                    </a:lnTo>
                    <a:lnTo>
                      <a:pt x="237" y="174"/>
                    </a:lnTo>
                    <a:lnTo>
                      <a:pt x="237" y="174"/>
                    </a:lnTo>
                    <a:lnTo>
                      <a:pt x="240" y="174"/>
                    </a:lnTo>
                    <a:lnTo>
                      <a:pt x="240" y="174"/>
                    </a:lnTo>
                    <a:lnTo>
                      <a:pt x="240" y="181"/>
                    </a:lnTo>
                    <a:lnTo>
                      <a:pt x="240" y="181"/>
                    </a:lnTo>
                    <a:lnTo>
                      <a:pt x="242" y="186"/>
                    </a:lnTo>
                    <a:lnTo>
                      <a:pt x="242" y="186"/>
                    </a:lnTo>
                    <a:lnTo>
                      <a:pt x="243" y="187"/>
                    </a:lnTo>
                    <a:lnTo>
                      <a:pt x="243" y="187"/>
                    </a:lnTo>
                    <a:lnTo>
                      <a:pt x="246" y="189"/>
                    </a:lnTo>
                    <a:lnTo>
                      <a:pt x="246" y="189"/>
                    </a:lnTo>
                    <a:lnTo>
                      <a:pt x="248" y="189"/>
                    </a:lnTo>
                    <a:lnTo>
                      <a:pt x="248" y="189"/>
                    </a:lnTo>
                    <a:lnTo>
                      <a:pt x="250" y="190"/>
                    </a:lnTo>
                    <a:lnTo>
                      <a:pt x="250" y="190"/>
                    </a:lnTo>
                    <a:lnTo>
                      <a:pt x="251" y="200"/>
                    </a:lnTo>
                    <a:lnTo>
                      <a:pt x="251" y="200"/>
                    </a:lnTo>
                    <a:lnTo>
                      <a:pt x="254" y="200"/>
                    </a:lnTo>
                    <a:lnTo>
                      <a:pt x="254" y="200"/>
                    </a:lnTo>
                    <a:lnTo>
                      <a:pt x="258" y="200"/>
                    </a:lnTo>
                    <a:lnTo>
                      <a:pt x="258" y="200"/>
                    </a:lnTo>
                    <a:lnTo>
                      <a:pt x="261" y="200"/>
                    </a:lnTo>
                    <a:lnTo>
                      <a:pt x="261" y="200"/>
                    </a:lnTo>
                    <a:lnTo>
                      <a:pt x="267" y="200"/>
                    </a:lnTo>
                    <a:lnTo>
                      <a:pt x="267" y="200"/>
                    </a:lnTo>
                    <a:lnTo>
                      <a:pt x="270" y="200"/>
                    </a:lnTo>
                    <a:lnTo>
                      <a:pt x="270" y="200"/>
                    </a:lnTo>
                    <a:lnTo>
                      <a:pt x="270" y="203"/>
                    </a:lnTo>
                    <a:lnTo>
                      <a:pt x="270" y="203"/>
                    </a:lnTo>
                    <a:lnTo>
                      <a:pt x="272" y="206"/>
                    </a:lnTo>
                    <a:lnTo>
                      <a:pt x="272" y="206"/>
                    </a:lnTo>
                    <a:lnTo>
                      <a:pt x="272" y="206"/>
                    </a:lnTo>
                    <a:lnTo>
                      <a:pt x="272" y="206"/>
                    </a:lnTo>
                    <a:lnTo>
                      <a:pt x="278" y="209"/>
                    </a:lnTo>
                    <a:lnTo>
                      <a:pt x="278" y="209"/>
                    </a:lnTo>
                    <a:lnTo>
                      <a:pt x="275" y="206"/>
                    </a:lnTo>
                    <a:lnTo>
                      <a:pt x="275" y="206"/>
                    </a:lnTo>
                    <a:lnTo>
                      <a:pt x="275" y="203"/>
                    </a:lnTo>
                    <a:lnTo>
                      <a:pt x="275" y="203"/>
                    </a:lnTo>
                    <a:lnTo>
                      <a:pt x="278" y="200"/>
                    </a:lnTo>
                    <a:lnTo>
                      <a:pt x="278" y="200"/>
                    </a:lnTo>
                    <a:lnTo>
                      <a:pt x="281" y="200"/>
                    </a:lnTo>
                    <a:lnTo>
                      <a:pt x="281" y="200"/>
                    </a:lnTo>
                    <a:lnTo>
                      <a:pt x="281" y="198"/>
                    </a:lnTo>
                    <a:lnTo>
                      <a:pt x="281" y="198"/>
                    </a:lnTo>
                    <a:lnTo>
                      <a:pt x="281" y="197"/>
                    </a:lnTo>
                    <a:lnTo>
                      <a:pt x="281" y="197"/>
                    </a:lnTo>
                    <a:lnTo>
                      <a:pt x="285" y="195"/>
                    </a:lnTo>
                    <a:lnTo>
                      <a:pt x="285" y="195"/>
                    </a:lnTo>
                    <a:lnTo>
                      <a:pt x="288" y="192"/>
                    </a:lnTo>
                    <a:lnTo>
                      <a:pt x="288" y="192"/>
                    </a:lnTo>
                    <a:lnTo>
                      <a:pt x="291" y="190"/>
                    </a:lnTo>
                    <a:lnTo>
                      <a:pt x="291" y="190"/>
                    </a:lnTo>
                    <a:lnTo>
                      <a:pt x="291" y="189"/>
                    </a:lnTo>
                    <a:lnTo>
                      <a:pt x="291" y="189"/>
                    </a:lnTo>
                    <a:lnTo>
                      <a:pt x="292" y="187"/>
                    </a:lnTo>
                    <a:lnTo>
                      <a:pt x="292" y="187"/>
                    </a:lnTo>
                    <a:lnTo>
                      <a:pt x="294" y="187"/>
                    </a:lnTo>
                    <a:lnTo>
                      <a:pt x="294" y="187"/>
                    </a:lnTo>
                    <a:lnTo>
                      <a:pt x="296" y="187"/>
                    </a:lnTo>
                    <a:lnTo>
                      <a:pt x="296" y="187"/>
                    </a:lnTo>
                    <a:lnTo>
                      <a:pt x="297" y="186"/>
                    </a:lnTo>
                    <a:lnTo>
                      <a:pt x="297" y="186"/>
                    </a:lnTo>
                    <a:lnTo>
                      <a:pt x="300" y="184"/>
                    </a:lnTo>
                    <a:lnTo>
                      <a:pt x="300" y="184"/>
                    </a:lnTo>
                    <a:lnTo>
                      <a:pt x="297" y="182"/>
                    </a:lnTo>
                    <a:lnTo>
                      <a:pt x="297" y="182"/>
                    </a:lnTo>
                    <a:lnTo>
                      <a:pt x="299" y="181"/>
                    </a:lnTo>
                    <a:lnTo>
                      <a:pt x="299" y="181"/>
                    </a:lnTo>
                    <a:lnTo>
                      <a:pt x="300" y="178"/>
                    </a:lnTo>
                    <a:lnTo>
                      <a:pt x="300" y="178"/>
                    </a:lnTo>
                    <a:lnTo>
                      <a:pt x="307" y="178"/>
                    </a:lnTo>
                    <a:lnTo>
                      <a:pt x="307" y="178"/>
                    </a:lnTo>
                    <a:lnTo>
                      <a:pt x="307" y="178"/>
                    </a:lnTo>
                    <a:lnTo>
                      <a:pt x="307" y="178"/>
                    </a:lnTo>
                    <a:lnTo>
                      <a:pt x="310" y="178"/>
                    </a:lnTo>
                    <a:lnTo>
                      <a:pt x="310" y="178"/>
                    </a:lnTo>
                    <a:lnTo>
                      <a:pt x="313" y="178"/>
                    </a:lnTo>
                    <a:lnTo>
                      <a:pt x="313" y="178"/>
                    </a:lnTo>
                    <a:lnTo>
                      <a:pt x="316" y="178"/>
                    </a:lnTo>
                    <a:lnTo>
                      <a:pt x="316" y="178"/>
                    </a:lnTo>
                    <a:lnTo>
                      <a:pt x="319" y="179"/>
                    </a:lnTo>
                    <a:lnTo>
                      <a:pt x="319" y="179"/>
                    </a:lnTo>
                    <a:lnTo>
                      <a:pt x="323" y="181"/>
                    </a:lnTo>
                    <a:lnTo>
                      <a:pt x="323" y="181"/>
                    </a:lnTo>
                    <a:lnTo>
                      <a:pt x="324" y="181"/>
                    </a:lnTo>
                    <a:lnTo>
                      <a:pt x="324" y="181"/>
                    </a:lnTo>
                    <a:lnTo>
                      <a:pt x="326" y="181"/>
                    </a:lnTo>
                    <a:lnTo>
                      <a:pt x="326" y="181"/>
                    </a:lnTo>
                    <a:lnTo>
                      <a:pt x="327" y="181"/>
                    </a:lnTo>
                    <a:lnTo>
                      <a:pt x="327" y="181"/>
                    </a:lnTo>
                    <a:lnTo>
                      <a:pt x="326" y="178"/>
                    </a:lnTo>
                    <a:lnTo>
                      <a:pt x="326" y="178"/>
                    </a:lnTo>
                    <a:lnTo>
                      <a:pt x="326" y="174"/>
                    </a:lnTo>
                    <a:lnTo>
                      <a:pt x="326" y="174"/>
                    </a:lnTo>
                    <a:lnTo>
                      <a:pt x="327" y="171"/>
                    </a:lnTo>
                    <a:lnTo>
                      <a:pt x="327" y="171"/>
                    </a:lnTo>
                    <a:lnTo>
                      <a:pt x="331" y="171"/>
                    </a:lnTo>
                    <a:lnTo>
                      <a:pt x="331" y="171"/>
                    </a:lnTo>
                    <a:lnTo>
                      <a:pt x="332" y="171"/>
                    </a:lnTo>
                    <a:lnTo>
                      <a:pt x="332" y="171"/>
                    </a:lnTo>
                    <a:lnTo>
                      <a:pt x="342" y="174"/>
                    </a:lnTo>
                    <a:lnTo>
                      <a:pt x="342" y="174"/>
                    </a:lnTo>
                    <a:lnTo>
                      <a:pt x="348" y="178"/>
                    </a:lnTo>
                    <a:lnTo>
                      <a:pt x="348" y="178"/>
                    </a:lnTo>
                    <a:lnTo>
                      <a:pt x="351" y="178"/>
                    </a:lnTo>
                    <a:lnTo>
                      <a:pt x="351" y="178"/>
                    </a:lnTo>
                    <a:lnTo>
                      <a:pt x="351" y="178"/>
                    </a:lnTo>
                    <a:lnTo>
                      <a:pt x="351" y="178"/>
                    </a:lnTo>
                    <a:lnTo>
                      <a:pt x="351" y="174"/>
                    </a:lnTo>
                    <a:lnTo>
                      <a:pt x="351" y="174"/>
                    </a:lnTo>
                    <a:lnTo>
                      <a:pt x="353" y="174"/>
                    </a:lnTo>
                    <a:lnTo>
                      <a:pt x="353" y="174"/>
                    </a:lnTo>
                    <a:lnTo>
                      <a:pt x="356" y="174"/>
                    </a:lnTo>
                    <a:lnTo>
                      <a:pt x="356" y="174"/>
                    </a:lnTo>
                    <a:lnTo>
                      <a:pt x="359" y="174"/>
                    </a:lnTo>
                    <a:lnTo>
                      <a:pt x="359" y="174"/>
                    </a:lnTo>
                    <a:lnTo>
                      <a:pt x="361" y="174"/>
                    </a:lnTo>
                    <a:lnTo>
                      <a:pt x="361" y="174"/>
                    </a:lnTo>
                    <a:lnTo>
                      <a:pt x="367" y="174"/>
                    </a:lnTo>
                    <a:lnTo>
                      <a:pt x="367" y="174"/>
                    </a:lnTo>
                    <a:lnTo>
                      <a:pt x="369" y="174"/>
                    </a:lnTo>
                    <a:lnTo>
                      <a:pt x="369" y="174"/>
                    </a:lnTo>
                    <a:lnTo>
                      <a:pt x="370" y="174"/>
                    </a:lnTo>
                    <a:lnTo>
                      <a:pt x="370" y="174"/>
                    </a:lnTo>
                    <a:lnTo>
                      <a:pt x="372" y="174"/>
                    </a:lnTo>
                    <a:lnTo>
                      <a:pt x="372" y="174"/>
                    </a:lnTo>
                    <a:lnTo>
                      <a:pt x="375" y="174"/>
                    </a:lnTo>
                    <a:lnTo>
                      <a:pt x="375" y="174"/>
                    </a:lnTo>
                    <a:lnTo>
                      <a:pt x="375" y="174"/>
                    </a:lnTo>
                    <a:lnTo>
                      <a:pt x="375" y="174"/>
                    </a:lnTo>
                    <a:lnTo>
                      <a:pt x="381" y="174"/>
                    </a:lnTo>
                    <a:lnTo>
                      <a:pt x="381" y="174"/>
                    </a:lnTo>
                    <a:lnTo>
                      <a:pt x="388" y="178"/>
                    </a:lnTo>
                    <a:lnTo>
                      <a:pt x="388" y="178"/>
                    </a:lnTo>
                    <a:lnTo>
                      <a:pt x="392" y="178"/>
                    </a:lnTo>
                    <a:lnTo>
                      <a:pt x="392" y="178"/>
                    </a:lnTo>
                    <a:lnTo>
                      <a:pt x="394" y="179"/>
                    </a:lnTo>
                    <a:lnTo>
                      <a:pt x="394" y="179"/>
                    </a:lnTo>
                    <a:lnTo>
                      <a:pt x="396" y="181"/>
                    </a:lnTo>
                    <a:lnTo>
                      <a:pt x="396" y="181"/>
                    </a:lnTo>
                    <a:lnTo>
                      <a:pt x="397" y="181"/>
                    </a:lnTo>
                    <a:lnTo>
                      <a:pt x="397" y="181"/>
                    </a:lnTo>
                    <a:lnTo>
                      <a:pt x="397" y="181"/>
                    </a:lnTo>
                    <a:lnTo>
                      <a:pt x="397" y="181"/>
                    </a:lnTo>
                    <a:lnTo>
                      <a:pt x="404" y="182"/>
                    </a:lnTo>
                    <a:lnTo>
                      <a:pt x="404" y="182"/>
                    </a:lnTo>
                    <a:lnTo>
                      <a:pt x="404" y="184"/>
                    </a:lnTo>
                    <a:lnTo>
                      <a:pt x="404" y="184"/>
                    </a:lnTo>
                    <a:lnTo>
                      <a:pt x="407" y="187"/>
                    </a:lnTo>
                    <a:lnTo>
                      <a:pt x="407" y="187"/>
                    </a:lnTo>
                    <a:lnTo>
                      <a:pt x="407" y="182"/>
                    </a:lnTo>
                    <a:lnTo>
                      <a:pt x="407" y="182"/>
                    </a:lnTo>
                    <a:lnTo>
                      <a:pt x="404" y="179"/>
                    </a:lnTo>
                    <a:lnTo>
                      <a:pt x="404" y="179"/>
                    </a:lnTo>
                    <a:lnTo>
                      <a:pt x="404" y="178"/>
                    </a:lnTo>
                    <a:lnTo>
                      <a:pt x="404" y="178"/>
                    </a:lnTo>
                    <a:lnTo>
                      <a:pt x="404" y="178"/>
                    </a:lnTo>
                    <a:lnTo>
                      <a:pt x="404" y="178"/>
                    </a:lnTo>
                    <a:lnTo>
                      <a:pt x="407" y="174"/>
                    </a:lnTo>
                    <a:lnTo>
                      <a:pt x="407" y="174"/>
                    </a:lnTo>
                    <a:lnTo>
                      <a:pt x="404" y="174"/>
                    </a:lnTo>
                    <a:lnTo>
                      <a:pt x="404" y="174"/>
                    </a:lnTo>
                    <a:lnTo>
                      <a:pt x="407" y="171"/>
                    </a:lnTo>
                    <a:lnTo>
                      <a:pt x="407" y="171"/>
                    </a:lnTo>
                    <a:lnTo>
                      <a:pt x="407" y="171"/>
                    </a:lnTo>
                    <a:lnTo>
                      <a:pt x="407" y="171"/>
                    </a:lnTo>
                    <a:lnTo>
                      <a:pt x="410" y="171"/>
                    </a:lnTo>
                    <a:lnTo>
                      <a:pt x="410" y="171"/>
                    </a:lnTo>
                    <a:lnTo>
                      <a:pt x="407" y="171"/>
                    </a:lnTo>
                    <a:lnTo>
                      <a:pt x="407" y="171"/>
                    </a:lnTo>
                    <a:lnTo>
                      <a:pt x="407" y="168"/>
                    </a:lnTo>
                    <a:lnTo>
                      <a:pt x="407" y="168"/>
                    </a:lnTo>
                    <a:lnTo>
                      <a:pt x="404" y="165"/>
                    </a:lnTo>
                    <a:lnTo>
                      <a:pt x="404" y="165"/>
                    </a:lnTo>
                    <a:lnTo>
                      <a:pt x="404" y="162"/>
                    </a:lnTo>
                    <a:lnTo>
                      <a:pt x="404" y="162"/>
                    </a:lnTo>
                    <a:lnTo>
                      <a:pt x="400" y="157"/>
                    </a:lnTo>
                    <a:lnTo>
                      <a:pt x="400" y="157"/>
                    </a:lnTo>
                    <a:lnTo>
                      <a:pt x="397" y="154"/>
                    </a:lnTo>
                    <a:lnTo>
                      <a:pt x="397" y="154"/>
                    </a:lnTo>
                    <a:lnTo>
                      <a:pt x="397" y="151"/>
                    </a:lnTo>
                    <a:lnTo>
                      <a:pt x="397" y="151"/>
                    </a:lnTo>
                    <a:lnTo>
                      <a:pt x="397" y="147"/>
                    </a:lnTo>
                    <a:lnTo>
                      <a:pt x="397" y="147"/>
                    </a:lnTo>
                    <a:lnTo>
                      <a:pt x="394" y="147"/>
                    </a:lnTo>
                    <a:lnTo>
                      <a:pt x="394" y="147"/>
                    </a:lnTo>
                    <a:lnTo>
                      <a:pt x="391" y="147"/>
                    </a:lnTo>
                    <a:lnTo>
                      <a:pt x="391" y="147"/>
                    </a:lnTo>
                    <a:lnTo>
                      <a:pt x="391" y="147"/>
                    </a:lnTo>
                    <a:lnTo>
                      <a:pt x="391" y="147"/>
                    </a:lnTo>
                    <a:lnTo>
                      <a:pt x="392" y="144"/>
                    </a:lnTo>
                    <a:lnTo>
                      <a:pt x="392" y="144"/>
                    </a:lnTo>
                    <a:lnTo>
                      <a:pt x="394" y="144"/>
                    </a:lnTo>
                    <a:lnTo>
                      <a:pt x="394" y="144"/>
                    </a:lnTo>
                    <a:lnTo>
                      <a:pt x="400" y="144"/>
                    </a:lnTo>
                    <a:lnTo>
                      <a:pt x="400" y="144"/>
                    </a:lnTo>
                    <a:lnTo>
                      <a:pt x="407" y="143"/>
                    </a:lnTo>
                    <a:lnTo>
                      <a:pt x="407" y="143"/>
                    </a:lnTo>
                    <a:lnTo>
                      <a:pt x="410" y="143"/>
                    </a:lnTo>
                    <a:lnTo>
                      <a:pt x="410" y="143"/>
                    </a:lnTo>
                    <a:lnTo>
                      <a:pt x="412" y="144"/>
                    </a:lnTo>
                    <a:lnTo>
                      <a:pt x="412" y="144"/>
                    </a:lnTo>
                    <a:lnTo>
                      <a:pt x="413" y="144"/>
                    </a:lnTo>
                    <a:lnTo>
                      <a:pt x="413" y="144"/>
                    </a:lnTo>
                    <a:lnTo>
                      <a:pt x="416" y="144"/>
                    </a:lnTo>
                    <a:lnTo>
                      <a:pt x="416" y="144"/>
                    </a:lnTo>
                    <a:lnTo>
                      <a:pt x="418" y="144"/>
                    </a:lnTo>
                    <a:lnTo>
                      <a:pt x="418" y="144"/>
                    </a:lnTo>
                    <a:lnTo>
                      <a:pt x="419" y="143"/>
                    </a:lnTo>
                    <a:lnTo>
                      <a:pt x="419" y="143"/>
                    </a:lnTo>
                    <a:lnTo>
                      <a:pt x="418" y="141"/>
                    </a:lnTo>
                    <a:lnTo>
                      <a:pt x="418" y="141"/>
                    </a:lnTo>
                    <a:lnTo>
                      <a:pt x="416" y="140"/>
                    </a:lnTo>
                    <a:lnTo>
                      <a:pt x="416" y="140"/>
                    </a:lnTo>
                    <a:lnTo>
                      <a:pt x="415" y="138"/>
                    </a:lnTo>
                    <a:lnTo>
                      <a:pt x="415" y="138"/>
                    </a:lnTo>
                    <a:lnTo>
                      <a:pt x="413" y="136"/>
                    </a:lnTo>
                    <a:lnTo>
                      <a:pt x="413" y="136"/>
                    </a:lnTo>
                    <a:lnTo>
                      <a:pt x="413" y="130"/>
                    </a:lnTo>
                    <a:lnTo>
                      <a:pt x="413" y="130"/>
                    </a:lnTo>
                    <a:lnTo>
                      <a:pt x="413" y="124"/>
                    </a:lnTo>
                    <a:lnTo>
                      <a:pt x="413" y="124"/>
                    </a:lnTo>
                    <a:lnTo>
                      <a:pt x="415" y="120"/>
                    </a:lnTo>
                    <a:lnTo>
                      <a:pt x="415" y="120"/>
                    </a:lnTo>
                    <a:lnTo>
                      <a:pt x="415" y="119"/>
                    </a:lnTo>
                    <a:lnTo>
                      <a:pt x="415" y="119"/>
                    </a:lnTo>
                    <a:lnTo>
                      <a:pt x="415" y="116"/>
                    </a:lnTo>
                    <a:lnTo>
                      <a:pt x="415" y="116"/>
                    </a:lnTo>
                    <a:lnTo>
                      <a:pt x="416" y="116"/>
                    </a:lnTo>
                    <a:lnTo>
                      <a:pt x="416" y="116"/>
                    </a:lnTo>
                    <a:lnTo>
                      <a:pt x="421" y="116"/>
                    </a:lnTo>
                    <a:lnTo>
                      <a:pt x="421" y="116"/>
                    </a:lnTo>
                    <a:lnTo>
                      <a:pt x="427" y="119"/>
                    </a:lnTo>
                    <a:lnTo>
                      <a:pt x="427" y="119"/>
                    </a:lnTo>
                    <a:lnTo>
                      <a:pt x="432" y="119"/>
                    </a:lnTo>
                    <a:lnTo>
                      <a:pt x="432" y="119"/>
                    </a:lnTo>
                    <a:lnTo>
                      <a:pt x="435" y="119"/>
                    </a:lnTo>
                    <a:lnTo>
                      <a:pt x="435" y="119"/>
                    </a:lnTo>
                    <a:lnTo>
                      <a:pt x="435" y="119"/>
                    </a:lnTo>
                    <a:lnTo>
                      <a:pt x="435" y="119"/>
                    </a:lnTo>
                    <a:lnTo>
                      <a:pt x="439" y="119"/>
                    </a:lnTo>
                    <a:lnTo>
                      <a:pt x="439" y="119"/>
                    </a:lnTo>
                    <a:lnTo>
                      <a:pt x="442" y="116"/>
                    </a:lnTo>
                    <a:lnTo>
                      <a:pt x="442" y="116"/>
                    </a:lnTo>
                    <a:lnTo>
                      <a:pt x="443" y="116"/>
                    </a:lnTo>
                    <a:lnTo>
                      <a:pt x="443" y="116"/>
                    </a:lnTo>
                    <a:lnTo>
                      <a:pt x="442" y="113"/>
                    </a:lnTo>
                    <a:lnTo>
                      <a:pt x="442" y="113"/>
                    </a:lnTo>
                    <a:lnTo>
                      <a:pt x="439" y="106"/>
                    </a:lnTo>
                    <a:lnTo>
                      <a:pt x="439" y="106"/>
                    </a:lnTo>
                    <a:lnTo>
                      <a:pt x="439" y="103"/>
                    </a:lnTo>
                    <a:lnTo>
                      <a:pt x="439" y="103"/>
                    </a:lnTo>
                    <a:lnTo>
                      <a:pt x="439" y="100"/>
                    </a:lnTo>
                    <a:lnTo>
                      <a:pt x="439" y="100"/>
                    </a:lnTo>
                    <a:lnTo>
                      <a:pt x="439" y="98"/>
                    </a:lnTo>
                    <a:lnTo>
                      <a:pt x="439" y="98"/>
                    </a:lnTo>
                    <a:lnTo>
                      <a:pt x="442" y="97"/>
                    </a:lnTo>
                    <a:lnTo>
                      <a:pt x="442" y="97"/>
                    </a:lnTo>
                    <a:lnTo>
                      <a:pt x="443" y="97"/>
                    </a:lnTo>
                    <a:lnTo>
                      <a:pt x="443" y="97"/>
                    </a:lnTo>
                    <a:lnTo>
                      <a:pt x="446" y="93"/>
                    </a:lnTo>
                    <a:lnTo>
                      <a:pt x="446" y="93"/>
                    </a:lnTo>
                    <a:lnTo>
                      <a:pt x="446" y="90"/>
                    </a:lnTo>
                    <a:lnTo>
                      <a:pt x="446" y="90"/>
                    </a:lnTo>
                    <a:lnTo>
                      <a:pt x="445" y="89"/>
                    </a:lnTo>
                    <a:lnTo>
                      <a:pt x="445" y="89"/>
                    </a:lnTo>
                    <a:lnTo>
                      <a:pt x="446" y="87"/>
                    </a:lnTo>
                    <a:lnTo>
                      <a:pt x="451" y="87"/>
                    </a:lnTo>
                    <a:lnTo>
                      <a:pt x="451" y="87"/>
                    </a:lnTo>
                    <a:lnTo>
                      <a:pt x="451" y="87"/>
                    </a:lnTo>
                    <a:close/>
                  </a:path>
                </a:pathLst>
              </a:custGeom>
              <a:grpFill/>
              <a:ln w="3175">
                <a:solidFill>
                  <a:srgbClr val="FFFFFF">
                    <a:alpha val="81000"/>
                  </a:srgb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5000"/>
                  </a:lnSpc>
                  <a:spcBef>
                    <a:spcPts val="0"/>
                  </a:spcBef>
                  <a:spcAft>
                    <a:spcPts val="0"/>
                  </a:spcAft>
                  <a:buClrTx/>
                  <a:buSzTx/>
                  <a:buFontTx/>
                  <a:buNone/>
                  <a:tabLst/>
                  <a:defRPr/>
                </a:pPr>
                <a:endParaRPr kumimoji="0" lang="en-US" sz="1600" b="0" i="0" u="none" strike="noStrike" kern="1200" cap="none" spc="-20" normalizeH="0" baseline="0" noProof="0">
                  <a:ln>
                    <a:noFill/>
                  </a:ln>
                  <a:solidFill>
                    <a:prstClr val="black"/>
                  </a:solidFill>
                  <a:effectLst/>
                  <a:uLnTx/>
                  <a:uFillTx/>
                  <a:ea typeface="+mn-ea"/>
                  <a:cs typeface="+mn-cs"/>
                </a:endParaRPr>
              </a:p>
            </p:txBody>
          </p:sp>
        </p:grpSp>
        <p:grpSp>
          <p:nvGrpSpPr>
            <p:cNvPr id="1179" name="Group 1178">
              <a:extLst>
                <a:ext uri="{FF2B5EF4-FFF2-40B4-BE49-F238E27FC236}">
                  <a16:creationId xmlns:a16="http://schemas.microsoft.com/office/drawing/2014/main" id="{309B74D7-06C2-9C8A-6246-7B3013A0D8CF}"/>
                </a:ext>
              </a:extLst>
            </p:cNvPr>
            <p:cNvGrpSpPr/>
            <p:nvPr/>
          </p:nvGrpSpPr>
          <p:grpSpPr>
            <a:xfrm>
              <a:off x="814850" y="1176991"/>
              <a:ext cx="10858990" cy="4645569"/>
              <a:chOff x="1142108" y="1176991"/>
              <a:chExt cx="10858990" cy="4645569"/>
            </a:xfrm>
          </p:grpSpPr>
          <p:sp>
            <p:nvSpPr>
              <p:cNvPr id="14" name="Rectangle 13">
                <a:extLst>
                  <a:ext uri="{FF2B5EF4-FFF2-40B4-BE49-F238E27FC236}">
                    <a16:creationId xmlns:a16="http://schemas.microsoft.com/office/drawing/2014/main" id="{670FEEC1-CB32-DD6C-CD43-17518EDE909A}"/>
                  </a:ext>
                </a:extLst>
              </p:cNvPr>
              <p:cNvSpPr/>
              <p:nvPr/>
            </p:nvSpPr>
            <p:spPr bwMode="gray">
              <a:xfrm>
                <a:off x="3267660" y="1304225"/>
                <a:ext cx="6803038" cy="732358"/>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461963"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en-US" sz="1400" b="1" i="0" u="none" strike="noStrike" kern="1200" cap="none" spc="0" normalizeH="0" baseline="0" noProof="0">
                    <a:ln>
                      <a:noFill/>
                    </a:ln>
                    <a:solidFill>
                      <a:srgbClr val="0000C9">
                        <a:lumMod val="50000"/>
                      </a:srgbClr>
                    </a:solidFill>
                    <a:effectLst/>
                    <a:uLnTx/>
                    <a:uFillTx/>
                    <a:ea typeface="+mn-ea"/>
                    <a:cs typeface="+mn-cs"/>
                  </a:rPr>
                  <a:t>RSV MORTAL</a:t>
                </a:r>
                <a:r>
                  <a:rPr kumimoji="0" lang="tr-TR" sz="1400" b="1" i="0" u="none" strike="noStrike" kern="1200" cap="none" spc="0" normalizeH="0" baseline="0" noProof="0">
                    <a:ln>
                      <a:noFill/>
                    </a:ln>
                    <a:solidFill>
                      <a:srgbClr val="0000C9">
                        <a:lumMod val="50000"/>
                      </a:srgbClr>
                    </a:solidFill>
                    <a:effectLst/>
                    <a:uLnTx/>
                    <a:uFillTx/>
                    <a:ea typeface="+mn-ea"/>
                    <a:cs typeface="+mn-cs"/>
                  </a:rPr>
                  <a:t>İ</a:t>
                </a:r>
                <a:r>
                  <a:rPr kumimoji="0" lang="en-US" sz="1400" b="1" i="0" u="none" strike="noStrike" kern="1200" cap="none" spc="0" normalizeH="0" baseline="0" noProof="0">
                    <a:ln>
                      <a:noFill/>
                    </a:ln>
                    <a:solidFill>
                      <a:srgbClr val="0000C9">
                        <a:lumMod val="50000"/>
                      </a:srgbClr>
                    </a:solidFill>
                    <a:effectLst/>
                    <a:uLnTx/>
                    <a:uFillTx/>
                    <a:ea typeface="+mn-ea"/>
                    <a:cs typeface="+mn-cs"/>
                  </a:rPr>
                  <a:t>TES</a:t>
                </a:r>
                <a:r>
                  <a:rPr kumimoji="0" lang="tr-TR" sz="1400" b="1" i="0" u="none" strike="noStrike" kern="1200" cap="none" spc="0" normalizeH="0" baseline="0" noProof="0">
                    <a:ln>
                      <a:noFill/>
                    </a:ln>
                    <a:solidFill>
                      <a:srgbClr val="0000C9">
                        <a:lumMod val="50000"/>
                      </a:srgbClr>
                    </a:solidFill>
                    <a:effectLst/>
                    <a:uLnTx/>
                    <a:uFillTx/>
                    <a:ea typeface="+mn-ea"/>
                    <a:cs typeface="+mn-cs"/>
                  </a:rPr>
                  <a:t>İ</a:t>
                </a:r>
              </a:p>
              <a:p>
                <a:pPr marL="461963"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en-US" sz="1400" b="0" i="0" u="none" strike="noStrike" kern="1200" cap="none" spc="0" normalizeH="0" baseline="0" noProof="0">
                    <a:ln>
                      <a:noFill/>
                    </a:ln>
                    <a:solidFill>
                      <a:srgbClr val="000000"/>
                    </a:solidFill>
                    <a:effectLst/>
                    <a:uLnTx/>
                    <a:uFillTx/>
                    <a:ea typeface="+mn-ea"/>
                    <a:cs typeface="+mn-cs"/>
                  </a:rPr>
                  <a:t>RSV </a:t>
                </a:r>
                <a:r>
                  <a:rPr kumimoji="0" lang="en-US" sz="1400" b="0" i="0" u="none" strike="noStrike" kern="1200" cap="none" spc="0" normalizeH="0" baseline="0" noProof="0" err="1">
                    <a:ln>
                      <a:noFill/>
                    </a:ln>
                    <a:solidFill>
                      <a:srgbClr val="000000"/>
                    </a:solidFill>
                    <a:effectLst/>
                    <a:uLnTx/>
                    <a:uFillTx/>
                    <a:ea typeface="+mn-ea"/>
                    <a:cs typeface="+mn-cs"/>
                  </a:rPr>
                  <a:t>solunum</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yolu</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enfeksiyonu</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ile</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hastaneye</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yatırılan</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yaşlı</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yetişkinler</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arasında</a:t>
                </a:r>
                <a:r>
                  <a:rPr kumimoji="0" lang="en-US" sz="1400" b="0" i="0" u="none" strike="noStrike" kern="1200" cap="none" spc="0" normalizeH="0" baseline="0" noProof="0">
                    <a:ln>
                      <a:noFill/>
                    </a:ln>
                    <a:solidFill>
                      <a:srgbClr val="000000"/>
                    </a:solidFill>
                    <a:effectLst/>
                    <a:uLnTx/>
                    <a:uFillTx/>
                    <a:ea typeface="+mn-ea"/>
                    <a:cs typeface="+mn-cs"/>
                  </a:rPr>
                  <a:t> : </a:t>
                </a:r>
                <a:r>
                  <a:rPr kumimoji="0" lang="en-US" sz="1400" b="1" i="0" u="none" strike="noStrike" kern="1200" cap="none" spc="0" normalizeH="0" baseline="0" noProof="0">
                    <a:ln>
                      <a:noFill/>
                    </a:ln>
                    <a:solidFill>
                      <a:srgbClr val="000000"/>
                    </a:solidFill>
                    <a:effectLst/>
                    <a:uLnTx/>
                    <a:uFillTx/>
                    <a:ea typeface="+mn-ea"/>
                    <a:cs typeface="+mn-cs"/>
                  </a:rPr>
                  <a:t>%6–9</a:t>
                </a:r>
                <a:endParaRPr kumimoji="0" lang="en-US" sz="1400" b="1" i="0" u="none" strike="noStrike" kern="1200" cap="none" spc="0" normalizeH="0" baseline="0" noProof="0">
                  <a:ln>
                    <a:noFill/>
                  </a:ln>
                  <a:solidFill>
                    <a:srgbClr val="0000C9"/>
                  </a:solidFill>
                  <a:effectLst/>
                  <a:uLnTx/>
                  <a:uFillTx/>
                  <a:ea typeface="+mn-ea"/>
                  <a:cs typeface="+mn-cs"/>
                </a:endParaRPr>
              </a:p>
            </p:txBody>
          </p:sp>
          <p:sp>
            <p:nvSpPr>
              <p:cNvPr id="21" name="Rectangle 20">
                <a:extLst>
                  <a:ext uri="{FF2B5EF4-FFF2-40B4-BE49-F238E27FC236}">
                    <a16:creationId xmlns:a16="http://schemas.microsoft.com/office/drawing/2014/main" id="{DDD27C02-335B-5CB9-75FA-1EB2935A67F5}"/>
                  </a:ext>
                </a:extLst>
              </p:cNvPr>
              <p:cNvSpPr/>
              <p:nvPr/>
            </p:nvSpPr>
            <p:spPr bwMode="gray">
              <a:xfrm>
                <a:off x="3684759" y="2207798"/>
                <a:ext cx="5278499" cy="732358"/>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461963"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en-US" sz="1400" b="1" i="0" u="none" strike="noStrike" kern="1200" cap="none" spc="0" normalizeH="0" baseline="0" noProof="0">
                    <a:ln>
                      <a:noFill/>
                    </a:ln>
                    <a:solidFill>
                      <a:srgbClr val="0000C9">
                        <a:lumMod val="75000"/>
                      </a:srgbClr>
                    </a:solidFill>
                    <a:effectLst/>
                    <a:uLnTx/>
                    <a:uFillTx/>
                    <a:ea typeface="+mn-ea"/>
                    <a:cs typeface="+mn-cs"/>
                  </a:rPr>
                  <a:t>YOĞUN BAKIM ÜN</a:t>
                </a:r>
                <a:r>
                  <a:rPr kumimoji="0" lang="tr-TR" sz="1400" b="1" i="0" u="none" strike="noStrike" kern="1200" cap="none" spc="0" normalizeH="0" baseline="0" noProof="0">
                    <a:ln>
                      <a:noFill/>
                    </a:ln>
                    <a:solidFill>
                      <a:srgbClr val="0000C9">
                        <a:lumMod val="75000"/>
                      </a:srgbClr>
                    </a:solidFill>
                    <a:effectLst/>
                    <a:uLnTx/>
                    <a:uFillTx/>
                    <a:ea typeface="+mn-ea"/>
                    <a:cs typeface="+mn-cs"/>
                  </a:rPr>
                  <a:t>İ</a:t>
                </a:r>
                <a:r>
                  <a:rPr kumimoji="0" lang="en-US" sz="1400" b="1" i="0" u="none" strike="noStrike" kern="1200" cap="none" spc="0" normalizeH="0" baseline="0" noProof="0">
                    <a:ln>
                      <a:noFill/>
                    </a:ln>
                    <a:solidFill>
                      <a:srgbClr val="0000C9">
                        <a:lumMod val="75000"/>
                      </a:srgbClr>
                    </a:solidFill>
                    <a:effectLst/>
                    <a:uLnTx/>
                    <a:uFillTx/>
                    <a:ea typeface="+mn-ea"/>
                    <a:cs typeface="+mn-cs"/>
                  </a:rPr>
                  <a:t>TESINE RSV KABULÜ	</a:t>
                </a:r>
              </a:p>
              <a:p>
                <a:pPr marL="461963"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en-US" sz="1400" b="0" i="0" u="none" strike="noStrike" kern="1200" cap="none" spc="0" normalizeH="0" baseline="0" noProof="0">
                    <a:ln>
                      <a:noFill/>
                    </a:ln>
                    <a:solidFill>
                      <a:srgbClr val="000000"/>
                    </a:solidFill>
                    <a:effectLst/>
                    <a:uLnTx/>
                    <a:uFillTx/>
                    <a:ea typeface="+mn-ea"/>
                    <a:cs typeface="+mn-cs"/>
                  </a:rPr>
                  <a:t>RSV </a:t>
                </a:r>
                <a:r>
                  <a:rPr kumimoji="0" lang="en-US" sz="1400" b="0" i="0" u="none" strike="noStrike" kern="1200" cap="none" spc="0" normalizeH="0" baseline="0" noProof="0" err="1">
                    <a:ln>
                      <a:noFill/>
                    </a:ln>
                    <a:solidFill>
                      <a:srgbClr val="000000"/>
                    </a:solidFill>
                    <a:effectLst/>
                    <a:uLnTx/>
                    <a:uFillTx/>
                    <a:ea typeface="+mn-ea"/>
                    <a:cs typeface="+mn-cs"/>
                  </a:rPr>
                  <a:t>solunum</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yolu</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enfeksiyonu</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ile</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hastaneye</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yatırılan</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yaşlı</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yetişkinler</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arasında</a:t>
                </a:r>
                <a:r>
                  <a:rPr kumimoji="0" lang="en-US" sz="1400" b="0" i="0" u="none" strike="noStrike" kern="1200" cap="none" spc="0" normalizeH="0" baseline="0" noProof="0">
                    <a:ln>
                      <a:noFill/>
                    </a:ln>
                    <a:solidFill>
                      <a:srgbClr val="000000"/>
                    </a:solidFill>
                    <a:effectLst/>
                    <a:uLnTx/>
                    <a:uFillTx/>
                    <a:ea typeface="+mn-ea"/>
                    <a:cs typeface="+mn-cs"/>
                  </a:rPr>
                  <a:t> : </a:t>
                </a:r>
                <a:r>
                  <a:rPr kumimoji="0" lang="en-US" sz="1400" b="1" i="0" u="none" strike="noStrike" kern="1200" cap="none" spc="0" normalizeH="0" baseline="0" noProof="0">
                    <a:ln>
                      <a:noFill/>
                    </a:ln>
                    <a:solidFill>
                      <a:srgbClr val="000000"/>
                    </a:solidFill>
                    <a:effectLst/>
                    <a:uLnTx/>
                    <a:uFillTx/>
                    <a:ea typeface="+mn-ea"/>
                    <a:cs typeface="+mn-cs"/>
                  </a:rPr>
                  <a:t>%11–18</a:t>
                </a:r>
                <a:endParaRPr kumimoji="0" lang="en-US" sz="1400" b="1" i="0" u="none" strike="noStrike" kern="1200" cap="none" spc="0" normalizeH="0" baseline="0" noProof="0">
                  <a:ln>
                    <a:noFill/>
                  </a:ln>
                  <a:solidFill>
                    <a:srgbClr val="0000C9"/>
                  </a:solidFill>
                  <a:effectLst/>
                  <a:uLnTx/>
                  <a:uFillTx/>
                  <a:ea typeface="+mn-ea"/>
                  <a:cs typeface="+mn-cs"/>
                </a:endParaRPr>
              </a:p>
            </p:txBody>
          </p:sp>
          <p:sp>
            <p:nvSpPr>
              <p:cNvPr id="22" name="Rectangle 21">
                <a:extLst>
                  <a:ext uri="{FF2B5EF4-FFF2-40B4-BE49-F238E27FC236}">
                    <a16:creationId xmlns:a16="http://schemas.microsoft.com/office/drawing/2014/main" id="{009F28D1-93E8-7DCC-7FCF-F05671219A69}"/>
                  </a:ext>
                </a:extLst>
              </p:cNvPr>
              <p:cNvSpPr/>
              <p:nvPr/>
            </p:nvSpPr>
            <p:spPr bwMode="gray">
              <a:xfrm>
                <a:off x="4162806" y="3083788"/>
                <a:ext cx="7838292" cy="732358"/>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461963"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en-US" sz="1400" b="1" i="0" u="none" strike="noStrike" kern="1200" cap="none" spc="0" normalizeH="0" baseline="0" noProof="0">
                    <a:ln>
                      <a:noFill/>
                    </a:ln>
                    <a:solidFill>
                      <a:srgbClr val="0000C9"/>
                    </a:solidFill>
                    <a:effectLst/>
                    <a:uLnTx/>
                    <a:uFillTx/>
                    <a:ea typeface="+mn-ea"/>
                    <a:cs typeface="+mn-cs"/>
                  </a:rPr>
                  <a:t>HASTANEYE RSV KABULÜ</a:t>
                </a:r>
                <a:endParaRPr kumimoji="0" lang="tr-TR" sz="1400" b="1" i="0" u="none" strike="noStrike" kern="1200" cap="none" spc="0" normalizeH="0" baseline="0" noProof="0">
                  <a:ln>
                    <a:noFill/>
                  </a:ln>
                  <a:solidFill>
                    <a:srgbClr val="0000C9"/>
                  </a:solidFill>
                  <a:effectLst/>
                  <a:uLnTx/>
                  <a:uFillTx/>
                  <a:ea typeface="+mn-ea"/>
                  <a:cs typeface="+mn-cs"/>
                </a:endParaRPr>
              </a:p>
              <a:p>
                <a:pPr marL="461963"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en-US" sz="1400" b="0" i="0" u="none" strike="noStrike" kern="1200" cap="none" spc="0" normalizeH="0" baseline="0" noProof="0">
                    <a:ln>
                      <a:noFill/>
                    </a:ln>
                    <a:solidFill>
                      <a:srgbClr val="000000"/>
                    </a:solidFill>
                    <a:effectLst/>
                    <a:uLnTx/>
                    <a:uFillTx/>
                    <a:ea typeface="+mn-ea"/>
                    <a:cs typeface="+mn-cs"/>
                  </a:rPr>
                  <a:t>RSV </a:t>
                </a:r>
                <a:r>
                  <a:rPr kumimoji="0" lang="en-US" sz="1400" b="0" i="0" u="none" strike="noStrike" kern="1200" cap="none" spc="0" normalizeH="0" baseline="0" noProof="0" err="1">
                    <a:ln>
                      <a:noFill/>
                    </a:ln>
                    <a:solidFill>
                      <a:srgbClr val="000000"/>
                    </a:solidFill>
                    <a:effectLst/>
                    <a:uLnTx/>
                    <a:uFillTx/>
                    <a:ea typeface="+mn-ea"/>
                    <a:cs typeface="+mn-cs"/>
                  </a:rPr>
                  <a:t>enfeksiyonu</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olan</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tıbbi</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olarak</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tedavi</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edilen</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yaşlı</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yetişkinler</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arasında</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1" i="0" u="none" strike="noStrike" kern="1200" cap="none" spc="0" normalizeH="0" baseline="0" noProof="0">
                    <a:ln>
                      <a:noFill/>
                    </a:ln>
                    <a:solidFill>
                      <a:srgbClr val="000000"/>
                    </a:solidFill>
                    <a:effectLst/>
                    <a:uLnTx/>
                    <a:uFillTx/>
                    <a:ea typeface="+mn-ea"/>
                    <a:cs typeface="+mn-cs"/>
                  </a:rPr>
                  <a:t>%12</a:t>
                </a:r>
              </a:p>
            </p:txBody>
          </p:sp>
          <p:sp>
            <p:nvSpPr>
              <p:cNvPr id="23" name="Rectangle 22">
                <a:extLst>
                  <a:ext uri="{FF2B5EF4-FFF2-40B4-BE49-F238E27FC236}">
                    <a16:creationId xmlns:a16="http://schemas.microsoft.com/office/drawing/2014/main" id="{02C044BC-CAD0-87A3-22EB-F62291316166}"/>
                  </a:ext>
                </a:extLst>
              </p:cNvPr>
              <p:cNvSpPr/>
              <p:nvPr/>
            </p:nvSpPr>
            <p:spPr bwMode="gray">
              <a:xfrm>
                <a:off x="4562946" y="4070610"/>
                <a:ext cx="7179750" cy="732358"/>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461963"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tr-TR" sz="1400" b="1" i="0" u="none" strike="noStrike" kern="1200" cap="none" spc="0" normalizeH="0" baseline="0" noProof="0">
                    <a:ln>
                      <a:noFill/>
                    </a:ln>
                    <a:solidFill>
                      <a:srgbClr val="0000C9">
                        <a:lumMod val="60000"/>
                        <a:lumOff val="40000"/>
                      </a:srgbClr>
                    </a:solidFill>
                    <a:effectLst/>
                    <a:uLnTx/>
                    <a:uFillTx/>
                    <a:ea typeface="+mn-ea"/>
                    <a:cs typeface="+mn-cs"/>
                  </a:rPr>
                  <a:t>TIBBİ OLARAK TAKİP EDİLEN</a:t>
                </a:r>
                <a:r>
                  <a:rPr kumimoji="0" lang="en-US" sz="1400" b="1" i="0" u="none" strike="noStrike" kern="1200" cap="none" spc="0" normalizeH="0" baseline="0" noProof="0">
                    <a:ln>
                      <a:noFill/>
                    </a:ln>
                    <a:solidFill>
                      <a:srgbClr val="0000C9">
                        <a:lumMod val="60000"/>
                        <a:lumOff val="40000"/>
                      </a:srgbClr>
                    </a:solidFill>
                    <a:effectLst/>
                    <a:uLnTx/>
                    <a:uFillTx/>
                    <a:ea typeface="+mn-ea"/>
                    <a:cs typeface="+mn-cs"/>
                  </a:rPr>
                  <a:t> RSV </a:t>
                </a:r>
                <a:r>
                  <a:rPr kumimoji="0" lang="tr-TR" sz="1400" b="1" i="0" u="none" strike="noStrike" kern="1200" cap="none" spc="0" normalizeH="0" baseline="0" noProof="0">
                    <a:ln>
                      <a:noFill/>
                    </a:ln>
                    <a:solidFill>
                      <a:srgbClr val="0000C9">
                        <a:lumMod val="60000"/>
                        <a:lumOff val="40000"/>
                      </a:srgbClr>
                    </a:solidFill>
                    <a:effectLst/>
                    <a:uLnTx/>
                    <a:uFillTx/>
                    <a:ea typeface="+mn-ea"/>
                    <a:cs typeface="+mn-cs"/>
                  </a:rPr>
                  <a:t>ENFEKSİYONU</a:t>
                </a:r>
              </a:p>
              <a:p>
                <a:pPr marL="461963"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en-US" sz="1400" b="0" i="0" u="none" strike="noStrike" kern="1200" cap="none" spc="0" normalizeH="0" baseline="0" noProof="0">
                    <a:ln>
                      <a:noFill/>
                    </a:ln>
                    <a:solidFill>
                      <a:srgbClr val="000000"/>
                    </a:solidFill>
                    <a:effectLst/>
                    <a:uLnTx/>
                    <a:uFillTx/>
                    <a:ea typeface="+mn-ea"/>
                    <a:cs typeface="+mn-cs"/>
                  </a:rPr>
                  <a:t>RSV </a:t>
                </a:r>
                <a:r>
                  <a:rPr kumimoji="0" lang="en-US" sz="1400" b="0" i="0" u="none" strike="noStrike" kern="1200" cap="none" spc="0" normalizeH="0" baseline="0" noProof="0" err="1">
                    <a:ln>
                      <a:noFill/>
                    </a:ln>
                    <a:solidFill>
                      <a:srgbClr val="000000"/>
                    </a:solidFill>
                    <a:effectLst/>
                    <a:uLnTx/>
                    <a:uFillTx/>
                    <a:ea typeface="+mn-ea"/>
                    <a:cs typeface="+mn-cs"/>
                  </a:rPr>
                  <a:t>enfeksiyonu</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olan</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yaşlı</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yetişkinler</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0" i="0" u="none" strike="noStrike" kern="1200" cap="none" spc="0" normalizeH="0" baseline="0" noProof="0" err="1">
                    <a:ln>
                      <a:noFill/>
                    </a:ln>
                    <a:solidFill>
                      <a:srgbClr val="000000"/>
                    </a:solidFill>
                    <a:effectLst/>
                    <a:uLnTx/>
                    <a:uFillTx/>
                    <a:ea typeface="+mn-ea"/>
                    <a:cs typeface="+mn-cs"/>
                  </a:rPr>
                  <a:t>arasında</a:t>
                </a:r>
                <a:r>
                  <a:rPr kumimoji="0" lang="en-US" sz="1400" b="0" i="0" u="none" strike="noStrike" kern="1200" cap="none" spc="0" normalizeH="0" baseline="0" noProof="0">
                    <a:ln>
                      <a:noFill/>
                    </a:ln>
                    <a:solidFill>
                      <a:srgbClr val="000000"/>
                    </a:solidFill>
                    <a:effectLst/>
                    <a:uLnTx/>
                    <a:uFillTx/>
                    <a:ea typeface="+mn-ea"/>
                    <a:cs typeface="+mn-cs"/>
                  </a:rPr>
                  <a:t>: </a:t>
                </a:r>
                <a:r>
                  <a:rPr kumimoji="0" lang="en-US" sz="1400" b="1" i="0" u="none" strike="noStrike" kern="1200" cap="none" spc="0" normalizeH="0" baseline="0" noProof="0">
                    <a:ln>
                      <a:noFill/>
                    </a:ln>
                    <a:solidFill>
                      <a:srgbClr val="000000"/>
                    </a:solidFill>
                    <a:effectLst/>
                    <a:uLnTx/>
                    <a:uFillTx/>
                    <a:ea typeface="+mn-ea"/>
                    <a:cs typeface="+mn-cs"/>
                  </a:rPr>
                  <a:t>%17–28</a:t>
                </a:r>
                <a:endParaRPr kumimoji="0" lang="en-US" sz="1400" b="1" i="0" u="none" strike="noStrike" kern="1200" cap="none" spc="0" normalizeH="0" baseline="0" noProof="0">
                  <a:ln>
                    <a:noFill/>
                  </a:ln>
                  <a:solidFill>
                    <a:srgbClr val="0000C9"/>
                  </a:solidFill>
                  <a:effectLst/>
                  <a:uLnTx/>
                  <a:uFillTx/>
                  <a:ea typeface="+mn-ea"/>
                  <a:cs typeface="+mn-cs"/>
                </a:endParaRPr>
              </a:p>
            </p:txBody>
          </p:sp>
          <p:sp>
            <p:nvSpPr>
              <p:cNvPr id="24" name="Rectangle 23">
                <a:extLst>
                  <a:ext uri="{FF2B5EF4-FFF2-40B4-BE49-F238E27FC236}">
                    <a16:creationId xmlns:a16="http://schemas.microsoft.com/office/drawing/2014/main" id="{708AD63A-F26B-E421-0A10-1F9C538F1BFD}"/>
                  </a:ext>
                </a:extLst>
              </p:cNvPr>
              <p:cNvSpPr/>
              <p:nvPr/>
            </p:nvSpPr>
            <p:spPr bwMode="gray">
              <a:xfrm>
                <a:off x="4970000" y="4929551"/>
                <a:ext cx="6400791" cy="732358"/>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461963"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en-US" sz="1400" b="1" i="0" u="none" strike="noStrike" kern="1200" cap="none" spc="0" normalizeH="0" baseline="0" noProof="0" dirty="0">
                    <a:ln>
                      <a:noFill/>
                    </a:ln>
                    <a:solidFill>
                      <a:srgbClr val="0095FF">
                        <a:lumMod val="60000"/>
                        <a:lumOff val="40000"/>
                      </a:srgbClr>
                    </a:solidFill>
                    <a:effectLst/>
                    <a:uLnTx/>
                    <a:uFillTx/>
                    <a:ea typeface="+mn-ea"/>
                    <a:cs typeface="+mn-cs"/>
                  </a:rPr>
                  <a:t>SEMPTOMAT</a:t>
                </a:r>
                <a:r>
                  <a:rPr kumimoji="0" lang="tr-TR" sz="1400" b="1" i="0" u="none" strike="noStrike" kern="1200" cap="none" spc="0" normalizeH="0" baseline="0" noProof="0" dirty="0">
                    <a:ln>
                      <a:noFill/>
                    </a:ln>
                    <a:solidFill>
                      <a:srgbClr val="0095FF">
                        <a:lumMod val="60000"/>
                        <a:lumOff val="40000"/>
                      </a:srgbClr>
                    </a:solidFill>
                    <a:effectLst/>
                    <a:uLnTx/>
                    <a:uFillTx/>
                    <a:ea typeface="+mn-ea"/>
                    <a:cs typeface="+mn-cs"/>
                  </a:rPr>
                  <a:t>İ</a:t>
                </a:r>
                <a:r>
                  <a:rPr kumimoji="0" lang="en-US" sz="1400" b="1" i="0" u="none" strike="noStrike" kern="1200" cap="none" spc="0" normalizeH="0" baseline="0" noProof="0" dirty="0">
                    <a:ln>
                      <a:noFill/>
                    </a:ln>
                    <a:solidFill>
                      <a:srgbClr val="0095FF">
                        <a:lumMod val="60000"/>
                        <a:lumOff val="40000"/>
                      </a:srgbClr>
                    </a:solidFill>
                    <a:effectLst/>
                    <a:uLnTx/>
                    <a:uFillTx/>
                    <a:ea typeface="+mn-ea"/>
                    <a:cs typeface="+mn-cs"/>
                  </a:rPr>
                  <a:t>K RSV ENFEKS</a:t>
                </a:r>
                <a:r>
                  <a:rPr kumimoji="0" lang="tr-TR" sz="1400" b="1" i="0" u="none" strike="noStrike" kern="1200" cap="none" spc="0" normalizeH="0" baseline="0" noProof="0" dirty="0">
                    <a:ln>
                      <a:noFill/>
                    </a:ln>
                    <a:solidFill>
                      <a:srgbClr val="0095FF">
                        <a:lumMod val="60000"/>
                        <a:lumOff val="40000"/>
                      </a:srgbClr>
                    </a:solidFill>
                    <a:effectLst/>
                    <a:uLnTx/>
                    <a:uFillTx/>
                    <a:ea typeface="+mn-ea"/>
                    <a:cs typeface="+mn-cs"/>
                  </a:rPr>
                  <a:t>İ</a:t>
                </a:r>
                <a:r>
                  <a:rPr kumimoji="0" lang="en-US" sz="1400" b="1" i="0" u="none" strike="noStrike" kern="1200" cap="none" spc="0" normalizeH="0" baseline="0" noProof="0" dirty="0">
                    <a:ln>
                      <a:noFill/>
                    </a:ln>
                    <a:solidFill>
                      <a:srgbClr val="0095FF">
                        <a:lumMod val="60000"/>
                        <a:lumOff val="40000"/>
                      </a:srgbClr>
                    </a:solidFill>
                    <a:effectLst/>
                    <a:uLnTx/>
                    <a:uFillTx/>
                    <a:ea typeface="+mn-ea"/>
                    <a:cs typeface="+mn-cs"/>
                  </a:rPr>
                  <a:t>YONU (TOPLUM)</a:t>
                </a:r>
                <a:endParaRPr kumimoji="0" lang="tr-TR" sz="1400" b="1" i="0" u="none" strike="noStrike" kern="1200" cap="none" spc="0" normalizeH="0" baseline="0" noProof="0" dirty="0">
                  <a:ln>
                    <a:noFill/>
                  </a:ln>
                  <a:solidFill>
                    <a:srgbClr val="0095FF">
                      <a:lumMod val="60000"/>
                      <a:lumOff val="40000"/>
                    </a:srgbClr>
                  </a:solidFill>
                  <a:effectLst/>
                  <a:uLnTx/>
                  <a:uFillTx/>
                  <a:ea typeface="+mn-ea"/>
                  <a:cs typeface="+mn-cs"/>
                </a:endParaRPr>
              </a:p>
              <a:p>
                <a:pPr marL="461963"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en-US" sz="1400" b="0" i="0" u="none" strike="noStrike" kern="1200" cap="none" spc="0" normalizeH="0" baseline="0" noProof="0" dirty="0" err="1">
                    <a:ln>
                      <a:noFill/>
                    </a:ln>
                    <a:solidFill>
                      <a:srgbClr val="000000"/>
                    </a:solidFill>
                    <a:effectLst/>
                    <a:uLnTx/>
                    <a:uFillTx/>
                    <a:ea typeface="+mn-ea"/>
                    <a:cs typeface="+mn-cs"/>
                  </a:rPr>
                  <a:t>Yaşlı</a:t>
                </a:r>
                <a:r>
                  <a:rPr kumimoji="0" lang="en-US" sz="1400" b="0" i="0" u="none" strike="noStrike" kern="1200" cap="none" spc="0" normalizeH="0" baseline="0" noProof="0" dirty="0">
                    <a:ln>
                      <a:noFill/>
                    </a:ln>
                    <a:solidFill>
                      <a:srgbClr val="000000"/>
                    </a:solidFill>
                    <a:effectLst/>
                    <a:uLnTx/>
                    <a:uFillTx/>
                    <a:ea typeface="+mn-ea"/>
                    <a:cs typeface="+mn-cs"/>
                  </a:rPr>
                  <a:t> </a:t>
                </a:r>
                <a:r>
                  <a:rPr kumimoji="0" lang="en-US" sz="1400" b="0" i="0" u="none" strike="noStrike" kern="1200" cap="none" spc="0" normalizeH="0" baseline="0" noProof="0" dirty="0" err="1">
                    <a:ln>
                      <a:noFill/>
                    </a:ln>
                    <a:solidFill>
                      <a:srgbClr val="000000"/>
                    </a:solidFill>
                    <a:effectLst/>
                    <a:uLnTx/>
                    <a:uFillTx/>
                    <a:ea typeface="+mn-ea"/>
                    <a:cs typeface="+mn-cs"/>
                  </a:rPr>
                  <a:t>yetişkinler</a:t>
                </a:r>
                <a:r>
                  <a:rPr kumimoji="0" lang="en-US" sz="1400" b="0" i="0" u="none" strike="noStrike" kern="1200" cap="none" spc="0" normalizeH="0" baseline="0" noProof="0" dirty="0">
                    <a:ln>
                      <a:noFill/>
                    </a:ln>
                    <a:solidFill>
                      <a:srgbClr val="000000"/>
                    </a:solidFill>
                    <a:effectLst/>
                    <a:uLnTx/>
                    <a:uFillTx/>
                    <a:ea typeface="+mn-ea"/>
                    <a:cs typeface="+mn-cs"/>
                  </a:rPr>
                  <a:t> </a:t>
                </a:r>
                <a:r>
                  <a:rPr kumimoji="0" lang="en-US" sz="1400" b="0" i="0" u="none" strike="noStrike" kern="1200" cap="none" spc="0" normalizeH="0" baseline="0" noProof="0" dirty="0" err="1">
                    <a:ln>
                      <a:noFill/>
                    </a:ln>
                    <a:solidFill>
                      <a:srgbClr val="000000"/>
                    </a:solidFill>
                    <a:effectLst/>
                    <a:uLnTx/>
                    <a:uFillTx/>
                    <a:ea typeface="+mn-ea"/>
                    <a:cs typeface="+mn-cs"/>
                  </a:rPr>
                  <a:t>arasında</a:t>
                </a:r>
                <a:r>
                  <a:rPr kumimoji="0" lang="en-US" sz="1400" b="0" i="0" u="none" strike="noStrike" kern="1200" cap="none" spc="0" normalizeH="0" baseline="0" noProof="0" dirty="0">
                    <a:ln>
                      <a:noFill/>
                    </a:ln>
                    <a:solidFill>
                      <a:srgbClr val="000000"/>
                    </a:solidFill>
                    <a:effectLst/>
                    <a:uLnTx/>
                    <a:uFillTx/>
                    <a:ea typeface="+mn-ea"/>
                    <a:cs typeface="+mn-cs"/>
                  </a:rPr>
                  <a:t>: </a:t>
                </a:r>
                <a:r>
                  <a:rPr kumimoji="0" lang="en-US" sz="1400" b="1" i="0" u="none" strike="noStrike" kern="1200" cap="none" spc="0" normalizeH="0" baseline="0" noProof="0" dirty="0">
                    <a:ln>
                      <a:noFill/>
                    </a:ln>
                    <a:solidFill>
                      <a:srgbClr val="000000"/>
                    </a:solidFill>
                    <a:effectLst/>
                    <a:uLnTx/>
                    <a:uFillTx/>
                    <a:ea typeface="+mn-ea"/>
                    <a:cs typeface="+mn-cs"/>
                  </a:rPr>
                  <a:t>%3–7</a:t>
                </a:r>
                <a:endParaRPr kumimoji="0" lang="en-US" sz="1400" b="1" i="0" u="none" strike="noStrike" kern="1200" cap="none" spc="0" normalizeH="0" baseline="0" noProof="0" dirty="0">
                  <a:ln>
                    <a:noFill/>
                  </a:ln>
                  <a:solidFill>
                    <a:srgbClr val="0000C9"/>
                  </a:solidFill>
                  <a:effectLst/>
                  <a:uLnTx/>
                  <a:uFillTx/>
                  <a:ea typeface="+mn-ea"/>
                  <a:cs typeface="+mn-cs"/>
                </a:endParaRPr>
              </a:p>
            </p:txBody>
          </p:sp>
          <p:graphicFrame>
            <p:nvGraphicFramePr>
              <p:cNvPr id="13" name="Diagram 12">
                <a:extLst>
                  <a:ext uri="{FF2B5EF4-FFF2-40B4-BE49-F238E27FC236}">
                    <a16:creationId xmlns:a16="http://schemas.microsoft.com/office/drawing/2014/main" id="{5BEF324F-487F-C575-4B3C-A7B356D3D5D8}"/>
                  </a:ext>
                </a:extLst>
              </p:cNvPr>
              <p:cNvGraphicFramePr/>
              <p:nvPr/>
            </p:nvGraphicFramePr>
            <p:xfrm>
              <a:off x="1142108" y="1176991"/>
              <a:ext cx="4251105" cy="46455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178" name="Group 1177">
                <a:extLst>
                  <a:ext uri="{FF2B5EF4-FFF2-40B4-BE49-F238E27FC236}">
                    <a16:creationId xmlns:a16="http://schemas.microsoft.com/office/drawing/2014/main" id="{74F66E2E-677B-E931-96DD-D6EEC67EBE55}"/>
                  </a:ext>
                </a:extLst>
              </p:cNvPr>
              <p:cNvGrpSpPr/>
              <p:nvPr/>
            </p:nvGrpSpPr>
            <p:grpSpPr>
              <a:xfrm>
                <a:off x="1511373" y="2027976"/>
                <a:ext cx="3517142" cy="2964249"/>
                <a:chOff x="1241834" y="2027976"/>
                <a:chExt cx="8896641" cy="2964249"/>
              </a:xfrm>
            </p:grpSpPr>
            <p:sp>
              <p:nvSpPr>
                <p:cNvPr id="15" name="Trapezoid 14">
                  <a:extLst>
                    <a:ext uri="{FF2B5EF4-FFF2-40B4-BE49-F238E27FC236}">
                      <a16:creationId xmlns:a16="http://schemas.microsoft.com/office/drawing/2014/main" id="{21BA9776-2F69-AEB8-4663-D04B1D92572E}"/>
                    </a:ext>
                  </a:extLst>
                </p:cNvPr>
                <p:cNvSpPr/>
                <p:nvPr/>
              </p:nvSpPr>
              <p:spPr bwMode="gray">
                <a:xfrm>
                  <a:off x="4463335" y="2027976"/>
                  <a:ext cx="2679949" cy="228221"/>
                </a:xfrm>
                <a:prstGeom prst="trapezoid">
                  <a:avLst>
                    <a:gd name="adj" fmla="val 48802"/>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600" b="1" i="0" u="none" strike="noStrike" kern="1200" cap="none" spc="0" normalizeH="0" baseline="0" noProof="0">
                    <a:ln>
                      <a:noFill/>
                    </a:ln>
                    <a:solidFill>
                      <a:srgbClr val="0000C9"/>
                    </a:solidFill>
                    <a:effectLst/>
                    <a:uLnTx/>
                    <a:uFillTx/>
                    <a:ea typeface="+mn-ea"/>
                    <a:cs typeface="+mn-cs"/>
                  </a:endParaRPr>
                </a:p>
              </p:txBody>
            </p:sp>
            <p:sp>
              <p:nvSpPr>
                <p:cNvPr id="18" name="Rectangle 17">
                  <a:extLst>
                    <a:ext uri="{FF2B5EF4-FFF2-40B4-BE49-F238E27FC236}">
                      <a16:creationId xmlns:a16="http://schemas.microsoft.com/office/drawing/2014/main" id="{361C3D5E-1EEC-1B56-4722-F68031101397}"/>
                    </a:ext>
                  </a:extLst>
                </p:cNvPr>
                <p:cNvSpPr/>
                <p:nvPr/>
              </p:nvSpPr>
              <p:spPr bwMode="gray">
                <a:xfrm>
                  <a:off x="3394127" y="2936256"/>
                  <a:ext cx="4707271" cy="228221"/>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600" b="1" i="0" u="none" strike="noStrike" kern="1200" cap="none" spc="0" normalizeH="0" baseline="0" noProof="0">
                    <a:ln>
                      <a:noFill/>
                    </a:ln>
                    <a:solidFill>
                      <a:srgbClr val="0000C9"/>
                    </a:solidFill>
                    <a:effectLst/>
                    <a:uLnTx/>
                    <a:uFillTx/>
                    <a:ea typeface="+mn-ea"/>
                    <a:cs typeface="+mn-cs"/>
                  </a:endParaRPr>
                </a:p>
              </p:txBody>
            </p:sp>
            <p:sp>
              <p:nvSpPr>
                <p:cNvPr id="19" name="Rectangle 18">
                  <a:extLst>
                    <a:ext uri="{FF2B5EF4-FFF2-40B4-BE49-F238E27FC236}">
                      <a16:creationId xmlns:a16="http://schemas.microsoft.com/office/drawing/2014/main" id="{7D49E7EF-333C-2356-A153-F3CE91172A22}"/>
                    </a:ext>
                  </a:extLst>
                </p:cNvPr>
                <p:cNvSpPr/>
                <p:nvPr/>
              </p:nvSpPr>
              <p:spPr bwMode="gray">
                <a:xfrm>
                  <a:off x="1241834" y="3850130"/>
                  <a:ext cx="8019025" cy="228221"/>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600" b="1" i="0" u="none" strike="noStrike" kern="1200" cap="none" spc="0" normalizeH="0" baseline="0" noProof="0">
                    <a:ln>
                      <a:noFill/>
                    </a:ln>
                    <a:solidFill>
                      <a:srgbClr val="0000C9"/>
                    </a:solidFill>
                    <a:effectLst/>
                    <a:uLnTx/>
                    <a:uFillTx/>
                    <a:ea typeface="+mn-ea"/>
                    <a:cs typeface="+mn-cs"/>
                  </a:endParaRPr>
                </a:p>
              </p:txBody>
            </p:sp>
            <p:sp>
              <p:nvSpPr>
                <p:cNvPr id="20" name="Rectangle 19">
                  <a:extLst>
                    <a:ext uri="{FF2B5EF4-FFF2-40B4-BE49-F238E27FC236}">
                      <a16:creationId xmlns:a16="http://schemas.microsoft.com/office/drawing/2014/main" id="{3EB38831-840A-CAE2-0FEA-59A3DC59DF82}"/>
                    </a:ext>
                  </a:extLst>
                </p:cNvPr>
                <p:cNvSpPr/>
                <p:nvPr/>
              </p:nvSpPr>
              <p:spPr bwMode="gray">
                <a:xfrm>
                  <a:off x="1241834" y="4764004"/>
                  <a:ext cx="8896641" cy="228221"/>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600" b="1" i="0" u="none" strike="noStrike" kern="1200" cap="none" spc="0" normalizeH="0" baseline="0" noProof="0">
                    <a:ln>
                      <a:noFill/>
                    </a:ln>
                    <a:solidFill>
                      <a:srgbClr val="0000C9"/>
                    </a:solidFill>
                    <a:effectLst/>
                    <a:uLnTx/>
                    <a:uFillTx/>
                    <a:ea typeface="+mn-ea"/>
                    <a:cs typeface="+mn-cs"/>
                  </a:endParaRPr>
                </a:p>
              </p:txBody>
            </p:sp>
          </p:grpSp>
        </p:grpSp>
        <p:sp>
          <p:nvSpPr>
            <p:cNvPr id="4" name="TextBox 3">
              <a:extLst>
                <a:ext uri="{FF2B5EF4-FFF2-40B4-BE49-F238E27FC236}">
                  <a16:creationId xmlns:a16="http://schemas.microsoft.com/office/drawing/2014/main" id="{4C58CC08-F451-5EC1-EB0E-49A62DE65746}"/>
                </a:ext>
              </a:extLst>
            </p:cNvPr>
            <p:cNvSpPr txBox="1"/>
            <p:nvPr/>
          </p:nvSpPr>
          <p:spPr bwMode="gray">
            <a:xfrm>
              <a:off x="5542641" y="5597900"/>
              <a:ext cx="5786205" cy="738664"/>
            </a:xfrm>
            <a:prstGeom prst="rect">
              <a:avLst/>
            </a:prstGeom>
            <a:solidFill>
              <a:srgbClr val="FCFBFF"/>
            </a:solidFill>
            <a:ln>
              <a:solidFill>
                <a:schemeClr val="accent5"/>
              </a:solidFill>
            </a:ln>
          </p:spPr>
          <p:txBody>
            <a:bodyPr wrap="square">
              <a:spAutoFit/>
            </a:bodyPr>
            <a:lstStyle/>
            <a:p>
              <a:pPr marL="173038"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err="1">
                  <a:ln>
                    <a:noFill/>
                  </a:ln>
                  <a:solidFill>
                    <a:srgbClr val="000000"/>
                  </a:solidFill>
                  <a:effectLst/>
                  <a:uLnTx/>
                  <a:uFillTx/>
                  <a:ea typeface="+mn-ea"/>
                  <a:cs typeface="+mn-cs"/>
                </a:rPr>
                <a:t>Yaşlı</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yetişkinlerde</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RSV'nin</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küresel</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insidansı</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önemli</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ölçüde</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yüksektir</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ve</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muhtemelen</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düşük</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tahmin</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edilmektedir</a:t>
              </a:r>
              <a:r>
                <a:rPr kumimoji="0" lang="en-US" sz="1200" b="0" i="0" u="none" strike="noStrike" kern="1200" cap="none" spc="0" normalizeH="0" baseline="0" noProof="0">
                  <a:ln>
                    <a:noFill/>
                  </a:ln>
                  <a:solidFill>
                    <a:srgbClr val="000000"/>
                  </a:solidFill>
                  <a:effectLst/>
                  <a:uLnTx/>
                  <a:uFillTx/>
                  <a:ea typeface="+mn-ea"/>
                  <a:cs typeface="+mn-cs"/>
                </a:rPr>
                <a:t>.</a:t>
              </a:r>
              <a:endParaRPr kumimoji="0" lang="tr-TR" sz="1200" b="0" i="0" u="none" strike="noStrike" kern="1200" cap="none" spc="0" normalizeH="0" baseline="0" noProof="0">
                <a:ln>
                  <a:noFill/>
                </a:ln>
                <a:solidFill>
                  <a:srgbClr val="000000"/>
                </a:solidFill>
                <a:effectLst/>
                <a:uLnTx/>
                <a:uFillTx/>
                <a:ea typeface="+mn-ea"/>
                <a:cs typeface="+mn-cs"/>
              </a:endParaRPr>
            </a:p>
            <a:p>
              <a:pPr marL="173038"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1200" b="0" i="0" u="none" strike="noStrike" kern="1200" cap="none" spc="0" normalizeH="0" baseline="0" noProof="0">
                  <a:ln>
                    <a:noFill/>
                  </a:ln>
                  <a:solidFill>
                    <a:srgbClr val="000000"/>
                  </a:solidFill>
                  <a:effectLst/>
                  <a:uLnTx/>
                  <a:uFillTx/>
                  <a:ea typeface="+mn-ea"/>
                  <a:cs typeface="+mn-cs"/>
                </a:rPr>
                <a:t>D</a:t>
              </a:r>
              <a:r>
                <a:rPr kumimoji="0" lang="en-US" sz="1200" b="0" i="0" u="none" strike="noStrike" kern="1200" cap="none" spc="0" normalizeH="0" baseline="0" noProof="0" err="1">
                  <a:ln>
                    <a:noFill/>
                  </a:ln>
                  <a:solidFill>
                    <a:srgbClr val="000000"/>
                  </a:solidFill>
                  <a:effectLst/>
                  <a:uLnTx/>
                  <a:uFillTx/>
                  <a:ea typeface="+mn-ea"/>
                  <a:cs typeface="+mn-cs"/>
                </a:rPr>
                <a:t>üşük</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ve</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orta</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gelirli</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ülkeler</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için</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veri</a:t>
              </a:r>
              <a:r>
                <a:rPr kumimoji="0" lang="en-US" sz="1200" b="0" i="0" u="none" strike="noStrike" kern="1200" cap="none" spc="0" normalizeH="0" baseline="0" noProof="0">
                  <a:ln>
                    <a:noFill/>
                  </a:ln>
                  <a:solidFill>
                    <a:srgbClr val="000000"/>
                  </a:solidFill>
                  <a:effectLst/>
                  <a:uLnTx/>
                  <a:uFillTx/>
                  <a:ea typeface="+mn-ea"/>
                  <a:cs typeface="+mn-cs"/>
                </a:rPr>
                <a:t> </a:t>
              </a:r>
              <a:r>
                <a:rPr kumimoji="0" lang="en-US" sz="1200" b="0" i="0" u="none" strike="noStrike" kern="1200" cap="none" spc="0" normalizeH="0" baseline="0" noProof="0" err="1">
                  <a:ln>
                    <a:noFill/>
                  </a:ln>
                  <a:solidFill>
                    <a:srgbClr val="000000"/>
                  </a:solidFill>
                  <a:effectLst/>
                  <a:uLnTx/>
                  <a:uFillTx/>
                  <a:ea typeface="+mn-ea"/>
                  <a:cs typeface="+mn-cs"/>
                </a:rPr>
                <a:t>yetersizliği</a:t>
              </a:r>
              <a:r>
                <a:rPr kumimoji="0" lang="en-US" sz="1200" b="0" i="0" u="none" strike="noStrike" kern="1200" cap="none" spc="0" normalizeH="0" baseline="0" noProof="0">
                  <a:ln>
                    <a:noFill/>
                  </a:ln>
                  <a:solidFill>
                    <a:srgbClr val="000000"/>
                  </a:solidFill>
                  <a:effectLst/>
                  <a:uLnTx/>
                  <a:uFillTx/>
                  <a:ea typeface="+mn-ea"/>
                  <a:cs typeface="+mn-cs"/>
                </a:rPr>
                <a:t> var</a:t>
              </a:r>
              <a:r>
                <a:rPr kumimoji="0" lang="tr-TR" sz="1200" b="0" i="0" u="none" strike="noStrike" kern="1200" cap="none" spc="0" normalizeH="0" baseline="0" noProof="0">
                  <a:ln>
                    <a:noFill/>
                  </a:ln>
                  <a:solidFill>
                    <a:srgbClr val="000000"/>
                  </a:solidFill>
                  <a:effectLst/>
                  <a:uLnTx/>
                  <a:uFillTx/>
                  <a:ea typeface="+mn-ea"/>
                  <a:cs typeface="+mn-cs"/>
                </a:rPr>
                <a:t>.</a:t>
              </a:r>
              <a:endParaRPr kumimoji="0" lang="en-US" sz="1200" b="0" i="0" u="none" strike="noStrike" kern="1200" cap="none" spc="0" normalizeH="0" baseline="0" noProof="0">
                <a:ln>
                  <a:noFill/>
                </a:ln>
                <a:solidFill>
                  <a:srgbClr val="000000"/>
                </a:solidFill>
                <a:effectLst/>
                <a:uLnTx/>
                <a:uFillTx/>
                <a:ea typeface="+mn-ea"/>
                <a:cs typeface="+mn-cs"/>
              </a:endParaRPr>
            </a:p>
          </p:txBody>
        </p:sp>
        <p:pic>
          <p:nvPicPr>
            <p:cNvPr id="7" name="Graphic 6" descr="Earth globe: Americas with solid fill">
              <a:extLst>
                <a:ext uri="{FF2B5EF4-FFF2-40B4-BE49-F238E27FC236}">
                  <a16:creationId xmlns:a16="http://schemas.microsoft.com/office/drawing/2014/main" id="{1311408E-195C-9600-C636-458D517D215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99357" y="999139"/>
              <a:ext cx="914400" cy="914400"/>
            </a:xfrm>
            <a:prstGeom prst="rect">
              <a:avLst/>
            </a:prstGeom>
          </p:spPr>
        </p:pic>
        <p:sp>
          <p:nvSpPr>
            <p:cNvPr id="9" name="TextBox 8">
              <a:extLst>
                <a:ext uri="{FF2B5EF4-FFF2-40B4-BE49-F238E27FC236}">
                  <a16:creationId xmlns:a16="http://schemas.microsoft.com/office/drawing/2014/main" id="{A27855F8-6604-1435-FEA8-AFEC8FA2EBE5}"/>
                </a:ext>
              </a:extLst>
            </p:cNvPr>
            <p:cNvSpPr txBox="1"/>
            <p:nvPr/>
          </p:nvSpPr>
          <p:spPr bwMode="gray">
            <a:xfrm>
              <a:off x="1134312" y="1155713"/>
              <a:ext cx="1575341" cy="757825"/>
            </a:xfrm>
            <a:prstGeom prst="rect">
              <a:avLst/>
            </a:prstGeom>
          </p:spPr>
          <p:txBody>
            <a:bodyPr wrap="square" lIns="45720" tIns="45720" rIns="45720" bIns="45720" rtlCol="0">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100" b="0" i="0" u="none" strike="noStrike" kern="1200" cap="none" spc="0" normalizeH="0" baseline="0" noProof="0">
                  <a:ln>
                    <a:noFill/>
                  </a:ln>
                  <a:solidFill>
                    <a:schemeClr val="tx2"/>
                  </a:solidFill>
                  <a:effectLst/>
                  <a:uLnTx/>
                  <a:uFillTx/>
                  <a:ea typeface="+mn-ea"/>
                  <a:cs typeface="+mn-cs"/>
                </a:rPr>
                <a:t>YAŞLI</a:t>
              </a:r>
              <a:r>
                <a:rPr kumimoji="0" lang="tr-TR" sz="1100" b="0" i="0" u="none" strike="noStrike" kern="1200" cap="none" spc="0" normalizeH="0" baseline="0" noProof="0">
                  <a:ln>
                    <a:noFill/>
                  </a:ln>
                  <a:solidFill>
                    <a:schemeClr val="tx2"/>
                  </a:solidFill>
                  <a:effectLst/>
                  <a:uLnTx/>
                  <a:uFillTx/>
                  <a:ea typeface="+mn-ea"/>
                  <a:cs typeface="+mn-cs"/>
                </a:rPr>
                <a:t> YETİŞ</a:t>
              </a:r>
              <a:r>
                <a:rPr kumimoji="0" lang="en-US" sz="1100" b="0" i="0" u="none" strike="noStrike" kern="1200" cap="none" spc="0" normalizeH="0" baseline="0" noProof="0">
                  <a:ln>
                    <a:noFill/>
                  </a:ln>
                  <a:solidFill>
                    <a:schemeClr val="tx2"/>
                  </a:solidFill>
                  <a:effectLst/>
                  <a:uLnTx/>
                  <a:uFillTx/>
                  <a:ea typeface="+mn-ea"/>
                  <a:cs typeface="+mn-cs"/>
                </a:rPr>
                <a:t>K</a:t>
              </a:r>
              <a:r>
                <a:rPr kumimoji="0" lang="tr-TR" sz="1100" b="0" i="0" u="none" strike="noStrike" kern="1200" cap="none" spc="0" normalizeH="0" baseline="0" noProof="0">
                  <a:ln>
                    <a:noFill/>
                  </a:ln>
                  <a:solidFill>
                    <a:schemeClr val="tx2"/>
                  </a:solidFill>
                  <a:effectLst/>
                  <a:uLnTx/>
                  <a:uFillTx/>
                  <a:ea typeface="+mn-ea"/>
                  <a:cs typeface="+mn-cs"/>
                </a:rPr>
                <a:t>İ</a:t>
              </a:r>
              <a:r>
                <a:rPr kumimoji="0" lang="en-US" sz="1100" b="0" i="0" u="none" strike="noStrike" kern="1200" cap="none" spc="0" normalizeH="0" baseline="0" noProof="0">
                  <a:ln>
                    <a:noFill/>
                  </a:ln>
                  <a:solidFill>
                    <a:schemeClr val="tx2"/>
                  </a:solidFill>
                  <a:effectLst/>
                  <a:uLnTx/>
                  <a:uFillTx/>
                  <a:ea typeface="+mn-ea"/>
                  <a:cs typeface="+mn-cs"/>
                </a:rPr>
                <a:t>NLERDE KÜRESEL RSV </a:t>
              </a:r>
              <a:r>
                <a:rPr kumimoji="0" lang="tr-TR" sz="1100" b="0" i="0" u="none" strike="noStrike" kern="1200" cap="none" spc="0" normalizeH="0" baseline="0" noProof="0">
                  <a:ln>
                    <a:noFill/>
                  </a:ln>
                  <a:solidFill>
                    <a:schemeClr val="tx2"/>
                  </a:solidFill>
                  <a:effectLst/>
                  <a:uLnTx/>
                  <a:uFillTx/>
                  <a:ea typeface="+mn-ea"/>
                  <a:cs typeface="+mn-cs"/>
                </a:rPr>
                <a:t>İ</a:t>
              </a:r>
              <a:r>
                <a:rPr kumimoji="0" lang="en-US" sz="1100" b="0" i="0" u="none" strike="noStrike" kern="1200" cap="none" spc="0" normalizeH="0" baseline="0" noProof="0">
                  <a:ln>
                    <a:noFill/>
                  </a:ln>
                  <a:solidFill>
                    <a:schemeClr val="tx2"/>
                  </a:solidFill>
                  <a:effectLst/>
                  <a:uLnTx/>
                  <a:uFillTx/>
                  <a:ea typeface="+mn-ea"/>
                  <a:cs typeface="+mn-cs"/>
                </a:rPr>
                <a:t>NS</a:t>
              </a:r>
              <a:r>
                <a:rPr kumimoji="0" lang="tr-TR" sz="1100" b="0" i="0" u="none" strike="noStrike" kern="1200" cap="none" spc="0" normalizeH="0" baseline="0" noProof="0">
                  <a:ln>
                    <a:noFill/>
                  </a:ln>
                  <a:solidFill>
                    <a:schemeClr val="tx2"/>
                  </a:solidFill>
                  <a:effectLst/>
                  <a:uLnTx/>
                  <a:uFillTx/>
                  <a:ea typeface="+mn-ea"/>
                  <a:cs typeface="+mn-cs"/>
                </a:rPr>
                <a:t>İ</a:t>
              </a:r>
              <a:r>
                <a:rPr kumimoji="0" lang="en-US" sz="1100" b="0" i="0" u="none" strike="noStrike" kern="1200" cap="none" spc="0" normalizeH="0" baseline="0" noProof="0">
                  <a:ln>
                    <a:noFill/>
                  </a:ln>
                  <a:solidFill>
                    <a:schemeClr val="tx2"/>
                  </a:solidFill>
                  <a:effectLst/>
                  <a:uLnTx/>
                  <a:uFillTx/>
                  <a:ea typeface="+mn-ea"/>
                  <a:cs typeface="+mn-cs"/>
                </a:rPr>
                <a:t>DANSI*</a:t>
              </a:r>
            </a:p>
          </p:txBody>
        </p:sp>
      </p:grpSp>
      <p:pic>
        <p:nvPicPr>
          <p:cNvPr id="6" name="Picture 5" descr="A black and blue logo&#10;&#10;AI-generated content may be incorrect.">
            <a:extLst>
              <a:ext uri="{FF2B5EF4-FFF2-40B4-BE49-F238E27FC236}">
                <a16:creationId xmlns:a16="http://schemas.microsoft.com/office/drawing/2014/main" id="{CD142D84-2FD2-5FF1-2017-AB7AE9C1930B}"/>
              </a:ext>
            </a:extLst>
          </p:cNvPr>
          <p:cNvPicPr>
            <a:picLocks noChangeAspect="1"/>
          </p:cNvPicPr>
          <p:nvPr/>
        </p:nvPicPr>
        <p:blipFill>
          <a:blip r:embed="rId10"/>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12812428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C2B13-1B25-818E-0C91-D5FA9D3B83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CEC1FEF-345F-955D-A656-F9C374F22D4C}"/>
              </a:ext>
            </a:extLst>
          </p:cNvPr>
          <p:cNvSpPr>
            <a:spLocks noGrp="1"/>
          </p:cNvSpPr>
          <p:nvPr>
            <p:ph type="title"/>
          </p:nvPr>
        </p:nvSpPr>
        <p:spPr>
          <a:xfrm>
            <a:off x="613152" y="221942"/>
            <a:ext cx="10969218" cy="815898"/>
          </a:xfrm>
        </p:spPr>
        <p:txBody>
          <a:bodyPr anchor="ctr">
            <a:normAutofit/>
          </a:bodyPr>
          <a:lstStyle/>
          <a:p>
            <a:r>
              <a:rPr lang="en-US" sz="3200" dirty="0">
                <a:solidFill>
                  <a:srgbClr val="FFFFFF"/>
                </a:solidFill>
              </a:rPr>
              <a:t>AJANDA</a:t>
            </a:r>
            <a:endParaRPr lang="tr-TR" sz="3200" dirty="0">
              <a:solidFill>
                <a:schemeClr val="bg1"/>
              </a:solidFill>
            </a:endParaRPr>
          </a:p>
        </p:txBody>
      </p:sp>
      <p:sp>
        <p:nvSpPr>
          <p:cNvPr id="3" name="Slide Number Placeholder 2">
            <a:extLst>
              <a:ext uri="{FF2B5EF4-FFF2-40B4-BE49-F238E27FC236}">
                <a16:creationId xmlns:a16="http://schemas.microsoft.com/office/drawing/2014/main" id="{F4B613E5-2A52-5F7D-52F7-17AC2835D362}"/>
              </a:ext>
            </a:extLst>
          </p:cNvPr>
          <p:cNvSpPr>
            <a:spLocks noGrp="1"/>
          </p:cNvSpPr>
          <p:nvPr>
            <p:ph type="sldNum" sz="quarter" idx="4"/>
          </p:nvPr>
        </p:nvSpPr>
        <p:spPr/>
        <p:txBody>
          <a:bodyPr/>
          <a:lstStyle/>
          <a:p>
            <a:fld id="{2B39012A-6F33-204B-8224-A57BEFB0AAD0}" type="slidenum">
              <a:rPr lang="en-US" smtClean="0"/>
              <a:pPr/>
              <a:t>3</a:t>
            </a:fld>
            <a:endParaRPr lang="en-US"/>
          </a:p>
        </p:txBody>
      </p:sp>
      <p:grpSp>
        <p:nvGrpSpPr>
          <p:cNvPr id="44" name="Group 43">
            <a:extLst>
              <a:ext uri="{FF2B5EF4-FFF2-40B4-BE49-F238E27FC236}">
                <a16:creationId xmlns:a16="http://schemas.microsoft.com/office/drawing/2014/main" id="{6FE59D24-2C27-4E76-18D3-F44A056E631E}"/>
              </a:ext>
            </a:extLst>
          </p:cNvPr>
          <p:cNvGrpSpPr/>
          <p:nvPr/>
        </p:nvGrpSpPr>
        <p:grpSpPr>
          <a:xfrm>
            <a:off x="9513903" y="6320005"/>
            <a:ext cx="1895426" cy="453867"/>
            <a:chOff x="9513903" y="6320005"/>
            <a:chExt cx="1895426" cy="453867"/>
          </a:xfrm>
        </p:grpSpPr>
        <p:pic>
          <p:nvPicPr>
            <p:cNvPr id="20" name="Picture 19" descr="A yellow and blue logo&#10;&#10;Description automatically generated">
              <a:extLst>
                <a:ext uri="{FF2B5EF4-FFF2-40B4-BE49-F238E27FC236}">
                  <a16:creationId xmlns:a16="http://schemas.microsoft.com/office/drawing/2014/main" id="{F463B485-8D27-5096-D054-0AF01C3431C3}"/>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21" name="Picture 20" descr="A black and blue logo&#10;&#10;AI-generated content may be incorrect.">
              <a:extLst>
                <a:ext uri="{FF2B5EF4-FFF2-40B4-BE49-F238E27FC236}">
                  <a16:creationId xmlns:a16="http://schemas.microsoft.com/office/drawing/2014/main" id="{45116E2D-5E20-5C5B-B765-A4DB52A850DE}"/>
                </a:ext>
              </a:extLst>
            </p:cNvPr>
            <p:cNvPicPr>
              <a:picLocks noChangeAspect="1"/>
            </p:cNvPicPr>
            <p:nvPr/>
          </p:nvPicPr>
          <p:blipFill>
            <a:blip r:embed="rId3"/>
            <a:stretch>
              <a:fillRect/>
            </a:stretch>
          </p:blipFill>
          <p:spPr>
            <a:xfrm>
              <a:off x="9513903" y="6494969"/>
              <a:ext cx="981021" cy="204067"/>
            </a:xfrm>
            <a:prstGeom prst="rect">
              <a:avLst/>
            </a:prstGeom>
          </p:spPr>
        </p:pic>
      </p:grpSp>
      <p:grpSp>
        <p:nvGrpSpPr>
          <p:cNvPr id="39" name="Group 38">
            <a:extLst>
              <a:ext uri="{FF2B5EF4-FFF2-40B4-BE49-F238E27FC236}">
                <a16:creationId xmlns:a16="http://schemas.microsoft.com/office/drawing/2014/main" id="{E026B7E9-D119-10BF-3AB2-F7D41DAF0A0D}"/>
              </a:ext>
            </a:extLst>
          </p:cNvPr>
          <p:cNvGrpSpPr/>
          <p:nvPr/>
        </p:nvGrpSpPr>
        <p:grpSpPr>
          <a:xfrm>
            <a:off x="3305060" y="1496242"/>
            <a:ext cx="8681292" cy="773339"/>
            <a:chOff x="3305060" y="1496242"/>
            <a:chExt cx="8681292" cy="773339"/>
          </a:xfrm>
        </p:grpSpPr>
        <p:grpSp>
          <p:nvGrpSpPr>
            <p:cNvPr id="13" name="Google Shape;674;p30">
              <a:extLst>
                <a:ext uri="{FF2B5EF4-FFF2-40B4-BE49-F238E27FC236}">
                  <a16:creationId xmlns:a16="http://schemas.microsoft.com/office/drawing/2014/main" id="{5830AD14-3F72-D4D1-9E40-651054C706C1}"/>
                </a:ext>
              </a:extLst>
            </p:cNvPr>
            <p:cNvGrpSpPr/>
            <p:nvPr/>
          </p:nvGrpSpPr>
          <p:grpSpPr>
            <a:xfrm>
              <a:off x="3305060" y="1496242"/>
              <a:ext cx="8681292" cy="773339"/>
              <a:chOff x="485966" y="2196110"/>
              <a:chExt cx="8681292" cy="773339"/>
            </a:xfrm>
          </p:grpSpPr>
          <p:sp>
            <p:nvSpPr>
              <p:cNvPr id="14" name="Google Shape;675;p30">
                <a:extLst>
                  <a:ext uri="{FF2B5EF4-FFF2-40B4-BE49-F238E27FC236}">
                    <a16:creationId xmlns:a16="http://schemas.microsoft.com/office/drawing/2014/main" id="{AB1F0142-D30D-EDED-1EEE-FB0B3A89A925}"/>
                  </a:ext>
                </a:extLst>
              </p:cNvPr>
              <p:cNvSpPr/>
              <p:nvPr/>
            </p:nvSpPr>
            <p:spPr>
              <a:xfrm>
                <a:off x="875153" y="2196237"/>
                <a:ext cx="8292105" cy="773085"/>
              </a:xfrm>
              <a:prstGeom prst="roundRect">
                <a:avLst/>
              </a:prstGeom>
              <a:solidFill>
                <a:schemeClr val="bg1"/>
              </a:solidFill>
              <a:ln w="19050">
                <a:solidFill>
                  <a:schemeClr val="accent2"/>
                </a:solid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15" name="Google Shape;678;p30">
                <a:extLst>
                  <a:ext uri="{FF2B5EF4-FFF2-40B4-BE49-F238E27FC236}">
                    <a16:creationId xmlns:a16="http://schemas.microsoft.com/office/drawing/2014/main" id="{9C011F4C-FDB8-0D04-B7C2-F4D61218ECC2}"/>
                  </a:ext>
                </a:extLst>
              </p:cNvPr>
              <p:cNvSpPr/>
              <p:nvPr/>
            </p:nvSpPr>
            <p:spPr>
              <a:xfrm>
                <a:off x="485966" y="2196110"/>
                <a:ext cx="773085" cy="773339"/>
              </a:xfrm>
              <a:custGeom>
                <a:avLst/>
                <a:gdLst/>
                <a:ahLst/>
                <a:cxnLst/>
                <a:rect l="l" t="t" r="r" b="b"/>
                <a:pathLst>
                  <a:path w="36505" h="36517" extrusionOk="0">
                    <a:moveTo>
                      <a:pt x="18253" y="0"/>
                    </a:moveTo>
                    <a:cubicBezTo>
                      <a:pt x="8168" y="0"/>
                      <a:pt x="1" y="8180"/>
                      <a:pt x="1" y="18253"/>
                    </a:cubicBezTo>
                    <a:cubicBezTo>
                      <a:pt x="1" y="28337"/>
                      <a:pt x="8168" y="36517"/>
                      <a:pt x="18253" y="36517"/>
                    </a:cubicBezTo>
                    <a:cubicBezTo>
                      <a:pt x="28326" y="36517"/>
                      <a:pt x="36505" y="28337"/>
                      <a:pt x="36505" y="18253"/>
                    </a:cubicBezTo>
                    <a:cubicBezTo>
                      <a:pt x="36505" y="8180"/>
                      <a:pt x="28326" y="0"/>
                      <a:pt x="18253" y="0"/>
                    </a:cubicBez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16" name="Google Shape;679;p30">
                <a:extLst>
                  <a:ext uri="{FF2B5EF4-FFF2-40B4-BE49-F238E27FC236}">
                    <a16:creationId xmlns:a16="http://schemas.microsoft.com/office/drawing/2014/main" id="{8838DCA9-C7E5-91CC-2574-A84BF76A4D3A}"/>
                  </a:ext>
                </a:extLst>
              </p:cNvPr>
              <p:cNvSpPr/>
              <p:nvPr/>
            </p:nvSpPr>
            <p:spPr>
              <a:xfrm>
                <a:off x="547993" y="2258392"/>
                <a:ext cx="648794" cy="648773"/>
              </a:xfrm>
              <a:custGeom>
                <a:avLst/>
                <a:gdLst/>
                <a:ahLst/>
                <a:cxnLst/>
                <a:rect l="l" t="t" r="r" b="b"/>
                <a:pathLst>
                  <a:path w="30636" h="30635" extrusionOk="0">
                    <a:moveTo>
                      <a:pt x="15324" y="0"/>
                    </a:moveTo>
                    <a:cubicBezTo>
                      <a:pt x="6858" y="0"/>
                      <a:pt x="0" y="6858"/>
                      <a:pt x="0" y="15312"/>
                    </a:cubicBezTo>
                    <a:cubicBezTo>
                      <a:pt x="0" y="23777"/>
                      <a:pt x="6858" y="30635"/>
                      <a:pt x="15324" y="30635"/>
                    </a:cubicBezTo>
                    <a:cubicBezTo>
                      <a:pt x="23777" y="30635"/>
                      <a:pt x="30635" y="23777"/>
                      <a:pt x="30635" y="15312"/>
                    </a:cubicBezTo>
                    <a:cubicBezTo>
                      <a:pt x="30635" y="6858"/>
                      <a:pt x="23777" y="0"/>
                      <a:pt x="15324" y="0"/>
                    </a:cubicBezTo>
                    <a:close/>
                  </a:path>
                </a:pathLst>
              </a:cu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endParaRPr sz="1600"/>
              </a:p>
            </p:txBody>
          </p:sp>
        </p:grpSp>
        <p:sp>
          <p:nvSpPr>
            <p:cNvPr id="17" name="TextBox 16">
              <a:extLst>
                <a:ext uri="{FF2B5EF4-FFF2-40B4-BE49-F238E27FC236}">
                  <a16:creationId xmlns:a16="http://schemas.microsoft.com/office/drawing/2014/main" id="{FD8DC796-E08D-F0D8-1C8D-469E956568AD}"/>
                </a:ext>
              </a:extLst>
            </p:cNvPr>
            <p:cNvSpPr txBox="1"/>
            <p:nvPr/>
          </p:nvSpPr>
          <p:spPr>
            <a:xfrm>
              <a:off x="4263514" y="1555899"/>
              <a:ext cx="7194028" cy="654025"/>
            </a:xfrm>
            <a:prstGeom prst="rect">
              <a:avLst/>
            </a:prstGeom>
            <a:noFill/>
          </p:spPr>
          <p:txBody>
            <a:bodyPr wrap="square">
              <a:spAutoFit/>
            </a:bodyPr>
            <a:lstStyle/>
            <a:p>
              <a:pPr marL="0" marR="0" lvl="1" indent="0" algn="l" defTabSz="914400" rtl="0" eaLnBrk="1" fontAlgn="auto" latinLnBrk="0" hangingPunct="1">
                <a:lnSpc>
                  <a:spcPct val="90000"/>
                </a:lnSpc>
                <a:spcBef>
                  <a:spcPts val="0"/>
                </a:spcBef>
                <a:spcAft>
                  <a:spcPts val="0"/>
                </a:spcAft>
                <a:buClrTx/>
                <a:buSzTx/>
                <a:buFontTx/>
                <a:buNone/>
                <a:tabLst/>
                <a:defRPr/>
              </a:pPr>
              <a:r>
                <a:rPr kumimoji="0" lang="tr-TR" sz="2000" b="1" i="0" u="none" strike="noStrike" kern="1200" cap="none" spc="0" normalizeH="0" baseline="0" noProof="0" dirty="0">
                  <a:ln>
                    <a:noFill/>
                  </a:ln>
                  <a:solidFill>
                    <a:srgbClr val="000000"/>
                  </a:solidFill>
                  <a:effectLst/>
                  <a:uLnTx/>
                  <a:uFillTx/>
                  <a:ea typeface="+mn-ea"/>
                  <a:cs typeface="+mn-cs"/>
                </a:rPr>
                <a:t>Yaygın Solunum Yolu Enfeksiyonlarının Epidemiyolojisi ve Klinik Özellikleri</a:t>
              </a:r>
            </a:p>
          </p:txBody>
        </p:sp>
        <p:sp>
          <p:nvSpPr>
            <p:cNvPr id="30" name="TextBox 29">
              <a:extLst>
                <a:ext uri="{FF2B5EF4-FFF2-40B4-BE49-F238E27FC236}">
                  <a16:creationId xmlns:a16="http://schemas.microsoft.com/office/drawing/2014/main" id="{85EEE2FA-CF2E-320B-878A-A4E7AB389632}"/>
                </a:ext>
              </a:extLst>
            </p:cNvPr>
            <p:cNvSpPr txBox="1"/>
            <p:nvPr/>
          </p:nvSpPr>
          <p:spPr>
            <a:xfrm>
              <a:off x="3403531" y="1559746"/>
              <a:ext cx="571565" cy="646331"/>
            </a:xfrm>
            <a:prstGeom prst="rect">
              <a:avLst/>
            </a:prstGeom>
            <a:noFill/>
          </p:spPr>
          <p:txBody>
            <a:bodyPr wrap="square" rtlCol="0" anchor="ctr">
              <a:spAutoFit/>
            </a:bodyPr>
            <a:lstStyle/>
            <a:p>
              <a:pPr algn="ctr"/>
              <a:r>
                <a:rPr lang="tr-TR"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rPr>
                <a:t>1</a:t>
              </a:r>
              <a:endParaRPr lang="en-GB"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endParaRPr>
            </a:p>
          </p:txBody>
        </p:sp>
      </p:grpSp>
      <p:grpSp>
        <p:nvGrpSpPr>
          <p:cNvPr id="40" name="Group 39">
            <a:extLst>
              <a:ext uri="{FF2B5EF4-FFF2-40B4-BE49-F238E27FC236}">
                <a16:creationId xmlns:a16="http://schemas.microsoft.com/office/drawing/2014/main" id="{AA7D7604-47B3-2ABB-0C2C-A8025DA9013F}"/>
              </a:ext>
            </a:extLst>
          </p:cNvPr>
          <p:cNvGrpSpPr/>
          <p:nvPr/>
        </p:nvGrpSpPr>
        <p:grpSpPr>
          <a:xfrm>
            <a:off x="3305060" y="2593624"/>
            <a:ext cx="8681292" cy="773339"/>
            <a:chOff x="3367087" y="2608884"/>
            <a:chExt cx="8681292" cy="773339"/>
          </a:xfrm>
        </p:grpSpPr>
        <p:grpSp>
          <p:nvGrpSpPr>
            <p:cNvPr id="18" name="Google Shape;674;p30">
              <a:extLst>
                <a:ext uri="{FF2B5EF4-FFF2-40B4-BE49-F238E27FC236}">
                  <a16:creationId xmlns:a16="http://schemas.microsoft.com/office/drawing/2014/main" id="{D9370932-15A0-B0C5-CFD1-05C053B03216}"/>
                </a:ext>
              </a:extLst>
            </p:cNvPr>
            <p:cNvGrpSpPr/>
            <p:nvPr/>
          </p:nvGrpSpPr>
          <p:grpSpPr>
            <a:xfrm>
              <a:off x="3367087" y="2608884"/>
              <a:ext cx="8681292" cy="773339"/>
              <a:chOff x="485966" y="2196110"/>
              <a:chExt cx="8681292" cy="773339"/>
            </a:xfrm>
          </p:grpSpPr>
          <p:sp>
            <p:nvSpPr>
              <p:cNvPr id="19" name="Google Shape;675;p30">
                <a:extLst>
                  <a:ext uri="{FF2B5EF4-FFF2-40B4-BE49-F238E27FC236}">
                    <a16:creationId xmlns:a16="http://schemas.microsoft.com/office/drawing/2014/main" id="{CC325221-0D70-2301-416D-A6C8956F66EE}"/>
                  </a:ext>
                </a:extLst>
              </p:cNvPr>
              <p:cNvSpPr/>
              <p:nvPr/>
            </p:nvSpPr>
            <p:spPr>
              <a:xfrm>
                <a:off x="875153" y="2196237"/>
                <a:ext cx="8292105" cy="773085"/>
              </a:xfrm>
              <a:prstGeom prst="roundRect">
                <a:avLst/>
              </a:prstGeom>
              <a:solidFill>
                <a:schemeClr val="bg1"/>
              </a:solidFill>
              <a:ln w="19050">
                <a:solidFill>
                  <a:schemeClr val="accent2"/>
                </a:solid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22" name="Google Shape;678;p30">
                <a:extLst>
                  <a:ext uri="{FF2B5EF4-FFF2-40B4-BE49-F238E27FC236}">
                    <a16:creationId xmlns:a16="http://schemas.microsoft.com/office/drawing/2014/main" id="{2C33B9A9-6F14-C410-70FF-2E0CF9677ACF}"/>
                  </a:ext>
                </a:extLst>
              </p:cNvPr>
              <p:cNvSpPr/>
              <p:nvPr/>
            </p:nvSpPr>
            <p:spPr>
              <a:xfrm>
                <a:off x="485966" y="2196110"/>
                <a:ext cx="773085" cy="773339"/>
              </a:xfrm>
              <a:custGeom>
                <a:avLst/>
                <a:gdLst/>
                <a:ahLst/>
                <a:cxnLst/>
                <a:rect l="l" t="t" r="r" b="b"/>
                <a:pathLst>
                  <a:path w="36505" h="36517" extrusionOk="0">
                    <a:moveTo>
                      <a:pt x="18253" y="0"/>
                    </a:moveTo>
                    <a:cubicBezTo>
                      <a:pt x="8168" y="0"/>
                      <a:pt x="1" y="8180"/>
                      <a:pt x="1" y="18253"/>
                    </a:cubicBezTo>
                    <a:cubicBezTo>
                      <a:pt x="1" y="28337"/>
                      <a:pt x="8168" y="36517"/>
                      <a:pt x="18253" y="36517"/>
                    </a:cubicBezTo>
                    <a:cubicBezTo>
                      <a:pt x="28326" y="36517"/>
                      <a:pt x="36505" y="28337"/>
                      <a:pt x="36505" y="18253"/>
                    </a:cubicBezTo>
                    <a:cubicBezTo>
                      <a:pt x="36505" y="8180"/>
                      <a:pt x="28326" y="0"/>
                      <a:pt x="18253" y="0"/>
                    </a:cubicBez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23" name="Google Shape;679;p30">
                <a:extLst>
                  <a:ext uri="{FF2B5EF4-FFF2-40B4-BE49-F238E27FC236}">
                    <a16:creationId xmlns:a16="http://schemas.microsoft.com/office/drawing/2014/main" id="{296D1CCF-F07E-FD75-1BD0-9E13A8E5B0D7}"/>
                  </a:ext>
                </a:extLst>
              </p:cNvPr>
              <p:cNvSpPr/>
              <p:nvPr/>
            </p:nvSpPr>
            <p:spPr>
              <a:xfrm>
                <a:off x="547993" y="2258392"/>
                <a:ext cx="648794" cy="648773"/>
              </a:xfrm>
              <a:custGeom>
                <a:avLst/>
                <a:gdLst/>
                <a:ahLst/>
                <a:cxnLst/>
                <a:rect l="l" t="t" r="r" b="b"/>
                <a:pathLst>
                  <a:path w="30636" h="30635" extrusionOk="0">
                    <a:moveTo>
                      <a:pt x="15324" y="0"/>
                    </a:moveTo>
                    <a:cubicBezTo>
                      <a:pt x="6858" y="0"/>
                      <a:pt x="0" y="6858"/>
                      <a:pt x="0" y="15312"/>
                    </a:cubicBezTo>
                    <a:cubicBezTo>
                      <a:pt x="0" y="23777"/>
                      <a:pt x="6858" y="30635"/>
                      <a:pt x="15324" y="30635"/>
                    </a:cubicBezTo>
                    <a:cubicBezTo>
                      <a:pt x="23777" y="30635"/>
                      <a:pt x="30635" y="23777"/>
                      <a:pt x="30635" y="15312"/>
                    </a:cubicBezTo>
                    <a:cubicBezTo>
                      <a:pt x="30635" y="6858"/>
                      <a:pt x="23777" y="0"/>
                      <a:pt x="15324" y="0"/>
                    </a:cubicBezTo>
                    <a:close/>
                  </a:path>
                </a:pathLst>
              </a:cu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endParaRPr sz="1600"/>
              </a:p>
            </p:txBody>
          </p:sp>
        </p:grpSp>
        <p:sp>
          <p:nvSpPr>
            <p:cNvPr id="24" name="TextBox 23">
              <a:extLst>
                <a:ext uri="{FF2B5EF4-FFF2-40B4-BE49-F238E27FC236}">
                  <a16:creationId xmlns:a16="http://schemas.microsoft.com/office/drawing/2014/main" id="{B1F3681C-AFF6-FFE4-70B2-12A9E18F37E4}"/>
                </a:ext>
              </a:extLst>
            </p:cNvPr>
            <p:cNvSpPr txBox="1"/>
            <p:nvPr/>
          </p:nvSpPr>
          <p:spPr>
            <a:xfrm>
              <a:off x="4325541" y="2668541"/>
              <a:ext cx="7722838" cy="654025"/>
            </a:xfrm>
            <a:prstGeom prst="rect">
              <a:avLst/>
            </a:prstGeom>
            <a:noFill/>
          </p:spPr>
          <p:txBody>
            <a:bodyPr wrap="square">
              <a:spAutoFit/>
            </a:bodyPr>
            <a:lstStyle/>
            <a:p>
              <a:pPr marL="0" lvl="1" defTabSz="914400">
                <a:lnSpc>
                  <a:spcPct val="90000"/>
                </a:lnSpc>
                <a:defRPr/>
              </a:pPr>
              <a:r>
                <a:rPr kumimoji="0" lang="tr-TR" sz="2000" b="0" i="0" u="none" strike="noStrike" kern="1200" cap="none" spc="0" normalizeH="0" baseline="0" noProof="0" dirty="0">
                  <a:ln>
                    <a:noFill/>
                  </a:ln>
                  <a:effectLst/>
                  <a:uLnTx/>
                  <a:uFillTx/>
                  <a:ea typeface="+mn-ea"/>
                  <a:cs typeface="+mn-cs"/>
                </a:rPr>
                <a:t>RSV’ye Genel Bakış, Klinik Özellikleri ve </a:t>
              </a:r>
              <a:r>
                <a:rPr kumimoji="0" lang="en-US" sz="2000" b="0" i="0" u="none" strike="noStrike" kern="1200" cap="none" spc="0" normalizeH="0" baseline="0" noProof="0" dirty="0" err="1">
                  <a:ln>
                    <a:noFill/>
                  </a:ln>
                  <a:effectLst/>
                  <a:uLnTx/>
                  <a:uFillTx/>
                  <a:ea typeface="+mn-ea"/>
                  <a:cs typeface="+mn-cs"/>
                </a:rPr>
                <a:t>İleri</a:t>
              </a:r>
              <a:r>
                <a:rPr kumimoji="0" lang="en-US" sz="2000" b="0" i="0" u="none" strike="noStrike" kern="1200" cap="none" spc="0" normalizeH="0" baseline="0" noProof="0" dirty="0">
                  <a:ln>
                    <a:noFill/>
                  </a:ln>
                  <a:effectLst/>
                  <a:uLnTx/>
                  <a:uFillTx/>
                  <a:ea typeface="+mn-ea"/>
                  <a:cs typeface="+mn-cs"/>
                </a:rPr>
                <a:t> </a:t>
              </a:r>
              <a:r>
                <a:rPr kumimoji="0" lang="en-US" sz="2000" b="0" i="0" u="none" strike="noStrike" kern="1200" cap="none" spc="0" normalizeH="0" baseline="0" noProof="0" dirty="0" err="1">
                  <a:ln>
                    <a:noFill/>
                  </a:ln>
                  <a:effectLst/>
                  <a:uLnTx/>
                  <a:uFillTx/>
                  <a:ea typeface="+mn-ea"/>
                  <a:cs typeface="+mn-cs"/>
                </a:rPr>
                <a:t>Yaş</a:t>
              </a:r>
              <a:r>
                <a:rPr kumimoji="0" lang="en-US" sz="2000" b="0" i="0" u="none" strike="noStrike" kern="1200" cap="none" spc="0" normalizeH="0" baseline="0" noProof="0" dirty="0">
                  <a:ln>
                    <a:noFill/>
                  </a:ln>
                  <a:effectLst/>
                  <a:uLnTx/>
                  <a:uFillTx/>
                  <a:ea typeface="+mn-ea"/>
                  <a:cs typeface="+mn-cs"/>
                </a:rPr>
                <a:t> </a:t>
              </a:r>
              <a:r>
                <a:rPr kumimoji="0" lang="en-US" sz="2000" b="0" i="0" u="none" strike="noStrike" kern="1200" cap="none" spc="0" normalizeH="0" baseline="0" noProof="0" dirty="0" err="1">
                  <a:ln>
                    <a:noFill/>
                  </a:ln>
                  <a:effectLst/>
                  <a:uLnTx/>
                  <a:uFillTx/>
                  <a:ea typeface="+mn-ea"/>
                  <a:cs typeface="+mn-cs"/>
                </a:rPr>
                <a:t>Erişkinlerde</a:t>
              </a:r>
              <a:r>
                <a:rPr kumimoji="0" lang="en-US" sz="2000" b="0" i="0" u="none" strike="noStrike" kern="1200" cap="none" spc="0" normalizeH="0" baseline="0" noProof="0" dirty="0">
                  <a:ln>
                    <a:noFill/>
                  </a:ln>
                  <a:effectLst/>
                  <a:uLnTx/>
                  <a:uFillTx/>
                  <a:ea typeface="+mn-ea"/>
                  <a:cs typeface="+mn-cs"/>
                </a:rPr>
                <a:t> </a:t>
              </a:r>
              <a:r>
                <a:rPr kumimoji="0" lang="tr-TR" sz="2000" b="0" i="0" u="none" strike="noStrike" kern="1200" cap="none" spc="0" normalizeH="0" baseline="0" noProof="0" dirty="0">
                  <a:ln>
                    <a:noFill/>
                  </a:ln>
                  <a:effectLst/>
                  <a:uLnTx/>
                  <a:uFillTx/>
                  <a:ea typeface="+mn-ea"/>
                  <a:cs typeface="+mn-cs"/>
                </a:rPr>
                <a:t>Hastalık Yükü</a:t>
              </a:r>
              <a:endParaRPr kumimoji="0" lang="en-US" sz="2000" b="0" i="0" u="none" strike="noStrike" kern="1200" cap="none" spc="0" normalizeH="0" baseline="0" noProof="0" dirty="0">
                <a:ln>
                  <a:noFill/>
                </a:ln>
                <a:effectLst/>
                <a:uLnTx/>
                <a:uFillTx/>
                <a:ea typeface="+mn-ea"/>
                <a:cs typeface="+mn-cs"/>
              </a:endParaRPr>
            </a:p>
          </p:txBody>
        </p:sp>
        <p:sp>
          <p:nvSpPr>
            <p:cNvPr id="31" name="TextBox 30">
              <a:extLst>
                <a:ext uri="{FF2B5EF4-FFF2-40B4-BE49-F238E27FC236}">
                  <a16:creationId xmlns:a16="http://schemas.microsoft.com/office/drawing/2014/main" id="{F148C3C4-DD1D-AEE3-59C7-D08F4EBB4E89}"/>
                </a:ext>
              </a:extLst>
            </p:cNvPr>
            <p:cNvSpPr txBox="1"/>
            <p:nvPr/>
          </p:nvSpPr>
          <p:spPr>
            <a:xfrm>
              <a:off x="3465848" y="2672388"/>
              <a:ext cx="571565" cy="646331"/>
            </a:xfrm>
            <a:prstGeom prst="rect">
              <a:avLst/>
            </a:prstGeom>
            <a:noFill/>
          </p:spPr>
          <p:txBody>
            <a:bodyPr wrap="square" rtlCol="0" anchor="ctr">
              <a:spAutoFit/>
            </a:bodyPr>
            <a:lstStyle/>
            <a:p>
              <a:pPr algn="ctr"/>
              <a:r>
                <a:rPr lang="tr-TR"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rPr>
                <a:t>2</a:t>
              </a:r>
              <a:endParaRPr lang="en-GB"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endParaRPr>
            </a:p>
          </p:txBody>
        </p:sp>
      </p:grpSp>
      <p:grpSp>
        <p:nvGrpSpPr>
          <p:cNvPr id="41" name="Group 40">
            <a:extLst>
              <a:ext uri="{FF2B5EF4-FFF2-40B4-BE49-F238E27FC236}">
                <a16:creationId xmlns:a16="http://schemas.microsoft.com/office/drawing/2014/main" id="{C2546F61-02CD-7BF9-A8BA-791F4A123349}"/>
              </a:ext>
            </a:extLst>
          </p:cNvPr>
          <p:cNvGrpSpPr/>
          <p:nvPr/>
        </p:nvGrpSpPr>
        <p:grpSpPr>
          <a:xfrm>
            <a:off x="3305060" y="3691006"/>
            <a:ext cx="8681292" cy="773339"/>
            <a:chOff x="3367087" y="3690453"/>
            <a:chExt cx="8681292" cy="773339"/>
          </a:xfrm>
        </p:grpSpPr>
        <p:grpSp>
          <p:nvGrpSpPr>
            <p:cNvPr id="25" name="Google Shape;674;p30">
              <a:extLst>
                <a:ext uri="{FF2B5EF4-FFF2-40B4-BE49-F238E27FC236}">
                  <a16:creationId xmlns:a16="http://schemas.microsoft.com/office/drawing/2014/main" id="{8C57B8D1-0007-E6CC-0244-F4A32013CE78}"/>
                </a:ext>
              </a:extLst>
            </p:cNvPr>
            <p:cNvGrpSpPr/>
            <p:nvPr/>
          </p:nvGrpSpPr>
          <p:grpSpPr>
            <a:xfrm>
              <a:off x="3367087" y="3690453"/>
              <a:ext cx="8681292" cy="773339"/>
              <a:chOff x="485966" y="2196110"/>
              <a:chExt cx="8681292" cy="773339"/>
            </a:xfrm>
          </p:grpSpPr>
          <p:sp>
            <p:nvSpPr>
              <p:cNvPr id="26" name="Google Shape;675;p30">
                <a:extLst>
                  <a:ext uri="{FF2B5EF4-FFF2-40B4-BE49-F238E27FC236}">
                    <a16:creationId xmlns:a16="http://schemas.microsoft.com/office/drawing/2014/main" id="{0F3D5BE3-BCF0-4614-FAED-6986D815B16C}"/>
                  </a:ext>
                </a:extLst>
              </p:cNvPr>
              <p:cNvSpPr/>
              <p:nvPr/>
            </p:nvSpPr>
            <p:spPr>
              <a:xfrm>
                <a:off x="875153" y="2196237"/>
                <a:ext cx="8292105" cy="773085"/>
              </a:xfrm>
              <a:prstGeom prst="roundRect">
                <a:avLst/>
              </a:prstGeom>
              <a:solidFill>
                <a:schemeClr val="bg1"/>
              </a:solidFill>
              <a:ln w="19050">
                <a:solidFill>
                  <a:schemeClr val="accent2"/>
                </a:solid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27" name="Google Shape;678;p30">
                <a:extLst>
                  <a:ext uri="{FF2B5EF4-FFF2-40B4-BE49-F238E27FC236}">
                    <a16:creationId xmlns:a16="http://schemas.microsoft.com/office/drawing/2014/main" id="{9ABAEC4C-DF81-060C-0847-CEAD12D5AC2E}"/>
                  </a:ext>
                </a:extLst>
              </p:cNvPr>
              <p:cNvSpPr/>
              <p:nvPr/>
            </p:nvSpPr>
            <p:spPr>
              <a:xfrm>
                <a:off x="485966" y="2196110"/>
                <a:ext cx="773085" cy="773339"/>
              </a:xfrm>
              <a:custGeom>
                <a:avLst/>
                <a:gdLst/>
                <a:ahLst/>
                <a:cxnLst/>
                <a:rect l="l" t="t" r="r" b="b"/>
                <a:pathLst>
                  <a:path w="36505" h="36517" extrusionOk="0">
                    <a:moveTo>
                      <a:pt x="18253" y="0"/>
                    </a:moveTo>
                    <a:cubicBezTo>
                      <a:pt x="8168" y="0"/>
                      <a:pt x="1" y="8180"/>
                      <a:pt x="1" y="18253"/>
                    </a:cubicBezTo>
                    <a:cubicBezTo>
                      <a:pt x="1" y="28337"/>
                      <a:pt x="8168" y="36517"/>
                      <a:pt x="18253" y="36517"/>
                    </a:cubicBezTo>
                    <a:cubicBezTo>
                      <a:pt x="28326" y="36517"/>
                      <a:pt x="36505" y="28337"/>
                      <a:pt x="36505" y="18253"/>
                    </a:cubicBezTo>
                    <a:cubicBezTo>
                      <a:pt x="36505" y="8180"/>
                      <a:pt x="28326" y="0"/>
                      <a:pt x="18253" y="0"/>
                    </a:cubicBez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28" name="Google Shape;679;p30">
                <a:extLst>
                  <a:ext uri="{FF2B5EF4-FFF2-40B4-BE49-F238E27FC236}">
                    <a16:creationId xmlns:a16="http://schemas.microsoft.com/office/drawing/2014/main" id="{4E36B151-6B10-B2F1-7AAC-F28213DAD082}"/>
                  </a:ext>
                </a:extLst>
              </p:cNvPr>
              <p:cNvSpPr/>
              <p:nvPr/>
            </p:nvSpPr>
            <p:spPr>
              <a:xfrm>
                <a:off x="547993" y="2258392"/>
                <a:ext cx="648794" cy="648773"/>
              </a:xfrm>
              <a:custGeom>
                <a:avLst/>
                <a:gdLst/>
                <a:ahLst/>
                <a:cxnLst/>
                <a:rect l="l" t="t" r="r" b="b"/>
                <a:pathLst>
                  <a:path w="30636" h="30635" extrusionOk="0">
                    <a:moveTo>
                      <a:pt x="15324" y="0"/>
                    </a:moveTo>
                    <a:cubicBezTo>
                      <a:pt x="6858" y="0"/>
                      <a:pt x="0" y="6858"/>
                      <a:pt x="0" y="15312"/>
                    </a:cubicBezTo>
                    <a:cubicBezTo>
                      <a:pt x="0" y="23777"/>
                      <a:pt x="6858" y="30635"/>
                      <a:pt x="15324" y="30635"/>
                    </a:cubicBezTo>
                    <a:cubicBezTo>
                      <a:pt x="23777" y="30635"/>
                      <a:pt x="30635" y="23777"/>
                      <a:pt x="30635" y="15312"/>
                    </a:cubicBezTo>
                    <a:cubicBezTo>
                      <a:pt x="30635" y="6858"/>
                      <a:pt x="23777" y="0"/>
                      <a:pt x="15324" y="0"/>
                    </a:cubicBezTo>
                    <a:close/>
                  </a:path>
                </a:pathLst>
              </a:cu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endParaRPr sz="1600"/>
              </a:p>
            </p:txBody>
          </p:sp>
        </p:grpSp>
        <p:sp>
          <p:nvSpPr>
            <p:cNvPr id="29" name="TextBox 28">
              <a:extLst>
                <a:ext uri="{FF2B5EF4-FFF2-40B4-BE49-F238E27FC236}">
                  <a16:creationId xmlns:a16="http://schemas.microsoft.com/office/drawing/2014/main" id="{3492E276-3E03-0A88-D033-38D660515D9D}"/>
                </a:ext>
              </a:extLst>
            </p:cNvPr>
            <p:cNvSpPr txBox="1"/>
            <p:nvPr/>
          </p:nvSpPr>
          <p:spPr>
            <a:xfrm>
              <a:off x="4325541" y="3888609"/>
              <a:ext cx="7194028" cy="377026"/>
            </a:xfrm>
            <a:prstGeom prst="rect">
              <a:avLst/>
            </a:prstGeom>
            <a:noFill/>
          </p:spPr>
          <p:txBody>
            <a:bodyPr wrap="square">
              <a:spAutoFit/>
            </a:bodyPr>
            <a:lstStyle/>
            <a:p>
              <a:pPr marL="0" lvl="1" defTabSz="914400">
                <a:lnSpc>
                  <a:spcPct val="90000"/>
                </a:lnSpc>
                <a:defRPr/>
              </a:pPr>
              <a:r>
                <a:rPr lang="tr-TR" sz="2000" dirty="0"/>
                <a:t>İleri Yaşta Pnömokok </a:t>
              </a:r>
              <a:r>
                <a:rPr lang="en-US" sz="2000" dirty="0" err="1"/>
                <a:t>Hastalık</a:t>
              </a:r>
              <a:r>
                <a:rPr lang="en-US" sz="2000" dirty="0"/>
                <a:t> </a:t>
              </a:r>
              <a:r>
                <a:rPr lang="en-US" sz="2000" dirty="0" err="1"/>
                <a:t>Yükü</a:t>
              </a:r>
              <a:r>
                <a:rPr lang="en-US" sz="2000" dirty="0"/>
                <a:t> </a:t>
              </a:r>
              <a:r>
                <a:rPr lang="tr-TR" sz="2000" dirty="0"/>
                <a:t>ve Önemi</a:t>
              </a:r>
              <a:endParaRPr lang="en-US" sz="2000" dirty="0"/>
            </a:p>
          </p:txBody>
        </p:sp>
        <p:sp>
          <p:nvSpPr>
            <p:cNvPr id="32" name="TextBox 31">
              <a:extLst>
                <a:ext uri="{FF2B5EF4-FFF2-40B4-BE49-F238E27FC236}">
                  <a16:creationId xmlns:a16="http://schemas.microsoft.com/office/drawing/2014/main" id="{DF9C8349-2D08-ED7A-9388-4F128FB90EA6}"/>
                </a:ext>
              </a:extLst>
            </p:cNvPr>
            <p:cNvSpPr txBox="1"/>
            <p:nvPr/>
          </p:nvSpPr>
          <p:spPr>
            <a:xfrm>
              <a:off x="3465848" y="3753957"/>
              <a:ext cx="571565" cy="646331"/>
            </a:xfrm>
            <a:prstGeom prst="rect">
              <a:avLst/>
            </a:prstGeom>
            <a:noFill/>
          </p:spPr>
          <p:txBody>
            <a:bodyPr wrap="square" rtlCol="0" anchor="ctr">
              <a:spAutoFit/>
            </a:bodyPr>
            <a:lstStyle/>
            <a:p>
              <a:pPr algn="ctr"/>
              <a:r>
                <a:rPr lang="tr-TR"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rPr>
                <a:t>3</a:t>
              </a:r>
              <a:endParaRPr lang="en-GB"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endParaRPr>
            </a:p>
          </p:txBody>
        </p:sp>
      </p:grpSp>
      <p:grpSp>
        <p:nvGrpSpPr>
          <p:cNvPr id="42" name="Group 41">
            <a:extLst>
              <a:ext uri="{FF2B5EF4-FFF2-40B4-BE49-F238E27FC236}">
                <a16:creationId xmlns:a16="http://schemas.microsoft.com/office/drawing/2014/main" id="{3AF24C40-67BB-5C2B-71E8-4A323C4A13AA}"/>
              </a:ext>
            </a:extLst>
          </p:cNvPr>
          <p:cNvGrpSpPr/>
          <p:nvPr/>
        </p:nvGrpSpPr>
        <p:grpSpPr>
          <a:xfrm>
            <a:off x="3305060" y="4788389"/>
            <a:ext cx="8681292" cy="773339"/>
            <a:chOff x="3429114" y="4788389"/>
            <a:chExt cx="8681292" cy="773339"/>
          </a:xfrm>
        </p:grpSpPr>
        <p:grpSp>
          <p:nvGrpSpPr>
            <p:cNvPr id="33" name="Google Shape;674;p30">
              <a:extLst>
                <a:ext uri="{FF2B5EF4-FFF2-40B4-BE49-F238E27FC236}">
                  <a16:creationId xmlns:a16="http://schemas.microsoft.com/office/drawing/2014/main" id="{FB8F6199-B13C-163B-F8D6-5FF594197B99}"/>
                </a:ext>
              </a:extLst>
            </p:cNvPr>
            <p:cNvGrpSpPr/>
            <p:nvPr/>
          </p:nvGrpSpPr>
          <p:grpSpPr>
            <a:xfrm>
              <a:off x="3429114" y="4788389"/>
              <a:ext cx="8681292" cy="773339"/>
              <a:chOff x="485966" y="2196110"/>
              <a:chExt cx="8681292" cy="773339"/>
            </a:xfrm>
          </p:grpSpPr>
          <p:sp>
            <p:nvSpPr>
              <p:cNvPr id="34" name="Google Shape;675;p30">
                <a:extLst>
                  <a:ext uri="{FF2B5EF4-FFF2-40B4-BE49-F238E27FC236}">
                    <a16:creationId xmlns:a16="http://schemas.microsoft.com/office/drawing/2014/main" id="{71EC1670-3649-CA9B-21A4-C8E7DFB4441E}"/>
                  </a:ext>
                </a:extLst>
              </p:cNvPr>
              <p:cNvSpPr/>
              <p:nvPr/>
            </p:nvSpPr>
            <p:spPr>
              <a:xfrm>
                <a:off x="875153" y="2196237"/>
                <a:ext cx="8292105" cy="773085"/>
              </a:xfrm>
              <a:prstGeom prst="roundRect">
                <a:avLst/>
              </a:prstGeom>
              <a:solidFill>
                <a:schemeClr val="bg1"/>
              </a:solidFill>
              <a:ln w="19050">
                <a:solidFill>
                  <a:schemeClr val="accent2"/>
                </a:solid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35" name="Google Shape;678;p30">
                <a:extLst>
                  <a:ext uri="{FF2B5EF4-FFF2-40B4-BE49-F238E27FC236}">
                    <a16:creationId xmlns:a16="http://schemas.microsoft.com/office/drawing/2014/main" id="{B88D1A9C-FE72-9133-A033-84F7DE9ABD69}"/>
                  </a:ext>
                </a:extLst>
              </p:cNvPr>
              <p:cNvSpPr/>
              <p:nvPr/>
            </p:nvSpPr>
            <p:spPr>
              <a:xfrm>
                <a:off x="485966" y="2196110"/>
                <a:ext cx="773085" cy="773339"/>
              </a:xfrm>
              <a:custGeom>
                <a:avLst/>
                <a:gdLst/>
                <a:ahLst/>
                <a:cxnLst/>
                <a:rect l="l" t="t" r="r" b="b"/>
                <a:pathLst>
                  <a:path w="36505" h="36517" extrusionOk="0">
                    <a:moveTo>
                      <a:pt x="18253" y="0"/>
                    </a:moveTo>
                    <a:cubicBezTo>
                      <a:pt x="8168" y="0"/>
                      <a:pt x="1" y="8180"/>
                      <a:pt x="1" y="18253"/>
                    </a:cubicBezTo>
                    <a:cubicBezTo>
                      <a:pt x="1" y="28337"/>
                      <a:pt x="8168" y="36517"/>
                      <a:pt x="18253" y="36517"/>
                    </a:cubicBezTo>
                    <a:cubicBezTo>
                      <a:pt x="28326" y="36517"/>
                      <a:pt x="36505" y="28337"/>
                      <a:pt x="36505" y="18253"/>
                    </a:cubicBezTo>
                    <a:cubicBezTo>
                      <a:pt x="36505" y="8180"/>
                      <a:pt x="28326" y="0"/>
                      <a:pt x="18253" y="0"/>
                    </a:cubicBez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36" name="Google Shape;679;p30">
                <a:extLst>
                  <a:ext uri="{FF2B5EF4-FFF2-40B4-BE49-F238E27FC236}">
                    <a16:creationId xmlns:a16="http://schemas.microsoft.com/office/drawing/2014/main" id="{2DC66144-92AE-552D-2D94-5B3089E618F5}"/>
                  </a:ext>
                </a:extLst>
              </p:cNvPr>
              <p:cNvSpPr/>
              <p:nvPr/>
            </p:nvSpPr>
            <p:spPr>
              <a:xfrm>
                <a:off x="547993" y="2258392"/>
                <a:ext cx="648794" cy="648773"/>
              </a:xfrm>
              <a:custGeom>
                <a:avLst/>
                <a:gdLst/>
                <a:ahLst/>
                <a:cxnLst/>
                <a:rect l="l" t="t" r="r" b="b"/>
                <a:pathLst>
                  <a:path w="30636" h="30635" extrusionOk="0">
                    <a:moveTo>
                      <a:pt x="15324" y="0"/>
                    </a:moveTo>
                    <a:cubicBezTo>
                      <a:pt x="6858" y="0"/>
                      <a:pt x="0" y="6858"/>
                      <a:pt x="0" y="15312"/>
                    </a:cubicBezTo>
                    <a:cubicBezTo>
                      <a:pt x="0" y="23777"/>
                      <a:pt x="6858" y="30635"/>
                      <a:pt x="15324" y="30635"/>
                    </a:cubicBezTo>
                    <a:cubicBezTo>
                      <a:pt x="23777" y="30635"/>
                      <a:pt x="30635" y="23777"/>
                      <a:pt x="30635" y="15312"/>
                    </a:cubicBezTo>
                    <a:cubicBezTo>
                      <a:pt x="30635" y="6858"/>
                      <a:pt x="23777" y="0"/>
                      <a:pt x="15324" y="0"/>
                    </a:cubicBezTo>
                    <a:close/>
                  </a:path>
                </a:pathLst>
              </a:cu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endParaRPr sz="1600"/>
              </a:p>
            </p:txBody>
          </p:sp>
        </p:grpSp>
        <p:sp>
          <p:nvSpPr>
            <p:cNvPr id="37" name="TextBox 36">
              <a:extLst>
                <a:ext uri="{FF2B5EF4-FFF2-40B4-BE49-F238E27FC236}">
                  <a16:creationId xmlns:a16="http://schemas.microsoft.com/office/drawing/2014/main" id="{CB9334D9-D7B5-E3B6-4EBA-0082DF2983E0}"/>
                </a:ext>
              </a:extLst>
            </p:cNvPr>
            <p:cNvSpPr txBox="1"/>
            <p:nvPr/>
          </p:nvSpPr>
          <p:spPr>
            <a:xfrm>
              <a:off x="4387568" y="4986545"/>
              <a:ext cx="7194028" cy="377026"/>
            </a:xfrm>
            <a:prstGeom prst="rect">
              <a:avLst/>
            </a:prstGeom>
            <a:noFill/>
          </p:spPr>
          <p:txBody>
            <a:bodyPr wrap="square">
              <a:spAutoFit/>
            </a:bodyPr>
            <a:lstStyle/>
            <a:p>
              <a:pPr marL="0" lvl="1" defTabSz="914400">
                <a:lnSpc>
                  <a:spcPct val="90000"/>
                </a:lnSpc>
                <a:defRPr/>
              </a:pPr>
              <a:r>
                <a:rPr lang="en-US" sz="2000" dirty="0"/>
                <a:t>PREVENAR 20 &amp; ABRYSVO</a:t>
              </a:r>
              <a:endParaRPr kumimoji="0" lang="en-US" sz="2000" i="0" u="none" strike="noStrike" kern="1200" cap="none" spc="0" normalizeH="0" baseline="0" noProof="0" dirty="0">
                <a:ln>
                  <a:noFill/>
                </a:ln>
                <a:effectLst/>
                <a:uLnTx/>
                <a:uFillTx/>
                <a:ea typeface="+mn-ea"/>
                <a:cs typeface="+mn-cs"/>
              </a:endParaRPr>
            </a:p>
          </p:txBody>
        </p:sp>
        <p:sp>
          <p:nvSpPr>
            <p:cNvPr id="38" name="TextBox 37">
              <a:extLst>
                <a:ext uri="{FF2B5EF4-FFF2-40B4-BE49-F238E27FC236}">
                  <a16:creationId xmlns:a16="http://schemas.microsoft.com/office/drawing/2014/main" id="{F2688FB3-F5E0-FCC1-5781-4E340EE967EC}"/>
                </a:ext>
              </a:extLst>
            </p:cNvPr>
            <p:cNvSpPr txBox="1"/>
            <p:nvPr/>
          </p:nvSpPr>
          <p:spPr>
            <a:xfrm>
              <a:off x="3527875" y="4851893"/>
              <a:ext cx="571565" cy="646331"/>
            </a:xfrm>
            <a:prstGeom prst="rect">
              <a:avLst/>
            </a:prstGeom>
            <a:noFill/>
          </p:spPr>
          <p:txBody>
            <a:bodyPr wrap="square" rtlCol="0" anchor="ctr">
              <a:spAutoFit/>
            </a:bodyPr>
            <a:lstStyle/>
            <a:p>
              <a:pPr algn="ctr"/>
              <a:r>
                <a:rPr lang="en-US"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rPr>
                <a:t>4</a:t>
              </a:r>
              <a:endParaRPr lang="en-GB"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endParaRPr>
            </a:p>
          </p:txBody>
        </p:sp>
      </p:grpSp>
      <p:sp>
        <p:nvSpPr>
          <p:cNvPr id="43" name="Rectangle 42">
            <a:extLst>
              <a:ext uri="{FF2B5EF4-FFF2-40B4-BE49-F238E27FC236}">
                <a16:creationId xmlns:a16="http://schemas.microsoft.com/office/drawing/2014/main" id="{240EF197-2781-A229-5590-B9C20F217E25}"/>
              </a:ext>
            </a:extLst>
          </p:cNvPr>
          <p:cNvSpPr/>
          <p:nvPr/>
        </p:nvSpPr>
        <p:spPr>
          <a:xfrm>
            <a:off x="2552700" y="2394499"/>
            <a:ext cx="9519377" cy="3645571"/>
          </a:xfrm>
          <a:prstGeom prst="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Tree>
    <p:extLst>
      <p:ext uri="{BB962C8B-B14F-4D97-AF65-F5344CB8AC3E}">
        <p14:creationId xmlns:p14="http://schemas.microsoft.com/office/powerpoint/2010/main" val="17777743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B736DD2B-C909-8AEA-B98C-540E4C3A9A5D}"/>
              </a:ext>
            </a:extLst>
          </p:cNvPr>
          <p:cNvSpPr txBox="1">
            <a:spLocks/>
          </p:cNvSpPr>
          <p:nvPr/>
        </p:nvSpPr>
        <p:spPr bwMode="gray">
          <a:xfrm>
            <a:off x="613152" y="1343098"/>
            <a:ext cx="10727267" cy="371833"/>
          </a:xfrm>
          <a:prstGeom prst="rect">
            <a:avLst/>
          </a:prstGeom>
          <a:solidFill>
            <a:schemeClr val="bg1"/>
          </a:solidFill>
          <a:effectLst>
            <a:outerShdw dist="12700" dir="16200000" rotWithShape="0">
              <a:schemeClr val="bg2">
                <a:lumMod val="90000"/>
              </a:schemeClr>
            </a:outerShdw>
          </a:effectLst>
        </p:spPr>
        <p:txBody>
          <a:bodyPr wrap="square" lIns="0" tIns="73152" rIns="0">
            <a:spAutoFit/>
          </a:bodyPr>
          <a:lstStyle>
            <a:defPPr>
              <a:defRPr lang="en-US"/>
            </a:defPPr>
            <a:lvl1pPr defTabSz="914400">
              <a:lnSpc>
                <a:spcPct val="95000"/>
              </a:lnSpc>
              <a:defRPr sz="1700" b="1">
                <a:solidFill>
                  <a:schemeClr val="accent2"/>
                </a:solidFill>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700" b="1" i="0" u="none" strike="noStrike" kern="1200" cap="none" spc="0" normalizeH="0" baseline="0" noProof="0" dirty="0" err="1">
                <a:ln>
                  <a:noFill/>
                </a:ln>
                <a:solidFill>
                  <a:schemeClr val="tx2"/>
                </a:solidFill>
                <a:effectLst/>
                <a:uLnTx/>
                <a:uFillTx/>
                <a:ea typeface="+mn-ea"/>
                <a:cs typeface="+mn-cs"/>
              </a:rPr>
              <a:t>Yaş</a:t>
            </a:r>
            <a:r>
              <a:rPr kumimoji="0" lang="en-US" sz="1700" b="1" i="0" u="none" strike="noStrike" kern="1200" cap="none" spc="0" normalizeH="0" baseline="0" noProof="0" dirty="0">
                <a:ln>
                  <a:noFill/>
                </a:ln>
                <a:solidFill>
                  <a:schemeClr val="tx2"/>
                </a:solidFill>
                <a:effectLst/>
                <a:uLnTx/>
                <a:uFillTx/>
                <a:ea typeface="+mn-ea"/>
                <a:cs typeface="+mn-cs"/>
              </a:rPr>
              <a:t> </a:t>
            </a:r>
            <a:r>
              <a:rPr kumimoji="0" lang="en-US" sz="1700" b="1" i="0" u="none" strike="noStrike" kern="1200" cap="none" spc="0" normalizeH="0" baseline="0" noProof="0" dirty="0" err="1">
                <a:ln>
                  <a:noFill/>
                </a:ln>
                <a:solidFill>
                  <a:schemeClr val="tx2"/>
                </a:solidFill>
                <a:effectLst/>
                <a:uLnTx/>
                <a:uFillTx/>
                <a:ea typeface="+mn-ea"/>
                <a:cs typeface="+mn-cs"/>
              </a:rPr>
              <a:t>Grubu</a:t>
            </a:r>
            <a:r>
              <a:rPr kumimoji="0" lang="en-US" sz="1700" b="1" i="0" u="none" strike="noStrike" kern="1200" cap="none" spc="0" normalizeH="0" baseline="0" noProof="0" dirty="0">
                <a:ln>
                  <a:noFill/>
                </a:ln>
                <a:solidFill>
                  <a:schemeClr val="tx2"/>
                </a:solidFill>
                <a:effectLst/>
                <a:uLnTx/>
                <a:uFillTx/>
                <a:ea typeface="+mn-ea"/>
                <a:cs typeface="+mn-cs"/>
              </a:rPr>
              <a:t> </a:t>
            </a:r>
            <a:r>
              <a:rPr kumimoji="0" lang="en-US" sz="1700" b="1" i="0" u="none" strike="noStrike" kern="1200" cap="none" spc="0" normalizeH="0" baseline="0" noProof="0" dirty="0" err="1">
                <a:ln>
                  <a:noFill/>
                </a:ln>
                <a:solidFill>
                  <a:schemeClr val="tx2"/>
                </a:solidFill>
                <a:effectLst/>
                <a:uLnTx/>
                <a:uFillTx/>
                <a:ea typeface="+mn-ea"/>
                <a:cs typeface="+mn-cs"/>
              </a:rPr>
              <a:t>ve</a:t>
            </a:r>
            <a:r>
              <a:rPr kumimoji="0" lang="en-US" sz="1700" b="1" i="0" u="none" strike="noStrike" kern="1200" cap="none" spc="0" normalizeH="0" baseline="0" noProof="0" dirty="0">
                <a:ln>
                  <a:noFill/>
                </a:ln>
                <a:solidFill>
                  <a:schemeClr val="tx2"/>
                </a:solidFill>
                <a:effectLst/>
                <a:uLnTx/>
                <a:uFillTx/>
                <a:ea typeface="+mn-ea"/>
                <a:cs typeface="+mn-cs"/>
              </a:rPr>
              <a:t> </a:t>
            </a:r>
            <a:r>
              <a:rPr kumimoji="0" lang="en-US" sz="1700" b="1" i="0" u="none" strike="noStrike" kern="1200" cap="none" spc="0" normalizeH="0" baseline="0" noProof="0" dirty="0" err="1">
                <a:ln>
                  <a:noFill/>
                </a:ln>
                <a:solidFill>
                  <a:schemeClr val="tx2"/>
                </a:solidFill>
                <a:effectLst/>
                <a:uLnTx/>
                <a:uFillTx/>
                <a:ea typeface="+mn-ea"/>
                <a:cs typeface="+mn-cs"/>
              </a:rPr>
              <a:t>Yıla</a:t>
            </a:r>
            <a:r>
              <a:rPr kumimoji="0" lang="en-US" sz="1700" b="1" i="0" u="none" strike="noStrike" kern="1200" cap="none" spc="0" normalizeH="0" baseline="0" noProof="0" dirty="0">
                <a:ln>
                  <a:noFill/>
                </a:ln>
                <a:solidFill>
                  <a:schemeClr val="tx2"/>
                </a:solidFill>
                <a:effectLst/>
                <a:uLnTx/>
                <a:uFillTx/>
                <a:ea typeface="+mn-ea"/>
                <a:cs typeface="+mn-cs"/>
              </a:rPr>
              <a:t> </a:t>
            </a:r>
            <a:r>
              <a:rPr kumimoji="0" lang="en-US" sz="1700" b="1" i="0" u="none" strike="noStrike" kern="1200" cap="none" spc="0" normalizeH="0" baseline="0" noProof="0" dirty="0" err="1">
                <a:ln>
                  <a:noFill/>
                </a:ln>
                <a:solidFill>
                  <a:schemeClr val="tx2"/>
                </a:solidFill>
                <a:effectLst/>
                <a:uLnTx/>
                <a:uFillTx/>
                <a:ea typeface="+mn-ea"/>
                <a:cs typeface="+mn-cs"/>
              </a:rPr>
              <a:t>Göre</a:t>
            </a:r>
            <a:r>
              <a:rPr kumimoji="0" lang="en-US" sz="1700" b="1" i="0" u="none" strike="noStrike" kern="1200" cap="none" spc="0" normalizeH="0" baseline="0" noProof="0" dirty="0">
                <a:ln>
                  <a:noFill/>
                </a:ln>
                <a:solidFill>
                  <a:schemeClr val="tx2"/>
                </a:solidFill>
                <a:effectLst/>
                <a:uLnTx/>
                <a:uFillTx/>
                <a:ea typeface="+mn-ea"/>
                <a:cs typeface="+mn-cs"/>
              </a:rPr>
              <a:t> </a:t>
            </a:r>
            <a:r>
              <a:rPr kumimoji="0" lang="en-US" sz="1700" b="1" i="0" u="none" strike="noStrike" kern="1200" cap="none" spc="0" normalizeH="0" baseline="0" noProof="0" dirty="0" err="1">
                <a:ln>
                  <a:noFill/>
                </a:ln>
                <a:solidFill>
                  <a:schemeClr val="tx2"/>
                </a:solidFill>
                <a:effectLst/>
                <a:uLnTx/>
                <a:uFillTx/>
                <a:ea typeface="+mn-ea"/>
                <a:cs typeface="+mn-cs"/>
              </a:rPr>
              <a:t>Düzeltilmiş</a:t>
            </a:r>
            <a:r>
              <a:rPr kumimoji="0" lang="en-US" sz="1700" b="1" i="0" u="none" strike="noStrike" kern="1200" cap="none" spc="0" normalizeH="0" baseline="0" noProof="0" dirty="0">
                <a:ln>
                  <a:noFill/>
                </a:ln>
                <a:solidFill>
                  <a:schemeClr val="tx2"/>
                </a:solidFill>
                <a:effectLst/>
                <a:uLnTx/>
                <a:uFillTx/>
                <a:ea typeface="+mn-ea"/>
                <a:cs typeface="+mn-cs"/>
              </a:rPr>
              <a:t> RSV </a:t>
            </a:r>
            <a:r>
              <a:rPr kumimoji="0" lang="en-US" sz="1700" b="1" i="0" u="none" strike="noStrike" kern="1200" cap="none" spc="0" normalizeH="0" baseline="0" noProof="0" dirty="0" err="1">
                <a:ln>
                  <a:noFill/>
                </a:ln>
                <a:solidFill>
                  <a:schemeClr val="tx2"/>
                </a:solidFill>
                <a:effectLst/>
                <a:uLnTx/>
                <a:uFillTx/>
                <a:ea typeface="+mn-ea"/>
                <a:cs typeface="+mn-cs"/>
              </a:rPr>
              <a:t>ile</a:t>
            </a:r>
            <a:r>
              <a:rPr kumimoji="0" lang="en-US" sz="1700" b="1" i="0" u="none" strike="noStrike" kern="1200" cap="none" spc="0" normalizeH="0" baseline="0" noProof="0" dirty="0">
                <a:ln>
                  <a:noFill/>
                </a:ln>
                <a:solidFill>
                  <a:schemeClr val="tx2"/>
                </a:solidFill>
                <a:effectLst/>
                <a:uLnTx/>
                <a:uFillTx/>
                <a:ea typeface="+mn-ea"/>
                <a:cs typeface="+mn-cs"/>
              </a:rPr>
              <a:t> </a:t>
            </a:r>
            <a:r>
              <a:rPr kumimoji="0" lang="en-US" sz="1700" b="1" i="0" u="none" strike="noStrike" kern="1200" cap="none" spc="0" normalizeH="0" baseline="0" noProof="0" dirty="0" err="1">
                <a:ln>
                  <a:noFill/>
                </a:ln>
                <a:solidFill>
                  <a:schemeClr val="tx2"/>
                </a:solidFill>
                <a:effectLst/>
                <a:uLnTx/>
                <a:uFillTx/>
                <a:ea typeface="+mn-ea"/>
                <a:cs typeface="+mn-cs"/>
              </a:rPr>
              <a:t>İlişkili</a:t>
            </a:r>
            <a:r>
              <a:rPr kumimoji="0" lang="en-US" sz="1700" b="1" i="0" u="none" strike="noStrike" kern="1200" cap="none" spc="0" normalizeH="0" baseline="0" noProof="0" dirty="0">
                <a:ln>
                  <a:noFill/>
                </a:ln>
                <a:solidFill>
                  <a:schemeClr val="tx2"/>
                </a:solidFill>
                <a:effectLst/>
                <a:uLnTx/>
                <a:uFillTx/>
                <a:ea typeface="+mn-ea"/>
                <a:cs typeface="+mn-cs"/>
              </a:rPr>
              <a:t> </a:t>
            </a:r>
            <a:r>
              <a:rPr kumimoji="0" lang="en-US" sz="1700" b="1" i="0" u="none" strike="noStrike" kern="1200" cap="none" spc="0" normalizeH="0" baseline="0" noProof="0" dirty="0" err="1">
                <a:ln>
                  <a:noFill/>
                </a:ln>
                <a:solidFill>
                  <a:schemeClr val="tx2"/>
                </a:solidFill>
                <a:effectLst/>
                <a:uLnTx/>
                <a:uFillTx/>
                <a:ea typeface="+mn-ea"/>
                <a:cs typeface="+mn-cs"/>
              </a:rPr>
              <a:t>Hastaneye</a:t>
            </a:r>
            <a:r>
              <a:rPr kumimoji="0" lang="en-US" sz="1700" b="1" i="0" u="none" strike="noStrike" kern="1200" cap="none" spc="0" normalizeH="0" baseline="0" noProof="0" dirty="0">
                <a:ln>
                  <a:noFill/>
                </a:ln>
                <a:solidFill>
                  <a:schemeClr val="tx2"/>
                </a:solidFill>
                <a:effectLst/>
                <a:uLnTx/>
                <a:uFillTx/>
                <a:ea typeface="+mn-ea"/>
                <a:cs typeface="+mn-cs"/>
              </a:rPr>
              <a:t> </a:t>
            </a:r>
            <a:r>
              <a:rPr kumimoji="0" lang="en-US" sz="1700" b="1" i="0" u="none" strike="noStrike" kern="1200" cap="none" spc="0" normalizeH="0" baseline="0" noProof="0" dirty="0" err="1">
                <a:ln>
                  <a:noFill/>
                </a:ln>
                <a:solidFill>
                  <a:schemeClr val="tx2"/>
                </a:solidFill>
                <a:effectLst/>
                <a:uLnTx/>
                <a:uFillTx/>
                <a:ea typeface="+mn-ea"/>
                <a:cs typeface="+mn-cs"/>
              </a:rPr>
              <a:t>Yatış</a:t>
            </a:r>
            <a:r>
              <a:rPr kumimoji="0" lang="en-US" sz="1700" b="1" i="0" u="none" strike="noStrike" kern="1200" cap="none" spc="0" normalizeH="0" baseline="0" noProof="0" dirty="0">
                <a:ln>
                  <a:noFill/>
                </a:ln>
                <a:solidFill>
                  <a:schemeClr val="tx2"/>
                </a:solidFill>
                <a:effectLst/>
                <a:uLnTx/>
                <a:uFillTx/>
                <a:ea typeface="+mn-ea"/>
                <a:cs typeface="+mn-cs"/>
              </a:rPr>
              <a:t> </a:t>
            </a:r>
            <a:r>
              <a:rPr kumimoji="0" lang="en-US" sz="1700" b="1" i="0" u="none" strike="noStrike" kern="1200" cap="none" spc="0" normalizeH="0" baseline="0" noProof="0" dirty="0" err="1">
                <a:ln>
                  <a:noFill/>
                </a:ln>
                <a:solidFill>
                  <a:schemeClr val="tx2"/>
                </a:solidFill>
                <a:effectLst/>
                <a:uLnTx/>
                <a:uFillTx/>
                <a:ea typeface="+mn-ea"/>
                <a:cs typeface="+mn-cs"/>
              </a:rPr>
              <a:t>Oranları</a:t>
            </a:r>
            <a:r>
              <a:rPr kumimoji="0" lang="en-US" sz="1700" b="1" i="0" u="none" strike="noStrike" kern="1200" cap="none" spc="0" normalizeH="0" baseline="0" noProof="0" dirty="0">
                <a:ln>
                  <a:noFill/>
                </a:ln>
                <a:solidFill>
                  <a:schemeClr val="tx2"/>
                </a:solidFill>
                <a:effectLst/>
                <a:uLnTx/>
                <a:uFillTx/>
                <a:ea typeface="+mn-ea"/>
                <a:cs typeface="+mn-cs"/>
              </a:rPr>
              <a:t>*, RSV-NET, 2016-2023</a:t>
            </a:r>
          </a:p>
        </p:txBody>
      </p:sp>
      <p:sp>
        <p:nvSpPr>
          <p:cNvPr id="2" name="Title 1">
            <a:extLst>
              <a:ext uri="{FF2B5EF4-FFF2-40B4-BE49-F238E27FC236}">
                <a16:creationId xmlns:a16="http://schemas.microsoft.com/office/drawing/2014/main" id="{ACF929A2-2145-BC16-C071-A821C23306A5}"/>
              </a:ext>
            </a:extLst>
          </p:cNvPr>
          <p:cNvSpPr>
            <a:spLocks noGrp="1"/>
          </p:cNvSpPr>
          <p:nvPr>
            <p:ph type="title"/>
          </p:nvPr>
        </p:nvSpPr>
        <p:spPr/>
        <p:txBody>
          <a:bodyPr anchor="ctr"/>
          <a:lstStyle/>
          <a:p>
            <a:r>
              <a:rPr lang="en-US" sz="2400"/>
              <a:t>RSV </a:t>
            </a:r>
            <a:r>
              <a:rPr lang="en-US" sz="2400" err="1"/>
              <a:t>hastaneye</a:t>
            </a:r>
            <a:r>
              <a:rPr lang="en-US" sz="2400"/>
              <a:t> </a:t>
            </a:r>
            <a:r>
              <a:rPr lang="en-US" sz="2400" err="1"/>
              <a:t>yatış</a:t>
            </a:r>
            <a:r>
              <a:rPr lang="en-US" sz="2400"/>
              <a:t> </a:t>
            </a:r>
            <a:r>
              <a:rPr lang="en-US" sz="2400" err="1"/>
              <a:t>oranları</a:t>
            </a:r>
            <a:r>
              <a:rPr lang="en-US" sz="2400"/>
              <a:t> </a:t>
            </a:r>
            <a:r>
              <a:rPr lang="en-US" sz="2400" err="1"/>
              <a:t>yaşla</a:t>
            </a:r>
            <a:r>
              <a:rPr lang="en-US" sz="2400"/>
              <a:t> </a:t>
            </a:r>
            <a:r>
              <a:rPr lang="en-US" sz="2400" err="1"/>
              <a:t>birlikte</a:t>
            </a:r>
            <a:r>
              <a:rPr lang="en-US" sz="2400"/>
              <a:t> </a:t>
            </a:r>
            <a:r>
              <a:rPr lang="en-US" sz="2400" err="1"/>
              <a:t>artmaktadır</a:t>
            </a:r>
            <a:r>
              <a:rPr lang="en-US" sz="2400"/>
              <a:t>, 75 </a:t>
            </a:r>
            <a:r>
              <a:rPr lang="en-US" sz="2400" err="1"/>
              <a:t>yaş</a:t>
            </a:r>
            <a:r>
              <a:rPr lang="en-US" sz="2400"/>
              <a:t> </a:t>
            </a:r>
            <a:r>
              <a:rPr lang="en-US" sz="2400" err="1"/>
              <a:t>ve</a:t>
            </a:r>
            <a:r>
              <a:rPr lang="en-US" sz="2400"/>
              <a:t> </a:t>
            </a:r>
            <a:r>
              <a:rPr lang="en-US" sz="2400" err="1"/>
              <a:t>üzerinde</a:t>
            </a:r>
            <a:r>
              <a:rPr lang="en-US" sz="2400"/>
              <a:t> </a:t>
            </a:r>
            <a:r>
              <a:rPr lang="en-US" sz="2400" err="1"/>
              <a:t>belirgin</a:t>
            </a:r>
            <a:r>
              <a:rPr lang="en-US" sz="2400"/>
              <a:t> </a:t>
            </a:r>
            <a:r>
              <a:rPr lang="en-US" sz="2400" err="1"/>
              <a:t>bir</a:t>
            </a:r>
            <a:r>
              <a:rPr lang="en-US" sz="2400"/>
              <a:t> </a:t>
            </a:r>
            <a:r>
              <a:rPr lang="en-US" sz="2400" err="1"/>
              <a:t>artış</a:t>
            </a:r>
            <a:r>
              <a:rPr lang="en-US" sz="2400"/>
              <a:t> </a:t>
            </a:r>
            <a:r>
              <a:rPr lang="en-US" sz="2400" err="1"/>
              <a:t>söz</a:t>
            </a:r>
            <a:r>
              <a:rPr lang="en-US" sz="2400"/>
              <a:t> </a:t>
            </a:r>
            <a:r>
              <a:rPr lang="en-US" sz="2400" err="1"/>
              <a:t>konusudur</a:t>
            </a:r>
            <a:endParaRPr lang="en-US" sz="2400"/>
          </a:p>
        </p:txBody>
      </p:sp>
      <p:sp>
        <p:nvSpPr>
          <p:cNvPr id="9" name="Slide Number Placeholder 8">
            <a:extLst>
              <a:ext uri="{FF2B5EF4-FFF2-40B4-BE49-F238E27FC236}">
                <a16:creationId xmlns:a16="http://schemas.microsoft.com/office/drawing/2014/main" id="{709AA828-A0CA-95AC-D5C6-799DF05F6D62}"/>
              </a:ext>
            </a:extLst>
          </p:cNvPr>
          <p:cNvSpPr>
            <a:spLocks noGrp="1"/>
          </p:cNvSpPr>
          <p:nvPr>
            <p:ph type="sldNum" sz="quarter" idx="4"/>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8C13A29A-185B-4182-9583-7B13F1AC164D}" type="slidenum">
              <a:rPr kumimoji="0" lang="en-US" sz="900" b="0" i="0" u="none" strike="noStrike" kern="1200" cap="none" spc="0" normalizeH="0" baseline="0" noProof="0" smtClean="0">
                <a:ln>
                  <a:noFill/>
                </a:ln>
                <a:solidFill>
                  <a:srgbClr val="000000">
                    <a:tint val="82000"/>
                  </a:srgbClr>
                </a:solidFill>
                <a:effectLst/>
                <a:uLnTx/>
                <a:uFillTx/>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30</a:t>
            </a:fld>
            <a:endParaRPr kumimoji="0" lang="en-US" sz="900" b="0" i="0" u="none" strike="noStrike" kern="1200" cap="none" spc="0" normalizeH="0" baseline="0" noProof="0">
              <a:ln>
                <a:noFill/>
              </a:ln>
              <a:solidFill>
                <a:srgbClr val="000000">
                  <a:tint val="82000"/>
                </a:srgbClr>
              </a:solidFill>
              <a:effectLst/>
              <a:uLnTx/>
              <a:uFillTx/>
              <a:ea typeface="+mn-ea"/>
              <a:cs typeface="+mn-cs"/>
            </a:endParaRPr>
          </a:p>
        </p:txBody>
      </p:sp>
      <p:sp>
        <p:nvSpPr>
          <p:cNvPr id="3" name="Text Placeholder 5">
            <a:extLst>
              <a:ext uri="{FF2B5EF4-FFF2-40B4-BE49-F238E27FC236}">
                <a16:creationId xmlns:a16="http://schemas.microsoft.com/office/drawing/2014/main" id="{BE6CCD3C-845D-FC6F-9DF2-799BBC04160C}"/>
              </a:ext>
            </a:extLst>
          </p:cNvPr>
          <p:cNvSpPr>
            <a:spLocks noGrp="1"/>
          </p:cNvSpPr>
          <p:nvPr>
            <p:ph type="body" sz="quarter" idx="4294967295"/>
          </p:nvPr>
        </p:nvSpPr>
        <p:spPr>
          <a:xfrm>
            <a:off x="536039" y="5846194"/>
            <a:ext cx="10215563" cy="404812"/>
          </a:xfrm>
        </p:spPr>
        <p:txBody>
          <a:bodyPr>
            <a:normAutofit fontScale="25000" lnSpcReduction="20000"/>
          </a:bodyPr>
          <a:lstStyle/>
          <a:p>
            <a:r>
              <a:rPr lang="en-US" dirty="0"/>
              <a:t>*</a:t>
            </a:r>
            <a:r>
              <a:rPr lang="en-US" dirty="0" err="1"/>
              <a:t>Hastaneye</a:t>
            </a:r>
            <a:r>
              <a:rPr lang="en-US" dirty="0"/>
              <a:t> </a:t>
            </a:r>
            <a:r>
              <a:rPr lang="en-US" dirty="0" err="1"/>
              <a:t>yatış</a:t>
            </a:r>
            <a:r>
              <a:rPr lang="en-US" dirty="0"/>
              <a:t> </a:t>
            </a:r>
            <a:r>
              <a:rPr lang="en-US" dirty="0" err="1"/>
              <a:t>oranları</a:t>
            </a:r>
            <a:r>
              <a:rPr lang="en-US" dirty="0"/>
              <a:t>, test </a:t>
            </a:r>
            <a:r>
              <a:rPr lang="en-US" dirty="0" err="1"/>
              <a:t>uygulamaları</a:t>
            </a:r>
            <a:r>
              <a:rPr lang="en-US" dirty="0"/>
              <a:t> </a:t>
            </a:r>
            <a:r>
              <a:rPr lang="en-US" dirty="0" err="1"/>
              <a:t>ve</a:t>
            </a:r>
            <a:r>
              <a:rPr lang="en-US" dirty="0"/>
              <a:t> </a:t>
            </a:r>
            <a:r>
              <a:rPr lang="en-US" dirty="0" err="1"/>
              <a:t>tanısal</a:t>
            </a:r>
            <a:r>
              <a:rPr lang="en-US" dirty="0"/>
              <a:t> test </a:t>
            </a:r>
            <a:r>
              <a:rPr lang="en-US" dirty="0" err="1"/>
              <a:t>duyarlılığı</a:t>
            </a:r>
            <a:r>
              <a:rPr lang="en-US" dirty="0"/>
              <a:t> </a:t>
            </a:r>
            <a:r>
              <a:rPr lang="en-US" dirty="0" err="1"/>
              <a:t>nedeniyle</a:t>
            </a:r>
            <a:r>
              <a:rPr lang="en-US" dirty="0"/>
              <a:t> RSV </a:t>
            </a:r>
            <a:r>
              <a:rPr lang="en-US" dirty="0" err="1"/>
              <a:t>enfeksiyonunun</a:t>
            </a:r>
            <a:r>
              <a:rPr lang="en-US" dirty="0"/>
              <a:t> </a:t>
            </a:r>
            <a:r>
              <a:rPr lang="en-US" dirty="0" err="1"/>
              <a:t>eksik</a:t>
            </a:r>
            <a:r>
              <a:rPr lang="en-US" dirty="0"/>
              <a:t> </a:t>
            </a:r>
            <a:r>
              <a:rPr lang="en-US" dirty="0" err="1"/>
              <a:t>tespitine</a:t>
            </a:r>
            <a:r>
              <a:rPr lang="en-US" dirty="0"/>
              <a:t> </a:t>
            </a:r>
            <a:r>
              <a:rPr lang="en-US" dirty="0" err="1"/>
              <a:t>göre</a:t>
            </a:r>
            <a:r>
              <a:rPr lang="en-US" dirty="0"/>
              <a:t> </a:t>
            </a:r>
            <a:r>
              <a:rPr lang="en-US" dirty="0" err="1"/>
              <a:t>ayarlanmıştır</a:t>
            </a:r>
            <a:r>
              <a:rPr lang="en-US" dirty="0"/>
              <a:t>. </a:t>
            </a:r>
            <a:r>
              <a:rPr lang="en-US" dirty="0" err="1"/>
              <a:t>Sezon</a:t>
            </a:r>
            <a:r>
              <a:rPr lang="en-US" dirty="0"/>
              <a:t>, 2016-2017 </a:t>
            </a:r>
            <a:r>
              <a:rPr lang="en-US" dirty="0" err="1"/>
              <a:t>yılları</a:t>
            </a:r>
            <a:r>
              <a:rPr lang="en-US" dirty="0"/>
              <a:t> </a:t>
            </a:r>
            <a:r>
              <a:rPr lang="en-US" dirty="0" err="1"/>
              <a:t>için</a:t>
            </a:r>
            <a:r>
              <a:rPr lang="en-US" dirty="0"/>
              <a:t> </a:t>
            </a:r>
            <a:r>
              <a:rPr lang="en-US" dirty="0" err="1"/>
              <a:t>Ekim</a:t>
            </a:r>
            <a:r>
              <a:rPr lang="en-US" dirty="0"/>
              <a:t>-Nisan </a:t>
            </a:r>
            <a:r>
              <a:rPr lang="en-US" dirty="0" err="1"/>
              <a:t>ayları</a:t>
            </a:r>
            <a:r>
              <a:rPr lang="en-US" dirty="0"/>
              <a:t> </a:t>
            </a:r>
            <a:r>
              <a:rPr lang="en-US" dirty="0" err="1"/>
              <a:t>arası</a:t>
            </a:r>
            <a:r>
              <a:rPr lang="en-US" dirty="0"/>
              <a:t> </a:t>
            </a:r>
            <a:r>
              <a:rPr lang="en-US" dirty="0" err="1"/>
              <a:t>olarak</a:t>
            </a:r>
            <a:r>
              <a:rPr lang="en-US" dirty="0"/>
              <a:t> </a:t>
            </a:r>
            <a:r>
              <a:rPr lang="en-US" dirty="0" err="1"/>
              <a:t>tanımlanmıştır</a:t>
            </a:r>
            <a:r>
              <a:rPr lang="en-US" dirty="0"/>
              <a:t>. </a:t>
            </a:r>
          </a:p>
          <a:p>
            <a:r>
              <a:rPr lang="en-US" dirty="0"/>
              <a:t>2019 </a:t>
            </a:r>
            <a:r>
              <a:rPr lang="en-US" dirty="0" err="1"/>
              <a:t>ila</a:t>
            </a:r>
            <a:r>
              <a:rPr lang="en-US" dirty="0"/>
              <a:t> 2020 </a:t>
            </a:r>
            <a:r>
              <a:rPr lang="en-US" dirty="0" err="1"/>
              <a:t>ve</a:t>
            </a:r>
            <a:r>
              <a:rPr lang="en-US" dirty="0"/>
              <a:t> 2020 </a:t>
            </a:r>
            <a:r>
              <a:rPr lang="en-US" dirty="0" err="1"/>
              <a:t>ila</a:t>
            </a:r>
            <a:r>
              <a:rPr lang="en-US" dirty="0"/>
              <a:t> 2021 </a:t>
            </a:r>
            <a:r>
              <a:rPr lang="en-US" dirty="0" err="1"/>
              <a:t>ile</a:t>
            </a:r>
            <a:r>
              <a:rPr lang="en-US" dirty="0"/>
              <a:t> 2022 </a:t>
            </a:r>
            <a:r>
              <a:rPr lang="en-US" dirty="0" err="1"/>
              <a:t>ila</a:t>
            </a:r>
            <a:r>
              <a:rPr lang="en-US" dirty="0"/>
              <a:t> 2023 </a:t>
            </a:r>
            <a:r>
              <a:rPr lang="en-US" dirty="0" err="1"/>
              <a:t>yılları</a:t>
            </a:r>
            <a:r>
              <a:rPr lang="en-US" dirty="0"/>
              <a:t> </a:t>
            </a:r>
            <a:r>
              <a:rPr lang="en-US" dirty="0" err="1"/>
              <a:t>için</a:t>
            </a:r>
            <a:r>
              <a:rPr lang="en-US" dirty="0"/>
              <a:t> </a:t>
            </a:r>
            <a:r>
              <a:rPr lang="en-US" dirty="0" err="1"/>
              <a:t>Ekim</a:t>
            </a:r>
            <a:r>
              <a:rPr lang="en-US" dirty="0"/>
              <a:t> </a:t>
            </a:r>
            <a:r>
              <a:rPr lang="en-US" dirty="0" err="1"/>
              <a:t>ila</a:t>
            </a:r>
            <a:r>
              <a:rPr lang="en-US" dirty="0"/>
              <a:t> Eylül </a:t>
            </a:r>
            <a:r>
              <a:rPr lang="en-US" dirty="0" err="1"/>
              <a:t>ayları</a:t>
            </a:r>
            <a:r>
              <a:rPr lang="en-US" dirty="0"/>
              <a:t> </a:t>
            </a:r>
            <a:r>
              <a:rPr lang="en-US" dirty="0" err="1"/>
              <a:t>arasında</a:t>
            </a:r>
            <a:r>
              <a:rPr lang="en-US" dirty="0"/>
              <a:t>.</a:t>
            </a:r>
          </a:p>
          <a:p>
            <a:r>
              <a:rPr lang="en-US" dirty="0"/>
              <a:t>Havers FP, et al. </a:t>
            </a:r>
            <a:r>
              <a:rPr lang="en-US" i="1" dirty="0"/>
              <a:t>JAMA </a:t>
            </a:r>
            <a:r>
              <a:rPr lang="en-US" i="1" dirty="0" err="1"/>
              <a:t>Netw</a:t>
            </a:r>
            <a:r>
              <a:rPr lang="en-US" i="1" dirty="0"/>
              <a:t> Open</a:t>
            </a:r>
            <a:r>
              <a:rPr lang="en-US" dirty="0"/>
              <a:t>. 2024;7:e2444756 and </a:t>
            </a:r>
            <a:r>
              <a:rPr lang="en-US" dirty="0" err="1"/>
              <a:t>eTable</a:t>
            </a:r>
            <a:r>
              <a:rPr lang="en-US" dirty="0"/>
              <a:t> 3 (Supplement).</a:t>
            </a:r>
          </a:p>
        </p:txBody>
      </p:sp>
      <p:graphicFrame>
        <p:nvGraphicFramePr>
          <p:cNvPr id="4" name="Object 3">
            <a:extLst>
              <a:ext uri="{FF2B5EF4-FFF2-40B4-BE49-F238E27FC236}">
                <a16:creationId xmlns:a16="http://schemas.microsoft.com/office/drawing/2014/main" id="{58036743-4115-E67C-ACE1-D403594F7655}"/>
              </a:ext>
            </a:extLst>
          </p:cNvPr>
          <p:cNvGraphicFramePr>
            <a:graphicFrameLocks noChangeAspect="1"/>
          </p:cNvGraphicFramePr>
          <p:nvPr>
            <p:extLst>
              <p:ext uri="{D42A27DB-BD31-4B8C-83A1-F6EECF244321}">
                <p14:modId xmlns:p14="http://schemas.microsoft.com/office/powerpoint/2010/main" val="3230001277"/>
              </p:ext>
            </p:extLst>
          </p:nvPr>
        </p:nvGraphicFramePr>
        <p:xfrm>
          <a:off x="966927" y="1972352"/>
          <a:ext cx="10400260" cy="4013969"/>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B20F8DD9-975A-3DC0-C976-37605AA6BDF2}"/>
              </a:ext>
            </a:extLst>
          </p:cNvPr>
          <p:cNvSpPr txBox="1"/>
          <p:nvPr/>
        </p:nvSpPr>
        <p:spPr>
          <a:xfrm rot="16200000">
            <a:off x="-986180" y="3301091"/>
            <a:ext cx="3475327" cy="430887"/>
          </a:xfrm>
          <a:prstGeom prst="rect">
            <a:avLst/>
          </a:prstGeom>
          <a:noFill/>
        </p:spPr>
        <p:txBody>
          <a:bodyPr wrap="square" lIns="0" tIns="0" rIns="0" bIns="0" rtlCol="0" anchor="b">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Her 100.000 </a:t>
            </a:r>
            <a:r>
              <a:rPr kumimoji="0" lang="en-US" sz="1400" b="1" i="0" u="none" strike="noStrike" kern="1200" cap="none" spc="0" normalizeH="0" baseline="0" noProof="0" dirty="0" err="1">
                <a:ln>
                  <a:noFill/>
                </a:ln>
                <a:solidFill>
                  <a:srgbClr val="000000"/>
                </a:solidFill>
                <a:effectLst/>
                <a:uLnTx/>
                <a:uFillTx/>
                <a:ea typeface="+mn-ea"/>
                <a:cs typeface="+mn-cs"/>
              </a:rPr>
              <a:t>nüfus</a:t>
            </a:r>
            <a:r>
              <a:rPr kumimoji="0" lang="en-US" sz="1400" b="1" i="0" u="none" strike="noStrike" kern="1200" cap="none" spc="0" normalizeH="0" baseline="0" noProof="0" dirty="0">
                <a:ln>
                  <a:noFill/>
                </a:ln>
                <a:solidFill>
                  <a:srgbClr val="000000"/>
                </a:solidFill>
                <a:effectLst/>
                <a:uLnTx/>
                <a:uFillTx/>
                <a:ea typeface="+mn-ea"/>
                <a:cs typeface="+mn-cs"/>
              </a:rPr>
              <a:t> </a:t>
            </a:r>
            <a:r>
              <a:rPr kumimoji="0" lang="en-US" sz="1400" b="1" i="0" u="none" strike="noStrike" kern="1200" cap="none" spc="0" normalizeH="0" baseline="0" noProof="0" dirty="0" err="1">
                <a:ln>
                  <a:noFill/>
                </a:ln>
                <a:solidFill>
                  <a:srgbClr val="000000"/>
                </a:solidFill>
                <a:effectLst/>
                <a:uLnTx/>
                <a:uFillTx/>
                <a:ea typeface="+mn-ea"/>
                <a:cs typeface="+mn-cs"/>
              </a:rPr>
              <a:t>başına</a:t>
            </a:r>
            <a:r>
              <a:rPr kumimoji="0" lang="en-US" sz="1400" b="1" i="0" u="none" strike="noStrike" kern="1200" cap="none" spc="0" normalizeH="0" baseline="0" noProof="0" dirty="0">
                <a:ln>
                  <a:noFill/>
                </a:ln>
                <a:solidFill>
                  <a:srgbClr val="000000"/>
                </a:solidFill>
                <a:effectLst/>
                <a:uLnTx/>
                <a:uFillTx/>
                <a:ea typeface="+mn-ea"/>
                <a:cs typeface="+mn-cs"/>
              </a:rPr>
              <a:t> RSV </a:t>
            </a:r>
            <a:r>
              <a:rPr kumimoji="0" lang="en-US" sz="1400" b="1" i="0" u="none" strike="noStrike" kern="1200" cap="none" spc="0" normalizeH="0" baseline="0" noProof="0" dirty="0" err="1">
                <a:ln>
                  <a:noFill/>
                </a:ln>
                <a:solidFill>
                  <a:srgbClr val="000000"/>
                </a:solidFill>
                <a:effectLst/>
                <a:uLnTx/>
                <a:uFillTx/>
                <a:ea typeface="+mn-ea"/>
                <a:cs typeface="+mn-cs"/>
              </a:rPr>
              <a:t>ile</a:t>
            </a:r>
            <a:r>
              <a:rPr kumimoji="0" lang="en-US" sz="1400" b="1" i="0" u="none" strike="noStrike" kern="1200" cap="none" spc="0" normalizeH="0" baseline="0" noProof="0" dirty="0">
                <a:ln>
                  <a:noFill/>
                </a:ln>
                <a:solidFill>
                  <a:srgbClr val="000000"/>
                </a:solidFill>
                <a:effectLst/>
                <a:uLnTx/>
                <a:uFillTx/>
                <a:ea typeface="+mn-ea"/>
                <a:cs typeface="+mn-cs"/>
              </a:rPr>
              <a:t> </a:t>
            </a:r>
            <a:r>
              <a:rPr kumimoji="0" lang="en-US" sz="1400" b="1" i="0" u="none" strike="noStrike" kern="1200" cap="none" spc="0" normalizeH="0" baseline="0" noProof="0" dirty="0" err="1">
                <a:ln>
                  <a:noFill/>
                </a:ln>
                <a:solidFill>
                  <a:srgbClr val="000000"/>
                </a:solidFill>
                <a:effectLst/>
                <a:uLnTx/>
                <a:uFillTx/>
                <a:ea typeface="+mn-ea"/>
                <a:cs typeface="+mn-cs"/>
              </a:rPr>
              <a:t>ilişkili</a:t>
            </a:r>
            <a:r>
              <a:rPr kumimoji="0" lang="en-US" sz="1400" b="1" i="0" u="none" strike="noStrike" kern="1200" cap="none" spc="0" normalizeH="0" baseline="0" noProof="0" dirty="0">
                <a:ln>
                  <a:noFill/>
                </a:ln>
                <a:solidFill>
                  <a:srgbClr val="000000"/>
                </a:solidFill>
                <a:effectLst/>
                <a:uLnTx/>
                <a:uFillTx/>
                <a:ea typeface="+mn-ea"/>
                <a:cs typeface="+mn-cs"/>
              </a:rPr>
              <a:t> </a:t>
            </a:r>
            <a:r>
              <a:rPr kumimoji="0" lang="en-US" sz="1400" b="1" i="0" u="none" strike="noStrike" kern="1200" cap="none" spc="0" normalizeH="0" baseline="0" noProof="0" dirty="0" err="1">
                <a:ln>
                  <a:noFill/>
                </a:ln>
                <a:solidFill>
                  <a:srgbClr val="000000"/>
                </a:solidFill>
                <a:effectLst/>
                <a:uLnTx/>
                <a:uFillTx/>
                <a:ea typeface="+mn-ea"/>
                <a:cs typeface="+mn-cs"/>
              </a:rPr>
              <a:t>yıllık</a:t>
            </a:r>
            <a:r>
              <a:rPr kumimoji="0" lang="en-US" sz="1400" b="1" i="0" u="none" strike="noStrike" kern="1200" cap="none" spc="0" normalizeH="0" baseline="0" noProof="0" dirty="0">
                <a:ln>
                  <a:noFill/>
                </a:ln>
                <a:solidFill>
                  <a:srgbClr val="000000"/>
                </a:solidFill>
                <a:effectLst/>
                <a:uLnTx/>
                <a:uFillTx/>
                <a:ea typeface="+mn-ea"/>
                <a:cs typeface="+mn-cs"/>
              </a:rPr>
              <a:t> </a:t>
            </a:r>
            <a:r>
              <a:rPr kumimoji="0" lang="en-US" sz="1400" b="1" i="0" u="none" strike="noStrike" kern="1200" cap="none" spc="0" normalizeH="0" baseline="0" noProof="0" dirty="0" err="1">
                <a:ln>
                  <a:noFill/>
                </a:ln>
                <a:solidFill>
                  <a:srgbClr val="000000"/>
                </a:solidFill>
                <a:effectLst/>
                <a:uLnTx/>
                <a:uFillTx/>
                <a:ea typeface="+mn-ea"/>
                <a:cs typeface="+mn-cs"/>
              </a:rPr>
              <a:t>hastane</a:t>
            </a:r>
            <a:r>
              <a:rPr kumimoji="0" lang="en-US" sz="1400" b="1" i="0" u="none" strike="noStrike" kern="1200" cap="none" spc="0" normalizeH="0" baseline="0" noProof="0" dirty="0">
                <a:ln>
                  <a:noFill/>
                </a:ln>
                <a:solidFill>
                  <a:srgbClr val="000000"/>
                </a:solidFill>
                <a:effectLst/>
                <a:uLnTx/>
                <a:uFillTx/>
                <a:ea typeface="+mn-ea"/>
                <a:cs typeface="+mn-cs"/>
              </a:rPr>
              <a:t> </a:t>
            </a:r>
            <a:r>
              <a:rPr kumimoji="0" lang="en-US" sz="1400" b="1" i="0" u="none" strike="noStrike" kern="1200" cap="none" spc="0" normalizeH="0" baseline="0" noProof="0" dirty="0" err="1">
                <a:ln>
                  <a:noFill/>
                </a:ln>
                <a:solidFill>
                  <a:srgbClr val="000000"/>
                </a:solidFill>
                <a:effectLst/>
                <a:uLnTx/>
                <a:uFillTx/>
                <a:ea typeface="+mn-ea"/>
                <a:cs typeface="+mn-cs"/>
              </a:rPr>
              <a:t>yatışları</a:t>
            </a:r>
            <a:endParaRPr kumimoji="0" lang="en-US" sz="1400" b="1" i="0" u="none" strike="noStrike" kern="1200" cap="none" spc="0" normalizeH="0" baseline="0" noProof="0" dirty="0">
              <a:ln>
                <a:noFill/>
              </a:ln>
              <a:solidFill>
                <a:srgbClr val="000000"/>
              </a:solidFill>
              <a:effectLst/>
              <a:uLnTx/>
              <a:uFillTx/>
              <a:ea typeface="+mn-ea"/>
              <a:cs typeface="+mn-cs"/>
            </a:endParaRPr>
          </a:p>
        </p:txBody>
      </p:sp>
      <p:cxnSp>
        <p:nvCxnSpPr>
          <p:cNvPr id="11" name="Straight Connector 10">
            <a:extLst>
              <a:ext uri="{FF2B5EF4-FFF2-40B4-BE49-F238E27FC236}">
                <a16:creationId xmlns:a16="http://schemas.microsoft.com/office/drawing/2014/main" id="{37967949-1221-AB58-DAFB-4D7DBC6D58B6}"/>
              </a:ext>
            </a:extLst>
          </p:cNvPr>
          <p:cNvCxnSpPr/>
          <p:nvPr/>
        </p:nvCxnSpPr>
        <p:spPr>
          <a:xfrm flipV="1">
            <a:off x="6549751" y="2075064"/>
            <a:ext cx="0" cy="3179134"/>
          </a:xfrm>
          <a:prstGeom prst="line">
            <a:avLst/>
          </a:prstGeom>
          <a:ln>
            <a:solidFill>
              <a:schemeClr val="bg1">
                <a:lumMod val="65000"/>
              </a:schemeClr>
            </a:solidFill>
            <a:prstDash val="dash"/>
          </a:ln>
        </p:spPr>
        <p:style>
          <a:lnRef idx="2">
            <a:schemeClr val="accent1"/>
          </a:lnRef>
          <a:fillRef idx="0">
            <a:schemeClr val="accent1"/>
          </a:fillRef>
          <a:effectRef idx="1">
            <a:schemeClr val="accent1"/>
          </a:effectRef>
          <a:fontRef idx="minor">
            <a:schemeClr val="tx1"/>
          </a:fontRef>
        </p:style>
      </p:cxnSp>
      <p:pic>
        <p:nvPicPr>
          <p:cNvPr id="5" name="Picture 4" descr="A black and blue logo&#10;&#10;AI-generated content may be incorrect.">
            <a:extLst>
              <a:ext uri="{FF2B5EF4-FFF2-40B4-BE49-F238E27FC236}">
                <a16:creationId xmlns:a16="http://schemas.microsoft.com/office/drawing/2014/main" id="{11728507-D040-A0B1-B539-9A8CE3295FD5}"/>
              </a:ext>
            </a:extLst>
          </p:cNvPr>
          <p:cNvPicPr>
            <a:picLocks noChangeAspect="1"/>
          </p:cNvPicPr>
          <p:nvPr/>
        </p:nvPicPr>
        <p:blipFill>
          <a:blip r:embed="rId4"/>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31186834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2BF4045A-91C2-D3AB-04F1-28BDF1FC586F}"/>
              </a:ext>
            </a:extLst>
          </p:cNvPr>
          <p:cNvSpPr txBox="1">
            <a:spLocks/>
          </p:cNvSpPr>
          <p:nvPr/>
        </p:nvSpPr>
        <p:spPr bwMode="gray">
          <a:xfrm>
            <a:off x="621142" y="1340396"/>
            <a:ext cx="11582400" cy="575927"/>
          </a:xfrm>
          <a:prstGeom prst="rect">
            <a:avLst/>
          </a:prstGeom>
          <a:solidFill>
            <a:schemeClr val="bg1"/>
          </a:solidFill>
          <a:effectLst>
            <a:outerShdw dist="12700" dir="16200000" rotWithShape="0">
              <a:schemeClr val="bg2">
                <a:lumMod val="90000"/>
              </a:schemeClr>
            </a:outerShdw>
          </a:effectLst>
        </p:spPr>
        <p:txBody>
          <a:bodyPr wrap="square" lIns="0" tIns="73152" rIns="0">
            <a:spAutoFit/>
          </a:bodyPr>
          <a:lstStyle>
            <a:defPPr>
              <a:defRPr lang="en-US"/>
            </a:defPPr>
            <a:lvl1pPr defTabSz="914400">
              <a:lnSpc>
                <a:spcPct val="95000"/>
              </a:lnSpc>
              <a:defRPr sz="1700" b="1">
                <a:solidFill>
                  <a:schemeClr val="accent2"/>
                </a:solidFill>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700" b="1" i="0" u="none" strike="noStrike" kern="1200" cap="none" spc="0" normalizeH="0" baseline="0" noProof="0" dirty="0">
                <a:ln>
                  <a:noFill/>
                </a:ln>
                <a:solidFill>
                  <a:schemeClr val="tx2"/>
                </a:solidFill>
                <a:effectLst/>
                <a:uLnTx/>
                <a:uFillTx/>
                <a:latin typeface="Pfizer Diatype Office"/>
                <a:ea typeface="+mn-ea"/>
                <a:cs typeface="+mn-cs"/>
              </a:rPr>
              <a:t>RSV </a:t>
            </a:r>
            <a:r>
              <a:rPr kumimoji="0" lang="en-US" sz="1700" b="1" i="0" u="none" strike="noStrike" kern="1200" cap="none" spc="0" normalizeH="0" baseline="0" noProof="0" dirty="0" err="1">
                <a:ln>
                  <a:noFill/>
                </a:ln>
                <a:solidFill>
                  <a:schemeClr val="tx2"/>
                </a:solidFill>
                <a:effectLst/>
                <a:uLnTx/>
                <a:uFillTx/>
                <a:latin typeface="Pfizer Diatype Office"/>
                <a:ea typeface="+mn-ea"/>
                <a:cs typeface="+mn-cs"/>
              </a:rPr>
              <a:t>ile</a:t>
            </a:r>
            <a:r>
              <a:rPr kumimoji="0" lang="en-US" sz="1700" b="1" i="0" u="none" strike="noStrike" kern="1200" cap="none" spc="0" normalizeH="0" baseline="0" noProof="0" dirty="0">
                <a:ln>
                  <a:noFill/>
                </a:ln>
                <a:solidFill>
                  <a:schemeClr val="tx2"/>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tx2"/>
                </a:solidFill>
                <a:effectLst/>
                <a:uLnTx/>
                <a:uFillTx/>
                <a:latin typeface="Pfizer Diatype Office"/>
                <a:ea typeface="+mn-ea"/>
                <a:cs typeface="+mn-cs"/>
              </a:rPr>
              <a:t>İlişkili</a:t>
            </a:r>
            <a:r>
              <a:rPr kumimoji="0" lang="en-US" sz="1700" b="1" i="0" u="none" strike="noStrike" kern="1200" cap="none" spc="0" normalizeH="0" baseline="0" noProof="0" dirty="0">
                <a:ln>
                  <a:noFill/>
                </a:ln>
                <a:solidFill>
                  <a:schemeClr val="tx2"/>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tx2"/>
                </a:solidFill>
                <a:effectLst/>
                <a:uLnTx/>
                <a:uFillTx/>
                <a:latin typeface="Pfizer Diatype Office"/>
                <a:ea typeface="+mn-ea"/>
                <a:cs typeface="+mn-cs"/>
              </a:rPr>
              <a:t>Hastaneye</a:t>
            </a:r>
            <a:r>
              <a:rPr kumimoji="0" lang="en-US" sz="1700" b="1" i="0" u="none" strike="noStrike" kern="1200" cap="none" spc="0" normalizeH="0" baseline="0" noProof="0" dirty="0">
                <a:ln>
                  <a:noFill/>
                </a:ln>
                <a:solidFill>
                  <a:schemeClr val="tx2"/>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tx2"/>
                </a:solidFill>
                <a:effectLst/>
                <a:uLnTx/>
                <a:uFillTx/>
                <a:latin typeface="Pfizer Diatype Office"/>
                <a:ea typeface="+mn-ea"/>
                <a:cs typeface="+mn-cs"/>
              </a:rPr>
              <a:t>Yatışı</a:t>
            </a:r>
            <a:r>
              <a:rPr kumimoji="0" lang="en-US" sz="1700" b="1" i="0" u="none" strike="noStrike" kern="1200" cap="none" spc="0" normalizeH="0" baseline="0" noProof="0" dirty="0">
                <a:ln>
                  <a:noFill/>
                </a:ln>
                <a:solidFill>
                  <a:schemeClr val="tx2"/>
                </a:solidFill>
                <a:effectLst/>
                <a:uLnTx/>
                <a:uFillTx/>
                <a:latin typeface="Pfizer Diatype Office"/>
                <a:ea typeface="+mn-ea"/>
                <a:cs typeface="+mn-cs"/>
              </a:rPr>
              <a:t> Olan </a:t>
            </a:r>
            <a:r>
              <a:rPr kumimoji="0" lang="en-US" sz="1700" b="1" i="0" u="none" strike="noStrike" kern="1200" cap="none" spc="0" normalizeH="0" baseline="0" noProof="0" dirty="0" err="1">
                <a:ln>
                  <a:noFill/>
                </a:ln>
                <a:solidFill>
                  <a:schemeClr val="tx2"/>
                </a:solidFill>
                <a:effectLst/>
                <a:uLnTx/>
                <a:uFillTx/>
                <a:latin typeface="Pfizer Diatype Office"/>
                <a:ea typeface="+mn-ea"/>
                <a:cs typeface="+mn-cs"/>
              </a:rPr>
              <a:t>Yetişkinler</a:t>
            </a:r>
            <a:r>
              <a:rPr kumimoji="0" lang="en-US" sz="1700" b="1" i="0" u="none" strike="noStrike" kern="1200" cap="none" spc="0" normalizeH="0" baseline="0" noProof="0" dirty="0">
                <a:ln>
                  <a:noFill/>
                </a:ln>
                <a:solidFill>
                  <a:schemeClr val="tx2"/>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tx2"/>
                </a:solidFill>
                <a:effectLst/>
                <a:uLnTx/>
                <a:uFillTx/>
                <a:latin typeface="Pfizer Diatype Office"/>
                <a:ea typeface="+mn-ea"/>
                <a:cs typeface="+mn-cs"/>
              </a:rPr>
              <a:t>Arasında</a:t>
            </a:r>
            <a:r>
              <a:rPr kumimoji="0" lang="en-US" sz="1700" b="1" i="0" u="none" strike="noStrike" kern="1200" cap="none" spc="0" normalizeH="0" baseline="0" noProof="0" dirty="0">
                <a:ln>
                  <a:noFill/>
                </a:ln>
                <a:solidFill>
                  <a:schemeClr val="tx2"/>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tx2"/>
                </a:solidFill>
                <a:effectLst/>
                <a:uLnTx/>
                <a:uFillTx/>
                <a:latin typeface="Pfizer Diatype Office"/>
                <a:ea typeface="+mn-ea"/>
                <a:cs typeface="+mn-cs"/>
              </a:rPr>
              <a:t>Altta</a:t>
            </a:r>
            <a:r>
              <a:rPr kumimoji="0" lang="en-US" sz="1700" b="1" i="0" u="none" strike="noStrike" kern="1200" cap="none" spc="0" normalizeH="0" baseline="0" noProof="0" dirty="0">
                <a:ln>
                  <a:noFill/>
                </a:ln>
                <a:solidFill>
                  <a:schemeClr val="tx2"/>
                </a:solidFill>
                <a:effectLst/>
                <a:uLnTx/>
                <a:uFillTx/>
                <a:latin typeface="Pfizer Diatype Office"/>
                <a:ea typeface="+mn-ea"/>
                <a:cs typeface="+mn-cs"/>
              </a:rPr>
              <a:t> Yatan </a:t>
            </a:r>
            <a:r>
              <a:rPr kumimoji="0" lang="en-US" sz="1700" b="1" i="0" u="none" strike="noStrike" kern="1200" cap="none" spc="0" normalizeH="0" baseline="0" noProof="0" dirty="0" err="1">
                <a:ln>
                  <a:noFill/>
                </a:ln>
                <a:solidFill>
                  <a:schemeClr val="tx2"/>
                </a:solidFill>
                <a:effectLst/>
                <a:uLnTx/>
                <a:uFillTx/>
                <a:latin typeface="Pfizer Diatype Office"/>
                <a:ea typeface="+mn-ea"/>
                <a:cs typeface="+mn-cs"/>
              </a:rPr>
              <a:t>Tıbbi</a:t>
            </a:r>
            <a:r>
              <a:rPr kumimoji="0" lang="en-US" sz="1700" b="1" i="0" u="none" strike="noStrike" kern="1200" cap="none" spc="0" normalizeH="0" baseline="0" noProof="0" dirty="0">
                <a:ln>
                  <a:noFill/>
                </a:ln>
                <a:solidFill>
                  <a:schemeClr val="tx2"/>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tx2"/>
                </a:solidFill>
                <a:effectLst/>
                <a:uLnTx/>
                <a:uFillTx/>
                <a:latin typeface="Pfizer Diatype Office"/>
                <a:ea typeface="+mn-ea"/>
                <a:cs typeface="+mn-cs"/>
              </a:rPr>
              <a:t>Durumlar</a:t>
            </a:r>
            <a:endParaRPr kumimoji="0" lang="en-US" sz="1700" b="1" i="0" u="none" strike="noStrike" kern="1200" cap="none" spc="0" normalizeH="0" baseline="0" noProof="0" dirty="0">
              <a:ln>
                <a:noFill/>
              </a:ln>
              <a:solidFill>
                <a:schemeClr val="tx2"/>
              </a:solidFill>
              <a:effectLst/>
              <a:uLnTx/>
              <a:uFillTx/>
              <a:latin typeface="Pfizer Diatype Office"/>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Pfizer Diatype Office"/>
                <a:ea typeface="+mn-ea"/>
                <a:cs typeface="+mn-cs"/>
              </a:rPr>
              <a:t>RSV-NET 2014-2015 </a:t>
            </a:r>
            <a:r>
              <a:rPr kumimoji="0" lang="en-US" sz="1400" b="0" i="0" u="none" strike="noStrike" kern="1200" cap="none" spc="0" normalizeH="0" baseline="0" noProof="0" dirty="0" err="1">
                <a:ln>
                  <a:noFill/>
                </a:ln>
                <a:solidFill>
                  <a:srgbClr val="000000"/>
                </a:solidFill>
                <a:effectLst/>
                <a:uLnTx/>
                <a:uFillTx/>
                <a:latin typeface="Pfizer Diatype Office"/>
                <a:ea typeface="+mn-ea"/>
                <a:cs typeface="+mn-cs"/>
              </a:rPr>
              <a:t>ila</a:t>
            </a:r>
            <a:r>
              <a:rPr kumimoji="0" lang="en-US" sz="1400" b="0" i="0" u="none" strike="noStrike" kern="1200" cap="none" spc="0" normalizeH="0" baseline="0" noProof="0" dirty="0">
                <a:ln>
                  <a:noFill/>
                </a:ln>
                <a:solidFill>
                  <a:srgbClr val="000000"/>
                </a:solidFill>
                <a:effectLst/>
                <a:uLnTx/>
                <a:uFillTx/>
                <a:latin typeface="Pfizer Diatype Office"/>
                <a:ea typeface="+mn-ea"/>
                <a:cs typeface="+mn-cs"/>
              </a:rPr>
              <a:t> 2017-2018 </a:t>
            </a:r>
            <a:r>
              <a:rPr kumimoji="0" lang="en-US" sz="1400" b="0" i="0" u="none" strike="noStrike" kern="1200" cap="none" spc="0" normalizeH="0" baseline="0" noProof="0" dirty="0" err="1">
                <a:ln>
                  <a:noFill/>
                </a:ln>
                <a:solidFill>
                  <a:srgbClr val="000000"/>
                </a:solidFill>
                <a:effectLst/>
                <a:uLnTx/>
                <a:uFillTx/>
                <a:latin typeface="Pfizer Diatype Office"/>
                <a:ea typeface="+mn-ea"/>
                <a:cs typeface="+mn-cs"/>
              </a:rPr>
              <a:t>ve</a:t>
            </a:r>
            <a:r>
              <a:rPr kumimoji="0" lang="en-US" sz="1400" b="0" i="0" u="none" strike="noStrike" kern="1200" cap="none" spc="0" normalizeH="0" baseline="0" noProof="0" dirty="0">
                <a:ln>
                  <a:noFill/>
                </a:ln>
                <a:solidFill>
                  <a:srgbClr val="000000"/>
                </a:solidFill>
                <a:effectLst/>
                <a:uLnTx/>
                <a:uFillTx/>
                <a:latin typeface="Pfizer Diatype Office"/>
                <a:ea typeface="+mn-ea"/>
                <a:cs typeface="+mn-cs"/>
              </a:rPr>
              <a:t> 2022-2023*</a:t>
            </a:r>
          </a:p>
        </p:txBody>
      </p:sp>
      <p:sp>
        <p:nvSpPr>
          <p:cNvPr id="2" name="Title 1">
            <a:extLst>
              <a:ext uri="{FF2B5EF4-FFF2-40B4-BE49-F238E27FC236}">
                <a16:creationId xmlns:a16="http://schemas.microsoft.com/office/drawing/2014/main" id="{A735D1B8-AD22-C9D2-FD79-A1BDA8DB5205}"/>
              </a:ext>
            </a:extLst>
          </p:cNvPr>
          <p:cNvSpPr>
            <a:spLocks noGrp="1"/>
          </p:cNvSpPr>
          <p:nvPr>
            <p:ph type="title"/>
          </p:nvPr>
        </p:nvSpPr>
        <p:spPr/>
        <p:txBody>
          <a:bodyPr>
            <a:normAutofit/>
          </a:bodyPr>
          <a:lstStyle/>
          <a:p>
            <a:r>
              <a:rPr lang="en-US" sz="2400"/>
              <a:t>RSV </a:t>
            </a:r>
            <a:r>
              <a:rPr lang="en-US" sz="2400" err="1"/>
              <a:t>nedeniyle</a:t>
            </a:r>
            <a:r>
              <a:rPr lang="en-US" sz="2400"/>
              <a:t> </a:t>
            </a:r>
            <a:r>
              <a:rPr lang="en-US" sz="2400" err="1"/>
              <a:t>hastaneye</a:t>
            </a:r>
            <a:r>
              <a:rPr lang="en-US" sz="2400"/>
              <a:t> </a:t>
            </a:r>
            <a:r>
              <a:rPr lang="en-US" sz="2400" err="1"/>
              <a:t>yatırılan</a:t>
            </a:r>
            <a:r>
              <a:rPr lang="en-US" sz="2400"/>
              <a:t> </a:t>
            </a:r>
            <a:r>
              <a:rPr lang="en-US" sz="2400" err="1"/>
              <a:t>yetişkinlerde</a:t>
            </a:r>
            <a:r>
              <a:rPr lang="en-US" sz="2400"/>
              <a:t> </a:t>
            </a:r>
            <a:r>
              <a:rPr lang="en-US" sz="2400" err="1"/>
              <a:t>obezite</a:t>
            </a:r>
            <a:r>
              <a:rPr lang="en-US" sz="2400"/>
              <a:t>, </a:t>
            </a:r>
            <a:r>
              <a:rPr lang="en-US" sz="2400" err="1"/>
              <a:t>kalp</a:t>
            </a:r>
            <a:r>
              <a:rPr lang="en-US" sz="2400"/>
              <a:t> </a:t>
            </a:r>
            <a:r>
              <a:rPr lang="en-US" sz="2400" err="1"/>
              <a:t>ve</a:t>
            </a:r>
            <a:r>
              <a:rPr lang="en-US" sz="2400"/>
              <a:t> </a:t>
            </a:r>
            <a:r>
              <a:rPr lang="en-US" sz="2400" err="1"/>
              <a:t>akciğer</a:t>
            </a:r>
            <a:r>
              <a:rPr lang="en-US" sz="2400"/>
              <a:t> </a:t>
            </a:r>
            <a:r>
              <a:rPr lang="en-US" sz="2400" err="1"/>
              <a:t>hastalığı</a:t>
            </a:r>
            <a:r>
              <a:rPr lang="en-US" sz="2400"/>
              <a:t>, </a:t>
            </a:r>
            <a:r>
              <a:rPr lang="en-US" sz="2400" err="1"/>
              <a:t>diyabet</a:t>
            </a:r>
            <a:r>
              <a:rPr lang="en-US" sz="2400"/>
              <a:t> </a:t>
            </a:r>
            <a:r>
              <a:rPr lang="en-US" sz="2400" err="1"/>
              <a:t>ve</a:t>
            </a:r>
            <a:r>
              <a:rPr lang="en-US" sz="2400"/>
              <a:t> </a:t>
            </a:r>
            <a:r>
              <a:rPr lang="en-US" sz="2400" err="1"/>
              <a:t>bağışıklık</a:t>
            </a:r>
            <a:r>
              <a:rPr lang="en-US" sz="2400"/>
              <a:t> </a:t>
            </a:r>
            <a:r>
              <a:rPr lang="en-US" sz="2400" err="1"/>
              <a:t>sistemi</a:t>
            </a:r>
            <a:r>
              <a:rPr lang="en-US" sz="2400"/>
              <a:t> </a:t>
            </a:r>
            <a:r>
              <a:rPr lang="en-US" sz="2400" err="1"/>
              <a:t>zayıflığı</a:t>
            </a:r>
            <a:r>
              <a:rPr lang="en-US" sz="2400"/>
              <a:t> </a:t>
            </a:r>
            <a:r>
              <a:rPr lang="en-US" sz="2400" err="1"/>
              <a:t>gibi</a:t>
            </a:r>
            <a:r>
              <a:rPr lang="en-US" sz="2400"/>
              <a:t> </a:t>
            </a:r>
            <a:r>
              <a:rPr lang="en-US" sz="2400" err="1"/>
              <a:t>altta</a:t>
            </a:r>
            <a:r>
              <a:rPr lang="en-US" sz="2400"/>
              <a:t> </a:t>
            </a:r>
            <a:r>
              <a:rPr lang="en-US" sz="2400" err="1"/>
              <a:t>yatan</a:t>
            </a:r>
            <a:r>
              <a:rPr lang="en-US" sz="2400"/>
              <a:t> </a:t>
            </a:r>
            <a:r>
              <a:rPr lang="en-US" sz="2400" err="1"/>
              <a:t>kronik</a:t>
            </a:r>
            <a:r>
              <a:rPr lang="en-US" sz="2400"/>
              <a:t> </a:t>
            </a:r>
            <a:r>
              <a:rPr lang="en-US" sz="2400" err="1"/>
              <a:t>hastalıklar</a:t>
            </a:r>
            <a:r>
              <a:rPr lang="en-US" sz="2400"/>
              <a:t> </a:t>
            </a:r>
            <a:r>
              <a:rPr lang="en-US" sz="2400" err="1"/>
              <a:t>yaygındır</a:t>
            </a:r>
            <a:r>
              <a:rPr lang="en-US" sz="2400"/>
              <a:t> </a:t>
            </a:r>
          </a:p>
        </p:txBody>
      </p:sp>
      <p:sp>
        <p:nvSpPr>
          <p:cNvPr id="6" name="Slide Number Placeholder 5">
            <a:extLst>
              <a:ext uri="{FF2B5EF4-FFF2-40B4-BE49-F238E27FC236}">
                <a16:creationId xmlns:a16="http://schemas.microsoft.com/office/drawing/2014/main" id="{78000B9F-4BC4-8EDB-3210-EF73946BF83E}"/>
              </a:ext>
            </a:extLst>
          </p:cNvPr>
          <p:cNvSpPr>
            <a:spLocks noGrp="1"/>
          </p:cNvSpPr>
          <p:nvPr>
            <p:ph type="sldNum" sz="quarter" idx="4"/>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8C13A29A-185B-4182-9583-7B13F1AC164D}" type="slidenum">
              <a:rPr kumimoji="0" lang="en-US" sz="900" b="0" i="0" u="none" strike="noStrike" kern="1200" cap="none" spc="0" normalizeH="0" baseline="0" noProof="0" smtClean="0">
                <a:ln>
                  <a:noFill/>
                </a:ln>
                <a:solidFill>
                  <a:srgbClr val="000000">
                    <a:tint val="82000"/>
                  </a:srgbClr>
                </a:solidFill>
                <a:effectLst/>
                <a:uLnTx/>
                <a:uFillTx/>
                <a:latin typeface="Pfizer Diatype Office"/>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31</a:t>
            </a:fld>
            <a:endParaRPr kumimoji="0" lang="en-US" sz="900" b="0" i="0" u="none" strike="noStrike" kern="1200" cap="none" spc="0" normalizeH="0" baseline="0" noProof="0">
              <a:ln>
                <a:noFill/>
              </a:ln>
              <a:solidFill>
                <a:srgbClr val="000000">
                  <a:tint val="82000"/>
                </a:srgbClr>
              </a:solidFill>
              <a:effectLst/>
              <a:uLnTx/>
              <a:uFillTx/>
              <a:latin typeface="Pfizer Diatype Office"/>
              <a:ea typeface="+mn-ea"/>
              <a:cs typeface="+mn-cs"/>
            </a:endParaRPr>
          </a:p>
        </p:txBody>
      </p:sp>
      <p:sp>
        <p:nvSpPr>
          <p:cNvPr id="4" name="Text Placeholder 7">
            <a:extLst>
              <a:ext uri="{FF2B5EF4-FFF2-40B4-BE49-F238E27FC236}">
                <a16:creationId xmlns:a16="http://schemas.microsoft.com/office/drawing/2014/main" id="{2A3C39EC-BC32-63F1-6B62-0E3A41EB8929}"/>
              </a:ext>
            </a:extLst>
          </p:cNvPr>
          <p:cNvSpPr>
            <a:spLocks noGrp="1"/>
          </p:cNvSpPr>
          <p:nvPr>
            <p:ph type="body" sz="quarter" idx="4294967295"/>
          </p:nvPr>
        </p:nvSpPr>
        <p:spPr>
          <a:xfrm>
            <a:off x="544886" y="6016231"/>
            <a:ext cx="11256589" cy="558800"/>
          </a:xfrm>
        </p:spPr>
        <p:txBody>
          <a:bodyPr>
            <a:normAutofit/>
          </a:bodyPr>
          <a:lstStyle/>
          <a:p>
            <a:pPr marL="0" indent="0">
              <a:lnSpc>
                <a:spcPct val="120000"/>
              </a:lnSpc>
              <a:spcBef>
                <a:spcPts val="0"/>
              </a:spcBef>
              <a:buNone/>
              <a:tabLst>
                <a:tab pos="174625" algn="r"/>
              </a:tabLst>
            </a:pPr>
            <a:r>
              <a:rPr lang="en-US" sz="600" dirty="0">
                <a:solidFill>
                  <a:schemeClr val="bg1">
                    <a:lumMod val="50000"/>
                  </a:schemeClr>
                </a:solidFill>
                <a:cs typeface="+mn-cs"/>
              </a:rPr>
              <a:t>*</a:t>
            </a:r>
            <a:r>
              <a:rPr lang="en-US" sz="600" dirty="0" err="1">
                <a:solidFill>
                  <a:schemeClr val="bg1">
                    <a:lumMod val="50000"/>
                  </a:schemeClr>
                </a:solidFill>
                <a:cs typeface="+mn-cs"/>
              </a:rPr>
              <a:t>Altta</a:t>
            </a:r>
            <a:r>
              <a:rPr lang="en-US" sz="600" dirty="0">
                <a:solidFill>
                  <a:schemeClr val="bg1">
                    <a:lumMod val="50000"/>
                  </a:schemeClr>
                </a:solidFill>
                <a:cs typeface="+mn-cs"/>
              </a:rPr>
              <a:t> </a:t>
            </a:r>
            <a:r>
              <a:rPr lang="en-US" sz="600" dirty="0" err="1">
                <a:solidFill>
                  <a:schemeClr val="bg1">
                    <a:lumMod val="50000"/>
                  </a:schemeClr>
                </a:solidFill>
                <a:cs typeface="+mn-cs"/>
              </a:rPr>
              <a:t>yatan</a:t>
            </a:r>
            <a:r>
              <a:rPr lang="en-US" sz="600" dirty="0">
                <a:solidFill>
                  <a:schemeClr val="bg1">
                    <a:lumMod val="50000"/>
                  </a:schemeClr>
                </a:solidFill>
                <a:cs typeface="+mn-cs"/>
              </a:rPr>
              <a:t> </a:t>
            </a:r>
            <a:r>
              <a:rPr lang="en-US" sz="600" dirty="0" err="1">
                <a:solidFill>
                  <a:schemeClr val="bg1">
                    <a:lumMod val="50000"/>
                  </a:schemeClr>
                </a:solidFill>
                <a:cs typeface="+mn-cs"/>
              </a:rPr>
              <a:t>tıbbi</a:t>
            </a:r>
            <a:r>
              <a:rPr lang="en-US" sz="600" dirty="0">
                <a:solidFill>
                  <a:schemeClr val="bg1">
                    <a:lumMod val="50000"/>
                  </a:schemeClr>
                </a:solidFill>
                <a:cs typeface="+mn-cs"/>
              </a:rPr>
              <a:t> </a:t>
            </a:r>
            <a:r>
              <a:rPr lang="en-US" sz="600" dirty="0" err="1">
                <a:solidFill>
                  <a:schemeClr val="bg1">
                    <a:lumMod val="50000"/>
                  </a:schemeClr>
                </a:solidFill>
                <a:cs typeface="+mn-cs"/>
              </a:rPr>
              <a:t>durumlar</a:t>
            </a:r>
            <a:r>
              <a:rPr lang="en-US" sz="600" dirty="0">
                <a:solidFill>
                  <a:schemeClr val="bg1">
                    <a:lumMod val="50000"/>
                  </a:schemeClr>
                </a:solidFill>
                <a:cs typeface="+mn-cs"/>
              </a:rPr>
              <a:t> da </a:t>
            </a:r>
            <a:r>
              <a:rPr lang="en-US" sz="600" dirty="0" err="1">
                <a:solidFill>
                  <a:schemeClr val="bg1">
                    <a:lumMod val="50000"/>
                  </a:schemeClr>
                </a:solidFill>
                <a:cs typeface="+mn-cs"/>
              </a:rPr>
              <a:t>dahil</a:t>
            </a:r>
            <a:r>
              <a:rPr lang="en-US" sz="600" dirty="0">
                <a:solidFill>
                  <a:schemeClr val="bg1">
                    <a:lumMod val="50000"/>
                  </a:schemeClr>
                </a:solidFill>
                <a:cs typeface="+mn-cs"/>
              </a:rPr>
              <a:t> </a:t>
            </a:r>
            <a:r>
              <a:rPr lang="en-US" sz="600" dirty="0" err="1">
                <a:solidFill>
                  <a:schemeClr val="bg1">
                    <a:lumMod val="50000"/>
                  </a:schemeClr>
                </a:solidFill>
                <a:cs typeface="+mn-cs"/>
              </a:rPr>
              <a:t>olmak</a:t>
            </a:r>
            <a:r>
              <a:rPr lang="en-US" sz="600" dirty="0">
                <a:solidFill>
                  <a:schemeClr val="bg1">
                    <a:lumMod val="50000"/>
                  </a:schemeClr>
                </a:solidFill>
                <a:cs typeface="+mn-cs"/>
              </a:rPr>
              <a:t> </a:t>
            </a:r>
            <a:r>
              <a:rPr lang="en-US" sz="600" dirty="0" err="1">
                <a:solidFill>
                  <a:schemeClr val="bg1">
                    <a:lumMod val="50000"/>
                  </a:schemeClr>
                </a:solidFill>
                <a:cs typeface="+mn-cs"/>
              </a:rPr>
              <a:t>üzere</a:t>
            </a:r>
            <a:r>
              <a:rPr lang="en-US" sz="600" dirty="0">
                <a:solidFill>
                  <a:schemeClr val="bg1">
                    <a:lumMod val="50000"/>
                  </a:schemeClr>
                </a:solidFill>
                <a:cs typeface="+mn-cs"/>
              </a:rPr>
              <a:t> </a:t>
            </a:r>
            <a:r>
              <a:rPr lang="en-US" sz="600" dirty="0" err="1">
                <a:solidFill>
                  <a:schemeClr val="bg1">
                    <a:lumMod val="50000"/>
                  </a:schemeClr>
                </a:solidFill>
                <a:cs typeface="+mn-cs"/>
              </a:rPr>
              <a:t>klinik</a:t>
            </a:r>
            <a:r>
              <a:rPr lang="en-US" sz="600" dirty="0">
                <a:solidFill>
                  <a:schemeClr val="bg1">
                    <a:lumMod val="50000"/>
                  </a:schemeClr>
                </a:solidFill>
                <a:cs typeface="+mn-cs"/>
              </a:rPr>
              <a:t> </a:t>
            </a:r>
            <a:r>
              <a:rPr lang="en-US" sz="600" dirty="0" err="1">
                <a:solidFill>
                  <a:schemeClr val="bg1">
                    <a:lumMod val="50000"/>
                  </a:schemeClr>
                </a:solidFill>
                <a:cs typeface="+mn-cs"/>
              </a:rPr>
              <a:t>veriler</a:t>
            </a:r>
            <a:r>
              <a:rPr lang="en-US" sz="600" dirty="0">
                <a:solidFill>
                  <a:schemeClr val="bg1">
                    <a:lumMod val="50000"/>
                  </a:schemeClr>
                </a:solidFill>
                <a:cs typeface="+mn-cs"/>
              </a:rPr>
              <a:t>, 2014-15 </a:t>
            </a:r>
            <a:r>
              <a:rPr lang="en-US" sz="600" dirty="0" err="1">
                <a:solidFill>
                  <a:schemeClr val="bg1">
                    <a:lumMod val="50000"/>
                  </a:schemeClr>
                </a:solidFill>
                <a:cs typeface="+mn-cs"/>
              </a:rPr>
              <a:t>ila</a:t>
            </a:r>
            <a:r>
              <a:rPr lang="en-US" sz="600" dirty="0">
                <a:solidFill>
                  <a:schemeClr val="bg1">
                    <a:lumMod val="50000"/>
                  </a:schemeClr>
                </a:solidFill>
                <a:cs typeface="+mn-cs"/>
              </a:rPr>
              <a:t> 2017-18 </a:t>
            </a:r>
            <a:r>
              <a:rPr lang="en-US" sz="600" dirty="0" err="1">
                <a:solidFill>
                  <a:schemeClr val="bg1">
                    <a:lumMod val="50000"/>
                  </a:schemeClr>
                </a:solidFill>
                <a:cs typeface="+mn-cs"/>
              </a:rPr>
              <a:t>sezonlarında</a:t>
            </a:r>
            <a:r>
              <a:rPr lang="en-US" sz="600" dirty="0">
                <a:solidFill>
                  <a:schemeClr val="bg1">
                    <a:lumMod val="50000"/>
                  </a:schemeClr>
                </a:solidFill>
                <a:cs typeface="+mn-cs"/>
              </a:rPr>
              <a:t> </a:t>
            </a:r>
            <a:r>
              <a:rPr lang="en-US" sz="600" dirty="0" err="1">
                <a:solidFill>
                  <a:schemeClr val="bg1">
                    <a:lumMod val="50000"/>
                  </a:schemeClr>
                </a:solidFill>
                <a:cs typeface="+mn-cs"/>
              </a:rPr>
              <a:t>laboratuvar</a:t>
            </a:r>
            <a:r>
              <a:rPr lang="en-US" sz="600" dirty="0">
                <a:solidFill>
                  <a:schemeClr val="bg1">
                    <a:lumMod val="50000"/>
                  </a:schemeClr>
                </a:solidFill>
                <a:cs typeface="+mn-cs"/>
              </a:rPr>
              <a:t> </a:t>
            </a:r>
            <a:r>
              <a:rPr lang="en-US" sz="600" dirty="0" err="1">
                <a:solidFill>
                  <a:schemeClr val="bg1">
                    <a:lumMod val="50000"/>
                  </a:schemeClr>
                </a:solidFill>
                <a:cs typeface="+mn-cs"/>
              </a:rPr>
              <a:t>tarafından</a:t>
            </a:r>
            <a:r>
              <a:rPr lang="en-US" sz="600" dirty="0">
                <a:solidFill>
                  <a:schemeClr val="bg1">
                    <a:lumMod val="50000"/>
                  </a:schemeClr>
                </a:solidFill>
                <a:cs typeface="+mn-cs"/>
              </a:rPr>
              <a:t> </a:t>
            </a:r>
            <a:r>
              <a:rPr lang="en-US" sz="600" dirty="0" err="1">
                <a:solidFill>
                  <a:schemeClr val="bg1">
                    <a:lumMod val="50000"/>
                  </a:schemeClr>
                </a:solidFill>
                <a:cs typeface="+mn-cs"/>
              </a:rPr>
              <a:t>doğrulanmış</a:t>
            </a:r>
            <a:r>
              <a:rPr lang="en-US" sz="600" dirty="0">
                <a:solidFill>
                  <a:schemeClr val="bg1">
                    <a:lumMod val="50000"/>
                  </a:schemeClr>
                </a:solidFill>
                <a:cs typeface="+mn-cs"/>
              </a:rPr>
              <a:t> RSV </a:t>
            </a:r>
            <a:r>
              <a:rPr lang="en-US" sz="600" dirty="0" err="1">
                <a:solidFill>
                  <a:schemeClr val="bg1">
                    <a:lumMod val="50000"/>
                  </a:schemeClr>
                </a:solidFill>
                <a:cs typeface="+mn-cs"/>
              </a:rPr>
              <a:t>hastaneye</a:t>
            </a:r>
            <a:r>
              <a:rPr lang="en-US" sz="600" dirty="0">
                <a:solidFill>
                  <a:schemeClr val="bg1">
                    <a:lumMod val="50000"/>
                  </a:schemeClr>
                </a:solidFill>
                <a:cs typeface="+mn-cs"/>
              </a:rPr>
              <a:t> </a:t>
            </a:r>
            <a:r>
              <a:rPr lang="en-US" sz="600" dirty="0" err="1">
                <a:solidFill>
                  <a:schemeClr val="bg1">
                    <a:lumMod val="50000"/>
                  </a:schemeClr>
                </a:solidFill>
                <a:cs typeface="+mn-cs"/>
              </a:rPr>
              <a:t>yatışları</a:t>
            </a:r>
            <a:r>
              <a:rPr lang="en-US" sz="600" dirty="0">
                <a:solidFill>
                  <a:schemeClr val="bg1">
                    <a:lumMod val="50000"/>
                  </a:schemeClr>
                </a:solidFill>
                <a:cs typeface="+mn-cs"/>
              </a:rPr>
              <a:t> </a:t>
            </a:r>
            <a:r>
              <a:rPr lang="en-US" sz="600" dirty="0" err="1">
                <a:solidFill>
                  <a:schemeClr val="bg1">
                    <a:lumMod val="50000"/>
                  </a:schemeClr>
                </a:solidFill>
                <a:cs typeface="+mn-cs"/>
              </a:rPr>
              <a:t>olan</a:t>
            </a:r>
            <a:r>
              <a:rPr lang="en-US" sz="600" dirty="0">
                <a:solidFill>
                  <a:schemeClr val="bg1">
                    <a:lumMod val="50000"/>
                  </a:schemeClr>
                </a:solidFill>
                <a:cs typeface="+mn-cs"/>
              </a:rPr>
              <a:t> </a:t>
            </a:r>
            <a:r>
              <a:rPr lang="en-US" sz="600" dirty="0" err="1">
                <a:solidFill>
                  <a:schemeClr val="bg1">
                    <a:lumMod val="50000"/>
                  </a:schemeClr>
                </a:solidFill>
                <a:cs typeface="+mn-cs"/>
              </a:rPr>
              <a:t>tüm</a:t>
            </a:r>
            <a:r>
              <a:rPr lang="en-US" sz="600" dirty="0">
                <a:solidFill>
                  <a:schemeClr val="bg1">
                    <a:lumMod val="50000"/>
                  </a:schemeClr>
                </a:solidFill>
                <a:cs typeface="+mn-cs"/>
              </a:rPr>
              <a:t> </a:t>
            </a:r>
            <a:r>
              <a:rPr lang="en-US" sz="600" dirty="0" err="1">
                <a:solidFill>
                  <a:schemeClr val="bg1">
                    <a:lumMod val="50000"/>
                  </a:schemeClr>
                </a:solidFill>
                <a:cs typeface="+mn-cs"/>
              </a:rPr>
              <a:t>hastalar</a:t>
            </a:r>
            <a:r>
              <a:rPr lang="en-US" sz="600" dirty="0">
                <a:solidFill>
                  <a:schemeClr val="bg1">
                    <a:lumMod val="50000"/>
                  </a:schemeClr>
                </a:solidFill>
                <a:cs typeface="+mn-cs"/>
              </a:rPr>
              <a:t> </a:t>
            </a:r>
            <a:r>
              <a:rPr lang="en-US" sz="600" dirty="0" err="1">
                <a:solidFill>
                  <a:schemeClr val="bg1">
                    <a:lumMod val="50000"/>
                  </a:schemeClr>
                </a:solidFill>
                <a:cs typeface="+mn-cs"/>
              </a:rPr>
              <a:t>ve</a:t>
            </a:r>
            <a:r>
              <a:rPr lang="en-US" sz="600" dirty="0">
                <a:solidFill>
                  <a:schemeClr val="bg1">
                    <a:lumMod val="50000"/>
                  </a:schemeClr>
                </a:solidFill>
                <a:cs typeface="+mn-cs"/>
              </a:rPr>
              <a:t> 2022-23 </a:t>
            </a:r>
            <a:r>
              <a:rPr lang="en-US" sz="600" dirty="0" err="1">
                <a:solidFill>
                  <a:schemeClr val="bg1">
                    <a:lumMod val="50000"/>
                  </a:schemeClr>
                </a:solidFill>
                <a:cs typeface="+mn-cs"/>
              </a:rPr>
              <a:t>sezonunda</a:t>
            </a:r>
            <a:r>
              <a:rPr lang="en-US" sz="600" dirty="0">
                <a:solidFill>
                  <a:schemeClr val="bg1">
                    <a:lumMod val="50000"/>
                  </a:schemeClr>
                </a:solidFill>
                <a:cs typeface="+mn-cs"/>
              </a:rPr>
              <a:t> </a:t>
            </a:r>
            <a:r>
              <a:rPr lang="en-US" sz="600" dirty="0" err="1">
                <a:solidFill>
                  <a:schemeClr val="bg1">
                    <a:lumMod val="50000"/>
                  </a:schemeClr>
                </a:solidFill>
                <a:cs typeface="+mn-cs"/>
              </a:rPr>
              <a:t>laboratuvar</a:t>
            </a:r>
            <a:r>
              <a:rPr lang="en-US" sz="600" dirty="0">
                <a:solidFill>
                  <a:schemeClr val="bg1">
                    <a:lumMod val="50000"/>
                  </a:schemeClr>
                </a:solidFill>
                <a:cs typeface="+mn-cs"/>
              </a:rPr>
              <a:t> </a:t>
            </a:r>
            <a:r>
              <a:rPr lang="en-US" sz="600" dirty="0" err="1">
                <a:solidFill>
                  <a:schemeClr val="bg1">
                    <a:lumMod val="50000"/>
                  </a:schemeClr>
                </a:solidFill>
                <a:cs typeface="+mn-cs"/>
              </a:rPr>
              <a:t>tarafından</a:t>
            </a:r>
            <a:r>
              <a:rPr lang="en-US" sz="600" dirty="0">
                <a:solidFill>
                  <a:schemeClr val="bg1">
                    <a:lumMod val="50000"/>
                  </a:schemeClr>
                </a:solidFill>
                <a:cs typeface="+mn-cs"/>
              </a:rPr>
              <a:t> </a:t>
            </a:r>
            <a:r>
              <a:rPr lang="en-US" sz="600" dirty="0" err="1">
                <a:solidFill>
                  <a:schemeClr val="bg1">
                    <a:lumMod val="50000"/>
                  </a:schemeClr>
                </a:solidFill>
                <a:cs typeface="+mn-cs"/>
              </a:rPr>
              <a:t>doğrulanmış</a:t>
            </a:r>
            <a:r>
              <a:rPr lang="en-US" sz="600" dirty="0">
                <a:solidFill>
                  <a:schemeClr val="bg1">
                    <a:lumMod val="50000"/>
                  </a:schemeClr>
                </a:solidFill>
                <a:cs typeface="+mn-cs"/>
              </a:rPr>
              <a:t> RSV </a:t>
            </a:r>
            <a:r>
              <a:rPr lang="en-US" sz="600" dirty="0" err="1">
                <a:solidFill>
                  <a:schemeClr val="bg1">
                    <a:lumMod val="50000"/>
                  </a:schemeClr>
                </a:solidFill>
                <a:cs typeface="+mn-cs"/>
              </a:rPr>
              <a:t>hastaneye</a:t>
            </a:r>
            <a:r>
              <a:rPr lang="en-US" sz="600" dirty="0">
                <a:solidFill>
                  <a:schemeClr val="bg1">
                    <a:lumMod val="50000"/>
                  </a:schemeClr>
                </a:solidFill>
                <a:cs typeface="+mn-cs"/>
              </a:rPr>
              <a:t> </a:t>
            </a:r>
            <a:r>
              <a:rPr lang="en-US" sz="600" dirty="0" err="1">
                <a:solidFill>
                  <a:schemeClr val="bg1">
                    <a:lumMod val="50000"/>
                  </a:schemeClr>
                </a:solidFill>
                <a:cs typeface="+mn-cs"/>
              </a:rPr>
              <a:t>yatışları</a:t>
            </a:r>
            <a:r>
              <a:rPr lang="en-US" sz="600" dirty="0">
                <a:solidFill>
                  <a:schemeClr val="bg1">
                    <a:lumMod val="50000"/>
                  </a:schemeClr>
                </a:solidFill>
                <a:cs typeface="+mn-cs"/>
              </a:rPr>
              <a:t> </a:t>
            </a:r>
            <a:r>
              <a:rPr lang="en-US" sz="600" dirty="0" err="1">
                <a:solidFill>
                  <a:schemeClr val="bg1">
                    <a:lumMod val="50000"/>
                  </a:schemeClr>
                </a:solidFill>
                <a:cs typeface="+mn-cs"/>
              </a:rPr>
              <a:t>olan</a:t>
            </a:r>
            <a:r>
              <a:rPr lang="en-US" sz="600" dirty="0">
                <a:solidFill>
                  <a:schemeClr val="bg1">
                    <a:lumMod val="50000"/>
                  </a:schemeClr>
                </a:solidFill>
                <a:cs typeface="+mn-cs"/>
              </a:rPr>
              <a:t> </a:t>
            </a:r>
            <a:r>
              <a:rPr lang="en-US" sz="600" dirty="0" err="1">
                <a:solidFill>
                  <a:schemeClr val="bg1">
                    <a:lumMod val="50000"/>
                  </a:schemeClr>
                </a:solidFill>
                <a:cs typeface="+mn-cs"/>
              </a:rPr>
              <a:t>hastaların</a:t>
            </a:r>
            <a:r>
              <a:rPr lang="en-US" sz="600" dirty="0">
                <a:solidFill>
                  <a:schemeClr val="bg1">
                    <a:lumMod val="50000"/>
                  </a:schemeClr>
                </a:solidFill>
                <a:cs typeface="+mn-cs"/>
              </a:rPr>
              <a:t> </a:t>
            </a:r>
            <a:r>
              <a:rPr lang="en-US" sz="600" dirty="0" err="1">
                <a:solidFill>
                  <a:schemeClr val="bg1">
                    <a:lumMod val="50000"/>
                  </a:schemeClr>
                </a:solidFill>
                <a:cs typeface="+mn-cs"/>
              </a:rPr>
              <a:t>yaşa</a:t>
            </a:r>
            <a:r>
              <a:rPr lang="en-US" sz="600" dirty="0">
                <a:solidFill>
                  <a:schemeClr val="bg1">
                    <a:lumMod val="50000"/>
                  </a:schemeClr>
                </a:solidFill>
                <a:cs typeface="+mn-cs"/>
              </a:rPr>
              <a:t> </a:t>
            </a:r>
            <a:r>
              <a:rPr lang="en-US" sz="600" dirty="0" err="1">
                <a:solidFill>
                  <a:schemeClr val="bg1">
                    <a:lumMod val="50000"/>
                  </a:schemeClr>
                </a:solidFill>
                <a:cs typeface="+mn-cs"/>
              </a:rPr>
              <a:t>ve</a:t>
            </a:r>
            <a:r>
              <a:rPr lang="en-US" sz="600" dirty="0">
                <a:solidFill>
                  <a:schemeClr val="bg1">
                    <a:lumMod val="50000"/>
                  </a:schemeClr>
                </a:solidFill>
                <a:cs typeface="+mn-cs"/>
              </a:rPr>
              <a:t> </a:t>
            </a:r>
            <a:r>
              <a:rPr lang="en-US" sz="600" dirty="0" err="1">
                <a:solidFill>
                  <a:schemeClr val="bg1">
                    <a:lumMod val="50000"/>
                  </a:schemeClr>
                </a:solidFill>
                <a:cs typeface="+mn-cs"/>
              </a:rPr>
              <a:t>bölgeye</a:t>
            </a:r>
            <a:r>
              <a:rPr lang="en-US" sz="600" dirty="0">
                <a:solidFill>
                  <a:schemeClr val="bg1">
                    <a:lumMod val="50000"/>
                  </a:schemeClr>
                </a:solidFill>
                <a:cs typeface="+mn-cs"/>
              </a:rPr>
              <a:t> </a:t>
            </a:r>
            <a:r>
              <a:rPr lang="en-US" sz="600" dirty="0" err="1">
                <a:solidFill>
                  <a:schemeClr val="bg1">
                    <a:lumMod val="50000"/>
                  </a:schemeClr>
                </a:solidFill>
                <a:cs typeface="+mn-cs"/>
              </a:rPr>
              <a:t>göre</a:t>
            </a:r>
            <a:r>
              <a:rPr lang="en-US" sz="600" dirty="0">
                <a:solidFill>
                  <a:schemeClr val="bg1">
                    <a:lumMod val="50000"/>
                  </a:schemeClr>
                </a:solidFill>
                <a:cs typeface="+mn-cs"/>
              </a:rPr>
              <a:t> </a:t>
            </a:r>
            <a:r>
              <a:rPr lang="en-US" sz="600" dirty="0" err="1">
                <a:solidFill>
                  <a:schemeClr val="bg1">
                    <a:lumMod val="50000"/>
                  </a:schemeClr>
                </a:solidFill>
                <a:cs typeface="+mn-cs"/>
              </a:rPr>
              <a:t>tabakalandırılmış</a:t>
            </a:r>
            <a:r>
              <a:rPr lang="en-US" sz="600" dirty="0">
                <a:solidFill>
                  <a:schemeClr val="bg1">
                    <a:lumMod val="50000"/>
                  </a:schemeClr>
                </a:solidFill>
                <a:cs typeface="+mn-cs"/>
              </a:rPr>
              <a:t> </a:t>
            </a:r>
            <a:r>
              <a:rPr lang="en-US" sz="600" dirty="0" err="1">
                <a:solidFill>
                  <a:schemeClr val="bg1">
                    <a:lumMod val="50000"/>
                  </a:schemeClr>
                </a:solidFill>
                <a:cs typeface="+mn-cs"/>
              </a:rPr>
              <a:t>rastgele</a:t>
            </a:r>
            <a:r>
              <a:rPr lang="en-US" sz="600" dirty="0">
                <a:solidFill>
                  <a:schemeClr val="bg1">
                    <a:lumMod val="50000"/>
                  </a:schemeClr>
                </a:solidFill>
                <a:cs typeface="+mn-cs"/>
              </a:rPr>
              <a:t> </a:t>
            </a:r>
            <a:r>
              <a:rPr lang="en-US" sz="600" dirty="0" err="1">
                <a:solidFill>
                  <a:schemeClr val="bg1">
                    <a:lumMod val="50000"/>
                  </a:schemeClr>
                </a:solidFill>
                <a:cs typeface="+mn-cs"/>
              </a:rPr>
              <a:t>bir</a:t>
            </a:r>
            <a:r>
              <a:rPr lang="en-US" sz="600" dirty="0">
                <a:solidFill>
                  <a:schemeClr val="bg1">
                    <a:lumMod val="50000"/>
                  </a:schemeClr>
                </a:solidFill>
                <a:cs typeface="+mn-cs"/>
              </a:rPr>
              <a:t> </a:t>
            </a:r>
            <a:r>
              <a:rPr lang="en-US" sz="600" dirty="0" err="1">
                <a:solidFill>
                  <a:schemeClr val="bg1">
                    <a:lumMod val="50000"/>
                  </a:schemeClr>
                </a:solidFill>
                <a:cs typeface="+mn-cs"/>
              </a:rPr>
              <a:t>örneği</a:t>
            </a:r>
            <a:r>
              <a:rPr lang="en-US" sz="600" dirty="0">
                <a:solidFill>
                  <a:schemeClr val="bg1">
                    <a:lumMod val="50000"/>
                  </a:schemeClr>
                </a:solidFill>
                <a:cs typeface="+mn-cs"/>
              </a:rPr>
              <a:t> </a:t>
            </a:r>
            <a:r>
              <a:rPr lang="en-US" sz="600" dirty="0" err="1">
                <a:solidFill>
                  <a:schemeClr val="bg1">
                    <a:lumMod val="50000"/>
                  </a:schemeClr>
                </a:solidFill>
                <a:cs typeface="+mn-cs"/>
              </a:rPr>
              <a:t>için</a:t>
            </a:r>
            <a:r>
              <a:rPr lang="en-US" sz="600" dirty="0">
                <a:solidFill>
                  <a:schemeClr val="bg1">
                    <a:lumMod val="50000"/>
                  </a:schemeClr>
                </a:solidFill>
                <a:cs typeface="+mn-cs"/>
              </a:rPr>
              <a:t> </a:t>
            </a:r>
            <a:r>
              <a:rPr lang="en-US" sz="600" dirty="0" err="1">
                <a:solidFill>
                  <a:schemeClr val="bg1">
                    <a:lumMod val="50000"/>
                  </a:schemeClr>
                </a:solidFill>
                <a:cs typeface="+mn-cs"/>
              </a:rPr>
              <a:t>toplanmıştır</a:t>
            </a:r>
            <a:r>
              <a:rPr lang="en-US" sz="600" dirty="0">
                <a:solidFill>
                  <a:schemeClr val="bg1">
                    <a:lumMod val="50000"/>
                  </a:schemeClr>
                </a:solidFill>
                <a:cs typeface="+mn-cs"/>
              </a:rPr>
              <a:t>. </a:t>
            </a:r>
            <a:r>
              <a:rPr lang="en-US" sz="600" dirty="0" err="1">
                <a:solidFill>
                  <a:schemeClr val="bg1">
                    <a:lumMod val="50000"/>
                  </a:schemeClr>
                </a:solidFill>
                <a:cs typeface="+mn-cs"/>
              </a:rPr>
              <a:t>Gösterilen</a:t>
            </a:r>
            <a:r>
              <a:rPr lang="en-US" sz="600" dirty="0">
                <a:solidFill>
                  <a:schemeClr val="bg1">
                    <a:lumMod val="50000"/>
                  </a:schemeClr>
                </a:solidFill>
                <a:cs typeface="+mn-cs"/>
              </a:rPr>
              <a:t> </a:t>
            </a:r>
            <a:r>
              <a:rPr lang="en-US" sz="600" dirty="0" err="1">
                <a:solidFill>
                  <a:schemeClr val="bg1">
                    <a:lumMod val="50000"/>
                  </a:schemeClr>
                </a:solidFill>
                <a:cs typeface="+mn-cs"/>
              </a:rPr>
              <a:t>yüzdeler</a:t>
            </a:r>
            <a:r>
              <a:rPr lang="en-US" sz="600" dirty="0">
                <a:solidFill>
                  <a:schemeClr val="bg1">
                    <a:lumMod val="50000"/>
                  </a:schemeClr>
                </a:solidFill>
                <a:cs typeface="+mn-cs"/>
              </a:rPr>
              <a:t> </a:t>
            </a:r>
            <a:r>
              <a:rPr lang="en-US" sz="600" dirty="0" err="1">
                <a:solidFill>
                  <a:schemeClr val="bg1">
                    <a:lumMod val="50000"/>
                  </a:schemeClr>
                </a:solidFill>
                <a:cs typeface="+mn-cs"/>
              </a:rPr>
              <a:t>seçilme</a:t>
            </a:r>
            <a:r>
              <a:rPr lang="en-US" sz="600" dirty="0">
                <a:solidFill>
                  <a:schemeClr val="bg1">
                    <a:lumMod val="50000"/>
                  </a:schemeClr>
                </a:solidFill>
                <a:cs typeface="+mn-cs"/>
              </a:rPr>
              <a:t> </a:t>
            </a:r>
            <a:r>
              <a:rPr lang="en-US" sz="600" dirty="0" err="1">
                <a:solidFill>
                  <a:schemeClr val="bg1">
                    <a:lumMod val="50000"/>
                  </a:schemeClr>
                </a:solidFill>
                <a:cs typeface="+mn-cs"/>
              </a:rPr>
              <a:t>olasılığı</a:t>
            </a:r>
            <a:r>
              <a:rPr lang="en-US" sz="600" dirty="0">
                <a:solidFill>
                  <a:schemeClr val="bg1">
                    <a:lumMod val="50000"/>
                  </a:schemeClr>
                </a:solidFill>
                <a:cs typeface="+mn-cs"/>
              </a:rPr>
              <a:t> </a:t>
            </a:r>
            <a:r>
              <a:rPr lang="en-US" sz="600" dirty="0" err="1">
                <a:solidFill>
                  <a:schemeClr val="bg1">
                    <a:lumMod val="50000"/>
                  </a:schemeClr>
                </a:solidFill>
                <a:cs typeface="+mn-cs"/>
              </a:rPr>
              <a:t>için</a:t>
            </a:r>
            <a:r>
              <a:rPr lang="en-US" sz="600" dirty="0">
                <a:solidFill>
                  <a:schemeClr val="bg1">
                    <a:lumMod val="50000"/>
                  </a:schemeClr>
                </a:solidFill>
                <a:cs typeface="+mn-cs"/>
              </a:rPr>
              <a:t> </a:t>
            </a:r>
            <a:r>
              <a:rPr lang="en-US" sz="600" dirty="0" err="1">
                <a:solidFill>
                  <a:schemeClr val="bg1">
                    <a:lumMod val="50000"/>
                  </a:schemeClr>
                </a:solidFill>
                <a:cs typeface="+mn-cs"/>
              </a:rPr>
              <a:t>ağırlıklandırılmıştır</a:t>
            </a:r>
            <a:r>
              <a:rPr lang="en-US" sz="600" dirty="0">
                <a:solidFill>
                  <a:schemeClr val="bg1">
                    <a:lumMod val="50000"/>
                  </a:schemeClr>
                </a:solidFill>
                <a:cs typeface="+mn-cs"/>
              </a:rPr>
              <a:t>.</a:t>
            </a:r>
          </a:p>
          <a:p>
            <a:pPr marL="0" indent="0">
              <a:lnSpc>
                <a:spcPct val="120000"/>
              </a:lnSpc>
              <a:spcBef>
                <a:spcPts val="0"/>
              </a:spcBef>
              <a:buNone/>
              <a:tabLst>
                <a:tab pos="174625" algn="r"/>
              </a:tabLst>
            </a:pPr>
            <a:r>
              <a:rPr lang="en-US" sz="600" dirty="0">
                <a:solidFill>
                  <a:schemeClr val="bg1">
                    <a:lumMod val="50000"/>
                  </a:schemeClr>
                </a:solidFill>
                <a:cs typeface="+mn-cs"/>
              </a:rPr>
              <a:t>KOAH=</a:t>
            </a:r>
            <a:r>
              <a:rPr lang="en-US" sz="600" dirty="0" err="1">
                <a:solidFill>
                  <a:schemeClr val="bg1">
                    <a:lumMod val="50000"/>
                  </a:schemeClr>
                </a:solidFill>
                <a:cs typeface="+mn-cs"/>
              </a:rPr>
              <a:t>kronik</a:t>
            </a:r>
            <a:r>
              <a:rPr lang="en-US" sz="600" dirty="0">
                <a:solidFill>
                  <a:schemeClr val="bg1">
                    <a:lumMod val="50000"/>
                  </a:schemeClr>
                </a:solidFill>
                <a:cs typeface="+mn-cs"/>
              </a:rPr>
              <a:t> </a:t>
            </a:r>
            <a:r>
              <a:rPr lang="en-US" sz="600" dirty="0" err="1">
                <a:solidFill>
                  <a:schemeClr val="bg1">
                    <a:lumMod val="50000"/>
                  </a:schemeClr>
                </a:solidFill>
                <a:cs typeface="+mn-cs"/>
              </a:rPr>
              <a:t>obstrüktif</a:t>
            </a:r>
            <a:r>
              <a:rPr lang="en-US" sz="600" dirty="0">
                <a:solidFill>
                  <a:schemeClr val="bg1">
                    <a:lumMod val="50000"/>
                  </a:schemeClr>
                </a:solidFill>
                <a:cs typeface="+mn-cs"/>
              </a:rPr>
              <a:t> </a:t>
            </a:r>
            <a:r>
              <a:rPr lang="en-US" sz="600" dirty="0" err="1">
                <a:solidFill>
                  <a:schemeClr val="bg1">
                    <a:lumMod val="50000"/>
                  </a:schemeClr>
                </a:solidFill>
                <a:cs typeface="+mn-cs"/>
              </a:rPr>
              <a:t>akciğer</a:t>
            </a:r>
            <a:r>
              <a:rPr lang="en-US" sz="600" dirty="0">
                <a:solidFill>
                  <a:schemeClr val="bg1">
                    <a:lumMod val="50000"/>
                  </a:schemeClr>
                </a:solidFill>
                <a:cs typeface="+mn-cs"/>
              </a:rPr>
              <a:t> </a:t>
            </a:r>
            <a:r>
              <a:rPr lang="en-US" sz="600" dirty="0" err="1">
                <a:solidFill>
                  <a:schemeClr val="bg1">
                    <a:lumMod val="50000"/>
                  </a:schemeClr>
                </a:solidFill>
                <a:cs typeface="+mn-cs"/>
              </a:rPr>
              <a:t>hastalığı</a:t>
            </a:r>
            <a:r>
              <a:rPr lang="en-US" sz="600" dirty="0">
                <a:solidFill>
                  <a:schemeClr val="bg1">
                    <a:lumMod val="50000"/>
                  </a:schemeClr>
                </a:solidFill>
                <a:cs typeface="+mn-cs"/>
              </a:rPr>
              <a:t>. </a:t>
            </a:r>
            <a:r>
              <a:rPr lang="en-US" sz="600" dirty="0">
                <a:solidFill>
                  <a:schemeClr val="bg1">
                    <a:lumMod val="50000"/>
                  </a:schemeClr>
                </a:solidFill>
              </a:rPr>
              <a:t>Patton ME. Presented at ACIP Meeting, October 25, 2023. </a:t>
            </a:r>
            <a:r>
              <a:rPr lang="en-US" sz="600" dirty="0">
                <a:solidFill>
                  <a:schemeClr val="bg1">
                    <a:lumMod val="50000"/>
                  </a:schemeClr>
                </a:solidFill>
                <a:cs typeface="+mn-cs"/>
                <a:hlinkClick r:id="rId3">
                  <a:extLst>
                    <a:ext uri="{A12FA001-AC4F-418D-AE19-62706E023703}">
                      <ahyp:hlinkClr xmlns:ahyp="http://schemas.microsoft.com/office/drawing/2018/hyperlinkcolor" val="tx"/>
                    </a:ext>
                  </a:extLst>
                </a:hlinkClick>
              </a:rPr>
              <a:t>https://www.cdc.gov/acip/downloads/slides-2023-10-25-26/03-Patton-Adult-RSV-508.pdf</a:t>
            </a:r>
            <a:r>
              <a:rPr lang="en-US" sz="600" dirty="0">
                <a:solidFill>
                  <a:schemeClr val="bg1">
                    <a:lumMod val="50000"/>
                  </a:schemeClr>
                </a:solidFill>
                <a:cs typeface="+mn-cs"/>
              </a:rPr>
              <a:t>. </a:t>
            </a:r>
            <a:r>
              <a:rPr lang="en-US" sz="600" dirty="0">
                <a:solidFill>
                  <a:schemeClr val="bg1">
                    <a:lumMod val="50000"/>
                  </a:schemeClr>
                </a:solidFill>
              </a:rPr>
              <a:t>Accessed January 29, 2025. </a:t>
            </a:r>
            <a:endParaRPr lang="en-US" sz="600" dirty="0">
              <a:solidFill>
                <a:schemeClr val="bg1">
                  <a:lumMod val="50000"/>
                </a:schemeClr>
              </a:solidFill>
              <a:cs typeface="+mn-cs"/>
            </a:endParaRPr>
          </a:p>
        </p:txBody>
      </p:sp>
      <p:grpSp>
        <p:nvGrpSpPr>
          <p:cNvPr id="17" name="Group 16">
            <a:extLst>
              <a:ext uri="{FF2B5EF4-FFF2-40B4-BE49-F238E27FC236}">
                <a16:creationId xmlns:a16="http://schemas.microsoft.com/office/drawing/2014/main" id="{63410DE8-BF5A-9F96-063C-94022480239D}"/>
              </a:ext>
            </a:extLst>
          </p:cNvPr>
          <p:cNvGrpSpPr/>
          <p:nvPr/>
        </p:nvGrpSpPr>
        <p:grpSpPr>
          <a:xfrm>
            <a:off x="142875" y="1957356"/>
            <a:ext cx="11410920" cy="4025589"/>
            <a:chOff x="123825" y="1957356"/>
            <a:chExt cx="11410920" cy="4025589"/>
          </a:xfrm>
        </p:grpSpPr>
        <p:sp>
          <p:nvSpPr>
            <p:cNvPr id="15" name="TextBox 14">
              <a:extLst>
                <a:ext uri="{FF2B5EF4-FFF2-40B4-BE49-F238E27FC236}">
                  <a16:creationId xmlns:a16="http://schemas.microsoft.com/office/drawing/2014/main" id="{A4C7566C-8E0E-9406-603F-5C3BF276E8EA}"/>
                </a:ext>
              </a:extLst>
            </p:cNvPr>
            <p:cNvSpPr txBox="1"/>
            <p:nvPr/>
          </p:nvSpPr>
          <p:spPr>
            <a:xfrm>
              <a:off x="3025789" y="5814811"/>
              <a:ext cx="2208669" cy="150802"/>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95000"/>
                </a:lnSpc>
                <a:spcBef>
                  <a:spcPts val="600"/>
                </a:spcBef>
                <a:spcAft>
                  <a:spcPts val="0"/>
                </a:spcAft>
                <a:buClr>
                  <a:srgbClr val="000000"/>
                </a:buClr>
                <a:buSzTx/>
                <a:buFontTx/>
                <a:buNone/>
                <a:tabLst/>
                <a:defRPr/>
              </a:pPr>
              <a:r>
                <a:rPr kumimoji="0" lang="en-US" sz="1200" b="1" i="0" u="none" strike="noStrike" kern="1200" cap="none" spc="0" normalizeH="0" baseline="0" noProof="0" dirty="0" err="1">
                  <a:ln>
                    <a:noFill/>
                  </a:ln>
                  <a:solidFill>
                    <a:srgbClr val="000000"/>
                  </a:solidFill>
                  <a:effectLst/>
                  <a:uLnTx/>
                  <a:uFillTx/>
                  <a:latin typeface="Pfizer Diatype Office"/>
                  <a:ea typeface="+mn-ea"/>
                  <a:cs typeface="+mn-cs"/>
                </a:rPr>
                <a:t>Yüzde</a:t>
              </a:r>
              <a:endParaRPr kumimoji="0" lang="en-US" sz="1200" b="1" i="0" u="none" strike="noStrike" kern="1200" cap="none" spc="0" normalizeH="0" baseline="0" noProof="0" dirty="0">
                <a:ln>
                  <a:noFill/>
                </a:ln>
                <a:solidFill>
                  <a:srgbClr val="000000"/>
                </a:solidFill>
                <a:effectLst/>
                <a:uLnTx/>
                <a:uFillTx/>
                <a:latin typeface="Pfizer Diatype Office"/>
                <a:ea typeface="+mn-ea"/>
                <a:cs typeface="+mn-cs"/>
              </a:endParaRPr>
            </a:p>
          </p:txBody>
        </p:sp>
        <p:sp>
          <p:nvSpPr>
            <p:cNvPr id="18" name="TextBox 17">
              <a:extLst>
                <a:ext uri="{FF2B5EF4-FFF2-40B4-BE49-F238E27FC236}">
                  <a16:creationId xmlns:a16="http://schemas.microsoft.com/office/drawing/2014/main" id="{D997A21E-8832-F2F3-90F4-C8D2F431B094}"/>
                </a:ext>
              </a:extLst>
            </p:cNvPr>
            <p:cNvSpPr txBox="1"/>
            <p:nvPr/>
          </p:nvSpPr>
          <p:spPr>
            <a:xfrm>
              <a:off x="6063495" y="5818210"/>
              <a:ext cx="2208669" cy="150802"/>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95000"/>
                </a:lnSpc>
                <a:spcBef>
                  <a:spcPts val="600"/>
                </a:spcBef>
                <a:spcAft>
                  <a:spcPts val="0"/>
                </a:spcAft>
                <a:buClr>
                  <a:srgbClr val="000000"/>
                </a:buClr>
                <a:buSzTx/>
                <a:buFontTx/>
                <a:buNone/>
                <a:tabLst/>
                <a:defRPr/>
              </a:pPr>
              <a:r>
                <a:rPr kumimoji="0" lang="en-US" sz="1200" b="1" i="0" u="none" strike="noStrike" kern="1200" cap="none" spc="0" normalizeH="0" baseline="0" noProof="0" dirty="0" err="1">
                  <a:ln>
                    <a:noFill/>
                  </a:ln>
                  <a:solidFill>
                    <a:srgbClr val="000000"/>
                  </a:solidFill>
                  <a:effectLst/>
                  <a:uLnTx/>
                  <a:uFillTx/>
                  <a:latin typeface="Pfizer Diatype Office"/>
                  <a:ea typeface="+mn-ea"/>
                  <a:cs typeface="+mn-cs"/>
                </a:rPr>
                <a:t>Yüzde</a:t>
              </a:r>
              <a:endParaRPr kumimoji="0" lang="en-US" sz="1200" b="1" i="0" u="none" strike="noStrike" kern="1200" cap="none" spc="0" normalizeH="0" baseline="0" noProof="0" dirty="0">
                <a:ln>
                  <a:noFill/>
                </a:ln>
                <a:solidFill>
                  <a:srgbClr val="000000"/>
                </a:solidFill>
                <a:effectLst/>
                <a:uLnTx/>
                <a:uFillTx/>
                <a:latin typeface="Pfizer Diatype Office"/>
                <a:ea typeface="+mn-ea"/>
                <a:cs typeface="+mn-cs"/>
              </a:endParaRPr>
            </a:p>
          </p:txBody>
        </p:sp>
        <p:sp>
          <p:nvSpPr>
            <p:cNvPr id="19" name="TextBox 18">
              <a:extLst>
                <a:ext uri="{FF2B5EF4-FFF2-40B4-BE49-F238E27FC236}">
                  <a16:creationId xmlns:a16="http://schemas.microsoft.com/office/drawing/2014/main" id="{C7EAAD05-5C3F-E927-75CC-48CD036E831C}"/>
                </a:ext>
              </a:extLst>
            </p:cNvPr>
            <p:cNvSpPr txBox="1"/>
            <p:nvPr/>
          </p:nvSpPr>
          <p:spPr>
            <a:xfrm>
              <a:off x="9101201" y="5832143"/>
              <a:ext cx="2208669" cy="150802"/>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95000"/>
                </a:lnSpc>
                <a:spcBef>
                  <a:spcPts val="600"/>
                </a:spcBef>
                <a:spcAft>
                  <a:spcPts val="0"/>
                </a:spcAft>
                <a:buClr>
                  <a:srgbClr val="000000"/>
                </a:buClr>
                <a:buSzTx/>
                <a:buFontTx/>
                <a:buNone/>
                <a:tabLst/>
                <a:defRPr/>
              </a:pPr>
              <a:r>
                <a:rPr kumimoji="0" lang="en-US" sz="1200" b="1" i="0" u="none" strike="noStrike" kern="1200" cap="none" spc="0" normalizeH="0" baseline="0" noProof="0" dirty="0" err="1">
                  <a:ln>
                    <a:noFill/>
                  </a:ln>
                  <a:solidFill>
                    <a:srgbClr val="000000"/>
                  </a:solidFill>
                  <a:effectLst/>
                  <a:uLnTx/>
                  <a:uFillTx/>
                  <a:latin typeface="Pfizer Diatype Office"/>
                  <a:ea typeface="+mn-ea"/>
                  <a:cs typeface="+mn-cs"/>
                </a:rPr>
                <a:t>Yüzde</a:t>
              </a:r>
              <a:endParaRPr kumimoji="0" lang="en-US" sz="1200" b="1" i="0" u="none" strike="noStrike" kern="1200" cap="none" spc="0" normalizeH="0" baseline="0" noProof="0" dirty="0">
                <a:ln>
                  <a:noFill/>
                </a:ln>
                <a:solidFill>
                  <a:srgbClr val="000000"/>
                </a:solidFill>
                <a:effectLst/>
                <a:uLnTx/>
                <a:uFillTx/>
                <a:latin typeface="Pfizer Diatype Office"/>
                <a:ea typeface="+mn-ea"/>
                <a:cs typeface="+mn-cs"/>
              </a:endParaRPr>
            </a:p>
          </p:txBody>
        </p:sp>
        <p:sp>
          <p:nvSpPr>
            <p:cNvPr id="20" name="TextBox 19">
              <a:extLst>
                <a:ext uri="{FF2B5EF4-FFF2-40B4-BE49-F238E27FC236}">
                  <a16:creationId xmlns:a16="http://schemas.microsoft.com/office/drawing/2014/main" id="{55FFBC8F-EB30-0A0E-1824-D6B21694C07D}"/>
                </a:ext>
              </a:extLst>
            </p:cNvPr>
            <p:cNvSpPr txBox="1"/>
            <p:nvPr/>
          </p:nvSpPr>
          <p:spPr>
            <a:xfrm>
              <a:off x="3540721" y="1974318"/>
              <a:ext cx="1989136" cy="157617"/>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95000"/>
                </a:lnSpc>
                <a:spcBef>
                  <a:spcPts val="60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Pfizer Diatype Office"/>
                  <a:ea typeface="+mn-ea"/>
                  <a:cs typeface="+mn-cs"/>
                </a:rPr>
                <a:t>60-64 </a:t>
              </a:r>
              <a:r>
                <a:rPr kumimoji="0" lang="en-US" sz="1400" b="1" i="0" u="none" strike="noStrike" kern="1200" cap="none" spc="0" normalizeH="0" baseline="0" noProof="0" err="1">
                  <a:ln>
                    <a:noFill/>
                  </a:ln>
                  <a:solidFill>
                    <a:srgbClr val="000000"/>
                  </a:solidFill>
                  <a:effectLst/>
                  <a:uLnTx/>
                  <a:uFillTx/>
                  <a:latin typeface="Pfizer Diatype Office"/>
                  <a:ea typeface="+mn-ea"/>
                  <a:cs typeface="+mn-cs"/>
                </a:rPr>
                <a:t>yaş</a:t>
              </a:r>
              <a:endParaRPr kumimoji="0" lang="en-US" sz="1400" b="1"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23" name="TextBox 22">
              <a:extLst>
                <a:ext uri="{FF2B5EF4-FFF2-40B4-BE49-F238E27FC236}">
                  <a16:creationId xmlns:a16="http://schemas.microsoft.com/office/drawing/2014/main" id="{CB653F9B-DD06-656F-08A3-6707AB96C2B1}"/>
                </a:ext>
              </a:extLst>
            </p:cNvPr>
            <p:cNvSpPr txBox="1"/>
            <p:nvPr/>
          </p:nvSpPr>
          <p:spPr>
            <a:xfrm>
              <a:off x="6238031" y="1994735"/>
              <a:ext cx="2000101" cy="157617"/>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95000"/>
                </a:lnSpc>
                <a:spcBef>
                  <a:spcPts val="60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Pfizer Diatype Office"/>
                  <a:ea typeface="+mn-ea"/>
                  <a:cs typeface="+mn-cs"/>
                </a:rPr>
                <a:t>65-74 yaş</a:t>
              </a:r>
            </a:p>
          </p:txBody>
        </p:sp>
        <p:sp>
          <p:nvSpPr>
            <p:cNvPr id="24" name="TextBox 23">
              <a:extLst>
                <a:ext uri="{FF2B5EF4-FFF2-40B4-BE49-F238E27FC236}">
                  <a16:creationId xmlns:a16="http://schemas.microsoft.com/office/drawing/2014/main" id="{E1B82092-47BD-9D9E-C02B-978513281301}"/>
                </a:ext>
              </a:extLst>
            </p:cNvPr>
            <p:cNvSpPr txBox="1"/>
            <p:nvPr/>
          </p:nvSpPr>
          <p:spPr>
            <a:xfrm>
              <a:off x="9306782" y="1994735"/>
              <a:ext cx="1718257" cy="157617"/>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95000"/>
                </a:lnSpc>
                <a:spcBef>
                  <a:spcPts val="60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Pfizer Diatype Office"/>
                  <a:ea typeface="+mn-ea"/>
                  <a:cs typeface="+mn-cs"/>
                </a:rPr>
                <a:t>≥75 yıl</a:t>
              </a:r>
            </a:p>
          </p:txBody>
        </p:sp>
        <p:sp>
          <p:nvSpPr>
            <p:cNvPr id="8" name="Oval 7">
              <a:extLst>
                <a:ext uri="{FF2B5EF4-FFF2-40B4-BE49-F238E27FC236}">
                  <a16:creationId xmlns:a16="http://schemas.microsoft.com/office/drawing/2014/main" id="{83438E4B-98B7-B413-310F-F2513D88193A}"/>
                </a:ext>
              </a:extLst>
            </p:cNvPr>
            <p:cNvSpPr/>
            <p:nvPr/>
          </p:nvSpPr>
          <p:spPr bwMode="gray">
            <a:xfrm>
              <a:off x="10951694" y="2349087"/>
              <a:ext cx="259548" cy="145196"/>
            </a:xfrm>
            <a:prstGeom prst="ellipse">
              <a:avLst/>
            </a:prstGeom>
            <a:solidFill>
              <a:schemeClr val="bg1"/>
            </a:solidFill>
            <a:ln w="19050" cap="flat" cmpd="sng" algn="ctr">
              <a:solidFill>
                <a:schemeClr val="accent3"/>
              </a:solidFill>
              <a:prstDash val="solid"/>
              <a:miter lim="800000"/>
              <a:headEnd type="none" w="med" len="med"/>
              <a:tailEnd type="none" w="med" len="med"/>
            </a:ln>
            <a:effectLst/>
          </p:spPr>
          <p:txBody>
            <a:bodyPr vert="horz" wrap="none" lIns="0" tIns="0" rIns="18283" bIns="0" numCol="1" rtlCol="0" anchor="ctr" anchorCtr="0" compatLnSpc="1">
              <a:prstTxWarp prst="textNoShape">
                <a:avLst/>
              </a:prstTxWarp>
              <a:noAutofit/>
            </a:bodyPr>
            <a:lstStyle>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a:pPr marL="11203" marR="0" lvl="0" indent="0" algn="ctr" defTabSz="914126" rtl="0" eaLnBrk="1" fontAlgn="auto" latinLnBrk="0" hangingPunct="1">
                <a:lnSpc>
                  <a:spcPct val="100000"/>
                </a:lnSpc>
                <a:spcBef>
                  <a:spcPts val="84"/>
                </a:spcBef>
                <a:spcAft>
                  <a:spcPts val="0"/>
                </a:spcAft>
                <a:buClrTx/>
                <a:buSzTx/>
                <a:buFontTx/>
                <a:buNone/>
                <a:tabLst/>
                <a:defRPr/>
              </a:pPr>
              <a:r>
                <a:rPr kumimoji="0" lang="en-US" sz="900" b="0" i="0" u="none" strike="noStrike" kern="1200" cap="none" spc="-4" normalizeH="0" baseline="0" noProof="0">
                  <a:ln>
                    <a:noFill/>
                  </a:ln>
                  <a:effectLst/>
                  <a:uLnTx/>
                  <a:uFillTx/>
                  <a:latin typeface="Arial" panose="020B0604020202020204"/>
                  <a:ea typeface="+mn-ea"/>
                  <a:cs typeface="Arial" panose="020B0604020202020204" pitchFamily="34" charset="0"/>
                </a:rPr>
                <a:t>96</a:t>
              </a:r>
              <a:endParaRPr kumimoji="0" lang="en-US" sz="9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grpSp>
          <p:nvGrpSpPr>
            <p:cNvPr id="16" name="Group 15">
              <a:extLst>
                <a:ext uri="{FF2B5EF4-FFF2-40B4-BE49-F238E27FC236}">
                  <a16:creationId xmlns:a16="http://schemas.microsoft.com/office/drawing/2014/main" id="{3D2B7E1C-3E81-1F9E-BCBF-0E9C6BCAB751}"/>
                </a:ext>
              </a:extLst>
            </p:cNvPr>
            <p:cNvGrpSpPr/>
            <p:nvPr/>
          </p:nvGrpSpPr>
          <p:grpSpPr>
            <a:xfrm>
              <a:off x="123825" y="1957356"/>
              <a:ext cx="11410920" cy="3895872"/>
              <a:chOff x="123825" y="1957356"/>
              <a:chExt cx="11410920" cy="4041385"/>
            </a:xfrm>
          </p:grpSpPr>
          <p:grpSp>
            <p:nvGrpSpPr>
              <p:cNvPr id="12" name="Group 11">
                <a:extLst>
                  <a:ext uri="{FF2B5EF4-FFF2-40B4-BE49-F238E27FC236}">
                    <a16:creationId xmlns:a16="http://schemas.microsoft.com/office/drawing/2014/main" id="{569DE828-193E-6EDA-C4EE-C250B0D3D113}"/>
                  </a:ext>
                </a:extLst>
              </p:cNvPr>
              <p:cNvGrpSpPr/>
              <p:nvPr/>
            </p:nvGrpSpPr>
            <p:grpSpPr>
              <a:xfrm>
                <a:off x="123825" y="1990214"/>
                <a:ext cx="11410920" cy="4008527"/>
                <a:chOff x="171450" y="2094989"/>
                <a:chExt cx="11410920" cy="3742199"/>
              </a:xfrm>
            </p:grpSpPr>
            <p:graphicFrame>
              <p:nvGraphicFramePr>
                <p:cNvPr id="13" name="Object 7">
                  <a:extLst>
                    <a:ext uri="{FF2B5EF4-FFF2-40B4-BE49-F238E27FC236}">
                      <a16:creationId xmlns:a16="http://schemas.microsoft.com/office/drawing/2014/main" id="{0EDB8EE4-B895-AED7-9E77-FC72B91B435B}"/>
                    </a:ext>
                  </a:extLst>
                </p:cNvPr>
                <p:cNvGraphicFramePr>
                  <a:graphicFrameLocks noChangeAspect="1"/>
                </p:cNvGraphicFramePr>
                <p:nvPr>
                  <p:extLst>
                    <p:ext uri="{D42A27DB-BD31-4B8C-83A1-F6EECF244321}">
                      <p14:modId xmlns:p14="http://schemas.microsoft.com/office/powerpoint/2010/main" val="909304425"/>
                    </p:ext>
                  </p:extLst>
                </p:nvPr>
              </p:nvGraphicFramePr>
              <p:xfrm>
                <a:off x="5362898" y="2115406"/>
                <a:ext cx="3222173" cy="372178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Object 7">
                  <a:extLst>
                    <a:ext uri="{FF2B5EF4-FFF2-40B4-BE49-F238E27FC236}">
                      <a16:creationId xmlns:a16="http://schemas.microsoft.com/office/drawing/2014/main" id="{3D35D32D-FB56-1F9F-8450-BB20EC6DC17F}"/>
                    </a:ext>
                  </a:extLst>
                </p:cNvPr>
                <p:cNvGraphicFramePr>
                  <a:graphicFrameLocks noChangeAspect="1"/>
                </p:cNvGraphicFramePr>
                <p:nvPr>
                  <p:extLst>
                    <p:ext uri="{D42A27DB-BD31-4B8C-83A1-F6EECF244321}">
                      <p14:modId xmlns:p14="http://schemas.microsoft.com/office/powerpoint/2010/main" val="1573753537"/>
                    </p:ext>
                  </p:extLst>
                </p:nvPr>
              </p:nvGraphicFramePr>
              <p:xfrm>
                <a:off x="8360197" y="2115406"/>
                <a:ext cx="3222173" cy="37217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Object 7">
                  <a:extLst>
                    <a:ext uri="{FF2B5EF4-FFF2-40B4-BE49-F238E27FC236}">
                      <a16:creationId xmlns:a16="http://schemas.microsoft.com/office/drawing/2014/main" id="{DF80B571-BEE6-308C-5FDD-9E4010D218F9}"/>
                    </a:ext>
                  </a:extLst>
                </p:cNvPr>
                <p:cNvGraphicFramePr>
                  <a:graphicFrameLocks noChangeAspect="1"/>
                </p:cNvGraphicFramePr>
                <p:nvPr>
                  <p:extLst>
                    <p:ext uri="{D42A27DB-BD31-4B8C-83A1-F6EECF244321}">
                      <p14:modId xmlns:p14="http://schemas.microsoft.com/office/powerpoint/2010/main" val="3484490403"/>
                    </p:ext>
                  </p:extLst>
                </p:nvPr>
              </p:nvGraphicFramePr>
              <p:xfrm>
                <a:off x="171450" y="2094989"/>
                <a:ext cx="5440364" cy="3721780"/>
              </p:xfrm>
              <a:graphic>
                <a:graphicData uri="http://schemas.openxmlformats.org/drawingml/2006/chart">
                  <c:chart xmlns:c="http://schemas.openxmlformats.org/drawingml/2006/chart" xmlns:r="http://schemas.openxmlformats.org/officeDocument/2006/relationships" r:id="rId6"/>
                </a:graphicData>
              </a:graphic>
            </p:graphicFrame>
          </p:grpSp>
          <p:sp>
            <p:nvSpPr>
              <p:cNvPr id="5" name="Dikdörtgen 4">
                <a:extLst>
                  <a:ext uri="{FF2B5EF4-FFF2-40B4-BE49-F238E27FC236}">
                    <a16:creationId xmlns:a16="http://schemas.microsoft.com/office/drawing/2014/main" id="{83BCC6A3-1948-6FD9-C18A-A762FCFF4318}"/>
                  </a:ext>
                </a:extLst>
              </p:cNvPr>
              <p:cNvSpPr/>
              <p:nvPr/>
            </p:nvSpPr>
            <p:spPr>
              <a:xfrm>
                <a:off x="544886" y="1957356"/>
                <a:ext cx="2339393" cy="384073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en-US" b="0" i="0" u="none" strike="noStrike" kern="1200" cap="none" spc="0" normalizeH="0" baseline="0" noProof="0" dirty="0" err="1">
                    <a:ln>
                      <a:noFill/>
                    </a:ln>
                    <a:solidFill>
                      <a:srgbClr val="000000"/>
                    </a:solidFill>
                    <a:effectLst/>
                    <a:uLnTx/>
                    <a:uFillTx/>
                    <a:latin typeface="Pfizer Diatype Office"/>
                    <a:ea typeface="+mn-ea"/>
                    <a:cs typeface="+mn-cs"/>
                  </a:rPr>
                  <a:t>Kronik</a:t>
                </a:r>
                <a:r>
                  <a:rPr kumimoji="0" lang="en-US" b="0" i="0" u="none" strike="noStrike" kern="1200" cap="none" spc="0" normalizeH="0" baseline="0" noProof="0" dirty="0">
                    <a:ln>
                      <a:noFill/>
                    </a:ln>
                    <a:solidFill>
                      <a:srgbClr val="000000"/>
                    </a:solidFill>
                    <a:effectLst/>
                    <a:uLnTx/>
                    <a:uFillTx/>
                    <a:latin typeface="Pfizer Diatype Office"/>
                    <a:ea typeface="+mn-ea"/>
                    <a:cs typeface="+mn-cs"/>
                  </a:rPr>
                  <a:t> </a:t>
                </a:r>
                <a:r>
                  <a:rPr kumimoji="0" lang="en-US" b="0" i="0" u="none" strike="noStrike" kern="1200" cap="none" spc="0" normalizeH="0" baseline="0" noProof="0" dirty="0" err="1">
                    <a:ln>
                      <a:noFill/>
                    </a:ln>
                    <a:solidFill>
                      <a:srgbClr val="000000"/>
                    </a:solidFill>
                    <a:effectLst/>
                    <a:uLnTx/>
                    <a:uFillTx/>
                    <a:latin typeface="Pfizer Diatype Office"/>
                    <a:ea typeface="+mn-ea"/>
                    <a:cs typeface="+mn-cs"/>
                  </a:rPr>
                  <a:t>hastalığı</a:t>
                </a:r>
                <a:r>
                  <a:rPr kumimoji="0" lang="en-US" b="0" i="0" u="none" strike="noStrike" kern="1200" cap="none" spc="0" normalizeH="0" baseline="0" noProof="0" dirty="0">
                    <a:ln>
                      <a:noFill/>
                    </a:ln>
                    <a:solidFill>
                      <a:srgbClr val="000000"/>
                    </a:solidFill>
                    <a:effectLst/>
                    <a:uLnTx/>
                    <a:uFillTx/>
                    <a:latin typeface="Pfizer Diatype Office"/>
                    <a:ea typeface="+mn-ea"/>
                    <a:cs typeface="+mn-cs"/>
                  </a:rPr>
                  <a:t> </a:t>
                </a:r>
                <a:r>
                  <a:rPr kumimoji="0" lang="tr-TR" b="0" i="0" u="none" strike="noStrike" kern="1200" cap="none" spc="0" normalizeH="0" baseline="0" noProof="0" dirty="0">
                    <a:ln>
                      <a:noFill/>
                    </a:ln>
                    <a:solidFill>
                      <a:srgbClr val="000000"/>
                    </a:solidFill>
                    <a:effectLst/>
                    <a:uLnTx/>
                    <a:uFillTx/>
                    <a:latin typeface="Pfizer Diatype Office"/>
                    <a:ea typeface="+mn-ea"/>
                    <a:cs typeface="+mn-cs"/>
                  </a:rPr>
                  <a:t>olmayanlar</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1 </a:t>
                </a:r>
                <a:r>
                  <a:rPr kumimoji="0" lang="en-US" b="0" i="0" u="none" strike="noStrike" kern="1200" cap="none" spc="0" normalizeH="0" baseline="0" noProof="0" dirty="0" err="1">
                    <a:ln>
                      <a:noFill/>
                    </a:ln>
                    <a:solidFill>
                      <a:srgbClr val="000000"/>
                    </a:solidFill>
                    <a:effectLst/>
                    <a:uLnTx/>
                    <a:uFillTx/>
                    <a:latin typeface="Pfizer Diatype Office"/>
                    <a:ea typeface="+mn-ea"/>
                    <a:cs typeface="+mn-cs"/>
                  </a:rPr>
                  <a:t>kronik</a:t>
                </a:r>
                <a:r>
                  <a:rPr kumimoji="0" lang="en-US" b="0" i="0" u="none" strike="noStrike" kern="1200" cap="none" spc="0" normalizeH="0" baseline="0" noProof="0" dirty="0">
                    <a:ln>
                      <a:noFill/>
                    </a:ln>
                    <a:solidFill>
                      <a:srgbClr val="000000"/>
                    </a:solidFill>
                    <a:effectLst/>
                    <a:uLnTx/>
                    <a:uFillTx/>
                    <a:latin typeface="Pfizer Diatype Office"/>
                    <a:ea typeface="+mn-ea"/>
                    <a:cs typeface="+mn-cs"/>
                  </a:rPr>
                  <a:t> </a:t>
                </a:r>
                <a:r>
                  <a:rPr kumimoji="0" lang="en-US" b="0" i="0" u="none" strike="noStrike" kern="1200" cap="none" spc="0" normalizeH="0" baseline="0" noProof="0" dirty="0" err="1">
                    <a:ln>
                      <a:noFill/>
                    </a:ln>
                    <a:solidFill>
                      <a:srgbClr val="000000"/>
                    </a:solidFill>
                    <a:effectLst/>
                    <a:uLnTx/>
                    <a:uFillTx/>
                    <a:latin typeface="Pfizer Diatype Office"/>
                    <a:ea typeface="+mn-ea"/>
                    <a:cs typeface="+mn-cs"/>
                  </a:rPr>
                  <a:t>hastalığı</a:t>
                </a:r>
                <a:r>
                  <a:rPr kumimoji="0" lang="en-US" b="0" i="0" u="none" strike="noStrike" kern="1200" cap="none" spc="0" normalizeH="0" baseline="0" noProof="0" dirty="0">
                    <a:ln>
                      <a:noFill/>
                    </a:ln>
                    <a:solidFill>
                      <a:srgbClr val="000000"/>
                    </a:solidFill>
                    <a:effectLst/>
                    <a:uLnTx/>
                    <a:uFillTx/>
                    <a:latin typeface="Pfizer Diatype Office"/>
                    <a:ea typeface="+mn-ea"/>
                    <a:cs typeface="+mn-cs"/>
                  </a:rPr>
                  <a:t> </a:t>
                </a:r>
                <a:r>
                  <a:rPr kumimoji="0" lang="tr-TR" b="0" i="0" u="none" strike="noStrike" kern="1200" cap="none" spc="0" normalizeH="0" baseline="0" noProof="0" dirty="0">
                    <a:ln>
                      <a:noFill/>
                    </a:ln>
                    <a:solidFill>
                      <a:srgbClr val="000000"/>
                    </a:solidFill>
                    <a:effectLst/>
                    <a:uLnTx/>
                    <a:uFillTx/>
                    <a:latin typeface="Pfizer Diatype Office"/>
                    <a:ea typeface="+mn-ea"/>
                    <a:cs typeface="+mn-cs"/>
                  </a:rPr>
                  <a:t>olanlar</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1-2 </a:t>
                </a:r>
                <a:r>
                  <a:rPr kumimoji="0" lang="en-US" b="0" i="0" u="none" strike="noStrike" kern="1200" cap="none" spc="0" normalizeH="0" baseline="0" noProof="0" dirty="0" err="1">
                    <a:ln>
                      <a:noFill/>
                    </a:ln>
                    <a:solidFill>
                      <a:srgbClr val="000000"/>
                    </a:solidFill>
                    <a:effectLst/>
                    <a:uLnTx/>
                    <a:uFillTx/>
                    <a:latin typeface="Pfizer Diatype Office"/>
                    <a:ea typeface="+mn-ea"/>
                    <a:cs typeface="+mn-cs"/>
                  </a:rPr>
                  <a:t>kronik</a:t>
                </a:r>
                <a:r>
                  <a:rPr kumimoji="0" lang="en-US" b="0" i="0" u="none" strike="noStrike" kern="1200" cap="none" spc="0" normalizeH="0" baseline="0" noProof="0" dirty="0">
                    <a:ln>
                      <a:noFill/>
                    </a:ln>
                    <a:solidFill>
                      <a:srgbClr val="000000"/>
                    </a:solidFill>
                    <a:effectLst/>
                    <a:uLnTx/>
                    <a:uFillTx/>
                    <a:latin typeface="Pfizer Diatype Office"/>
                    <a:ea typeface="+mn-ea"/>
                    <a:cs typeface="+mn-cs"/>
                  </a:rPr>
                  <a:t> </a:t>
                </a:r>
                <a:r>
                  <a:rPr kumimoji="0" lang="en-US" b="0" i="0" u="none" strike="noStrike" kern="1200" cap="none" spc="0" normalizeH="0" baseline="0" noProof="0" dirty="0" err="1">
                    <a:ln>
                      <a:noFill/>
                    </a:ln>
                    <a:solidFill>
                      <a:srgbClr val="000000"/>
                    </a:solidFill>
                    <a:effectLst/>
                    <a:uLnTx/>
                    <a:uFillTx/>
                    <a:latin typeface="Pfizer Diatype Office"/>
                    <a:ea typeface="+mn-ea"/>
                    <a:cs typeface="+mn-cs"/>
                  </a:rPr>
                  <a:t>hastalığı</a:t>
                </a:r>
                <a:r>
                  <a:rPr kumimoji="0" lang="en-US" b="0" i="0" u="none" strike="noStrike" kern="1200" cap="none" spc="0" normalizeH="0" baseline="0" noProof="0" dirty="0">
                    <a:ln>
                      <a:noFill/>
                    </a:ln>
                    <a:solidFill>
                      <a:srgbClr val="000000"/>
                    </a:solidFill>
                    <a:effectLst/>
                    <a:uLnTx/>
                    <a:uFillTx/>
                    <a:latin typeface="Pfizer Diatype Office"/>
                    <a:ea typeface="+mn-ea"/>
                    <a:cs typeface="+mn-cs"/>
                  </a:rPr>
                  <a:t> </a:t>
                </a:r>
                <a:r>
                  <a:rPr kumimoji="0" lang="tr-TR" b="0" i="0" u="none" strike="noStrike" kern="1200" cap="none" spc="0" normalizeH="0" baseline="0" noProof="0" dirty="0">
                    <a:ln>
                      <a:noFill/>
                    </a:ln>
                    <a:solidFill>
                      <a:srgbClr val="000000"/>
                    </a:solidFill>
                    <a:effectLst/>
                    <a:uLnTx/>
                    <a:uFillTx/>
                    <a:latin typeface="Pfizer Diatype Office"/>
                    <a:ea typeface="+mn-ea"/>
                    <a:cs typeface="+mn-cs"/>
                  </a:rPr>
                  <a:t>olanlar</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3 </a:t>
                </a:r>
                <a:r>
                  <a:rPr kumimoji="0" lang="en-US" b="0" i="0" u="none" strike="noStrike" kern="1200" cap="none" spc="0" normalizeH="0" baseline="0" noProof="0" dirty="0" err="1">
                    <a:ln>
                      <a:noFill/>
                    </a:ln>
                    <a:solidFill>
                      <a:srgbClr val="000000"/>
                    </a:solidFill>
                    <a:effectLst/>
                    <a:uLnTx/>
                    <a:uFillTx/>
                    <a:latin typeface="Pfizer Diatype Office"/>
                    <a:ea typeface="+mn-ea"/>
                    <a:cs typeface="+mn-cs"/>
                  </a:rPr>
                  <a:t>kronik</a:t>
                </a:r>
                <a:r>
                  <a:rPr kumimoji="0" lang="en-US" b="0" i="0" u="none" strike="noStrike" kern="1200" cap="none" spc="0" normalizeH="0" baseline="0" noProof="0" dirty="0">
                    <a:ln>
                      <a:noFill/>
                    </a:ln>
                    <a:solidFill>
                      <a:srgbClr val="000000"/>
                    </a:solidFill>
                    <a:effectLst/>
                    <a:uLnTx/>
                    <a:uFillTx/>
                    <a:latin typeface="Pfizer Diatype Office"/>
                    <a:ea typeface="+mn-ea"/>
                    <a:cs typeface="+mn-cs"/>
                  </a:rPr>
                  <a:t> </a:t>
                </a:r>
                <a:r>
                  <a:rPr kumimoji="0" lang="en-US" b="0" i="0" u="none" strike="noStrike" kern="1200" cap="none" spc="0" normalizeH="0" baseline="0" noProof="0" dirty="0" err="1">
                    <a:ln>
                      <a:noFill/>
                    </a:ln>
                    <a:solidFill>
                      <a:srgbClr val="000000"/>
                    </a:solidFill>
                    <a:effectLst/>
                    <a:uLnTx/>
                    <a:uFillTx/>
                    <a:latin typeface="Pfizer Diatype Office"/>
                    <a:ea typeface="+mn-ea"/>
                    <a:cs typeface="+mn-cs"/>
                  </a:rPr>
                  <a:t>hastalığı</a:t>
                </a:r>
                <a:r>
                  <a:rPr kumimoji="0" lang="en-US" b="0" i="0" u="none" strike="noStrike" kern="1200" cap="none" spc="0" normalizeH="0" baseline="0" noProof="0" dirty="0">
                    <a:ln>
                      <a:noFill/>
                    </a:ln>
                    <a:solidFill>
                      <a:srgbClr val="000000"/>
                    </a:solidFill>
                    <a:effectLst/>
                    <a:uLnTx/>
                    <a:uFillTx/>
                    <a:latin typeface="Pfizer Diatype Office"/>
                    <a:ea typeface="+mn-ea"/>
                    <a:cs typeface="+mn-cs"/>
                  </a:rPr>
                  <a:t> </a:t>
                </a:r>
                <a:r>
                  <a:rPr kumimoji="0" lang="tr-TR" b="0" i="0" u="none" strike="noStrike" kern="1200" cap="none" spc="0" normalizeH="0" baseline="0" noProof="0" dirty="0">
                    <a:ln>
                      <a:noFill/>
                    </a:ln>
                    <a:solidFill>
                      <a:srgbClr val="000000"/>
                    </a:solidFill>
                    <a:effectLst/>
                    <a:uLnTx/>
                    <a:uFillTx/>
                    <a:latin typeface="Pfizer Diatype Office"/>
                    <a:ea typeface="+mn-ea"/>
                    <a:cs typeface="+mn-cs"/>
                  </a:rPr>
                  <a:t>olanlar</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Obezite</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Kardiyovasküler hastalık</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Diyabet</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KOAH</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Astım</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Bağışıklık sistemi zayıf</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Kalp yetmezliği</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Kronik böbrek hastalığı</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Nörolojik durum</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Koroner arter hastalığı</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Kronik metabolik hastalık</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Diğer kronik akciğer hastalığı</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Kronik karaciğer rahatsızlıkları</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Kan rahatsızlıkları</a:t>
                </a:r>
              </a:p>
              <a:p>
                <a:pPr marL="0" marR="0" lvl="0" indent="0" algn="r" defTabSz="228520" rtl="0" eaLnBrk="1" fontAlgn="auto" latinLnBrk="0" hangingPunct="1">
                  <a:lnSpc>
                    <a:spcPct val="100000"/>
                  </a:lnSpc>
                  <a:spcBef>
                    <a:spcPts val="300"/>
                  </a:spcBef>
                  <a:spcAft>
                    <a:spcPts val="100"/>
                  </a:spcAft>
                  <a:buClrTx/>
                  <a:buSzTx/>
                  <a:buFontTx/>
                  <a:buNone/>
                  <a:tabLst/>
                  <a:defRPr/>
                </a:pPr>
                <a:r>
                  <a:rPr kumimoji="0" lang="tr-TR" b="0" i="0" u="none" strike="noStrike" kern="1200" cap="none" spc="0" normalizeH="0" baseline="0" noProof="0" dirty="0">
                    <a:ln>
                      <a:noFill/>
                    </a:ln>
                    <a:solidFill>
                      <a:srgbClr val="000000"/>
                    </a:solidFill>
                    <a:effectLst/>
                    <a:uLnTx/>
                    <a:uFillTx/>
                    <a:latin typeface="Pfizer Diatype Office"/>
                    <a:ea typeface="+mn-ea"/>
                    <a:cs typeface="+mn-cs"/>
                  </a:rPr>
                  <a:t>Otoimmün/inflamatuar</a:t>
                </a:r>
                <a:r>
                  <a:rPr kumimoji="0" lang="en-US" b="0" i="0" u="none" strike="noStrike" kern="1200" cap="none" spc="0" normalizeH="0" baseline="0" noProof="0" dirty="0">
                    <a:ln>
                      <a:noFill/>
                    </a:ln>
                    <a:solidFill>
                      <a:srgbClr val="000000"/>
                    </a:solidFill>
                    <a:effectLst/>
                    <a:uLnTx/>
                    <a:uFillTx/>
                    <a:latin typeface="Pfizer Diatype Office"/>
                    <a:ea typeface="+mn-ea"/>
                    <a:cs typeface="+mn-cs"/>
                  </a:rPr>
                  <a:t> </a:t>
                </a:r>
                <a:r>
                  <a:rPr kumimoji="0" lang="en-US" b="0" i="0" u="none" strike="noStrike" kern="1200" cap="none" spc="0" normalizeH="0" baseline="0" noProof="0" dirty="0" err="1">
                    <a:ln>
                      <a:noFill/>
                    </a:ln>
                    <a:solidFill>
                      <a:srgbClr val="000000"/>
                    </a:solidFill>
                    <a:effectLst/>
                    <a:uLnTx/>
                    <a:uFillTx/>
                    <a:latin typeface="Pfizer Diatype Office"/>
                    <a:ea typeface="+mn-ea"/>
                    <a:cs typeface="+mn-cs"/>
                  </a:rPr>
                  <a:t>hastalık</a:t>
                </a:r>
                <a:endParaRPr kumimoji="0" lang="tr-TR" b="0" i="0" u="none" strike="noStrike" kern="1200" cap="none" spc="0" normalizeH="0" baseline="0" noProof="0" dirty="0">
                  <a:ln>
                    <a:noFill/>
                  </a:ln>
                  <a:solidFill>
                    <a:srgbClr val="000000"/>
                  </a:solidFill>
                  <a:effectLst/>
                  <a:uLnTx/>
                  <a:uFillTx/>
                  <a:latin typeface="Pfizer Diatype Office"/>
                  <a:ea typeface="+mn-ea"/>
                  <a:cs typeface="+mn-cs"/>
                </a:endParaRPr>
              </a:p>
            </p:txBody>
          </p:sp>
        </p:grpSp>
      </p:grpSp>
      <p:pic>
        <p:nvPicPr>
          <p:cNvPr id="21" name="Picture 20" descr="A black and blue logo&#10;&#10;AI-generated content may be incorrect.">
            <a:extLst>
              <a:ext uri="{FF2B5EF4-FFF2-40B4-BE49-F238E27FC236}">
                <a16:creationId xmlns:a16="http://schemas.microsoft.com/office/drawing/2014/main" id="{4B6E1B0A-E98E-2D04-DA97-BF836D71D144}"/>
              </a:ext>
            </a:extLst>
          </p:cNvPr>
          <p:cNvPicPr>
            <a:picLocks noChangeAspect="1"/>
          </p:cNvPicPr>
          <p:nvPr/>
        </p:nvPicPr>
        <p:blipFill>
          <a:blip r:embed="rId7"/>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26033210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86DDDB3-3DED-1853-3349-11EEEEDB572C}"/>
              </a:ext>
            </a:extLst>
          </p:cNvPr>
          <p:cNvGrpSpPr/>
          <p:nvPr/>
        </p:nvGrpSpPr>
        <p:grpSpPr>
          <a:xfrm>
            <a:off x="609600" y="2208971"/>
            <a:ext cx="10534650" cy="3335805"/>
            <a:chOff x="1408093" y="1906448"/>
            <a:chExt cx="8282539" cy="4151151"/>
          </a:xfrm>
        </p:grpSpPr>
        <p:sp>
          <p:nvSpPr>
            <p:cNvPr id="4" name="TextBox 3">
              <a:extLst>
                <a:ext uri="{FF2B5EF4-FFF2-40B4-BE49-F238E27FC236}">
                  <a16:creationId xmlns:a16="http://schemas.microsoft.com/office/drawing/2014/main" id="{A049F63B-97E0-CD19-4240-567801E6697B}"/>
                </a:ext>
              </a:extLst>
            </p:cNvPr>
            <p:cNvSpPr txBox="1"/>
            <p:nvPr/>
          </p:nvSpPr>
          <p:spPr>
            <a:xfrm rot="16200000">
              <a:off x="10467" y="3304074"/>
              <a:ext cx="3380028" cy="58477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Pfizer Diatype Office"/>
                  <a:ea typeface="+mn-ea"/>
                  <a:cs typeface="+mn-cs"/>
                </a:rPr>
                <a:t>RSV </a:t>
              </a:r>
              <a:r>
                <a:rPr kumimoji="0" lang="en-US" sz="1600" b="0" i="0" u="none" strike="noStrike" kern="1200" cap="none" spc="0" normalizeH="0" baseline="0" noProof="0" dirty="0" err="1">
                  <a:ln>
                    <a:noFill/>
                  </a:ln>
                  <a:solidFill>
                    <a:srgbClr val="000000"/>
                  </a:solidFill>
                  <a:effectLst/>
                  <a:uLnTx/>
                  <a:uFillTx/>
                  <a:latin typeface="Pfizer Diatype Office"/>
                  <a:ea typeface="+mn-ea"/>
                  <a:cs typeface="+mn-cs"/>
                </a:rPr>
                <a:t>ile</a:t>
              </a:r>
              <a:r>
                <a:rPr kumimoji="0" lang="en-US" sz="1600" b="0" i="0" u="none" strike="noStrike" kern="1200" cap="none" spc="0" normalizeH="0" baseline="0" noProof="0" dirty="0">
                  <a:ln>
                    <a:noFill/>
                  </a:ln>
                  <a:solidFill>
                    <a:srgbClr val="000000"/>
                  </a:solidFill>
                  <a:effectLst/>
                  <a:uLnTx/>
                  <a:uFillTx/>
                  <a:latin typeface="Pfizer Diatype Office"/>
                  <a:ea typeface="+mn-ea"/>
                  <a:cs typeface="+mn-cs"/>
                </a:rPr>
                <a:t> </a:t>
              </a:r>
              <a:r>
                <a:rPr kumimoji="0" lang="en-US" sz="1600" b="0" i="0" u="none" strike="noStrike" kern="1200" cap="none" spc="0" normalizeH="0" baseline="0" noProof="0" dirty="0" err="1">
                  <a:ln>
                    <a:noFill/>
                  </a:ln>
                  <a:solidFill>
                    <a:srgbClr val="000000"/>
                  </a:solidFill>
                  <a:effectLst/>
                  <a:uLnTx/>
                  <a:uFillTx/>
                  <a:latin typeface="Pfizer Diatype Office"/>
                  <a:ea typeface="+mn-ea"/>
                  <a:cs typeface="+mn-cs"/>
                </a:rPr>
                <a:t>ilişkili</a:t>
              </a:r>
              <a:r>
                <a:rPr kumimoji="0" lang="en-US" sz="1600" b="0" i="0" u="none" strike="noStrike" kern="1200" cap="none" spc="0" normalizeH="0" baseline="0" noProof="0" dirty="0">
                  <a:ln>
                    <a:noFill/>
                  </a:ln>
                  <a:solidFill>
                    <a:srgbClr val="000000"/>
                  </a:solidFill>
                  <a:effectLst/>
                  <a:uLnTx/>
                  <a:uFillTx/>
                  <a:latin typeface="Pfizer Diatype Office"/>
                  <a:ea typeface="+mn-ea"/>
                  <a:cs typeface="+mn-cs"/>
                </a:rPr>
                <a:t> </a:t>
              </a:r>
              <a:r>
                <a:rPr kumimoji="0" lang="en-US" sz="1600" b="0" i="0" u="none" strike="noStrike" kern="1200" cap="none" spc="0" normalizeH="0" baseline="0" noProof="0" dirty="0" err="1">
                  <a:ln>
                    <a:noFill/>
                  </a:ln>
                  <a:solidFill>
                    <a:srgbClr val="000000"/>
                  </a:solidFill>
                  <a:effectLst/>
                  <a:uLnTx/>
                  <a:uFillTx/>
                  <a:latin typeface="Pfizer Diatype Office"/>
                  <a:ea typeface="+mn-ea"/>
                  <a:cs typeface="+mn-cs"/>
                </a:rPr>
                <a:t>hastaneye</a:t>
              </a:r>
              <a:r>
                <a:rPr kumimoji="0" lang="en-US" sz="1600" b="0" i="0" u="none" strike="noStrike" kern="1200" cap="none" spc="0" normalizeH="0" baseline="0" noProof="0" dirty="0">
                  <a:ln>
                    <a:noFill/>
                  </a:ln>
                  <a:solidFill>
                    <a:srgbClr val="000000"/>
                  </a:solidFill>
                  <a:effectLst/>
                  <a:uLnTx/>
                  <a:uFillTx/>
                  <a:latin typeface="Pfizer Diatype Office"/>
                  <a:ea typeface="+mn-ea"/>
                  <a:cs typeface="+mn-cs"/>
                </a:rPr>
                <a:t> </a:t>
              </a:r>
              <a:r>
                <a:rPr kumimoji="0" lang="en-US" sz="1600" b="0" i="0" u="none" strike="noStrike" kern="1200" cap="none" spc="0" normalizeH="0" baseline="0" noProof="0" dirty="0" err="1">
                  <a:ln>
                    <a:noFill/>
                  </a:ln>
                  <a:solidFill>
                    <a:srgbClr val="000000"/>
                  </a:solidFill>
                  <a:effectLst/>
                  <a:uLnTx/>
                  <a:uFillTx/>
                  <a:latin typeface="Pfizer Diatype Office"/>
                  <a:ea typeface="+mn-ea"/>
                  <a:cs typeface="+mn-cs"/>
                </a:rPr>
                <a:t>yatış</a:t>
              </a:r>
              <a:r>
                <a:rPr kumimoji="0" lang="en-US" sz="1600" b="0" i="0" u="none" strike="noStrike" kern="1200" cap="none" spc="0" normalizeH="0" baseline="0" noProof="0" dirty="0">
                  <a:ln>
                    <a:noFill/>
                  </a:ln>
                  <a:solidFill>
                    <a:srgbClr val="000000"/>
                  </a:solidFill>
                  <a:effectLst/>
                  <a:uLnTx/>
                  <a:uFillTx/>
                  <a:latin typeface="Pfizer Diatype Office"/>
                  <a:ea typeface="+mn-ea"/>
                  <a:cs typeface="+mn-cs"/>
                </a:rPr>
                <a:t> </a:t>
              </a:r>
              <a:r>
                <a:rPr kumimoji="0" lang="en-US" sz="1600" b="0" i="0" u="none" strike="noStrike" kern="1200" cap="none" spc="0" normalizeH="0" baseline="0" noProof="0" dirty="0" err="1">
                  <a:ln>
                    <a:noFill/>
                  </a:ln>
                  <a:solidFill>
                    <a:srgbClr val="000000"/>
                  </a:solidFill>
                  <a:effectLst/>
                  <a:uLnTx/>
                  <a:uFillTx/>
                  <a:latin typeface="Pfizer Diatype Office"/>
                  <a:ea typeface="+mn-ea"/>
                  <a:cs typeface="+mn-cs"/>
                </a:rPr>
                <a:t>oranı</a:t>
              </a:r>
              <a:br>
                <a:rPr kumimoji="0" lang="en-US" sz="1600" b="0" i="0" u="none" strike="noStrike" kern="1200" cap="none" spc="0" normalizeH="0" baseline="0" noProof="0" dirty="0">
                  <a:ln>
                    <a:noFill/>
                  </a:ln>
                  <a:solidFill>
                    <a:srgbClr val="000000"/>
                  </a:solidFill>
                  <a:effectLst/>
                  <a:uLnTx/>
                  <a:uFillTx/>
                  <a:latin typeface="Pfizer Diatype Office"/>
                  <a:ea typeface="+mn-ea"/>
                  <a:cs typeface="+mn-cs"/>
                </a:rPr>
              </a:br>
              <a:r>
                <a:rPr kumimoji="0" lang="en-US" sz="1600" b="0" i="0" u="none" strike="noStrike" kern="1200" cap="none" spc="0" normalizeH="0" baseline="0" noProof="0" dirty="0">
                  <a:ln>
                    <a:noFill/>
                  </a:ln>
                  <a:solidFill>
                    <a:srgbClr val="000000"/>
                  </a:solidFill>
                  <a:effectLst/>
                  <a:uLnTx/>
                  <a:uFillTx/>
                  <a:latin typeface="Pfizer Diatype Office"/>
                  <a:ea typeface="+mn-ea"/>
                  <a:cs typeface="+mn-cs"/>
                </a:rPr>
                <a:t>(100,000 </a:t>
              </a:r>
              <a:r>
                <a:rPr kumimoji="0" lang="en-US" sz="1600" b="0" i="0" u="none" strike="noStrike" kern="1200" cap="none" spc="0" normalizeH="0" baseline="0" noProof="0" dirty="0" err="1">
                  <a:ln>
                    <a:noFill/>
                  </a:ln>
                  <a:solidFill>
                    <a:srgbClr val="000000"/>
                  </a:solidFill>
                  <a:effectLst/>
                  <a:uLnTx/>
                  <a:uFillTx/>
                  <a:latin typeface="Pfizer Diatype Office"/>
                  <a:ea typeface="+mn-ea"/>
                  <a:cs typeface="+mn-cs"/>
                </a:rPr>
                <a:t>başına</a:t>
              </a:r>
              <a:r>
                <a:rPr kumimoji="0" lang="en-US" sz="1600" b="0" i="0" u="none" strike="noStrike" kern="1200" cap="none" spc="0" normalizeH="0" baseline="0" noProof="0" dirty="0">
                  <a:ln>
                    <a:noFill/>
                  </a:ln>
                  <a:solidFill>
                    <a:srgbClr val="000000"/>
                  </a:solidFill>
                  <a:effectLst/>
                  <a:uLnTx/>
                  <a:uFillTx/>
                  <a:latin typeface="Pfizer Diatype Office"/>
                  <a:ea typeface="+mn-ea"/>
                  <a:cs typeface="+mn-cs"/>
                </a:rPr>
                <a:t>)</a:t>
              </a:r>
            </a:p>
          </p:txBody>
        </p:sp>
        <p:sp>
          <p:nvSpPr>
            <p:cNvPr id="9" name="TextBox 8">
              <a:extLst>
                <a:ext uri="{FF2B5EF4-FFF2-40B4-BE49-F238E27FC236}">
                  <a16:creationId xmlns:a16="http://schemas.microsoft.com/office/drawing/2014/main" id="{D33A5279-FD3B-F5E7-C7AE-8754C2FC7DEC}"/>
                </a:ext>
              </a:extLst>
            </p:cNvPr>
            <p:cNvSpPr txBox="1"/>
            <p:nvPr/>
          </p:nvSpPr>
          <p:spPr>
            <a:xfrm>
              <a:off x="2196726" y="1949482"/>
              <a:ext cx="526105" cy="276999"/>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Pfizer Diatype Office"/>
                  <a:ea typeface="+mn-ea"/>
                  <a:cs typeface="+mn-cs"/>
                </a:rPr>
                <a:t>1000</a:t>
              </a:r>
            </a:p>
          </p:txBody>
        </p:sp>
        <p:cxnSp>
          <p:nvCxnSpPr>
            <p:cNvPr id="12" name="Straight Connector 11">
              <a:extLst>
                <a:ext uri="{FF2B5EF4-FFF2-40B4-BE49-F238E27FC236}">
                  <a16:creationId xmlns:a16="http://schemas.microsoft.com/office/drawing/2014/main" id="{38A6E4DA-E419-85D6-461A-43E417B6E8A4}"/>
                </a:ext>
              </a:extLst>
            </p:cNvPr>
            <p:cNvCxnSpPr>
              <a:cxnSpLocks/>
            </p:cNvCxnSpPr>
            <p:nvPr/>
          </p:nvCxnSpPr>
          <p:spPr>
            <a:xfrm>
              <a:off x="2799761" y="2087982"/>
              <a:ext cx="6881567" cy="0"/>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4735BAF5-5C5B-5D9A-ECB7-0AF66ED578F6}"/>
                </a:ext>
              </a:extLst>
            </p:cNvPr>
            <p:cNvSpPr txBox="1"/>
            <p:nvPr/>
          </p:nvSpPr>
          <p:spPr>
            <a:xfrm>
              <a:off x="2256037" y="2556702"/>
              <a:ext cx="466794" cy="276999"/>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Pfizer Diatype Office"/>
                  <a:ea typeface="+mn-ea"/>
                  <a:cs typeface="+mn-cs"/>
                </a:rPr>
                <a:t>800</a:t>
              </a:r>
            </a:p>
          </p:txBody>
        </p:sp>
        <p:cxnSp>
          <p:nvCxnSpPr>
            <p:cNvPr id="14" name="Straight Connector 13">
              <a:extLst>
                <a:ext uri="{FF2B5EF4-FFF2-40B4-BE49-F238E27FC236}">
                  <a16:creationId xmlns:a16="http://schemas.microsoft.com/office/drawing/2014/main" id="{A3DBE2BB-F855-D8DF-E700-FC3255961200}"/>
                </a:ext>
              </a:extLst>
            </p:cNvPr>
            <p:cNvCxnSpPr>
              <a:cxnSpLocks/>
            </p:cNvCxnSpPr>
            <p:nvPr/>
          </p:nvCxnSpPr>
          <p:spPr>
            <a:xfrm>
              <a:off x="2799761" y="2695202"/>
              <a:ext cx="6881567" cy="0"/>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29DADC7C-C836-2682-24ED-1A01E4D784B5}"/>
                </a:ext>
              </a:extLst>
            </p:cNvPr>
            <p:cNvSpPr txBox="1"/>
            <p:nvPr/>
          </p:nvSpPr>
          <p:spPr>
            <a:xfrm>
              <a:off x="2257640" y="3158099"/>
              <a:ext cx="465191" cy="276999"/>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Pfizer Diatype Office"/>
                  <a:ea typeface="+mn-ea"/>
                  <a:cs typeface="+mn-cs"/>
                </a:rPr>
                <a:t>600</a:t>
              </a:r>
            </a:p>
          </p:txBody>
        </p:sp>
        <p:cxnSp>
          <p:nvCxnSpPr>
            <p:cNvPr id="16" name="Straight Connector 15">
              <a:extLst>
                <a:ext uri="{FF2B5EF4-FFF2-40B4-BE49-F238E27FC236}">
                  <a16:creationId xmlns:a16="http://schemas.microsoft.com/office/drawing/2014/main" id="{8A663776-7995-C680-C97C-AACF98288C06}"/>
                </a:ext>
              </a:extLst>
            </p:cNvPr>
            <p:cNvCxnSpPr>
              <a:cxnSpLocks/>
            </p:cNvCxnSpPr>
            <p:nvPr/>
          </p:nvCxnSpPr>
          <p:spPr>
            <a:xfrm>
              <a:off x="2799761" y="3296599"/>
              <a:ext cx="6881567" cy="0"/>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BBF8375D-8347-E6C2-2A89-594DD55380E8}"/>
                </a:ext>
              </a:extLst>
            </p:cNvPr>
            <p:cNvSpPr txBox="1"/>
            <p:nvPr/>
          </p:nvSpPr>
          <p:spPr>
            <a:xfrm>
              <a:off x="2257639" y="3760557"/>
              <a:ext cx="465192" cy="276999"/>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Pfizer Diatype Office"/>
                  <a:ea typeface="+mn-ea"/>
                  <a:cs typeface="+mn-cs"/>
                </a:rPr>
                <a:t>400</a:t>
              </a:r>
            </a:p>
          </p:txBody>
        </p:sp>
        <p:cxnSp>
          <p:nvCxnSpPr>
            <p:cNvPr id="18" name="Straight Connector 17">
              <a:extLst>
                <a:ext uri="{FF2B5EF4-FFF2-40B4-BE49-F238E27FC236}">
                  <a16:creationId xmlns:a16="http://schemas.microsoft.com/office/drawing/2014/main" id="{CF4E8A3F-E696-FFCC-2808-436408E39481}"/>
                </a:ext>
              </a:extLst>
            </p:cNvPr>
            <p:cNvCxnSpPr>
              <a:cxnSpLocks/>
            </p:cNvCxnSpPr>
            <p:nvPr/>
          </p:nvCxnSpPr>
          <p:spPr>
            <a:xfrm>
              <a:off x="2799761" y="3899057"/>
              <a:ext cx="6881567" cy="0"/>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4FD9C8EB-535D-4C9D-A22F-393E4BED4451}"/>
                </a:ext>
              </a:extLst>
            </p:cNvPr>
            <p:cNvSpPr txBox="1"/>
            <p:nvPr/>
          </p:nvSpPr>
          <p:spPr>
            <a:xfrm>
              <a:off x="2262449" y="4367247"/>
              <a:ext cx="460382" cy="276999"/>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Pfizer Diatype Office"/>
                  <a:ea typeface="+mn-ea"/>
                  <a:cs typeface="+mn-cs"/>
                </a:rPr>
                <a:t>200</a:t>
              </a:r>
            </a:p>
          </p:txBody>
        </p:sp>
        <p:cxnSp>
          <p:nvCxnSpPr>
            <p:cNvPr id="20" name="Straight Connector 19">
              <a:extLst>
                <a:ext uri="{FF2B5EF4-FFF2-40B4-BE49-F238E27FC236}">
                  <a16:creationId xmlns:a16="http://schemas.microsoft.com/office/drawing/2014/main" id="{12699F5A-4FB6-D6EB-2187-F8AE872507E3}"/>
                </a:ext>
              </a:extLst>
            </p:cNvPr>
            <p:cNvCxnSpPr>
              <a:cxnSpLocks/>
            </p:cNvCxnSpPr>
            <p:nvPr/>
          </p:nvCxnSpPr>
          <p:spPr>
            <a:xfrm>
              <a:off x="2799761" y="4505747"/>
              <a:ext cx="6881567" cy="0"/>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5E1D7724-5B0D-8256-A94F-18FEE0AEECBF}"/>
                </a:ext>
              </a:extLst>
            </p:cNvPr>
            <p:cNvSpPr txBox="1"/>
            <p:nvPr/>
          </p:nvSpPr>
          <p:spPr>
            <a:xfrm>
              <a:off x="2443588" y="4967125"/>
              <a:ext cx="279243" cy="276999"/>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Pfizer Diatype Office"/>
                  <a:ea typeface="+mn-ea"/>
                  <a:cs typeface="+mn-cs"/>
                </a:rPr>
                <a:t>0</a:t>
              </a:r>
            </a:p>
          </p:txBody>
        </p:sp>
        <p:grpSp>
          <p:nvGrpSpPr>
            <p:cNvPr id="33" name="Group 32">
              <a:extLst>
                <a:ext uri="{FF2B5EF4-FFF2-40B4-BE49-F238E27FC236}">
                  <a16:creationId xmlns:a16="http://schemas.microsoft.com/office/drawing/2014/main" id="{4F79A00F-724D-4371-6CD6-A1BAC1F35774}"/>
                </a:ext>
              </a:extLst>
            </p:cNvPr>
            <p:cNvGrpSpPr/>
            <p:nvPr/>
          </p:nvGrpSpPr>
          <p:grpSpPr>
            <a:xfrm>
              <a:off x="4048167" y="3302916"/>
              <a:ext cx="1712829" cy="1802709"/>
              <a:chOff x="1539875" y="3302916"/>
              <a:chExt cx="1712829" cy="1802709"/>
            </a:xfrm>
          </p:grpSpPr>
          <p:sp>
            <p:nvSpPr>
              <p:cNvPr id="34" name="Rectangle 33">
                <a:extLst>
                  <a:ext uri="{FF2B5EF4-FFF2-40B4-BE49-F238E27FC236}">
                    <a16:creationId xmlns:a16="http://schemas.microsoft.com/office/drawing/2014/main" id="{EB0A6B81-969A-5C7A-CC8D-CFE3D5DD9045}"/>
                  </a:ext>
                </a:extLst>
              </p:cNvPr>
              <p:cNvSpPr/>
              <p:nvPr/>
            </p:nvSpPr>
            <p:spPr>
              <a:xfrm>
                <a:off x="1539875" y="4006850"/>
                <a:ext cx="454818" cy="109877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35" name="Rectangle 34">
                <a:extLst>
                  <a:ext uri="{FF2B5EF4-FFF2-40B4-BE49-F238E27FC236}">
                    <a16:creationId xmlns:a16="http://schemas.microsoft.com/office/drawing/2014/main" id="{197DA2E0-2199-E2FD-9B95-004CFCA990B0}"/>
                  </a:ext>
                </a:extLst>
              </p:cNvPr>
              <p:cNvSpPr/>
              <p:nvPr/>
            </p:nvSpPr>
            <p:spPr>
              <a:xfrm>
                <a:off x="2168881" y="4832350"/>
                <a:ext cx="454818" cy="27327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36" name="Rectangle 35">
                <a:extLst>
                  <a:ext uri="{FF2B5EF4-FFF2-40B4-BE49-F238E27FC236}">
                    <a16:creationId xmlns:a16="http://schemas.microsoft.com/office/drawing/2014/main" id="{C7F28012-6D42-5667-F12D-3E10DCD33525}"/>
                  </a:ext>
                </a:extLst>
              </p:cNvPr>
              <p:cNvSpPr/>
              <p:nvPr/>
            </p:nvSpPr>
            <p:spPr>
              <a:xfrm>
                <a:off x="2797886" y="5000625"/>
                <a:ext cx="454818" cy="104999"/>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38" name="TextBox 37">
                <a:extLst>
                  <a:ext uri="{FF2B5EF4-FFF2-40B4-BE49-F238E27FC236}">
                    <a16:creationId xmlns:a16="http://schemas.microsoft.com/office/drawing/2014/main" id="{CC6B52D5-6B9B-4C45-3B64-FA5E4FA934C7}"/>
                  </a:ext>
                </a:extLst>
              </p:cNvPr>
              <p:cNvSpPr txBox="1"/>
              <p:nvPr/>
            </p:nvSpPr>
            <p:spPr>
              <a:xfrm>
                <a:off x="1882254" y="3302916"/>
                <a:ext cx="1026204"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Pfizer Diatype Office"/>
                    <a:ea typeface="+mn-ea"/>
                    <a:cs typeface="+mn-cs"/>
                  </a:rPr>
                  <a:t>10.6</a:t>
                </a:r>
                <a:br>
                  <a:rPr kumimoji="0" lang="en-US" sz="1600" b="1" i="0" u="none" strike="noStrike" kern="1200" cap="none" spc="0" normalizeH="0" baseline="0" noProof="0" dirty="0">
                    <a:ln>
                      <a:noFill/>
                    </a:ln>
                    <a:solidFill>
                      <a:srgbClr val="000000"/>
                    </a:solidFill>
                    <a:effectLst/>
                    <a:uLnTx/>
                    <a:uFillTx/>
                    <a:latin typeface="Pfizer Diatype Office"/>
                    <a:ea typeface="+mn-ea"/>
                    <a:cs typeface="+mn-cs"/>
                  </a:rPr>
                </a:br>
                <a:r>
                  <a:rPr kumimoji="0" lang="en-US" sz="1200" b="1" i="0" u="none" strike="noStrike" kern="1200" cap="none" spc="0" normalizeH="0" baseline="0" noProof="0" dirty="0">
                    <a:ln>
                      <a:noFill/>
                    </a:ln>
                    <a:solidFill>
                      <a:srgbClr val="000000"/>
                    </a:solidFill>
                    <a:effectLst/>
                    <a:uLnTx/>
                    <a:uFillTx/>
                    <a:latin typeface="Pfizer Diatype Office"/>
                    <a:ea typeface="+mn-ea"/>
                    <a:cs typeface="+mn-cs"/>
                  </a:rPr>
                  <a:t>(6.3-18.6)</a:t>
                </a:r>
                <a:endParaRPr kumimoji="0" lang="en-US" sz="1600" b="1" i="0" u="none" strike="noStrike" kern="1200" cap="none" spc="0" normalizeH="0" baseline="0" noProof="0" dirty="0">
                  <a:ln>
                    <a:noFill/>
                  </a:ln>
                  <a:solidFill>
                    <a:srgbClr val="000000"/>
                  </a:solidFill>
                  <a:effectLst/>
                  <a:uLnTx/>
                  <a:uFillTx/>
                  <a:latin typeface="Pfizer Diatype Office"/>
                  <a:ea typeface="+mn-ea"/>
                  <a:cs typeface="+mn-cs"/>
                </a:endParaRPr>
              </a:p>
            </p:txBody>
          </p:sp>
          <p:sp>
            <p:nvSpPr>
              <p:cNvPr id="39" name="TextBox 38">
                <a:extLst>
                  <a:ext uri="{FF2B5EF4-FFF2-40B4-BE49-F238E27FC236}">
                    <a16:creationId xmlns:a16="http://schemas.microsoft.com/office/drawing/2014/main" id="{F6B3D9E2-A792-B772-6915-30CC33420B5A}"/>
                  </a:ext>
                </a:extLst>
              </p:cNvPr>
              <p:cNvSpPr txBox="1"/>
              <p:nvPr/>
            </p:nvSpPr>
            <p:spPr>
              <a:xfrm>
                <a:off x="2345245" y="4130930"/>
                <a:ext cx="779060" cy="523220"/>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Pfizer Diatype Office"/>
                    <a:ea typeface="+mn-ea"/>
                    <a:cs typeface="+mn-cs"/>
                  </a:rPr>
                  <a:t>2.6</a:t>
                </a:r>
                <a:br>
                  <a:rPr kumimoji="0" lang="en-US" sz="1600" b="1" i="0" u="none" strike="noStrike" kern="1200" cap="none" spc="0" normalizeH="0" baseline="0" noProof="0" dirty="0">
                    <a:ln>
                      <a:noFill/>
                    </a:ln>
                    <a:solidFill>
                      <a:srgbClr val="000000"/>
                    </a:solidFill>
                    <a:effectLst/>
                    <a:uLnTx/>
                    <a:uFillTx/>
                    <a:latin typeface="Pfizer Diatype Office"/>
                    <a:ea typeface="+mn-ea"/>
                    <a:cs typeface="+mn-cs"/>
                  </a:rPr>
                </a:br>
                <a:r>
                  <a:rPr kumimoji="0" lang="en-US" sz="1200" b="1" i="0" u="none" strike="noStrike" kern="1200" cap="none" spc="0" normalizeH="0" baseline="0" noProof="0" dirty="0">
                    <a:ln>
                      <a:noFill/>
                    </a:ln>
                    <a:solidFill>
                      <a:srgbClr val="000000"/>
                    </a:solidFill>
                    <a:effectLst/>
                    <a:uLnTx/>
                    <a:uFillTx/>
                    <a:latin typeface="Pfizer Diatype Office"/>
                    <a:ea typeface="+mn-ea"/>
                    <a:cs typeface="+mn-cs"/>
                  </a:rPr>
                  <a:t>(1.4-4.9)</a:t>
                </a:r>
                <a:endParaRPr kumimoji="0" lang="en-US" sz="1600" b="1" i="0" u="none" strike="noStrike" kern="1200" cap="none" spc="0" normalizeH="0" baseline="0" noProof="0" dirty="0">
                  <a:ln>
                    <a:noFill/>
                  </a:ln>
                  <a:solidFill>
                    <a:srgbClr val="000000"/>
                  </a:solidFill>
                  <a:effectLst/>
                  <a:uLnTx/>
                  <a:uFillTx/>
                  <a:latin typeface="Pfizer Diatype Office"/>
                  <a:ea typeface="+mn-ea"/>
                  <a:cs typeface="+mn-cs"/>
                </a:endParaRPr>
              </a:p>
            </p:txBody>
          </p:sp>
          <p:sp>
            <p:nvSpPr>
              <p:cNvPr id="40" name="Left Brace 39">
                <a:extLst>
                  <a:ext uri="{FF2B5EF4-FFF2-40B4-BE49-F238E27FC236}">
                    <a16:creationId xmlns:a16="http://schemas.microsoft.com/office/drawing/2014/main" id="{4AC332E7-CECE-BBA2-338A-84ECC6E7ECF2}"/>
                  </a:ext>
                </a:extLst>
              </p:cNvPr>
              <p:cNvSpPr/>
              <p:nvPr/>
            </p:nvSpPr>
            <p:spPr>
              <a:xfrm rot="5400000">
                <a:off x="2612844" y="4138521"/>
                <a:ext cx="195893" cy="1083822"/>
              </a:xfrm>
              <a:prstGeom prst="leftBrace">
                <a:avLst>
                  <a:gd name="adj1" fmla="val 25351"/>
                  <a:gd name="adj2" fmla="val 50000"/>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41" name="Left Brace 40">
                <a:extLst>
                  <a:ext uri="{FF2B5EF4-FFF2-40B4-BE49-F238E27FC236}">
                    <a16:creationId xmlns:a16="http://schemas.microsoft.com/office/drawing/2014/main" id="{FFA5FC0B-E1E6-355A-39B4-723BF54F2644}"/>
                  </a:ext>
                </a:extLst>
              </p:cNvPr>
              <p:cNvSpPr/>
              <p:nvPr/>
            </p:nvSpPr>
            <p:spPr>
              <a:xfrm rot="5400000">
                <a:off x="2298342" y="2984818"/>
                <a:ext cx="195893" cy="1712827"/>
              </a:xfrm>
              <a:prstGeom prst="leftBrace">
                <a:avLst>
                  <a:gd name="adj1" fmla="val 25351"/>
                  <a:gd name="adj2" fmla="val 50000"/>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Pfizer Diatype Office"/>
                  <a:ea typeface="+mn-ea"/>
                  <a:cs typeface="+mn-cs"/>
                </a:endParaRPr>
              </a:p>
            </p:txBody>
          </p:sp>
        </p:grpSp>
        <p:grpSp>
          <p:nvGrpSpPr>
            <p:cNvPr id="42" name="Group 41">
              <a:extLst>
                <a:ext uri="{FF2B5EF4-FFF2-40B4-BE49-F238E27FC236}">
                  <a16:creationId xmlns:a16="http://schemas.microsoft.com/office/drawing/2014/main" id="{629A92AD-4031-F4C2-0EDE-446D6689D563}"/>
                </a:ext>
              </a:extLst>
            </p:cNvPr>
            <p:cNvGrpSpPr/>
            <p:nvPr/>
          </p:nvGrpSpPr>
          <p:grpSpPr>
            <a:xfrm>
              <a:off x="6553242" y="2137367"/>
              <a:ext cx="1712829" cy="2968259"/>
              <a:chOff x="1539875" y="2137367"/>
              <a:chExt cx="1712829" cy="2968259"/>
            </a:xfrm>
          </p:grpSpPr>
          <p:sp>
            <p:nvSpPr>
              <p:cNvPr id="43" name="Rectangle 42">
                <a:extLst>
                  <a:ext uri="{FF2B5EF4-FFF2-40B4-BE49-F238E27FC236}">
                    <a16:creationId xmlns:a16="http://schemas.microsoft.com/office/drawing/2014/main" id="{75FAAC50-E004-ADE3-FFD9-5FB438731066}"/>
                  </a:ext>
                </a:extLst>
              </p:cNvPr>
              <p:cNvSpPr/>
              <p:nvPr/>
            </p:nvSpPr>
            <p:spPr>
              <a:xfrm>
                <a:off x="1539875" y="2892426"/>
                <a:ext cx="454818" cy="22132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44" name="Rectangle 43">
                <a:extLst>
                  <a:ext uri="{FF2B5EF4-FFF2-40B4-BE49-F238E27FC236}">
                    <a16:creationId xmlns:a16="http://schemas.microsoft.com/office/drawing/2014/main" id="{806E10D4-67DE-AEFB-9E49-4C65E4BF387B}"/>
                  </a:ext>
                </a:extLst>
              </p:cNvPr>
              <p:cNvSpPr/>
              <p:nvPr/>
            </p:nvSpPr>
            <p:spPr>
              <a:xfrm>
                <a:off x="2168881" y="4264026"/>
                <a:ext cx="454818" cy="841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45" name="Rectangle 44">
                <a:extLst>
                  <a:ext uri="{FF2B5EF4-FFF2-40B4-BE49-F238E27FC236}">
                    <a16:creationId xmlns:a16="http://schemas.microsoft.com/office/drawing/2014/main" id="{7645A778-0E72-382F-A9E8-D290F51A67D3}"/>
                  </a:ext>
                </a:extLst>
              </p:cNvPr>
              <p:cNvSpPr/>
              <p:nvPr/>
            </p:nvSpPr>
            <p:spPr>
              <a:xfrm>
                <a:off x="2797886" y="4756151"/>
                <a:ext cx="454818" cy="34947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46" name="TextBox 45">
                <a:extLst>
                  <a:ext uri="{FF2B5EF4-FFF2-40B4-BE49-F238E27FC236}">
                    <a16:creationId xmlns:a16="http://schemas.microsoft.com/office/drawing/2014/main" id="{B24F589B-29FE-8021-BC5A-603F6357E10F}"/>
                  </a:ext>
                </a:extLst>
              </p:cNvPr>
              <p:cNvSpPr txBox="1"/>
              <p:nvPr/>
            </p:nvSpPr>
            <p:spPr>
              <a:xfrm>
                <a:off x="1882254" y="2137367"/>
                <a:ext cx="1026204"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Pfizer Diatype Office"/>
                    <a:ea typeface="+mn-ea"/>
                    <a:cs typeface="+mn-cs"/>
                  </a:rPr>
                  <a:t>6.4</a:t>
                </a:r>
                <a:br>
                  <a:rPr kumimoji="0" lang="en-US" sz="1600" b="1" i="0" u="none" strike="noStrike" kern="1200" cap="none" spc="0" normalizeH="0" baseline="0" noProof="0">
                    <a:ln>
                      <a:noFill/>
                    </a:ln>
                    <a:solidFill>
                      <a:srgbClr val="000000"/>
                    </a:solidFill>
                    <a:effectLst/>
                    <a:uLnTx/>
                    <a:uFillTx/>
                    <a:latin typeface="Pfizer Diatype Office"/>
                    <a:ea typeface="+mn-ea"/>
                    <a:cs typeface="+mn-cs"/>
                  </a:rPr>
                </a:br>
                <a:r>
                  <a:rPr kumimoji="0" lang="en-US" sz="1200" b="1" i="0" u="none" strike="noStrike" kern="1200" cap="none" spc="0" normalizeH="0" baseline="0" noProof="0">
                    <a:ln>
                      <a:noFill/>
                    </a:ln>
                    <a:solidFill>
                      <a:srgbClr val="000000"/>
                    </a:solidFill>
                    <a:effectLst/>
                    <a:uLnTx/>
                    <a:uFillTx/>
                    <a:latin typeface="Pfizer Diatype Office"/>
                    <a:ea typeface="+mn-ea"/>
                    <a:cs typeface="+mn-cs"/>
                  </a:rPr>
                  <a:t>(3.7-11.2)</a:t>
                </a:r>
                <a:endParaRPr kumimoji="0" lang="en-US" sz="1600" b="1"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47" name="TextBox 46">
                <a:extLst>
                  <a:ext uri="{FF2B5EF4-FFF2-40B4-BE49-F238E27FC236}">
                    <a16:creationId xmlns:a16="http://schemas.microsoft.com/office/drawing/2014/main" id="{1BEB0FAE-2839-76E5-B021-7EB48323D8F1}"/>
                  </a:ext>
                </a:extLst>
              </p:cNvPr>
              <p:cNvSpPr txBox="1"/>
              <p:nvPr/>
            </p:nvSpPr>
            <p:spPr>
              <a:xfrm>
                <a:off x="2351112" y="3508596"/>
                <a:ext cx="767326" cy="523220"/>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Pfizer Diatype Office"/>
                    <a:ea typeface="+mn-ea"/>
                    <a:cs typeface="+mn-cs"/>
                  </a:rPr>
                  <a:t>2.6</a:t>
                </a:r>
                <a:br>
                  <a:rPr kumimoji="0" lang="en-US" sz="1600" b="1" i="0" u="none" strike="noStrike" kern="1200" cap="none" spc="0" normalizeH="0" baseline="0" noProof="0">
                    <a:ln>
                      <a:noFill/>
                    </a:ln>
                    <a:solidFill>
                      <a:srgbClr val="000000"/>
                    </a:solidFill>
                    <a:effectLst/>
                    <a:uLnTx/>
                    <a:uFillTx/>
                    <a:latin typeface="Pfizer Diatype Office"/>
                    <a:ea typeface="+mn-ea"/>
                    <a:cs typeface="+mn-cs"/>
                  </a:rPr>
                </a:br>
                <a:r>
                  <a:rPr kumimoji="0" lang="en-US" sz="1200" b="1" i="0" u="none" strike="noStrike" kern="1200" cap="none" spc="0" normalizeH="0" baseline="0" noProof="0">
                    <a:ln>
                      <a:noFill/>
                    </a:ln>
                    <a:solidFill>
                      <a:srgbClr val="000000"/>
                    </a:solidFill>
                    <a:effectLst/>
                    <a:uLnTx/>
                    <a:uFillTx/>
                    <a:latin typeface="Pfizer Diatype Office"/>
                    <a:ea typeface="+mn-ea"/>
                    <a:cs typeface="+mn-cs"/>
                  </a:rPr>
                  <a:t>(1.4-4.7)</a:t>
                </a:r>
                <a:endParaRPr kumimoji="0" lang="en-US" sz="1600" b="1"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48" name="Left Brace 47">
                <a:extLst>
                  <a:ext uri="{FF2B5EF4-FFF2-40B4-BE49-F238E27FC236}">
                    <a16:creationId xmlns:a16="http://schemas.microsoft.com/office/drawing/2014/main" id="{20E535F6-8CCD-A7E3-52FA-05FCA23D308F}"/>
                  </a:ext>
                </a:extLst>
              </p:cNvPr>
              <p:cNvSpPr/>
              <p:nvPr/>
            </p:nvSpPr>
            <p:spPr>
              <a:xfrm rot="5400000">
                <a:off x="2612844" y="3516187"/>
                <a:ext cx="195893" cy="1083822"/>
              </a:xfrm>
              <a:prstGeom prst="leftBrace">
                <a:avLst>
                  <a:gd name="adj1" fmla="val 25351"/>
                  <a:gd name="adj2" fmla="val 50000"/>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49" name="Left Brace 48">
                <a:extLst>
                  <a:ext uri="{FF2B5EF4-FFF2-40B4-BE49-F238E27FC236}">
                    <a16:creationId xmlns:a16="http://schemas.microsoft.com/office/drawing/2014/main" id="{8F3915D4-049F-337B-A586-E951A7D720D1}"/>
                  </a:ext>
                </a:extLst>
              </p:cNvPr>
              <p:cNvSpPr/>
              <p:nvPr/>
            </p:nvSpPr>
            <p:spPr>
              <a:xfrm rot="5400000">
                <a:off x="2298342" y="1819269"/>
                <a:ext cx="195893" cy="1712827"/>
              </a:xfrm>
              <a:prstGeom prst="leftBrace">
                <a:avLst>
                  <a:gd name="adj1" fmla="val 25351"/>
                  <a:gd name="adj2" fmla="val 50000"/>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Pfizer Diatype Office"/>
                  <a:ea typeface="+mn-ea"/>
                  <a:cs typeface="+mn-cs"/>
                </a:endParaRPr>
              </a:p>
            </p:txBody>
          </p:sp>
        </p:grpSp>
        <p:cxnSp>
          <p:nvCxnSpPr>
            <p:cNvPr id="22" name="Straight Connector 21">
              <a:extLst>
                <a:ext uri="{FF2B5EF4-FFF2-40B4-BE49-F238E27FC236}">
                  <a16:creationId xmlns:a16="http://schemas.microsoft.com/office/drawing/2014/main" id="{773D02D5-08EF-18BE-7483-CDB87BFB0235}"/>
                </a:ext>
              </a:extLst>
            </p:cNvPr>
            <p:cNvCxnSpPr>
              <a:cxnSpLocks/>
            </p:cNvCxnSpPr>
            <p:nvPr/>
          </p:nvCxnSpPr>
          <p:spPr>
            <a:xfrm>
              <a:off x="2809065" y="5105624"/>
              <a:ext cx="6881567" cy="0"/>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sp>
          <p:nvSpPr>
            <p:cNvPr id="50" name="TextBox 49">
              <a:extLst>
                <a:ext uri="{FF2B5EF4-FFF2-40B4-BE49-F238E27FC236}">
                  <a16:creationId xmlns:a16="http://schemas.microsoft.com/office/drawing/2014/main" id="{A1594A03-76CD-7D81-CCD3-16880D046E11}"/>
                </a:ext>
              </a:extLst>
            </p:cNvPr>
            <p:cNvSpPr txBox="1"/>
            <p:nvPr/>
          </p:nvSpPr>
          <p:spPr>
            <a:xfrm>
              <a:off x="3904227" y="5304192"/>
              <a:ext cx="1363732" cy="3385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Pfizer Diatype Office"/>
                  <a:ea typeface="+mn-ea"/>
                  <a:cs typeface="+mn-cs"/>
                </a:rPr>
                <a:t>65-74 yaş</a:t>
              </a:r>
            </a:p>
          </p:txBody>
        </p:sp>
        <p:sp>
          <p:nvSpPr>
            <p:cNvPr id="51" name="TextBox 50">
              <a:extLst>
                <a:ext uri="{FF2B5EF4-FFF2-40B4-BE49-F238E27FC236}">
                  <a16:creationId xmlns:a16="http://schemas.microsoft.com/office/drawing/2014/main" id="{25951BE6-895B-9923-B890-BE9E2102077C}"/>
                </a:ext>
              </a:extLst>
            </p:cNvPr>
            <p:cNvSpPr txBox="1"/>
            <p:nvPr/>
          </p:nvSpPr>
          <p:spPr>
            <a:xfrm>
              <a:off x="6447803" y="5304192"/>
              <a:ext cx="1273796" cy="3385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Pfizer Diatype Office"/>
                  <a:ea typeface="+mn-ea"/>
                  <a:cs typeface="+mn-cs"/>
                </a:rPr>
                <a:t>≥75 yıl</a:t>
              </a:r>
            </a:p>
          </p:txBody>
        </p:sp>
        <p:grpSp>
          <p:nvGrpSpPr>
            <p:cNvPr id="54" name="Group 53">
              <a:extLst>
                <a:ext uri="{FF2B5EF4-FFF2-40B4-BE49-F238E27FC236}">
                  <a16:creationId xmlns:a16="http://schemas.microsoft.com/office/drawing/2014/main" id="{D3AEB07A-5A2D-18FE-E086-7D2BDA8A6862}"/>
                </a:ext>
              </a:extLst>
            </p:cNvPr>
            <p:cNvGrpSpPr/>
            <p:nvPr/>
          </p:nvGrpSpPr>
          <p:grpSpPr>
            <a:xfrm>
              <a:off x="2873455" y="5749822"/>
              <a:ext cx="2042548" cy="307777"/>
              <a:chOff x="3548498" y="5706686"/>
              <a:chExt cx="2042548" cy="307777"/>
            </a:xfrm>
          </p:grpSpPr>
          <p:sp>
            <p:nvSpPr>
              <p:cNvPr id="52" name="Rectangle 51">
                <a:extLst>
                  <a:ext uri="{FF2B5EF4-FFF2-40B4-BE49-F238E27FC236}">
                    <a16:creationId xmlns:a16="http://schemas.microsoft.com/office/drawing/2014/main" id="{EA394B09-BB4C-22A5-FD4E-309DC9FDA839}"/>
                  </a:ext>
                </a:extLst>
              </p:cNvPr>
              <p:cNvSpPr/>
              <p:nvPr/>
            </p:nvSpPr>
            <p:spPr>
              <a:xfrm>
                <a:off x="3548498" y="5801118"/>
                <a:ext cx="119597" cy="11891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53" name="TextBox 52">
                <a:extLst>
                  <a:ext uri="{FF2B5EF4-FFF2-40B4-BE49-F238E27FC236}">
                    <a16:creationId xmlns:a16="http://schemas.microsoft.com/office/drawing/2014/main" id="{9DB2B67D-5EB3-3A7A-6AF0-83975BD12429}"/>
                  </a:ext>
                </a:extLst>
              </p:cNvPr>
              <p:cNvSpPr txBox="1"/>
              <p:nvPr/>
            </p:nvSpPr>
            <p:spPr>
              <a:xfrm>
                <a:off x="3630387" y="5706686"/>
                <a:ext cx="1960659"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Pfizer Diatype Office"/>
                    <a:ea typeface="+mn-ea"/>
                    <a:cs typeface="+mn-cs"/>
                  </a:rPr>
                  <a:t>≥2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kronik</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hastalık</a:t>
                </a:r>
                <a:endParaRPr kumimoji="0" lang="en-US" sz="1400" b="0" i="0" u="none" strike="noStrike" kern="1200" cap="none" spc="0" normalizeH="0" baseline="0" noProof="0">
                  <a:ln>
                    <a:noFill/>
                  </a:ln>
                  <a:solidFill>
                    <a:srgbClr val="000000"/>
                  </a:solidFill>
                  <a:effectLst/>
                  <a:uLnTx/>
                  <a:uFillTx/>
                  <a:latin typeface="Pfizer Diatype Office"/>
                  <a:ea typeface="+mn-ea"/>
                  <a:cs typeface="+mn-cs"/>
                </a:endParaRPr>
              </a:p>
            </p:txBody>
          </p:sp>
        </p:grpSp>
        <p:grpSp>
          <p:nvGrpSpPr>
            <p:cNvPr id="55" name="Group 54">
              <a:extLst>
                <a:ext uri="{FF2B5EF4-FFF2-40B4-BE49-F238E27FC236}">
                  <a16:creationId xmlns:a16="http://schemas.microsoft.com/office/drawing/2014/main" id="{B3B22848-36F6-48FF-5131-1889B8D8447A}"/>
                </a:ext>
              </a:extLst>
            </p:cNvPr>
            <p:cNvGrpSpPr/>
            <p:nvPr/>
          </p:nvGrpSpPr>
          <p:grpSpPr>
            <a:xfrm>
              <a:off x="5233451" y="5749822"/>
              <a:ext cx="2042548" cy="307777"/>
              <a:chOff x="3548498" y="5706686"/>
              <a:chExt cx="2042548" cy="307777"/>
            </a:xfrm>
          </p:grpSpPr>
          <p:sp>
            <p:nvSpPr>
              <p:cNvPr id="56" name="Rectangle 55">
                <a:extLst>
                  <a:ext uri="{FF2B5EF4-FFF2-40B4-BE49-F238E27FC236}">
                    <a16:creationId xmlns:a16="http://schemas.microsoft.com/office/drawing/2014/main" id="{F05C3727-1DBA-9025-E31E-7A340A07DDE7}"/>
                  </a:ext>
                </a:extLst>
              </p:cNvPr>
              <p:cNvSpPr/>
              <p:nvPr/>
            </p:nvSpPr>
            <p:spPr>
              <a:xfrm>
                <a:off x="3548498" y="5801118"/>
                <a:ext cx="119597" cy="11891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57" name="TextBox 56">
                <a:extLst>
                  <a:ext uri="{FF2B5EF4-FFF2-40B4-BE49-F238E27FC236}">
                    <a16:creationId xmlns:a16="http://schemas.microsoft.com/office/drawing/2014/main" id="{B123E52C-DB0B-3959-27D7-5668120CB384}"/>
                  </a:ext>
                </a:extLst>
              </p:cNvPr>
              <p:cNvSpPr txBox="1"/>
              <p:nvPr/>
            </p:nvSpPr>
            <p:spPr>
              <a:xfrm>
                <a:off x="3630387" y="5706686"/>
                <a:ext cx="1960659"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Pfizer Diatype Office"/>
                    <a:ea typeface="+mn-ea"/>
                    <a:cs typeface="+mn-cs"/>
                  </a:rPr>
                  <a:t>1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kronik</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hastalık</a:t>
                </a:r>
                <a:endParaRPr kumimoji="0" lang="en-US" sz="1400" b="0" i="0" u="none" strike="noStrike" kern="1200" cap="none" spc="0" normalizeH="0" baseline="0" noProof="0">
                  <a:ln>
                    <a:noFill/>
                  </a:ln>
                  <a:solidFill>
                    <a:srgbClr val="000000"/>
                  </a:solidFill>
                  <a:effectLst/>
                  <a:uLnTx/>
                  <a:uFillTx/>
                  <a:latin typeface="Pfizer Diatype Office"/>
                  <a:ea typeface="+mn-ea"/>
                  <a:cs typeface="+mn-cs"/>
                </a:endParaRPr>
              </a:p>
            </p:txBody>
          </p:sp>
        </p:grpSp>
        <p:grpSp>
          <p:nvGrpSpPr>
            <p:cNvPr id="58" name="Group 57">
              <a:extLst>
                <a:ext uri="{FF2B5EF4-FFF2-40B4-BE49-F238E27FC236}">
                  <a16:creationId xmlns:a16="http://schemas.microsoft.com/office/drawing/2014/main" id="{E94B02BB-0D32-3199-35FC-80285754F1F0}"/>
                </a:ext>
              </a:extLst>
            </p:cNvPr>
            <p:cNvGrpSpPr/>
            <p:nvPr/>
          </p:nvGrpSpPr>
          <p:grpSpPr>
            <a:xfrm>
              <a:off x="7365736" y="5749822"/>
              <a:ext cx="2042548" cy="307777"/>
              <a:chOff x="3548498" y="5706686"/>
              <a:chExt cx="2042548" cy="307777"/>
            </a:xfrm>
          </p:grpSpPr>
          <p:sp>
            <p:nvSpPr>
              <p:cNvPr id="59" name="Rectangle 58">
                <a:extLst>
                  <a:ext uri="{FF2B5EF4-FFF2-40B4-BE49-F238E27FC236}">
                    <a16:creationId xmlns:a16="http://schemas.microsoft.com/office/drawing/2014/main" id="{B7E945B1-2DF1-429C-47DF-8123047FC982}"/>
                  </a:ext>
                </a:extLst>
              </p:cNvPr>
              <p:cNvSpPr/>
              <p:nvPr/>
            </p:nvSpPr>
            <p:spPr>
              <a:xfrm>
                <a:off x="3548498" y="5801118"/>
                <a:ext cx="119597" cy="118915"/>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60" name="TextBox 59">
                <a:extLst>
                  <a:ext uri="{FF2B5EF4-FFF2-40B4-BE49-F238E27FC236}">
                    <a16:creationId xmlns:a16="http://schemas.microsoft.com/office/drawing/2014/main" id="{2098C5AD-55DB-FFE4-214E-BDDFB5E6EE19}"/>
                  </a:ext>
                </a:extLst>
              </p:cNvPr>
              <p:cNvSpPr txBox="1"/>
              <p:nvPr/>
            </p:nvSpPr>
            <p:spPr>
              <a:xfrm>
                <a:off x="3630387" y="5706686"/>
                <a:ext cx="1960659"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Pfizer Diatype Office"/>
                    <a:ea typeface="+mn-ea"/>
                    <a:cs typeface="+mn-cs"/>
                  </a:rPr>
                  <a:t>0 kronik hastalık</a:t>
                </a:r>
              </a:p>
            </p:txBody>
          </p:sp>
        </p:grpSp>
      </p:grpSp>
      <p:sp>
        <p:nvSpPr>
          <p:cNvPr id="7" name="Text Placeholder 4">
            <a:extLst>
              <a:ext uri="{FF2B5EF4-FFF2-40B4-BE49-F238E27FC236}">
                <a16:creationId xmlns:a16="http://schemas.microsoft.com/office/drawing/2014/main" id="{4EE0F146-67F8-7053-E195-9E59A8E1B4F6}"/>
              </a:ext>
            </a:extLst>
          </p:cNvPr>
          <p:cNvSpPr txBox="1">
            <a:spLocks/>
          </p:cNvSpPr>
          <p:nvPr/>
        </p:nvSpPr>
        <p:spPr bwMode="gray">
          <a:xfrm>
            <a:off x="609600" y="1313224"/>
            <a:ext cx="11068050" cy="620363"/>
          </a:xfrm>
          <a:prstGeom prst="rect">
            <a:avLst/>
          </a:prstGeom>
          <a:solidFill>
            <a:schemeClr val="bg1"/>
          </a:solidFill>
          <a:effectLst>
            <a:outerShdw dist="12700" dir="16200000" rotWithShape="0">
              <a:schemeClr val="bg2">
                <a:lumMod val="90000"/>
              </a:schemeClr>
            </a:outerShdw>
          </a:effectLst>
        </p:spPr>
        <p:txBody>
          <a:bodyPr wrap="square" lIns="0" tIns="73152" rIns="0">
            <a:spAutoFit/>
          </a:bodyPr>
          <a:lstStyle>
            <a:defPPr>
              <a:defRPr lang="en-US"/>
            </a:defPPr>
            <a:lvl1pPr defTabSz="914400">
              <a:lnSpc>
                <a:spcPct val="95000"/>
              </a:lnSpc>
              <a:defRPr sz="1700" b="1">
                <a:solidFill>
                  <a:schemeClr val="accent2"/>
                </a:solidFill>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Kronik</a:t>
            </a:r>
            <a:r>
              <a:rPr kumimoji="0" lang="en-US" sz="1700" b="1" i="0" u="none" strike="noStrike" kern="1200" cap="none" spc="0" normalizeH="0" baseline="0" noProof="0" dirty="0">
                <a:ln>
                  <a:noFill/>
                </a:ln>
                <a:solidFill>
                  <a:schemeClr val="accent2">
                    <a:lumMod val="50000"/>
                  </a:schemeClr>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Hastalık</a:t>
            </a:r>
            <a:r>
              <a:rPr kumimoji="0" lang="en-US" sz="1700" b="1" i="0" u="none" strike="noStrike" kern="1200" cap="none" spc="0" normalizeH="0" baseline="0" noProof="0" dirty="0">
                <a:ln>
                  <a:noFill/>
                </a:ln>
                <a:solidFill>
                  <a:schemeClr val="accent2">
                    <a:lumMod val="50000"/>
                  </a:schemeClr>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Sayısaı</a:t>
            </a:r>
            <a:r>
              <a:rPr kumimoji="0" lang="en-US" sz="1700" b="1" i="0" u="none" strike="noStrike" kern="1200" cap="none" spc="0" normalizeH="0" baseline="0" noProof="0" dirty="0">
                <a:ln>
                  <a:noFill/>
                </a:ln>
                <a:solidFill>
                  <a:schemeClr val="accent2">
                    <a:lumMod val="50000"/>
                  </a:schemeClr>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ve</a:t>
            </a:r>
            <a:r>
              <a:rPr kumimoji="0" lang="en-US" sz="1700" b="1" i="0" u="none" strike="noStrike" kern="1200" cap="none" spc="0" normalizeH="0" baseline="0" noProof="0" dirty="0">
                <a:ln>
                  <a:noFill/>
                </a:ln>
                <a:solidFill>
                  <a:schemeClr val="accent2">
                    <a:lumMod val="50000"/>
                  </a:schemeClr>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Yaş</a:t>
            </a:r>
            <a:r>
              <a:rPr kumimoji="0" lang="en-US" sz="1700" b="1" i="0" u="none" strike="noStrike" kern="1200" cap="none" spc="0" normalizeH="0" baseline="0" noProof="0" dirty="0">
                <a:ln>
                  <a:noFill/>
                </a:ln>
                <a:solidFill>
                  <a:schemeClr val="accent2">
                    <a:lumMod val="50000"/>
                  </a:schemeClr>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Grubuna</a:t>
            </a:r>
            <a:r>
              <a:rPr kumimoji="0" lang="en-US" sz="1700" b="1" i="0" u="none" strike="noStrike" kern="1200" cap="none" spc="0" normalizeH="0" baseline="0" noProof="0" dirty="0">
                <a:ln>
                  <a:noFill/>
                </a:ln>
                <a:solidFill>
                  <a:schemeClr val="accent2">
                    <a:lumMod val="50000"/>
                  </a:schemeClr>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Göre</a:t>
            </a:r>
            <a:r>
              <a:rPr kumimoji="0" lang="en-US" sz="1700" b="1" i="0" u="none" strike="noStrike" kern="1200" cap="none" spc="0" normalizeH="0" baseline="0" noProof="0" dirty="0">
                <a:ln>
                  <a:noFill/>
                </a:ln>
                <a:solidFill>
                  <a:schemeClr val="accent2">
                    <a:lumMod val="50000"/>
                  </a:schemeClr>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Toplumda</a:t>
            </a:r>
            <a:r>
              <a:rPr kumimoji="0" lang="en-US" sz="1700" b="1" i="0" u="none" strike="noStrike" kern="1200" cap="none" spc="0" normalizeH="0" baseline="0" noProof="0" dirty="0">
                <a:ln>
                  <a:noFill/>
                </a:ln>
                <a:solidFill>
                  <a:schemeClr val="accent2">
                    <a:lumMod val="50000"/>
                  </a:schemeClr>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Yaşayan</a:t>
            </a:r>
            <a:r>
              <a:rPr kumimoji="0" lang="en-US" sz="1700" b="1" i="0" u="none" strike="noStrike" kern="1200" cap="none" spc="0" normalizeH="0" baseline="0" noProof="0" dirty="0">
                <a:ln>
                  <a:noFill/>
                </a:ln>
                <a:solidFill>
                  <a:schemeClr val="accent2">
                    <a:lumMod val="50000"/>
                  </a:schemeClr>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Yetişkinler</a:t>
            </a:r>
            <a:r>
              <a:rPr kumimoji="0" lang="en-US" sz="1700" b="1" i="0" u="none" strike="noStrike" kern="1200" cap="none" spc="0" normalizeH="0" baseline="0" noProof="0" dirty="0">
                <a:ln>
                  <a:noFill/>
                </a:ln>
                <a:solidFill>
                  <a:schemeClr val="accent2">
                    <a:lumMod val="50000"/>
                  </a:schemeClr>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Arasında</a:t>
            </a:r>
            <a:r>
              <a:rPr kumimoji="0" lang="en-US" sz="1700" b="1" i="0" u="none" strike="noStrike" kern="1200" cap="none" spc="0" normalizeH="0" baseline="0" noProof="0" dirty="0">
                <a:ln>
                  <a:noFill/>
                </a:ln>
                <a:solidFill>
                  <a:schemeClr val="accent2">
                    <a:lumMod val="50000"/>
                  </a:schemeClr>
                </a:solidFill>
                <a:effectLst/>
                <a:uLnTx/>
                <a:uFillTx/>
                <a:latin typeface="Pfizer Diatype Office"/>
                <a:ea typeface="+mn-ea"/>
                <a:cs typeface="+mn-cs"/>
              </a:rPr>
              <a:t> RSV </a:t>
            </a: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ile</a:t>
            </a:r>
            <a:r>
              <a:rPr kumimoji="0" lang="en-US" sz="1700" b="1" i="0" u="none" strike="noStrike" kern="1200" cap="none" spc="0" normalizeH="0" baseline="0" noProof="0" dirty="0">
                <a:ln>
                  <a:noFill/>
                </a:ln>
                <a:solidFill>
                  <a:schemeClr val="accent2">
                    <a:lumMod val="50000"/>
                  </a:schemeClr>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İlişkili</a:t>
            </a:r>
            <a:r>
              <a:rPr kumimoji="0" lang="en-US" sz="1700" b="1" i="0" u="none" strike="noStrike" kern="1200" cap="none" spc="0" normalizeH="0" baseline="0" noProof="0" dirty="0">
                <a:ln>
                  <a:noFill/>
                </a:ln>
                <a:solidFill>
                  <a:schemeClr val="accent2">
                    <a:lumMod val="50000"/>
                  </a:schemeClr>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Hastaneye</a:t>
            </a:r>
            <a:r>
              <a:rPr kumimoji="0" lang="en-US" sz="1700" b="1" i="0" u="none" strike="noStrike" kern="1200" cap="none" spc="0" normalizeH="0" baseline="0" noProof="0" dirty="0">
                <a:ln>
                  <a:noFill/>
                </a:ln>
                <a:solidFill>
                  <a:schemeClr val="accent2">
                    <a:lumMod val="50000"/>
                  </a:schemeClr>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Yatış</a:t>
            </a:r>
            <a:r>
              <a:rPr kumimoji="0" lang="en-US" sz="1700" b="1" i="0" u="none" strike="noStrike" kern="1200" cap="none" spc="0" normalizeH="0" baseline="0" noProof="0" dirty="0">
                <a:ln>
                  <a:noFill/>
                </a:ln>
                <a:solidFill>
                  <a:schemeClr val="accent2">
                    <a:lumMod val="50000"/>
                  </a:schemeClr>
                </a:solidFill>
                <a:effectLst/>
                <a:uLnTx/>
                <a:uFillTx/>
                <a:latin typeface="Pfizer Diatype Office"/>
                <a:ea typeface="+mn-ea"/>
                <a:cs typeface="+mn-cs"/>
              </a:rPr>
              <a:t> </a:t>
            </a: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Oranları</a:t>
            </a:r>
            <a:r>
              <a:rPr kumimoji="0" lang="en-US" sz="1700" b="1" i="0" u="none" strike="noStrike" kern="1200" cap="none" spc="0" normalizeH="0" baseline="0" noProof="0" dirty="0">
                <a:ln>
                  <a:noFill/>
                </a:ln>
                <a:solidFill>
                  <a:schemeClr val="accent2">
                    <a:lumMod val="50000"/>
                  </a:schemeClr>
                </a:solidFill>
                <a:effectLst/>
                <a:uLnTx/>
                <a:uFillTx/>
                <a:latin typeface="Pfizer Diatype Office"/>
                <a:ea typeface="+mn-ea"/>
                <a:cs typeface="+mn-cs"/>
              </a:rPr>
              <a:t>*, 2017-2018 </a:t>
            </a:r>
            <a:r>
              <a:rPr kumimoji="0" lang="en-US" sz="1700" b="1" i="0" u="none" strike="noStrike" kern="1200" cap="none" spc="0" normalizeH="0" baseline="0" noProof="0" dirty="0" err="1">
                <a:ln>
                  <a:noFill/>
                </a:ln>
                <a:solidFill>
                  <a:schemeClr val="accent2">
                    <a:lumMod val="50000"/>
                  </a:schemeClr>
                </a:solidFill>
                <a:effectLst/>
                <a:uLnTx/>
                <a:uFillTx/>
                <a:latin typeface="Pfizer Diatype Office"/>
                <a:ea typeface="+mn-ea"/>
                <a:cs typeface="+mn-cs"/>
              </a:rPr>
              <a:t>Sezonu</a:t>
            </a:r>
            <a:endParaRPr kumimoji="0" lang="en-US" sz="1700" b="1" i="0" u="none" strike="noStrike" kern="1200" cap="none" spc="0" normalizeH="0" baseline="30000" noProof="0" dirty="0">
              <a:ln>
                <a:noFill/>
              </a:ln>
              <a:solidFill>
                <a:schemeClr val="accent2">
                  <a:lumMod val="50000"/>
                </a:schemeClr>
              </a:solidFill>
              <a:effectLst/>
              <a:uLnTx/>
              <a:uFillTx/>
              <a:latin typeface="Pfizer Diatype Office"/>
              <a:ea typeface="+mn-ea"/>
              <a:cs typeface="+mn-cs"/>
            </a:endParaRPr>
          </a:p>
        </p:txBody>
      </p:sp>
      <p:sp>
        <p:nvSpPr>
          <p:cNvPr id="3" name="Title 2">
            <a:extLst>
              <a:ext uri="{FF2B5EF4-FFF2-40B4-BE49-F238E27FC236}">
                <a16:creationId xmlns:a16="http://schemas.microsoft.com/office/drawing/2014/main" id="{C4D8359B-987D-97BC-F421-CB0F3568CD95}"/>
              </a:ext>
            </a:extLst>
          </p:cNvPr>
          <p:cNvSpPr>
            <a:spLocks noGrp="1"/>
          </p:cNvSpPr>
          <p:nvPr>
            <p:ph type="title"/>
          </p:nvPr>
        </p:nvSpPr>
        <p:spPr/>
        <p:txBody>
          <a:bodyPr anchor="ctr"/>
          <a:lstStyle/>
          <a:p>
            <a:r>
              <a:rPr lang="en-US" sz="2400" err="1"/>
              <a:t>Birden</a:t>
            </a:r>
            <a:r>
              <a:rPr lang="en-US" sz="2400"/>
              <a:t> </a:t>
            </a:r>
            <a:r>
              <a:rPr lang="en-US" sz="2400" err="1"/>
              <a:t>fazla</a:t>
            </a:r>
            <a:r>
              <a:rPr lang="en-US" sz="2400"/>
              <a:t> </a:t>
            </a:r>
            <a:r>
              <a:rPr lang="en-US" sz="2400" err="1"/>
              <a:t>kronik</a:t>
            </a:r>
            <a:r>
              <a:rPr lang="en-US" sz="2400"/>
              <a:t> </a:t>
            </a:r>
            <a:r>
              <a:rPr lang="en-US" sz="2400" err="1"/>
              <a:t>rahatsızlığa</a:t>
            </a:r>
            <a:r>
              <a:rPr lang="en-US" sz="2400"/>
              <a:t> </a:t>
            </a:r>
            <a:r>
              <a:rPr lang="en-US" sz="2400" err="1"/>
              <a:t>sahip</a:t>
            </a:r>
            <a:r>
              <a:rPr lang="en-US" sz="2400"/>
              <a:t> </a:t>
            </a:r>
            <a:r>
              <a:rPr lang="en-US" sz="2400" err="1"/>
              <a:t>olmak</a:t>
            </a:r>
            <a:r>
              <a:rPr lang="en-US" sz="2400"/>
              <a:t>, </a:t>
            </a:r>
            <a:r>
              <a:rPr lang="en-US" sz="2400" err="1"/>
              <a:t>yaşlı</a:t>
            </a:r>
            <a:r>
              <a:rPr lang="en-US" sz="2400"/>
              <a:t> </a:t>
            </a:r>
            <a:r>
              <a:rPr lang="en-US" sz="2400" err="1"/>
              <a:t>yetişkinlerde</a:t>
            </a:r>
            <a:r>
              <a:rPr lang="en-US" sz="2400"/>
              <a:t> RSV </a:t>
            </a:r>
            <a:r>
              <a:rPr lang="en-US" sz="2400" err="1"/>
              <a:t>ile</a:t>
            </a:r>
            <a:r>
              <a:rPr lang="en-US" sz="2400"/>
              <a:t> </a:t>
            </a:r>
            <a:r>
              <a:rPr lang="en-US" sz="2400" err="1"/>
              <a:t>ilişkili</a:t>
            </a:r>
            <a:r>
              <a:rPr lang="en-US" sz="2400"/>
              <a:t> </a:t>
            </a:r>
            <a:r>
              <a:rPr lang="en-US" sz="2400" err="1"/>
              <a:t>hastaneye</a:t>
            </a:r>
            <a:r>
              <a:rPr lang="en-US" sz="2400"/>
              <a:t> </a:t>
            </a:r>
            <a:r>
              <a:rPr lang="en-US" sz="2400" err="1"/>
              <a:t>yatış</a:t>
            </a:r>
            <a:r>
              <a:rPr lang="en-US" sz="2400"/>
              <a:t> </a:t>
            </a:r>
            <a:r>
              <a:rPr lang="en-US" sz="2400" err="1"/>
              <a:t>riskini</a:t>
            </a:r>
            <a:r>
              <a:rPr lang="en-US" sz="2400"/>
              <a:t> </a:t>
            </a:r>
            <a:r>
              <a:rPr lang="en-US" sz="2400" err="1"/>
              <a:t>artırmaktadır</a:t>
            </a:r>
            <a:endParaRPr lang="en-US" sz="2400"/>
          </a:p>
        </p:txBody>
      </p:sp>
      <p:sp>
        <p:nvSpPr>
          <p:cNvPr id="8" name="Slide Number Placeholder 7">
            <a:extLst>
              <a:ext uri="{FF2B5EF4-FFF2-40B4-BE49-F238E27FC236}">
                <a16:creationId xmlns:a16="http://schemas.microsoft.com/office/drawing/2014/main" id="{CB5908A3-CB1B-BDCC-B479-D1A81D9EE591}"/>
              </a:ext>
            </a:extLst>
          </p:cNvPr>
          <p:cNvSpPr>
            <a:spLocks noGrp="1"/>
          </p:cNvSpPr>
          <p:nvPr>
            <p:ph type="sldNum" sz="quarter" idx="4"/>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8C13A29A-185B-4182-9583-7B13F1AC164D}" type="slidenum">
              <a:rPr kumimoji="0" lang="en-US" sz="900" b="0" i="0" u="none" strike="noStrike" kern="1200" cap="none" spc="0" normalizeH="0" baseline="0" noProof="0" smtClean="0">
                <a:ln>
                  <a:noFill/>
                </a:ln>
                <a:solidFill>
                  <a:srgbClr val="000000">
                    <a:tint val="82000"/>
                  </a:srgbClr>
                </a:solidFill>
                <a:effectLst/>
                <a:uLnTx/>
                <a:uFillTx/>
                <a:latin typeface="Pfizer Diatype Office"/>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32</a:t>
            </a:fld>
            <a:endParaRPr kumimoji="0" lang="en-US" sz="900" b="0" i="0" u="none" strike="noStrike" kern="1200" cap="none" spc="0" normalizeH="0" baseline="0" noProof="0">
              <a:ln>
                <a:noFill/>
              </a:ln>
              <a:solidFill>
                <a:srgbClr val="000000">
                  <a:tint val="82000"/>
                </a:srgbClr>
              </a:solidFill>
              <a:effectLst/>
              <a:uLnTx/>
              <a:uFillTx/>
              <a:latin typeface="Pfizer Diatype Office"/>
              <a:ea typeface="+mn-ea"/>
              <a:cs typeface="+mn-cs"/>
            </a:endParaRPr>
          </a:p>
        </p:txBody>
      </p:sp>
      <p:sp>
        <p:nvSpPr>
          <p:cNvPr id="2" name="Text Placeholder 1">
            <a:extLst>
              <a:ext uri="{FF2B5EF4-FFF2-40B4-BE49-F238E27FC236}">
                <a16:creationId xmlns:a16="http://schemas.microsoft.com/office/drawing/2014/main" id="{52A27B2B-6A16-8E19-1901-3555FD4FEF88}"/>
              </a:ext>
            </a:extLst>
          </p:cNvPr>
          <p:cNvSpPr>
            <a:spLocks noGrp="1"/>
          </p:cNvSpPr>
          <p:nvPr>
            <p:ph type="body" sz="quarter" idx="4294967295"/>
          </p:nvPr>
        </p:nvSpPr>
        <p:spPr>
          <a:xfrm>
            <a:off x="676275" y="5738413"/>
            <a:ext cx="10215563" cy="798512"/>
          </a:xfrm>
        </p:spPr>
        <p:txBody>
          <a:bodyPr>
            <a:normAutofit/>
          </a:bodyPr>
          <a:lstStyle/>
          <a:p>
            <a:pPr marL="0" indent="0">
              <a:buNone/>
              <a:defRPr/>
            </a:pPr>
            <a:r>
              <a:rPr lang="en-US" sz="700" dirty="0"/>
              <a:t>*</a:t>
            </a:r>
            <a:r>
              <a:rPr lang="en-US" sz="700" dirty="0" err="1"/>
              <a:t>Veriler</a:t>
            </a:r>
            <a:r>
              <a:rPr lang="en-US" sz="700" dirty="0"/>
              <a:t> </a:t>
            </a:r>
            <a:r>
              <a:rPr lang="en-US" sz="700" dirty="0" err="1"/>
              <a:t>ön</a:t>
            </a:r>
            <a:r>
              <a:rPr lang="en-US" sz="700" dirty="0"/>
              <a:t> </a:t>
            </a:r>
            <a:r>
              <a:rPr lang="en-US" sz="700" dirty="0" err="1"/>
              <a:t>hazırlık</a:t>
            </a:r>
            <a:r>
              <a:rPr lang="en-US" sz="700" dirty="0"/>
              <a:t> </a:t>
            </a:r>
            <a:r>
              <a:rPr lang="en-US" sz="700" dirty="0" err="1"/>
              <a:t>niteliğindedir</a:t>
            </a:r>
            <a:r>
              <a:rPr lang="en-US" sz="700" dirty="0"/>
              <a:t> </a:t>
            </a:r>
            <a:r>
              <a:rPr lang="en-US" sz="700" dirty="0" err="1"/>
              <a:t>ve</a:t>
            </a:r>
            <a:r>
              <a:rPr lang="en-US" sz="700" dirty="0"/>
              <a:t> </a:t>
            </a:r>
            <a:r>
              <a:rPr lang="en-US" sz="700" dirty="0" err="1"/>
              <a:t>yayınlanmamıştır</a:t>
            </a:r>
            <a:r>
              <a:rPr lang="en-US" sz="700" dirty="0"/>
              <a:t>. </a:t>
            </a:r>
            <a:r>
              <a:rPr lang="en-US" sz="700" dirty="0" err="1"/>
              <a:t>Laboratuvar</a:t>
            </a:r>
            <a:r>
              <a:rPr lang="en-US" sz="700" dirty="0"/>
              <a:t> </a:t>
            </a:r>
            <a:r>
              <a:rPr lang="en-US" sz="700" dirty="0" err="1"/>
              <a:t>tarafından</a:t>
            </a:r>
            <a:r>
              <a:rPr lang="en-US" sz="700" dirty="0"/>
              <a:t> </a:t>
            </a:r>
            <a:r>
              <a:rPr lang="en-US" sz="700" dirty="0" err="1"/>
              <a:t>doğrulanmış</a:t>
            </a:r>
            <a:r>
              <a:rPr lang="en-US" sz="700" dirty="0"/>
              <a:t> RSV </a:t>
            </a:r>
            <a:r>
              <a:rPr lang="en-US" sz="700" dirty="0" err="1"/>
              <a:t>ile</a:t>
            </a:r>
            <a:r>
              <a:rPr lang="en-US" sz="700" dirty="0"/>
              <a:t> </a:t>
            </a:r>
            <a:r>
              <a:rPr lang="en-US" sz="700" dirty="0" err="1"/>
              <a:t>ilişkili</a:t>
            </a:r>
            <a:r>
              <a:rPr lang="en-US" sz="700" dirty="0"/>
              <a:t> </a:t>
            </a:r>
            <a:r>
              <a:rPr lang="en-US" sz="700" dirty="0" err="1"/>
              <a:t>hastaneye</a:t>
            </a:r>
            <a:r>
              <a:rPr lang="en-US" sz="700" dirty="0"/>
              <a:t> </a:t>
            </a:r>
            <a:r>
              <a:rPr lang="en-US" sz="700" dirty="0" err="1"/>
              <a:t>yatış</a:t>
            </a:r>
            <a:r>
              <a:rPr lang="en-US" sz="700" dirty="0"/>
              <a:t> </a:t>
            </a:r>
            <a:r>
              <a:rPr lang="en-US" sz="700" dirty="0" err="1"/>
              <a:t>oranları</a:t>
            </a:r>
            <a:r>
              <a:rPr lang="en-US" sz="700" dirty="0"/>
              <a:t>, </a:t>
            </a:r>
            <a:r>
              <a:rPr lang="en-US" sz="700" dirty="0" err="1"/>
              <a:t>hastanede</a:t>
            </a:r>
            <a:r>
              <a:rPr lang="en-US" sz="700" dirty="0"/>
              <a:t> </a:t>
            </a:r>
            <a:r>
              <a:rPr lang="en-US" sz="700" dirty="0" err="1"/>
              <a:t>yatan</a:t>
            </a:r>
            <a:r>
              <a:rPr lang="en-US" sz="700" dirty="0"/>
              <a:t> </a:t>
            </a:r>
            <a:r>
              <a:rPr lang="en-US" sz="700" dirty="0" err="1"/>
              <a:t>yetişkinler</a:t>
            </a:r>
            <a:r>
              <a:rPr lang="en-US" sz="700" dirty="0"/>
              <a:t> </a:t>
            </a:r>
            <a:r>
              <a:rPr lang="en-US" sz="700" dirty="0" err="1"/>
              <a:t>arasında</a:t>
            </a:r>
            <a:r>
              <a:rPr lang="en-US" sz="700" dirty="0"/>
              <a:t> RSV </a:t>
            </a:r>
            <a:r>
              <a:rPr lang="en-US" sz="700" dirty="0" err="1"/>
              <a:t>enfeksiyonunun</a:t>
            </a:r>
            <a:r>
              <a:rPr lang="en-US" sz="700" dirty="0"/>
              <a:t> </a:t>
            </a:r>
            <a:r>
              <a:rPr lang="en-US" sz="700" dirty="0" err="1"/>
              <a:t>yetersiz</a:t>
            </a:r>
            <a:r>
              <a:rPr lang="en-US" sz="700" dirty="0"/>
              <a:t> </a:t>
            </a:r>
            <a:r>
              <a:rPr lang="en-US" sz="700" dirty="0" err="1"/>
              <a:t>tespitini</a:t>
            </a:r>
            <a:r>
              <a:rPr lang="en-US" sz="700" dirty="0"/>
              <a:t> </a:t>
            </a:r>
            <a:r>
              <a:rPr lang="en-US" sz="700" dirty="0" err="1"/>
              <a:t>ve</a:t>
            </a:r>
            <a:r>
              <a:rPr lang="en-US" sz="700" dirty="0"/>
              <a:t> </a:t>
            </a:r>
            <a:r>
              <a:rPr lang="en-US" sz="700" dirty="0" err="1"/>
              <a:t>tanı</a:t>
            </a:r>
            <a:r>
              <a:rPr lang="en-US" sz="700" dirty="0"/>
              <a:t> </a:t>
            </a:r>
            <a:r>
              <a:rPr lang="en-US" sz="700" dirty="0" err="1"/>
              <a:t>testlerinin</a:t>
            </a:r>
            <a:r>
              <a:rPr lang="en-US" sz="700" dirty="0"/>
              <a:t> </a:t>
            </a:r>
            <a:r>
              <a:rPr lang="en-US" sz="700" dirty="0" err="1"/>
              <a:t>hassasiyetini</a:t>
            </a:r>
            <a:r>
              <a:rPr lang="en-US" sz="700" dirty="0"/>
              <a:t> </a:t>
            </a:r>
            <a:r>
              <a:rPr lang="en-US" sz="700" dirty="0" err="1"/>
              <a:t>hesaba</a:t>
            </a:r>
            <a:r>
              <a:rPr lang="en-US" sz="700" dirty="0"/>
              <a:t> </a:t>
            </a:r>
            <a:r>
              <a:rPr lang="en-US" sz="700" dirty="0" err="1"/>
              <a:t>katmaktadır</a:t>
            </a:r>
            <a:r>
              <a:rPr lang="en-US" sz="700" dirty="0"/>
              <a:t>; </a:t>
            </a:r>
            <a:r>
              <a:rPr lang="en-US" sz="700" dirty="0" err="1"/>
              <a:t>oranlar</a:t>
            </a:r>
            <a:r>
              <a:rPr lang="en-US" sz="700" dirty="0"/>
              <a:t> </a:t>
            </a:r>
            <a:r>
              <a:rPr lang="en-US" sz="700" dirty="0" err="1"/>
              <a:t>huzurevi</a:t>
            </a:r>
            <a:r>
              <a:rPr lang="en-US" sz="700" dirty="0"/>
              <a:t> </a:t>
            </a:r>
            <a:r>
              <a:rPr lang="en-US" sz="700" dirty="0" err="1"/>
              <a:t>ve</a:t>
            </a:r>
            <a:r>
              <a:rPr lang="en-US" sz="700" dirty="0"/>
              <a:t> </a:t>
            </a:r>
            <a:r>
              <a:rPr lang="en-US" sz="700" dirty="0" err="1"/>
              <a:t>uzun</a:t>
            </a:r>
            <a:r>
              <a:rPr lang="en-US" sz="700" dirty="0"/>
              <a:t> </a:t>
            </a:r>
            <a:r>
              <a:rPr lang="en-US" sz="700" dirty="0" err="1"/>
              <a:t>süreli</a:t>
            </a:r>
            <a:r>
              <a:rPr lang="en-US" sz="700" dirty="0"/>
              <a:t> </a:t>
            </a:r>
            <a:r>
              <a:rPr lang="en-US" sz="700" dirty="0" err="1"/>
              <a:t>bakım</a:t>
            </a:r>
            <a:r>
              <a:rPr lang="en-US" sz="700" dirty="0"/>
              <a:t> </a:t>
            </a:r>
            <a:r>
              <a:rPr lang="en-US" sz="700" dirty="0" err="1"/>
              <a:t>tesislerinde</a:t>
            </a:r>
            <a:r>
              <a:rPr lang="en-US" sz="700" dirty="0"/>
              <a:t> </a:t>
            </a:r>
            <a:r>
              <a:rPr lang="en-US" sz="700" dirty="0" err="1"/>
              <a:t>yaşayanları</a:t>
            </a:r>
            <a:r>
              <a:rPr lang="en-US" sz="700" dirty="0"/>
              <a:t> </a:t>
            </a:r>
            <a:r>
              <a:rPr lang="en-US" sz="700" dirty="0" err="1"/>
              <a:t>hariç</a:t>
            </a:r>
            <a:r>
              <a:rPr lang="en-US" sz="700" dirty="0"/>
              <a:t> </a:t>
            </a:r>
            <a:r>
              <a:rPr lang="en-US" sz="700" dirty="0" err="1"/>
              <a:t>tutmaktadır</a:t>
            </a:r>
            <a:r>
              <a:rPr lang="en-US" sz="700" dirty="0"/>
              <a:t> </a:t>
            </a:r>
            <a:r>
              <a:rPr lang="en-US" sz="700" dirty="0" err="1"/>
              <a:t>ve</a:t>
            </a:r>
            <a:r>
              <a:rPr lang="en-US" sz="700" dirty="0"/>
              <a:t> </a:t>
            </a:r>
            <a:r>
              <a:rPr lang="en-US" sz="700" dirty="0" err="1"/>
              <a:t>cinsiyet</a:t>
            </a:r>
            <a:r>
              <a:rPr lang="en-US" sz="700" dirty="0"/>
              <a:t> </a:t>
            </a:r>
            <a:r>
              <a:rPr lang="en-US" sz="700" dirty="0" err="1"/>
              <a:t>veya</a:t>
            </a:r>
            <a:r>
              <a:rPr lang="en-US" sz="700" dirty="0"/>
              <a:t> </a:t>
            </a:r>
            <a:r>
              <a:rPr lang="en-US" sz="700" dirty="0" err="1"/>
              <a:t>ırk</a:t>
            </a:r>
            <a:r>
              <a:rPr lang="en-US" sz="700" dirty="0"/>
              <a:t>/</a:t>
            </a:r>
            <a:r>
              <a:rPr lang="en-US" sz="700" dirty="0" err="1"/>
              <a:t>etnik</a:t>
            </a:r>
            <a:r>
              <a:rPr lang="en-US" sz="700" dirty="0"/>
              <a:t> </a:t>
            </a:r>
            <a:r>
              <a:rPr lang="en-US" sz="700" dirty="0" err="1"/>
              <a:t>köken</a:t>
            </a:r>
            <a:r>
              <a:rPr lang="en-US" sz="700" dirty="0"/>
              <a:t> </a:t>
            </a:r>
            <a:r>
              <a:rPr lang="en-US" sz="700" dirty="0" err="1"/>
              <a:t>grubuna</a:t>
            </a:r>
            <a:r>
              <a:rPr lang="en-US" sz="700" dirty="0"/>
              <a:t> </a:t>
            </a:r>
            <a:r>
              <a:rPr lang="en-US" sz="700" dirty="0" err="1"/>
              <a:t>göre</a:t>
            </a:r>
            <a:r>
              <a:rPr lang="en-US" sz="700" dirty="0"/>
              <a:t> </a:t>
            </a:r>
            <a:r>
              <a:rPr lang="en-US" sz="700" dirty="0" err="1"/>
              <a:t>ayarlanmamıştır</a:t>
            </a:r>
            <a:r>
              <a:rPr lang="en-US" sz="700" dirty="0"/>
              <a:t>. </a:t>
            </a:r>
            <a:r>
              <a:rPr lang="en-US" sz="700" dirty="0" err="1"/>
              <a:t>Düzeltilmiş</a:t>
            </a:r>
            <a:r>
              <a:rPr lang="en-US" sz="700" dirty="0"/>
              <a:t> </a:t>
            </a:r>
            <a:r>
              <a:rPr lang="en-US" sz="700" dirty="0" err="1"/>
              <a:t>oran</a:t>
            </a:r>
            <a:r>
              <a:rPr lang="en-US" sz="700" dirty="0"/>
              <a:t> </a:t>
            </a:r>
            <a:r>
              <a:rPr lang="en-US" sz="700" dirty="0" err="1"/>
              <a:t>oranları</a:t>
            </a:r>
            <a:r>
              <a:rPr lang="en-US" sz="700" dirty="0"/>
              <a:t>, Monte Carlo </a:t>
            </a:r>
            <a:r>
              <a:rPr lang="en-US" sz="700" dirty="0" err="1"/>
              <a:t>simülasyon</a:t>
            </a:r>
            <a:r>
              <a:rPr lang="en-US" sz="700" dirty="0"/>
              <a:t> </a:t>
            </a:r>
            <a:r>
              <a:rPr lang="en-US" sz="700" dirty="0" err="1"/>
              <a:t>yöntemleri</a:t>
            </a:r>
            <a:r>
              <a:rPr lang="en-US" sz="700" dirty="0"/>
              <a:t> </a:t>
            </a:r>
            <a:r>
              <a:rPr lang="en-US" sz="700" dirty="0" err="1"/>
              <a:t>kullanılarak</a:t>
            </a:r>
            <a:r>
              <a:rPr lang="en-US" sz="700" dirty="0"/>
              <a:t> </a:t>
            </a:r>
            <a:r>
              <a:rPr lang="en-US" sz="700" dirty="0" err="1"/>
              <a:t>genelleştirilmiş</a:t>
            </a:r>
            <a:r>
              <a:rPr lang="en-US" sz="700" dirty="0"/>
              <a:t> Poisson </a:t>
            </a:r>
            <a:r>
              <a:rPr lang="en-US" sz="700" dirty="0" err="1"/>
              <a:t>modellerinden</a:t>
            </a:r>
            <a:r>
              <a:rPr lang="en-US" sz="700" dirty="0"/>
              <a:t> </a:t>
            </a:r>
            <a:r>
              <a:rPr lang="en-US" sz="700" dirty="0" err="1"/>
              <a:t>türetilmiştir</a:t>
            </a:r>
            <a:r>
              <a:rPr lang="en-US" sz="700" dirty="0"/>
              <a:t> </a:t>
            </a:r>
            <a:r>
              <a:rPr lang="en-US" sz="700" dirty="0" err="1"/>
              <a:t>ve</a:t>
            </a:r>
            <a:r>
              <a:rPr lang="en-US" sz="700" dirty="0"/>
              <a:t> </a:t>
            </a:r>
            <a:r>
              <a:rPr lang="en-US" sz="700" dirty="0" err="1"/>
              <a:t>cinsiyet</a:t>
            </a:r>
            <a:r>
              <a:rPr lang="en-US" sz="700" dirty="0"/>
              <a:t> </a:t>
            </a:r>
            <a:r>
              <a:rPr lang="en-US" sz="700" dirty="0" err="1"/>
              <a:t>ile</a:t>
            </a:r>
            <a:r>
              <a:rPr lang="en-US" sz="700" dirty="0"/>
              <a:t> </a:t>
            </a:r>
            <a:r>
              <a:rPr lang="en-US" sz="700" dirty="0" err="1"/>
              <a:t>ırk</a:t>
            </a:r>
            <a:r>
              <a:rPr lang="en-US" sz="700" dirty="0"/>
              <a:t> </a:t>
            </a:r>
            <a:r>
              <a:rPr lang="en-US" sz="700" dirty="0" err="1"/>
              <a:t>ve</a:t>
            </a:r>
            <a:r>
              <a:rPr lang="en-US" sz="700" dirty="0"/>
              <a:t> </a:t>
            </a:r>
            <a:r>
              <a:rPr lang="en-US" sz="700" dirty="0" err="1"/>
              <a:t>etnik</a:t>
            </a:r>
            <a:r>
              <a:rPr lang="en-US" sz="700" dirty="0"/>
              <a:t> </a:t>
            </a:r>
            <a:r>
              <a:rPr lang="en-US" sz="700" dirty="0" err="1"/>
              <a:t>köken</a:t>
            </a:r>
            <a:r>
              <a:rPr lang="en-US" sz="700" dirty="0"/>
              <a:t> </a:t>
            </a:r>
            <a:r>
              <a:rPr lang="en-US" sz="700" dirty="0" err="1"/>
              <a:t>grubuna</a:t>
            </a:r>
            <a:r>
              <a:rPr lang="en-US" sz="700" dirty="0"/>
              <a:t> </a:t>
            </a:r>
            <a:r>
              <a:rPr lang="en-US" sz="700" dirty="0" err="1"/>
              <a:t>göre</a:t>
            </a:r>
            <a:r>
              <a:rPr lang="en-US" sz="700" dirty="0"/>
              <a:t> </a:t>
            </a:r>
            <a:r>
              <a:rPr lang="en-US" sz="700" dirty="0" err="1"/>
              <a:t>ayarlanmıştır</a:t>
            </a:r>
            <a:r>
              <a:rPr lang="en-US" sz="700" dirty="0"/>
              <a:t>.</a:t>
            </a:r>
          </a:p>
          <a:p>
            <a:pPr marL="0" indent="0">
              <a:buNone/>
              <a:defRPr/>
            </a:pPr>
            <a:r>
              <a:rPr lang="en-US" sz="700" dirty="0"/>
              <a:t>Woodruff RC, et al. Presented at ACIP Meeting, February 29, 2024. </a:t>
            </a:r>
            <a:r>
              <a:rPr lang="en-US" sz="700" dirty="0">
                <a:hlinkClick r:id="rId3"/>
              </a:rPr>
              <a:t>https://www.cdc.gov/acip/downloads/slides-2024-02-28-29/03-RSV-Adults-Woodruff-508.pdf</a:t>
            </a:r>
            <a:r>
              <a:rPr lang="en-US" sz="700" dirty="0"/>
              <a:t>. Accessed January 29, 2025.</a:t>
            </a:r>
          </a:p>
        </p:txBody>
      </p:sp>
      <p:pic>
        <p:nvPicPr>
          <p:cNvPr id="5" name="Picture 4" descr="A black and blue logo&#10;&#10;AI-generated content may be incorrect.">
            <a:extLst>
              <a:ext uri="{FF2B5EF4-FFF2-40B4-BE49-F238E27FC236}">
                <a16:creationId xmlns:a16="http://schemas.microsoft.com/office/drawing/2014/main" id="{074D6E0E-F9E3-AF52-DB95-61077A325B5C}"/>
              </a:ext>
            </a:extLst>
          </p:cNvPr>
          <p:cNvPicPr>
            <a:picLocks noChangeAspect="1"/>
          </p:cNvPicPr>
          <p:nvPr/>
        </p:nvPicPr>
        <p:blipFill>
          <a:blip r:embed="rId4"/>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2270708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B2042-01DE-9BF2-8DE8-F2FD6F0078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79DB44-063D-5BD0-A01E-05433179258C}"/>
              </a:ext>
            </a:extLst>
          </p:cNvPr>
          <p:cNvSpPr>
            <a:spLocks noGrp="1"/>
          </p:cNvSpPr>
          <p:nvPr>
            <p:ph type="title"/>
          </p:nvPr>
        </p:nvSpPr>
        <p:spPr>
          <a:xfrm>
            <a:off x="4518611" y="3023546"/>
            <a:ext cx="6616113" cy="405454"/>
          </a:xfrm>
        </p:spPr>
        <p:txBody>
          <a:bodyPr>
            <a:normAutofit fontScale="90000"/>
          </a:bodyPr>
          <a:lstStyle/>
          <a:p>
            <a:r>
              <a:rPr lang="en-US" dirty="0" err="1">
                <a:solidFill>
                  <a:schemeClr val="accent1"/>
                </a:solidFill>
              </a:rPr>
              <a:t>Diğer</a:t>
            </a:r>
            <a:r>
              <a:rPr lang="en-US" dirty="0">
                <a:solidFill>
                  <a:schemeClr val="accent1"/>
                </a:solidFill>
              </a:rPr>
              <a:t> </a:t>
            </a:r>
            <a:r>
              <a:rPr lang="en-US" dirty="0" err="1">
                <a:solidFill>
                  <a:schemeClr val="accent1"/>
                </a:solidFill>
              </a:rPr>
              <a:t>Solunum</a:t>
            </a:r>
            <a:r>
              <a:rPr lang="en-US" dirty="0">
                <a:solidFill>
                  <a:schemeClr val="accent1"/>
                </a:solidFill>
              </a:rPr>
              <a:t> </a:t>
            </a:r>
            <a:r>
              <a:rPr lang="en-US" dirty="0" err="1">
                <a:solidFill>
                  <a:schemeClr val="accent1"/>
                </a:solidFill>
              </a:rPr>
              <a:t>Yolu</a:t>
            </a:r>
            <a:r>
              <a:rPr lang="en-US" dirty="0">
                <a:solidFill>
                  <a:schemeClr val="accent1"/>
                </a:solidFill>
              </a:rPr>
              <a:t> </a:t>
            </a:r>
            <a:r>
              <a:rPr lang="en-US" dirty="0" err="1">
                <a:solidFill>
                  <a:schemeClr val="accent1"/>
                </a:solidFill>
              </a:rPr>
              <a:t>Hastalıkları</a:t>
            </a:r>
            <a:r>
              <a:rPr lang="en-US" dirty="0">
                <a:solidFill>
                  <a:schemeClr val="accent1"/>
                </a:solidFill>
              </a:rPr>
              <a:t> </a:t>
            </a:r>
            <a:r>
              <a:rPr lang="en-US" dirty="0" err="1">
                <a:solidFill>
                  <a:schemeClr val="accent1"/>
                </a:solidFill>
              </a:rPr>
              <a:t>ile</a:t>
            </a:r>
            <a:r>
              <a:rPr lang="en-US" dirty="0">
                <a:solidFill>
                  <a:schemeClr val="accent1"/>
                </a:solidFill>
              </a:rPr>
              <a:t> </a:t>
            </a:r>
            <a:r>
              <a:rPr lang="en-US" dirty="0" err="1">
                <a:solidFill>
                  <a:schemeClr val="accent1"/>
                </a:solidFill>
              </a:rPr>
              <a:t>Karşılaştırmalı</a:t>
            </a:r>
            <a:r>
              <a:rPr lang="en-US" dirty="0">
                <a:solidFill>
                  <a:schemeClr val="accent1"/>
                </a:solidFill>
              </a:rPr>
              <a:t> RSV </a:t>
            </a:r>
            <a:r>
              <a:rPr lang="en-US" dirty="0" err="1">
                <a:solidFill>
                  <a:schemeClr val="accent1"/>
                </a:solidFill>
              </a:rPr>
              <a:t>Hastalık</a:t>
            </a:r>
            <a:r>
              <a:rPr lang="en-US" dirty="0">
                <a:solidFill>
                  <a:schemeClr val="accent1"/>
                </a:solidFill>
              </a:rPr>
              <a:t> </a:t>
            </a:r>
            <a:r>
              <a:rPr lang="en-US" dirty="0" err="1">
                <a:solidFill>
                  <a:schemeClr val="accent1"/>
                </a:solidFill>
              </a:rPr>
              <a:t>Yükü</a:t>
            </a:r>
            <a:endParaRPr lang="en-US" dirty="0">
              <a:solidFill>
                <a:schemeClr val="accent1"/>
              </a:solidFill>
            </a:endParaRPr>
          </a:p>
        </p:txBody>
      </p:sp>
      <p:pic>
        <p:nvPicPr>
          <p:cNvPr id="4" name="Picture 3" descr="A black and blue logo&#10;&#10;AI-generated content may be incorrect.">
            <a:extLst>
              <a:ext uri="{FF2B5EF4-FFF2-40B4-BE49-F238E27FC236}">
                <a16:creationId xmlns:a16="http://schemas.microsoft.com/office/drawing/2014/main" id="{9A3D504F-BE9B-C9CC-400A-71AAA54C4B91}"/>
              </a:ext>
            </a:extLst>
          </p:cNvPr>
          <p:cNvPicPr>
            <a:picLocks noChangeAspect="1"/>
          </p:cNvPicPr>
          <p:nvPr/>
        </p:nvPicPr>
        <p:blipFill>
          <a:blip r:embed="rId2"/>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37700936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9149C1F9-A950-5AA0-C797-5ED77A04D6E7}"/>
              </a:ext>
            </a:extLst>
          </p:cNvPr>
          <p:cNvGraphicFramePr/>
          <p:nvPr>
            <p:extLst>
              <p:ext uri="{D42A27DB-BD31-4B8C-83A1-F6EECF244321}">
                <p14:modId xmlns:p14="http://schemas.microsoft.com/office/powerpoint/2010/main" val="1708660620"/>
              </p:ext>
            </p:extLst>
          </p:nvPr>
        </p:nvGraphicFramePr>
        <p:xfrm>
          <a:off x="388732" y="1722896"/>
          <a:ext cx="11414535" cy="238937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724A50A3-08F1-D9E2-35B4-9185DA38F1BC}"/>
              </a:ext>
            </a:extLst>
          </p:cNvPr>
          <p:cNvGraphicFramePr/>
          <p:nvPr>
            <p:extLst>
              <p:ext uri="{D42A27DB-BD31-4B8C-83A1-F6EECF244321}">
                <p14:modId xmlns:p14="http://schemas.microsoft.com/office/powerpoint/2010/main" val="1761855829"/>
              </p:ext>
            </p:extLst>
          </p:nvPr>
        </p:nvGraphicFramePr>
        <p:xfrm>
          <a:off x="472665" y="3248027"/>
          <a:ext cx="11414535" cy="2762248"/>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 Placeholder 4">
            <a:extLst>
              <a:ext uri="{FF2B5EF4-FFF2-40B4-BE49-F238E27FC236}">
                <a16:creationId xmlns:a16="http://schemas.microsoft.com/office/drawing/2014/main" id="{DB7F6660-1424-3F97-B63E-EA89B28FB95F}"/>
              </a:ext>
            </a:extLst>
          </p:cNvPr>
          <p:cNvSpPr txBox="1">
            <a:spLocks/>
          </p:cNvSpPr>
          <p:nvPr/>
        </p:nvSpPr>
        <p:spPr bwMode="gray">
          <a:xfrm>
            <a:off x="612775" y="1365892"/>
            <a:ext cx="11274425" cy="590931"/>
          </a:xfrm>
          <a:prstGeom prst="rect">
            <a:avLst/>
          </a:prstGeom>
          <a:solidFill>
            <a:schemeClr val="bg1"/>
          </a:solidFill>
          <a:effectLst>
            <a:outerShdw dist="12700" dir="16200000" rotWithShape="0">
              <a:schemeClr val="bg2">
                <a:lumMod val="90000"/>
              </a:schemeClr>
            </a:outerShdw>
          </a:effectLst>
        </p:spPr>
        <p:txBody>
          <a:bodyPr wrap="square" lIns="0" tIns="73152" rIns="0">
            <a:spAutoFit/>
          </a:bodyPr>
          <a:lstStyle>
            <a:defPPr>
              <a:defRPr lang="en-US"/>
            </a:defPPr>
            <a:lvl1pPr defTabSz="914400">
              <a:lnSpc>
                <a:spcPct val="95000"/>
              </a:lnSpc>
              <a:defRPr sz="1700" b="1">
                <a:solidFill>
                  <a:schemeClr val="accent2"/>
                </a:solidFill>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0095FF"/>
                </a:solidFill>
                <a:effectLst/>
                <a:uLnTx/>
                <a:uFillTx/>
                <a:ea typeface="+mn-ea"/>
                <a:cs typeface="+mn-cs"/>
              </a:rPr>
              <a:t>Laboratuvar</a:t>
            </a:r>
            <a:r>
              <a:rPr kumimoji="0" lang="en-US" sz="1600" b="1" i="0" u="none" strike="noStrike" kern="1200" cap="none" spc="0" normalizeH="0" baseline="0" noProof="0" dirty="0">
                <a:ln>
                  <a:noFill/>
                </a:ln>
                <a:solidFill>
                  <a:srgbClr val="0095FF"/>
                </a:solidFill>
                <a:effectLst/>
                <a:uLnTx/>
                <a:uFillTx/>
                <a:ea typeface="+mn-ea"/>
                <a:cs typeface="+mn-cs"/>
              </a:rPr>
              <a:t> </a:t>
            </a:r>
            <a:r>
              <a:rPr kumimoji="0" lang="en-US" sz="1600" b="1" i="0" u="none" strike="noStrike" kern="1200" cap="none" spc="0" normalizeH="0" baseline="0" noProof="0" dirty="0" err="1">
                <a:ln>
                  <a:noFill/>
                </a:ln>
                <a:solidFill>
                  <a:srgbClr val="0095FF"/>
                </a:solidFill>
                <a:effectLst/>
                <a:uLnTx/>
                <a:uFillTx/>
                <a:ea typeface="+mn-ea"/>
                <a:cs typeface="+mn-cs"/>
              </a:rPr>
              <a:t>Onaylı</a:t>
            </a:r>
            <a:r>
              <a:rPr kumimoji="0" lang="en-US" sz="1600" b="1" i="0" u="none" strike="noStrike" kern="1200" cap="none" spc="0" normalizeH="0" baseline="0" noProof="0" dirty="0">
                <a:ln>
                  <a:noFill/>
                </a:ln>
                <a:solidFill>
                  <a:srgbClr val="0095FF"/>
                </a:solidFill>
                <a:effectLst/>
                <a:uLnTx/>
                <a:uFillTx/>
                <a:ea typeface="+mn-ea"/>
                <a:cs typeface="+mn-cs"/>
              </a:rPr>
              <a:t> </a:t>
            </a:r>
            <a:r>
              <a:rPr kumimoji="0" lang="en-US" sz="1600" b="1" i="0" u="none" strike="noStrike" kern="1200" cap="none" spc="0" normalizeH="0" baseline="0" noProof="0" dirty="0" err="1">
                <a:ln>
                  <a:noFill/>
                </a:ln>
                <a:solidFill>
                  <a:srgbClr val="0095FF"/>
                </a:solidFill>
                <a:effectLst/>
                <a:uLnTx/>
                <a:uFillTx/>
                <a:ea typeface="+mn-ea"/>
                <a:cs typeface="+mn-cs"/>
              </a:rPr>
              <a:t>Hastaneye</a:t>
            </a:r>
            <a:r>
              <a:rPr kumimoji="0" lang="en-US" sz="1600" b="1" i="0" u="none" strike="noStrike" kern="1200" cap="none" spc="0" normalizeH="0" baseline="0" noProof="0" dirty="0">
                <a:ln>
                  <a:noFill/>
                </a:ln>
                <a:solidFill>
                  <a:srgbClr val="0095FF"/>
                </a:solidFill>
                <a:effectLst/>
                <a:uLnTx/>
                <a:uFillTx/>
                <a:ea typeface="+mn-ea"/>
                <a:cs typeface="+mn-cs"/>
              </a:rPr>
              <a:t> </a:t>
            </a:r>
            <a:r>
              <a:rPr kumimoji="0" lang="en-US" sz="1600" b="1" i="0" u="none" strike="noStrike" kern="1200" cap="none" spc="0" normalizeH="0" baseline="0" noProof="0" dirty="0" err="1">
                <a:ln>
                  <a:noFill/>
                </a:ln>
                <a:solidFill>
                  <a:srgbClr val="0095FF"/>
                </a:solidFill>
                <a:effectLst/>
                <a:uLnTx/>
                <a:uFillTx/>
                <a:ea typeface="+mn-ea"/>
                <a:cs typeface="+mn-cs"/>
              </a:rPr>
              <a:t>Yatışı</a:t>
            </a:r>
            <a:r>
              <a:rPr kumimoji="0" lang="en-US" sz="1600" b="1" i="0" u="none" strike="noStrike" kern="1200" cap="none" spc="0" normalizeH="0" baseline="0" noProof="0" dirty="0">
                <a:ln>
                  <a:noFill/>
                </a:ln>
                <a:solidFill>
                  <a:srgbClr val="0095FF"/>
                </a:solidFill>
                <a:effectLst/>
                <a:uLnTx/>
                <a:uFillTx/>
                <a:ea typeface="+mn-ea"/>
                <a:cs typeface="+mn-cs"/>
              </a:rPr>
              <a:t> Olan ≥18 </a:t>
            </a:r>
            <a:r>
              <a:rPr kumimoji="0" lang="en-US" sz="1600" b="1" i="0" u="none" strike="noStrike" kern="1200" cap="none" spc="0" normalizeH="0" baseline="0" noProof="0" dirty="0" err="1">
                <a:ln>
                  <a:noFill/>
                </a:ln>
                <a:solidFill>
                  <a:srgbClr val="0095FF"/>
                </a:solidFill>
                <a:effectLst/>
                <a:uLnTx/>
                <a:uFillTx/>
                <a:ea typeface="+mn-ea"/>
                <a:cs typeface="+mn-cs"/>
              </a:rPr>
              <a:t>Yaşındaki</a:t>
            </a:r>
            <a:r>
              <a:rPr kumimoji="0" lang="en-US" sz="1600" b="1" i="0" u="none" strike="noStrike" kern="1200" cap="none" spc="0" normalizeH="0" baseline="0" noProof="0" dirty="0">
                <a:ln>
                  <a:noFill/>
                </a:ln>
                <a:solidFill>
                  <a:srgbClr val="0095FF"/>
                </a:solidFill>
                <a:effectLst/>
                <a:uLnTx/>
                <a:uFillTx/>
                <a:ea typeface="+mn-ea"/>
                <a:cs typeface="+mn-cs"/>
              </a:rPr>
              <a:t> Hamile </a:t>
            </a:r>
            <a:r>
              <a:rPr kumimoji="0" lang="en-US" sz="1600" b="1" i="0" u="none" strike="noStrike" kern="1200" cap="none" spc="0" normalizeH="0" baseline="0" noProof="0" dirty="0" err="1">
                <a:ln>
                  <a:noFill/>
                </a:ln>
                <a:solidFill>
                  <a:srgbClr val="0095FF"/>
                </a:solidFill>
                <a:effectLst/>
                <a:uLnTx/>
                <a:uFillTx/>
                <a:ea typeface="+mn-ea"/>
                <a:cs typeface="+mn-cs"/>
              </a:rPr>
              <a:t>Olmayan</a:t>
            </a:r>
            <a:r>
              <a:rPr kumimoji="0" lang="en-US" sz="1600" b="1" i="0" u="none" strike="noStrike" kern="1200" cap="none" spc="0" normalizeH="0" baseline="0" noProof="0" dirty="0">
                <a:ln>
                  <a:noFill/>
                </a:ln>
                <a:solidFill>
                  <a:srgbClr val="0095FF"/>
                </a:solidFill>
                <a:effectLst/>
                <a:uLnTx/>
                <a:uFillTx/>
                <a:ea typeface="+mn-ea"/>
                <a:cs typeface="+mn-cs"/>
              </a:rPr>
              <a:t> </a:t>
            </a:r>
            <a:r>
              <a:rPr kumimoji="0" lang="en-US" sz="1600" b="1" i="0" u="none" strike="noStrike" kern="1200" cap="none" spc="0" normalizeH="0" baseline="0" noProof="0" dirty="0" err="1">
                <a:ln>
                  <a:noFill/>
                </a:ln>
                <a:solidFill>
                  <a:srgbClr val="0095FF"/>
                </a:solidFill>
                <a:effectLst/>
                <a:uLnTx/>
                <a:uFillTx/>
                <a:ea typeface="+mn-ea"/>
                <a:cs typeface="+mn-cs"/>
              </a:rPr>
              <a:t>Yetişkinlerin</a:t>
            </a:r>
            <a:r>
              <a:rPr kumimoji="0" lang="en-US" sz="1600" b="1" i="0" u="none" strike="noStrike" kern="1200" cap="none" spc="0" normalizeH="0" baseline="0" noProof="0" dirty="0">
                <a:ln>
                  <a:noFill/>
                </a:ln>
                <a:solidFill>
                  <a:srgbClr val="0095FF"/>
                </a:solidFill>
                <a:effectLst/>
                <a:uLnTx/>
                <a:uFillTx/>
                <a:ea typeface="+mn-ea"/>
                <a:cs typeface="+mn-cs"/>
              </a:rPr>
              <a:t> </a:t>
            </a:r>
            <a:r>
              <a:rPr kumimoji="0" lang="en-US" sz="1600" b="1" i="0" u="none" strike="noStrike" kern="1200" cap="none" spc="0" normalizeH="0" baseline="0" noProof="0" dirty="0" err="1">
                <a:ln>
                  <a:noFill/>
                </a:ln>
                <a:solidFill>
                  <a:srgbClr val="0095FF"/>
                </a:solidFill>
                <a:effectLst/>
                <a:uLnTx/>
                <a:uFillTx/>
                <a:ea typeface="+mn-ea"/>
                <a:cs typeface="+mn-cs"/>
              </a:rPr>
              <a:t>Yüzdeleri</a:t>
            </a:r>
            <a:r>
              <a:rPr kumimoji="0" lang="en-US" sz="1600" b="1" i="0" u="none" strike="noStrike" kern="1200" cap="none" spc="0" normalizeH="0" baseline="0" noProof="0" dirty="0">
                <a:ln>
                  <a:noFill/>
                </a:ln>
                <a:solidFill>
                  <a:srgbClr val="0095FF"/>
                </a:solidFill>
                <a:effectLst/>
                <a:uLnTx/>
                <a:uFillTx/>
                <a:ea typeface="+mn-ea"/>
                <a:cs typeface="+mn-cs"/>
              </a:rPr>
              <a:t>,*</a:t>
            </a:r>
            <a:r>
              <a:rPr kumimoji="0" lang="en-US" sz="1600" b="1" i="0" u="none" strike="noStrike" kern="1200" cap="none" spc="0" normalizeH="0" baseline="30000" noProof="0" dirty="0">
                <a:ln>
                  <a:noFill/>
                </a:ln>
                <a:solidFill>
                  <a:srgbClr val="0095FF"/>
                </a:solidFill>
                <a:effectLst/>
                <a:uLnTx/>
                <a:uFillTx/>
                <a:ea typeface="+mn-ea"/>
                <a:cs typeface="+mn-cs"/>
              </a:rPr>
              <a:t>†‡</a:t>
            </a:r>
            <a:r>
              <a:rPr kumimoji="0" lang="en-US" sz="1600" b="1" i="0" u="none" strike="noStrike" kern="1200" cap="none" spc="0" normalizeH="0" baseline="0" noProof="0" dirty="0">
                <a:ln>
                  <a:noFill/>
                </a:ln>
                <a:solidFill>
                  <a:srgbClr val="0095FF"/>
                </a:solidFill>
                <a:effectLst/>
                <a:uLnTx/>
                <a:uFillTx/>
                <a:ea typeface="+mn-ea"/>
                <a:cs typeface="+mn-cs"/>
              </a:rPr>
              <a:t> RSV-NET, FluSurv-NET, COVID-NET, 2022-2023</a:t>
            </a:r>
            <a:r>
              <a:rPr kumimoji="0" lang="en-US" sz="1600" b="0" i="0" u="none" strike="noStrike" kern="1200" cap="none" spc="0" normalizeH="0" baseline="30000" noProof="0" dirty="0">
                <a:ln>
                  <a:noFill/>
                </a:ln>
                <a:solidFill>
                  <a:srgbClr val="0095FF"/>
                </a:solidFill>
                <a:effectLst/>
                <a:uLnTx/>
                <a:uFillTx/>
                <a:ea typeface="+mn-ea"/>
                <a:cs typeface="+mn-cs"/>
              </a:rPr>
              <a:t>§</a:t>
            </a:r>
            <a:endParaRPr kumimoji="0" lang="en-US" sz="1600" b="1" i="0" u="none" strike="noStrike" kern="1200" cap="none" spc="0" normalizeH="0" baseline="0" noProof="0" dirty="0">
              <a:ln>
                <a:noFill/>
              </a:ln>
              <a:solidFill>
                <a:srgbClr val="0095FF"/>
              </a:solidFill>
              <a:effectLst/>
              <a:uLnTx/>
              <a:uFillTx/>
              <a:ea typeface="+mn-ea"/>
              <a:cs typeface="+mn-cs"/>
            </a:endParaRPr>
          </a:p>
        </p:txBody>
      </p:sp>
      <p:sp>
        <p:nvSpPr>
          <p:cNvPr id="7" name="Title 6">
            <a:extLst>
              <a:ext uri="{FF2B5EF4-FFF2-40B4-BE49-F238E27FC236}">
                <a16:creationId xmlns:a16="http://schemas.microsoft.com/office/drawing/2014/main" id="{6403F0E1-C8B8-5E04-959A-30632069E5CB}"/>
              </a:ext>
            </a:extLst>
          </p:cNvPr>
          <p:cNvSpPr>
            <a:spLocks noGrp="1"/>
          </p:cNvSpPr>
          <p:nvPr>
            <p:ph type="title"/>
          </p:nvPr>
        </p:nvSpPr>
        <p:spPr>
          <a:xfrm>
            <a:off x="613152" y="195684"/>
            <a:ext cx="10969218" cy="842156"/>
          </a:xfrm>
        </p:spPr>
        <p:txBody>
          <a:bodyPr/>
          <a:lstStyle/>
          <a:p>
            <a:r>
              <a:rPr lang="en-US" err="1"/>
              <a:t>Yaşlı</a:t>
            </a:r>
            <a:r>
              <a:rPr lang="en-US"/>
              <a:t> </a:t>
            </a:r>
            <a:r>
              <a:rPr lang="en-US" err="1"/>
              <a:t>yetişkinlerde</a:t>
            </a:r>
            <a:r>
              <a:rPr lang="en-US"/>
              <a:t> RSV, influenza </a:t>
            </a:r>
            <a:r>
              <a:rPr lang="en-US" err="1"/>
              <a:t>ve</a:t>
            </a:r>
            <a:r>
              <a:rPr lang="en-US"/>
              <a:t> COVID-19 </a:t>
            </a:r>
            <a:r>
              <a:rPr lang="en-US" err="1"/>
              <a:t>kaynaklı</a:t>
            </a:r>
            <a:r>
              <a:rPr lang="en-US"/>
              <a:t> </a:t>
            </a:r>
            <a:r>
              <a:rPr lang="en-US" err="1"/>
              <a:t>ciddi</a:t>
            </a:r>
            <a:r>
              <a:rPr lang="en-US"/>
              <a:t> </a:t>
            </a:r>
            <a:r>
              <a:rPr lang="en-US" err="1"/>
              <a:t>sonuç</a:t>
            </a:r>
            <a:r>
              <a:rPr lang="en-US"/>
              <a:t> </a:t>
            </a:r>
            <a:r>
              <a:rPr lang="en-US" err="1"/>
              <a:t>oranları</a:t>
            </a:r>
            <a:r>
              <a:rPr lang="en-US"/>
              <a:t> </a:t>
            </a:r>
            <a:r>
              <a:rPr lang="en-US" err="1"/>
              <a:t>benzerdir</a:t>
            </a:r>
            <a:endParaRPr lang="en-US"/>
          </a:p>
        </p:txBody>
      </p:sp>
      <p:sp>
        <p:nvSpPr>
          <p:cNvPr id="8" name="Slide Number Placeholder 7">
            <a:extLst>
              <a:ext uri="{FF2B5EF4-FFF2-40B4-BE49-F238E27FC236}">
                <a16:creationId xmlns:a16="http://schemas.microsoft.com/office/drawing/2014/main" id="{6A448177-CB86-29AA-826A-3C31453B4198}"/>
              </a:ext>
            </a:extLst>
          </p:cNvPr>
          <p:cNvSpPr>
            <a:spLocks noGrp="1"/>
          </p:cNvSpPr>
          <p:nvPr>
            <p:ph type="sldNum" sz="quarter" idx="4"/>
          </p:nvPr>
        </p:nvSpPr>
        <p:spPr>
          <a:xfrm>
            <a:off x="10438834" y="6508427"/>
            <a:ext cx="1143536" cy="153889"/>
          </a:xfrm>
        </p:spPr>
        <p:txBody>
          <a:bodyPr/>
          <a:lstStyle/>
          <a:p>
            <a:pPr lvl="0"/>
            <a:fld id="{8C13A29A-185B-4182-9583-7B13F1AC164D}" type="slidenum">
              <a:rPr lang="en-US" noProof="0" smtClean="0"/>
              <a:pPr lvl="0"/>
              <a:t>34</a:t>
            </a:fld>
            <a:endParaRPr lang="en-US" noProof="0"/>
          </a:p>
        </p:txBody>
      </p:sp>
      <p:sp>
        <p:nvSpPr>
          <p:cNvPr id="2" name="Text Placeholder 4">
            <a:extLst>
              <a:ext uri="{FF2B5EF4-FFF2-40B4-BE49-F238E27FC236}">
                <a16:creationId xmlns:a16="http://schemas.microsoft.com/office/drawing/2014/main" id="{E860F480-99F6-20F4-93B1-CF34209A2BB8}"/>
              </a:ext>
            </a:extLst>
          </p:cNvPr>
          <p:cNvSpPr>
            <a:spLocks noGrp="1"/>
          </p:cNvSpPr>
          <p:nvPr>
            <p:ph type="body" sz="quarter" idx="4294967295"/>
          </p:nvPr>
        </p:nvSpPr>
        <p:spPr>
          <a:xfrm>
            <a:off x="685800" y="5841041"/>
            <a:ext cx="10215563" cy="771525"/>
          </a:xfrm>
        </p:spPr>
        <p:txBody>
          <a:bodyPr>
            <a:normAutofit/>
          </a:bodyPr>
          <a:lstStyle/>
          <a:p>
            <a:pPr marL="0" marR="0" lvl="0" indent="0" algn="l" defTabSz="457200" rtl="0" eaLnBrk="1" fontAlgn="auto" latinLnBrk="0" hangingPunct="1">
              <a:spcBef>
                <a:spcPts val="0"/>
              </a:spcBef>
              <a:buClrTx/>
              <a:buSzTx/>
              <a:buFontTx/>
              <a:buNone/>
              <a:tabLst/>
              <a:defRPr/>
            </a:pPr>
            <a:r>
              <a:rPr kumimoji="0" lang="en-US" sz="500" b="0" i="0" u="none" strike="noStrike" kern="1200" cap="none" spc="0" normalizeH="0" baseline="0" noProof="0" dirty="0">
                <a:ln>
                  <a:noFill/>
                </a:ln>
                <a:solidFill>
                  <a:schemeClr val="bg1">
                    <a:lumMod val="50000"/>
                  </a:schemeClr>
                </a:solidFill>
                <a:effectLst/>
                <a:uLnTx/>
                <a:uFillTx/>
              </a:rPr>
              <a:t>*</a:t>
            </a:r>
            <a:r>
              <a:rPr kumimoji="0" lang="en-US" sz="500" b="0" i="0" u="none" strike="noStrike" kern="1200" cap="none" spc="0" normalizeH="0" baseline="0" noProof="0" dirty="0" err="1">
                <a:ln>
                  <a:noFill/>
                </a:ln>
                <a:solidFill>
                  <a:schemeClr val="bg1">
                    <a:lumMod val="50000"/>
                  </a:schemeClr>
                </a:solidFill>
                <a:effectLst/>
                <a:uLnTx/>
                <a:uFillTx/>
              </a:rPr>
              <a:t>Ciddi</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sonuçlar</a:t>
            </a:r>
            <a:r>
              <a:rPr kumimoji="0" lang="en-US" sz="500" b="0" i="0" u="none" strike="noStrike" kern="1200" cap="none" spc="0" normalizeH="0" baseline="0" noProof="0" dirty="0">
                <a:ln>
                  <a:noFill/>
                </a:ln>
                <a:solidFill>
                  <a:schemeClr val="bg1">
                    <a:lumMod val="50000"/>
                  </a:schemeClr>
                </a:solidFill>
                <a:effectLst/>
                <a:uLnTx/>
                <a:uFillTx/>
              </a:rPr>
              <a:t> da </a:t>
            </a:r>
            <a:r>
              <a:rPr kumimoji="0" lang="en-US" sz="500" b="0" i="0" u="none" strike="noStrike" kern="1200" cap="none" spc="0" normalizeH="0" baseline="0" noProof="0" dirty="0" err="1">
                <a:ln>
                  <a:noFill/>
                </a:ln>
                <a:solidFill>
                  <a:schemeClr val="bg1">
                    <a:lumMod val="50000"/>
                  </a:schemeClr>
                </a:solidFill>
                <a:effectLst/>
                <a:uLnTx/>
                <a:uFillTx/>
              </a:rPr>
              <a:t>dahil</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olmak</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üzere</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klinik</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veriler</a:t>
            </a:r>
            <a:r>
              <a:rPr kumimoji="0" lang="en-US" sz="500" b="0" i="0" u="none" strike="noStrike" kern="1200" cap="none" spc="0" normalizeH="0" baseline="0" noProof="0" dirty="0">
                <a:ln>
                  <a:noFill/>
                </a:ln>
                <a:solidFill>
                  <a:schemeClr val="bg1">
                    <a:lumMod val="50000"/>
                  </a:schemeClr>
                </a:solidFill>
                <a:effectLst/>
                <a:uLnTx/>
                <a:uFillTx/>
              </a:rPr>
              <a:t>, 2022-2023 </a:t>
            </a:r>
            <a:r>
              <a:rPr kumimoji="0" lang="en-US" sz="500" b="0" i="0" u="none" strike="noStrike" kern="1200" cap="none" spc="0" normalizeH="0" baseline="0" noProof="0" dirty="0" err="1">
                <a:ln>
                  <a:noFill/>
                </a:ln>
                <a:solidFill>
                  <a:schemeClr val="bg1">
                    <a:lumMod val="50000"/>
                  </a:schemeClr>
                </a:solidFill>
                <a:effectLst/>
                <a:uLnTx/>
                <a:uFillTx/>
              </a:rPr>
              <a:t>sezonu</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boyunca</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laboratuvar</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tarafından</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doğrulanmış</a:t>
            </a:r>
            <a:r>
              <a:rPr kumimoji="0" lang="en-US" sz="500" b="0" i="0" u="none" strike="noStrike" kern="1200" cap="none" spc="0" normalizeH="0" baseline="0" noProof="0" dirty="0">
                <a:ln>
                  <a:noFill/>
                </a:ln>
                <a:solidFill>
                  <a:schemeClr val="bg1">
                    <a:lumMod val="50000"/>
                  </a:schemeClr>
                </a:solidFill>
                <a:effectLst/>
                <a:uLnTx/>
                <a:uFillTx/>
              </a:rPr>
              <a:t> RSV, influenza </a:t>
            </a:r>
            <a:r>
              <a:rPr kumimoji="0" lang="en-US" sz="500" b="0" i="0" u="none" strike="noStrike" kern="1200" cap="none" spc="0" normalizeH="0" baseline="0" noProof="0" dirty="0" err="1">
                <a:ln>
                  <a:noFill/>
                </a:ln>
                <a:solidFill>
                  <a:schemeClr val="bg1">
                    <a:lumMod val="50000"/>
                  </a:schemeClr>
                </a:solidFill>
                <a:effectLst/>
                <a:uLnTx/>
                <a:uFillTx/>
              </a:rPr>
              <a:t>ve</a:t>
            </a:r>
            <a:r>
              <a:rPr kumimoji="0" lang="en-US" sz="500" b="0" i="0" u="none" strike="noStrike" kern="1200" cap="none" spc="0" normalizeH="0" baseline="0" noProof="0" dirty="0">
                <a:ln>
                  <a:noFill/>
                </a:ln>
                <a:solidFill>
                  <a:schemeClr val="bg1">
                    <a:lumMod val="50000"/>
                  </a:schemeClr>
                </a:solidFill>
                <a:effectLst/>
                <a:uLnTx/>
                <a:uFillTx/>
              </a:rPr>
              <a:t> COVID-19 </a:t>
            </a:r>
            <a:r>
              <a:rPr kumimoji="0" lang="en-US" sz="500" b="0" i="0" u="none" strike="noStrike" kern="1200" cap="none" spc="0" normalizeH="0" baseline="0" noProof="0" dirty="0" err="1">
                <a:ln>
                  <a:noFill/>
                </a:ln>
                <a:solidFill>
                  <a:schemeClr val="bg1">
                    <a:lumMod val="50000"/>
                  </a:schemeClr>
                </a:solidFill>
                <a:effectLst/>
                <a:uLnTx/>
                <a:uFillTx/>
              </a:rPr>
              <a:t>hastaneye</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yatışları</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olan</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hastaların</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yaşa</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ve</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bölgeye</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göre</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tabakalandırılmış</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rastgele</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bir</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örneği</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için</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toplanmıştır</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Gösterilen</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yüzdeler</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seçilme</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olasılığı</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için</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ağırlıklandırılmıştır</a:t>
            </a:r>
            <a:r>
              <a:rPr kumimoji="0" lang="en-US" sz="500" b="0" i="0" u="none" strike="noStrike" kern="1200" cap="none" spc="0" normalizeH="0" baseline="0" noProof="0" dirty="0">
                <a:ln>
                  <a:noFill/>
                </a:ln>
                <a:solidFill>
                  <a:schemeClr val="bg1">
                    <a:lumMod val="50000"/>
                  </a:schemeClr>
                </a:solidFill>
                <a:effectLst/>
                <a:uLnTx/>
                <a:uFillTx/>
              </a:rPr>
              <a:t>.</a:t>
            </a:r>
          </a:p>
          <a:p>
            <a:pPr marL="0" marR="0" lvl="0" indent="0" algn="l" defTabSz="457200" rtl="0" eaLnBrk="1" fontAlgn="auto" latinLnBrk="0" hangingPunct="1">
              <a:spcBef>
                <a:spcPts val="0"/>
              </a:spcBef>
              <a:buClrTx/>
              <a:buSzTx/>
              <a:buFontTx/>
              <a:buNone/>
              <a:tabLst/>
              <a:defRPr/>
            </a:pPr>
            <a:r>
              <a:rPr kumimoji="0" lang="en-US" sz="500" b="0" i="0" u="none" strike="noStrike" kern="1200" cap="none" spc="0" normalizeH="0" baseline="0" noProof="0" dirty="0">
                <a:ln>
                  <a:noFill/>
                </a:ln>
                <a:solidFill>
                  <a:schemeClr val="bg1">
                    <a:lumMod val="50000"/>
                  </a:schemeClr>
                </a:solidFill>
                <a:effectLst/>
                <a:uLnTx/>
                <a:uFillTx/>
              </a:rPr>
              <a:t>†</a:t>
            </a:r>
            <a:r>
              <a:rPr kumimoji="0" lang="en-US" sz="500" b="0" i="0" u="none" strike="noStrike" kern="1200" cap="none" spc="0" normalizeH="0" baseline="0" noProof="0" dirty="0" err="1">
                <a:ln>
                  <a:noFill/>
                </a:ln>
                <a:solidFill>
                  <a:schemeClr val="bg1">
                    <a:lumMod val="50000"/>
                  </a:schemeClr>
                </a:solidFill>
                <a:effectLst/>
                <a:uLnTx/>
                <a:uFillTx/>
              </a:rPr>
              <a:t>Ağır</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hastalığı</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olan</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hastaların</a:t>
            </a:r>
            <a:r>
              <a:rPr kumimoji="0" lang="en-US" sz="500" b="0" i="0" u="none" strike="noStrike" kern="1200" cap="none" spc="0" normalizeH="0" baseline="0" noProof="0" dirty="0">
                <a:ln>
                  <a:noFill/>
                </a:ln>
                <a:solidFill>
                  <a:schemeClr val="bg1">
                    <a:lumMod val="50000"/>
                  </a:schemeClr>
                </a:solidFill>
                <a:effectLst/>
                <a:uLnTx/>
                <a:uFillTx/>
              </a:rPr>
              <a:t> RSV, influenza </a:t>
            </a:r>
            <a:r>
              <a:rPr kumimoji="0" lang="en-US" sz="500" b="0" i="0" u="none" strike="noStrike" kern="1200" cap="none" spc="0" normalizeH="0" baseline="0" noProof="0" dirty="0" err="1">
                <a:ln>
                  <a:noFill/>
                </a:ln>
                <a:solidFill>
                  <a:schemeClr val="bg1">
                    <a:lumMod val="50000"/>
                  </a:schemeClr>
                </a:solidFill>
                <a:effectLst/>
                <a:uLnTx/>
                <a:uFillTx/>
              </a:rPr>
              <a:t>veya</a:t>
            </a:r>
            <a:r>
              <a:rPr kumimoji="0" lang="en-US" sz="500" b="0" i="0" u="none" strike="noStrike" kern="1200" cap="none" spc="0" normalizeH="0" baseline="0" noProof="0" dirty="0">
                <a:ln>
                  <a:noFill/>
                </a:ln>
                <a:solidFill>
                  <a:schemeClr val="bg1">
                    <a:lumMod val="50000"/>
                  </a:schemeClr>
                </a:solidFill>
                <a:effectLst/>
                <a:uLnTx/>
                <a:uFillTx/>
              </a:rPr>
              <a:t> COVID-19 </a:t>
            </a:r>
            <a:r>
              <a:rPr kumimoji="0" lang="en-US" sz="500" b="0" i="0" u="none" strike="noStrike" kern="1200" cap="none" spc="0" normalizeH="0" baseline="0" noProof="0" dirty="0" err="1">
                <a:ln>
                  <a:noFill/>
                </a:ln>
                <a:solidFill>
                  <a:schemeClr val="bg1">
                    <a:lumMod val="50000"/>
                  </a:schemeClr>
                </a:solidFill>
                <a:effectLst/>
                <a:uLnTx/>
                <a:uFillTx/>
              </a:rPr>
              <a:t>için</a:t>
            </a:r>
            <a:r>
              <a:rPr kumimoji="0" lang="en-US" sz="500" b="0" i="0" u="none" strike="noStrike" kern="1200" cap="none" spc="0" normalizeH="0" baseline="0" noProof="0" dirty="0">
                <a:ln>
                  <a:noFill/>
                </a:ln>
                <a:solidFill>
                  <a:schemeClr val="bg1">
                    <a:lumMod val="50000"/>
                  </a:schemeClr>
                </a:solidFill>
                <a:effectLst/>
                <a:uLnTx/>
                <a:uFillTx/>
              </a:rPr>
              <a:t> test </a:t>
            </a:r>
            <a:r>
              <a:rPr kumimoji="0" lang="en-US" sz="500" b="0" i="0" u="none" strike="noStrike" kern="1200" cap="none" spc="0" normalizeH="0" baseline="0" noProof="0" dirty="0" err="1">
                <a:ln>
                  <a:noFill/>
                </a:ln>
                <a:solidFill>
                  <a:schemeClr val="bg1">
                    <a:lumMod val="50000"/>
                  </a:schemeClr>
                </a:solidFill>
                <a:effectLst/>
                <a:uLnTx/>
                <a:uFillTx/>
              </a:rPr>
              <a:t>edilme</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olasılığı</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daha</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yüksek</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olabilir</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bu</a:t>
            </a:r>
            <a:r>
              <a:rPr kumimoji="0" lang="en-US" sz="500" b="0" i="0" u="none" strike="noStrike" kern="1200" cap="none" spc="0" normalizeH="0" baseline="0" noProof="0" dirty="0">
                <a:ln>
                  <a:noFill/>
                </a:ln>
                <a:solidFill>
                  <a:schemeClr val="bg1">
                    <a:lumMod val="50000"/>
                  </a:schemeClr>
                </a:solidFill>
                <a:effectLst/>
                <a:uLnTx/>
                <a:uFillTx/>
              </a:rPr>
              <a:t> da </a:t>
            </a:r>
            <a:r>
              <a:rPr kumimoji="0" lang="en-US" sz="500" b="0" i="0" u="none" strike="noStrike" kern="1200" cap="none" spc="0" normalizeH="0" baseline="0" noProof="0" dirty="0" err="1">
                <a:ln>
                  <a:noFill/>
                </a:ln>
                <a:solidFill>
                  <a:schemeClr val="bg1">
                    <a:lumMod val="50000"/>
                  </a:schemeClr>
                </a:solidFill>
                <a:effectLst/>
                <a:uLnTx/>
                <a:uFillTx/>
              </a:rPr>
              <a:t>YBÜ'ye</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kabul</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edilen</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hastaların</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oranlarını</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abartabilir</a:t>
            </a:r>
            <a:r>
              <a:rPr kumimoji="0" lang="en-US" sz="500" b="0" i="0" u="none" strike="noStrike" kern="1200" cap="none" spc="0" normalizeH="0" baseline="0" noProof="0" dirty="0">
                <a:ln>
                  <a:noFill/>
                </a:ln>
                <a:solidFill>
                  <a:schemeClr val="bg1">
                    <a:lumMod val="50000"/>
                  </a:schemeClr>
                </a:solidFill>
                <a:effectLst/>
                <a:uLnTx/>
                <a:uFillTx/>
              </a:rPr>
              <a:t>.</a:t>
            </a:r>
          </a:p>
          <a:p>
            <a:pPr marL="0" marR="0" lvl="0" indent="0" algn="l" defTabSz="457200" rtl="0" eaLnBrk="1" fontAlgn="auto" latinLnBrk="0" hangingPunct="1">
              <a:spcBef>
                <a:spcPts val="0"/>
              </a:spcBef>
              <a:buClrTx/>
              <a:buSzTx/>
              <a:buFontTx/>
              <a:buNone/>
              <a:tabLst/>
              <a:defRPr/>
            </a:pPr>
            <a:r>
              <a:rPr kumimoji="0" lang="en-US" sz="500" b="0" i="0" u="none" strike="noStrike" kern="1200" cap="none" spc="0" normalizeH="0" baseline="0" noProof="0" dirty="0">
                <a:ln>
                  <a:noFill/>
                </a:ln>
                <a:solidFill>
                  <a:schemeClr val="bg1">
                    <a:lumMod val="50000"/>
                  </a:schemeClr>
                </a:solidFill>
                <a:effectLst/>
                <a:uLnTx/>
                <a:uFillTx/>
              </a:rPr>
              <a:t>‡</a:t>
            </a:r>
            <a:r>
              <a:rPr kumimoji="0" lang="en-US" sz="500" b="0" i="0" u="none" strike="noStrike" kern="1200" cap="none" spc="0" normalizeH="0" baseline="0" noProof="0" dirty="0" err="1">
                <a:ln>
                  <a:noFill/>
                </a:ln>
                <a:solidFill>
                  <a:schemeClr val="bg1">
                    <a:lumMod val="50000"/>
                  </a:schemeClr>
                </a:solidFill>
                <a:effectLst/>
                <a:uLnTx/>
                <a:uFillTx/>
              </a:rPr>
              <a:t>Burada</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gösterilen</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veriler</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hastanın</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aşılanma</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veya</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tedavi</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durumunu</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dikkate</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almamaktadır</a:t>
            </a:r>
            <a:r>
              <a:rPr kumimoji="0" lang="en-US" sz="500" b="0" i="0" u="none" strike="noStrike" kern="1200" cap="none" spc="0" normalizeH="0" baseline="0" noProof="0" dirty="0">
                <a:ln>
                  <a:noFill/>
                </a:ln>
                <a:solidFill>
                  <a:schemeClr val="bg1">
                    <a:lumMod val="50000"/>
                  </a:schemeClr>
                </a:solidFill>
                <a:effectLst/>
                <a:uLnTx/>
                <a:uFillTx/>
              </a:rPr>
              <a:t>.</a:t>
            </a:r>
          </a:p>
          <a:p>
            <a:pPr marL="0" marR="0" lvl="0" indent="0" algn="l" defTabSz="457200" rtl="0" eaLnBrk="1" fontAlgn="auto" latinLnBrk="0" hangingPunct="1">
              <a:spcBef>
                <a:spcPts val="0"/>
              </a:spcBef>
              <a:buClrTx/>
              <a:buSzTx/>
              <a:buFontTx/>
              <a:buNone/>
              <a:tabLst/>
              <a:defRPr/>
            </a:pPr>
            <a:r>
              <a:rPr kumimoji="0" lang="en-US" sz="500" b="0" i="0" u="none" strike="noStrike" kern="1200" cap="none" spc="0" normalizeH="0" baseline="0" noProof="0" dirty="0">
                <a:ln>
                  <a:noFill/>
                </a:ln>
                <a:solidFill>
                  <a:schemeClr val="bg1">
                    <a:lumMod val="50000"/>
                  </a:schemeClr>
                </a:solidFill>
                <a:effectLst/>
                <a:uLnTx/>
                <a:uFillTx/>
              </a:rPr>
              <a:t>§FluSurv-NET </a:t>
            </a:r>
            <a:r>
              <a:rPr kumimoji="0" lang="en-US" sz="500" b="0" i="0" u="none" strike="noStrike" kern="1200" cap="none" spc="0" normalizeH="0" baseline="0" noProof="0" dirty="0" err="1">
                <a:ln>
                  <a:noFill/>
                </a:ln>
                <a:solidFill>
                  <a:schemeClr val="bg1">
                    <a:lumMod val="50000"/>
                  </a:schemeClr>
                </a:solidFill>
                <a:effectLst/>
                <a:uLnTx/>
                <a:uFillTx/>
              </a:rPr>
              <a:t>sürveyansı</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Ekim</a:t>
            </a:r>
            <a:r>
              <a:rPr kumimoji="0" lang="en-US" sz="500" b="0" i="0" u="none" strike="noStrike" kern="1200" cap="none" spc="0" normalizeH="0" baseline="0" noProof="0" dirty="0">
                <a:ln>
                  <a:noFill/>
                </a:ln>
                <a:solidFill>
                  <a:schemeClr val="bg1">
                    <a:lumMod val="50000"/>
                  </a:schemeClr>
                </a:solidFill>
                <a:effectLst/>
                <a:uLnTx/>
                <a:uFillTx/>
              </a:rPr>
              <a:t> 2022-Nisan 2023 </a:t>
            </a:r>
            <a:r>
              <a:rPr kumimoji="0" lang="en-US" sz="500" b="0" i="0" u="none" strike="noStrike" kern="1200" cap="none" spc="0" normalizeH="0" baseline="0" noProof="0" dirty="0" err="1">
                <a:ln>
                  <a:noFill/>
                </a:ln>
                <a:solidFill>
                  <a:schemeClr val="bg1">
                    <a:lumMod val="50000"/>
                  </a:schemeClr>
                </a:solidFill>
                <a:effectLst/>
                <a:uLnTx/>
                <a:uFillTx/>
              </a:rPr>
              <a:t>döneminde</a:t>
            </a:r>
            <a:r>
              <a:rPr kumimoji="0" lang="en-US" sz="500" b="0" i="0" u="none" strike="noStrike" kern="1200" cap="none" spc="0" normalizeH="0" baseline="0" noProof="0" dirty="0">
                <a:ln>
                  <a:noFill/>
                </a:ln>
                <a:solidFill>
                  <a:schemeClr val="bg1">
                    <a:lumMod val="50000"/>
                  </a:schemeClr>
                </a:solidFill>
                <a:effectLst/>
                <a:uLnTx/>
                <a:uFillTx/>
              </a:rPr>
              <a:t>; RSV-NET </a:t>
            </a:r>
            <a:r>
              <a:rPr kumimoji="0" lang="en-US" sz="500" b="0" i="0" u="none" strike="noStrike" kern="1200" cap="none" spc="0" normalizeH="0" baseline="0" noProof="0" dirty="0" err="1">
                <a:ln>
                  <a:noFill/>
                </a:ln>
                <a:solidFill>
                  <a:schemeClr val="bg1">
                    <a:lumMod val="50000"/>
                  </a:schemeClr>
                </a:solidFill>
                <a:effectLst/>
                <a:uLnTx/>
                <a:uFillTx/>
              </a:rPr>
              <a:t>ve</a:t>
            </a:r>
            <a:r>
              <a:rPr kumimoji="0" lang="en-US" sz="500" b="0" i="0" u="none" strike="noStrike" kern="1200" cap="none" spc="0" normalizeH="0" baseline="0" noProof="0" dirty="0">
                <a:ln>
                  <a:noFill/>
                </a:ln>
                <a:solidFill>
                  <a:schemeClr val="bg1">
                    <a:lumMod val="50000"/>
                  </a:schemeClr>
                </a:solidFill>
                <a:effectLst/>
                <a:uLnTx/>
                <a:uFillTx/>
              </a:rPr>
              <a:t> COVID-NET </a:t>
            </a:r>
            <a:r>
              <a:rPr kumimoji="0" lang="en-US" sz="500" b="0" i="0" u="none" strike="noStrike" kern="1200" cap="none" spc="0" normalizeH="0" baseline="0" noProof="0" dirty="0" err="1">
                <a:ln>
                  <a:noFill/>
                </a:ln>
                <a:solidFill>
                  <a:schemeClr val="bg1">
                    <a:lumMod val="50000"/>
                  </a:schemeClr>
                </a:solidFill>
                <a:effectLst/>
                <a:uLnTx/>
                <a:uFillTx/>
              </a:rPr>
              <a:t>sürveyansı</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yıl</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boyunca</a:t>
            </a:r>
            <a:r>
              <a:rPr kumimoji="0" lang="en-US" sz="500" b="0" i="0" u="none" strike="noStrike" kern="1200" cap="none" spc="0" normalizeH="0" baseline="0" noProof="0" dirty="0">
                <a:ln>
                  <a:noFill/>
                </a:ln>
                <a:solidFill>
                  <a:schemeClr val="bg1">
                    <a:lumMod val="50000"/>
                  </a:schemeClr>
                </a:solidFill>
                <a:effectLst/>
                <a:uLnTx/>
                <a:uFillTx/>
              </a:rPr>
              <a:t> </a:t>
            </a:r>
            <a:r>
              <a:rPr kumimoji="0" lang="en-US" sz="500" b="0" i="0" u="none" strike="noStrike" kern="1200" cap="none" spc="0" normalizeH="0" baseline="0" noProof="0" dirty="0" err="1">
                <a:ln>
                  <a:noFill/>
                </a:ln>
                <a:solidFill>
                  <a:schemeClr val="bg1">
                    <a:lumMod val="50000"/>
                  </a:schemeClr>
                </a:solidFill>
                <a:effectLst/>
                <a:uLnTx/>
                <a:uFillTx/>
              </a:rPr>
              <a:t>gerçekleştirilmiştir</a:t>
            </a:r>
            <a:r>
              <a:rPr kumimoji="0" lang="en-US" sz="500" b="0" i="0" u="none" strike="noStrike" kern="1200" cap="none" spc="0" normalizeH="0" baseline="0" noProof="0" dirty="0">
                <a:ln>
                  <a:noFill/>
                </a:ln>
                <a:solidFill>
                  <a:schemeClr val="bg1">
                    <a:lumMod val="50000"/>
                  </a:schemeClr>
                </a:solidFill>
                <a:effectLst/>
                <a:uLnTx/>
                <a:uFillTx/>
              </a:rPr>
              <a:t>.</a:t>
            </a:r>
          </a:p>
          <a:p>
            <a:pPr marL="0" marR="0" lvl="0" indent="0" algn="l" defTabSz="457200" rtl="0" eaLnBrk="1" fontAlgn="auto" latinLnBrk="0" hangingPunct="1">
              <a:spcBef>
                <a:spcPts val="0"/>
              </a:spcBef>
              <a:buClrTx/>
              <a:buSzTx/>
              <a:buFontTx/>
              <a:buNone/>
              <a:tabLst/>
              <a:defRPr/>
            </a:pPr>
            <a:r>
              <a:rPr lang="en-US" sz="500" dirty="0">
                <a:solidFill>
                  <a:schemeClr val="bg1">
                    <a:lumMod val="50000"/>
                  </a:schemeClr>
                </a:solidFill>
              </a:rPr>
              <a:t>Patton ME. Presented at ACIP Meeting, October 25, 2023. </a:t>
            </a:r>
            <a:r>
              <a:rPr lang="en-US" sz="500" dirty="0">
                <a:solidFill>
                  <a:schemeClr val="bg1">
                    <a:lumMod val="50000"/>
                  </a:schemeClr>
                </a:solidFill>
                <a:hlinkClick r:id="rId5">
                  <a:extLst>
                    <a:ext uri="{A12FA001-AC4F-418D-AE19-62706E023703}">
                      <ahyp:hlinkClr xmlns:ahyp="http://schemas.microsoft.com/office/drawing/2018/hyperlinkcolor" val="tx"/>
                    </a:ext>
                  </a:extLst>
                </a:hlinkClick>
              </a:rPr>
              <a:t>https://www.cdc.gov/acip/downloads/slides-2023-10-25-26/03-Patton-Adult-RSV-508.pdf</a:t>
            </a:r>
            <a:r>
              <a:rPr lang="en-US" sz="500" dirty="0">
                <a:solidFill>
                  <a:schemeClr val="bg1">
                    <a:lumMod val="50000"/>
                  </a:schemeClr>
                </a:solidFill>
              </a:rPr>
              <a:t>. Accessed January 29, 2025. </a:t>
            </a:r>
            <a:endParaRPr kumimoji="0" lang="en-US" sz="500" b="0" i="0" u="none" strike="noStrike" kern="1200" cap="none" spc="0" normalizeH="0" baseline="0" noProof="0" dirty="0">
              <a:ln>
                <a:noFill/>
              </a:ln>
              <a:solidFill>
                <a:schemeClr val="bg1">
                  <a:lumMod val="50000"/>
                </a:schemeClr>
              </a:solidFill>
              <a:effectLst/>
              <a:uLnTx/>
              <a:uFillTx/>
            </a:endParaRPr>
          </a:p>
        </p:txBody>
      </p:sp>
      <p:sp>
        <p:nvSpPr>
          <p:cNvPr id="19" name="TextBox 18">
            <a:extLst>
              <a:ext uri="{FF2B5EF4-FFF2-40B4-BE49-F238E27FC236}">
                <a16:creationId xmlns:a16="http://schemas.microsoft.com/office/drawing/2014/main" id="{C7A5DDB3-C443-20C5-B183-1CEF0B9B2C90}"/>
              </a:ext>
            </a:extLst>
          </p:cNvPr>
          <p:cNvSpPr txBox="1"/>
          <p:nvPr/>
        </p:nvSpPr>
        <p:spPr>
          <a:xfrm>
            <a:off x="5695950" y="5584194"/>
            <a:ext cx="1914525" cy="261610"/>
          </a:xfrm>
          <a:prstGeom prst="rect">
            <a:avLst/>
          </a:prstGeom>
          <a:noFill/>
        </p:spPr>
        <p:txBody>
          <a:bodyPr wrap="square" rtlCol="0" anchor="ctr">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ea typeface="+mn-ea"/>
                <a:cs typeface="+mn-cs"/>
              </a:rPr>
              <a:t>Yaş Grubu (yıl)</a:t>
            </a:r>
          </a:p>
        </p:txBody>
      </p:sp>
      <p:sp>
        <p:nvSpPr>
          <p:cNvPr id="21" name="TextBox 20">
            <a:extLst>
              <a:ext uri="{FF2B5EF4-FFF2-40B4-BE49-F238E27FC236}">
                <a16:creationId xmlns:a16="http://schemas.microsoft.com/office/drawing/2014/main" id="{5A195A85-BB9A-DB36-3D2E-60585D653EF8}"/>
              </a:ext>
            </a:extLst>
          </p:cNvPr>
          <p:cNvSpPr txBox="1"/>
          <p:nvPr/>
        </p:nvSpPr>
        <p:spPr>
          <a:xfrm>
            <a:off x="3522134" y="2177363"/>
            <a:ext cx="6096000" cy="292388"/>
          </a:xfrm>
          <a:prstGeom prst="rect">
            <a:avLst/>
          </a:prstGeom>
          <a:noFill/>
        </p:spPr>
        <p:txBody>
          <a:bodyPr wrap="square">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67"/>
                </a:solidFill>
                <a:effectLst/>
                <a:uLnTx/>
                <a:uFillTx/>
                <a:ea typeface="+mn-ea"/>
                <a:cs typeface="+mn-cs"/>
              </a:rPr>
              <a:t>YOĞUN BAKIM ÜNİTESİNE YATIŞ ORANLARI</a:t>
            </a:r>
          </a:p>
        </p:txBody>
      </p:sp>
      <p:sp>
        <p:nvSpPr>
          <p:cNvPr id="22" name="TextBox 21">
            <a:extLst>
              <a:ext uri="{FF2B5EF4-FFF2-40B4-BE49-F238E27FC236}">
                <a16:creationId xmlns:a16="http://schemas.microsoft.com/office/drawing/2014/main" id="{94B8EC97-307C-41BE-E4E8-A720B8D5021E}"/>
              </a:ext>
            </a:extLst>
          </p:cNvPr>
          <p:cNvSpPr txBox="1"/>
          <p:nvPr/>
        </p:nvSpPr>
        <p:spPr>
          <a:xfrm>
            <a:off x="3360209" y="4369122"/>
            <a:ext cx="6096000" cy="292388"/>
          </a:xfrm>
          <a:prstGeom prst="rect">
            <a:avLst/>
          </a:prstGeom>
          <a:noFill/>
        </p:spPr>
        <p:txBody>
          <a:bodyPr wrap="square">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67"/>
                </a:solidFill>
                <a:effectLst/>
                <a:uLnTx/>
                <a:uFillTx/>
                <a:ea typeface="+mn-ea"/>
                <a:cs typeface="+mn-cs"/>
              </a:rPr>
              <a:t>HASTANE İÇİ MORTALİTE ORANI</a:t>
            </a:r>
          </a:p>
        </p:txBody>
      </p:sp>
      <p:pic>
        <p:nvPicPr>
          <p:cNvPr id="10" name="Picture 9" descr="A black and blue logo&#10;&#10;AI-generated content may be incorrect.">
            <a:extLst>
              <a:ext uri="{FF2B5EF4-FFF2-40B4-BE49-F238E27FC236}">
                <a16:creationId xmlns:a16="http://schemas.microsoft.com/office/drawing/2014/main" id="{252651CF-CFF6-C4DA-C67E-D2A6974D0F69}"/>
              </a:ext>
            </a:extLst>
          </p:cNvPr>
          <p:cNvPicPr>
            <a:picLocks noChangeAspect="1"/>
          </p:cNvPicPr>
          <p:nvPr/>
        </p:nvPicPr>
        <p:blipFill>
          <a:blip r:embed="rId6"/>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33413914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5F5C7-7CEE-C288-B6B6-BE7335D5C87C}"/>
              </a:ext>
            </a:extLst>
          </p:cNvPr>
          <p:cNvSpPr>
            <a:spLocks noGrp="1"/>
          </p:cNvSpPr>
          <p:nvPr>
            <p:ph type="title"/>
          </p:nvPr>
        </p:nvSpPr>
        <p:spPr>
          <a:xfrm>
            <a:off x="613152" y="195684"/>
            <a:ext cx="10969218" cy="842156"/>
          </a:xfrm>
        </p:spPr>
        <p:txBody>
          <a:bodyPr>
            <a:normAutofit fontScale="90000"/>
          </a:bodyPr>
          <a:lstStyle/>
          <a:p>
            <a:r>
              <a:rPr lang="en-US" err="1"/>
              <a:t>RSV'li</a:t>
            </a:r>
            <a:r>
              <a:rPr lang="en-US"/>
              <a:t> </a:t>
            </a:r>
            <a:r>
              <a:rPr lang="en-US" err="1"/>
              <a:t>hastaların</a:t>
            </a:r>
            <a:r>
              <a:rPr lang="en-US"/>
              <a:t>, influenza </a:t>
            </a:r>
            <a:r>
              <a:rPr lang="en-US" err="1"/>
              <a:t>hastalarına</a:t>
            </a:r>
            <a:r>
              <a:rPr lang="en-US"/>
              <a:t> </a:t>
            </a:r>
            <a:r>
              <a:rPr lang="en-US" err="1"/>
              <a:t>kıyasla</a:t>
            </a:r>
            <a:r>
              <a:rPr lang="en-US"/>
              <a:t> </a:t>
            </a:r>
            <a:r>
              <a:rPr lang="en-US" err="1"/>
              <a:t>hastaneye</a:t>
            </a:r>
            <a:r>
              <a:rPr lang="en-US"/>
              <a:t> </a:t>
            </a:r>
            <a:r>
              <a:rPr lang="en-US" err="1"/>
              <a:t>yatış</a:t>
            </a:r>
            <a:r>
              <a:rPr lang="en-US"/>
              <a:t> </a:t>
            </a:r>
            <a:r>
              <a:rPr lang="en-US" err="1"/>
              <a:t>gerek</a:t>
            </a:r>
            <a:r>
              <a:rPr lang="tr-TR"/>
              <a:t>sinimi</a:t>
            </a:r>
            <a:br>
              <a:rPr lang="tr-TR"/>
            </a:br>
            <a:r>
              <a:rPr lang="tr-TR"/>
              <a:t> </a:t>
            </a:r>
            <a:r>
              <a:rPr lang="en-US" err="1"/>
              <a:t>ve</a:t>
            </a:r>
            <a:r>
              <a:rPr lang="en-US"/>
              <a:t> </a:t>
            </a:r>
            <a:r>
              <a:rPr lang="en-US" err="1"/>
              <a:t>daha</a:t>
            </a:r>
            <a:r>
              <a:rPr lang="en-US"/>
              <a:t> </a:t>
            </a:r>
            <a:r>
              <a:rPr lang="en-US" err="1"/>
              <a:t>kötü</a:t>
            </a:r>
            <a:r>
              <a:rPr lang="en-US"/>
              <a:t> </a:t>
            </a:r>
            <a:r>
              <a:rPr lang="en-US" err="1"/>
              <a:t>klinik</a:t>
            </a:r>
            <a:r>
              <a:rPr lang="en-US"/>
              <a:t> </a:t>
            </a:r>
            <a:r>
              <a:rPr lang="en-US" err="1"/>
              <a:t>sonuçlar</a:t>
            </a:r>
            <a:r>
              <a:rPr lang="en-US"/>
              <a:t> </a:t>
            </a:r>
            <a:r>
              <a:rPr lang="en-US" err="1"/>
              <a:t>yaşama</a:t>
            </a:r>
            <a:r>
              <a:rPr lang="en-US"/>
              <a:t> </a:t>
            </a:r>
            <a:r>
              <a:rPr lang="en-US" err="1"/>
              <a:t>olasılığı</a:t>
            </a:r>
            <a:r>
              <a:rPr lang="en-US"/>
              <a:t> </a:t>
            </a:r>
            <a:r>
              <a:rPr lang="en-US" err="1"/>
              <a:t>daha</a:t>
            </a:r>
            <a:r>
              <a:rPr lang="en-US"/>
              <a:t> </a:t>
            </a:r>
            <a:r>
              <a:rPr lang="en-US" err="1"/>
              <a:t>yüksektir</a:t>
            </a:r>
            <a:endParaRPr lang="en-US"/>
          </a:p>
        </p:txBody>
      </p:sp>
      <p:sp>
        <p:nvSpPr>
          <p:cNvPr id="3" name="Text Placeholder 2">
            <a:extLst>
              <a:ext uri="{FF2B5EF4-FFF2-40B4-BE49-F238E27FC236}">
                <a16:creationId xmlns:a16="http://schemas.microsoft.com/office/drawing/2014/main" id="{E8AD357C-C436-1C1F-B312-90D61140D74A}"/>
              </a:ext>
            </a:extLst>
          </p:cNvPr>
          <p:cNvSpPr>
            <a:spLocks noGrp="1"/>
          </p:cNvSpPr>
          <p:nvPr>
            <p:ph type="body" sz="quarter" idx="4294967295"/>
          </p:nvPr>
        </p:nvSpPr>
        <p:spPr>
          <a:xfrm>
            <a:off x="590767" y="6176049"/>
            <a:ext cx="9805987" cy="347662"/>
          </a:xfrm>
        </p:spPr>
        <p:txBody>
          <a:bodyPr>
            <a:normAutofit/>
          </a:bodyPr>
          <a:lstStyle/>
          <a:p>
            <a:pPr marL="0" indent="0">
              <a:buNone/>
            </a:pPr>
            <a:r>
              <a:rPr lang="tr-TR" sz="700" dirty="0">
                <a:solidFill>
                  <a:srgbClr val="212121"/>
                </a:solidFill>
              </a:rPr>
              <a:t>AC</a:t>
            </a:r>
            <a:r>
              <a:rPr lang="en-US" sz="700" dirty="0">
                <a:solidFill>
                  <a:srgbClr val="212121"/>
                </a:solidFill>
              </a:rPr>
              <a:t> = </a:t>
            </a:r>
            <a:r>
              <a:rPr lang="en-US" sz="700" dirty="0" err="1">
                <a:solidFill>
                  <a:srgbClr val="212121"/>
                </a:solidFill>
              </a:rPr>
              <a:t>acil</a:t>
            </a:r>
            <a:r>
              <a:rPr lang="en-US" sz="700" dirty="0">
                <a:solidFill>
                  <a:srgbClr val="212121"/>
                </a:solidFill>
              </a:rPr>
              <a:t> </a:t>
            </a:r>
            <a:r>
              <a:rPr lang="en-US" sz="700" dirty="0" err="1">
                <a:solidFill>
                  <a:srgbClr val="212121"/>
                </a:solidFill>
              </a:rPr>
              <a:t>servis</a:t>
            </a:r>
            <a:r>
              <a:rPr lang="en-US" sz="700" b="0" i="0" dirty="0">
                <a:solidFill>
                  <a:srgbClr val="212121"/>
                </a:solidFill>
                <a:effectLst/>
                <a:highlight>
                  <a:srgbClr val="FFFFFF"/>
                </a:highlight>
              </a:rPr>
              <a:t>; </a:t>
            </a:r>
            <a:r>
              <a:rPr lang="en-US" sz="700" dirty="0">
                <a:solidFill>
                  <a:srgbClr val="212121"/>
                </a:solidFill>
              </a:rPr>
              <a:t>YBÜ = </a:t>
            </a:r>
            <a:r>
              <a:rPr lang="en-US" sz="700" dirty="0" err="1">
                <a:solidFill>
                  <a:srgbClr val="212121"/>
                </a:solidFill>
              </a:rPr>
              <a:t>yoğun</a:t>
            </a:r>
            <a:r>
              <a:rPr lang="en-US" sz="700" dirty="0">
                <a:solidFill>
                  <a:srgbClr val="212121"/>
                </a:solidFill>
              </a:rPr>
              <a:t> </a:t>
            </a:r>
            <a:r>
              <a:rPr lang="en-US" sz="700" dirty="0" err="1">
                <a:solidFill>
                  <a:srgbClr val="212121"/>
                </a:solidFill>
              </a:rPr>
              <a:t>bakım</a:t>
            </a:r>
            <a:r>
              <a:rPr lang="en-US" sz="700" dirty="0">
                <a:solidFill>
                  <a:srgbClr val="212121"/>
                </a:solidFill>
              </a:rPr>
              <a:t> </a:t>
            </a:r>
            <a:r>
              <a:rPr lang="en-US" sz="700" dirty="0" err="1">
                <a:solidFill>
                  <a:srgbClr val="212121"/>
                </a:solidFill>
              </a:rPr>
              <a:t>ünitesi.</a:t>
            </a:r>
            <a:r>
              <a:rPr lang="en-US" sz="700" b="0" i="0" dirty="0" err="1">
                <a:solidFill>
                  <a:srgbClr val="212121"/>
                </a:solidFill>
                <a:effectLst/>
                <a:highlight>
                  <a:srgbClr val="FFFFFF"/>
                </a:highlight>
              </a:rPr>
              <a:t>Hämäläinen</a:t>
            </a:r>
            <a:r>
              <a:rPr lang="en-US" sz="700" b="0" i="0" dirty="0">
                <a:solidFill>
                  <a:srgbClr val="212121"/>
                </a:solidFill>
                <a:effectLst/>
                <a:highlight>
                  <a:srgbClr val="FFFFFF"/>
                </a:highlight>
              </a:rPr>
              <a:t> A, et al. </a:t>
            </a:r>
            <a:r>
              <a:rPr lang="en-US" sz="700" b="0" i="1" dirty="0">
                <a:solidFill>
                  <a:srgbClr val="212121"/>
                </a:solidFill>
                <a:effectLst/>
                <a:highlight>
                  <a:srgbClr val="FFFFFF"/>
                </a:highlight>
              </a:rPr>
              <a:t>BMJ Open</a:t>
            </a:r>
            <a:r>
              <a:rPr lang="en-US" sz="700" b="0" i="0" dirty="0">
                <a:solidFill>
                  <a:srgbClr val="212121"/>
                </a:solidFill>
                <a:effectLst/>
                <a:highlight>
                  <a:srgbClr val="FFFFFF"/>
                </a:highlight>
              </a:rPr>
              <a:t>. 2022;12:e060805. </a:t>
            </a:r>
            <a:endParaRPr lang="en-US" sz="700" dirty="0"/>
          </a:p>
        </p:txBody>
      </p:sp>
      <p:graphicFrame>
        <p:nvGraphicFramePr>
          <p:cNvPr id="6" name="Chart 5">
            <a:extLst>
              <a:ext uri="{FF2B5EF4-FFF2-40B4-BE49-F238E27FC236}">
                <a16:creationId xmlns:a16="http://schemas.microsoft.com/office/drawing/2014/main" id="{7194A5B5-A822-8545-6129-C1C77CB3CF1D}"/>
              </a:ext>
            </a:extLst>
          </p:cNvPr>
          <p:cNvGraphicFramePr/>
          <p:nvPr/>
        </p:nvGraphicFramePr>
        <p:xfrm>
          <a:off x="827647" y="1728216"/>
          <a:ext cx="8128000" cy="4842786"/>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2F1CB9D1-6CB9-5BCE-2168-4247F45E8FBD}"/>
              </a:ext>
            </a:extLst>
          </p:cNvPr>
          <p:cNvSpPr txBox="1"/>
          <p:nvPr/>
        </p:nvSpPr>
        <p:spPr bwMode="gray">
          <a:xfrm>
            <a:off x="8029889" y="3772488"/>
            <a:ext cx="790575" cy="305940"/>
          </a:xfrm>
          <a:prstGeom prst="rect">
            <a:avLst/>
          </a:prstGeom>
        </p:spPr>
        <p:txBody>
          <a:bodyPr wrap="square" lIns="45720" tIns="45720" rIns="45720" bIns="45720" rtlCol="0">
            <a:noAutofit/>
          </a:bodyPr>
          <a:lstStyle/>
          <a:p>
            <a:pPr algn="l">
              <a:lnSpc>
                <a:spcPct val="90000"/>
              </a:lnSpc>
              <a:spcBef>
                <a:spcPts val="1000"/>
              </a:spcBef>
            </a:pPr>
            <a:r>
              <a:rPr lang="en-US" sz="1200" b="1" i="1">
                <a:solidFill>
                  <a:schemeClr val="accent3"/>
                </a:solidFill>
              </a:rPr>
              <a:t>P</a:t>
            </a:r>
            <a:r>
              <a:rPr lang="en-US" sz="1200" b="1">
                <a:solidFill>
                  <a:schemeClr val="accent3"/>
                </a:solidFill>
              </a:rPr>
              <a:t>&lt;0.001</a:t>
            </a:r>
          </a:p>
        </p:txBody>
      </p:sp>
      <p:sp>
        <p:nvSpPr>
          <p:cNvPr id="8" name="TextBox 7">
            <a:extLst>
              <a:ext uri="{FF2B5EF4-FFF2-40B4-BE49-F238E27FC236}">
                <a16:creationId xmlns:a16="http://schemas.microsoft.com/office/drawing/2014/main" id="{FF95D050-BB88-8AC9-D82D-01C6E8B93A76}"/>
              </a:ext>
            </a:extLst>
          </p:cNvPr>
          <p:cNvSpPr txBox="1"/>
          <p:nvPr/>
        </p:nvSpPr>
        <p:spPr bwMode="gray">
          <a:xfrm>
            <a:off x="1639722" y="1954010"/>
            <a:ext cx="790575" cy="305940"/>
          </a:xfrm>
          <a:prstGeom prst="rect">
            <a:avLst/>
          </a:prstGeom>
        </p:spPr>
        <p:txBody>
          <a:bodyPr wrap="square" lIns="45720" tIns="45720" rIns="45720" bIns="45720" rtlCol="0">
            <a:noAutofit/>
          </a:bodyPr>
          <a:lstStyle/>
          <a:p>
            <a:pPr algn="l">
              <a:lnSpc>
                <a:spcPct val="90000"/>
              </a:lnSpc>
              <a:spcBef>
                <a:spcPts val="1000"/>
              </a:spcBef>
            </a:pPr>
            <a:r>
              <a:rPr lang="en-US" sz="1200" b="1" i="1">
                <a:solidFill>
                  <a:schemeClr val="accent3"/>
                </a:solidFill>
              </a:rPr>
              <a:t>P</a:t>
            </a:r>
            <a:r>
              <a:rPr lang="en-US" sz="1200" b="1">
                <a:solidFill>
                  <a:schemeClr val="accent3"/>
                </a:solidFill>
              </a:rPr>
              <a:t>&lt;0.001</a:t>
            </a:r>
          </a:p>
        </p:txBody>
      </p:sp>
      <p:sp>
        <p:nvSpPr>
          <p:cNvPr id="9" name="TextBox 8">
            <a:extLst>
              <a:ext uri="{FF2B5EF4-FFF2-40B4-BE49-F238E27FC236}">
                <a16:creationId xmlns:a16="http://schemas.microsoft.com/office/drawing/2014/main" id="{645E5DC0-050A-0B5D-97A5-4BC89726C196}"/>
              </a:ext>
            </a:extLst>
          </p:cNvPr>
          <p:cNvSpPr txBox="1"/>
          <p:nvPr/>
        </p:nvSpPr>
        <p:spPr bwMode="gray">
          <a:xfrm>
            <a:off x="3803727" y="3123060"/>
            <a:ext cx="790575" cy="305940"/>
          </a:xfrm>
          <a:prstGeom prst="rect">
            <a:avLst/>
          </a:prstGeom>
        </p:spPr>
        <p:txBody>
          <a:bodyPr wrap="square" lIns="45720" tIns="45720" rIns="45720" bIns="45720" rtlCol="0">
            <a:noAutofit/>
          </a:bodyPr>
          <a:lstStyle/>
          <a:p>
            <a:pPr algn="l">
              <a:lnSpc>
                <a:spcPct val="90000"/>
              </a:lnSpc>
              <a:spcBef>
                <a:spcPts val="1000"/>
              </a:spcBef>
            </a:pPr>
            <a:r>
              <a:rPr lang="en-US" sz="1200" b="1" i="1">
                <a:solidFill>
                  <a:schemeClr val="accent3"/>
                </a:solidFill>
              </a:rPr>
              <a:t>P</a:t>
            </a:r>
            <a:r>
              <a:rPr lang="en-US" sz="1200" b="1">
                <a:solidFill>
                  <a:schemeClr val="accent3"/>
                </a:solidFill>
              </a:rPr>
              <a:t>&lt;0.001</a:t>
            </a:r>
          </a:p>
        </p:txBody>
      </p:sp>
      <p:sp>
        <p:nvSpPr>
          <p:cNvPr id="10" name="TextBox 9">
            <a:extLst>
              <a:ext uri="{FF2B5EF4-FFF2-40B4-BE49-F238E27FC236}">
                <a16:creationId xmlns:a16="http://schemas.microsoft.com/office/drawing/2014/main" id="{CD166B5D-94C7-EE09-122A-99E82EE85DB7}"/>
              </a:ext>
            </a:extLst>
          </p:cNvPr>
          <p:cNvSpPr txBox="1"/>
          <p:nvPr/>
        </p:nvSpPr>
        <p:spPr>
          <a:xfrm>
            <a:off x="632928" y="1434266"/>
            <a:ext cx="8517438" cy="553998"/>
          </a:xfrm>
          <a:prstGeom prst="rect">
            <a:avLst/>
          </a:prstGeom>
          <a:noFill/>
        </p:spPr>
        <p:txBody>
          <a:bodyPr wrap="square" rtlCol="0">
            <a:spAutoFit/>
          </a:bodyPr>
          <a:lstStyle/>
          <a:p>
            <a:pPr algn="ctr"/>
            <a:r>
              <a:rPr lang="en-US" sz="1600" b="1" err="1">
                <a:solidFill>
                  <a:schemeClr val="accent1"/>
                </a:solidFill>
              </a:rPr>
              <a:t>Yetişkinlerde</a:t>
            </a:r>
            <a:r>
              <a:rPr lang="en-US" sz="1600" b="1">
                <a:solidFill>
                  <a:schemeClr val="accent1"/>
                </a:solidFill>
              </a:rPr>
              <a:t> RSV </a:t>
            </a:r>
            <a:r>
              <a:rPr lang="en-US" sz="1600" b="1" err="1">
                <a:solidFill>
                  <a:schemeClr val="accent1"/>
                </a:solidFill>
              </a:rPr>
              <a:t>veya</a:t>
            </a:r>
            <a:r>
              <a:rPr lang="en-US" sz="1600" b="1">
                <a:solidFill>
                  <a:schemeClr val="accent1"/>
                </a:solidFill>
              </a:rPr>
              <a:t> </a:t>
            </a:r>
            <a:r>
              <a:rPr lang="en-US" sz="1600" b="1" err="1">
                <a:solidFill>
                  <a:schemeClr val="accent1"/>
                </a:solidFill>
              </a:rPr>
              <a:t>influenzadan</a:t>
            </a:r>
            <a:r>
              <a:rPr lang="en-US" sz="1600" b="1">
                <a:solidFill>
                  <a:schemeClr val="accent1"/>
                </a:solidFill>
              </a:rPr>
              <a:t> </a:t>
            </a:r>
            <a:r>
              <a:rPr lang="en-US" sz="1600" b="1" err="1">
                <a:solidFill>
                  <a:schemeClr val="accent1"/>
                </a:solidFill>
              </a:rPr>
              <a:t>kaynaklanan</a:t>
            </a:r>
            <a:r>
              <a:rPr lang="en-US" sz="1600" b="1">
                <a:solidFill>
                  <a:schemeClr val="accent1"/>
                </a:solidFill>
              </a:rPr>
              <a:t> </a:t>
            </a:r>
            <a:r>
              <a:rPr lang="en-US" sz="1600" b="1" err="1">
                <a:solidFill>
                  <a:schemeClr val="accent1"/>
                </a:solidFill>
              </a:rPr>
              <a:t>sonuçlar</a:t>
            </a:r>
            <a:r>
              <a:rPr lang="en-US" sz="1600" b="1">
                <a:solidFill>
                  <a:schemeClr val="accent1"/>
                </a:solidFill>
              </a:rPr>
              <a:t> </a:t>
            </a:r>
            <a:r>
              <a:rPr lang="en-US" sz="1600" b="1" err="1">
                <a:solidFill>
                  <a:schemeClr val="accent1"/>
                </a:solidFill>
              </a:rPr>
              <a:t>ve</a:t>
            </a:r>
            <a:r>
              <a:rPr lang="en-US" sz="1600" b="1">
                <a:solidFill>
                  <a:schemeClr val="accent1"/>
                </a:solidFill>
              </a:rPr>
              <a:t> </a:t>
            </a:r>
            <a:r>
              <a:rPr lang="en-US" sz="1600" b="1" err="1">
                <a:solidFill>
                  <a:schemeClr val="accent1"/>
                </a:solidFill>
              </a:rPr>
              <a:t>hastane</a:t>
            </a:r>
            <a:r>
              <a:rPr lang="en-US" sz="1600" b="1">
                <a:solidFill>
                  <a:schemeClr val="accent1"/>
                </a:solidFill>
              </a:rPr>
              <a:t> </a:t>
            </a:r>
            <a:r>
              <a:rPr lang="en-US" sz="1600" b="1" err="1">
                <a:solidFill>
                  <a:schemeClr val="accent1"/>
                </a:solidFill>
              </a:rPr>
              <a:t>olayları</a:t>
            </a:r>
            <a:endParaRPr lang="tr-TR" sz="1600" b="1">
              <a:solidFill>
                <a:schemeClr val="accent1"/>
              </a:solidFill>
            </a:endParaRPr>
          </a:p>
          <a:p>
            <a:pPr algn="ctr"/>
            <a:r>
              <a:rPr lang="en-US" sz="1400"/>
              <a:t>(18 </a:t>
            </a:r>
            <a:r>
              <a:rPr lang="en-US" sz="1400" err="1"/>
              <a:t>yaş</a:t>
            </a:r>
            <a:r>
              <a:rPr lang="en-US" sz="1400"/>
              <a:t> </a:t>
            </a:r>
            <a:r>
              <a:rPr lang="tr-TR" sz="1400"/>
              <a:t>ve üzeri </a:t>
            </a:r>
            <a:r>
              <a:rPr lang="en-US" sz="1400" err="1"/>
              <a:t>yetişkinler</a:t>
            </a:r>
            <a:r>
              <a:rPr lang="en-US" sz="1400"/>
              <a:t>,</a:t>
            </a:r>
            <a:r>
              <a:rPr lang="tr-TR" sz="1400"/>
              <a:t> </a:t>
            </a:r>
            <a:r>
              <a:rPr lang="en-US" sz="1400" err="1"/>
              <a:t>Finlandiya</a:t>
            </a:r>
            <a:r>
              <a:rPr lang="en-US" sz="1400"/>
              <a:t>, 2017–2018)</a:t>
            </a:r>
          </a:p>
        </p:txBody>
      </p:sp>
      <p:sp>
        <p:nvSpPr>
          <p:cNvPr id="5" name="TextBox 4">
            <a:extLst>
              <a:ext uri="{FF2B5EF4-FFF2-40B4-BE49-F238E27FC236}">
                <a16:creationId xmlns:a16="http://schemas.microsoft.com/office/drawing/2014/main" id="{8A5A6804-6A57-6E27-FACB-01F55175A9B4}"/>
              </a:ext>
            </a:extLst>
          </p:cNvPr>
          <p:cNvSpPr txBox="1"/>
          <p:nvPr/>
        </p:nvSpPr>
        <p:spPr bwMode="gray">
          <a:xfrm rot="16200000">
            <a:off x="-1135163" y="3648058"/>
            <a:ext cx="3451860" cy="193899"/>
          </a:xfrm>
          <a:prstGeom prst="rect">
            <a:avLst/>
          </a:prstGeom>
        </p:spPr>
        <p:txBody>
          <a:bodyPr wrap="square" lIns="0" tIns="0" rIns="0" bIns="0" rtlCol="0" anchor="t" anchorCtr="0">
            <a:spAutoFit/>
          </a:bodyPr>
          <a:lstStyle/>
          <a:p>
            <a:pPr lvl="0" algn="ctr">
              <a:lnSpc>
                <a:spcPct val="90000"/>
              </a:lnSpc>
              <a:spcBef>
                <a:spcPts val="1000"/>
              </a:spcBef>
              <a:defRPr/>
            </a:pPr>
            <a:r>
              <a:rPr lang="en-GB" sz="1400" b="1" err="1">
                <a:solidFill>
                  <a:srgbClr val="000000"/>
                </a:solidFill>
                <a:cs typeface="Arial"/>
                <a:sym typeface="Arial"/>
              </a:rPr>
              <a:t>Hastaların</a:t>
            </a:r>
            <a:r>
              <a:rPr lang="en-GB" sz="1400" b="1">
                <a:solidFill>
                  <a:srgbClr val="000000"/>
                </a:solidFill>
                <a:cs typeface="Arial"/>
                <a:sym typeface="Arial"/>
              </a:rPr>
              <a:t> </a:t>
            </a:r>
            <a:r>
              <a:rPr lang="en-GB" sz="1400" b="1" err="1">
                <a:solidFill>
                  <a:srgbClr val="000000"/>
                </a:solidFill>
                <a:cs typeface="Arial"/>
                <a:sym typeface="Arial"/>
              </a:rPr>
              <a:t>Yüzdesi</a:t>
            </a:r>
            <a:endParaRPr kumimoji="0" lang="en-GB" sz="1400" b="1"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12" name="Group 11">
            <a:extLst>
              <a:ext uri="{FF2B5EF4-FFF2-40B4-BE49-F238E27FC236}">
                <a16:creationId xmlns:a16="http://schemas.microsoft.com/office/drawing/2014/main" id="{261BB138-C229-0931-69C1-CB2E02710627}"/>
              </a:ext>
            </a:extLst>
          </p:cNvPr>
          <p:cNvGrpSpPr/>
          <p:nvPr/>
        </p:nvGrpSpPr>
        <p:grpSpPr>
          <a:xfrm>
            <a:off x="9349120" y="2090998"/>
            <a:ext cx="2487206" cy="2676004"/>
            <a:chOff x="0" y="1483743"/>
            <a:chExt cx="12192000" cy="3071004"/>
          </a:xfrm>
        </p:grpSpPr>
        <p:sp>
          <p:nvSpPr>
            <p:cNvPr id="13" name="TextBox 12">
              <a:extLst>
                <a:ext uri="{FF2B5EF4-FFF2-40B4-BE49-F238E27FC236}">
                  <a16:creationId xmlns:a16="http://schemas.microsoft.com/office/drawing/2014/main" id="{E386477B-F2AC-F6F7-5463-F7285B73B1F4}"/>
                </a:ext>
              </a:extLst>
            </p:cNvPr>
            <p:cNvSpPr txBox="1"/>
            <p:nvPr/>
          </p:nvSpPr>
          <p:spPr bwMode="gray">
            <a:xfrm>
              <a:off x="0" y="1483743"/>
              <a:ext cx="12191999" cy="3071004"/>
            </a:xfrm>
            <a:prstGeom prst="rect">
              <a:avLst/>
            </a:prstGeom>
            <a:solidFill>
              <a:schemeClr val="bg1">
                <a:lumMod val="95000"/>
              </a:schemeClr>
            </a:solidFill>
          </p:spPr>
          <p:txBody>
            <a:bodyPr wrap="square" rtlCol="0" anchor="ctr" anchorCtr="0">
              <a:noAutofit/>
            </a:bodyPr>
            <a:lstStyle/>
            <a:p>
              <a:pPr lvl="0" algn="ctr">
                <a:buClr>
                  <a:srgbClr val="000000"/>
                </a:buClr>
                <a:buSzPct val="100000"/>
                <a:defRPr/>
              </a:pPr>
              <a:r>
                <a:rPr lang="en-US" sz="1600" dirty="0" err="1">
                  <a:solidFill>
                    <a:srgbClr val="000000"/>
                  </a:solidFill>
                </a:rPr>
                <a:t>RSV'li</a:t>
              </a:r>
              <a:r>
                <a:rPr lang="en-US" sz="1600" dirty="0">
                  <a:solidFill>
                    <a:srgbClr val="000000"/>
                  </a:solidFill>
                </a:rPr>
                <a:t> </a:t>
              </a:r>
              <a:r>
                <a:rPr lang="en-US" sz="1600" dirty="0" err="1">
                  <a:solidFill>
                    <a:srgbClr val="000000"/>
                  </a:solidFill>
                </a:rPr>
                <a:t>hastaların</a:t>
              </a:r>
              <a:r>
                <a:rPr lang="en-US" sz="1600" dirty="0">
                  <a:solidFill>
                    <a:srgbClr val="000000"/>
                  </a:solidFill>
                </a:rPr>
                <a:t> </a:t>
              </a:r>
              <a:r>
                <a:rPr lang="en-US" sz="1600" dirty="0" err="1">
                  <a:solidFill>
                    <a:srgbClr val="000000"/>
                  </a:solidFill>
                </a:rPr>
                <a:t>hastaneye</a:t>
              </a:r>
              <a:r>
                <a:rPr lang="en-US" sz="1600" dirty="0">
                  <a:solidFill>
                    <a:srgbClr val="000000"/>
                  </a:solidFill>
                </a:rPr>
                <a:t> </a:t>
              </a:r>
              <a:r>
                <a:rPr lang="en-US" sz="1600" dirty="0" err="1">
                  <a:solidFill>
                    <a:srgbClr val="000000"/>
                  </a:solidFill>
                </a:rPr>
                <a:t>yatırılma</a:t>
              </a:r>
              <a:r>
                <a:rPr lang="en-US" sz="1600" dirty="0">
                  <a:solidFill>
                    <a:srgbClr val="000000"/>
                  </a:solidFill>
                </a:rPr>
                <a:t>, </a:t>
              </a:r>
              <a:r>
                <a:rPr lang="en-US" sz="1600" dirty="0" err="1">
                  <a:solidFill>
                    <a:srgbClr val="000000"/>
                  </a:solidFill>
                </a:rPr>
                <a:t>acil</a:t>
              </a:r>
              <a:r>
                <a:rPr lang="en-US" sz="1600" dirty="0">
                  <a:solidFill>
                    <a:srgbClr val="000000"/>
                  </a:solidFill>
                </a:rPr>
                <a:t> </a:t>
              </a:r>
              <a:r>
                <a:rPr lang="en-US" sz="1600" dirty="0" err="1">
                  <a:solidFill>
                    <a:srgbClr val="000000"/>
                  </a:solidFill>
                </a:rPr>
                <a:t>serviste</a:t>
              </a:r>
              <a:r>
                <a:rPr lang="en-US" sz="1600" dirty="0">
                  <a:solidFill>
                    <a:srgbClr val="000000"/>
                  </a:solidFill>
                </a:rPr>
                <a:t> </a:t>
              </a:r>
              <a:r>
                <a:rPr lang="en-US" sz="1600" dirty="0" err="1">
                  <a:solidFill>
                    <a:srgbClr val="000000"/>
                  </a:solidFill>
                </a:rPr>
                <a:t>daha</a:t>
              </a:r>
              <a:r>
                <a:rPr lang="en-US" sz="1600" dirty="0">
                  <a:solidFill>
                    <a:srgbClr val="000000"/>
                  </a:solidFill>
                </a:rPr>
                <a:t> </a:t>
              </a:r>
              <a:r>
                <a:rPr lang="en-US" sz="1600" dirty="0" err="1">
                  <a:solidFill>
                    <a:srgbClr val="000000"/>
                  </a:solidFill>
                </a:rPr>
                <a:t>uzun</a:t>
              </a:r>
              <a:r>
                <a:rPr lang="en-US" sz="1600" dirty="0">
                  <a:solidFill>
                    <a:srgbClr val="000000"/>
                  </a:solidFill>
                </a:rPr>
                <a:t> </a:t>
              </a:r>
              <a:r>
                <a:rPr lang="en-US" sz="1600" dirty="0" err="1">
                  <a:solidFill>
                    <a:srgbClr val="000000"/>
                  </a:solidFill>
                </a:rPr>
                <a:t>süre</a:t>
              </a:r>
              <a:r>
                <a:rPr lang="en-US" sz="1600" dirty="0">
                  <a:solidFill>
                    <a:srgbClr val="000000"/>
                  </a:solidFill>
                </a:rPr>
                <a:t> </a:t>
              </a:r>
              <a:r>
                <a:rPr lang="en-US" sz="1600" dirty="0" err="1">
                  <a:solidFill>
                    <a:srgbClr val="000000"/>
                  </a:solidFill>
                </a:rPr>
                <a:t>kalma</a:t>
              </a:r>
              <a:r>
                <a:rPr lang="en-US" sz="1600" dirty="0">
                  <a:solidFill>
                    <a:srgbClr val="000000"/>
                  </a:solidFill>
                </a:rPr>
                <a:t>, ek </a:t>
              </a:r>
              <a:r>
                <a:rPr lang="en-US" sz="1600" dirty="0" err="1">
                  <a:solidFill>
                    <a:srgbClr val="000000"/>
                  </a:solidFill>
                </a:rPr>
                <a:t>oksijene</a:t>
              </a:r>
              <a:r>
                <a:rPr lang="en-US" sz="1600" dirty="0">
                  <a:solidFill>
                    <a:srgbClr val="000000"/>
                  </a:solidFill>
                </a:rPr>
                <a:t> </a:t>
              </a:r>
              <a:r>
                <a:rPr lang="en-US" sz="1600" dirty="0" err="1">
                  <a:solidFill>
                    <a:srgbClr val="000000"/>
                  </a:solidFill>
                </a:rPr>
                <a:t>ihtiyaç</a:t>
              </a:r>
              <a:r>
                <a:rPr lang="en-US" sz="1600" dirty="0">
                  <a:solidFill>
                    <a:srgbClr val="000000"/>
                  </a:solidFill>
                </a:rPr>
                <a:t> </a:t>
              </a:r>
              <a:r>
                <a:rPr lang="en-US" sz="1600" dirty="0" err="1">
                  <a:solidFill>
                    <a:srgbClr val="000000"/>
                  </a:solidFill>
                </a:rPr>
                <a:t>duyma</a:t>
              </a:r>
              <a:r>
                <a:rPr lang="en-US" sz="1600" dirty="0">
                  <a:solidFill>
                    <a:srgbClr val="000000"/>
                  </a:solidFill>
                </a:rPr>
                <a:t> </a:t>
              </a:r>
              <a:r>
                <a:rPr lang="en-US" sz="1600" dirty="0" err="1">
                  <a:solidFill>
                    <a:srgbClr val="000000"/>
                  </a:solidFill>
                </a:rPr>
                <a:t>ve</a:t>
              </a:r>
              <a:r>
                <a:rPr lang="en-US" sz="1600" dirty="0">
                  <a:solidFill>
                    <a:srgbClr val="000000"/>
                  </a:solidFill>
                </a:rPr>
                <a:t> </a:t>
              </a:r>
              <a:r>
                <a:rPr lang="tr-TR" sz="1600" dirty="0">
                  <a:solidFill>
                    <a:srgbClr val="000000"/>
                  </a:solidFill>
                </a:rPr>
                <a:t>pnömoni</a:t>
              </a:r>
              <a:r>
                <a:rPr lang="en-US" sz="1600" dirty="0">
                  <a:solidFill>
                    <a:srgbClr val="000000"/>
                  </a:solidFill>
                </a:rPr>
                <a:t> </a:t>
              </a:r>
              <a:r>
                <a:rPr lang="en-US" sz="1600" dirty="0" err="1">
                  <a:solidFill>
                    <a:srgbClr val="000000"/>
                  </a:solidFill>
                </a:rPr>
                <a:t>geliştirme</a:t>
              </a:r>
              <a:r>
                <a:rPr lang="en-US" sz="1600" dirty="0">
                  <a:solidFill>
                    <a:srgbClr val="000000"/>
                  </a:solidFill>
                </a:rPr>
                <a:t> </a:t>
              </a:r>
              <a:r>
                <a:rPr lang="en-US" sz="1600" dirty="0" err="1">
                  <a:solidFill>
                    <a:srgbClr val="000000"/>
                  </a:solidFill>
                </a:rPr>
                <a:t>olasılığı</a:t>
              </a:r>
              <a:r>
                <a:rPr lang="en-US" sz="1600" dirty="0">
                  <a:solidFill>
                    <a:srgbClr val="000000"/>
                  </a:solidFill>
                </a:rPr>
                <a:t> </a:t>
              </a:r>
              <a:r>
                <a:rPr lang="tr-TR" sz="2400" b="1" dirty="0">
                  <a:solidFill>
                    <a:srgbClr val="C00000"/>
                  </a:solidFill>
                </a:rPr>
                <a:t>influenzadan</a:t>
              </a:r>
              <a:r>
                <a:rPr lang="en-US" sz="2400" b="1" dirty="0">
                  <a:solidFill>
                    <a:srgbClr val="C00000"/>
                  </a:solidFill>
                </a:rPr>
                <a:t> </a:t>
              </a:r>
              <a:r>
                <a:rPr lang="en-US" sz="2400" b="1" dirty="0" err="1">
                  <a:solidFill>
                    <a:srgbClr val="C00000"/>
                  </a:solidFill>
                </a:rPr>
                <a:t>daha</a:t>
              </a:r>
              <a:r>
                <a:rPr lang="en-US" sz="2400" b="1" dirty="0">
                  <a:solidFill>
                    <a:srgbClr val="C00000"/>
                  </a:solidFill>
                </a:rPr>
                <a:t> </a:t>
              </a:r>
              <a:r>
                <a:rPr lang="en-US" sz="2400" b="1" dirty="0" err="1">
                  <a:solidFill>
                    <a:srgbClr val="C00000"/>
                  </a:solidFill>
                </a:rPr>
                <a:t>yüksektir</a:t>
              </a:r>
              <a:endParaRPr kumimoji="0" lang="en-US" sz="16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cxnSp>
          <p:nvCxnSpPr>
            <p:cNvPr id="14" name="Straight Connector 13">
              <a:extLst>
                <a:ext uri="{FF2B5EF4-FFF2-40B4-BE49-F238E27FC236}">
                  <a16:creationId xmlns:a16="http://schemas.microsoft.com/office/drawing/2014/main" id="{21DF13E3-CBC4-AF98-2EA0-51093AEA5621}"/>
                </a:ext>
              </a:extLst>
            </p:cNvPr>
            <p:cNvCxnSpPr/>
            <p:nvPr/>
          </p:nvCxnSpPr>
          <p:spPr bwMode="gray">
            <a:xfrm>
              <a:off x="0" y="1483743"/>
              <a:ext cx="12192000" cy="0"/>
            </a:xfrm>
            <a:prstGeom prst="line">
              <a:avLst/>
            </a:prstGeom>
            <a:noFill/>
            <a:ln w="22225" cap="rnd">
              <a:solidFill>
                <a:schemeClr val="accent1"/>
              </a:solidFill>
              <a:prstDash val="solid"/>
              <a:round/>
              <a:headEnd/>
              <a:tailEnd/>
            </a:ln>
            <a:effectLst/>
          </p:spPr>
        </p:cxnSp>
        <p:cxnSp>
          <p:nvCxnSpPr>
            <p:cNvPr id="15" name="Straight Connector 14">
              <a:extLst>
                <a:ext uri="{FF2B5EF4-FFF2-40B4-BE49-F238E27FC236}">
                  <a16:creationId xmlns:a16="http://schemas.microsoft.com/office/drawing/2014/main" id="{21CF8329-2D8C-87B7-4A4B-938A222D3390}"/>
                </a:ext>
              </a:extLst>
            </p:cNvPr>
            <p:cNvCxnSpPr/>
            <p:nvPr/>
          </p:nvCxnSpPr>
          <p:spPr bwMode="gray">
            <a:xfrm>
              <a:off x="0" y="4554747"/>
              <a:ext cx="12192000" cy="0"/>
            </a:xfrm>
            <a:prstGeom prst="line">
              <a:avLst/>
            </a:prstGeom>
            <a:noFill/>
            <a:ln w="22225" cap="rnd">
              <a:solidFill>
                <a:schemeClr val="accent2"/>
              </a:solidFill>
              <a:prstDash val="solid"/>
              <a:round/>
              <a:headEnd/>
              <a:tailEnd/>
            </a:ln>
            <a:effectLst/>
          </p:spPr>
        </p:cxnSp>
      </p:grpSp>
      <p:pic>
        <p:nvPicPr>
          <p:cNvPr id="11" name="Picture 10" descr="A black and blue logo&#10;&#10;AI-generated content may be incorrect.">
            <a:extLst>
              <a:ext uri="{FF2B5EF4-FFF2-40B4-BE49-F238E27FC236}">
                <a16:creationId xmlns:a16="http://schemas.microsoft.com/office/drawing/2014/main" id="{58378C25-A320-D883-538B-E0E7026C9847}"/>
              </a:ext>
            </a:extLst>
          </p:cNvPr>
          <p:cNvPicPr>
            <a:picLocks noChangeAspect="1"/>
          </p:cNvPicPr>
          <p:nvPr/>
        </p:nvPicPr>
        <p:blipFill>
          <a:blip r:embed="rId4"/>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11353200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6F400E-A9B3-0D43-113B-4C5A809371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9AC573A-08B3-5449-B3C5-9D096B5B12FC}"/>
              </a:ext>
            </a:extLst>
          </p:cNvPr>
          <p:cNvSpPr>
            <a:spLocks noGrp="1"/>
          </p:cNvSpPr>
          <p:nvPr>
            <p:ph type="title"/>
          </p:nvPr>
        </p:nvSpPr>
        <p:spPr>
          <a:xfrm>
            <a:off x="613152" y="221942"/>
            <a:ext cx="10969218" cy="815898"/>
          </a:xfrm>
        </p:spPr>
        <p:txBody>
          <a:bodyPr anchor="ctr">
            <a:normAutofit/>
          </a:bodyPr>
          <a:lstStyle/>
          <a:p>
            <a:r>
              <a:rPr lang="en-US" sz="3200" dirty="0">
                <a:solidFill>
                  <a:srgbClr val="FFFFFF"/>
                </a:solidFill>
              </a:rPr>
              <a:t>AJANDA</a:t>
            </a:r>
            <a:endParaRPr lang="tr-TR" sz="3200" dirty="0">
              <a:solidFill>
                <a:schemeClr val="bg1"/>
              </a:solidFill>
            </a:endParaRPr>
          </a:p>
        </p:txBody>
      </p:sp>
      <p:sp>
        <p:nvSpPr>
          <p:cNvPr id="3" name="Slide Number Placeholder 2">
            <a:extLst>
              <a:ext uri="{FF2B5EF4-FFF2-40B4-BE49-F238E27FC236}">
                <a16:creationId xmlns:a16="http://schemas.microsoft.com/office/drawing/2014/main" id="{514410FC-A5A0-8C2F-DB68-8D9733EC4118}"/>
              </a:ext>
            </a:extLst>
          </p:cNvPr>
          <p:cNvSpPr>
            <a:spLocks noGrp="1"/>
          </p:cNvSpPr>
          <p:nvPr>
            <p:ph type="sldNum" sz="quarter" idx="4"/>
          </p:nvPr>
        </p:nvSpPr>
        <p:spPr/>
        <p:txBody>
          <a:bodyPr/>
          <a:lstStyle/>
          <a:p>
            <a:fld id="{2B39012A-6F33-204B-8224-A57BEFB0AAD0}" type="slidenum">
              <a:rPr lang="en-US" smtClean="0"/>
              <a:pPr/>
              <a:t>36</a:t>
            </a:fld>
            <a:endParaRPr lang="en-US"/>
          </a:p>
        </p:txBody>
      </p:sp>
      <p:pic>
        <p:nvPicPr>
          <p:cNvPr id="20" name="Picture 19" descr="A yellow and blue logo&#10;&#10;Description automatically generated">
            <a:extLst>
              <a:ext uri="{FF2B5EF4-FFF2-40B4-BE49-F238E27FC236}">
                <a16:creationId xmlns:a16="http://schemas.microsoft.com/office/drawing/2014/main" id="{EBC15CE2-2002-0D83-FA13-A3E72C36A8E5}"/>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grpSp>
        <p:nvGrpSpPr>
          <p:cNvPr id="39" name="Group 38">
            <a:extLst>
              <a:ext uri="{FF2B5EF4-FFF2-40B4-BE49-F238E27FC236}">
                <a16:creationId xmlns:a16="http://schemas.microsoft.com/office/drawing/2014/main" id="{18CD42B1-C3D7-DC7B-38A3-244E79D84739}"/>
              </a:ext>
            </a:extLst>
          </p:cNvPr>
          <p:cNvGrpSpPr/>
          <p:nvPr/>
        </p:nvGrpSpPr>
        <p:grpSpPr>
          <a:xfrm>
            <a:off x="3305060" y="1496242"/>
            <a:ext cx="8681292" cy="773339"/>
            <a:chOff x="3305060" y="1496242"/>
            <a:chExt cx="8681292" cy="773339"/>
          </a:xfrm>
        </p:grpSpPr>
        <p:grpSp>
          <p:nvGrpSpPr>
            <p:cNvPr id="13" name="Google Shape;674;p30">
              <a:extLst>
                <a:ext uri="{FF2B5EF4-FFF2-40B4-BE49-F238E27FC236}">
                  <a16:creationId xmlns:a16="http://schemas.microsoft.com/office/drawing/2014/main" id="{C2BCE03E-D5D4-DB57-81DD-18F63554E3E9}"/>
                </a:ext>
              </a:extLst>
            </p:cNvPr>
            <p:cNvGrpSpPr/>
            <p:nvPr/>
          </p:nvGrpSpPr>
          <p:grpSpPr>
            <a:xfrm>
              <a:off x="3305060" y="1496242"/>
              <a:ext cx="8681292" cy="773339"/>
              <a:chOff x="485966" y="2196110"/>
              <a:chExt cx="8681292" cy="773339"/>
            </a:xfrm>
          </p:grpSpPr>
          <p:sp>
            <p:nvSpPr>
              <p:cNvPr id="14" name="Google Shape;675;p30">
                <a:extLst>
                  <a:ext uri="{FF2B5EF4-FFF2-40B4-BE49-F238E27FC236}">
                    <a16:creationId xmlns:a16="http://schemas.microsoft.com/office/drawing/2014/main" id="{D34757F0-ABE2-D89E-EE34-694DFD1086FB}"/>
                  </a:ext>
                </a:extLst>
              </p:cNvPr>
              <p:cNvSpPr/>
              <p:nvPr/>
            </p:nvSpPr>
            <p:spPr>
              <a:xfrm>
                <a:off x="875153" y="2196237"/>
                <a:ext cx="8292105" cy="773085"/>
              </a:xfrm>
              <a:prstGeom prst="roundRect">
                <a:avLst/>
              </a:prstGeom>
              <a:solidFill>
                <a:schemeClr val="bg1"/>
              </a:solidFill>
              <a:ln w="19050">
                <a:solidFill>
                  <a:schemeClr val="accent2"/>
                </a:solid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15" name="Google Shape;678;p30">
                <a:extLst>
                  <a:ext uri="{FF2B5EF4-FFF2-40B4-BE49-F238E27FC236}">
                    <a16:creationId xmlns:a16="http://schemas.microsoft.com/office/drawing/2014/main" id="{2DD903A6-C2E4-6562-6465-7162EE10D84B}"/>
                  </a:ext>
                </a:extLst>
              </p:cNvPr>
              <p:cNvSpPr/>
              <p:nvPr/>
            </p:nvSpPr>
            <p:spPr>
              <a:xfrm>
                <a:off x="485966" y="2196110"/>
                <a:ext cx="773085" cy="773339"/>
              </a:xfrm>
              <a:custGeom>
                <a:avLst/>
                <a:gdLst/>
                <a:ahLst/>
                <a:cxnLst/>
                <a:rect l="l" t="t" r="r" b="b"/>
                <a:pathLst>
                  <a:path w="36505" h="36517" extrusionOk="0">
                    <a:moveTo>
                      <a:pt x="18253" y="0"/>
                    </a:moveTo>
                    <a:cubicBezTo>
                      <a:pt x="8168" y="0"/>
                      <a:pt x="1" y="8180"/>
                      <a:pt x="1" y="18253"/>
                    </a:cubicBezTo>
                    <a:cubicBezTo>
                      <a:pt x="1" y="28337"/>
                      <a:pt x="8168" y="36517"/>
                      <a:pt x="18253" y="36517"/>
                    </a:cubicBezTo>
                    <a:cubicBezTo>
                      <a:pt x="28326" y="36517"/>
                      <a:pt x="36505" y="28337"/>
                      <a:pt x="36505" y="18253"/>
                    </a:cubicBezTo>
                    <a:cubicBezTo>
                      <a:pt x="36505" y="8180"/>
                      <a:pt x="28326" y="0"/>
                      <a:pt x="18253" y="0"/>
                    </a:cubicBez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16" name="Google Shape;679;p30">
                <a:extLst>
                  <a:ext uri="{FF2B5EF4-FFF2-40B4-BE49-F238E27FC236}">
                    <a16:creationId xmlns:a16="http://schemas.microsoft.com/office/drawing/2014/main" id="{5F87FBC9-2211-24A8-857D-F0C5C5662FAC}"/>
                  </a:ext>
                </a:extLst>
              </p:cNvPr>
              <p:cNvSpPr/>
              <p:nvPr/>
            </p:nvSpPr>
            <p:spPr>
              <a:xfrm>
                <a:off x="547993" y="2258392"/>
                <a:ext cx="648794" cy="648773"/>
              </a:xfrm>
              <a:custGeom>
                <a:avLst/>
                <a:gdLst/>
                <a:ahLst/>
                <a:cxnLst/>
                <a:rect l="l" t="t" r="r" b="b"/>
                <a:pathLst>
                  <a:path w="30636" h="30635" extrusionOk="0">
                    <a:moveTo>
                      <a:pt x="15324" y="0"/>
                    </a:moveTo>
                    <a:cubicBezTo>
                      <a:pt x="6858" y="0"/>
                      <a:pt x="0" y="6858"/>
                      <a:pt x="0" y="15312"/>
                    </a:cubicBezTo>
                    <a:cubicBezTo>
                      <a:pt x="0" y="23777"/>
                      <a:pt x="6858" y="30635"/>
                      <a:pt x="15324" y="30635"/>
                    </a:cubicBezTo>
                    <a:cubicBezTo>
                      <a:pt x="23777" y="30635"/>
                      <a:pt x="30635" y="23777"/>
                      <a:pt x="30635" y="15312"/>
                    </a:cubicBezTo>
                    <a:cubicBezTo>
                      <a:pt x="30635" y="6858"/>
                      <a:pt x="23777" y="0"/>
                      <a:pt x="15324" y="0"/>
                    </a:cubicBezTo>
                    <a:close/>
                  </a:path>
                </a:pathLst>
              </a:cu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endParaRPr sz="1600"/>
              </a:p>
            </p:txBody>
          </p:sp>
        </p:grpSp>
        <p:sp>
          <p:nvSpPr>
            <p:cNvPr id="17" name="TextBox 16">
              <a:extLst>
                <a:ext uri="{FF2B5EF4-FFF2-40B4-BE49-F238E27FC236}">
                  <a16:creationId xmlns:a16="http://schemas.microsoft.com/office/drawing/2014/main" id="{0951440A-B3CB-4273-02F0-A54D77CD1A40}"/>
                </a:ext>
              </a:extLst>
            </p:cNvPr>
            <p:cNvSpPr txBox="1"/>
            <p:nvPr/>
          </p:nvSpPr>
          <p:spPr>
            <a:xfrm>
              <a:off x="4263514" y="1555899"/>
              <a:ext cx="7194028" cy="654025"/>
            </a:xfrm>
            <a:prstGeom prst="rect">
              <a:avLst/>
            </a:prstGeom>
            <a:noFill/>
          </p:spPr>
          <p:txBody>
            <a:bodyPr wrap="square">
              <a:spAutoFit/>
            </a:bodyPr>
            <a:lstStyle/>
            <a:p>
              <a:pPr marL="0" marR="0" lvl="1" indent="0" algn="l" defTabSz="914400" rtl="0" eaLnBrk="1" fontAlgn="auto" latinLnBrk="0" hangingPunct="1">
                <a:lnSpc>
                  <a:spcPct val="90000"/>
                </a:lnSpc>
                <a:spcBef>
                  <a:spcPts val="0"/>
                </a:spcBef>
                <a:spcAft>
                  <a:spcPts val="0"/>
                </a:spcAft>
                <a:buClrTx/>
                <a:buSzTx/>
                <a:buFontTx/>
                <a:buNone/>
                <a:tabLst/>
                <a:defRPr/>
              </a:pPr>
              <a:r>
                <a:rPr kumimoji="0" lang="tr-TR" sz="2000" b="0" i="0" u="none" strike="noStrike" kern="1200" cap="none" spc="0" normalizeH="0" baseline="0" noProof="0" dirty="0">
                  <a:ln>
                    <a:noFill/>
                  </a:ln>
                  <a:solidFill>
                    <a:srgbClr val="000000"/>
                  </a:solidFill>
                  <a:effectLst/>
                  <a:uLnTx/>
                  <a:uFillTx/>
                  <a:ea typeface="+mn-ea"/>
                  <a:cs typeface="+mn-cs"/>
                </a:rPr>
                <a:t>Yaygın Solunum Yolu Enfeksiyonlarının Epidemiyolojisi ve Klinik Özellikleri</a:t>
              </a:r>
            </a:p>
          </p:txBody>
        </p:sp>
        <p:sp>
          <p:nvSpPr>
            <p:cNvPr id="30" name="TextBox 29">
              <a:extLst>
                <a:ext uri="{FF2B5EF4-FFF2-40B4-BE49-F238E27FC236}">
                  <a16:creationId xmlns:a16="http://schemas.microsoft.com/office/drawing/2014/main" id="{562E9285-3935-B13B-6FCA-A45CFEE967F7}"/>
                </a:ext>
              </a:extLst>
            </p:cNvPr>
            <p:cNvSpPr txBox="1"/>
            <p:nvPr/>
          </p:nvSpPr>
          <p:spPr>
            <a:xfrm>
              <a:off x="3403531" y="1559746"/>
              <a:ext cx="571565" cy="646331"/>
            </a:xfrm>
            <a:prstGeom prst="rect">
              <a:avLst/>
            </a:prstGeom>
            <a:noFill/>
          </p:spPr>
          <p:txBody>
            <a:bodyPr wrap="square" rtlCol="0" anchor="ctr">
              <a:spAutoFit/>
            </a:bodyPr>
            <a:lstStyle/>
            <a:p>
              <a:pPr algn="ctr"/>
              <a:r>
                <a:rPr lang="tr-TR"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rPr>
                <a:t>1</a:t>
              </a:r>
              <a:endParaRPr lang="en-GB"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endParaRPr>
            </a:p>
          </p:txBody>
        </p:sp>
      </p:grpSp>
      <p:grpSp>
        <p:nvGrpSpPr>
          <p:cNvPr id="40" name="Group 39">
            <a:extLst>
              <a:ext uri="{FF2B5EF4-FFF2-40B4-BE49-F238E27FC236}">
                <a16:creationId xmlns:a16="http://schemas.microsoft.com/office/drawing/2014/main" id="{7CA9E09D-A286-44E2-E0F7-3B898FA86E6C}"/>
              </a:ext>
            </a:extLst>
          </p:cNvPr>
          <p:cNvGrpSpPr/>
          <p:nvPr/>
        </p:nvGrpSpPr>
        <p:grpSpPr>
          <a:xfrm>
            <a:off x="3305060" y="2593624"/>
            <a:ext cx="8681292" cy="773339"/>
            <a:chOff x="3367087" y="2608884"/>
            <a:chExt cx="8681292" cy="773339"/>
          </a:xfrm>
        </p:grpSpPr>
        <p:grpSp>
          <p:nvGrpSpPr>
            <p:cNvPr id="18" name="Google Shape;674;p30">
              <a:extLst>
                <a:ext uri="{FF2B5EF4-FFF2-40B4-BE49-F238E27FC236}">
                  <a16:creationId xmlns:a16="http://schemas.microsoft.com/office/drawing/2014/main" id="{725A4C91-B82D-B781-FF8B-8E72DAE88B37}"/>
                </a:ext>
              </a:extLst>
            </p:cNvPr>
            <p:cNvGrpSpPr/>
            <p:nvPr/>
          </p:nvGrpSpPr>
          <p:grpSpPr>
            <a:xfrm>
              <a:off x="3367087" y="2608884"/>
              <a:ext cx="8681292" cy="773339"/>
              <a:chOff x="485966" y="2196110"/>
              <a:chExt cx="8681292" cy="773339"/>
            </a:xfrm>
          </p:grpSpPr>
          <p:sp>
            <p:nvSpPr>
              <p:cNvPr id="19" name="Google Shape;675;p30">
                <a:extLst>
                  <a:ext uri="{FF2B5EF4-FFF2-40B4-BE49-F238E27FC236}">
                    <a16:creationId xmlns:a16="http://schemas.microsoft.com/office/drawing/2014/main" id="{7982171C-E5D1-060C-BF41-9FFE8A77FC14}"/>
                  </a:ext>
                </a:extLst>
              </p:cNvPr>
              <p:cNvSpPr/>
              <p:nvPr/>
            </p:nvSpPr>
            <p:spPr>
              <a:xfrm>
                <a:off x="875153" y="2196237"/>
                <a:ext cx="8292105" cy="773085"/>
              </a:xfrm>
              <a:prstGeom prst="roundRect">
                <a:avLst/>
              </a:prstGeom>
              <a:solidFill>
                <a:schemeClr val="bg1"/>
              </a:solidFill>
              <a:ln w="19050">
                <a:solidFill>
                  <a:schemeClr val="accent2"/>
                </a:solid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22" name="Google Shape;678;p30">
                <a:extLst>
                  <a:ext uri="{FF2B5EF4-FFF2-40B4-BE49-F238E27FC236}">
                    <a16:creationId xmlns:a16="http://schemas.microsoft.com/office/drawing/2014/main" id="{EF935097-CF68-2D2A-05BE-840FBE5F5F79}"/>
                  </a:ext>
                </a:extLst>
              </p:cNvPr>
              <p:cNvSpPr/>
              <p:nvPr/>
            </p:nvSpPr>
            <p:spPr>
              <a:xfrm>
                <a:off x="485966" y="2196110"/>
                <a:ext cx="773085" cy="773339"/>
              </a:xfrm>
              <a:custGeom>
                <a:avLst/>
                <a:gdLst/>
                <a:ahLst/>
                <a:cxnLst/>
                <a:rect l="l" t="t" r="r" b="b"/>
                <a:pathLst>
                  <a:path w="36505" h="36517" extrusionOk="0">
                    <a:moveTo>
                      <a:pt x="18253" y="0"/>
                    </a:moveTo>
                    <a:cubicBezTo>
                      <a:pt x="8168" y="0"/>
                      <a:pt x="1" y="8180"/>
                      <a:pt x="1" y="18253"/>
                    </a:cubicBezTo>
                    <a:cubicBezTo>
                      <a:pt x="1" y="28337"/>
                      <a:pt x="8168" y="36517"/>
                      <a:pt x="18253" y="36517"/>
                    </a:cubicBezTo>
                    <a:cubicBezTo>
                      <a:pt x="28326" y="36517"/>
                      <a:pt x="36505" y="28337"/>
                      <a:pt x="36505" y="18253"/>
                    </a:cubicBezTo>
                    <a:cubicBezTo>
                      <a:pt x="36505" y="8180"/>
                      <a:pt x="28326" y="0"/>
                      <a:pt x="18253" y="0"/>
                    </a:cubicBez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23" name="Google Shape;679;p30">
                <a:extLst>
                  <a:ext uri="{FF2B5EF4-FFF2-40B4-BE49-F238E27FC236}">
                    <a16:creationId xmlns:a16="http://schemas.microsoft.com/office/drawing/2014/main" id="{EE6EE660-7E1D-271F-69A9-34E2985C50A5}"/>
                  </a:ext>
                </a:extLst>
              </p:cNvPr>
              <p:cNvSpPr/>
              <p:nvPr/>
            </p:nvSpPr>
            <p:spPr>
              <a:xfrm>
                <a:off x="547993" y="2258392"/>
                <a:ext cx="648794" cy="648773"/>
              </a:xfrm>
              <a:custGeom>
                <a:avLst/>
                <a:gdLst/>
                <a:ahLst/>
                <a:cxnLst/>
                <a:rect l="l" t="t" r="r" b="b"/>
                <a:pathLst>
                  <a:path w="30636" h="30635" extrusionOk="0">
                    <a:moveTo>
                      <a:pt x="15324" y="0"/>
                    </a:moveTo>
                    <a:cubicBezTo>
                      <a:pt x="6858" y="0"/>
                      <a:pt x="0" y="6858"/>
                      <a:pt x="0" y="15312"/>
                    </a:cubicBezTo>
                    <a:cubicBezTo>
                      <a:pt x="0" y="23777"/>
                      <a:pt x="6858" y="30635"/>
                      <a:pt x="15324" y="30635"/>
                    </a:cubicBezTo>
                    <a:cubicBezTo>
                      <a:pt x="23777" y="30635"/>
                      <a:pt x="30635" y="23777"/>
                      <a:pt x="30635" y="15312"/>
                    </a:cubicBezTo>
                    <a:cubicBezTo>
                      <a:pt x="30635" y="6858"/>
                      <a:pt x="23777" y="0"/>
                      <a:pt x="15324" y="0"/>
                    </a:cubicBezTo>
                    <a:close/>
                  </a:path>
                </a:pathLst>
              </a:cu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endParaRPr sz="1600"/>
              </a:p>
            </p:txBody>
          </p:sp>
        </p:grpSp>
        <p:sp>
          <p:nvSpPr>
            <p:cNvPr id="24" name="TextBox 23">
              <a:extLst>
                <a:ext uri="{FF2B5EF4-FFF2-40B4-BE49-F238E27FC236}">
                  <a16:creationId xmlns:a16="http://schemas.microsoft.com/office/drawing/2014/main" id="{E5D4DAB2-E69B-014D-2EC1-B11849247B50}"/>
                </a:ext>
              </a:extLst>
            </p:cNvPr>
            <p:cNvSpPr txBox="1"/>
            <p:nvPr/>
          </p:nvSpPr>
          <p:spPr>
            <a:xfrm>
              <a:off x="4325541" y="2668541"/>
              <a:ext cx="7722838" cy="654025"/>
            </a:xfrm>
            <a:prstGeom prst="rect">
              <a:avLst/>
            </a:prstGeom>
            <a:noFill/>
          </p:spPr>
          <p:txBody>
            <a:bodyPr wrap="square">
              <a:spAutoFit/>
            </a:bodyPr>
            <a:lstStyle/>
            <a:p>
              <a:pPr marL="0" lvl="1" defTabSz="914400">
                <a:lnSpc>
                  <a:spcPct val="90000"/>
                </a:lnSpc>
                <a:defRPr/>
              </a:pPr>
              <a:r>
                <a:rPr kumimoji="0" lang="tr-TR" sz="2000" b="0" i="0" u="none" strike="noStrike" kern="1200" cap="none" spc="0" normalizeH="0" baseline="0" noProof="0" dirty="0">
                  <a:ln>
                    <a:noFill/>
                  </a:ln>
                  <a:effectLst/>
                  <a:uLnTx/>
                  <a:uFillTx/>
                  <a:ea typeface="+mn-ea"/>
                  <a:cs typeface="+mn-cs"/>
                </a:rPr>
                <a:t>RSV’ye Genel Bakış, Klinik Özellikleri ve </a:t>
              </a:r>
              <a:r>
                <a:rPr kumimoji="0" lang="en-US" sz="2000" b="0" i="0" u="none" strike="noStrike" kern="1200" cap="none" spc="0" normalizeH="0" baseline="0" noProof="0" dirty="0" err="1">
                  <a:ln>
                    <a:noFill/>
                  </a:ln>
                  <a:effectLst/>
                  <a:uLnTx/>
                  <a:uFillTx/>
                  <a:ea typeface="+mn-ea"/>
                  <a:cs typeface="+mn-cs"/>
                </a:rPr>
                <a:t>İleri</a:t>
              </a:r>
              <a:r>
                <a:rPr kumimoji="0" lang="en-US" sz="2000" b="0" i="0" u="none" strike="noStrike" kern="1200" cap="none" spc="0" normalizeH="0" baseline="0" noProof="0" dirty="0">
                  <a:ln>
                    <a:noFill/>
                  </a:ln>
                  <a:effectLst/>
                  <a:uLnTx/>
                  <a:uFillTx/>
                  <a:ea typeface="+mn-ea"/>
                  <a:cs typeface="+mn-cs"/>
                </a:rPr>
                <a:t> </a:t>
              </a:r>
              <a:r>
                <a:rPr kumimoji="0" lang="en-US" sz="2000" b="0" i="0" u="none" strike="noStrike" kern="1200" cap="none" spc="0" normalizeH="0" baseline="0" noProof="0" dirty="0" err="1">
                  <a:ln>
                    <a:noFill/>
                  </a:ln>
                  <a:effectLst/>
                  <a:uLnTx/>
                  <a:uFillTx/>
                  <a:ea typeface="+mn-ea"/>
                  <a:cs typeface="+mn-cs"/>
                </a:rPr>
                <a:t>Yaş</a:t>
              </a:r>
              <a:r>
                <a:rPr kumimoji="0" lang="en-US" sz="2000" b="0" i="0" u="none" strike="noStrike" kern="1200" cap="none" spc="0" normalizeH="0" baseline="0" noProof="0" dirty="0">
                  <a:ln>
                    <a:noFill/>
                  </a:ln>
                  <a:effectLst/>
                  <a:uLnTx/>
                  <a:uFillTx/>
                  <a:ea typeface="+mn-ea"/>
                  <a:cs typeface="+mn-cs"/>
                </a:rPr>
                <a:t> </a:t>
              </a:r>
              <a:r>
                <a:rPr kumimoji="0" lang="en-US" sz="2000" b="0" i="0" u="none" strike="noStrike" kern="1200" cap="none" spc="0" normalizeH="0" baseline="0" noProof="0" dirty="0" err="1">
                  <a:ln>
                    <a:noFill/>
                  </a:ln>
                  <a:effectLst/>
                  <a:uLnTx/>
                  <a:uFillTx/>
                  <a:ea typeface="+mn-ea"/>
                  <a:cs typeface="+mn-cs"/>
                </a:rPr>
                <a:t>Erişkinlerde</a:t>
              </a:r>
              <a:r>
                <a:rPr kumimoji="0" lang="en-US" sz="2000" b="0" i="0" u="none" strike="noStrike" kern="1200" cap="none" spc="0" normalizeH="0" baseline="0" noProof="0" dirty="0">
                  <a:ln>
                    <a:noFill/>
                  </a:ln>
                  <a:effectLst/>
                  <a:uLnTx/>
                  <a:uFillTx/>
                  <a:ea typeface="+mn-ea"/>
                  <a:cs typeface="+mn-cs"/>
                </a:rPr>
                <a:t> </a:t>
              </a:r>
              <a:r>
                <a:rPr kumimoji="0" lang="tr-TR" sz="2000" b="0" i="0" u="none" strike="noStrike" kern="1200" cap="none" spc="0" normalizeH="0" baseline="0" noProof="0" dirty="0">
                  <a:ln>
                    <a:noFill/>
                  </a:ln>
                  <a:effectLst/>
                  <a:uLnTx/>
                  <a:uFillTx/>
                  <a:ea typeface="+mn-ea"/>
                  <a:cs typeface="+mn-cs"/>
                </a:rPr>
                <a:t>Hastalık Yükü</a:t>
              </a:r>
              <a:endParaRPr kumimoji="0" lang="en-US" sz="2000" b="0" i="0" u="none" strike="noStrike" kern="1200" cap="none" spc="0" normalizeH="0" baseline="0" noProof="0" dirty="0">
                <a:ln>
                  <a:noFill/>
                </a:ln>
                <a:effectLst/>
                <a:uLnTx/>
                <a:uFillTx/>
                <a:ea typeface="+mn-ea"/>
                <a:cs typeface="+mn-cs"/>
              </a:endParaRPr>
            </a:p>
          </p:txBody>
        </p:sp>
        <p:sp>
          <p:nvSpPr>
            <p:cNvPr id="31" name="TextBox 30">
              <a:extLst>
                <a:ext uri="{FF2B5EF4-FFF2-40B4-BE49-F238E27FC236}">
                  <a16:creationId xmlns:a16="http://schemas.microsoft.com/office/drawing/2014/main" id="{0D44B46A-1CE9-480A-6325-44B2811A0AB6}"/>
                </a:ext>
              </a:extLst>
            </p:cNvPr>
            <p:cNvSpPr txBox="1"/>
            <p:nvPr/>
          </p:nvSpPr>
          <p:spPr>
            <a:xfrm>
              <a:off x="3465848" y="2672388"/>
              <a:ext cx="571565" cy="646331"/>
            </a:xfrm>
            <a:prstGeom prst="rect">
              <a:avLst/>
            </a:prstGeom>
            <a:noFill/>
          </p:spPr>
          <p:txBody>
            <a:bodyPr wrap="square" rtlCol="0" anchor="ctr">
              <a:spAutoFit/>
            </a:bodyPr>
            <a:lstStyle/>
            <a:p>
              <a:pPr algn="ctr"/>
              <a:r>
                <a:rPr lang="tr-TR"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rPr>
                <a:t>2</a:t>
              </a:r>
              <a:endParaRPr lang="en-GB"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endParaRPr>
            </a:p>
          </p:txBody>
        </p:sp>
      </p:grpSp>
      <p:grpSp>
        <p:nvGrpSpPr>
          <p:cNvPr id="41" name="Group 40">
            <a:extLst>
              <a:ext uri="{FF2B5EF4-FFF2-40B4-BE49-F238E27FC236}">
                <a16:creationId xmlns:a16="http://schemas.microsoft.com/office/drawing/2014/main" id="{5B0B4385-368C-8912-9EA7-3BCFE4C08C5D}"/>
              </a:ext>
            </a:extLst>
          </p:cNvPr>
          <p:cNvGrpSpPr/>
          <p:nvPr/>
        </p:nvGrpSpPr>
        <p:grpSpPr>
          <a:xfrm>
            <a:off x="3305060" y="3691006"/>
            <a:ext cx="8681292" cy="773339"/>
            <a:chOff x="3367087" y="3690453"/>
            <a:chExt cx="8681292" cy="773339"/>
          </a:xfrm>
        </p:grpSpPr>
        <p:grpSp>
          <p:nvGrpSpPr>
            <p:cNvPr id="25" name="Google Shape;674;p30">
              <a:extLst>
                <a:ext uri="{FF2B5EF4-FFF2-40B4-BE49-F238E27FC236}">
                  <a16:creationId xmlns:a16="http://schemas.microsoft.com/office/drawing/2014/main" id="{FF049953-7085-724A-28F1-E6B6D5B32420}"/>
                </a:ext>
              </a:extLst>
            </p:cNvPr>
            <p:cNvGrpSpPr/>
            <p:nvPr/>
          </p:nvGrpSpPr>
          <p:grpSpPr>
            <a:xfrm>
              <a:off x="3367087" y="3690453"/>
              <a:ext cx="8681292" cy="773339"/>
              <a:chOff x="485966" y="2196110"/>
              <a:chExt cx="8681292" cy="773339"/>
            </a:xfrm>
          </p:grpSpPr>
          <p:sp>
            <p:nvSpPr>
              <p:cNvPr id="26" name="Google Shape;675;p30">
                <a:extLst>
                  <a:ext uri="{FF2B5EF4-FFF2-40B4-BE49-F238E27FC236}">
                    <a16:creationId xmlns:a16="http://schemas.microsoft.com/office/drawing/2014/main" id="{CFDA84E2-3BA8-76BC-4845-14FC211D6A27}"/>
                  </a:ext>
                </a:extLst>
              </p:cNvPr>
              <p:cNvSpPr/>
              <p:nvPr/>
            </p:nvSpPr>
            <p:spPr>
              <a:xfrm>
                <a:off x="875153" y="2196237"/>
                <a:ext cx="8292105" cy="773085"/>
              </a:xfrm>
              <a:prstGeom prst="roundRect">
                <a:avLst/>
              </a:prstGeom>
              <a:solidFill>
                <a:schemeClr val="bg1"/>
              </a:solidFill>
              <a:ln w="19050">
                <a:solidFill>
                  <a:schemeClr val="accent2"/>
                </a:solid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27" name="Google Shape;678;p30">
                <a:extLst>
                  <a:ext uri="{FF2B5EF4-FFF2-40B4-BE49-F238E27FC236}">
                    <a16:creationId xmlns:a16="http://schemas.microsoft.com/office/drawing/2014/main" id="{21C0BCA6-4395-C531-2DA1-C3081D332D73}"/>
                  </a:ext>
                </a:extLst>
              </p:cNvPr>
              <p:cNvSpPr/>
              <p:nvPr/>
            </p:nvSpPr>
            <p:spPr>
              <a:xfrm>
                <a:off x="485966" y="2196110"/>
                <a:ext cx="773085" cy="773339"/>
              </a:xfrm>
              <a:custGeom>
                <a:avLst/>
                <a:gdLst/>
                <a:ahLst/>
                <a:cxnLst/>
                <a:rect l="l" t="t" r="r" b="b"/>
                <a:pathLst>
                  <a:path w="36505" h="36517" extrusionOk="0">
                    <a:moveTo>
                      <a:pt x="18253" y="0"/>
                    </a:moveTo>
                    <a:cubicBezTo>
                      <a:pt x="8168" y="0"/>
                      <a:pt x="1" y="8180"/>
                      <a:pt x="1" y="18253"/>
                    </a:cubicBezTo>
                    <a:cubicBezTo>
                      <a:pt x="1" y="28337"/>
                      <a:pt x="8168" y="36517"/>
                      <a:pt x="18253" y="36517"/>
                    </a:cubicBezTo>
                    <a:cubicBezTo>
                      <a:pt x="28326" y="36517"/>
                      <a:pt x="36505" y="28337"/>
                      <a:pt x="36505" y="18253"/>
                    </a:cubicBezTo>
                    <a:cubicBezTo>
                      <a:pt x="36505" y="8180"/>
                      <a:pt x="28326" y="0"/>
                      <a:pt x="18253" y="0"/>
                    </a:cubicBez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28" name="Google Shape;679;p30">
                <a:extLst>
                  <a:ext uri="{FF2B5EF4-FFF2-40B4-BE49-F238E27FC236}">
                    <a16:creationId xmlns:a16="http://schemas.microsoft.com/office/drawing/2014/main" id="{4BB082C5-B1EC-D9A3-57ED-1109DCA367D8}"/>
                  </a:ext>
                </a:extLst>
              </p:cNvPr>
              <p:cNvSpPr/>
              <p:nvPr/>
            </p:nvSpPr>
            <p:spPr>
              <a:xfrm>
                <a:off x="547993" y="2258392"/>
                <a:ext cx="648794" cy="648773"/>
              </a:xfrm>
              <a:custGeom>
                <a:avLst/>
                <a:gdLst/>
                <a:ahLst/>
                <a:cxnLst/>
                <a:rect l="l" t="t" r="r" b="b"/>
                <a:pathLst>
                  <a:path w="30636" h="30635" extrusionOk="0">
                    <a:moveTo>
                      <a:pt x="15324" y="0"/>
                    </a:moveTo>
                    <a:cubicBezTo>
                      <a:pt x="6858" y="0"/>
                      <a:pt x="0" y="6858"/>
                      <a:pt x="0" y="15312"/>
                    </a:cubicBezTo>
                    <a:cubicBezTo>
                      <a:pt x="0" y="23777"/>
                      <a:pt x="6858" y="30635"/>
                      <a:pt x="15324" y="30635"/>
                    </a:cubicBezTo>
                    <a:cubicBezTo>
                      <a:pt x="23777" y="30635"/>
                      <a:pt x="30635" y="23777"/>
                      <a:pt x="30635" y="15312"/>
                    </a:cubicBezTo>
                    <a:cubicBezTo>
                      <a:pt x="30635" y="6858"/>
                      <a:pt x="23777" y="0"/>
                      <a:pt x="15324" y="0"/>
                    </a:cubicBezTo>
                    <a:close/>
                  </a:path>
                </a:pathLst>
              </a:cu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endParaRPr sz="1600"/>
              </a:p>
            </p:txBody>
          </p:sp>
        </p:grpSp>
        <p:sp>
          <p:nvSpPr>
            <p:cNvPr id="29" name="TextBox 28">
              <a:extLst>
                <a:ext uri="{FF2B5EF4-FFF2-40B4-BE49-F238E27FC236}">
                  <a16:creationId xmlns:a16="http://schemas.microsoft.com/office/drawing/2014/main" id="{38C8D07E-FC78-6B73-4E9E-73BAA12FB3A2}"/>
                </a:ext>
              </a:extLst>
            </p:cNvPr>
            <p:cNvSpPr txBox="1"/>
            <p:nvPr/>
          </p:nvSpPr>
          <p:spPr>
            <a:xfrm>
              <a:off x="4325541" y="3888609"/>
              <a:ext cx="7194028" cy="377026"/>
            </a:xfrm>
            <a:prstGeom prst="rect">
              <a:avLst/>
            </a:prstGeom>
            <a:noFill/>
          </p:spPr>
          <p:txBody>
            <a:bodyPr wrap="square">
              <a:spAutoFit/>
            </a:bodyPr>
            <a:lstStyle/>
            <a:p>
              <a:pPr marL="0" lvl="1" defTabSz="914400">
                <a:lnSpc>
                  <a:spcPct val="90000"/>
                </a:lnSpc>
                <a:defRPr/>
              </a:pPr>
              <a:r>
                <a:rPr lang="tr-TR" sz="2000" dirty="0"/>
                <a:t>İleri Yaşta Pnömokok </a:t>
              </a:r>
              <a:r>
                <a:rPr lang="en-US" sz="2000" dirty="0" err="1"/>
                <a:t>Hastalık</a:t>
              </a:r>
              <a:r>
                <a:rPr lang="en-US" sz="2000" dirty="0"/>
                <a:t> </a:t>
              </a:r>
              <a:r>
                <a:rPr lang="en-US" sz="2000" dirty="0" err="1"/>
                <a:t>Yükü</a:t>
              </a:r>
              <a:r>
                <a:rPr lang="en-US" sz="2000" dirty="0"/>
                <a:t> </a:t>
              </a:r>
              <a:r>
                <a:rPr lang="tr-TR" sz="2000" dirty="0"/>
                <a:t>ve Önemi</a:t>
              </a:r>
              <a:endParaRPr lang="en-US" sz="2000" dirty="0"/>
            </a:p>
          </p:txBody>
        </p:sp>
        <p:sp>
          <p:nvSpPr>
            <p:cNvPr id="32" name="TextBox 31">
              <a:extLst>
                <a:ext uri="{FF2B5EF4-FFF2-40B4-BE49-F238E27FC236}">
                  <a16:creationId xmlns:a16="http://schemas.microsoft.com/office/drawing/2014/main" id="{6A38122B-A66C-82B6-9008-7DF0FBE6A17E}"/>
                </a:ext>
              </a:extLst>
            </p:cNvPr>
            <p:cNvSpPr txBox="1"/>
            <p:nvPr/>
          </p:nvSpPr>
          <p:spPr>
            <a:xfrm>
              <a:off x="3465848" y="3753957"/>
              <a:ext cx="571565" cy="646331"/>
            </a:xfrm>
            <a:prstGeom prst="rect">
              <a:avLst/>
            </a:prstGeom>
            <a:noFill/>
          </p:spPr>
          <p:txBody>
            <a:bodyPr wrap="square" rtlCol="0" anchor="ctr">
              <a:spAutoFit/>
            </a:bodyPr>
            <a:lstStyle/>
            <a:p>
              <a:pPr algn="ctr"/>
              <a:r>
                <a:rPr lang="tr-TR"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rPr>
                <a:t>3</a:t>
              </a:r>
              <a:endParaRPr lang="en-GB"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endParaRPr>
            </a:p>
          </p:txBody>
        </p:sp>
      </p:grpSp>
      <p:grpSp>
        <p:nvGrpSpPr>
          <p:cNvPr id="42" name="Group 41">
            <a:extLst>
              <a:ext uri="{FF2B5EF4-FFF2-40B4-BE49-F238E27FC236}">
                <a16:creationId xmlns:a16="http://schemas.microsoft.com/office/drawing/2014/main" id="{F7C78FB6-FD1A-B5E5-D565-E73EF0C34156}"/>
              </a:ext>
            </a:extLst>
          </p:cNvPr>
          <p:cNvGrpSpPr/>
          <p:nvPr/>
        </p:nvGrpSpPr>
        <p:grpSpPr>
          <a:xfrm>
            <a:off x="3305060" y="4788389"/>
            <a:ext cx="8681292" cy="773339"/>
            <a:chOff x="3429114" y="4788389"/>
            <a:chExt cx="8681292" cy="773339"/>
          </a:xfrm>
        </p:grpSpPr>
        <p:grpSp>
          <p:nvGrpSpPr>
            <p:cNvPr id="33" name="Google Shape;674;p30">
              <a:extLst>
                <a:ext uri="{FF2B5EF4-FFF2-40B4-BE49-F238E27FC236}">
                  <a16:creationId xmlns:a16="http://schemas.microsoft.com/office/drawing/2014/main" id="{AA34428E-0D16-F0B4-4604-578CC4FF3530}"/>
                </a:ext>
              </a:extLst>
            </p:cNvPr>
            <p:cNvGrpSpPr/>
            <p:nvPr/>
          </p:nvGrpSpPr>
          <p:grpSpPr>
            <a:xfrm>
              <a:off x="3429114" y="4788389"/>
              <a:ext cx="8681292" cy="773339"/>
              <a:chOff x="485966" y="2196110"/>
              <a:chExt cx="8681292" cy="773339"/>
            </a:xfrm>
          </p:grpSpPr>
          <p:sp>
            <p:nvSpPr>
              <p:cNvPr id="34" name="Google Shape;675;p30">
                <a:extLst>
                  <a:ext uri="{FF2B5EF4-FFF2-40B4-BE49-F238E27FC236}">
                    <a16:creationId xmlns:a16="http://schemas.microsoft.com/office/drawing/2014/main" id="{4D4A2B2E-2297-FE69-9344-5FEF1DD7011E}"/>
                  </a:ext>
                </a:extLst>
              </p:cNvPr>
              <p:cNvSpPr/>
              <p:nvPr/>
            </p:nvSpPr>
            <p:spPr>
              <a:xfrm>
                <a:off x="875153" y="2196237"/>
                <a:ext cx="8292105" cy="773085"/>
              </a:xfrm>
              <a:prstGeom prst="roundRect">
                <a:avLst/>
              </a:prstGeom>
              <a:solidFill>
                <a:schemeClr val="bg1"/>
              </a:solidFill>
              <a:ln w="19050">
                <a:solidFill>
                  <a:schemeClr val="accent2"/>
                </a:solid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35" name="Google Shape;678;p30">
                <a:extLst>
                  <a:ext uri="{FF2B5EF4-FFF2-40B4-BE49-F238E27FC236}">
                    <a16:creationId xmlns:a16="http://schemas.microsoft.com/office/drawing/2014/main" id="{DC37B00E-3BBA-9971-1490-77FB7D651538}"/>
                  </a:ext>
                </a:extLst>
              </p:cNvPr>
              <p:cNvSpPr/>
              <p:nvPr/>
            </p:nvSpPr>
            <p:spPr>
              <a:xfrm>
                <a:off x="485966" y="2196110"/>
                <a:ext cx="773085" cy="773339"/>
              </a:xfrm>
              <a:custGeom>
                <a:avLst/>
                <a:gdLst/>
                <a:ahLst/>
                <a:cxnLst/>
                <a:rect l="l" t="t" r="r" b="b"/>
                <a:pathLst>
                  <a:path w="36505" h="36517" extrusionOk="0">
                    <a:moveTo>
                      <a:pt x="18253" y="0"/>
                    </a:moveTo>
                    <a:cubicBezTo>
                      <a:pt x="8168" y="0"/>
                      <a:pt x="1" y="8180"/>
                      <a:pt x="1" y="18253"/>
                    </a:cubicBezTo>
                    <a:cubicBezTo>
                      <a:pt x="1" y="28337"/>
                      <a:pt x="8168" y="36517"/>
                      <a:pt x="18253" y="36517"/>
                    </a:cubicBezTo>
                    <a:cubicBezTo>
                      <a:pt x="28326" y="36517"/>
                      <a:pt x="36505" y="28337"/>
                      <a:pt x="36505" y="18253"/>
                    </a:cubicBezTo>
                    <a:cubicBezTo>
                      <a:pt x="36505" y="8180"/>
                      <a:pt x="28326" y="0"/>
                      <a:pt x="18253" y="0"/>
                    </a:cubicBez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36" name="Google Shape;679;p30">
                <a:extLst>
                  <a:ext uri="{FF2B5EF4-FFF2-40B4-BE49-F238E27FC236}">
                    <a16:creationId xmlns:a16="http://schemas.microsoft.com/office/drawing/2014/main" id="{0CD9B9FE-E758-9168-32C7-1057F32D376B}"/>
                  </a:ext>
                </a:extLst>
              </p:cNvPr>
              <p:cNvSpPr/>
              <p:nvPr/>
            </p:nvSpPr>
            <p:spPr>
              <a:xfrm>
                <a:off x="547993" y="2258392"/>
                <a:ext cx="648794" cy="648773"/>
              </a:xfrm>
              <a:custGeom>
                <a:avLst/>
                <a:gdLst/>
                <a:ahLst/>
                <a:cxnLst/>
                <a:rect l="l" t="t" r="r" b="b"/>
                <a:pathLst>
                  <a:path w="30636" h="30635" extrusionOk="0">
                    <a:moveTo>
                      <a:pt x="15324" y="0"/>
                    </a:moveTo>
                    <a:cubicBezTo>
                      <a:pt x="6858" y="0"/>
                      <a:pt x="0" y="6858"/>
                      <a:pt x="0" y="15312"/>
                    </a:cubicBezTo>
                    <a:cubicBezTo>
                      <a:pt x="0" y="23777"/>
                      <a:pt x="6858" y="30635"/>
                      <a:pt x="15324" y="30635"/>
                    </a:cubicBezTo>
                    <a:cubicBezTo>
                      <a:pt x="23777" y="30635"/>
                      <a:pt x="30635" y="23777"/>
                      <a:pt x="30635" y="15312"/>
                    </a:cubicBezTo>
                    <a:cubicBezTo>
                      <a:pt x="30635" y="6858"/>
                      <a:pt x="23777" y="0"/>
                      <a:pt x="15324" y="0"/>
                    </a:cubicBezTo>
                    <a:close/>
                  </a:path>
                </a:pathLst>
              </a:cu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endParaRPr sz="1600"/>
              </a:p>
            </p:txBody>
          </p:sp>
        </p:grpSp>
        <p:sp>
          <p:nvSpPr>
            <p:cNvPr id="37" name="TextBox 36">
              <a:extLst>
                <a:ext uri="{FF2B5EF4-FFF2-40B4-BE49-F238E27FC236}">
                  <a16:creationId xmlns:a16="http://schemas.microsoft.com/office/drawing/2014/main" id="{E7B3878A-CAEE-989E-88BA-A58E5A12DD25}"/>
                </a:ext>
              </a:extLst>
            </p:cNvPr>
            <p:cNvSpPr txBox="1"/>
            <p:nvPr/>
          </p:nvSpPr>
          <p:spPr>
            <a:xfrm>
              <a:off x="4387568" y="4986545"/>
              <a:ext cx="7194028" cy="377026"/>
            </a:xfrm>
            <a:prstGeom prst="rect">
              <a:avLst/>
            </a:prstGeom>
            <a:noFill/>
          </p:spPr>
          <p:txBody>
            <a:bodyPr wrap="square">
              <a:spAutoFit/>
            </a:bodyPr>
            <a:lstStyle/>
            <a:p>
              <a:pPr marL="0" lvl="1" defTabSz="914400">
                <a:lnSpc>
                  <a:spcPct val="90000"/>
                </a:lnSpc>
                <a:defRPr/>
              </a:pPr>
              <a:r>
                <a:rPr lang="en-US" sz="2000" dirty="0"/>
                <a:t>PREVENAR 20 &amp; ABRYSVO</a:t>
              </a:r>
              <a:endParaRPr kumimoji="0" lang="en-US" sz="2000" i="0" u="none" strike="noStrike" kern="1200" cap="none" spc="0" normalizeH="0" baseline="0" noProof="0" dirty="0">
                <a:ln>
                  <a:noFill/>
                </a:ln>
                <a:effectLst/>
                <a:uLnTx/>
                <a:uFillTx/>
                <a:ea typeface="+mn-ea"/>
                <a:cs typeface="+mn-cs"/>
              </a:endParaRPr>
            </a:p>
          </p:txBody>
        </p:sp>
        <p:sp>
          <p:nvSpPr>
            <p:cNvPr id="38" name="TextBox 37">
              <a:extLst>
                <a:ext uri="{FF2B5EF4-FFF2-40B4-BE49-F238E27FC236}">
                  <a16:creationId xmlns:a16="http://schemas.microsoft.com/office/drawing/2014/main" id="{A6CDBE0B-FDE5-96FC-724F-D292D69359B2}"/>
                </a:ext>
              </a:extLst>
            </p:cNvPr>
            <p:cNvSpPr txBox="1"/>
            <p:nvPr/>
          </p:nvSpPr>
          <p:spPr>
            <a:xfrm>
              <a:off x="3527875" y="4851893"/>
              <a:ext cx="571565" cy="646331"/>
            </a:xfrm>
            <a:prstGeom prst="rect">
              <a:avLst/>
            </a:prstGeom>
            <a:noFill/>
          </p:spPr>
          <p:txBody>
            <a:bodyPr wrap="square" rtlCol="0" anchor="ctr">
              <a:spAutoFit/>
            </a:bodyPr>
            <a:lstStyle/>
            <a:p>
              <a:pPr algn="ctr"/>
              <a:r>
                <a:rPr lang="en-US"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rPr>
                <a:t>4</a:t>
              </a:r>
              <a:endParaRPr lang="en-GB"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endParaRPr>
            </a:p>
          </p:txBody>
        </p:sp>
      </p:grpSp>
      <p:sp>
        <p:nvSpPr>
          <p:cNvPr id="43" name="Rectangle 42">
            <a:extLst>
              <a:ext uri="{FF2B5EF4-FFF2-40B4-BE49-F238E27FC236}">
                <a16:creationId xmlns:a16="http://schemas.microsoft.com/office/drawing/2014/main" id="{6B2C30C8-089A-359E-DCE1-9AECE2FA9EE5}"/>
              </a:ext>
            </a:extLst>
          </p:cNvPr>
          <p:cNvSpPr/>
          <p:nvPr/>
        </p:nvSpPr>
        <p:spPr>
          <a:xfrm>
            <a:off x="2672623" y="1439350"/>
            <a:ext cx="9519377" cy="1970405"/>
          </a:xfrm>
          <a:prstGeom prst="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4" name="Rectangle 3">
            <a:extLst>
              <a:ext uri="{FF2B5EF4-FFF2-40B4-BE49-F238E27FC236}">
                <a16:creationId xmlns:a16="http://schemas.microsoft.com/office/drawing/2014/main" id="{B568B5C8-A876-630A-848C-B91218E12A62}"/>
              </a:ext>
            </a:extLst>
          </p:cNvPr>
          <p:cNvSpPr/>
          <p:nvPr/>
        </p:nvSpPr>
        <p:spPr>
          <a:xfrm>
            <a:off x="2672623" y="4589263"/>
            <a:ext cx="9519377" cy="1379407"/>
          </a:xfrm>
          <a:prstGeom prst="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Tree>
    <p:extLst>
      <p:ext uri="{BB962C8B-B14F-4D97-AF65-F5344CB8AC3E}">
        <p14:creationId xmlns:p14="http://schemas.microsoft.com/office/powerpoint/2010/main" val="41685593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181"/>
          <p:cNvSpPr txBox="1">
            <a:spLocks noChangeArrowheads="1"/>
          </p:cNvSpPr>
          <p:nvPr/>
        </p:nvSpPr>
        <p:spPr bwMode="gray">
          <a:xfrm>
            <a:off x="1563103" y="6300554"/>
            <a:ext cx="7085597" cy="389081"/>
          </a:xfrm>
          <a:prstGeom prst="rect">
            <a:avLst/>
          </a:prstGeom>
          <a:noFill/>
          <a:ln w="9525">
            <a:noFill/>
            <a:miter lim="800000"/>
            <a:headEnd/>
            <a:tailEnd/>
          </a:ln>
        </p:spPr>
        <p:txBody>
          <a:bodyPr wrap="square" lIns="91440" tIns="36576" rIns="91440" bIns="36576" anchor="b">
            <a:spAutoFit/>
          </a:bodyPr>
          <a:lstStyle/>
          <a:p>
            <a:pPr>
              <a:lnSpc>
                <a:spcPct val="110000"/>
              </a:lnSpc>
              <a:spcBef>
                <a:spcPts val="125"/>
              </a:spcBef>
            </a:pPr>
            <a:r>
              <a:rPr lang="en-US" altLang="en-US" sz="600" dirty="0">
                <a:solidFill>
                  <a:schemeClr val="tx1">
                    <a:lumMod val="65000"/>
                    <a:lumOff val="35000"/>
                  </a:schemeClr>
                </a:solidFill>
                <a:cs typeface="Arial"/>
              </a:rPr>
              <a:t>ASYE: Alt </a:t>
            </a:r>
            <a:r>
              <a:rPr lang="en-US" altLang="en-US" sz="600" dirty="0" err="1">
                <a:solidFill>
                  <a:schemeClr val="tx1">
                    <a:lumMod val="65000"/>
                    <a:lumOff val="35000"/>
                  </a:schemeClr>
                </a:solidFill>
                <a:cs typeface="Arial"/>
              </a:rPr>
              <a:t>solunum</a:t>
            </a:r>
            <a:r>
              <a:rPr lang="en-US" altLang="en-US" sz="600" dirty="0">
                <a:solidFill>
                  <a:schemeClr val="tx1">
                    <a:lumMod val="65000"/>
                    <a:lumOff val="35000"/>
                  </a:schemeClr>
                </a:solidFill>
                <a:cs typeface="Arial"/>
              </a:rPr>
              <a:t> </a:t>
            </a:r>
            <a:r>
              <a:rPr lang="en-US" altLang="en-US" sz="600" dirty="0" err="1">
                <a:solidFill>
                  <a:schemeClr val="tx1">
                    <a:lumMod val="65000"/>
                    <a:lumOff val="35000"/>
                  </a:schemeClr>
                </a:solidFill>
                <a:cs typeface="Arial"/>
              </a:rPr>
              <a:t>yolu</a:t>
            </a:r>
            <a:r>
              <a:rPr lang="en-US" altLang="en-US" sz="600" dirty="0">
                <a:solidFill>
                  <a:schemeClr val="tx1">
                    <a:lumMod val="65000"/>
                    <a:lumOff val="35000"/>
                  </a:schemeClr>
                </a:solidFill>
                <a:cs typeface="Arial"/>
              </a:rPr>
              <a:t> </a:t>
            </a:r>
            <a:r>
              <a:rPr lang="en-US" altLang="en-US" sz="600" dirty="0" err="1">
                <a:solidFill>
                  <a:schemeClr val="tx1">
                    <a:lumMod val="65000"/>
                    <a:lumOff val="35000"/>
                  </a:schemeClr>
                </a:solidFill>
                <a:cs typeface="Arial"/>
              </a:rPr>
              <a:t>enfeksiyonu</a:t>
            </a:r>
            <a:r>
              <a:rPr lang="en-US" altLang="en-US" sz="600" dirty="0">
                <a:solidFill>
                  <a:schemeClr val="tx1">
                    <a:lumMod val="65000"/>
                    <a:lumOff val="35000"/>
                  </a:schemeClr>
                </a:solidFill>
                <a:cs typeface="Arial"/>
              </a:rPr>
              <a:t>. </a:t>
            </a:r>
            <a:r>
              <a:rPr lang="en-US" sz="600" i="1" dirty="0"/>
              <a:t>*COVID19 </a:t>
            </a:r>
            <a:r>
              <a:rPr lang="en-US" sz="600" i="1" dirty="0" err="1"/>
              <a:t>dışında</a:t>
            </a:r>
            <a:r>
              <a:rPr lang="en-US" sz="600" i="1" dirty="0"/>
              <a:t> </a:t>
            </a:r>
            <a:r>
              <a:rPr lang="en-US" sz="600" i="1" dirty="0" err="1"/>
              <a:t>kalan</a:t>
            </a:r>
            <a:r>
              <a:rPr lang="en-US" sz="600" i="1" dirty="0"/>
              <a:t> ASYE </a:t>
            </a:r>
            <a:endParaRPr lang="en-US" altLang="en-US" sz="600" dirty="0">
              <a:solidFill>
                <a:schemeClr val="tx1">
                  <a:lumMod val="65000"/>
                  <a:lumOff val="35000"/>
                </a:schemeClr>
              </a:solidFill>
            </a:endParaRPr>
          </a:p>
          <a:p>
            <a:pPr marL="228600" indent="-228600">
              <a:lnSpc>
                <a:spcPct val="110000"/>
              </a:lnSpc>
              <a:spcBef>
                <a:spcPts val="125"/>
              </a:spcBef>
              <a:buAutoNum type="arabicPeriod"/>
            </a:pPr>
            <a:r>
              <a:rPr lang="en-US" altLang="en-US" sz="600" dirty="0">
                <a:solidFill>
                  <a:schemeClr val="tx1">
                    <a:lumMod val="65000"/>
                    <a:lumOff val="35000"/>
                  </a:schemeClr>
                </a:solidFill>
              </a:rPr>
              <a:t>World Health </a:t>
            </a:r>
            <a:r>
              <a:rPr lang="en-US" altLang="en-US" sz="600" dirty="0" err="1">
                <a:solidFill>
                  <a:schemeClr val="tx1">
                    <a:lumMod val="65000"/>
                    <a:lumOff val="35000"/>
                  </a:schemeClr>
                </a:solidFill>
              </a:rPr>
              <a:t>Organisation</a:t>
            </a:r>
            <a:r>
              <a:rPr lang="en-US" altLang="en-US" sz="600" dirty="0">
                <a:solidFill>
                  <a:schemeClr val="tx1">
                    <a:lumMod val="65000"/>
                    <a:lumOff val="35000"/>
                  </a:schemeClr>
                </a:solidFill>
              </a:rPr>
              <a:t>, The top 10 causes of death. </a:t>
            </a:r>
            <a:r>
              <a:rPr lang="en-US" sz="600" dirty="0">
                <a:hlinkClick r:id="rId2"/>
              </a:rPr>
              <a:t>The top 10 causes of death (who.int)</a:t>
            </a:r>
            <a:r>
              <a:rPr lang="tr-TR" sz="600" dirty="0"/>
              <a:t> Son erişim tarihi </a:t>
            </a:r>
            <a:r>
              <a:rPr lang="en-US" sz="600" dirty="0"/>
              <a:t>25/07/2025 </a:t>
            </a:r>
            <a:r>
              <a:rPr lang="en-US" sz="600" dirty="0">
                <a:solidFill>
                  <a:schemeClr val="tx1">
                    <a:lumMod val="65000"/>
                    <a:lumOff val="35000"/>
                  </a:schemeClr>
                </a:solidFill>
              </a:rPr>
              <a:t>2.</a:t>
            </a:r>
            <a:r>
              <a:rPr lang="en-US" altLang="en-US" sz="600" dirty="0">
                <a:solidFill>
                  <a:schemeClr val="tx1">
                    <a:lumMod val="65000"/>
                    <a:lumOff val="35000"/>
                  </a:schemeClr>
                </a:solidFill>
              </a:rPr>
              <a:t>GBD 2021 Lower Respiratory Infections and Antimicrobial Resistance Collaborators. </a:t>
            </a:r>
            <a:r>
              <a:rPr lang="en-US" sz="600" dirty="0">
                <a:solidFill>
                  <a:schemeClr val="tx1">
                    <a:lumMod val="65000"/>
                    <a:lumOff val="35000"/>
                  </a:schemeClr>
                </a:solidFill>
              </a:rPr>
              <a:t>A</a:t>
            </a:r>
            <a:endParaRPr lang="en-US" sz="600" dirty="0">
              <a:solidFill>
                <a:schemeClr val="tx1">
                  <a:lumMod val="65000"/>
                  <a:lumOff val="35000"/>
                </a:schemeClr>
              </a:solidFill>
              <a:cs typeface="Arial"/>
            </a:endParaRPr>
          </a:p>
        </p:txBody>
      </p:sp>
      <p:sp>
        <p:nvSpPr>
          <p:cNvPr id="3" name="Rectangle: Rounded Corners 2">
            <a:extLst>
              <a:ext uri="{FF2B5EF4-FFF2-40B4-BE49-F238E27FC236}">
                <a16:creationId xmlns:a16="http://schemas.microsoft.com/office/drawing/2014/main" id="{6C455147-E320-B175-5822-0ABE256ABA50}"/>
              </a:ext>
            </a:extLst>
          </p:cNvPr>
          <p:cNvSpPr/>
          <p:nvPr/>
        </p:nvSpPr>
        <p:spPr>
          <a:xfrm>
            <a:off x="105218" y="2152912"/>
            <a:ext cx="4400132" cy="3238172"/>
          </a:xfrm>
          <a:prstGeom prst="roundRect">
            <a:avLst/>
          </a:prstGeom>
          <a:solidFill>
            <a:schemeClr val="accent2">
              <a:lumMod val="20000"/>
              <a:lumOff val="8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5237EBBD-0633-F7CA-F9C6-E28EC01B3D56}"/>
              </a:ext>
            </a:extLst>
          </p:cNvPr>
          <p:cNvSpPr>
            <a:spLocks noGrp="1"/>
          </p:cNvSpPr>
          <p:nvPr>
            <p:ph type="title"/>
          </p:nvPr>
        </p:nvSpPr>
        <p:spPr>
          <a:xfrm>
            <a:off x="613152" y="195684"/>
            <a:ext cx="10969218" cy="842156"/>
          </a:xfrm>
        </p:spPr>
        <p:txBody>
          <a:bodyPr anchor="ctr">
            <a:normAutofit/>
          </a:bodyPr>
          <a:lstStyle/>
          <a:p>
            <a:r>
              <a:rPr lang="tr-TR" dirty="0"/>
              <a:t>Alt solunum yolu enfeksiyonları, dünyada başlıca ölüm nedenlerinden biridir </a:t>
            </a:r>
            <a:r>
              <a:rPr lang="tr-TR" baseline="30000" dirty="0"/>
              <a:t>1</a:t>
            </a:r>
          </a:p>
        </p:txBody>
      </p:sp>
      <p:pic>
        <p:nvPicPr>
          <p:cNvPr id="5" name="Content Placeholder 4">
            <a:extLst>
              <a:ext uri="{FF2B5EF4-FFF2-40B4-BE49-F238E27FC236}">
                <a16:creationId xmlns:a16="http://schemas.microsoft.com/office/drawing/2014/main" id="{ADD7E152-297C-16AF-4C39-31311813A0D4}"/>
              </a:ext>
            </a:extLst>
          </p:cNvPr>
          <p:cNvPicPr>
            <a:picLocks noGrp="1" noChangeAspect="1"/>
          </p:cNvPicPr>
          <p:nvPr>
            <p:ph idx="4294967295"/>
          </p:nvPr>
        </p:nvPicPr>
        <p:blipFill>
          <a:blip r:embed="rId3"/>
          <a:stretch>
            <a:fillRect/>
          </a:stretch>
        </p:blipFill>
        <p:spPr>
          <a:xfrm>
            <a:off x="5205414" y="1762125"/>
            <a:ext cx="6011762" cy="3983038"/>
          </a:xfrm>
          <a:prstGeom prst="rect">
            <a:avLst/>
          </a:prstGeom>
          <a:noFill/>
        </p:spPr>
      </p:pic>
      <p:sp>
        <p:nvSpPr>
          <p:cNvPr id="6" name="Content Placeholder 2">
            <a:extLst>
              <a:ext uri="{FF2B5EF4-FFF2-40B4-BE49-F238E27FC236}">
                <a16:creationId xmlns:a16="http://schemas.microsoft.com/office/drawing/2014/main" id="{01912E33-23BE-CA1E-3B77-E49FD3E4B6A2}"/>
              </a:ext>
            </a:extLst>
          </p:cNvPr>
          <p:cNvSpPr txBox="1">
            <a:spLocks/>
          </p:cNvSpPr>
          <p:nvPr/>
        </p:nvSpPr>
        <p:spPr>
          <a:xfrm>
            <a:off x="222634" y="2448472"/>
            <a:ext cx="3969841" cy="2060575"/>
          </a:xfrm>
          <a:prstGeom prst="rect">
            <a:avLst/>
          </a:prstGeom>
          <a:noFill/>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defRPr/>
            </a:pPr>
            <a:r>
              <a:rPr lang="tr-TR" sz="1800" dirty="0"/>
              <a:t>Dünya Sağlık Örgütü verilerine göre</a:t>
            </a:r>
            <a:r>
              <a:rPr lang="en-US" sz="1800" dirty="0"/>
              <a:t> </a:t>
            </a:r>
            <a:r>
              <a:rPr lang="en-US" sz="1800" b="1" dirty="0"/>
              <a:t>ASYE</a:t>
            </a:r>
            <a:r>
              <a:rPr lang="en-US" sz="1800" dirty="0"/>
              <a:t>,</a:t>
            </a:r>
            <a:r>
              <a:rPr lang="tr-TR" sz="1800" dirty="0"/>
              <a:t> dünya genelinde </a:t>
            </a:r>
            <a:r>
              <a:rPr lang="en-US" sz="1800" dirty="0" err="1"/>
              <a:t>ölüme</a:t>
            </a:r>
            <a:r>
              <a:rPr lang="en-US" sz="1800" dirty="0"/>
              <a:t> </a:t>
            </a:r>
            <a:r>
              <a:rPr lang="en-US" sz="1800" dirty="0" err="1"/>
              <a:t>neden</a:t>
            </a:r>
            <a:r>
              <a:rPr lang="en-US" sz="1800" dirty="0"/>
              <a:t> </a:t>
            </a:r>
            <a:r>
              <a:rPr lang="en-US" sz="1800" dirty="0" err="1"/>
              <a:t>olan</a:t>
            </a:r>
            <a:r>
              <a:rPr lang="en-US" sz="1800" dirty="0"/>
              <a:t> </a:t>
            </a:r>
            <a:r>
              <a:rPr lang="tr-TR" sz="1800" dirty="0"/>
              <a:t>başlıca </a:t>
            </a:r>
            <a:r>
              <a:rPr lang="en-US" sz="1800" dirty="0" err="1"/>
              <a:t>bulaşıcı</a:t>
            </a:r>
            <a:r>
              <a:rPr lang="en-US" sz="1800" dirty="0"/>
              <a:t> </a:t>
            </a:r>
            <a:r>
              <a:rPr lang="en-US" sz="1800" dirty="0" err="1"/>
              <a:t>hastalıklar</a:t>
            </a:r>
            <a:r>
              <a:rPr lang="tr-TR" sz="1800" dirty="0"/>
              <a:t>dan</a:t>
            </a:r>
            <a:r>
              <a:rPr lang="en-US" sz="1800" dirty="0" err="1"/>
              <a:t>dır</a:t>
            </a:r>
            <a:r>
              <a:rPr lang="en-US" sz="1800" dirty="0"/>
              <a:t>.</a:t>
            </a:r>
            <a:endParaRPr lang="en-US" sz="1800" dirty="0">
              <a:cs typeface="Arial"/>
            </a:endParaRPr>
          </a:p>
          <a:p>
            <a:pPr>
              <a:lnSpc>
                <a:spcPct val="150000"/>
              </a:lnSpc>
              <a:defRPr/>
            </a:pPr>
            <a:r>
              <a:rPr lang="en-US" sz="1800" b="1" dirty="0"/>
              <a:t>2021’de 2.5</a:t>
            </a:r>
            <a:r>
              <a:rPr lang="tr-TR" sz="1800" b="1" dirty="0"/>
              <a:t> milyon ölüm</a:t>
            </a:r>
            <a:r>
              <a:rPr lang="tr-TR" sz="1800" dirty="0"/>
              <a:t>den sorumludur.</a:t>
            </a:r>
            <a:r>
              <a:rPr lang="en-US" sz="1800" dirty="0"/>
              <a:t>*</a:t>
            </a:r>
            <a:r>
              <a:rPr lang="tr-TR" sz="1800" baseline="30000" dirty="0"/>
              <a:t>1</a:t>
            </a:r>
            <a:endParaRPr lang="tr-TR" sz="1800" baseline="30000" dirty="0">
              <a:cs typeface="Arial"/>
            </a:endParaRPr>
          </a:p>
        </p:txBody>
      </p:sp>
      <p:pic>
        <p:nvPicPr>
          <p:cNvPr id="10" name="Picture 9" descr="A yellow and blue logo&#10;&#10;Description automatically generated">
            <a:extLst>
              <a:ext uri="{FF2B5EF4-FFF2-40B4-BE49-F238E27FC236}">
                <a16:creationId xmlns:a16="http://schemas.microsoft.com/office/drawing/2014/main" id="{C5385DB8-DAD6-44C1-7BCA-37EC3B5E8103}"/>
              </a:ext>
            </a:extLst>
          </p:cNvPr>
          <p:cNvPicPr>
            <a:picLocks noChangeAspect="1"/>
          </p:cNvPicPr>
          <p:nvPr/>
        </p:nvPicPr>
        <p:blipFill>
          <a:blip r:embed="rId4">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32710868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3152" y="195684"/>
            <a:ext cx="10969218" cy="842156"/>
          </a:xfrm>
        </p:spPr>
        <p:txBody>
          <a:bodyPr>
            <a:noAutofit/>
          </a:bodyPr>
          <a:lstStyle/>
          <a:p>
            <a:r>
              <a:rPr lang="tr-TR" dirty="0"/>
              <a:t>Pnömoni</a:t>
            </a:r>
            <a:r>
              <a:rPr lang="en-US" dirty="0"/>
              <a:t>, </a:t>
            </a:r>
            <a:r>
              <a:rPr lang="en-US" dirty="0" err="1"/>
              <a:t>Türkiye’de</a:t>
            </a:r>
            <a:r>
              <a:rPr lang="en-US" dirty="0"/>
              <a:t> </a:t>
            </a:r>
            <a:r>
              <a:rPr lang="en-US" dirty="0" err="1"/>
              <a:t>en</a:t>
            </a:r>
            <a:r>
              <a:rPr lang="en-US" dirty="0"/>
              <a:t> </a:t>
            </a:r>
            <a:r>
              <a:rPr lang="en-US" dirty="0" err="1"/>
              <a:t>önemli</a:t>
            </a:r>
            <a:r>
              <a:rPr lang="en-US" dirty="0"/>
              <a:t> </a:t>
            </a:r>
            <a:r>
              <a:rPr lang="en-US" dirty="0" err="1"/>
              <a:t>ölüm</a:t>
            </a:r>
            <a:r>
              <a:rPr lang="en-US" dirty="0"/>
              <a:t> </a:t>
            </a:r>
            <a:r>
              <a:rPr lang="en-US" dirty="0" err="1"/>
              <a:t>nedenlerinden</a:t>
            </a:r>
            <a:r>
              <a:rPr lang="en-US" dirty="0"/>
              <a:t> biridir.</a:t>
            </a:r>
            <a:r>
              <a:rPr lang="en-US" baseline="30000" dirty="0"/>
              <a:t>1</a:t>
            </a:r>
            <a:endParaRPr lang="tr-TR" baseline="30000" dirty="0"/>
          </a:p>
        </p:txBody>
      </p:sp>
      <p:pic>
        <p:nvPicPr>
          <p:cNvPr id="4" name="Picture 3">
            <a:extLst>
              <a:ext uri="{FF2B5EF4-FFF2-40B4-BE49-F238E27FC236}">
                <a16:creationId xmlns:a16="http://schemas.microsoft.com/office/drawing/2014/main" id="{1E7BFB57-2F89-FB4C-A575-42AE640EF969}"/>
              </a:ext>
            </a:extLst>
          </p:cNvPr>
          <p:cNvPicPr>
            <a:picLocks noChangeAspect="1"/>
          </p:cNvPicPr>
          <p:nvPr/>
        </p:nvPicPr>
        <p:blipFill>
          <a:blip r:embed="rId2">
            <a:duotone>
              <a:schemeClr val="accent1">
                <a:shade val="45000"/>
                <a:satMod val="135000"/>
              </a:schemeClr>
              <a:prstClr val="white"/>
            </a:duotone>
          </a:blip>
          <a:srcRect/>
          <a:stretch/>
        </p:blipFill>
        <p:spPr>
          <a:xfrm>
            <a:off x="659488" y="1374732"/>
            <a:ext cx="10544180" cy="3761751"/>
          </a:xfrm>
          <a:prstGeom prst="rect">
            <a:avLst/>
          </a:prstGeom>
        </p:spPr>
      </p:pic>
      <p:sp>
        <p:nvSpPr>
          <p:cNvPr id="5" name="Rectangle 4"/>
          <p:cNvSpPr/>
          <p:nvPr/>
        </p:nvSpPr>
        <p:spPr>
          <a:xfrm>
            <a:off x="525482" y="5889440"/>
            <a:ext cx="10544180" cy="322909"/>
          </a:xfrm>
          <a:prstGeom prst="rect">
            <a:avLst/>
          </a:prstGeom>
        </p:spPr>
        <p:txBody>
          <a:bodyPr wrap="square">
            <a:spAutoFit/>
          </a:bodyPr>
          <a:lstStyle/>
          <a:p>
            <a:pPr marL="228600" indent="-228600">
              <a:lnSpc>
                <a:spcPct val="107000"/>
              </a:lnSpc>
              <a:buAutoNum type="arabicPeriod"/>
            </a:pPr>
            <a:r>
              <a:rPr lang="tr-TR" sz="700" dirty="0">
                <a:solidFill>
                  <a:schemeClr val="tx1">
                    <a:lumMod val="65000"/>
                    <a:lumOff val="35000"/>
                  </a:schemeClr>
                </a:solidFill>
              </a:rPr>
              <a:t>TÜİK=</a:t>
            </a:r>
            <a:r>
              <a:rPr lang="en-US" sz="700" dirty="0">
                <a:solidFill>
                  <a:schemeClr val="tx1">
                    <a:lumMod val="65000"/>
                    <a:lumOff val="35000"/>
                  </a:schemeClr>
                </a:solidFill>
              </a:rPr>
              <a:t>Türkiye </a:t>
            </a:r>
            <a:r>
              <a:rPr lang="en-US" sz="700" dirty="0" err="1">
                <a:solidFill>
                  <a:schemeClr val="tx1">
                    <a:lumMod val="65000"/>
                    <a:lumOff val="35000"/>
                  </a:schemeClr>
                </a:solidFill>
              </a:rPr>
              <a:t>İstatistik</a:t>
            </a:r>
            <a:r>
              <a:rPr lang="en-US" sz="700" dirty="0">
                <a:solidFill>
                  <a:schemeClr val="tx1">
                    <a:lumMod val="65000"/>
                    <a:lumOff val="35000"/>
                  </a:schemeClr>
                </a:solidFill>
              </a:rPr>
              <a:t> </a:t>
            </a:r>
            <a:r>
              <a:rPr lang="en-US" sz="700" dirty="0" err="1">
                <a:solidFill>
                  <a:schemeClr val="tx1">
                    <a:lumMod val="65000"/>
                    <a:lumOff val="35000"/>
                  </a:schemeClr>
                </a:solidFill>
              </a:rPr>
              <a:t>Kurumu</a:t>
            </a:r>
            <a:r>
              <a:rPr lang="en-US" sz="700" dirty="0">
                <a:solidFill>
                  <a:schemeClr val="tx1">
                    <a:lumMod val="65000"/>
                    <a:lumOff val="35000"/>
                  </a:schemeClr>
                </a:solidFill>
              </a:rPr>
              <a:t>. </a:t>
            </a:r>
            <a:r>
              <a:rPr lang="en-US" sz="700" dirty="0" err="1">
                <a:solidFill>
                  <a:schemeClr val="tx1">
                    <a:lumMod val="65000"/>
                    <a:lumOff val="35000"/>
                  </a:schemeClr>
                </a:solidFill>
              </a:rPr>
              <a:t>Ölüm</a:t>
            </a:r>
            <a:r>
              <a:rPr lang="en-US" sz="700" dirty="0">
                <a:solidFill>
                  <a:schemeClr val="tx1">
                    <a:lumMod val="65000"/>
                    <a:lumOff val="35000"/>
                  </a:schemeClr>
                </a:solidFill>
              </a:rPr>
              <a:t> </a:t>
            </a:r>
            <a:r>
              <a:rPr lang="en-US" sz="700" dirty="0" err="1">
                <a:solidFill>
                  <a:schemeClr val="tx1">
                    <a:lumMod val="65000"/>
                    <a:lumOff val="35000"/>
                  </a:schemeClr>
                </a:solidFill>
              </a:rPr>
              <a:t>Nedeni</a:t>
            </a:r>
            <a:r>
              <a:rPr lang="en-US" sz="700" dirty="0">
                <a:solidFill>
                  <a:schemeClr val="tx1">
                    <a:lumMod val="65000"/>
                    <a:lumOff val="35000"/>
                  </a:schemeClr>
                </a:solidFill>
              </a:rPr>
              <a:t> </a:t>
            </a:r>
            <a:r>
              <a:rPr lang="en-US" sz="700" dirty="0" err="1">
                <a:solidFill>
                  <a:schemeClr val="tx1">
                    <a:lumMod val="65000"/>
                    <a:lumOff val="35000"/>
                  </a:schemeClr>
                </a:solidFill>
              </a:rPr>
              <a:t>Istatistikleri</a:t>
            </a:r>
            <a:r>
              <a:rPr lang="en-US" sz="700" dirty="0">
                <a:solidFill>
                  <a:schemeClr val="tx1">
                    <a:lumMod val="65000"/>
                    <a:lumOff val="35000"/>
                  </a:schemeClr>
                </a:solidFill>
              </a:rPr>
              <a:t>. 20</a:t>
            </a:r>
            <a:r>
              <a:rPr lang="tr-TR" sz="700" dirty="0">
                <a:solidFill>
                  <a:schemeClr val="tx1">
                    <a:lumMod val="65000"/>
                    <a:lumOff val="35000"/>
                  </a:schemeClr>
                </a:solidFill>
              </a:rPr>
              <a:t>2</a:t>
            </a:r>
            <a:r>
              <a:rPr lang="en-US" sz="700" dirty="0">
                <a:solidFill>
                  <a:schemeClr val="tx1">
                    <a:lumMod val="65000"/>
                    <a:lumOff val="35000"/>
                  </a:schemeClr>
                </a:solidFill>
              </a:rPr>
              <a:t>4. </a:t>
            </a:r>
            <a:r>
              <a:rPr lang="tr-TR" sz="700" dirty="0">
                <a:solidFill>
                  <a:schemeClr val="tx1">
                    <a:lumMod val="65000"/>
                    <a:lumOff val="35000"/>
                  </a:schemeClr>
                </a:solidFill>
              </a:rPr>
              <a:t>Ölüm nedeni ve cinsiyete göre ölümler</a:t>
            </a:r>
            <a:r>
              <a:rPr lang="en-US" sz="700" dirty="0">
                <a:solidFill>
                  <a:schemeClr val="tx1">
                    <a:lumMod val="65000"/>
                    <a:lumOff val="35000"/>
                  </a:schemeClr>
                </a:solidFill>
              </a:rPr>
              <a:t>. </a:t>
            </a:r>
            <a:r>
              <a:rPr lang="tr-TR" sz="700" dirty="0">
                <a:solidFill>
                  <a:schemeClr val="tx1">
                    <a:lumMod val="65000"/>
                    <a:lumOff val="35000"/>
                  </a:schemeClr>
                </a:solidFill>
                <a:hlinkClick r:id="rId3"/>
              </a:rPr>
              <a:t>https://data.tuik.gov.tr/Bulten/Index?p=Olum-ve-Olum-Nedeni-Istatistikleri-202</a:t>
            </a:r>
            <a:r>
              <a:rPr lang="en-US" sz="700" dirty="0">
                <a:solidFill>
                  <a:schemeClr val="tx1">
                    <a:lumMod val="65000"/>
                    <a:lumOff val="35000"/>
                  </a:schemeClr>
                </a:solidFill>
                <a:hlinkClick r:id="rId3"/>
              </a:rPr>
              <a:t>4</a:t>
            </a:r>
            <a:r>
              <a:rPr lang="en-US" sz="700" dirty="0">
                <a:solidFill>
                  <a:schemeClr val="tx1">
                    <a:lumMod val="65000"/>
                    <a:lumOff val="35000"/>
                  </a:schemeClr>
                </a:solidFill>
              </a:rPr>
              <a:t>, 2.Türkiye </a:t>
            </a:r>
            <a:r>
              <a:rPr lang="en-US" sz="700" dirty="0" err="1">
                <a:solidFill>
                  <a:schemeClr val="tx1">
                    <a:lumMod val="65000"/>
                    <a:lumOff val="35000"/>
                  </a:schemeClr>
                </a:solidFill>
              </a:rPr>
              <a:t>İstatistik</a:t>
            </a:r>
            <a:r>
              <a:rPr lang="en-US" sz="700" dirty="0">
                <a:solidFill>
                  <a:schemeClr val="tx1">
                    <a:lumMod val="65000"/>
                    <a:lumOff val="35000"/>
                  </a:schemeClr>
                </a:solidFill>
              </a:rPr>
              <a:t> </a:t>
            </a:r>
            <a:r>
              <a:rPr lang="en-US" sz="700" dirty="0" err="1">
                <a:solidFill>
                  <a:schemeClr val="tx1">
                    <a:lumMod val="65000"/>
                    <a:lumOff val="35000"/>
                  </a:schemeClr>
                </a:solidFill>
              </a:rPr>
              <a:t>Kurumu</a:t>
            </a:r>
            <a:r>
              <a:rPr lang="en-US" sz="700" dirty="0">
                <a:solidFill>
                  <a:schemeClr val="tx1">
                    <a:lumMod val="65000"/>
                    <a:lumOff val="35000"/>
                  </a:schemeClr>
                </a:solidFill>
              </a:rPr>
              <a:t>. </a:t>
            </a:r>
            <a:r>
              <a:rPr lang="en-US" sz="700" dirty="0" err="1">
                <a:solidFill>
                  <a:schemeClr val="tx1">
                    <a:lumMod val="65000"/>
                    <a:lumOff val="35000"/>
                  </a:schemeClr>
                </a:solidFill>
              </a:rPr>
              <a:t>Ölüm</a:t>
            </a:r>
            <a:r>
              <a:rPr lang="en-US" sz="700" dirty="0">
                <a:solidFill>
                  <a:schemeClr val="tx1">
                    <a:lumMod val="65000"/>
                    <a:lumOff val="35000"/>
                  </a:schemeClr>
                </a:solidFill>
              </a:rPr>
              <a:t> </a:t>
            </a:r>
            <a:r>
              <a:rPr lang="en-US" sz="700" dirty="0" err="1">
                <a:solidFill>
                  <a:schemeClr val="tx1">
                    <a:lumMod val="65000"/>
                    <a:lumOff val="35000"/>
                  </a:schemeClr>
                </a:solidFill>
              </a:rPr>
              <a:t>Nedeni</a:t>
            </a:r>
            <a:r>
              <a:rPr lang="en-US" sz="700" dirty="0">
                <a:solidFill>
                  <a:schemeClr val="tx1">
                    <a:lumMod val="65000"/>
                    <a:lumOff val="35000"/>
                  </a:schemeClr>
                </a:solidFill>
              </a:rPr>
              <a:t> </a:t>
            </a:r>
            <a:r>
              <a:rPr lang="en-US" sz="700" dirty="0" err="1">
                <a:solidFill>
                  <a:schemeClr val="tx1">
                    <a:lumMod val="65000"/>
                    <a:lumOff val="35000"/>
                  </a:schemeClr>
                </a:solidFill>
              </a:rPr>
              <a:t>Istatistikleri</a:t>
            </a:r>
            <a:r>
              <a:rPr lang="en-US" sz="700" dirty="0">
                <a:solidFill>
                  <a:schemeClr val="tx1">
                    <a:lumMod val="65000"/>
                    <a:lumOff val="35000"/>
                  </a:schemeClr>
                </a:solidFill>
              </a:rPr>
              <a:t>. 20</a:t>
            </a:r>
            <a:r>
              <a:rPr lang="tr-TR" sz="700" dirty="0">
                <a:solidFill>
                  <a:schemeClr val="tx1">
                    <a:lumMod val="65000"/>
                    <a:lumOff val="35000"/>
                  </a:schemeClr>
                </a:solidFill>
              </a:rPr>
              <a:t>2</a:t>
            </a:r>
            <a:r>
              <a:rPr lang="en-US" sz="700" dirty="0">
                <a:solidFill>
                  <a:schemeClr val="tx1">
                    <a:lumMod val="65000"/>
                    <a:lumOff val="35000"/>
                  </a:schemeClr>
                </a:solidFill>
              </a:rPr>
              <a:t>3. </a:t>
            </a:r>
            <a:r>
              <a:rPr lang="tr-TR" sz="700" dirty="0">
                <a:solidFill>
                  <a:schemeClr val="tx1">
                    <a:lumMod val="65000"/>
                    <a:lumOff val="35000"/>
                  </a:schemeClr>
                </a:solidFill>
              </a:rPr>
              <a:t>Ölüm nedeni ve cinsiyete göre ölümler</a:t>
            </a:r>
            <a:r>
              <a:rPr lang="en-US" sz="700" dirty="0">
                <a:solidFill>
                  <a:schemeClr val="tx1">
                    <a:lumMod val="65000"/>
                    <a:lumOff val="35000"/>
                  </a:schemeClr>
                </a:solidFill>
              </a:rPr>
              <a:t>. </a:t>
            </a:r>
            <a:r>
              <a:rPr lang="tr-TR" sz="700" dirty="0">
                <a:solidFill>
                  <a:schemeClr val="tx1">
                    <a:lumMod val="65000"/>
                    <a:lumOff val="35000"/>
                  </a:schemeClr>
                </a:solidFill>
                <a:hlinkClick r:id="rId4"/>
              </a:rPr>
              <a:t>https://data.tuik.gov.tr/Bulten/Index?p=Olum-ve-Olum-Nedeni-Istatistikleri-202</a:t>
            </a:r>
            <a:r>
              <a:rPr lang="en-US" sz="700" dirty="0">
                <a:solidFill>
                  <a:schemeClr val="tx1">
                    <a:lumMod val="65000"/>
                    <a:lumOff val="35000"/>
                  </a:schemeClr>
                </a:solidFill>
                <a:hlinkClick r:id="rId4"/>
              </a:rPr>
              <a:t>3</a:t>
            </a:r>
            <a:endParaRPr lang="tr-TR" sz="700" dirty="0">
              <a:solidFill>
                <a:schemeClr val="tx1">
                  <a:lumMod val="65000"/>
                  <a:lumOff val="35000"/>
                </a:schemeClr>
              </a:solidFill>
            </a:endParaRPr>
          </a:p>
        </p:txBody>
      </p:sp>
      <p:sp>
        <p:nvSpPr>
          <p:cNvPr id="6" name="TextBox 5"/>
          <p:cNvSpPr txBox="1"/>
          <p:nvPr/>
        </p:nvSpPr>
        <p:spPr>
          <a:xfrm>
            <a:off x="690815" y="4908648"/>
            <a:ext cx="2454765" cy="246221"/>
          </a:xfrm>
          <a:prstGeom prst="rect">
            <a:avLst/>
          </a:prstGeom>
          <a:solidFill>
            <a:schemeClr val="bg1"/>
          </a:solidFill>
          <a:ln>
            <a:noFill/>
          </a:ln>
        </p:spPr>
        <p:txBody>
          <a:bodyPr wrap="none" lIns="36000" rIns="36000" rtlCol="0">
            <a:spAutoFit/>
          </a:bodyPr>
          <a:lstStyle/>
          <a:p>
            <a:r>
              <a:rPr lang="en-US" sz="1000" dirty="0" err="1"/>
              <a:t>Görsel</a:t>
            </a:r>
            <a:r>
              <a:rPr lang="en-US" sz="1000" dirty="0"/>
              <a:t>, </a:t>
            </a:r>
            <a:r>
              <a:rPr lang="en-US" sz="1000" dirty="0" err="1"/>
              <a:t>referans</a:t>
            </a:r>
            <a:r>
              <a:rPr lang="tr-TR" sz="1000" dirty="0"/>
              <a:t> 1 </a:t>
            </a:r>
            <a:r>
              <a:rPr lang="en-US" sz="1000" dirty="0" err="1"/>
              <a:t>ve</a:t>
            </a:r>
            <a:r>
              <a:rPr lang="en-US" sz="1000" dirty="0"/>
              <a:t> 2 </a:t>
            </a:r>
            <a:r>
              <a:rPr lang="tr-TR" sz="1000" dirty="0"/>
              <a:t>’den</a:t>
            </a:r>
            <a:r>
              <a:rPr lang="en-US" sz="1000" dirty="0"/>
              <a:t> </a:t>
            </a:r>
            <a:r>
              <a:rPr lang="en-US" sz="1000" dirty="0" err="1"/>
              <a:t>uyarlanmıştır</a:t>
            </a:r>
            <a:r>
              <a:rPr lang="en-US" sz="1000" dirty="0"/>
              <a:t>.</a:t>
            </a:r>
            <a:endParaRPr lang="tr-TR" sz="1000" dirty="0"/>
          </a:p>
        </p:txBody>
      </p:sp>
      <p:sp>
        <p:nvSpPr>
          <p:cNvPr id="7" name="Rectangle 6"/>
          <p:cNvSpPr/>
          <p:nvPr/>
        </p:nvSpPr>
        <p:spPr>
          <a:xfrm>
            <a:off x="7033336" y="2014925"/>
            <a:ext cx="4237881" cy="45866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a:t>Malign ve Benign Neoplazmlar </a:t>
            </a:r>
            <a:r>
              <a:rPr lang="en-US" sz="1600" b="1"/>
              <a:t>79.765</a:t>
            </a:r>
            <a:r>
              <a:rPr lang="en-US" sz="1600">
                <a:solidFill>
                  <a:schemeClr val="bg1"/>
                </a:solidFill>
              </a:rPr>
              <a:t> </a:t>
            </a:r>
            <a:r>
              <a:rPr lang="tr-TR" sz="1600" baseline="30000">
                <a:solidFill>
                  <a:schemeClr val="bg1"/>
                </a:solidFill>
              </a:rPr>
              <a:t>1</a:t>
            </a:r>
            <a:endParaRPr lang="tr-TR" sz="1600" b="1"/>
          </a:p>
        </p:txBody>
      </p:sp>
      <p:sp>
        <p:nvSpPr>
          <p:cNvPr id="8" name="Rectangle: Rounded Corners 7"/>
          <p:cNvSpPr/>
          <p:nvPr/>
        </p:nvSpPr>
        <p:spPr>
          <a:xfrm>
            <a:off x="7036689" y="3870641"/>
            <a:ext cx="4698958" cy="126989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anose="020B0604020202020204" pitchFamily="34" charset="0"/>
              <a:buChar char="•"/>
            </a:pPr>
            <a:r>
              <a:rPr lang="en-US" sz="1600" dirty="0" err="1">
                <a:solidFill>
                  <a:schemeClr val="tx1"/>
                </a:solidFill>
              </a:rPr>
              <a:t>Tüm</a:t>
            </a:r>
            <a:r>
              <a:rPr lang="en-US" sz="1600" dirty="0">
                <a:solidFill>
                  <a:schemeClr val="tx1"/>
                </a:solidFill>
              </a:rPr>
              <a:t> </a:t>
            </a:r>
            <a:r>
              <a:rPr lang="en-US" sz="1600" dirty="0" err="1">
                <a:solidFill>
                  <a:schemeClr val="tx1"/>
                </a:solidFill>
              </a:rPr>
              <a:t>ölüm</a:t>
            </a:r>
            <a:r>
              <a:rPr lang="en-US" sz="1600" dirty="0">
                <a:solidFill>
                  <a:schemeClr val="tx1"/>
                </a:solidFill>
              </a:rPr>
              <a:t> </a:t>
            </a:r>
            <a:r>
              <a:rPr lang="en-US" sz="1600" dirty="0" err="1">
                <a:solidFill>
                  <a:schemeClr val="tx1"/>
                </a:solidFill>
              </a:rPr>
              <a:t>nedenleri</a:t>
            </a:r>
            <a:r>
              <a:rPr lang="en-US" sz="1600" dirty="0">
                <a:solidFill>
                  <a:schemeClr val="tx1"/>
                </a:solidFill>
              </a:rPr>
              <a:t> </a:t>
            </a:r>
            <a:r>
              <a:rPr lang="en-US" sz="1600" dirty="0" err="1">
                <a:solidFill>
                  <a:schemeClr val="tx1"/>
                </a:solidFill>
              </a:rPr>
              <a:t>arasında</a:t>
            </a:r>
            <a:r>
              <a:rPr lang="tr-TR" sz="1600" dirty="0">
                <a:solidFill>
                  <a:schemeClr val="tx1"/>
                </a:solidFill>
              </a:rPr>
              <a:t> solunum sistemi hastalıkları 3. s</a:t>
            </a:r>
            <a:r>
              <a:rPr lang="en-US" sz="1600" dirty="0" err="1">
                <a:solidFill>
                  <a:schemeClr val="tx1"/>
                </a:solidFill>
              </a:rPr>
              <a:t>ırada</a:t>
            </a:r>
            <a:r>
              <a:rPr lang="en-US" sz="1600" dirty="0">
                <a:solidFill>
                  <a:schemeClr val="tx1"/>
                </a:solidFill>
              </a:rPr>
              <a:t>.</a:t>
            </a:r>
          </a:p>
          <a:p>
            <a:pPr marL="457200" indent="-457200">
              <a:buFont typeface="Arial" panose="020B0604020202020204" pitchFamily="34" charset="0"/>
              <a:buChar char="•"/>
            </a:pPr>
            <a:r>
              <a:rPr lang="tr-TR" sz="1600" dirty="0">
                <a:solidFill>
                  <a:schemeClr val="tx1"/>
                </a:solidFill>
              </a:rPr>
              <a:t>Pnömoni Tek Başına </a:t>
            </a:r>
            <a:r>
              <a:rPr lang="en-US" sz="1600" dirty="0" err="1">
                <a:solidFill>
                  <a:schemeClr val="tx1"/>
                </a:solidFill>
              </a:rPr>
              <a:t>KOAH’tan</a:t>
            </a:r>
            <a:r>
              <a:rPr lang="en-US" sz="1600" dirty="0">
                <a:solidFill>
                  <a:schemeClr val="tx1"/>
                </a:solidFill>
              </a:rPr>
              <a:t> </a:t>
            </a:r>
            <a:r>
              <a:rPr lang="en-US" sz="1600" dirty="0" err="1">
                <a:solidFill>
                  <a:schemeClr val="tx1"/>
                </a:solidFill>
              </a:rPr>
              <a:t>ve</a:t>
            </a:r>
            <a:r>
              <a:rPr lang="en-US" sz="1600" dirty="0">
                <a:solidFill>
                  <a:schemeClr val="tx1"/>
                </a:solidFill>
              </a:rPr>
              <a:t> </a:t>
            </a:r>
            <a:r>
              <a:rPr lang="en-US" sz="1600" dirty="0" err="1">
                <a:solidFill>
                  <a:schemeClr val="tx1"/>
                </a:solidFill>
              </a:rPr>
              <a:t>akciğer</a:t>
            </a:r>
            <a:r>
              <a:rPr lang="en-US" sz="1600" dirty="0">
                <a:solidFill>
                  <a:schemeClr val="tx1"/>
                </a:solidFill>
              </a:rPr>
              <a:t> </a:t>
            </a:r>
            <a:r>
              <a:rPr lang="en-US" sz="1600" dirty="0" err="1">
                <a:solidFill>
                  <a:schemeClr val="tx1"/>
                </a:solidFill>
              </a:rPr>
              <a:t>kanserinden</a:t>
            </a:r>
            <a:r>
              <a:rPr lang="en-US" sz="1600" dirty="0">
                <a:solidFill>
                  <a:schemeClr val="tx1"/>
                </a:solidFill>
              </a:rPr>
              <a:t> </a:t>
            </a:r>
            <a:r>
              <a:rPr lang="en-US" sz="1600" dirty="0" err="1">
                <a:solidFill>
                  <a:schemeClr val="tx1"/>
                </a:solidFill>
              </a:rPr>
              <a:t>daha</a:t>
            </a:r>
            <a:r>
              <a:rPr lang="en-US" sz="1600" dirty="0">
                <a:solidFill>
                  <a:schemeClr val="tx1"/>
                </a:solidFill>
              </a:rPr>
              <a:t> </a:t>
            </a:r>
            <a:r>
              <a:rPr lang="en-US" sz="1600" dirty="0" err="1">
                <a:solidFill>
                  <a:schemeClr val="tx1"/>
                </a:solidFill>
              </a:rPr>
              <a:t>fazla</a:t>
            </a:r>
            <a:r>
              <a:rPr lang="en-US" sz="1600" dirty="0">
                <a:solidFill>
                  <a:schemeClr val="tx1"/>
                </a:solidFill>
              </a:rPr>
              <a:t> </a:t>
            </a:r>
            <a:r>
              <a:rPr lang="en-US" sz="1600" dirty="0" err="1">
                <a:solidFill>
                  <a:schemeClr val="tx1"/>
                </a:solidFill>
              </a:rPr>
              <a:t>ölüme</a:t>
            </a:r>
            <a:r>
              <a:rPr lang="en-US" sz="1600" dirty="0">
                <a:solidFill>
                  <a:schemeClr val="tx1"/>
                </a:solidFill>
              </a:rPr>
              <a:t> </a:t>
            </a:r>
            <a:r>
              <a:rPr lang="en-US" sz="1600" dirty="0" err="1">
                <a:solidFill>
                  <a:schemeClr val="tx1"/>
                </a:solidFill>
              </a:rPr>
              <a:t>neden</a:t>
            </a:r>
            <a:r>
              <a:rPr lang="en-US" sz="1600" dirty="0">
                <a:solidFill>
                  <a:schemeClr val="tx1"/>
                </a:solidFill>
              </a:rPr>
              <a:t> </a:t>
            </a:r>
            <a:r>
              <a:rPr lang="en-US" sz="1600" dirty="0" err="1">
                <a:solidFill>
                  <a:schemeClr val="tx1"/>
                </a:solidFill>
              </a:rPr>
              <a:t>oluyor</a:t>
            </a:r>
            <a:r>
              <a:rPr lang="en-US" sz="1600" dirty="0">
                <a:solidFill>
                  <a:schemeClr val="tx1"/>
                </a:solidFill>
              </a:rPr>
              <a:t>.</a:t>
            </a:r>
            <a:endParaRPr lang="tr-TR" sz="1600" dirty="0">
              <a:solidFill>
                <a:schemeClr val="tx1"/>
              </a:solidFill>
            </a:endParaRPr>
          </a:p>
        </p:txBody>
      </p:sp>
      <p:sp>
        <p:nvSpPr>
          <p:cNvPr id="9" name="Rectangle 8"/>
          <p:cNvSpPr/>
          <p:nvPr/>
        </p:nvSpPr>
        <p:spPr>
          <a:xfrm>
            <a:off x="7111008" y="2609231"/>
            <a:ext cx="4082538" cy="45866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a:t>Solunum Sistemi Hastalıkları </a:t>
            </a:r>
            <a:r>
              <a:rPr lang="en-US" sz="1600" b="1"/>
              <a:t>73.404</a:t>
            </a:r>
            <a:r>
              <a:rPr lang="en-US" sz="1600">
                <a:solidFill>
                  <a:schemeClr val="bg1"/>
                </a:solidFill>
              </a:rPr>
              <a:t> </a:t>
            </a:r>
            <a:r>
              <a:rPr lang="tr-TR" sz="1600" baseline="30000">
                <a:solidFill>
                  <a:schemeClr val="bg1"/>
                </a:solidFill>
              </a:rPr>
              <a:t>1</a:t>
            </a:r>
            <a:endParaRPr lang="tr-TR" sz="1600" b="1"/>
          </a:p>
        </p:txBody>
      </p:sp>
      <p:sp>
        <p:nvSpPr>
          <p:cNvPr id="10" name="Rectangle 9"/>
          <p:cNvSpPr/>
          <p:nvPr/>
        </p:nvSpPr>
        <p:spPr>
          <a:xfrm>
            <a:off x="7077293" y="1364458"/>
            <a:ext cx="4126375" cy="46958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a:t>Dolaşım sistemi Hastalıkları </a:t>
            </a:r>
            <a:r>
              <a:rPr lang="en-US" sz="1600" b="1"/>
              <a:t>176.169</a:t>
            </a:r>
            <a:r>
              <a:rPr lang="en-US" sz="1600">
                <a:solidFill>
                  <a:schemeClr val="tx1"/>
                </a:solidFill>
              </a:rPr>
              <a:t> </a:t>
            </a:r>
            <a:r>
              <a:rPr lang="tr-TR" sz="1600" baseline="30000">
                <a:solidFill>
                  <a:schemeClr val="bg1"/>
                </a:solidFill>
              </a:rPr>
              <a:t>1</a:t>
            </a:r>
            <a:endParaRPr lang="tr-TR" sz="1600" b="1">
              <a:solidFill>
                <a:schemeClr val="bg1"/>
              </a:solidFill>
            </a:endParaRPr>
          </a:p>
        </p:txBody>
      </p:sp>
      <p:sp>
        <p:nvSpPr>
          <p:cNvPr id="15" name="Rectangle 14"/>
          <p:cNvSpPr/>
          <p:nvPr/>
        </p:nvSpPr>
        <p:spPr>
          <a:xfrm>
            <a:off x="7089088" y="3276337"/>
            <a:ext cx="4698959" cy="458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rPr>
              <a:t>PNÖMONİ </a:t>
            </a:r>
            <a:r>
              <a:rPr lang="tr-TR" sz="2000" b="1">
                <a:solidFill>
                  <a:schemeClr val="bg1"/>
                </a:solidFill>
              </a:rPr>
              <a:t>39.988</a:t>
            </a:r>
            <a:r>
              <a:rPr lang="en-US" sz="2000">
                <a:solidFill>
                  <a:schemeClr val="bg1"/>
                </a:solidFill>
              </a:rPr>
              <a:t> *</a:t>
            </a:r>
            <a:r>
              <a:rPr lang="en-US" sz="2000" baseline="30000">
                <a:solidFill>
                  <a:schemeClr val="bg1"/>
                </a:solidFill>
              </a:rPr>
              <a:t>2</a:t>
            </a:r>
            <a:endParaRPr lang="tr-TR" sz="2000" b="1">
              <a:solidFill>
                <a:schemeClr val="bg1"/>
              </a:solidFill>
            </a:endParaRPr>
          </a:p>
        </p:txBody>
      </p:sp>
      <p:pic>
        <p:nvPicPr>
          <p:cNvPr id="11" name="Picture 10">
            <a:extLst>
              <a:ext uri="{FF2B5EF4-FFF2-40B4-BE49-F238E27FC236}">
                <a16:creationId xmlns:a16="http://schemas.microsoft.com/office/drawing/2014/main" id="{C8BDC746-F6B1-4886-80DB-D540D700E02E}"/>
              </a:ext>
            </a:extLst>
          </p:cNvPr>
          <p:cNvPicPr>
            <a:picLocks noChangeAspect="1"/>
          </p:cNvPicPr>
          <p:nvPr/>
        </p:nvPicPr>
        <p:blipFill>
          <a:blip r:embed="rId5">
            <a:duotone>
              <a:schemeClr val="accent1">
                <a:shade val="45000"/>
                <a:satMod val="135000"/>
              </a:schemeClr>
              <a:prstClr val="white"/>
            </a:duotone>
          </a:blip>
          <a:stretch>
            <a:fillRect/>
          </a:stretch>
        </p:blipFill>
        <p:spPr>
          <a:xfrm>
            <a:off x="1534056" y="2815483"/>
            <a:ext cx="714375" cy="304800"/>
          </a:xfrm>
          <a:prstGeom prst="rect">
            <a:avLst/>
          </a:prstGeom>
        </p:spPr>
      </p:pic>
      <p:sp>
        <p:nvSpPr>
          <p:cNvPr id="13" name="TextBox 12">
            <a:extLst>
              <a:ext uri="{FF2B5EF4-FFF2-40B4-BE49-F238E27FC236}">
                <a16:creationId xmlns:a16="http://schemas.microsoft.com/office/drawing/2014/main" id="{677546C3-19B1-4562-AC5E-4660981919F6}"/>
              </a:ext>
            </a:extLst>
          </p:cNvPr>
          <p:cNvSpPr txBox="1"/>
          <p:nvPr/>
        </p:nvSpPr>
        <p:spPr>
          <a:xfrm>
            <a:off x="1568097" y="2720173"/>
            <a:ext cx="877190" cy="400110"/>
          </a:xfrm>
          <a:prstGeom prst="rect">
            <a:avLst/>
          </a:prstGeom>
          <a:noFill/>
        </p:spPr>
        <p:txBody>
          <a:bodyPr wrap="square" rtlCol="0">
            <a:spAutoFit/>
          </a:bodyPr>
          <a:lstStyle/>
          <a:p>
            <a:r>
              <a:rPr lang="tr-TR" sz="2000">
                <a:solidFill>
                  <a:schemeClr val="bg1"/>
                </a:solidFill>
                <a:latin typeface="Arial Nova" panose="020B0504020202020204" pitchFamily="34" charset="0"/>
              </a:rPr>
              <a:t>202</a:t>
            </a:r>
            <a:r>
              <a:rPr lang="en-US" sz="2000">
                <a:solidFill>
                  <a:schemeClr val="bg1"/>
                </a:solidFill>
                <a:latin typeface="Arial Nova" panose="020B0504020202020204" pitchFamily="34" charset="0"/>
              </a:rPr>
              <a:t>4</a:t>
            </a:r>
            <a:endParaRPr lang="tr-TR" sz="2000">
              <a:solidFill>
                <a:schemeClr val="bg1"/>
              </a:solidFill>
              <a:latin typeface="Arial Nova" panose="020B0504020202020204" pitchFamily="34" charset="0"/>
            </a:endParaRPr>
          </a:p>
        </p:txBody>
      </p:sp>
      <p:sp>
        <p:nvSpPr>
          <p:cNvPr id="14" name="TextBox 13">
            <a:extLst>
              <a:ext uri="{FF2B5EF4-FFF2-40B4-BE49-F238E27FC236}">
                <a16:creationId xmlns:a16="http://schemas.microsoft.com/office/drawing/2014/main" id="{51234775-4EFB-5931-59B9-EFE1FC5316C3}"/>
              </a:ext>
            </a:extLst>
          </p:cNvPr>
          <p:cNvSpPr txBox="1"/>
          <p:nvPr/>
        </p:nvSpPr>
        <p:spPr>
          <a:xfrm>
            <a:off x="7033336" y="5315698"/>
            <a:ext cx="4894961" cy="276999"/>
          </a:xfrm>
          <a:prstGeom prst="rect">
            <a:avLst/>
          </a:prstGeom>
          <a:noFill/>
        </p:spPr>
        <p:txBody>
          <a:bodyPr wrap="square">
            <a:spAutoFit/>
          </a:bodyPr>
          <a:lstStyle/>
          <a:p>
            <a:r>
              <a:rPr lang="tr-TR" sz="1200"/>
              <a:t>* 2024 yılında net rakam yayınlanmadığı için 2023 verisi verilmiştir.</a:t>
            </a:r>
          </a:p>
        </p:txBody>
      </p:sp>
      <p:pic>
        <p:nvPicPr>
          <p:cNvPr id="12" name="Picture 11" descr="A yellow and blue logo&#10;&#10;Description automatically generated">
            <a:extLst>
              <a:ext uri="{FF2B5EF4-FFF2-40B4-BE49-F238E27FC236}">
                <a16:creationId xmlns:a16="http://schemas.microsoft.com/office/drawing/2014/main" id="{03684280-234F-6F6B-3CA5-D4180A202B89}"/>
              </a:ext>
            </a:extLst>
          </p:cNvPr>
          <p:cNvPicPr>
            <a:picLocks noChangeAspect="1"/>
          </p:cNvPicPr>
          <p:nvPr/>
        </p:nvPicPr>
        <p:blipFill>
          <a:blip r:embed="rId6">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41283828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048159D3-6D3A-4C18-9E73-10E11F7AAD88}"/>
              </a:ext>
            </a:extLst>
          </p:cNvPr>
          <p:cNvSpPr>
            <a:spLocks noGrp="1"/>
          </p:cNvSpPr>
          <p:nvPr>
            <p:ph type="title"/>
          </p:nvPr>
        </p:nvSpPr>
        <p:spPr>
          <a:xfrm>
            <a:off x="613152" y="195684"/>
            <a:ext cx="10969218" cy="842156"/>
          </a:xfrm>
        </p:spPr>
        <p:txBody>
          <a:bodyPr>
            <a:normAutofit/>
          </a:bodyPr>
          <a:lstStyle/>
          <a:p>
            <a:r>
              <a:rPr lang="tr-TR"/>
              <a:t>Toplumda Gelişen Pnömoni ciddi sonuçlara yol açabilir</a:t>
            </a:r>
            <a:r>
              <a:rPr lang="en-US"/>
              <a:t>.</a:t>
            </a:r>
          </a:p>
        </p:txBody>
      </p:sp>
      <p:sp>
        <p:nvSpPr>
          <p:cNvPr id="127" name="Text Placeholder 4">
            <a:extLst>
              <a:ext uri="{FF2B5EF4-FFF2-40B4-BE49-F238E27FC236}">
                <a16:creationId xmlns:a16="http://schemas.microsoft.com/office/drawing/2014/main" id="{AB8EF9B5-0E5A-4C8B-B3EA-843FCB321A0E}"/>
              </a:ext>
            </a:extLst>
          </p:cNvPr>
          <p:cNvSpPr txBox="1">
            <a:spLocks/>
          </p:cNvSpPr>
          <p:nvPr/>
        </p:nvSpPr>
        <p:spPr bwMode="gray">
          <a:xfrm>
            <a:off x="409149" y="1395773"/>
            <a:ext cx="11376452" cy="548640"/>
          </a:xfrm>
          <a:prstGeom prst="roundRect">
            <a:avLst/>
          </a:prstGeom>
          <a:noFill/>
          <a:ln w="28575" cap="flat" cmpd="sng" algn="ctr">
            <a:noFill/>
            <a:prstDash val="solid"/>
            <a:miter lim="800000"/>
            <a:headEnd type="none" w="med" len="med"/>
            <a:tailEnd type="none" w="med" len="med"/>
          </a:ln>
          <a:effectLst/>
        </p:spPr>
        <p:txBody>
          <a:bodyPr vert="horz" wrap="square" lIns="0" tIns="34295" rIns="0" bIns="34295"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err="1">
                <a:ln>
                  <a:noFill/>
                </a:ln>
                <a:solidFill>
                  <a:srgbClr val="006E96"/>
                </a:solidFill>
                <a:effectLst/>
                <a:uLnTx/>
                <a:uFillTx/>
                <a:latin typeface="Century Gothic" panose="020F0302020204030204"/>
                <a:ea typeface="ＭＳ Ｐゴシック" pitchFamily="-1" charset="-128"/>
                <a:cs typeface="+mn-cs"/>
              </a:rPr>
              <a:t>ABD'de</a:t>
            </a:r>
            <a:r>
              <a:rPr kumimoji="0" lang="en-GB"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rPr>
              <a:t>, </a:t>
            </a:r>
            <a:r>
              <a:rPr kumimoji="0" lang="en-GB" sz="1600" b="1" i="0" u="none" strike="noStrike" kern="1200" cap="none" spc="0" normalizeH="0" baseline="0" noProof="0" err="1">
                <a:ln>
                  <a:noFill/>
                </a:ln>
                <a:solidFill>
                  <a:srgbClr val="006E96"/>
                </a:solidFill>
                <a:effectLst/>
                <a:uLnTx/>
                <a:uFillTx/>
                <a:latin typeface="Century Gothic" panose="020F0302020204030204"/>
                <a:ea typeface="ＭＳ Ｐゴシック" pitchFamily="-1" charset="-128"/>
                <a:cs typeface="+mn-cs"/>
              </a:rPr>
              <a:t>toplumda</a:t>
            </a:r>
            <a:r>
              <a:rPr kumimoji="0" lang="en-GB"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rPr>
              <a:t> </a:t>
            </a:r>
            <a:r>
              <a:rPr kumimoji="0" lang="tr-TR"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rPr>
              <a:t>gelişen</a:t>
            </a:r>
            <a:r>
              <a:rPr kumimoji="0" lang="en-GB"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rPr>
              <a:t> </a:t>
            </a:r>
            <a:r>
              <a:rPr kumimoji="0" lang="en-GB" sz="1600" b="1" i="0" u="none" strike="noStrike" kern="1200" cap="none" spc="0" normalizeH="0" baseline="0" noProof="0" err="1">
                <a:ln>
                  <a:noFill/>
                </a:ln>
                <a:solidFill>
                  <a:srgbClr val="006E96"/>
                </a:solidFill>
                <a:effectLst/>
                <a:uLnTx/>
                <a:uFillTx/>
                <a:latin typeface="Century Gothic" panose="020F0302020204030204"/>
                <a:ea typeface="ＭＳ Ｐゴシック" pitchFamily="-1" charset="-128"/>
                <a:cs typeface="+mn-cs"/>
              </a:rPr>
              <a:t>pnömoni</a:t>
            </a:r>
            <a:r>
              <a:rPr kumimoji="0" lang="en-GB"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rPr>
              <a:t> (TGP) </a:t>
            </a:r>
            <a:r>
              <a:rPr kumimoji="0" lang="en-GB" sz="1600" b="1" i="0" u="none" strike="noStrike" kern="1200" cap="none" spc="0" normalizeH="0" baseline="0" noProof="0" err="1">
                <a:ln>
                  <a:noFill/>
                </a:ln>
                <a:solidFill>
                  <a:srgbClr val="006E96"/>
                </a:solidFill>
                <a:effectLst/>
                <a:uLnTx/>
                <a:uFillTx/>
                <a:latin typeface="Century Gothic" panose="020F0302020204030204"/>
                <a:ea typeface="ＭＳ Ｐゴシック" pitchFamily="-1" charset="-128"/>
                <a:cs typeface="+mn-cs"/>
              </a:rPr>
              <a:t>nedeniyle</a:t>
            </a:r>
            <a:r>
              <a:rPr kumimoji="0" lang="en-GB"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rPr>
              <a:t> </a:t>
            </a:r>
            <a:r>
              <a:rPr kumimoji="0" lang="en-GB" sz="1600" b="1" i="0" u="none" strike="noStrike" kern="1200" cap="none" spc="0" normalizeH="0" baseline="0" noProof="0" err="1">
                <a:ln>
                  <a:noFill/>
                </a:ln>
                <a:solidFill>
                  <a:srgbClr val="006E96"/>
                </a:solidFill>
                <a:effectLst/>
                <a:uLnTx/>
                <a:uFillTx/>
                <a:latin typeface="Century Gothic" panose="020F0302020204030204"/>
                <a:ea typeface="ＭＳ Ｐゴシック" pitchFamily="-1" charset="-128"/>
                <a:cs typeface="+mn-cs"/>
              </a:rPr>
              <a:t>hastaneye</a:t>
            </a:r>
            <a:r>
              <a:rPr kumimoji="0" lang="en-GB"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rPr>
              <a:t> </a:t>
            </a:r>
            <a:r>
              <a:rPr kumimoji="0" lang="en-GB" sz="1600" b="1" i="0" u="none" strike="noStrike" kern="1200" cap="none" spc="0" normalizeH="0" baseline="0" noProof="0" err="1">
                <a:ln>
                  <a:noFill/>
                </a:ln>
                <a:solidFill>
                  <a:srgbClr val="006E96"/>
                </a:solidFill>
                <a:effectLst/>
                <a:uLnTx/>
                <a:uFillTx/>
                <a:latin typeface="Century Gothic" panose="020F0302020204030204"/>
                <a:ea typeface="ＭＳ Ｐゴシック" pitchFamily="-1" charset="-128"/>
                <a:cs typeface="+mn-cs"/>
              </a:rPr>
              <a:t>yatırılan</a:t>
            </a:r>
            <a:r>
              <a:rPr kumimoji="0" lang="en-GB"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rPr>
              <a:t> 18 </a:t>
            </a:r>
            <a:r>
              <a:rPr kumimoji="0" lang="en-GB" sz="1600" b="1" i="0" u="none" strike="noStrike" kern="1200" cap="none" spc="0" normalizeH="0" baseline="0" noProof="0" err="1">
                <a:ln>
                  <a:noFill/>
                </a:ln>
                <a:solidFill>
                  <a:srgbClr val="006E96"/>
                </a:solidFill>
                <a:effectLst/>
                <a:uLnTx/>
                <a:uFillTx/>
                <a:latin typeface="Century Gothic" panose="020F0302020204030204"/>
                <a:ea typeface="ＭＳ Ｐゴシック" pitchFamily="-1" charset="-128"/>
                <a:cs typeface="+mn-cs"/>
              </a:rPr>
              <a:t>yaş</a:t>
            </a:r>
            <a:r>
              <a:rPr kumimoji="0" lang="en-GB"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rPr>
              <a:t> </a:t>
            </a:r>
            <a:r>
              <a:rPr kumimoji="0" lang="en-GB" sz="1600" b="1" i="0" u="none" strike="noStrike" kern="1200" cap="none" spc="0" normalizeH="0" baseline="0" noProof="0" err="1">
                <a:ln>
                  <a:noFill/>
                </a:ln>
                <a:solidFill>
                  <a:srgbClr val="006E96"/>
                </a:solidFill>
                <a:effectLst/>
                <a:uLnTx/>
                <a:uFillTx/>
                <a:latin typeface="Century Gothic" panose="020F0302020204030204"/>
                <a:ea typeface="ＭＳ Ｐゴシック" pitchFamily="-1" charset="-128"/>
                <a:cs typeface="+mn-cs"/>
              </a:rPr>
              <a:t>ve</a:t>
            </a:r>
            <a:r>
              <a:rPr kumimoji="0" lang="en-GB"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rPr>
              <a:t> </a:t>
            </a:r>
            <a:r>
              <a:rPr kumimoji="0" lang="en-GB" sz="1600" b="1" i="0" u="none" strike="noStrike" kern="1200" cap="none" spc="0" normalizeH="0" baseline="0" noProof="0" err="1">
                <a:ln>
                  <a:noFill/>
                </a:ln>
                <a:solidFill>
                  <a:srgbClr val="006E96"/>
                </a:solidFill>
                <a:effectLst/>
                <a:uLnTx/>
                <a:uFillTx/>
                <a:latin typeface="Century Gothic" panose="020F0302020204030204"/>
                <a:ea typeface="ＭＳ Ｐゴシック" pitchFamily="-1" charset="-128"/>
                <a:cs typeface="+mn-cs"/>
              </a:rPr>
              <a:t>üzeri</a:t>
            </a:r>
            <a:r>
              <a:rPr kumimoji="0" lang="en-GB"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rPr>
              <a:t> </a:t>
            </a:r>
            <a:r>
              <a:rPr kumimoji="0" lang="en-GB" sz="1600" b="1" i="0" u="none" strike="noStrike" kern="1200" cap="none" spc="0" normalizeH="0" baseline="0" noProof="0" err="1">
                <a:ln>
                  <a:noFill/>
                </a:ln>
                <a:solidFill>
                  <a:srgbClr val="006E96"/>
                </a:solidFill>
                <a:effectLst/>
                <a:uLnTx/>
                <a:uFillTx/>
                <a:latin typeface="Century Gothic" panose="020F0302020204030204"/>
                <a:ea typeface="ＭＳ Ｐゴシック" pitchFamily="-1" charset="-128"/>
                <a:cs typeface="+mn-cs"/>
              </a:rPr>
              <a:t>erişkinler</a:t>
            </a:r>
            <a:r>
              <a:rPr kumimoji="0" lang="en-GB"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rPr>
              <a:t> </a:t>
            </a:r>
            <a:r>
              <a:rPr kumimoji="0" lang="en-GB" sz="1600" b="1" i="0" u="none" strike="noStrike" kern="1200" cap="none" spc="0" normalizeH="0" baseline="0" noProof="0" err="1">
                <a:ln>
                  <a:noFill/>
                </a:ln>
                <a:solidFill>
                  <a:srgbClr val="006E96"/>
                </a:solidFill>
                <a:effectLst/>
                <a:uLnTx/>
                <a:uFillTx/>
                <a:latin typeface="Century Gothic" panose="020F0302020204030204"/>
                <a:ea typeface="ＭＳ Ｐゴシック" pitchFamily="-1" charset="-128"/>
                <a:cs typeface="+mn-cs"/>
              </a:rPr>
              <a:t>arasında</a:t>
            </a:r>
            <a:r>
              <a:rPr kumimoji="0" lang="en-GB"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rPr>
              <a:t> </a:t>
            </a:r>
            <a:r>
              <a:rPr kumimoji="0" lang="en-GB" sz="1600" b="1" i="0" u="none" strike="noStrike" kern="1200" cap="none" spc="0" normalizeH="0" baseline="0" noProof="0" err="1">
                <a:ln>
                  <a:noFill/>
                </a:ln>
                <a:solidFill>
                  <a:srgbClr val="006E96"/>
                </a:solidFill>
                <a:effectLst/>
                <a:uLnTx/>
                <a:uFillTx/>
                <a:latin typeface="Century Gothic" panose="020F0302020204030204"/>
                <a:ea typeface="ＭＳ Ｐゴシック" pitchFamily="-1" charset="-128"/>
                <a:cs typeface="+mn-cs"/>
              </a:rPr>
              <a:t>yapılan</a:t>
            </a:r>
            <a:r>
              <a:rPr kumimoji="0" lang="en-GB"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rPr>
              <a:t>, </a:t>
            </a:r>
            <a:r>
              <a:rPr kumimoji="0" lang="tr-TR"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rPr>
              <a:t>prospektif </a:t>
            </a:r>
            <a:r>
              <a:rPr kumimoji="0" lang="en-GB" sz="1600" b="1" i="0" u="none" strike="noStrike" kern="1200" cap="none" spc="0" normalizeH="0" baseline="0" noProof="0" err="1">
                <a:ln>
                  <a:noFill/>
                </a:ln>
                <a:solidFill>
                  <a:srgbClr val="006E96"/>
                </a:solidFill>
                <a:effectLst/>
                <a:uLnTx/>
                <a:uFillTx/>
                <a:latin typeface="Century Gothic" panose="020F0302020204030204"/>
                <a:ea typeface="ＭＳ Ｐゴシック" pitchFamily="-1" charset="-128"/>
                <a:cs typeface="+mn-cs"/>
              </a:rPr>
              <a:t>kohort</a:t>
            </a:r>
            <a:r>
              <a:rPr kumimoji="0" lang="en-GB"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rPr>
              <a:t> </a:t>
            </a:r>
            <a:r>
              <a:rPr kumimoji="0" lang="en-GB" sz="1600" b="1" i="0" u="none" strike="noStrike" kern="1200" cap="none" spc="0" normalizeH="0" baseline="0" noProof="0" err="1">
                <a:ln>
                  <a:noFill/>
                </a:ln>
                <a:solidFill>
                  <a:srgbClr val="006E96"/>
                </a:solidFill>
                <a:effectLst/>
                <a:uLnTx/>
                <a:uFillTx/>
                <a:latin typeface="Century Gothic" panose="020F0302020204030204"/>
                <a:ea typeface="ＭＳ Ｐゴシック" pitchFamily="-1" charset="-128"/>
                <a:cs typeface="+mn-cs"/>
              </a:rPr>
              <a:t>çalışmasında</a:t>
            </a:r>
            <a:endParaRPr kumimoji="0" lang="en-GB" sz="1600" b="1" i="0" u="none" strike="noStrike" kern="1200" cap="none" spc="0" normalizeH="0" baseline="0" noProof="0">
              <a:ln>
                <a:noFill/>
              </a:ln>
              <a:solidFill>
                <a:srgbClr val="006E96"/>
              </a:solidFill>
              <a:effectLst/>
              <a:uLnTx/>
              <a:uFillTx/>
              <a:latin typeface="Century Gothic" panose="020F0302020204030204"/>
              <a:ea typeface="ＭＳ Ｐゴシック" pitchFamily="-1" charset="-128"/>
              <a:cs typeface="+mn-cs"/>
            </a:endParaRPr>
          </a:p>
        </p:txBody>
      </p:sp>
      <p:sp>
        <p:nvSpPr>
          <p:cNvPr id="128" name="TextBox 127">
            <a:extLst>
              <a:ext uri="{FF2B5EF4-FFF2-40B4-BE49-F238E27FC236}">
                <a16:creationId xmlns:a16="http://schemas.microsoft.com/office/drawing/2014/main" id="{DF03E5A9-6D75-4245-8229-252A49AC69BC}"/>
              </a:ext>
            </a:extLst>
          </p:cNvPr>
          <p:cNvSpPr txBox="1"/>
          <p:nvPr/>
        </p:nvSpPr>
        <p:spPr>
          <a:xfrm>
            <a:off x="1333500" y="2610684"/>
            <a:ext cx="2923539" cy="760273"/>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İki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yıllık</a:t>
            </a:r>
            <a:r>
              <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çalışma</a:t>
            </a:r>
            <a:r>
              <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süresi</a:t>
            </a:r>
            <a:r>
              <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boyunca</a:t>
            </a:r>
            <a:r>
              <a:rPr kumimoji="0" lang="tr-TR" sz="1400" b="0" i="0" u="none" strike="noStrike" kern="1200" cap="none" spc="0" normalizeH="0" baseline="0" noProof="0" dirty="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 </a:t>
            </a:r>
            <a:r>
              <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TGP</a:t>
            </a:r>
            <a:r>
              <a:rPr kumimoji="0" lang="tr-TR" sz="1400" b="0" i="0" u="none" strike="noStrike" kern="1200" cap="none" spc="0" normalizeH="0" baseline="0" noProof="0" dirty="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 kaynaklı </a:t>
            </a:r>
            <a:r>
              <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 </a:t>
            </a:r>
            <a:r>
              <a:rPr kumimoji="0" lang="en-US" sz="1800" b="1" i="0" u="none" strike="noStrike" kern="1200" cap="none" spc="0" normalizeH="0" baseline="0" noProof="0" dirty="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8284</a:t>
            </a:r>
            <a:r>
              <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hastaneye</a:t>
            </a:r>
            <a:r>
              <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yatış</a:t>
            </a:r>
            <a:r>
              <a:rPr kumimoji="0" lang="tr-TR" sz="1400" b="0" i="0" u="none" strike="noStrike" kern="1200" cap="none" spc="0" normalizeH="0" baseline="0" noProof="0" dirty="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 gerçekleşti.</a:t>
            </a:r>
            <a:endPar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endParaRPr>
          </a:p>
        </p:txBody>
      </p:sp>
      <p:sp>
        <p:nvSpPr>
          <p:cNvPr id="130" name="Rectangle: Rounded Corners 1062">
            <a:extLst>
              <a:ext uri="{FF2B5EF4-FFF2-40B4-BE49-F238E27FC236}">
                <a16:creationId xmlns:a16="http://schemas.microsoft.com/office/drawing/2014/main" id="{24F4B50B-7795-4E84-A5C1-2041FBBD1013}"/>
              </a:ext>
            </a:extLst>
          </p:cNvPr>
          <p:cNvSpPr/>
          <p:nvPr/>
        </p:nvSpPr>
        <p:spPr>
          <a:xfrm>
            <a:off x="4838466" y="2532604"/>
            <a:ext cx="6947134" cy="805792"/>
          </a:xfrm>
          <a:prstGeom prst="roundRect">
            <a:avLst>
              <a:gd name="adj" fmla="val 12884"/>
            </a:avLst>
          </a:prstGeom>
          <a:solidFill>
            <a:schemeClr val="accent1">
              <a:lumMod val="75000"/>
            </a:scheme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a:ea typeface="+mn-ea"/>
              <a:cs typeface="+mn-cs"/>
            </a:endParaRPr>
          </a:p>
        </p:txBody>
      </p:sp>
      <p:sp>
        <p:nvSpPr>
          <p:cNvPr id="131" name="TextBox 130">
            <a:extLst>
              <a:ext uri="{FF2B5EF4-FFF2-40B4-BE49-F238E27FC236}">
                <a16:creationId xmlns:a16="http://schemas.microsoft.com/office/drawing/2014/main" id="{55AE4796-B680-4EBA-9787-FD508F095662}"/>
              </a:ext>
            </a:extLst>
          </p:cNvPr>
          <p:cNvSpPr txBox="1"/>
          <p:nvPr/>
        </p:nvSpPr>
        <p:spPr>
          <a:xfrm>
            <a:off x="8253566" y="2705275"/>
            <a:ext cx="3532034"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prstClr val="white"/>
                </a:solidFill>
                <a:effectLst/>
                <a:uLnTx/>
                <a:uFillTx/>
                <a:latin typeface="Arial" panose="020B0604020202020204"/>
                <a:ea typeface="+mn-ea"/>
                <a:cs typeface="+mn-cs"/>
              </a:rPr>
              <a:t>Aynı</a:t>
            </a:r>
            <a:r>
              <a:rPr kumimoji="0" lang="en-US" sz="1400" b="0" i="0" u="none" strike="noStrike" kern="0" cap="none" spc="0" normalizeH="0" baseline="0" noProof="0" dirty="0">
                <a:ln>
                  <a:noFill/>
                </a:ln>
                <a:solidFill>
                  <a:prstClr val="white"/>
                </a:solidFill>
                <a:effectLst/>
                <a:uLnTx/>
                <a:uFillTx/>
                <a:latin typeface="Arial" panose="020B0604020202020204"/>
                <a:ea typeface="+mn-ea"/>
                <a:cs typeface="+mn-cs"/>
              </a:rPr>
              <a:t> </a:t>
            </a:r>
            <a:r>
              <a:rPr kumimoji="0" lang="en-US" sz="1400" b="0" i="0" u="none" strike="noStrike" kern="0" cap="none" spc="0" normalizeH="0" baseline="0" noProof="0" dirty="0" err="1">
                <a:ln>
                  <a:noFill/>
                </a:ln>
                <a:solidFill>
                  <a:prstClr val="white"/>
                </a:solidFill>
                <a:effectLst/>
                <a:uLnTx/>
                <a:uFillTx/>
                <a:latin typeface="Arial" panose="020B0604020202020204"/>
                <a:ea typeface="+mn-ea"/>
                <a:cs typeface="+mn-cs"/>
              </a:rPr>
              <a:t>çalışma</a:t>
            </a:r>
            <a:r>
              <a:rPr kumimoji="0" lang="en-US" sz="1400" b="0" i="0" u="none" strike="noStrike" kern="0" cap="none" spc="0" normalizeH="0" baseline="0" noProof="0" dirty="0">
                <a:ln>
                  <a:noFill/>
                </a:ln>
                <a:solidFill>
                  <a:prstClr val="white"/>
                </a:solidFill>
                <a:effectLst/>
                <a:uLnTx/>
                <a:uFillTx/>
                <a:latin typeface="Arial" panose="020B0604020202020204"/>
                <a:ea typeface="+mn-ea"/>
                <a:cs typeface="+mn-cs"/>
              </a:rPr>
              <a:t> </a:t>
            </a:r>
            <a:r>
              <a:rPr kumimoji="0" lang="en-US" sz="1400" b="0" i="0" u="none" strike="noStrike" kern="0" cap="none" spc="0" normalizeH="0" baseline="0" noProof="0" dirty="0" err="1">
                <a:ln>
                  <a:noFill/>
                </a:ln>
                <a:solidFill>
                  <a:prstClr val="white"/>
                </a:solidFill>
                <a:effectLst/>
                <a:uLnTx/>
                <a:uFillTx/>
                <a:latin typeface="Arial" panose="020B0604020202020204"/>
                <a:ea typeface="+mn-ea"/>
                <a:cs typeface="+mn-cs"/>
              </a:rPr>
              <a:t>yılı</a:t>
            </a:r>
            <a:r>
              <a:rPr kumimoji="0" lang="en-US" sz="1400" b="0" i="0" u="none" strike="noStrike" kern="0" cap="none" spc="0" normalizeH="0" baseline="0" noProof="0" dirty="0">
                <a:ln>
                  <a:noFill/>
                </a:ln>
                <a:solidFill>
                  <a:prstClr val="white"/>
                </a:solidFill>
                <a:effectLst/>
                <a:uLnTx/>
                <a:uFillTx/>
                <a:latin typeface="Arial" panose="020B0604020202020204"/>
                <a:ea typeface="+mn-ea"/>
                <a:cs typeface="+mn-cs"/>
              </a:rPr>
              <a:t> </a:t>
            </a:r>
            <a:r>
              <a:rPr kumimoji="0" lang="en-US" sz="1400" b="0" i="0" u="none" strike="noStrike" kern="0" cap="none" spc="0" normalizeH="0" baseline="0" noProof="0" dirty="0" err="1">
                <a:ln>
                  <a:noFill/>
                </a:ln>
                <a:solidFill>
                  <a:prstClr val="white"/>
                </a:solidFill>
                <a:effectLst/>
                <a:uLnTx/>
                <a:uFillTx/>
                <a:latin typeface="Arial" panose="020B0604020202020204"/>
                <a:ea typeface="+mn-ea"/>
                <a:cs typeface="+mn-cs"/>
              </a:rPr>
              <a:t>içinde</a:t>
            </a:r>
            <a:r>
              <a:rPr kumimoji="0" lang="en-US" sz="1400" b="0" i="0" u="none" strike="noStrike" kern="0" cap="none" spc="0" normalizeH="0" baseline="0" noProof="0" dirty="0">
                <a:ln>
                  <a:noFill/>
                </a:ln>
                <a:solidFill>
                  <a:prstClr val="white"/>
                </a:solidFill>
                <a:effectLst/>
                <a:uLnTx/>
                <a:uFillTx/>
                <a:latin typeface="Arial" panose="020B0604020202020204"/>
                <a:ea typeface="+mn-ea"/>
                <a:cs typeface="+mn-cs"/>
              </a:rPr>
              <a:t> </a:t>
            </a:r>
            <a:r>
              <a:rPr kumimoji="0" lang="tr-TR" sz="1400" b="0" i="0" u="none" strike="noStrike" kern="0" cap="none" spc="0" normalizeH="0" baseline="0" noProof="0" dirty="0" err="1">
                <a:ln>
                  <a:noFill/>
                </a:ln>
                <a:solidFill>
                  <a:prstClr val="white"/>
                </a:solidFill>
                <a:effectLst/>
                <a:uLnTx/>
                <a:uFillTx/>
                <a:latin typeface="Arial" panose="020B0604020202020204"/>
                <a:ea typeface="+mn-ea"/>
                <a:cs typeface="+mn-cs"/>
              </a:rPr>
              <a:t>TGP’nin</a:t>
            </a:r>
            <a:r>
              <a:rPr kumimoji="0" lang="tr-TR" sz="1400" b="0" i="0" u="none" strike="noStrike" kern="0" cap="none" spc="0" normalizeH="0" baseline="0" noProof="0" dirty="0">
                <a:ln>
                  <a:noFill/>
                </a:ln>
                <a:solidFill>
                  <a:prstClr val="white"/>
                </a:solidFill>
                <a:effectLst/>
                <a:uLnTx/>
                <a:uFillTx/>
                <a:latin typeface="Arial" panose="020B0604020202020204"/>
                <a:ea typeface="+mn-ea"/>
                <a:cs typeface="+mn-cs"/>
              </a:rPr>
              <a:t> yeniden gelişmesi </a:t>
            </a:r>
            <a:r>
              <a:rPr kumimoji="0" lang="tr-TR" sz="1400" b="0" i="0" u="none" strike="noStrike" kern="0" cap="none" spc="0" normalizeH="0" baseline="0" noProof="0" dirty="0" err="1">
                <a:ln>
                  <a:noFill/>
                </a:ln>
                <a:solidFill>
                  <a:prstClr val="white"/>
                </a:solidFill>
                <a:effectLst/>
                <a:uLnTx/>
                <a:uFillTx/>
                <a:latin typeface="Arial" panose="020B0604020202020204"/>
                <a:ea typeface="+mn-ea"/>
                <a:cs typeface="+mn-cs"/>
              </a:rPr>
              <a:t>nedenyile</a:t>
            </a:r>
            <a:r>
              <a:rPr kumimoji="0" lang="en-US" sz="1400" b="0" i="0" u="none" strike="noStrike" kern="0" cap="none" spc="0" normalizeH="0" baseline="0" noProof="0" dirty="0">
                <a:ln>
                  <a:noFill/>
                </a:ln>
                <a:solidFill>
                  <a:prstClr val="white"/>
                </a:solidFill>
                <a:effectLst/>
                <a:uLnTx/>
                <a:uFillTx/>
                <a:latin typeface="Arial" panose="020B0604020202020204"/>
                <a:ea typeface="+mn-ea"/>
                <a:cs typeface="+mn-cs"/>
              </a:rPr>
              <a:t> </a:t>
            </a:r>
            <a:r>
              <a:rPr kumimoji="0" lang="en-US" sz="1400" b="0" i="0" u="none" strike="noStrike" kern="0" cap="none" spc="0" normalizeH="0" baseline="0" noProof="0" dirty="0" err="1">
                <a:ln>
                  <a:noFill/>
                </a:ln>
                <a:solidFill>
                  <a:prstClr val="white"/>
                </a:solidFill>
                <a:effectLst/>
                <a:uLnTx/>
                <a:uFillTx/>
                <a:latin typeface="Arial" panose="020B0604020202020204"/>
                <a:ea typeface="+mn-ea"/>
                <a:cs typeface="+mn-cs"/>
              </a:rPr>
              <a:t>hastaneye</a:t>
            </a:r>
            <a:r>
              <a:rPr kumimoji="0" lang="en-US" sz="1400" b="0" i="0" u="none" strike="noStrike" kern="0" cap="none" spc="0" normalizeH="0" baseline="0" noProof="0" dirty="0">
                <a:ln>
                  <a:noFill/>
                </a:ln>
                <a:solidFill>
                  <a:prstClr val="white"/>
                </a:solidFill>
                <a:effectLst/>
                <a:uLnTx/>
                <a:uFillTx/>
                <a:latin typeface="Arial" panose="020B0604020202020204"/>
                <a:ea typeface="+mn-ea"/>
                <a:cs typeface="+mn-cs"/>
              </a:rPr>
              <a:t> </a:t>
            </a:r>
            <a:r>
              <a:rPr kumimoji="0" lang="en-US" sz="1400" b="0" i="0" u="none" strike="noStrike" kern="0" cap="none" spc="0" normalizeH="0" baseline="0" noProof="0" dirty="0" err="1">
                <a:ln>
                  <a:noFill/>
                </a:ln>
                <a:solidFill>
                  <a:prstClr val="white"/>
                </a:solidFill>
                <a:effectLst/>
                <a:uLnTx/>
                <a:uFillTx/>
                <a:latin typeface="Arial" panose="020B0604020202020204"/>
                <a:ea typeface="+mn-ea"/>
                <a:cs typeface="+mn-cs"/>
              </a:rPr>
              <a:t>yatırıldı</a:t>
            </a:r>
            <a:endParaRPr kumimoji="0" lang="en-US" sz="14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132" name="TextBox 131">
            <a:extLst>
              <a:ext uri="{FF2B5EF4-FFF2-40B4-BE49-F238E27FC236}">
                <a16:creationId xmlns:a16="http://schemas.microsoft.com/office/drawing/2014/main" id="{904A272A-E3BC-44C3-940F-BA8D42FA67A9}"/>
              </a:ext>
            </a:extLst>
          </p:cNvPr>
          <p:cNvSpPr txBox="1"/>
          <p:nvPr/>
        </p:nvSpPr>
        <p:spPr>
          <a:xfrm>
            <a:off x="5031308" y="2628182"/>
            <a:ext cx="1192634" cy="646331"/>
          </a:xfrm>
          <a:prstGeom prst="rect">
            <a:avLst/>
          </a:prstGeom>
          <a:noFill/>
        </p:spPr>
        <p:txBody>
          <a:bodyPr wrap="none" lIns="0" rIns="0" rtlCol="0">
            <a:spAutoFit/>
          </a:bodyPr>
          <a:lstStyle/>
          <a:p>
            <a:pPr lvl="0">
              <a:defRPr/>
            </a:pPr>
            <a:r>
              <a:rPr kumimoji="0" lang="en-IN" sz="3600" b="1" i="0" u="none" strike="noStrike" kern="0" cap="none" spc="0" normalizeH="0" baseline="0" noProof="0" dirty="0">
                <a:ln>
                  <a:noFill/>
                </a:ln>
                <a:solidFill>
                  <a:prstClr val="white"/>
                </a:solidFill>
                <a:effectLst/>
                <a:uLnTx/>
                <a:uFillTx/>
                <a:latin typeface="Arial" panose="020B0604020202020204"/>
                <a:ea typeface="+mn-ea"/>
                <a:cs typeface="Arial" panose="020B0604020202020204" pitchFamily="34" charset="0"/>
              </a:rPr>
              <a:t>~</a:t>
            </a:r>
            <a:r>
              <a:rPr lang="en-IN" sz="3600" b="1" kern="0" dirty="0">
                <a:solidFill>
                  <a:prstClr val="white"/>
                </a:solidFill>
                <a:cs typeface="Arial" panose="020B0604020202020204" pitchFamily="34" charset="0"/>
              </a:rPr>
              <a:t>%</a:t>
            </a:r>
            <a:r>
              <a:rPr kumimoji="0" lang="en-IN" sz="3600" b="1" i="0" u="none" strike="noStrike" kern="0" cap="none" spc="0" normalizeH="0" baseline="0" noProof="0" dirty="0">
                <a:ln>
                  <a:noFill/>
                </a:ln>
                <a:solidFill>
                  <a:prstClr val="white"/>
                </a:solidFill>
                <a:effectLst/>
                <a:uLnTx/>
                <a:uFillTx/>
                <a:latin typeface="Arial" panose="020B0604020202020204"/>
                <a:ea typeface="+mn-ea"/>
                <a:cs typeface="Arial" panose="020B0604020202020204" pitchFamily="34" charset="0"/>
              </a:rPr>
              <a:t>10</a:t>
            </a:r>
          </a:p>
        </p:txBody>
      </p:sp>
      <p:grpSp>
        <p:nvGrpSpPr>
          <p:cNvPr id="133" name="Group 132">
            <a:extLst>
              <a:ext uri="{FF2B5EF4-FFF2-40B4-BE49-F238E27FC236}">
                <a16:creationId xmlns:a16="http://schemas.microsoft.com/office/drawing/2014/main" id="{52BC2EA2-7E7E-47E7-B249-D339434E2723}"/>
              </a:ext>
            </a:extLst>
          </p:cNvPr>
          <p:cNvGrpSpPr/>
          <p:nvPr/>
        </p:nvGrpSpPr>
        <p:grpSpPr>
          <a:xfrm>
            <a:off x="6210599" y="2745096"/>
            <a:ext cx="180789" cy="412504"/>
            <a:chOff x="-2986088" y="-171450"/>
            <a:chExt cx="2417763" cy="5516563"/>
          </a:xfrm>
          <a:solidFill>
            <a:schemeClr val="accent2">
              <a:lumMod val="75000"/>
            </a:schemeClr>
          </a:solidFill>
        </p:grpSpPr>
        <p:sp>
          <p:nvSpPr>
            <p:cNvPr id="161" name="Freeform 5">
              <a:extLst>
                <a:ext uri="{FF2B5EF4-FFF2-40B4-BE49-F238E27FC236}">
                  <a16:creationId xmlns:a16="http://schemas.microsoft.com/office/drawing/2014/main" id="{E5086C20-EC3B-4F0B-9221-D3D63403D850}"/>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62" name="Freeform 6">
              <a:extLst>
                <a:ext uri="{FF2B5EF4-FFF2-40B4-BE49-F238E27FC236}">
                  <a16:creationId xmlns:a16="http://schemas.microsoft.com/office/drawing/2014/main" id="{16894C61-9928-4550-8C70-707ABA498F78}"/>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34" name="Group 133">
            <a:extLst>
              <a:ext uri="{FF2B5EF4-FFF2-40B4-BE49-F238E27FC236}">
                <a16:creationId xmlns:a16="http://schemas.microsoft.com/office/drawing/2014/main" id="{741F45F4-2F00-4EBD-A328-996708CBBD82}"/>
              </a:ext>
            </a:extLst>
          </p:cNvPr>
          <p:cNvGrpSpPr/>
          <p:nvPr/>
        </p:nvGrpSpPr>
        <p:grpSpPr>
          <a:xfrm>
            <a:off x="6390091" y="2745096"/>
            <a:ext cx="180789" cy="412504"/>
            <a:chOff x="-2986088" y="-171450"/>
            <a:chExt cx="2417763" cy="5516563"/>
          </a:xfrm>
          <a:solidFill>
            <a:schemeClr val="accent2">
              <a:lumMod val="75000"/>
            </a:schemeClr>
          </a:solidFill>
        </p:grpSpPr>
        <p:sp>
          <p:nvSpPr>
            <p:cNvPr id="159" name="Freeform 5">
              <a:extLst>
                <a:ext uri="{FF2B5EF4-FFF2-40B4-BE49-F238E27FC236}">
                  <a16:creationId xmlns:a16="http://schemas.microsoft.com/office/drawing/2014/main" id="{5AE6CC4F-D602-47A9-B37B-D25B32E7FC94}"/>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60" name="Freeform 6">
              <a:extLst>
                <a:ext uri="{FF2B5EF4-FFF2-40B4-BE49-F238E27FC236}">
                  <a16:creationId xmlns:a16="http://schemas.microsoft.com/office/drawing/2014/main" id="{D227ADC4-5B28-4CFB-9AA2-29B877BC64C0}"/>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35" name="Group 134">
            <a:extLst>
              <a:ext uri="{FF2B5EF4-FFF2-40B4-BE49-F238E27FC236}">
                <a16:creationId xmlns:a16="http://schemas.microsoft.com/office/drawing/2014/main" id="{7D5B85FB-77D3-4761-B5DF-146403B31594}"/>
              </a:ext>
            </a:extLst>
          </p:cNvPr>
          <p:cNvGrpSpPr/>
          <p:nvPr/>
        </p:nvGrpSpPr>
        <p:grpSpPr>
          <a:xfrm>
            <a:off x="6569583" y="2745096"/>
            <a:ext cx="180789" cy="412504"/>
            <a:chOff x="-2986088" y="-171450"/>
            <a:chExt cx="2417763" cy="5516563"/>
          </a:xfrm>
          <a:solidFill>
            <a:schemeClr val="accent2">
              <a:lumMod val="75000"/>
            </a:schemeClr>
          </a:solidFill>
        </p:grpSpPr>
        <p:sp>
          <p:nvSpPr>
            <p:cNvPr id="157" name="Freeform 5">
              <a:extLst>
                <a:ext uri="{FF2B5EF4-FFF2-40B4-BE49-F238E27FC236}">
                  <a16:creationId xmlns:a16="http://schemas.microsoft.com/office/drawing/2014/main" id="{C19B9F32-E198-4661-9EFD-256CA4CF93C7}"/>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58" name="Freeform 6">
              <a:extLst>
                <a:ext uri="{FF2B5EF4-FFF2-40B4-BE49-F238E27FC236}">
                  <a16:creationId xmlns:a16="http://schemas.microsoft.com/office/drawing/2014/main" id="{4B0323FB-BD37-4D92-B902-F2F18C746AB3}"/>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36" name="Group 135">
            <a:extLst>
              <a:ext uri="{FF2B5EF4-FFF2-40B4-BE49-F238E27FC236}">
                <a16:creationId xmlns:a16="http://schemas.microsoft.com/office/drawing/2014/main" id="{C0D6449C-3510-4581-AE61-045650D11272}"/>
              </a:ext>
            </a:extLst>
          </p:cNvPr>
          <p:cNvGrpSpPr/>
          <p:nvPr/>
        </p:nvGrpSpPr>
        <p:grpSpPr>
          <a:xfrm>
            <a:off x="6749075" y="2745096"/>
            <a:ext cx="180789" cy="412504"/>
            <a:chOff x="-2986088" y="-171450"/>
            <a:chExt cx="2417763" cy="5516563"/>
          </a:xfrm>
          <a:solidFill>
            <a:schemeClr val="accent2">
              <a:lumMod val="75000"/>
            </a:schemeClr>
          </a:solidFill>
        </p:grpSpPr>
        <p:sp>
          <p:nvSpPr>
            <p:cNvPr id="155" name="Freeform 5">
              <a:extLst>
                <a:ext uri="{FF2B5EF4-FFF2-40B4-BE49-F238E27FC236}">
                  <a16:creationId xmlns:a16="http://schemas.microsoft.com/office/drawing/2014/main" id="{861F4A0E-FA98-4654-BCB7-06CC32124EF0}"/>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56" name="Freeform 6">
              <a:extLst>
                <a:ext uri="{FF2B5EF4-FFF2-40B4-BE49-F238E27FC236}">
                  <a16:creationId xmlns:a16="http://schemas.microsoft.com/office/drawing/2014/main" id="{09380DB4-FBEB-4C7A-9F5D-4C0F12AE9C8E}"/>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37" name="Group 136">
            <a:extLst>
              <a:ext uri="{FF2B5EF4-FFF2-40B4-BE49-F238E27FC236}">
                <a16:creationId xmlns:a16="http://schemas.microsoft.com/office/drawing/2014/main" id="{A7DCDA08-2589-494C-9D72-FC9E2FB7D0F8}"/>
              </a:ext>
            </a:extLst>
          </p:cNvPr>
          <p:cNvGrpSpPr/>
          <p:nvPr/>
        </p:nvGrpSpPr>
        <p:grpSpPr>
          <a:xfrm>
            <a:off x="6928567" y="2745096"/>
            <a:ext cx="180789" cy="412504"/>
            <a:chOff x="-2986088" y="-171450"/>
            <a:chExt cx="2417763" cy="5516563"/>
          </a:xfrm>
          <a:solidFill>
            <a:schemeClr val="accent2">
              <a:lumMod val="75000"/>
            </a:schemeClr>
          </a:solidFill>
        </p:grpSpPr>
        <p:sp>
          <p:nvSpPr>
            <p:cNvPr id="153" name="Freeform 5">
              <a:extLst>
                <a:ext uri="{FF2B5EF4-FFF2-40B4-BE49-F238E27FC236}">
                  <a16:creationId xmlns:a16="http://schemas.microsoft.com/office/drawing/2014/main" id="{E8C054FF-EBEF-47A4-A670-B9814A061B30}"/>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54" name="Freeform 6">
              <a:extLst>
                <a:ext uri="{FF2B5EF4-FFF2-40B4-BE49-F238E27FC236}">
                  <a16:creationId xmlns:a16="http://schemas.microsoft.com/office/drawing/2014/main" id="{75AAE246-16BB-4A68-BB5F-BAAFD4D6515D}"/>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38" name="Group 137">
            <a:extLst>
              <a:ext uri="{FF2B5EF4-FFF2-40B4-BE49-F238E27FC236}">
                <a16:creationId xmlns:a16="http://schemas.microsoft.com/office/drawing/2014/main" id="{CC4C49A9-31E4-49CA-91CD-E78E2183B0D8}"/>
              </a:ext>
            </a:extLst>
          </p:cNvPr>
          <p:cNvGrpSpPr/>
          <p:nvPr/>
        </p:nvGrpSpPr>
        <p:grpSpPr>
          <a:xfrm>
            <a:off x="7108059" y="2745096"/>
            <a:ext cx="180789" cy="412504"/>
            <a:chOff x="-2986088" y="-171450"/>
            <a:chExt cx="2417763" cy="5516563"/>
          </a:xfrm>
          <a:solidFill>
            <a:schemeClr val="accent2">
              <a:lumMod val="75000"/>
            </a:schemeClr>
          </a:solidFill>
        </p:grpSpPr>
        <p:sp>
          <p:nvSpPr>
            <p:cNvPr id="151" name="Freeform 5">
              <a:extLst>
                <a:ext uri="{FF2B5EF4-FFF2-40B4-BE49-F238E27FC236}">
                  <a16:creationId xmlns:a16="http://schemas.microsoft.com/office/drawing/2014/main" id="{3B839FC7-BBC5-44F2-A327-56E2C152D90E}"/>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52" name="Freeform 6">
              <a:extLst>
                <a:ext uri="{FF2B5EF4-FFF2-40B4-BE49-F238E27FC236}">
                  <a16:creationId xmlns:a16="http://schemas.microsoft.com/office/drawing/2014/main" id="{83737EDC-2BD3-44A6-A9A6-E890E6FF0C5F}"/>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39" name="Group 138">
            <a:extLst>
              <a:ext uri="{FF2B5EF4-FFF2-40B4-BE49-F238E27FC236}">
                <a16:creationId xmlns:a16="http://schemas.microsoft.com/office/drawing/2014/main" id="{21FBD42D-2325-44DE-BEE0-419578A97375}"/>
              </a:ext>
            </a:extLst>
          </p:cNvPr>
          <p:cNvGrpSpPr/>
          <p:nvPr/>
        </p:nvGrpSpPr>
        <p:grpSpPr>
          <a:xfrm>
            <a:off x="7287551" y="2745096"/>
            <a:ext cx="180789" cy="412504"/>
            <a:chOff x="-2986088" y="-171450"/>
            <a:chExt cx="2417763" cy="5516563"/>
          </a:xfrm>
          <a:solidFill>
            <a:schemeClr val="accent2">
              <a:lumMod val="75000"/>
            </a:schemeClr>
          </a:solidFill>
        </p:grpSpPr>
        <p:sp>
          <p:nvSpPr>
            <p:cNvPr id="149" name="Freeform 5">
              <a:extLst>
                <a:ext uri="{FF2B5EF4-FFF2-40B4-BE49-F238E27FC236}">
                  <a16:creationId xmlns:a16="http://schemas.microsoft.com/office/drawing/2014/main" id="{B3BB5B56-639E-4971-AF55-7273B930BCAB}"/>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50" name="Freeform 6">
              <a:extLst>
                <a:ext uri="{FF2B5EF4-FFF2-40B4-BE49-F238E27FC236}">
                  <a16:creationId xmlns:a16="http://schemas.microsoft.com/office/drawing/2014/main" id="{62E874ED-F0B1-4B73-89A7-EA8A544A7F68}"/>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40" name="Group 139">
            <a:extLst>
              <a:ext uri="{FF2B5EF4-FFF2-40B4-BE49-F238E27FC236}">
                <a16:creationId xmlns:a16="http://schemas.microsoft.com/office/drawing/2014/main" id="{C4027C9B-3C8C-4977-9621-D50D95E4D7EF}"/>
              </a:ext>
            </a:extLst>
          </p:cNvPr>
          <p:cNvGrpSpPr/>
          <p:nvPr/>
        </p:nvGrpSpPr>
        <p:grpSpPr>
          <a:xfrm>
            <a:off x="7467043" y="2745096"/>
            <a:ext cx="180789" cy="412504"/>
            <a:chOff x="-2986088" y="-171450"/>
            <a:chExt cx="2417763" cy="5516563"/>
          </a:xfrm>
          <a:solidFill>
            <a:schemeClr val="accent2">
              <a:lumMod val="75000"/>
            </a:schemeClr>
          </a:solidFill>
        </p:grpSpPr>
        <p:sp>
          <p:nvSpPr>
            <p:cNvPr id="147" name="Freeform 5">
              <a:extLst>
                <a:ext uri="{FF2B5EF4-FFF2-40B4-BE49-F238E27FC236}">
                  <a16:creationId xmlns:a16="http://schemas.microsoft.com/office/drawing/2014/main" id="{B376547E-546B-41A3-BEAB-F5526271BD50}"/>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8" name="Freeform 6">
              <a:extLst>
                <a:ext uri="{FF2B5EF4-FFF2-40B4-BE49-F238E27FC236}">
                  <a16:creationId xmlns:a16="http://schemas.microsoft.com/office/drawing/2014/main" id="{EB591E45-37FD-4DDA-A71E-D9782A77FFE2}"/>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41" name="Group 140">
            <a:extLst>
              <a:ext uri="{FF2B5EF4-FFF2-40B4-BE49-F238E27FC236}">
                <a16:creationId xmlns:a16="http://schemas.microsoft.com/office/drawing/2014/main" id="{D98E3F7E-F268-4DE1-AD18-7897D58DC753}"/>
              </a:ext>
            </a:extLst>
          </p:cNvPr>
          <p:cNvGrpSpPr/>
          <p:nvPr/>
        </p:nvGrpSpPr>
        <p:grpSpPr>
          <a:xfrm>
            <a:off x="7646535" y="2745096"/>
            <a:ext cx="180789" cy="412504"/>
            <a:chOff x="-2986088" y="-171450"/>
            <a:chExt cx="2417763" cy="5516563"/>
          </a:xfrm>
          <a:solidFill>
            <a:schemeClr val="accent2">
              <a:lumMod val="75000"/>
            </a:schemeClr>
          </a:solidFill>
        </p:grpSpPr>
        <p:sp>
          <p:nvSpPr>
            <p:cNvPr id="145" name="Freeform 5">
              <a:extLst>
                <a:ext uri="{FF2B5EF4-FFF2-40B4-BE49-F238E27FC236}">
                  <a16:creationId xmlns:a16="http://schemas.microsoft.com/office/drawing/2014/main" id="{801EAEDC-A507-46CB-9E29-DB9D5FC47540}"/>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6" name="Freeform 6">
              <a:extLst>
                <a:ext uri="{FF2B5EF4-FFF2-40B4-BE49-F238E27FC236}">
                  <a16:creationId xmlns:a16="http://schemas.microsoft.com/office/drawing/2014/main" id="{DD092983-25D5-4A9A-BAB1-C0F6C73CB2DE}"/>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42" name="Group 141">
            <a:extLst>
              <a:ext uri="{FF2B5EF4-FFF2-40B4-BE49-F238E27FC236}">
                <a16:creationId xmlns:a16="http://schemas.microsoft.com/office/drawing/2014/main" id="{5FF2E877-822B-40FB-8918-E9322EE9F9F0}"/>
              </a:ext>
            </a:extLst>
          </p:cNvPr>
          <p:cNvGrpSpPr/>
          <p:nvPr/>
        </p:nvGrpSpPr>
        <p:grpSpPr>
          <a:xfrm>
            <a:off x="7826029" y="2745096"/>
            <a:ext cx="180789" cy="412504"/>
            <a:chOff x="-2986088" y="-171450"/>
            <a:chExt cx="2417763" cy="5516563"/>
          </a:xfrm>
          <a:solidFill>
            <a:schemeClr val="accent2">
              <a:lumMod val="75000"/>
            </a:schemeClr>
          </a:solidFill>
        </p:grpSpPr>
        <p:sp>
          <p:nvSpPr>
            <p:cNvPr id="143" name="Freeform 5">
              <a:extLst>
                <a:ext uri="{FF2B5EF4-FFF2-40B4-BE49-F238E27FC236}">
                  <a16:creationId xmlns:a16="http://schemas.microsoft.com/office/drawing/2014/main" id="{12A097D7-1C4C-4F5F-AA89-C5A55E26E063}"/>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4" name="Freeform 6">
              <a:extLst>
                <a:ext uri="{FF2B5EF4-FFF2-40B4-BE49-F238E27FC236}">
                  <a16:creationId xmlns:a16="http://schemas.microsoft.com/office/drawing/2014/main" id="{51B9DB21-8C2B-4C61-BB11-3D4911FCF741}"/>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63" name="Group 162">
            <a:extLst>
              <a:ext uri="{FF2B5EF4-FFF2-40B4-BE49-F238E27FC236}">
                <a16:creationId xmlns:a16="http://schemas.microsoft.com/office/drawing/2014/main" id="{AEE3F448-89BB-4B6B-A694-5CB888C3373B}"/>
              </a:ext>
            </a:extLst>
          </p:cNvPr>
          <p:cNvGrpSpPr/>
          <p:nvPr/>
        </p:nvGrpSpPr>
        <p:grpSpPr>
          <a:xfrm>
            <a:off x="406400" y="2600824"/>
            <a:ext cx="712922" cy="712922"/>
            <a:chOff x="1093668" y="1831972"/>
            <a:chExt cx="712922" cy="712922"/>
          </a:xfrm>
        </p:grpSpPr>
        <p:sp>
          <p:nvSpPr>
            <p:cNvPr id="164" name="Oval 163">
              <a:extLst>
                <a:ext uri="{FF2B5EF4-FFF2-40B4-BE49-F238E27FC236}">
                  <a16:creationId xmlns:a16="http://schemas.microsoft.com/office/drawing/2014/main" id="{862A943D-4F9F-4860-883B-2820BBFDC317}"/>
                </a:ext>
              </a:extLst>
            </p:cNvPr>
            <p:cNvSpPr/>
            <p:nvPr/>
          </p:nvSpPr>
          <p:spPr>
            <a:xfrm>
              <a:off x="1093668" y="1831972"/>
              <a:ext cx="712922" cy="712922"/>
            </a:xfrm>
            <a:prstGeom prst="ellipse">
              <a:avLst/>
            </a:prstGeom>
            <a:solidFill>
              <a:schemeClr val="accent3"/>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a:ea typeface="+mn-ea"/>
                <a:cs typeface="+mn-cs"/>
              </a:endParaRPr>
            </a:p>
          </p:txBody>
        </p:sp>
        <p:grpSp>
          <p:nvGrpSpPr>
            <p:cNvPr id="165" name="Group 164">
              <a:extLst>
                <a:ext uri="{FF2B5EF4-FFF2-40B4-BE49-F238E27FC236}">
                  <a16:creationId xmlns:a16="http://schemas.microsoft.com/office/drawing/2014/main" id="{7DE78295-0EF6-42F5-BF5A-A4569F24623D}"/>
                </a:ext>
              </a:extLst>
            </p:cNvPr>
            <p:cNvGrpSpPr>
              <a:grpSpLocks noChangeAspect="1"/>
            </p:cNvGrpSpPr>
            <p:nvPr/>
          </p:nvGrpSpPr>
          <p:grpSpPr>
            <a:xfrm>
              <a:off x="1236358" y="1965500"/>
              <a:ext cx="427542" cy="392204"/>
              <a:chOff x="409575" y="4838700"/>
              <a:chExt cx="1190626" cy="1092200"/>
            </a:xfrm>
            <a:solidFill>
              <a:sysClr val="window" lastClr="FFFFFF"/>
            </a:solidFill>
          </p:grpSpPr>
          <p:sp>
            <p:nvSpPr>
              <p:cNvPr id="166" name="Freeform 81">
                <a:extLst>
                  <a:ext uri="{FF2B5EF4-FFF2-40B4-BE49-F238E27FC236}">
                    <a16:creationId xmlns:a16="http://schemas.microsoft.com/office/drawing/2014/main" id="{A7F133C1-EA67-47AA-806F-D699236D1FE2}"/>
                  </a:ext>
                </a:extLst>
              </p:cNvPr>
              <p:cNvSpPr>
                <a:spLocks noEditPoints="1"/>
              </p:cNvSpPr>
              <p:nvPr/>
            </p:nvSpPr>
            <p:spPr bwMode="auto">
              <a:xfrm>
                <a:off x="414338" y="4838700"/>
                <a:ext cx="1185863" cy="1092200"/>
              </a:xfrm>
              <a:custGeom>
                <a:avLst/>
                <a:gdLst>
                  <a:gd name="T0" fmla="*/ 307 w 316"/>
                  <a:gd name="T1" fmla="*/ 111 h 291"/>
                  <a:gd name="T2" fmla="*/ 308 w 316"/>
                  <a:gd name="T3" fmla="*/ 248 h 291"/>
                  <a:gd name="T4" fmla="*/ 289 w 316"/>
                  <a:gd name="T5" fmla="*/ 218 h 291"/>
                  <a:gd name="T6" fmla="*/ 267 w 316"/>
                  <a:gd name="T7" fmla="*/ 195 h 291"/>
                  <a:gd name="T8" fmla="*/ 295 w 316"/>
                  <a:gd name="T9" fmla="*/ 195 h 291"/>
                  <a:gd name="T10" fmla="*/ 289 w 316"/>
                  <a:gd name="T11" fmla="*/ 169 h 291"/>
                  <a:gd name="T12" fmla="*/ 267 w 316"/>
                  <a:gd name="T13" fmla="*/ 147 h 291"/>
                  <a:gd name="T14" fmla="*/ 295 w 316"/>
                  <a:gd name="T15" fmla="*/ 147 h 291"/>
                  <a:gd name="T16" fmla="*/ 9 w 316"/>
                  <a:gd name="T17" fmla="*/ 259 h 291"/>
                  <a:gd name="T18" fmla="*/ 313 w 316"/>
                  <a:gd name="T19" fmla="*/ 291 h 291"/>
                  <a:gd name="T20" fmla="*/ 124 w 316"/>
                  <a:gd name="T21" fmla="*/ 83 h 291"/>
                  <a:gd name="T22" fmla="*/ 198 w 316"/>
                  <a:gd name="T23" fmla="*/ 8 h 291"/>
                  <a:gd name="T24" fmla="*/ 115 w 316"/>
                  <a:gd name="T25" fmla="*/ 8 h 291"/>
                  <a:gd name="T26" fmla="*/ 138 w 316"/>
                  <a:gd name="T27" fmla="*/ 34 h 291"/>
                  <a:gd name="T28" fmla="*/ 157 w 316"/>
                  <a:gd name="T29" fmla="*/ 15 h 291"/>
                  <a:gd name="T30" fmla="*/ 176 w 316"/>
                  <a:gd name="T31" fmla="*/ 34 h 291"/>
                  <a:gd name="T32" fmla="*/ 165 w 316"/>
                  <a:gd name="T33" fmla="*/ 49 h 291"/>
                  <a:gd name="T34" fmla="*/ 150 w 316"/>
                  <a:gd name="T35" fmla="*/ 61 h 291"/>
                  <a:gd name="T36" fmla="*/ 130 w 316"/>
                  <a:gd name="T37" fmla="*/ 42 h 291"/>
                  <a:gd name="T38" fmla="*/ 146 w 316"/>
                  <a:gd name="T39" fmla="*/ 206 h 291"/>
                  <a:gd name="T40" fmla="*/ 174 w 316"/>
                  <a:gd name="T41" fmla="*/ 248 h 291"/>
                  <a:gd name="T42" fmla="*/ 233 w 316"/>
                  <a:gd name="T43" fmla="*/ 62 h 291"/>
                  <a:gd name="T44" fmla="*/ 190 w 316"/>
                  <a:gd name="T45" fmla="*/ 93 h 291"/>
                  <a:gd name="T46" fmla="*/ 105 w 316"/>
                  <a:gd name="T47" fmla="*/ 62 h 291"/>
                  <a:gd name="T48" fmla="*/ 72 w 316"/>
                  <a:gd name="T49" fmla="*/ 247 h 291"/>
                  <a:gd name="T50" fmla="*/ 195 w 316"/>
                  <a:gd name="T51" fmla="*/ 116 h 291"/>
                  <a:gd name="T52" fmla="*/ 223 w 316"/>
                  <a:gd name="T53" fmla="*/ 116 h 291"/>
                  <a:gd name="T54" fmla="*/ 201 w 316"/>
                  <a:gd name="T55" fmla="*/ 138 h 291"/>
                  <a:gd name="T56" fmla="*/ 195 w 316"/>
                  <a:gd name="T57" fmla="*/ 164 h 291"/>
                  <a:gd name="T58" fmla="*/ 223 w 316"/>
                  <a:gd name="T59" fmla="*/ 164 h 291"/>
                  <a:gd name="T60" fmla="*/ 201 w 316"/>
                  <a:gd name="T61" fmla="*/ 187 h 291"/>
                  <a:gd name="T62" fmla="*/ 143 w 316"/>
                  <a:gd name="T63" fmla="*/ 116 h 291"/>
                  <a:gd name="T64" fmla="*/ 171 w 316"/>
                  <a:gd name="T65" fmla="*/ 116 h 291"/>
                  <a:gd name="T66" fmla="*/ 149 w 316"/>
                  <a:gd name="T67" fmla="*/ 138 h 291"/>
                  <a:gd name="T68" fmla="*/ 143 w 316"/>
                  <a:gd name="T69" fmla="*/ 164 h 291"/>
                  <a:gd name="T70" fmla="*/ 171 w 316"/>
                  <a:gd name="T71" fmla="*/ 164 h 291"/>
                  <a:gd name="T72" fmla="*/ 149 w 316"/>
                  <a:gd name="T73" fmla="*/ 187 h 291"/>
                  <a:gd name="T74" fmla="*/ 119 w 316"/>
                  <a:gd name="T75" fmla="*/ 181 h 291"/>
                  <a:gd name="T76" fmla="*/ 91 w 316"/>
                  <a:gd name="T77" fmla="*/ 181 h 291"/>
                  <a:gd name="T78" fmla="*/ 113 w 316"/>
                  <a:gd name="T79" fmla="*/ 158 h 291"/>
                  <a:gd name="T80" fmla="*/ 119 w 316"/>
                  <a:gd name="T81" fmla="*/ 132 h 291"/>
                  <a:gd name="T82" fmla="*/ 91 w 316"/>
                  <a:gd name="T83" fmla="*/ 132 h 291"/>
                  <a:gd name="T84" fmla="*/ 113 w 316"/>
                  <a:gd name="T85" fmla="*/ 10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6" h="291">
                    <a:moveTo>
                      <a:pt x="316" y="250"/>
                    </a:moveTo>
                    <a:cubicBezTo>
                      <a:pt x="316" y="119"/>
                      <a:pt x="316" y="119"/>
                      <a:pt x="316" y="119"/>
                    </a:cubicBezTo>
                    <a:cubicBezTo>
                      <a:pt x="316" y="114"/>
                      <a:pt x="312" y="111"/>
                      <a:pt x="307" y="111"/>
                    </a:cubicBezTo>
                    <a:cubicBezTo>
                      <a:pt x="251" y="111"/>
                      <a:pt x="251" y="111"/>
                      <a:pt x="251" y="111"/>
                    </a:cubicBezTo>
                    <a:cubicBezTo>
                      <a:pt x="251" y="248"/>
                      <a:pt x="251" y="248"/>
                      <a:pt x="251" y="248"/>
                    </a:cubicBezTo>
                    <a:cubicBezTo>
                      <a:pt x="308" y="248"/>
                      <a:pt x="308" y="248"/>
                      <a:pt x="308" y="248"/>
                    </a:cubicBezTo>
                    <a:cubicBezTo>
                      <a:pt x="310" y="248"/>
                      <a:pt x="314" y="249"/>
                      <a:pt x="316" y="250"/>
                    </a:cubicBezTo>
                    <a:close/>
                    <a:moveTo>
                      <a:pt x="295" y="212"/>
                    </a:moveTo>
                    <a:cubicBezTo>
                      <a:pt x="295" y="215"/>
                      <a:pt x="292" y="218"/>
                      <a:pt x="289" y="218"/>
                    </a:cubicBezTo>
                    <a:cubicBezTo>
                      <a:pt x="273" y="218"/>
                      <a:pt x="273" y="218"/>
                      <a:pt x="273" y="218"/>
                    </a:cubicBezTo>
                    <a:cubicBezTo>
                      <a:pt x="270" y="218"/>
                      <a:pt x="267" y="215"/>
                      <a:pt x="267" y="212"/>
                    </a:cubicBezTo>
                    <a:cubicBezTo>
                      <a:pt x="267" y="195"/>
                      <a:pt x="267" y="195"/>
                      <a:pt x="267" y="195"/>
                    </a:cubicBezTo>
                    <a:cubicBezTo>
                      <a:pt x="267" y="192"/>
                      <a:pt x="270" y="189"/>
                      <a:pt x="273" y="189"/>
                    </a:cubicBezTo>
                    <a:cubicBezTo>
                      <a:pt x="289" y="189"/>
                      <a:pt x="289" y="189"/>
                      <a:pt x="289" y="189"/>
                    </a:cubicBezTo>
                    <a:cubicBezTo>
                      <a:pt x="292" y="189"/>
                      <a:pt x="295" y="192"/>
                      <a:pt x="295" y="195"/>
                    </a:cubicBezTo>
                    <a:lnTo>
                      <a:pt x="295" y="212"/>
                    </a:lnTo>
                    <a:close/>
                    <a:moveTo>
                      <a:pt x="295" y="163"/>
                    </a:moveTo>
                    <a:cubicBezTo>
                      <a:pt x="295" y="166"/>
                      <a:pt x="292" y="169"/>
                      <a:pt x="289" y="169"/>
                    </a:cubicBezTo>
                    <a:cubicBezTo>
                      <a:pt x="273" y="169"/>
                      <a:pt x="273" y="169"/>
                      <a:pt x="273" y="169"/>
                    </a:cubicBezTo>
                    <a:cubicBezTo>
                      <a:pt x="270" y="169"/>
                      <a:pt x="267" y="166"/>
                      <a:pt x="267" y="163"/>
                    </a:cubicBezTo>
                    <a:cubicBezTo>
                      <a:pt x="267" y="147"/>
                      <a:pt x="267" y="147"/>
                      <a:pt x="267" y="147"/>
                    </a:cubicBezTo>
                    <a:cubicBezTo>
                      <a:pt x="267" y="143"/>
                      <a:pt x="270" y="140"/>
                      <a:pt x="273" y="140"/>
                    </a:cubicBezTo>
                    <a:cubicBezTo>
                      <a:pt x="289" y="140"/>
                      <a:pt x="289" y="140"/>
                      <a:pt x="289" y="140"/>
                    </a:cubicBezTo>
                    <a:cubicBezTo>
                      <a:pt x="292" y="140"/>
                      <a:pt x="295" y="143"/>
                      <a:pt x="295" y="147"/>
                    </a:cubicBezTo>
                    <a:lnTo>
                      <a:pt x="295" y="163"/>
                    </a:lnTo>
                    <a:close/>
                    <a:moveTo>
                      <a:pt x="305" y="259"/>
                    </a:moveTo>
                    <a:cubicBezTo>
                      <a:pt x="9" y="259"/>
                      <a:pt x="9" y="259"/>
                      <a:pt x="9" y="259"/>
                    </a:cubicBezTo>
                    <a:cubicBezTo>
                      <a:pt x="4" y="259"/>
                      <a:pt x="0" y="262"/>
                      <a:pt x="0" y="267"/>
                    </a:cubicBezTo>
                    <a:cubicBezTo>
                      <a:pt x="0" y="291"/>
                      <a:pt x="0" y="291"/>
                      <a:pt x="0" y="291"/>
                    </a:cubicBezTo>
                    <a:cubicBezTo>
                      <a:pt x="313" y="291"/>
                      <a:pt x="313" y="291"/>
                      <a:pt x="313" y="291"/>
                    </a:cubicBezTo>
                    <a:cubicBezTo>
                      <a:pt x="313" y="267"/>
                      <a:pt x="313" y="267"/>
                      <a:pt x="313" y="267"/>
                    </a:cubicBezTo>
                    <a:cubicBezTo>
                      <a:pt x="313" y="262"/>
                      <a:pt x="310" y="259"/>
                      <a:pt x="305" y="259"/>
                    </a:cubicBezTo>
                    <a:close/>
                    <a:moveTo>
                      <a:pt x="124" y="83"/>
                    </a:moveTo>
                    <a:cubicBezTo>
                      <a:pt x="190" y="83"/>
                      <a:pt x="190" y="83"/>
                      <a:pt x="190" y="83"/>
                    </a:cubicBezTo>
                    <a:cubicBezTo>
                      <a:pt x="195" y="83"/>
                      <a:pt x="198" y="80"/>
                      <a:pt x="198" y="74"/>
                    </a:cubicBezTo>
                    <a:cubicBezTo>
                      <a:pt x="198" y="8"/>
                      <a:pt x="198" y="8"/>
                      <a:pt x="198" y="8"/>
                    </a:cubicBezTo>
                    <a:cubicBezTo>
                      <a:pt x="198" y="3"/>
                      <a:pt x="195" y="0"/>
                      <a:pt x="190" y="0"/>
                    </a:cubicBezTo>
                    <a:cubicBezTo>
                      <a:pt x="124" y="0"/>
                      <a:pt x="124" y="0"/>
                      <a:pt x="124" y="0"/>
                    </a:cubicBezTo>
                    <a:cubicBezTo>
                      <a:pt x="119" y="0"/>
                      <a:pt x="115" y="3"/>
                      <a:pt x="115" y="8"/>
                    </a:cubicBezTo>
                    <a:cubicBezTo>
                      <a:pt x="115" y="74"/>
                      <a:pt x="115" y="74"/>
                      <a:pt x="115" y="74"/>
                    </a:cubicBezTo>
                    <a:cubicBezTo>
                      <a:pt x="115" y="79"/>
                      <a:pt x="119" y="83"/>
                      <a:pt x="124" y="83"/>
                    </a:cubicBezTo>
                    <a:close/>
                    <a:moveTo>
                      <a:pt x="138" y="34"/>
                    </a:moveTo>
                    <a:cubicBezTo>
                      <a:pt x="150" y="34"/>
                      <a:pt x="150" y="34"/>
                      <a:pt x="150" y="34"/>
                    </a:cubicBezTo>
                    <a:cubicBezTo>
                      <a:pt x="150" y="23"/>
                      <a:pt x="150" y="23"/>
                      <a:pt x="150" y="23"/>
                    </a:cubicBezTo>
                    <a:cubicBezTo>
                      <a:pt x="150" y="18"/>
                      <a:pt x="153" y="15"/>
                      <a:pt x="157" y="15"/>
                    </a:cubicBezTo>
                    <a:cubicBezTo>
                      <a:pt x="161" y="15"/>
                      <a:pt x="165" y="18"/>
                      <a:pt x="165" y="23"/>
                    </a:cubicBezTo>
                    <a:cubicBezTo>
                      <a:pt x="165" y="34"/>
                      <a:pt x="165" y="34"/>
                      <a:pt x="165" y="34"/>
                    </a:cubicBezTo>
                    <a:cubicBezTo>
                      <a:pt x="176" y="34"/>
                      <a:pt x="176" y="34"/>
                      <a:pt x="176" y="34"/>
                    </a:cubicBezTo>
                    <a:cubicBezTo>
                      <a:pt x="181" y="34"/>
                      <a:pt x="184" y="37"/>
                      <a:pt x="184" y="42"/>
                    </a:cubicBezTo>
                    <a:cubicBezTo>
                      <a:pt x="184" y="46"/>
                      <a:pt x="181" y="49"/>
                      <a:pt x="176" y="49"/>
                    </a:cubicBezTo>
                    <a:cubicBezTo>
                      <a:pt x="165" y="49"/>
                      <a:pt x="165" y="49"/>
                      <a:pt x="165" y="49"/>
                    </a:cubicBezTo>
                    <a:cubicBezTo>
                      <a:pt x="165" y="61"/>
                      <a:pt x="165" y="61"/>
                      <a:pt x="165" y="61"/>
                    </a:cubicBezTo>
                    <a:cubicBezTo>
                      <a:pt x="165" y="65"/>
                      <a:pt x="161" y="68"/>
                      <a:pt x="157" y="68"/>
                    </a:cubicBezTo>
                    <a:cubicBezTo>
                      <a:pt x="153" y="68"/>
                      <a:pt x="150" y="65"/>
                      <a:pt x="150" y="61"/>
                    </a:cubicBezTo>
                    <a:cubicBezTo>
                      <a:pt x="150" y="49"/>
                      <a:pt x="150" y="49"/>
                      <a:pt x="150" y="49"/>
                    </a:cubicBezTo>
                    <a:cubicBezTo>
                      <a:pt x="138" y="49"/>
                      <a:pt x="138" y="49"/>
                      <a:pt x="138" y="49"/>
                    </a:cubicBezTo>
                    <a:cubicBezTo>
                      <a:pt x="134" y="49"/>
                      <a:pt x="130" y="46"/>
                      <a:pt x="130" y="42"/>
                    </a:cubicBezTo>
                    <a:cubicBezTo>
                      <a:pt x="130" y="37"/>
                      <a:pt x="134" y="34"/>
                      <a:pt x="138" y="34"/>
                    </a:cubicBezTo>
                    <a:close/>
                    <a:moveTo>
                      <a:pt x="140" y="212"/>
                    </a:moveTo>
                    <a:cubicBezTo>
                      <a:pt x="140" y="209"/>
                      <a:pt x="143" y="206"/>
                      <a:pt x="146" y="206"/>
                    </a:cubicBezTo>
                    <a:cubicBezTo>
                      <a:pt x="168" y="206"/>
                      <a:pt x="168" y="206"/>
                      <a:pt x="168" y="206"/>
                    </a:cubicBezTo>
                    <a:cubicBezTo>
                      <a:pt x="171" y="206"/>
                      <a:pt x="174" y="209"/>
                      <a:pt x="174" y="212"/>
                    </a:cubicBezTo>
                    <a:cubicBezTo>
                      <a:pt x="174" y="248"/>
                      <a:pt x="174" y="248"/>
                      <a:pt x="174" y="248"/>
                    </a:cubicBezTo>
                    <a:cubicBezTo>
                      <a:pt x="241" y="248"/>
                      <a:pt x="241" y="248"/>
                      <a:pt x="241" y="248"/>
                    </a:cubicBezTo>
                    <a:cubicBezTo>
                      <a:pt x="241" y="71"/>
                      <a:pt x="241" y="71"/>
                      <a:pt x="241" y="71"/>
                    </a:cubicBezTo>
                    <a:cubicBezTo>
                      <a:pt x="241" y="65"/>
                      <a:pt x="238" y="62"/>
                      <a:pt x="233" y="62"/>
                    </a:cubicBezTo>
                    <a:cubicBezTo>
                      <a:pt x="209" y="62"/>
                      <a:pt x="209" y="62"/>
                      <a:pt x="209" y="62"/>
                    </a:cubicBezTo>
                    <a:cubicBezTo>
                      <a:pt x="209" y="74"/>
                      <a:pt x="209" y="74"/>
                      <a:pt x="209" y="74"/>
                    </a:cubicBezTo>
                    <a:cubicBezTo>
                      <a:pt x="209" y="85"/>
                      <a:pt x="201" y="93"/>
                      <a:pt x="190" y="93"/>
                    </a:cubicBezTo>
                    <a:cubicBezTo>
                      <a:pt x="124" y="93"/>
                      <a:pt x="124" y="93"/>
                      <a:pt x="124" y="93"/>
                    </a:cubicBezTo>
                    <a:cubicBezTo>
                      <a:pt x="113" y="93"/>
                      <a:pt x="105" y="85"/>
                      <a:pt x="105" y="74"/>
                    </a:cubicBezTo>
                    <a:cubicBezTo>
                      <a:pt x="105" y="62"/>
                      <a:pt x="105" y="62"/>
                      <a:pt x="105" y="62"/>
                    </a:cubicBezTo>
                    <a:cubicBezTo>
                      <a:pt x="81" y="62"/>
                      <a:pt x="81" y="62"/>
                      <a:pt x="81" y="62"/>
                    </a:cubicBezTo>
                    <a:cubicBezTo>
                      <a:pt x="76" y="62"/>
                      <a:pt x="72" y="65"/>
                      <a:pt x="72" y="71"/>
                    </a:cubicBezTo>
                    <a:cubicBezTo>
                      <a:pt x="72" y="247"/>
                      <a:pt x="72" y="247"/>
                      <a:pt x="72" y="247"/>
                    </a:cubicBezTo>
                    <a:cubicBezTo>
                      <a:pt x="140" y="247"/>
                      <a:pt x="140" y="247"/>
                      <a:pt x="140" y="247"/>
                    </a:cubicBezTo>
                    <a:cubicBezTo>
                      <a:pt x="140" y="212"/>
                      <a:pt x="140" y="212"/>
                      <a:pt x="140" y="212"/>
                    </a:cubicBezTo>
                    <a:close/>
                    <a:moveTo>
                      <a:pt x="195" y="116"/>
                    </a:moveTo>
                    <a:cubicBezTo>
                      <a:pt x="195" y="112"/>
                      <a:pt x="198" y="109"/>
                      <a:pt x="201" y="109"/>
                    </a:cubicBezTo>
                    <a:cubicBezTo>
                      <a:pt x="217" y="109"/>
                      <a:pt x="217" y="109"/>
                      <a:pt x="217" y="109"/>
                    </a:cubicBezTo>
                    <a:cubicBezTo>
                      <a:pt x="220" y="109"/>
                      <a:pt x="223" y="112"/>
                      <a:pt x="223" y="116"/>
                    </a:cubicBezTo>
                    <a:cubicBezTo>
                      <a:pt x="223" y="132"/>
                      <a:pt x="223" y="132"/>
                      <a:pt x="223" y="132"/>
                    </a:cubicBezTo>
                    <a:cubicBezTo>
                      <a:pt x="223" y="135"/>
                      <a:pt x="220" y="138"/>
                      <a:pt x="217" y="138"/>
                    </a:cubicBezTo>
                    <a:cubicBezTo>
                      <a:pt x="201" y="138"/>
                      <a:pt x="201" y="138"/>
                      <a:pt x="201" y="138"/>
                    </a:cubicBezTo>
                    <a:cubicBezTo>
                      <a:pt x="198" y="138"/>
                      <a:pt x="195" y="135"/>
                      <a:pt x="195" y="132"/>
                    </a:cubicBezTo>
                    <a:lnTo>
                      <a:pt x="195" y="116"/>
                    </a:lnTo>
                    <a:close/>
                    <a:moveTo>
                      <a:pt x="195" y="164"/>
                    </a:moveTo>
                    <a:cubicBezTo>
                      <a:pt x="195" y="161"/>
                      <a:pt x="198" y="158"/>
                      <a:pt x="201" y="158"/>
                    </a:cubicBezTo>
                    <a:cubicBezTo>
                      <a:pt x="217" y="158"/>
                      <a:pt x="217" y="158"/>
                      <a:pt x="217" y="158"/>
                    </a:cubicBezTo>
                    <a:cubicBezTo>
                      <a:pt x="220" y="158"/>
                      <a:pt x="223" y="161"/>
                      <a:pt x="223" y="164"/>
                    </a:cubicBezTo>
                    <a:cubicBezTo>
                      <a:pt x="223" y="181"/>
                      <a:pt x="223" y="181"/>
                      <a:pt x="223" y="181"/>
                    </a:cubicBezTo>
                    <a:cubicBezTo>
                      <a:pt x="223" y="184"/>
                      <a:pt x="220" y="187"/>
                      <a:pt x="217" y="187"/>
                    </a:cubicBezTo>
                    <a:cubicBezTo>
                      <a:pt x="201" y="187"/>
                      <a:pt x="201" y="187"/>
                      <a:pt x="201" y="187"/>
                    </a:cubicBezTo>
                    <a:cubicBezTo>
                      <a:pt x="198" y="187"/>
                      <a:pt x="195" y="184"/>
                      <a:pt x="195" y="181"/>
                    </a:cubicBezTo>
                    <a:lnTo>
                      <a:pt x="195" y="164"/>
                    </a:lnTo>
                    <a:close/>
                    <a:moveTo>
                      <a:pt x="143" y="116"/>
                    </a:moveTo>
                    <a:cubicBezTo>
                      <a:pt x="143" y="112"/>
                      <a:pt x="146" y="109"/>
                      <a:pt x="149" y="109"/>
                    </a:cubicBezTo>
                    <a:cubicBezTo>
                      <a:pt x="165" y="109"/>
                      <a:pt x="165" y="109"/>
                      <a:pt x="165" y="109"/>
                    </a:cubicBezTo>
                    <a:cubicBezTo>
                      <a:pt x="168" y="109"/>
                      <a:pt x="171" y="112"/>
                      <a:pt x="171" y="116"/>
                    </a:cubicBezTo>
                    <a:cubicBezTo>
                      <a:pt x="171" y="132"/>
                      <a:pt x="171" y="132"/>
                      <a:pt x="171" y="132"/>
                    </a:cubicBezTo>
                    <a:cubicBezTo>
                      <a:pt x="171" y="135"/>
                      <a:pt x="168" y="138"/>
                      <a:pt x="165" y="138"/>
                    </a:cubicBezTo>
                    <a:cubicBezTo>
                      <a:pt x="149" y="138"/>
                      <a:pt x="149" y="138"/>
                      <a:pt x="149" y="138"/>
                    </a:cubicBezTo>
                    <a:cubicBezTo>
                      <a:pt x="146" y="138"/>
                      <a:pt x="143" y="135"/>
                      <a:pt x="143" y="132"/>
                    </a:cubicBezTo>
                    <a:lnTo>
                      <a:pt x="143" y="116"/>
                    </a:lnTo>
                    <a:close/>
                    <a:moveTo>
                      <a:pt x="143" y="164"/>
                    </a:moveTo>
                    <a:cubicBezTo>
                      <a:pt x="143" y="161"/>
                      <a:pt x="146" y="158"/>
                      <a:pt x="149" y="158"/>
                    </a:cubicBezTo>
                    <a:cubicBezTo>
                      <a:pt x="165" y="158"/>
                      <a:pt x="165" y="158"/>
                      <a:pt x="165" y="158"/>
                    </a:cubicBezTo>
                    <a:cubicBezTo>
                      <a:pt x="168" y="158"/>
                      <a:pt x="171" y="161"/>
                      <a:pt x="171" y="164"/>
                    </a:cubicBezTo>
                    <a:cubicBezTo>
                      <a:pt x="171" y="181"/>
                      <a:pt x="171" y="181"/>
                      <a:pt x="171" y="181"/>
                    </a:cubicBezTo>
                    <a:cubicBezTo>
                      <a:pt x="171" y="184"/>
                      <a:pt x="168" y="187"/>
                      <a:pt x="165" y="187"/>
                    </a:cubicBezTo>
                    <a:cubicBezTo>
                      <a:pt x="149" y="187"/>
                      <a:pt x="149" y="187"/>
                      <a:pt x="149" y="187"/>
                    </a:cubicBezTo>
                    <a:cubicBezTo>
                      <a:pt x="146" y="187"/>
                      <a:pt x="143" y="184"/>
                      <a:pt x="143" y="181"/>
                    </a:cubicBezTo>
                    <a:lnTo>
                      <a:pt x="143" y="164"/>
                    </a:lnTo>
                    <a:close/>
                    <a:moveTo>
                      <a:pt x="119" y="181"/>
                    </a:moveTo>
                    <a:cubicBezTo>
                      <a:pt x="119" y="184"/>
                      <a:pt x="116" y="187"/>
                      <a:pt x="113" y="187"/>
                    </a:cubicBezTo>
                    <a:cubicBezTo>
                      <a:pt x="97" y="187"/>
                      <a:pt x="97" y="187"/>
                      <a:pt x="97" y="187"/>
                    </a:cubicBezTo>
                    <a:cubicBezTo>
                      <a:pt x="94" y="187"/>
                      <a:pt x="91" y="184"/>
                      <a:pt x="91" y="181"/>
                    </a:cubicBezTo>
                    <a:cubicBezTo>
                      <a:pt x="91" y="165"/>
                      <a:pt x="91" y="165"/>
                      <a:pt x="91" y="165"/>
                    </a:cubicBezTo>
                    <a:cubicBezTo>
                      <a:pt x="91" y="161"/>
                      <a:pt x="94" y="158"/>
                      <a:pt x="97" y="158"/>
                    </a:cubicBezTo>
                    <a:cubicBezTo>
                      <a:pt x="113" y="158"/>
                      <a:pt x="113" y="158"/>
                      <a:pt x="113" y="158"/>
                    </a:cubicBezTo>
                    <a:cubicBezTo>
                      <a:pt x="116" y="158"/>
                      <a:pt x="119" y="161"/>
                      <a:pt x="119" y="165"/>
                    </a:cubicBezTo>
                    <a:lnTo>
                      <a:pt x="119" y="181"/>
                    </a:lnTo>
                    <a:close/>
                    <a:moveTo>
                      <a:pt x="119" y="132"/>
                    </a:moveTo>
                    <a:cubicBezTo>
                      <a:pt x="119" y="135"/>
                      <a:pt x="116" y="138"/>
                      <a:pt x="113" y="138"/>
                    </a:cubicBezTo>
                    <a:cubicBezTo>
                      <a:pt x="97" y="138"/>
                      <a:pt x="97" y="138"/>
                      <a:pt x="97" y="138"/>
                    </a:cubicBezTo>
                    <a:cubicBezTo>
                      <a:pt x="94" y="138"/>
                      <a:pt x="91" y="135"/>
                      <a:pt x="91" y="132"/>
                    </a:cubicBezTo>
                    <a:cubicBezTo>
                      <a:pt x="91" y="116"/>
                      <a:pt x="91" y="116"/>
                      <a:pt x="91" y="116"/>
                    </a:cubicBezTo>
                    <a:cubicBezTo>
                      <a:pt x="91" y="112"/>
                      <a:pt x="94" y="109"/>
                      <a:pt x="97" y="109"/>
                    </a:cubicBezTo>
                    <a:cubicBezTo>
                      <a:pt x="113" y="109"/>
                      <a:pt x="113" y="109"/>
                      <a:pt x="113" y="109"/>
                    </a:cubicBezTo>
                    <a:cubicBezTo>
                      <a:pt x="116" y="109"/>
                      <a:pt x="119" y="112"/>
                      <a:pt x="119" y="116"/>
                    </a:cubicBezTo>
                    <a:lnTo>
                      <a:pt x="119"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67" name="Freeform 82">
                <a:extLst>
                  <a:ext uri="{FF2B5EF4-FFF2-40B4-BE49-F238E27FC236}">
                    <a16:creationId xmlns:a16="http://schemas.microsoft.com/office/drawing/2014/main" id="{F4B82B51-7441-4DA4-9239-A70FB44A6A31}"/>
                  </a:ext>
                </a:extLst>
              </p:cNvPr>
              <p:cNvSpPr>
                <a:spLocks noEditPoints="1"/>
              </p:cNvSpPr>
              <p:nvPr/>
            </p:nvSpPr>
            <p:spPr bwMode="auto">
              <a:xfrm>
                <a:off x="409575" y="5254625"/>
                <a:ext cx="241300" cy="522288"/>
              </a:xfrm>
              <a:custGeom>
                <a:avLst/>
                <a:gdLst>
                  <a:gd name="T0" fmla="*/ 0 w 64"/>
                  <a:gd name="T1" fmla="*/ 8 h 139"/>
                  <a:gd name="T2" fmla="*/ 0 w 64"/>
                  <a:gd name="T3" fmla="*/ 139 h 139"/>
                  <a:gd name="T4" fmla="*/ 8 w 64"/>
                  <a:gd name="T5" fmla="*/ 137 h 139"/>
                  <a:gd name="T6" fmla="*/ 64 w 64"/>
                  <a:gd name="T7" fmla="*/ 137 h 139"/>
                  <a:gd name="T8" fmla="*/ 64 w 64"/>
                  <a:gd name="T9" fmla="*/ 0 h 139"/>
                  <a:gd name="T10" fmla="*/ 8 w 64"/>
                  <a:gd name="T11" fmla="*/ 0 h 139"/>
                  <a:gd name="T12" fmla="*/ 0 w 64"/>
                  <a:gd name="T13" fmla="*/ 8 h 139"/>
                  <a:gd name="T14" fmla="*/ 20 w 64"/>
                  <a:gd name="T15" fmla="*/ 84 h 139"/>
                  <a:gd name="T16" fmla="*/ 26 w 64"/>
                  <a:gd name="T17" fmla="*/ 78 h 139"/>
                  <a:gd name="T18" fmla="*/ 42 w 64"/>
                  <a:gd name="T19" fmla="*/ 78 h 139"/>
                  <a:gd name="T20" fmla="*/ 48 w 64"/>
                  <a:gd name="T21" fmla="*/ 84 h 139"/>
                  <a:gd name="T22" fmla="*/ 48 w 64"/>
                  <a:gd name="T23" fmla="*/ 101 h 139"/>
                  <a:gd name="T24" fmla="*/ 42 w 64"/>
                  <a:gd name="T25" fmla="*/ 107 h 139"/>
                  <a:gd name="T26" fmla="*/ 26 w 64"/>
                  <a:gd name="T27" fmla="*/ 107 h 139"/>
                  <a:gd name="T28" fmla="*/ 19 w 64"/>
                  <a:gd name="T29" fmla="*/ 101 h 139"/>
                  <a:gd name="T30" fmla="*/ 19 w 64"/>
                  <a:gd name="T31" fmla="*/ 84 h 139"/>
                  <a:gd name="T32" fmla="*/ 20 w 64"/>
                  <a:gd name="T33" fmla="*/ 84 h 139"/>
                  <a:gd name="T34" fmla="*/ 20 w 64"/>
                  <a:gd name="T35" fmla="*/ 36 h 139"/>
                  <a:gd name="T36" fmla="*/ 26 w 64"/>
                  <a:gd name="T37" fmla="*/ 29 h 139"/>
                  <a:gd name="T38" fmla="*/ 42 w 64"/>
                  <a:gd name="T39" fmla="*/ 29 h 139"/>
                  <a:gd name="T40" fmla="*/ 48 w 64"/>
                  <a:gd name="T41" fmla="*/ 36 h 139"/>
                  <a:gd name="T42" fmla="*/ 48 w 64"/>
                  <a:gd name="T43" fmla="*/ 52 h 139"/>
                  <a:gd name="T44" fmla="*/ 42 w 64"/>
                  <a:gd name="T45" fmla="*/ 58 h 139"/>
                  <a:gd name="T46" fmla="*/ 26 w 64"/>
                  <a:gd name="T47" fmla="*/ 58 h 139"/>
                  <a:gd name="T48" fmla="*/ 19 w 64"/>
                  <a:gd name="T49" fmla="*/ 52 h 139"/>
                  <a:gd name="T50" fmla="*/ 19 w 64"/>
                  <a:gd name="T51" fmla="*/ 36 h 139"/>
                  <a:gd name="T52" fmla="*/ 20 w 64"/>
                  <a:gd name="T53" fmla="*/ 3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 h="139">
                    <a:moveTo>
                      <a:pt x="0" y="8"/>
                    </a:moveTo>
                    <a:cubicBezTo>
                      <a:pt x="0" y="139"/>
                      <a:pt x="0" y="139"/>
                      <a:pt x="0" y="139"/>
                    </a:cubicBezTo>
                    <a:cubicBezTo>
                      <a:pt x="2" y="138"/>
                      <a:pt x="5" y="137"/>
                      <a:pt x="8" y="137"/>
                    </a:cubicBezTo>
                    <a:cubicBezTo>
                      <a:pt x="64" y="137"/>
                      <a:pt x="64" y="137"/>
                      <a:pt x="64" y="137"/>
                    </a:cubicBezTo>
                    <a:cubicBezTo>
                      <a:pt x="64" y="0"/>
                      <a:pt x="64" y="0"/>
                      <a:pt x="64" y="0"/>
                    </a:cubicBezTo>
                    <a:cubicBezTo>
                      <a:pt x="8" y="0"/>
                      <a:pt x="8" y="0"/>
                      <a:pt x="8" y="0"/>
                    </a:cubicBezTo>
                    <a:cubicBezTo>
                      <a:pt x="3" y="0"/>
                      <a:pt x="0" y="3"/>
                      <a:pt x="0" y="8"/>
                    </a:cubicBezTo>
                    <a:close/>
                    <a:moveTo>
                      <a:pt x="20" y="84"/>
                    </a:moveTo>
                    <a:cubicBezTo>
                      <a:pt x="20" y="81"/>
                      <a:pt x="22" y="78"/>
                      <a:pt x="26" y="78"/>
                    </a:cubicBezTo>
                    <a:cubicBezTo>
                      <a:pt x="42" y="78"/>
                      <a:pt x="42" y="78"/>
                      <a:pt x="42" y="78"/>
                    </a:cubicBezTo>
                    <a:cubicBezTo>
                      <a:pt x="45" y="78"/>
                      <a:pt x="48" y="80"/>
                      <a:pt x="48" y="84"/>
                    </a:cubicBezTo>
                    <a:cubicBezTo>
                      <a:pt x="48" y="101"/>
                      <a:pt x="48" y="101"/>
                      <a:pt x="48" y="101"/>
                    </a:cubicBezTo>
                    <a:cubicBezTo>
                      <a:pt x="48" y="104"/>
                      <a:pt x="46" y="107"/>
                      <a:pt x="42" y="107"/>
                    </a:cubicBezTo>
                    <a:cubicBezTo>
                      <a:pt x="26" y="107"/>
                      <a:pt x="26" y="107"/>
                      <a:pt x="26" y="107"/>
                    </a:cubicBezTo>
                    <a:cubicBezTo>
                      <a:pt x="23" y="107"/>
                      <a:pt x="19" y="105"/>
                      <a:pt x="19" y="101"/>
                    </a:cubicBezTo>
                    <a:cubicBezTo>
                      <a:pt x="19" y="84"/>
                      <a:pt x="19" y="84"/>
                      <a:pt x="19" y="84"/>
                    </a:cubicBezTo>
                    <a:lnTo>
                      <a:pt x="20" y="84"/>
                    </a:lnTo>
                    <a:close/>
                    <a:moveTo>
                      <a:pt x="20" y="36"/>
                    </a:moveTo>
                    <a:cubicBezTo>
                      <a:pt x="20" y="33"/>
                      <a:pt x="22" y="29"/>
                      <a:pt x="26" y="29"/>
                    </a:cubicBezTo>
                    <a:cubicBezTo>
                      <a:pt x="42" y="29"/>
                      <a:pt x="42" y="29"/>
                      <a:pt x="42" y="29"/>
                    </a:cubicBezTo>
                    <a:cubicBezTo>
                      <a:pt x="45" y="29"/>
                      <a:pt x="48" y="32"/>
                      <a:pt x="48" y="36"/>
                    </a:cubicBezTo>
                    <a:cubicBezTo>
                      <a:pt x="48" y="52"/>
                      <a:pt x="48" y="52"/>
                      <a:pt x="48" y="52"/>
                    </a:cubicBezTo>
                    <a:cubicBezTo>
                      <a:pt x="48" y="55"/>
                      <a:pt x="46" y="58"/>
                      <a:pt x="42" y="58"/>
                    </a:cubicBezTo>
                    <a:cubicBezTo>
                      <a:pt x="26" y="58"/>
                      <a:pt x="26" y="58"/>
                      <a:pt x="26" y="58"/>
                    </a:cubicBezTo>
                    <a:cubicBezTo>
                      <a:pt x="23" y="58"/>
                      <a:pt x="19" y="56"/>
                      <a:pt x="19" y="52"/>
                    </a:cubicBezTo>
                    <a:cubicBezTo>
                      <a:pt x="19" y="36"/>
                      <a:pt x="19" y="36"/>
                      <a:pt x="19" y="36"/>
                    </a:cubicBezTo>
                    <a:lnTo>
                      <a:pt x="2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pic>
        <p:nvPicPr>
          <p:cNvPr id="168" name="Picture 167">
            <a:extLst>
              <a:ext uri="{FF2B5EF4-FFF2-40B4-BE49-F238E27FC236}">
                <a16:creationId xmlns:a16="http://schemas.microsoft.com/office/drawing/2014/main" id="{BA01F11F-B68B-4332-8727-765167C18463}"/>
              </a:ext>
            </a:extLst>
          </p:cNvPr>
          <p:cNvPicPr>
            <a:picLocks noChangeAspect="1"/>
          </p:cNvPicPr>
          <p:nvPr/>
        </p:nvPicPr>
        <p:blipFill rotWithShape="1">
          <a:blip r:embed="rId4"/>
          <a:srcRect l="2861" t="8609" r="-1" b="-1"/>
          <a:stretch/>
        </p:blipFill>
        <p:spPr>
          <a:xfrm>
            <a:off x="6215319" y="2781059"/>
            <a:ext cx="171743" cy="373302"/>
          </a:xfrm>
          <a:prstGeom prst="rect">
            <a:avLst/>
          </a:prstGeom>
          <a:noFill/>
          <a:ln>
            <a:noFill/>
          </a:ln>
        </p:spPr>
        <p:style>
          <a:lnRef idx="0">
            <a:scrgbClr r="0" g="0" b="0"/>
          </a:lnRef>
          <a:fillRef idx="0">
            <a:scrgbClr r="0" g="0" b="0"/>
          </a:fillRef>
          <a:effectRef idx="0">
            <a:scrgbClr r="0" g="0" b="0"/>
          </a:effectRef>
          <a:fontRef idx="minor">
            <a:schemeClr val="accent6"/>
          </a:fontRef>
        </p:style>
      </p:pic>
      <p:sp>
        <p:nvSpPr>
          <p:cNvPr id="169" name="TextBox 168">
            <a:extLst>
              <a:ext uri="{FF2B5EF4-FFF2-40B4-BE49-F238E27FC236}">
                <a16:creationId xmlns:a16="http://schemas.microsoft.com/office/drawing/2014/main" id="{EED5EC30-BAD7-4EA8-9517-8A19E14D79E8}"/>
              </a:ext>
            </a:extLst>
          </p:cNvPr>
          <p:cNvSpPr txBox="1"/>
          <p:nvPr/>
        </p:nvSpPr>
        <p:spPr>
          <a:xfrm>
            <a:off x="1333500" y="4403279"/>
            <a:ext cx="2911385" cy="526426"/>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err="1">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Çalışmanın</a:t>
            </a:r>
            <a:r>
              <a:rPr kumimoji="0" lang="en-US" sz="1400" b="0" i="0" u="none" strike="noStrike" kern="1200" cap="none" spc="0" normalizeH="0" baseline="0" noProof="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 ilk </a:t>
            </a:r>
            <a:r>
              <a:rPr kumimoji="0" lang="en-US" sz="1400" b="0" i="0" u="none" strike="noStrike" kern="1200" cap="none" spc="0" normalizeH="0" baseline="0" noProof="0" err="1">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yılı</a:t>
            </a:r>
            <a:r>
              <a:rPr kumimoji="0" lang="tr-TR" sz="1400" b="0" i="0" u="none" strike="noStrike" kern="1200" cap="none" spc="0" normalizeH="0" baseline="0" noProof="0" err="1">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nda</a:t>
            </a:r>
            <a:r>
              <a:rPr kumimoji="0" lang="tr-TR" sz="1400" b="0" i="0" u="none" strike="noStrike" kern="1200" cap="none" spc="0" normalizeH="0" baseline="0" noProof="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 TGP </a:t>
            </a:r>
            <a:r>
              <a:rPr kumimoji="0" lang="en-US" sz="1400" b="0" i="0" u="none" strike="noStrike" kern="1200" cap="none" spc="0" normalizeH="0" baseline="0" noProof="0" err="1">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nedeniyle</a:t>
            </a:r>
            <a:r>
              <a:rPr kumimoji="0" lang="en-US" sz="1400" b="0" i="0" u="none" strike="noStrike" kern="1200" cap="none" spc="0" normalizeH="0" baseline="0" noProof="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 </a:t>
            </a:r>
            <a:r>
              <a:rPr kumimoji="0" lang="en-US" sz="1400" b="0" i="0" u="none" strike="noStrike" kern="1200" cap="none" spc="0" normalizeH="0" baseline="0" noProof="0" err="1">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hastaneye</a:t>
            </a:r>
            <a:r>
              <a:rPr kumimoji="0" lang="en-US" sz="1400" b="0" i="0" u="none" strike="noStrike" kern="1200" cap="none" spc="0" normalizeH="0" baseline="0" noProof="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 </a:t>
            </a:r>
            <a:r>
              <a:rPr kumimoji="0" lang="en-US" sz="1400" b="0" i="0" u="none" strike="noStrike" kern="1200" cap="none" spc="0" normalizeH="0" baseline="0" noProof="0" err="1">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yatırılan</a:t>
            </a:r>
            <a:r>
              <a:rPr kumimoji="0" lang="en-US" sz="1400" b="0" i="0" u="none" strike="noStrike" kern="1200" cap="none" spc="0" normalizeH="0" baseline="0" noProof="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 </a:t>
            </a:r>
            <a:r>
              <a:rPr kumimoji="0" lang="en-US" sz="1800" b="1" i="0" u="none" strike="noStrike" kern="1200" cap="none" spc="0" normalizeH="0" baseline="0" noProof="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3789</a:t>
            </a:r>
            <a:r>
              <a:rPr kumimoji="0" lang="en-US" sz="1400" b="0" i="0" u="none" strike="noStrike" kern="1200" cap="none" spc="0" normalizeH="0" baseline="0" noProof="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 </a:t>
            </a:r>
            <a:r>
              <a:rPr kumimoji="0" lang="tr-TR" sz="1400" b="0" i="0" u="none" strike="noStrike" kern="1200" cap="none" spc="0" normalizeH="0" baseline="0" noProof="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rPr>
              <a:t>erişkinden:</a:t>
            </a:r>
            <a:endParaRPr kumimoji="0" lang="en-US" sz="1400" b="0" i="0" u="none" strike="noStrike" kern="1200" cap="none" spc="0" normalizeH="0" baseline="0" noProof="0">
              <a:ln>
                <a:noFill/>
              </a:ln>
              <a:solidFill>
                <a:prstClr val="black">
                  <a:lumMod val="75000"/>
                  <a:lumOff val="25000"/>
                </a:prstClr>
              </a:solidFill>
              <a:effectLst/>
              <a:uLnTx/>
              <a:uFillTx/>
              <a:latin typeface="Arial" panose="020B0604020202020204"/>
              <a:ea typeface="Open Sans" pitchFamily="34" charset="0"/>
              <a:cs typeface="Arial" panose="020B0604020202020204" pitchFamily="34" charset="0"/>
            </a:endParaRPr>
          </a:p>
        </p:txBody>
      </p:sp>
      <p:sp>
        <p:nvSpPr>
          <p:cNvPr id="171" name="Oval 170">
            <a:extLst>
              <a:ext uri="{FF2B5EF4-FFF2-40B4-BE49-F238E27FC236}">
                <a16:creationId xmlns:a16="http://schemas.microsoft.com/office/drawing/2014/main" id="{5ACEC699-0FFF-4EB4-8D98-9CD36ED39BE0}"/>
              </a:ext>
            </a:extLst>
          </p:cNvPr>
          <p:cNvSpPr/>
          <p:nvPr/>
        </p:nvSpPr>
        <p:spPr>
          <a:xfrm>
            <a:off x="406400" y="4253010"/>
            <a:ext cx="712922" cy="712922"/>
          </a:xfrm>
          <a:prstGeom prst="ellipse">
            <a:avLst/>
          </a:prstGeom>
          <a:solidFill>
            <a:schemeClr val="accent1"/>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a:ea typeface="+mn-ea"/>
              <a:cs typeface="+mn-cs"/>
            </a:endParaRPr>
          </a:p>
        </p:txBody>
      </p:sp>
      <p:grpSp>
        <p:nvGrpSpPr>
          <p:cNvPr id="172" name="Group 171">
            <a:extLst>
              <a:ext uri="{FF2B5EF4-FFF2-40B4-BE49-F238E27FC236}">
                <a16:creationId xmlns:a16="http://schemas.microsoft.com/office/drawing/2014/main" id="{723AE2D0-F1DB-4AD4-8A55-1975E6015E1F}"/>
              </a:ext>
            </a:extLst>
          </p:cNvPr>
          <p:cNvGrpSpPr>
            <a:grpSpLocks noChangeAspect="1"/>
          </p:cNvGrpSpPr>
          <p:nvPr/>
        </p:nvGrpSpPr>
        <p:grpSpPr>
          <a:xfrm>
            <a:off x="549090" y="4386538"/>
            <a:ext cx="427542" cy="392204"/>
            <a:chOff x="409575" y="4838700"/>
            <a:chExt cx="1190626" cy="1092200"/>
          </a:xfrm>
          <a:solidFill>
            <a:sysClr val="window" lastClr="FFFFFF"/>
          </a:solidFill>
        </p:grpSpPr>
        <p:sp>
          <p:nvSpPr>
            <p:cNvPr id="174" name="Freeform 81">
              <a:extLst>
                <a:ext uri="{FF2B5EF4-FFF2-40B4-BE49-F238E27FC236}">
                  <a16:creationId xmlns:a16="http://schemas.microsoft.com/office/drawing/2014/main" id="{D6F143A8-6214-43A8-AC11-95615EF9E649}"/>
                </a:ext>
              </a:extLst>
            </p:cNvPr>
            <p:cNvSpPr>
              <a:spLocks noEditPoints="1"/>
            </p:cNvSpPr>
            <p:nvPr/>
          </p:nvSpPr>
          <p:spPr bwMode="auto">
            <a:xfrm>
              <a:off x="414338" y="4838700"/>
              <a:ext cx="1185863" cy="1092200"/>
            </a:xfrm>
            <a:custGeom>
              <a:avLst/>
              <a:gdLst>
                <a:gd name="T0" fmla="*/ 307 w 316"/>
                <a:gd name="T1" fmla="*/ 111 h 291"/>
                <a:gd name="T2" fmla="*/ 308 w 316"/>
                <a:gd name="T3" fmla="*/ 248 h 291"/>
                <a:gd name="T4" fmla="*/ 289 w 316"/>
                <a:gd name="T5" fmla="*/ 218 h 291"/>
                <a:gd name="T6" fmla="*/ 267 w 316"/>
                <a:gd name="T7" fmla="*/ 195 h 291"/>
                <a:gd name="T8" fmla="*/ 295 w 316"/>
                <a:gd name="T9" fmla="*/ 195 h 291"/>
                <a:gd name="T10" fmla="*/ 289 w 316"/>
                <a:gd name="T11" fmla="*/ 169 h 291"/>
                <a:gd name="T12" fmla="*/ 267 w 316"/>
                <a:gd name="T13" fmla="*/ 147 h 291"/>
                <a:gd name="T14" fmla="*/ 295 w 316"/>
                <a:gd name="T15" fmla="*/ 147 h 291"/>
                <a:gd name="T16" fmla="*/ 9 w 316"/>
                <a:gd name="T17" fmla="*/ 259 h 291"/>
                <a:gd name="T18" fmla="*/ 313 w 316"/>
                <a:gd name="T19" fmla="*/ 291 h 291"/>
                <a:gd name="T20" fmla="*/ 124 w 316"/>
                <a:gd name="T21" fmla="*/ 83 h 291"/>
                <a:gd name="T22" fmla="*/ 198 w 316"/>
                <a:gd name="T23" fmla="*/ 8 h 291"/>
                <a:gd name="T24" fmla="*/ 115 w 316"/>
                <a:gd name="T25" fmla="*/ 8 h 291"/>
                <a:gd name="T26" fmla="*/ 138 w 316"/>
                <a:gd name="T27" fmla="*/ 34 h 291"/>
                <a:gd name="T28" fmla="*/ 157 w 316"/>
                <a:gd name="T29" fmla="*/ 15 h 291"/>
                <a:gd name="T30" fmla="*/ 176 w 316"/>
                <a:gd name="T31" fmla="*/ 34 h 291"/>
                <a:gd name="T32" fmla="*/ 165 w 316"/>
                <a:gd name="T33" fmla="*/ 49 h 291"/>
                <a:gd name="T34" fmla="*/ 150 w 316"/>
                <a:gd name="T35" fmla="*/ 61 h 291"/>
                <a:gd name="T36" fmla="*/ 130 w 316"/>
                <a:gd name="T37" fmla="*/ 42 h 291"/>
                <a:gd name="T38" fmla="*/ 146 w 316"/>
                <a:gd name="T39" fmla="*/ 206 h 291"/>
                <a:gd name="T40" fmla="*/ 174 w 316"/>
                <a:gd name="T41" fmla="*/ 248 h 291"/>
                <a:gd name="T42" fmla="*/ 233 w 316"/>
                <a:gd name="T43" fmla="*/ 62 h 291"/>
                <a:gd name="T44" fmla="*/ 190 w 316"/>
                <a:gd name="T45" fmla="*/ 93 h 291"/>
                <a:gd name="T46" fmla="*/ 105 w 316"/>
                <a:gd name="T47" fmla="*/ 62 h 291"/>
                <a:gd name="T48" fmla="*/ 72 w 316"/>
                <a:gd name="T49" fmla="*/ 247 h 291"/>
                <a:gd name="T50" fmla="*/ 195 w 316"/>
                <a:gd name="T51" fmla="*/ 116 h 291"/>
                <a:gd name="T52" fmla="*/ 223 w 316"/>
                <a:gd name="T53" fmla="*/ 116 h 291"/>
                <a:gd name="T54" fmla="*/ 201 w 316"/>
                <a:gd name="T55" fmla="*/ 138 h 291"/>
                <a:gd name="T56" fmla="*/ 195 w 316"/>
                <a:gd name="T57" fmla="*/ 164 h 291"/>
                <a:gd name="T58" fmla="*/ 223 w 316"/>
                <a:gd name="T59" fmla="*/ 164 h 291"/>
                <a:gd name="T60" fmla="*/ 201 w 316"/>
                <a:gd name="T61" fmla="*/ 187 h 291"/>
                <a:gd name="T62" fmla="*/ 143 w 316"/>
                <a:gd name="T63" fmla="*/ 116 h 291"/>
                <a:gd name="T64" fmla="*/ 171 w 316"/>
                <a:gd name="T65" fmla="*/ 116 h 291"/>
                <a:gd name="T66" fmla="*/ 149 w 316"/>
                <a:gd name="T67" fmla="*/ 138 h 291"/>
                <a:gd name="T68" fmla="*/ 143 w 316"/>
                <a:gd name="T69" fmla="*/ 164 h 291"/>
                <a:gd name="T70" fmla="*/ 171 w 316"/>
                <a:gd name="T71" fmla="*/ 164 h 291"/>
                <a:gd name="T72" fmla="*/ 149 w 316"/>
                <a:gd name="T73" fmla="*/ 187 h 291"/>
                <a:gd name="T74" fmla="*/ 119 w 316"/>
                <a:gd name="T75" fmla="*/ 181 h 291"/>
                <a:gd name="T76" fmla="*/ 91 w 316"/>
                <a:gd name="T77" fmla="*/ 181 h 291"/>
                <a:gd name="T78" fmla="*/ 113 w 316"/>
                <a:gd name="T79" fmla="*/ 158 h 291"/>
                <a:gd name="T80" fmla="*/ 119 w 316"/>
                <a:gd name="T81" fmla="*/ 132 h 291"/>
                <a:gd name="T82" fmla="*/ 91 w 316"/>
                <a:gd name="T83" fmla="*/ 132 h 291"/>
                <a:gd name="T84" fmla="*/ 113 w 316"/>
                <a:gd name="T85" fmla="*/ 10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6" h="291">
                  <a:moveTo>
                    <a:pt x="316" y="250"/>
                  </a:moveTo>
                  <a:cubicBezTo>
                    <a:pt x="316" y="119"/>
                    <a:pt x="316" y="119"/>
                    <a:pt x="316" y="119"/>
                  </a:cubicBezTo>
                  <a:cubicBezTo>
                    <a:pt x="316" y="114"/>
                    <a:pt x="312" y="111"/>
                    <a:pt x="307" y="111"/>
                  </a:cubicBezTo>
                  <a:cubicBezTo>
                    <a:pt x="251" y="111"/>
                    <a:pt x="251" y="111"/>
                    <a:pt x="251" y="111"/>
                  </a:cubicBezTo>
                  <a:cubicBezTo>
                    <a:pt x="251" y="248"/>
                    <a:pt x="251" y="248"/>
                    <a:pt x="251" y="248"/>
                  </a:cubicBezTo>
                  <a:cubicBezTo>
                    <a:pt x="308" y="248"/>
                    <a:pt x="308" y="248"/>
                    <a:pt x="308" y="248"/>
                  </a:cubicBezTo>
                  <a:cubicBezTo>
                    <a:pt x="310" y="248"/>
                    <a:pt x="314" y="249"/>
                    <a:pt x="316" y="250"/>
                  </a:cubicBezTo>
                  <a:close/>
                  <a:moveTo>
                    <a:pt x="295" y="212"/>
                  </a:moveTo>
                  <a:cubicBezTo>
                    <a:pt x="295" y="215"/>
                    <a:pt x="292" y="218"/>
                    <a:pt x="289" y="218"/>
                  </a:cubicBezTo>
                  <a:cubicBezTo>
                    <a:pt x="273" y="218"/>
                    <a:pt x="273" y="218"/>
                    <a:pt x="273" y="218"/>
                  </a:cubicBezTo>
                  <a:cubicBezTo>
                    <a:pt x="270" y="218"/>
                    <a:pt x="267" y="215"/>
                    <a:pt x="267" y="212"/>
                  </a:cubicBezTo>
                  <a:cubicBezTo>
                    <a:pt x="267" y="195"/>
                    <a:pt x="267" y="195"/>
                    <a:pt x="267" y="195"/>
                  </a:cubicBezTo>
                  <a:cubicBezTo>
                    <a:pt x="267" y="192"/>
                    <a:pt x="270" y="189"/>
                    <a:pt x="273" y="189"/>
                  </a:cubicBezTo>
                  <a:cubicBezTo>
                    <a:pt x="289" y="189"/>
                    <a:pt x="289" y="189"/>
                    <a:pt x="289" y="189"/>
                  </a:cubicBezTo>
                  <a:cubicBezTo>
                    <a:pt x="292" y="189"/>
                    <a:pt x="295" y="192"/>
                    <a:pt x="295" y="195"/>
                  </a:cubicBezTo>
                  <a:lnTo>
                    <a:pt x="295" y="212"/>
                  </a:lnTo>
                  <a:close/>
                  <a:moveTo>
                    <a:pt x="295" y="163"/>
                  </a:moveTo>
                  <a:cubicBezTo>
                    <a:pt x="295" y="166"/>
                    <a:pt x="292" y="169"/>
                    <a:pt x="289" y="169"/>
                  </a:cubicBezTo>
                  <a:cubicBezTo>
                    <a:pt x="273" y="169"/>
                    <a:pt x="273" y="169"/>
                    <a:pt x="273" y="169"/>
                  </a:cubicBezTo>
                  <a:cubicBezTo>
                    <a:pt x="270" y="169"/>
                    <a:pt x="267" y="166"/>
                    <a:pt x="267" y="163"/>
                  </a:cubicBezTo>
                  <a:cubicBezTo>
                    <a:pt x="267" y="147"/>
                    <a:pt x="267" y="147"/>
                    <a:pt x="267" y="147"/>
                  </a:cubicBezTo>
                  <a:cubicBezTo>
                    <a:pt x="267" y="143"/>
                    <a:pt x="270" y="140"/>
                    <a:pt x="273" y="140"/>
                  </a:cubicBezTo>
                  <a:cubicBezTo>
                    <a:pt x="289" y="140"/>
                    <a:pt x="289" y="140"/>
                    <a:pt x="289" y="140"/>
                  </a:cubicBezTo>
                  <a:cubicBezTo>
                    <a:pt x="292" y="140"/>
                    <a:pt x="295" y="143"/>
                    <a:pt x="295" y="147"/>
                  </a:cubicBezTo>
                  <a:lnTo>
                    <a:pt x="295" y="163"/>
                  </a:lnTo>
                  <a:close/>
                  <a:moveTo>
                    <a:pt x="305" y="259"/>
                  </a:moveTo>
                  <a:cubicBezTo>
                    <a:pt x="9" y="259"/>
                    <a:pt x="9" y="259"/>
                    <a:pt x="9" y="259"/>
                  </a:cubicBezTo>
                  <a:cubicBezTo>
                    <a:pt x="4" y="259"/>
                    <a:pt x="0" y="262"/>
                    <a:pt x="0" y="267"/>
                  </a:cubicBezTo>
                  <a:cubicBezTo>
                    <a:pt x="0" y="291"/>
                    <a:pt x="0" y="291"/>
                    <a:pt x="0" y="291"/>
                  </a:cubicBezTo>
                  <a:cubicBezTo>
                    <a:pt x="313" y="291"/>
                    <a:pt x="313" y="291"/>
                    <a:pt x="313" y="291"/>
                  </a:cubicBezTo>
                  <a:cubicBezTo>
                    <a:pt x="313" y="267"/>
                    <a:pt x="313" y="267"/>
                    <a:pt x="313" y="267"/>
                  </a:cubicBezTo>
                  <a:cubicBezTo>
                    <a:pt x="313" y="262"/>
                    <a:pt x="310" y="259"/>
                    <a:pt x="305" y="259"/>
                  </a:cubicBezTo>
                  <a:close/>
                  <a:moveTo>
                    <a:pt x="124" y="83"/>
                  </a:moveTo>
                  <a:cubicBezTo>
                    <a:pt x="190" y="83"/>
                    <a:pt x="190" y="83"/>
                    <a:pt x="190" y="83"/>
                  </a:cubicBezTo>
                  <a:cubicBezTo>
                    <a:pt x="195" y="83"/>
                    <a:pt x="198" y="80"/>
                    <a:pt x="198" y="74"/>
                  </a:cubicBezTo>
                  <a:cubicBezTo>
                    <a:pt x="198" y="8"/>
                    <a:pt x="198" y="8"/>
                    <a:pt x="198" y="8"/>
                  </a:cubicBezTo>
                  <a:cubicBezTo>
                    <a:pt x="198" y="3"/>
                    <a:pt x="195" y="0"/>
                    <a:pt x="190" y="0"/>
                  </a:cubicBezTo>
                  <a:cubicBezTo>
                    <a:pt x="124" y="0"/>
                    <a:pt x="124" y="0"/>
                    <a:pt x="124" y="0"/>
                  </a:cubicBezTo>
                  <a:cubicBezTo>
                    <a:pt x="119" y="0"/>
                    <a:pt x="115" y="3"/>
                    <a:pt x="115" y="8"/>
                  </a:cubicBezTo>
                  <a:cubicBezTo>
                    <a:pt x="115" y="74"/>
                    <a:pt x="115" y="74"/>
                    <a:pt x="115" y="74"/>
                  </a:cubicBezTo>
                  <a:cubicBezTo>
                    <a:pt x="115" y="79"/>
                    <a:pt x="119" y="83"/>
                    <a:pt x="124" y="83"/>
                  </a:cubicBezTo>
                  <a:close/>
                  <a:moveTo>
                    <a:pt x="138" y="34"/>
                  </a:moveTo>
                  <a:cubicBezTo>
                    <a:pt x="150" y="34"/>
                    <a:pt x="150" y="34"/>
                    <a:pt x="150" y="34"/>
                  </a:cubicBezTo>
                  <a:cubicBezTo>
                    <a:pt x="150" y="23"/>
                    <a:pt x="150" y="23"/>
                    <a:pt x="150" y="23"/>
                  </a:cubicBezTo>
                  <a:cubicBezTo>
                    <a:pt x="150" y="18"/>
                    <a:pt x="153" y="15"/>
                    <a:pt x="157" y="15"/>
                  </a:cubicBezTo>
                  <a:cubicBezTo>
                    <a:pt x="161" y="15"/>
                    <a:pt x="165" y="18"/>
                    <a:pt x="165" y="23"/>
                  </a:cubicBezTo>
                  <a:cubicBezTo>
                    <a:pt x="165" y="34"/>
                    <a:pt x="165" y="34"/>
                    <a:pt x="165" y="34"/>
                  </a:cubicBezTo>
                  <a:cubicBezTo>
                    <a:pt x="176" y="34"/>
                    <a:pt x="176" y="34"/>
                    <a:pt x="176" y="34"/>
                  </a:cubicBezTo>
                  <a:cubicBezTo>
                    <a:pt x="181" y="34"/>
                    <a:pt x="184" y="37"/>
                    <a:pt x="184" y="42"/>
                  </a:cubicBezTo>
                  <a:cubicBezTo>
                    <a:pt x="184" y="46"/>
                    <a:pt x="181" y="49"/>
                    <a:pt x="176" y="49"/>
                  </a:cubicBezTo>
                  <a:cubicBezTo>
                    <a:pt x="165" y="49"/>
                    <a:pt x="165" y="49"/>
                    <a:pt x="165" y="49"/>
                  </a:cubicBezTo>
                  <a:cubicBezTo>
                    <a:pt x="165" y="61"/>
                    <a:pt x="165" y="61"/>
                    <a:pt x="165" y="61"/>
                  </a:cubicBezTo>
                  <a:cubicBezTo>
                    <a:pt x="165" y="65"/>
                    <a:pt x="161" y="68"/>
                    <a:pt x="157" y="68"/>
                  </a:cubicBezTo>
                  <a:cubicBezTo>
                    <a:pt x="153" y="68"/>
                    <a:pt x="150" y="65"/>
                    <a:pt x="150" y="61"/>
                  </a:cubicBezTo>
                  <a:cubicBezTo>
                    <a:pt x="150" y="49"/>
                    <a:pt x="150" y="49"/>
                    <a:pt x="150" y="49"/>
                  </a:cubicBezTo>
                  <a:cubicBezTo>
                    <a:pt x="138" y="49"/>
                    <a:pt x="138" y="49"/>
                    <a:pt x="138" y="49"/>
                  </a:cubicBezTo>
                  <a:cubicBezTo>
                    <a:pt x="134" y="49"/>
                    <a:pt x="130" y="46"/>
                    <a:pt x="130" y="42"/>
                  </a:cubicBezTo>
                  <a:cubicBezTo>
                    <a:pt x="130" y="37"/>
                    <a:pt x="134" y="34"/>
                    <a:pt x="138" y="34"/>
                  </a:cubicBezTo>
                  <a:close/>
                  <a:moveTo>
                    <a:pt x="140" y="212"/>
                  </a:moveTo>
                  <a:cubicBezTo>
                    <a:pt x="140" y="209"/>
                    <a:pt x="143" y="206"/>
                    <a:pt x="146" y="206"/>
                  </a:cubicBezTo>
                  <a:cubicBezTo>
                    <a:pt x="168" y="206"/>
                    <a:pt x="168" y="206"/>
                    <a:pt x="168" y="206"/>
                  </a:cubicBezTo>
                  <a:cubicBezTo>
                    <a:pt x="171" y="206"/>
                    <a:pt x="174" y="209"/>
                    <a:pt x="174" y="212"/>
                  </a:cubicBezTo>
                  <a:cubicBezTo>
                    <a:pt x="174" y="248"/>
                    <a:pt x="174" y="248"/>
                    <a:pt x="174" y="248"/>
                  </a:cubicBezTo>
                  <a:cubicBezTo>
                    <a:pt x="241" y="248"/>
                    <a:pt x="241" y="248"/>
                    <a:pt x="241" y="248"/>
                  </a:cubicBezTo>
                  <a:cubicBezTo>
                    <a:pt x="241" y="71"/>
                    <a:pt x="241" y="71"/>
                    <a:pt x="241" y="71"/>
                  </a:cubicBezTo>
                  <a:cubicBezTo>
                    <a:pt x="241" y="65"/>
                    <a:pt x="238" y="62"/>
                    <a:pt x="233" y="62"/>
                  </a:cubicBezTo>
                  <a:cubicBezTo>
                    <a:pt x="209" y="62"/>
                    <a:pt x="209" y="62"/>
                    <a:pt x="209" y="62"/>
                  </a:cubicBezTo>
                  <a:cubicBezTo>
                    <a:pt x="209" y="74"/>
                    <a:pt x="209" y="74"/>
                    <a:pt x="209" y="74"/>
                  </a:cubicBezTo>
                  <a:cubicBezTo>
                    <a:pt x="209" y="85"/>
                    <a:pt x="201" y="93"/>
                    <a:pt x="190" y="93"/>
                  </a:cubicBezTo>
                  <a:cubicBezTo>
                    <a:pt x="124" y="93"/>
                    <a:pt x="124" y="93"/>
                    <a:pt x="124" y="93"/>
                  </a:cubicBezTo>
                  <a:cubicBezTo>
                    <a:pt x="113" y="93"/>
                    <a:pt x="105" y="85"/>
                    <a:pt x="105" y="74"/>
                  </a:cubicBezTo>
                  <a:cubicBezTo>
                    <a:pt x="105" y="62"/>
                    <a:pt x="105" y="62"/>
                    <a:pt x="105" y="62"/>
                  </a:cubicBezTo>
                  <a:cubicBezTo>
                    <a:pt x="81" y="62"/>
                    <a:pt x="81" y="62"/>
                    <a:pt x="81" y="62"/>
                  </a:cubicBezTo>
                  <a:cubicBezTo>
                    <a:pt x="76" y="62"/>
                    <a:pt x="72" y="65"/>
                    <a:pt x="72" y="71"/>
                  </a:cubicBezTo>
                  <a:cubicBezTo>
                    <a:pt x="72" y="247"/>
                    <a:pt x="72" y="247"/>
                    <a:pt x="72" y="247"/>
                  </a:cubicBezTo>
                  <a:cubicBezTo>
                    <a:pt x="140" y="247"/>
                    <a:pt x="140" y="247"/>
                    <a:pt x="140" y="247"/>
                  </a:cubicBezTo>
                  <a:cubicBezTo>
                    <a:pt x="140" y="212"/>
                    <a:pt x="140" y="212"/>
                    <a:pt x="140" y="212"/>
                  </a:cubicBezTo>
                  <a:close/>
                  <a:moveTo>
                    <a:pt x="195" y="116"/>
                  </a:moveTo>
                  <a:cubicBezTo>
                    <a:pt x="195" y="112"/>
                    <a:pt x="198" y="109"/>
                    <a:pt x="201" y="109"/>
                  </a:cubicBezTo>
                  <a:cubicBezTo>
                    <a:pt x="217" y="109"/>
                    <a:pt x="217" y="109"/>
                    <a:pt x="217" y="109"/>
                  </a:cubicBezTo>
                  <a:cubicBezTo>
                    <a:pt x="220" y="109"/>
                    <a:pt x="223" y="112"/>
                    <a:pt x="223" y="116"/>
                  </a:cubicBezTo>
                  <a:cubicBezTo>
                    <a:pt x="223" y="132"/>
                    <a:pt x="223" y="132"/>
                    <a:pt x="223" y="132"/>
                  </a:cubicBezTo>
                  <a:cubicBezTo>
                    <a:pt x="223" y="135"/>
                    <a:pt x="220" y="138"/>
                    <a:pt x="217" y="138"/>
                  </a:cubicBezTo>
                  <a:cubicBezTo>
                    <a:pt x="201" y="138"/>
                    <a:pt x="201" y="138"/>
                    <a:pt x="201" y="138"/>
                  </a:cubicBezTo>
                  <a:cubicBezTo>
                    <a:pt x="198" y="138"/>
                    <a:pt x="195" y="135"/>
                    <a:pt x="195" y="132"/>
                  </a:cubicBezTo>
                  <a:lnTo>
                    <a:pt x="195" y="116"/>
                  </a:lnTo>
                  <a:close/>
                  <a:moveTo>
                    <a:pt x="195" y="164"/>
                  </a:moveTo>
                  <a:cubicBezTo>
                    <a:pt x="195" y="161"/>
                    <a:pt x="198" y="158"/>
                    <a:pt x="201" y="158"/>
                  </a:cubicBezTo>
                  <a:cubicBezTo>
                    <a:pt x="217" y="158"/>
                    <a:pt x="217" y="158"/>
                    <a:pt x="217" y="158"/>
                  </a:cubicBezTo>
                  <a:cubicBezTo>
                    <a:pt x="220" y="158"/>
                    <a:pt x="223" y="161"/>
                    <a:pt x="223" y="164"/>
                  </a:cubicBezTo>
                  <a:cubicBezTo>
                    <a:pt x="223" y="181"/>
                    <a:pt x="223" y="181"/>
                    <a:pt x="223" y="181"/>
                  </a:cubicBezTo>
                  <a:cubicBezTo>
                    <a:pt x="223" y="184"/>
                    <a:pt x="220" y="187"/>
                    <a:pt x="217" y="187"/>
                  </a:cubicBezTo>
                  <a:cubicBezTo>
                    <a:pt x="201" y="187"/>
                    <a:pt x="201" y="187"/>
                    <a:pt x="201" y="187"/>
                  </a:cubicBezTo>
                  <a:cubicBezTo>
                    <a:pt x="198" y="187"/>
                    <a:pt x="195" y="184"/>
                    <a:pt x="195" y="181"/>
                  </a:cubicBezTo>
                  <a:lnTo>
                    <a:pt x="195" y="164"/>
                  </a:lnTo>
                  <a:close/>
                  <a:moveTo>
                    <a:pt x="143" y="116"/>
                  </a:moveTo>
                  <a:cubicBezTo>
                    <a:pt x="143" y="112"/>
                    <a:pt x="146" y="109"/>
                    <a:pt x="149" y="109"/>
                  </a:cubicBezTo>
                  <a:cubicBezTo>
                    <a:pt x="165" y="109"/>
                    <a:pt x="165" y="109"/>
                    <a:pt x="165" y="109"/>
                  </a:cubicBezTo>
                  <a:cubicBezTo>
                    <a:pt x="168" y="109"/>
                    <a:pt x="171" y="112"/>
                    <a:pt x="171" y="116"/>
                  </a:cubicBezTo>
                  <a:cubicBezTo>
                    <a:pt x="171" y="132"/>
                    <a:pt x="171" y="132"/>
                    <a:pt x="171" y="132"/>
                  </a:cubicBezTo>
                  <a:cubicBezTo>
                    <a:pt x="171" y="135"/>
                    <a:pt x="168" y="138"/>
                    <a:pt x="165" y="138"/>
                  </a:cubicBezTo>
                  <a:cubicBezTo>
                    <a:pt x="149" y="138"/>
                    <a:pt x="149" y="138"/>
                    <a:pt x="149" y="138"/>
                  </a:cubicBezTo>
                  <a:cubicBezTo>
                    <a:pt x="146" y="138"/>
                    <a:pt x="143" y="135"/>
                    <a:pt x="143" y="132"/>
                  </a:cubicBezTo>
                  <a:lnTo>
                    <a:pt x="143" y="116"/>
                  </a:lnTo>
                  <a:close/>
                  <a:moveTo>
                    <a:pt x="143" y="164"/>
                  </a:moveTo>
                  <a:cubicBezTo>
                    <a:pt x="143" y="161"/>
                    <a:pt x="146" y="158"/>
                    <a:pt x="149" y="158"/>
                  </a:cubicBezTo>
                  <a:cubicBezTo>
                    <a:pt x="165" y="158"/>
                    <a:pt x="165" y="158"/>
                    <a:pt x="165" y="158"/>
                  </a:cubicBezTo>
                  <a:cubicBezTo>
                    <a:pt x="168" y="158"/>
                    <a:pt x="171" y="161"/>
                    <a:pt x="171" y="164"/>
                  </a:cubicBezTo>
                  <a:cubicBezTo>
                    <a:pt x="171" y="181"/>
                    <a:pt x="171" y="181"/>
                    <a:pt x="171" y="181"/>
                  </a:cubicBezTo>
                  <a:cubicBezTo>
                    <a:pt x="171" y="184"/>
                    <a:pt x="168" y="187"/>
                    <a:pt x="165" y="187"/>
                  </a:cubicBezTo>
                  <a:cubicBezTo>
                    <a:pt x="149" y="187"/>
                    <a:pt x="149" y="187"/>
                    <a:pt x="149" y="187"/>
                  </a:cubicBezTo>
                  <a:cubicBezTo>
                    <a:pt x="146" y="187"/>
                    <a:pt x="143" y="184"/>
                    <a:pt x="143" y="181"/>
                  </a:cubicBezTo>
                  <a:lnTo>
                    <a:pt x="143" y="164"/>
                  </a:lnTo>
                  <a:close/>
                  <a:moveTo>
                    <a:pt x="119" y="181"/>
                  </a:moveTo>
                  <a:cubicBezTo>
                    <a:pt x="119" y="184"/>
                    <a:pt x="116" y="187"/>
                    <a:pt x="113" y="187"/>
                  </a:cubicBezTo>
                  <a:cubicBezTo>
                    <a:pt x="97" y="187"/>
                    <a:pt x="97" y="187"/>
                    <a:pt x="97" y="187"/>
                  </a:cubicBezTo>
                  <a:cubicBezTo>
                    <a:pt x="94" y="187"/>
                    <a:pt x="91" y="184"/>
                    <a:pt x="91" y="181"/>
                  </a:cubicBezTo>
                  <a:cubicBezTo>
                    <a:pt x="91" y="165"/>
                    <a:pt x="91" y="165"/>
                    <a:pt x="91" y="165"/>
                  </a:cubicBezTo>
                  <a:cubicBezTo>
                    <a:pt x="91" y="161"/>
                    <a:pt x="94" y="158"/>
                    <a:pt x="97" y="158"/>
                  </a:cubicBezTo>
                  <a:cubicBezTo>
                    <a:pt x="113" y="158"/>
                    <a:pt x="113" y="158"/>
                    <a:pt x="113" y="158"/>
                  </a:cubicBezTo>
                  <a:cubicBezTo>
                    <a:pt x="116" y="158"/>
                    <a:pt x="119" y="161"/>
                    <a:pt x="119" y="165"/>
                  </a:cubicBezTo>
                  <a:lnTo>
                    <a:pt x="119" y="181"/>
                  </a:lnTo>
                  <a:close/>
                  <a:moveTo>
                    <a:pt x="119" y="132"/>
                  </a:moveTo>
                  <a:cubicBezTo>
                    <a:pt x="119" y="135"/>
                    <a:pt x="116" y="138"/>
                    <a:pt x="113" y="138"/>
                  </a:cubicBezTo>
                  <a:cubicBezTo>
                    <a:pt x="97" y="138"/>
                    <a:pt x="97" y="138"/>
                    <a:pt x="97" y="138"/>
                  </a:cubicBezTo>
                  <a:cubicBezTo>
                    <a:pt x="94" y="138"/>
                    <a:pt x="91" y="135"/>
                    <a:pt x="91" y="132"/>
                  </a:cubicBezTo>
                  <a:cubicBezTo>
                    <a:pt x="91" y="116"/>
                    <a:pt x="91" y="116"/>
                    <a:pt x="91" y="116"/>
                  </a:cubicBezTo>
                  <a:cubicBezTo>
                    <a:pt x="91" y="112"/>
                    <a:pt x="94" y="109"/>
                    <a:pt x="97" y="109"/>
                  </a:cubicBezTo>
                  <a:cubicBezTo>
                    <a:pt x="113" y="109"/>
                    <a:pt x="113" y="109"/>
                    <a:pt x="113" y="109"/>
                  </a:cubicBezTo>
                  <a:cubicBezTo>
                    <a:pt x="116" y="109"/>
                    <a:pt x="119" y="112"/>
                    <a:pt x="119" y="116"/>
                  </a:cubicBezTo>
                  <a:lnTo>
                    <a:pt x="119"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75" name="Freeform 82">
              <a:extLst>
                <a:ext uri="{FF2B5EF4-FFF2-40B4-BE49-F238E27FC236}">
                  <a16:creationId xmlns:a16="http://schemas.microsoft.com/office/drawing/2014/main" id="{960AE65B-54EA-4591-981A-83DAE2ACB0AE}"/>
                </a:ext>
              </a:extLst>
            </p:cNvPr>
            <p:cNvSpPr>
              <a:spLocks noEditPoints="1"/>
            </p:cNvSpPr>
            <p:nvPr/>
          </p:nvSpPr>
          <p:spPr bwMode="auto">
            <a:xfrm>
              <a:off x="409575" y="5254625"/>
              <a:ext cx="241300" cy="522288"/>
            </a:xfrm>
            <a:custGeom>
              <a:avLst/>
              <a:gdLst>
                <a:gd name="T0" fmla="*/ 0 w 64"/>
                <a:gd name="T1" fmla="*/ 8 h 139"/>
                <a:gd name="T2" fmla="*/ 0 w 64"/>
                <a:gd name="T3" fmla="*/ 139 h 139"/>
                <a:gd name="T4" fmla="*/ 8 w 64"/>
                <a:gd name="T5" fmla="*/ 137 h 139"/>
                <a:gd name="T6" fmla="*/ 64 w 64"/>
                <a:gd name="T7" fmla="*/ 137 h 139"/>
                <a:gd name="T8" fmla="*/ 64 w 64"/>
                <a:gd name="T9" fmla="*/ 0 h 139"/>
                <a:gd name="T10" fmla="*/ 8 w 64"/>
                <a:gd name="T11" fmla="*/ 0 h 139"/>
                <a:gd name="T12" fmla="*/ 0 w 64"/>
                <a:gd name="T13" fmla="*/ 8 h 139"/>
                <a:gd name="T14" fmla="*/ 20 w 64"/>
                <a:gd name="T15" fmla="*/ 84 h 139"/>
                <a:gd name="T16" fmla="*/ 26 w 64"/>
                <a:gd name="T17" fmla="*/ 78 h 139"/>
                <a:gd name="T18" fmla="*/ 42 w 64"/>
                <a:gd name="T19" fmla="*/ 78 h 139"/>
                <a:gd name="T20" fmla="*/ 48 w 64"/>
                <a:gd name="T21" fmla="*/ 84 h 139"/>
                <a:gd name="T22" fmla="*/ 48 w 64"/>
                <a:gd name="T23" fmla="*/ 101 h 139"/>
                <a:gd name="T24" fmla="*/ 42 w 64"/>
                <a:gd name="T25" fmla="*/ 107 h 139"/>
                <a:gd name="T26" fmla="*/ 26 w 64"/>
                <a:gd name="T27" fmla="*/ 107 h 139"/>
                <a:gd name="T28" fmla="*/ 19 w 64"/>
                <a:gd name="T29" fmla="*/ 101 h 139"/>
                <a:gd name="T30" fmla="*/ 19 w 64"/>
                <a:gd name="T31" fmla="*/ 84 h 139"/>
                <a:gd name="T32" fmla="*/ 20 w 64"/>
                <a:gd name="T33" fmla="*/ 84 h 139"/>
                <a:gd name="T34" fmla="*/ 20 w 64"/>
                <a:gd name="T35" fmla="*/ 36 h 139"/>
                <a:gd name="T36" fmla="*/ 26 w 64"/>
                <a:gd name="T37" fmla="*/ 29 h 139"/>
                <a:gd name="T38" fmla="*/ 42 w 64"/>
                <a:gd name="T39" fmla="*/ 29 h 139"/>
                <a:gd name="T40" fmla="*/ 48 w 64"/>
                <a:gd name="T41" fmla="*/ 36 h 139"/>
                <a:gd name="T42" fmla="*/ 48 w 64"/>
                <a:gd name="T43" fmla="*/ 52 h 139"/>
                <a:gd name="T44" fmla="*/ 42 w 64"/>
                <a:gd name="T45" fmla="*/ 58 h 139"/>
                <a:gd name="T46" fmla="*/ 26 w 64"/>
                <a:gd name="T47" fmla="*/ 58 h 139"/>
                <a:gd name="T48" fmla="*/ 19 w 64"/>
                <a:gd name="T49" fmla="*/ 52 h 139"/>
                <a:gd name="T50" fmla="*/ 19 w 64"/>
                <a:gd name="T51" fmla="*/ 36 h 139"/>
                <a:gd name="T52" fmla="*/ 20 w 64"/>
                <a:gd name="T53" fmla="*/ 3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 h="139">
                  <a:moveTo>
                    <a:pt x="0" y="8"/>
                  </a:moveTo>
                  <a:cubicBezTo>
                    <a:pt x="0" y="139"/>
                    <a:pt x="0" y="139"/>
                    <a:pt x="0" y="139"/>
                  </a:cubicBezTo>
                  <a:cubicBezTo>
                    <a:pt x="2" y="138"/>
                    <a:pt x="5" y="137"/>
                    <a:pt x="8" y="137"/>
                  </a:cubicBezTo>
                  <a:cubicBezTo>
                    <a:pt x="64" y="137"/>
                    <a:pt x="64" y="137"/>
                    <a:pt x="64" y="137"/>
                  </a:cubicBezTo>
                  <a:cubicBezTo>
                    <a:pt x="64" y="0"/>
                    <a:pt x="64" y="0"/>
                    <a:pt x="64" y="0"/>
                  </a:cubicBezTo>
                  <a:cubicBezTo>
                    <a:pt x="8" y="0"/>
                    <a:pt x="8" y="0"/>
                    <a:pt x="8" y="0"/>
                  </a:cubicBezTo>
                  <a:cubicBezTo>
                    <a:pt x="3" y="0"/>
                    <a:pt x="0" y="3"/>
                    <a:pt x="0" y="8"/>
                  </a:cubicBezTo>
                  <a:close/>
                  <a:moveTo>
                    <a:pt x="20" y="84"/>
                  </a:moveTo>
                  <a:cubicBezTo>
                    <a:pt x="20" y="81"/>
                    <a:pt x="22" y="78"/>
                    <a:pt x="26" y="78"/>
                  </a:cubicBezTo>
                  <a:cubicBezTo>
                    <a:pt x="42" y="78"/>
                    <a:pt x="42" y="78"/>
                    <a:pt x="42" y="78"/>
                  </a:cubicBezTo>
                  <a:cubicBezTo>
                    <a:pt x="45" y="78"/>
                    <a:pt x="48" y="80"/>
                    <a:pt x="48" y="84"/>
                  </a:cubicBezTo>
                  <a:cubicBezTo>
                    <a:pt x="48" y="101"/>
                    <a:pt x="48" y="101"/>
                    <a:pt x="48" y="101"/>
                  </a:cubicBezTo>
                  <a:cubicBezTo>
                    <a:pt x="48" y="104"/>
                    <a:pt x="46" y="107"/>
                    <a:pt x="42" y="107"/>
                  </a:cubicBezTo>
                  <a:cubicBezTo>
                    <a:pt x="26" y="107"/>
                    <a:pt x="26" y="107"/>
                    <a:pt x="26" y="107"/>
                  </a:cubicBezTo>
                  <a:cubicBezTo>
                    <a:pt x="23" y="107"/>
                    <a:pt x="19" y="105"/>
                    <a:pt x="19" y="101"/>
                  </a:cubicBezTo>
                  <a:cubicBezTo>
                    <a:pt x="19" y="84"/>
                    <a:pt x="19" y="84"/>
                    <a:pt x="19" y="84"/>
                  </a:cubicBezTo>
                  <a:lnTo>
                    <a:pt x="20" y="84"/>
                  </a:lnTo>
                  <a:close/>
                  <a:moveTo>
                    <a:pt x="20" y="36"/>
                  </a:moveTo>
                  <a:cubicBezTo>
                    <a:pt x="20" y="33"/>
                    <a:pt x="22" y="29"/>
                    <a:pt x="26" y="29"/>
                  </a:cubicBezTo>
                  <a:cubicBezTo>
                    <a:pt x="42" y="29"/>
                    <a:pt x="42" y="29"/>
                    <a:pt x="42" y="29"/>
                  </a:cubicBezTo>
                  <a:cubicBezTo>
                    <a:pt x="45" y="29"/>
                    <a:pt x="48" y="32"/>
                    <a:pt x="48" y="36"/>
                  </a:cubicBezTo>
                  <a:cubicBezTo>
                    <a:pt x="48" y="52"/>
                    <a:pt x="48" y="52"/>
                    <a:pt x="48" y="52"/>
                  </a:cubicBezTo>
                  <a:cubicBezTo>
                    <a:pt x="48" y="55"/>
                    <a:pt x="46" y="58"/>
                    <a:pt x="42" y="58"/>
                  </a:cubicBezTo>
                  <a:cubicBezTo>
                    <a:pt x="26" y="58"/>
                    <a:pt x="26" y="58"/>
                    <a:pt x="26" y="58"/>
                  </a:cubicBezTo>
                  <a:cubicBezTo>
                    <a:pt x="23" y="58"/>
                    <a:pt x="19" y="56"/>
                    <a:pt x="19" y="52"/>
                  </a:cubicBezTo>
                  <a:cubicBezTo>
                    <a:pt x="19" y="36"/>
                    <a:pt x="19" y="36"/>
                    <a:pt x="19" y="36"/>
                  </a:cubicBezTo>
                  <a:lnTo>
                    <a:pt x="2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sp>
        <p:nvSpPr>
          <p:cNvPr id="177" name="Rectangle: Rounded Corners 1062">
            <a:extLst>
              <a:ext uri="{FF2B5EF4-FFF2-40B4-BE49-F238E27FC236}">
                <a16:creationId xmlns:a16="http://schemas.microsoft.com/office/drawing/2014/main" id="{561FDD7C-8066-4AFE-9032-3A5D315D067B}"/>
              </a:ext>
            </a:extLst>
          </p:cNvPr>
          <p:cNvSpPr/>
          <p:nvPr/>
        </p:nvSpPr>
        <p:spPr>
          <a:xfrm>
            <a:off x="4838466" y="3872523"/>
            <a:ext cx="6947134" cy="1566930"/>
          </a:xfrm>
          <a:prstGeom prst="roundRect">
            <a:avLst>
              <a:gd name="adj" fmla="val 8886"/>
            </a:avLst>
          </a:prstGeom>
          <a:solidFill>
            <a:schemeClr val="accent2">
              <a:lumMod val="20000"/>
              <a:lumOff val="80000"/>
            </a:scheme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a:ea typeface="+mn-ea"/>
              <a:cs typeface="+mn-cs"/>
            </a:endParaRPr>
          </a:p>
        </p:txBody>
      </p:sp>
      <p:cxnSp>
        <p:nvCxnSpPr>
          <p:cNvPr id="178" name="Straight Connector 177">
            <a:extLst>
              <a:ext uri="{FF2B5EF4-FFF2-40B4-BE49-F238E27FC236}">
                <a16:creationId xmlns:a16="http://schemas.microsoft.com/office/drawing/2014/main" id="{20CCF17B-19C9-425C-8E4F-73F97A0E941B}"/>
              </a:ext>
            </a:extLst>
          </p:cNvPr>
          <p:cNvCxnSpPr/>
          <p:nvPr/>
        </p:nvCxnSpPr>
        <p:spPr>
          <a:xfrm flipH="1">
            <a:off x="4958246" y="4655988"/>
            <a:ext cx="6675120" cy="1"/>
          </a:xfrm>
          <a:prstGeom prst="line">
            <a:avLst/>
          </a:prstGeom>
          <a:noFill/>
          <a:ln w="19050" cap="rnd" cmpd="sng" algn="ctr">
            <a:solidFill>
              <a:srgbClr val="002060"/>
            </a:solidFill>
            <a:prstDash val="sysDot"/>
            <a:headEnd type="diamond"/>
            <a:tailEnd type="diamond"/>
          </a:ln>
          <a:effectLst/>
        </p:spPr>
      </p:cxnSp>
      <p:sp>
        <p:nvSpPr>
          <p:cNvPr id="214" name="TextBox 213">
            <a:extLst>
              <a:ext uri="{FF2B5EF4-FFF2-40B4-BE49-F238E27FC236}">
                <a16:creationId xmlns:a16="http://schemas.microsoft.com/office/drawing/2014/main" id="{9AFD2D95-6FB0-4B74-A075-D6E5F24C48A2}"/>
              </a:ext>
            </a:extLst>
          </p:cNvPr>
          <p:cNvSpPr txBox="1"/>
          <p:nvPr/>
        </p:nvSpPr>
        <p:spPr>
          <a:xfrm>
            <a:off x="8188965" y="4070862"/>
            <a:ext cx="3532034"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0" cap="none" spc="0" normalizeH="0" baseline="0" noProof="0">
                <a:ln>
                  <a:noFill/>
                </a:ln>
                <a:effectLst/>
                <a:uLnTx/>
                <a:uFillTx/>
                <a:latin typeface="Arial" panose="020B0604020202020204"/>
                <a:ea typeface="+mn-ea"/>
                <a:cs typeface="+mn-cs"/>
              </a:rPr>
              <a:t>TGP nedeniyle hastaneye yatıştan </a:t>
            </a:r>
            <a:r>
              <a:rPr kumimoji="0" lang="tr-TR" sz="1600" b="1" i="0" u="none" strike="noStrike" kern="0" cap="none" spc="0" normalizeH="0" baseline="0" noProof="0">
                <a:ln>
                  <a:noFill/>
                </a:ln>
                <a:solidFill>
                  <a:schemeClr val="accent1"/>
                </a:solidFill>
                <a:effectLst/>
                <a:uLnTx/>
                <a:uFillTx/>
                <a:latin typeface="Arial" panose="020B0604020202020204"/>
                <a:ea typeface="+mn-ea"/>
                <a:cs typeface="+mn-cs"/>
              </a:rPr>
              <a:t>30 gün</a:t>
            </a:r>
            <a:r>
              <a:rPr kumimoji="0" lang="tr-TR" sz="1400" b="0" i="0" u="none" strike="noStrike" kern="0" cap="none" spc="0" normalizeH="0" baseline="0" noProof="0">
                <a:ln>
                  <a:noFill/>
                </a:ln>
                <a:solidFill>
                  <a:schemeClr val="accent1"/>
                </a:solidFill>
                <a:effectLst/>
                <a:uLnTx/>
                <a:uFillTx/>
                <a:latin typeface="Arial" panose="020B0604020202020204"/>
                <a:ea typeface="+mn-ea"/>
                <a:cs typeface="+mn-cs"/>
              </a:rPr>
              <a:t> </a:t>
            </a:r>
            <a:r>
              <a:rPr kumimoji="0" lang="tr-TR" sz="1400" b="0" i="0" u="none" strike="noStrike" kern="0" cap="none" spc="0" normalizeH="0" baseline="0" noProof="0">
                <a:ln>
                  <a:noFill/>
                </a:ln>
                <a:solidFill>
                  <a:schemeClr val="tx1">
                    <a:lumMod val="50000"/>
                  </a:schemeClr>
                </a:solidFill>
                <a:effectLst/>
                <a:uLnTx/>
                <a:uFillTx/>
                <a:latin typeface="Arial" panose="020B0604020202020204"/>
                <a:ea typeface="+mn-ea"/>
                <a:cs typeface="+mn-cs"/>
              </a:rPr>
              <a:t>sonra hayatını kaybetti</a:t>
            </a:r>
            <a:endParaRPr kumimoji="0" lang="en-US" sz="1400" b="0" i="0" u="none" strike="noStrike" kern="0" cap="none" spc="0" normalizeH="0" baseline="0" noProof="0">
              <a:ln>
                <a:noFill/>
              </a:ln>
              <a:solidFill>
                <a:schemeClr val="tx1">
                  <a:lumMod val="50000"/>
                </a:schemeClr>
              </a:solidFill>
              <a:effectLst/>
              <a:uLnTx/>
              <a:uFillTx/>
              <a:latin typeface="Arial" panose="020B0604020202020204"/>
              <a:ea typeface="+mn-ea"/>
              <a:cs typeface="+mn-cs"/>
            </a:endParaRPr>
          </a:p>
        </p:txBody>
      </p:sp>
      <p:sp>
        <p:nvSpPr>
          <p:cNvPr id="215" name="TextBox 214">
            <a:extLst>
              <a:ext uri="{FF2B5EF4-FFF2-40B4-BE49-F238E27FC236}">
                <a16:creationId xmlns:a16="http://schemas.microsoft.com/office/drawing/2014/main" id="{A3A1BA8C-29AA-4D38-8C31-BEA4F95CB6FC}"/>
              </a:ext>
            </a:extLst>
          </p:cNvPr>
          <p:cNvSpPr txBox="1"/>
          <p:nvPr/>
        </p:nvSpPr>
        <p:spPr>
          <a:xfrm>
            <a:off x="5155556" y="3963140"/>
            <a:ext cx="923330" cy="646331"/>
          </a:xfrm>
          <a:prstGeom prst="rect">
            <a:avLst/>
          </a:prstGeom>
          <a:noFill/>
        </p:spPr>
        <p:txBody>
          <a:bodyPr wrap="none" lIns="0" rIns="0" rtlCol="0">
            <a:spAutoFit/>
          </a:bodyPr>
          <a:lstStyle/>
          <a:p>
            <a:pPr lvl="0">
              <a:defRPr/>
            </a:pPr>
            <a:r>
              <a:rPr lang="en-IN" sz="3600" b="1" kern="0" dirty="0">
                <a:cs typeface="Arial" panose="020B0604020202020204" pitchFamily="34" charset="0"/>
              </a:rPr>
              <a:t>%</a:t>
            </a:r>
            <a:r>
              <a:rPr kumimoji="0" lang="en-IN" sz="3600" b="1" i="0" u="none" strike="noStrike" kern="0" cap="none" spc="0" normalizeH="0" baseline="0" noProof="0" dirty="0">
                <a:ln>
                  <a:noFill/>
                </a:ln>
                <a:effectLst/>
                <a:uLnTx/>
                <a:uFillTx/>
                <a:latin typeface="Arial" panose="020B0604020202020204"/>
                <a:ea typeface="+mn-ea"/>
                <a:cs typeface="Arial" panose="020B0604020202020204" pitchFamily="34" charset="0"/>
              </a:rPr>
              <a:t>13</a:t>
            </a:r>
            <a:endParaRPr kumimoji="0" lang="en-IN" sz="3600" b="1" i="0" u="none" strike="noStrike" kern="0" cap="none" spc="0" normalizeH="0" baseline="0" noProof="0" dirty="0">
              <a:ln>
                <a:noFill/>
              </a:ln>
              <a:solidFill>
                <a:prstClr val="white"/>
              </a:solidFill>
              <a:effectLst/>
              <a:uLnTx/>
              <a:uFillTx/>
              <a:latin typeface="Arial" panose="020B0604020202020204"/>
              <a:ea typeface="+mn-ea"/>
              <a:cs typeface="Arial" panose="020B0604020202020204" pitchFamily="34" charset="0"/>
            </a:endParaRPr>
          </a:p>
        </p:txBody>
      </p:sp>
      <p:grpSp>
        <p:nvGrpSpPr>
          <p:cNvPr id="216" name="Group 215">
            <a:extLst>
              <a:ext uri="{FF2B5EF4-FFF2-40B4-BE49-F238E27FC236}">
                <a16:creationId xmlns:a16="http://schemas.microsoft.com/office/drawing/2014/main" id="{CBE7B36A-30A8-4D34-ACE3-E7B001E1E668}"/>
              </a:ext>
            </a:extLst>
          </p:cNvPr>
          <p:cNvGrpSpPr/>
          <p:nvPr/>
        </p:nvGrpSpPr>
        <p:grpSpPr>
          <a:xfrm>
            <a:off x="6155022" y="4080053"/>
            <a:ext cx="180789" cy="412504"/>
            <a:chOff x="-2986088" y="-171450"/>
            <a:chExt cx="2417763" cy="5516563"/>
          </a:xfrm>
          <a:solidFill>
            <a:sysClr val="window" lastClr="FFFFFF"/>
          </a:solidFill>
        </p:grpSpPr>
        <p:sp>
          <p:nvSpPr>
            <p:cNvPr id="244" name="Freeform 5">
              <a:extLst>
                <a:ext uri="{FF2B5EF4-FFF2-40B4-BE49-F238E27FC236}">
                  <a16:creationId xmlns:a16="http://schemas.microsoft.com/office/drawing/2014/main" id="{D76EB966-6B18-49D9-875E-661ECED6DC63}"/>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45" name="Freeform 6">
              <a:extLst>
                <a:ext uri="{FF2B5EF4-FFF2-40B4-BE49-F238E27FC236}">
                  <a16:creationId xmlns:a16="http://schemas.microsoft.com/office/drawing/2014/main" id="{9CA0E57E-CE4F-4EBD-9AC8-F7989EF699B1}"/>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217" name="Group 216">
            <a:extLst>
              <a:ext uri="{FF2B5EF4-FFF2-40B4-BE49-F238E27FC236}">
                <a16:creationId xmlns:a16="http://schemas.microsoft.com/office/drawing/2014/main" id="{F00EF6E4-0D8E-427B-8616-2149570E8151}"/>
              </a:ext>
            </a:extLst>
          </p:cNvPr>
          <p:cNvGrpSpPr/>
          <p:nvPr/>
        </p:nvGrpSpPr>
        <p:grpSpPr>
          <a:xfrm>
            <a:off x="6334514" y="4080053"/>
            <a:ext cx="180789" cy="412504"/>
            <a:chOff x="-2986088" y="-171450"/>
            <a:chExt cx="2417763" cy="5516563"/>
          </a:xfrm>
          <a:solidFill>
            <a:schemeClr val="accent2"/>
          </a:solidFill>
        </p:grpSpPr>
        <p:sp>
          <p:nvSpPr>
            <p:cNvPr id="242" name="Freeform 5">
              <a:extLst>
                <a:ext uri="{FF2B5EF4-FFF2-40B4-BE49-F238E27FC236}">
                  <a16:creationId xmlns:a16="http://schemas.microsoft.com/office/drawing/2014/main" id="{B4F92584-17FF-419D-94DE-7ED02BDD956E}"/>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43" name="Freeform 6">
              <a:extLst>
                <a:ext uri="{FF2B5EF4-FFF2-40B4-BE49-F238E27FC236}">
                  <a16:creationId xmlns:a16="http://schemas.microsoft.com/office/drawing/2014/main" id="{A950D96D-A18D-4DAA-86A6-50A1F373AC8F}"/>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218" name="Group 217">
            <a:extLst>
              <a:ext uri="{FF2B5EF4-FFF2-40B4-BE49-F238E27FC236}">
                <a16:creationId xmlns:a16="http://schemas.microsoft.com/office/drawing/2014/main" id="{D4CD8282-4B52-4FDE-B273-6721F8C89843}"/>
              </a:ext>
            </a:extLst>
          </p:cNvPr>
          <p:cNvGrpSpPr/>
          <p:nvPr/>
        </p:nvGrpSpPr>
        <p:grpSpPr>
          <a:xfrm>
            <a:off x="6514006" y="4080053"/>
            <a:ext cx="180789" cy="412504"/>
            <a:chOff x="-2986088" y="-171450"/>
            <a:chExt cx="2417763" cy="5516563"/>
          </a:xfrm>
          <a:solidFill>
            <a:schemeClr val="accent2"/>
          </a:solidFill>
        </p:grpSpPr>
        <p:sp>
          <p:nvSpPr>
            <p:cNvPr id="240" name="Freeform 5">
              <a:extLst>
                <a:ext uri="{FF2B5EF4-FFF2-40B4-BE49-F238E27FC236}">
                  <a16:creationId xmlns:a16="http://schemas.microsoft.com/office/drawing/2014/main" id="{611D5042-5BF1-4D60-B6AF-ACE7910C6F45}"/>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41" name="Freeform 6">
              <a:extLst>
                <a:ext uri="{FF2B5EF4-FFF2-40B4-BE49-F238E27FC236}">
                  <a16:creationId xmlns:a16="http://schemas.microsoft.com/office/drawing/2014/main" id="{DE33A083-0276-45AC-9981-0958EE50DA45}"/>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219" name="Group 218">
            <a:extLst>
              <a:ext uri="{FF2B5EF4-FFF2-40B4-BE49-F238E27FC236}">
                <a16:creationId xmlns:a16="http://schemas.microsoft.com/office/drawing/2014/main" id="{EA42BD89-A87E-4F91-BE57-ACA7449F8A66}"/>
              </a:ext>
            </a:extLst>
          </p:cNvPr>
          <p:cNvGrpSpPr/>
          <p:nvPr/>
        </p:nvGrpSpPr>
        <p:grpSpPr>
          <a:xfrm>
            <a:off x="6693498" y="4080053"/>
            <a:ext cx="180789" cy="412504"/>
            <a:chOff x="-2986088" y="-171450"/>
            <a:chExt cx="2417763" cy="5516563"/>
          </a:xfrm>
          <a:solidFill>
            <a:schemeClr val="accent2"/>
          </a:solidFill>
        </p:grpSpPr>
        <p:sp>
          <p:nvSpPr>
            <p:cNvPr id="238" name="Freeform 5">
              <a:extLst>
                <a:ext uri="{FF2B5EF4-FFF2-40B4-BE49-F238E27FC236}">
                  <a16:creationId xmlns:a16="http://schemas.microsoft.com/office/drawing/2014/main" id="{F583171C-4D8A-40EE-8C64-81CA22E6AB54}"/>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39" name="Freeform 6">
              <a:extLst>
                <a:ext uri="{FF2B5EF4-FFF2-40B4-BE49-F238E27FC236}">
                  <a16:creationId xmlns:a16="http://schemas.microsoft.com/office/drawing/2014/main" id="{A1600E2D-5756-4897-99A0-4410ED5CF604}"/>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220" name="Group 219">
            <a:extLst>
              <a:ext uri="{FF2B5EF4-FFF2-40B4-BE49-F238E27FC236}">
                <a16:creationId xmlns:a16="http://schemas.microsoft.com/office/drawing/2014/main" id="{9B360BB5-00E9-44CF-ADF3-74897A890E38}"/>
              </a:ext>
            </a:extLst>
          </p:cNvPr>
          <p:cNvGrpSpPr/>
          <p:nvPr/>
        </p:nvGrpSpPr>
        <p:grpSpPr>
          <a:xfrm>
            <a:off x="6872990" y="4080053"/>
            <a:ext cx="180789" cy="412504"/>
            <a:chOff x="-2986088" y="-171450"/>
            <a:chExt cx="2417763" cy="5516563"/>
          </a:xfrm>
          <a:solidFill>
            <a:schemeClr val="accent2"/>
          </a:solidFill>
        </p:grpSpPr>
        <p:sp>
          <p:nvSpPr>
            <p:cNvPr id="236" name="Freeform 5">
              <a:extLst>
                <a:ext uri="{FF2B5EF4-FFF2-40B4-BE49-F238E27FC236}">
                  <a16:creationId xmlns:a16="http://schemas.microsoft.com/office/drawing/2014/main" id="{A04B405A-E0CC-48E7-BF45-2D6AD8570B05}"/>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37" name="Freeform 6">
              <a:extLst>
                <a:ext uri="{FF2B5EF4-FFF2-40B4-BE49-F238E27FC236}">
                  <a16:creationId xmlns:a16="http://schemas.microsoft.com/office/drawing/2014/main" id="{26D7DF46-FB72-4D41-8396-7AF3DBA2C4F9}"/>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221" name="Group 220">
            <a:extLst>
              <a:ext uri="{FF2B5EF4-FFF2-40B4-BE49-F238E27FC236}">
                <a16:creationId xmlns:a16="http://schemas.microsoft.com/office/drawing/2014/main" id="{F19DDA4E-E9C4-474F-87E5-DD96AADFF43E}"/>
              </a:ext>
            </a:extLst>
          </p:cNvPr>
          <p:cNvGrpSpPr/>
          <p:nvPr/>
        </p:nvGrpSpPr>
        <p:grpSpPr>
          <a:xfrm>
            <a:off x="7052482" y="4080053"/>
            <a:ext cx="180789" cy="412504"/>
            <a:chOff x="-2986088" y="-171450"/>
            <a:chExt cx="2417763" cy="5516563"/>
          </a:xfrm>
          <a:solidFill>
            <a:schemeClr val="accent2"/>
          </a:solidFill>
        </p:grpSpPr>
        <p:sp>
          <p:nvSpPr>
            <p:cNvPr id="234" name="Freeform 5">
              <a:extLst>
                <a:ext uri="{FF2B5EF4-FFF2-40B4-BE49-F238E27FC236}">
                  <a16:creationId xmlns:a16="http://schemas.microsoft.com/office/drawing/2014/main" id="{193B097D-928B-4893-AEEB-C08B2C9C06BF}"/>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35" name="Freeform 6">
              <a:extLst>
                <a:ext uri="{FF2B5EF4-FFF2-40B4-BE49-F238E27FC236}">
                  <a16:creationId xmlns:a16="http://schemas.microsoft.com/office/drawing/2014/main" id="{D190DE6B-A95B-4A6E-8EC9-3BCB2851E855}"/>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222" name="Group 221">
            <a:extLst>
              <a:ext uri="{FF2B5EF4-FFF2-40B4-BE49-F238E27FC236}">
                <a16:creationId xmlns:a16="http://schemas.microsoft.com/office/drawing/2014/main" id="{44CEA12F-01F8-49C9-8F20-678268CA4052}"/>
              </a:ext>
            </a:extLst>
          </p:cNvPr>
          <p:cNvGrpSpPr/>
          <p:nvPr/>
        </p:nvGrpSpPr>
        <p:grpSpPr>
          <a:xfrm>
            <a:off x="7231974" y="4080053"/>
            <a:ext cx="180789" cy="412504"/>
            <a:chOff x="-2986088" y="-171450"/>
            <a:chExt cx="2417763" cy="5516563"/>
          </a:xfrm>
          <a:solidFill>
            <a:schemeClr val="accent2"/>
          </a:solidFill>
        </p:grpSpPr>
        <p:sp>
          <p:nvSpPr>
            <p:cNvPr id="232" name="Freeform 5">
              <a:extLst>
                <a:ext uri="{FF2B5EF4-FFF2-40B4-BE49-F238E27FC236}">
                  <a16:creationId xmlns:a16="http://schemas.microsoft.com/office/drawing/2014/main" id="{439DDA90-C1D5-4C2A-9264-ECBD934A1C88}"/>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33" name="Freeform 6">
              <a:extLst>
                <a:ext uri="{FF2B5EF4-FFF2-40B4-BE49-F238E27FC236}">
                  <a16:creationId xmlns:a16="http://schemas.microsoft.com/office/drawing/2014/main" id="{E0261C62-970A-45A4-AFCE-B14551D5C7A2}"/>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223" name="Group 222">
            <a:extLst>
              <a:ext uri="{FF2B5EF4-FFF2-40B4-BE49-F238E27FC236}">
                <a16:creationId xmlns:a16="http://schemas.microsoft.com/office/drawing/2014/main" id="{0ECE4422-AAFE-4AE2-B81D-BC09D9699C8F}"/>
              </a:ext>
            </a:extLst>
          </p:cNvPr>
          <p:cNvGrpSpPr/>
          <p:nvPr/>
        </p:nvGrpSpPr>
        <p:grpSpPr>
          <a:xfrm>
            <a:off x="7411466" y="4080053"/>
            <a:ext cx="180789" cy="412504"/>
            <a:chOff x="-2986088" y="-171450"/>
            <a:chExt cx="2417763" cy="5516563"/>
          </a:xfrm>
          <a:solidFill>
            <a:schemeClr val="accent2"/>
          </a:solidFill>
        </p:grpSpPr>
        <p:sp>
          <p:nvSpPr>
            <p:cNvPr id="230" name="Freeform 5">
              <a:extLst>
                <a:ext uri="{FF2B5EF4-FFF2-40B4-BE49-F238E27FC236}">
                  <a16:creationId xmlns:a16="http://schemas.microsoft.com/office/drawing/2014/main" id="{9F661425-606F-42DE-9BFD-B0AA2F6A9A6D}"/>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31" name="Freeform 6">
              <a:extLst>
                <a:ext uri="{FF2B5EF4-FFF2-40B4-BE49-F238E27FC236}">
                  <a16:creationId xmlns:a16="http://schemas.microsoft.com/office/drawing/2014/main" id="{E83F1A7D-FD7D-4E42-89FD-6B5576B426AA}"/>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224" name="Group 223">
            <a:extLst>
              <a:ext uri="{FF2B5EF4-FFF2-40B4-BE49-F238E27FC236}">
                <a16:creationId xmlns:a16="http://schemas.microsoft.com/office/drawing/2014/main" id="{ACA9C01B-E580-4013-9FAE-00AF20F968B0}"/>
              </a:ext>
            </a:extLst>
          </p:cNvPr>
          <p:cNvGrpSpPr/>
          <p:nvPr/>
        </p:nvGrpSpPr>
        <p:grpSpPr>
          <a:xfrm>
            <a:off x="7590958" y="4080053"/>
            <a:ext cx="180789" cy="412504"/>
            <a:chOff x="-2986088" y="-171450"/>
            <a:chExt cx="2417763" cy="5516563"/>
          </a:xfrm>
          <a:solidFill>
            <a:schemeClr val="accent2"/>
          </a:solidFill>
        </p:grpSpPr>
        <p:sp>
          <p:nvSpPr>
            <p:cNvPr id="228" name="Freeform 5">
              <a:extLst>
                <a:ext uri="{FF2B5EF4-FFF2-40B4-BE49-F238E27FC236}">
                  <a16:creationId xmlns:a16="http://schemas.microsoft.com/office/drawing/2014/main" id="{C2AE3855-E14B-4623-B490-F7AC8BFDE2F9}"/>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29" name="Freeform 6">
              <a:extLst>
                <a:ext uri="{FF2B5EF4-FFF2-40B4-BE49-F238E27FC236}">
                  <a16:creationId xmlns:a16="http://schemas.microsoft.com/office/drawing/2014/main" id="{E821737F-8BC5-4B53-9D79-E005D4419AE1}"/>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225" name="Group 224">
            <a:extLst>
              <a:ext uri="{FF2B5EF4-FFF2-40B4-BE49-F238E27FC236}">
                <a16:creationId xmlns:a16="http://schemas.microsoft.com/office/drawing/2014/main" id="{EC3C6B3F-A05C-40F2-9BED-84E3E1538BF3}"/>
              </a:ext>
            </a:extLst>
          </p:cNvPr>
          <p:cNvGrpSpPr/>
          <p:nvPr/>
        </p:nvGrpSpPr>
        <p:grpSpPr>
          <a:xfrm>
            <a:off x="7770452" y="4080053"/>
            <a:ext cx="180789" cy="412504"/>
            <a:chOff x="-2986088" y="-171450"/>
            <a:chExt cx="2417763" cy="5516563"/>
          </a:xfrm>
          <a:solidFill>
            <a:schemeClr val="accent2"/>
          </a:solidFill>
        </p:grpSpPr>
        <p:sp>
          <p:nvSpPr>
            <p:cNvPr id="226" name="Freeform 5">
              <a:extLst>
                <a:ext uri="{FF2B5EF4-FFF2-40B4-BE49-F238E27FC236}">
                  <a16:creationId xmlns:a16="http://schemas.microsoft.com/office/drawing/2014/main" id="{ABC9002B-0A8C-42B1-B7DF-3D4970286D0C}"/>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27" name="Freeform 6">
              <a:extLst>
                <a:ext uri="{FF2B5EF4-FFF2-40B4-BE49-F238E27FC236}">
                  <a16:creationId xmlns:a16="http://schemas.microsoft.com/office/drawing/2014/main" id="{F3357F99-E772-47DC-BD82-65642555B7F1}"/>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sp>
        <p:nvSpPr>
          <p:cNvPr id="180" name="TextBox 179">
            <a:extLst>
              <a:ext uri="{FF2B5EF4-FFF2-40B4-BE49-F238E27FC236}">
                <a16:creationId xmlns:a16="http://schemas.microsoft.com/office/drawing/2014/main" id="{E874F18B-4B58-45AA-AA24-0EC74248985C}"/>
              </a:ext>
            </a:extLst>
          </p:cNvPr>
          <p:cNvSpPr txBox="1"/>
          <p:nvPr/>
        </p:nvSpPr>
        <p:spPr>
          <a:xfrm>
            <a:off x="8188965" y="4821980"/>
            <a:ext cx="3532034"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0" cap="none" spc="0" normalizeH="0" baseline="0" noProof="0">
                <a:ln>
                  <a:noFill/>
                </a:ln>
                <a:solidFill>
                  <a:schemeClr val="tx1">
                    <a:lumMod val="50000"/>
                  </a:schemeClr>
                </a:solidFill>
                <a:effectLst/>
                <a:uLnTx/>
                <a:uFillTx/>
                <a:latin typeface="Arial" panose="020B0604020202020204"/>
                <a:ea typeface="+mn-ea"/>
                <a:cs typeface="+mn-cs"/>
              </a:rPr>
              <a:t>TGP nedeniyle hastaneye yatıştan </a:t>
            </a:r>
            <a:r>
              <a:rPr kumimoji="0" lang="tr-TR" sz="1600" b="1" i="0" u="none" strike="noStrike" kern="0" cap="none" spc="0" normalizeH="0" baseline="0" noProof="0">
                <a:ln>
                  <a:noFill/>
                </a:ln>
                <a:solidFill>
                  <a:schemeClr val="accent1"/>
                </a:solidFill>
                <a:effectLst/>
                <a:uLnTx/>
                <a:uFillTx/>
                <a:latin typeface="Arial" panose="020B0604020202020204"/>
                <a:ea typeface="+mn-ea"/>
                <a:cs typeface="+mn-cs"/>
              </a:rPr>
              <a:t>1 yıl </a:t>
            </a:r>
            <a:r>
              <a:rPr kumimoji="0" lang="tr-TR" sz="1400" b="0" i="0" u="none" strike="noStrike" kern="0" cap="none" spc="0" normalizeH="0" baseline="0" noProof="0">
                <a:ln>
                  <a:noFill/>
                </a:ln>
                <a:solidFill>
                  <a:schemeClr val="tx1">
                    <a:lumMod val="50000"/>
                  </a:schemeClr>
                </a:solidFill>
                <a:effectLst/>
                <a:uLnTx/>
                <a:uFillTx/>
                <a:latin typeface="Arial" panose="020B0604020202020204"/>
                <a:ea typeface="+mn-ea"/>
                <a:cs typeface="+mn-cs"/>
              </a:rPr>
              <a:t>sonra hayatını kaybetti</a:t>
            </a:r>
            <a:endParaRPr kumimoji="0" lang="en-US" sz="1400" b="0" i="0" u="none" strike="noStrike" kern="0" cap="none" spc="0" normalizeH="0" baseline="0" noProof="0">
              <a:ln>
                <a:noFill/>
              </a:ln>
              <a:solidFill>
                <a:schemeClr val="tx1">
                  <a:lumMod val="50000"/>
                </a:schemeClr>
              </a:solidFill>
              <a:effectLst/>
              <a:uLnTx/>
              <a:uFillTx/>
              <a:latin typeface="Arial" panose="020B0604020202020204"/>
              <a:ea typeface="+mn-ea"/>
              <a:cs typeface="+mn-cs"/>
            </a:endParaRPr>
          </a:p>
        </p:txBody>
      </p:sp>
      <p:sp>
        <p:nvSpPr>
          <p:cNvPr id="181" name="TextBox 180">
            <a:extLst>
              <a:ext uri="{FF2B5EF4-FFF2-40B4-BE49-F238E27FC236}">
                <a16:creationId xmlns:a16="http://schemas.microsoft.com/office/drawing/2014/main" id="{36F6ECF3-9B9A-4846-8315-8FAED26DA439}"/>
              </a:ext>
            </a:extLst>
          </p:cNvPr>
          <p:cNvSpPr txBox="1"/>
          <p:nvPr/>
        </p:nvSpPr>
        <p:spPr>
          <a:xfrm>
            <a:off x="4903068" y="4714258"/>
            <a:ext cx="1192634" cy="646331"/>
          </a:xfrm>
          <a:prstGeom prst="rect">
            <a:avLst/>
          </a:prstGeom>
          <a:noFill/>
        </p:spPr>
        <p:txBody>
          <a:bodyPr wrap="none" lIns="0" rIns="0" rtlCol="0">
            <a:spAutoFit/>
          </a:bodyPr>
          <a:lstStyle/>
          <a:p>
            <a:pPr lvl="0">
              <a:defRPr/>
            </a:pPr>
            <a:r>
              <a:rPr kumimoji="0" lang="en-IN" sz="3600" b="1" i="0" u="none" strike="noStrike" kern="0" cap="none" spc="0" normalizeH="0" baseline="0" noProof="0" dirty="0">
                <a:ln>
                  <a:noFill/>
                </a:ln>
                <a:effectLst/>
                <a:uLnTx/>
                <a:uFillTx/>
                <a:latin typeface="Arial" panose="020B0604020202020204"/>
                <a:ea typeface="+mn-ea"/>
                <a:cs typeface="Arial" panose="020B0604020202020204" pitchFamily="34" charset="0"/>
              </a:rPr>
              <a:t>~</a:t>
            </a:r>
            <a:r>
              <a:rPr lang="en-IN" sz="3600" b="1" kern="0" dirty="0">
                <a:cs typeface="Arial" panose="020B0604020202020204" pitchFamily="34" charset="0"/>
              </a:rPr>
              <a:t>%</a:t>
            </a:r>
            <a:r>
              <a:rPr kumimoji="0" lang="en-IN" sz="3600" b="1" i="0" u="none" strike="noStrike" kern="0" cap="none" spc="0" normalizeH="0" baseline="0" noProof="0" dirty="0">
                <a:ln>
                  <a:noFill/>
                </a:ln>
                <a:effectLst/>
                <a:uLnTx/>
                <a:uFillTx/>
                <a:latin typeface="Arial" panose="020B0604020202020204"/>
                <a:ea typeface="+mn-ea"/>
                <a:cs typeface="Arial" panose="020B0604020202020204" pitchFamily="34" charset="0"/>
              </a:rPr>
              <a:t>31</a:t>
            </a:r>
          </a:p>
        </p:txBody>
      </p:sp>
      <p:grpSp>
        <p:nvGrpSpPr>
          <p:cNvPr id="182" name="Group 181">
            <a:extLst>
              <a:ext uri="{FF2B5EF4-FFF2-40B4-BE49-F238E27FC236}">
                <a16:creationId xmlns:a16="http://schemas.microsoft.com/office/drawing/2014/main" id="{3BDB7C86-994E-4047-A144-6B4424A6CFC1}"/>
              </a:ext>
            </a:extLst>
          </p:cNvPr>
          <p:cNvGrpSpPr/>
          <p:nvPr/>
        </p:nvGrpSpPr>
        <p:grpSpPr>
          <a:xfrm>
            <a:off x="6155022" y="4831171"/>
            <a:ext cx="180789" cy="412504"/>
            <a:chOff x="-2986088" y="-171450"/>
            <a:chExt cx="2417763" cy="5516563"/>
          </a:xfrm>
          <a:solidFill>
            <a:sysClr val="window" lastClr="FFFFFF"/>
          </a:solidFill>
        </p:grpSpPr>
        <p:sp>
          <p:nvSpPr>
            <p:cNvPr id="212" name="Freeform 5">
              <a:extLst>
                <a:ext uri="{FF2B5EF4-FFF2-40B4-BE49-F238E27FC236}">
                  <a16:creationId xmlns:a16="http://schemas.microsoft.com/office/drawing/2014/main" id="{E8986628-D6A1-4DFB-8AE3-00BAFC5C4777}"/>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13" name="Freeform 6">
              <a:extLst>
                <a:ext uri="{FF2B5EF4-FFF2-40B4-BE49-F238E27FC236}">
                  <a16:creationId xmlns:a16="http://schemas.microsoft.com/office/drawing/2014/main" id="{5F75FAF8-300F-4CAA-B6EC-494DF6661F43}"/>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83" name="Group 182">
            <a:extLst>
              <a:ext uri="{FF2B5EF4-FFF2-40B4-BE49-F238E27FC236}">
                <a16:creationId xmlns:a16="http://schemas.microsoft.com/office/drawing/2014/main" id="{92D50607-865A-4FF7-AA09-E442CD76D070}"/>
              </a:ext>
            </a:extLst>
          </p:cNvPr>
          <p:cNvGrpSpPr/>
          <p:nvPr/>
        </p:nvGrpSpPr>
        <p:grpSpPr>
          <a:xfrm>
            <a:off x="6334514" y="4831171"/>
            <a:ext cx="180789" cy="412504"/>
            <a:chOff x="-2986088" y="-171450"/>
            <a:chExt cx="2417763" cy="5516563"/>
          </a:xfrm>
          <a:solidFill>
            <a:sysClr val="window" lastClr="FFFFFF"/>
          </a:solidFill>
        </p:grpSpPr>
        <p:sp>
          <p:nvSpPr>
            <p:cNvPr id="210" name="Freeform 5">
              <a:extLst>
                <a:ext uri="{FF2B5EF4-FFF2-40B4-BE49-F238E27FC236}">
                  <a16:creationId xmlns:a16="http://schemas.microsoft.com/office/drawing/2014/main" id="{674D0A7D-9664-44FC-A782-BD4FDE65C92B}"/>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11" name="Freeform 6">
              <a:extLst>
                <a:ext uri="{FF2B5EF4-FFF2-40B4-BE49-F238E27FC236}">
                  <a16:creationId xmlns:a16="http://schemas.microsoft.com/office/drawing/2014/main" id="{47A47A63-573F-49FA-9579-ABE6B85825B6}"/>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84" name="Group 183">
            <a:extLst>
              <a:ext uri="{FF2B5EF4-FFF2-40B4-BE49-F238E27FC236}">
                <a16:creationId xmlns:a16="http://schemas.microsoft.com/office/drawing/2014/main" id="{B20F9CFA-5048-42FA-A175-0F99E00FE479}"/>
              </a:ext>
            </a:extLst>
          </p:cNvPr>
          <p:cNvGrpSpPr/>
          <p:nvPr/>
        </p:nvGrpSpPr>
        <p:grpSpPr>
          <a:xfrm>
            <a:off x="6693498" y="4831171"/>
            <a:ext cx="180789" cy="412504"/>
            <a:chOff x="-2986088" y="-171450"/>
            <a:chExt cx="2417763" cy="5516563"/>
          </a:xfrm>
          <a:solidFill>
            <a:srgbClr val="9BBB59">
              <a:lumMod val="75000"/>
            </a:srgbClr>
          </a:solidFill>
        </p:grpSpPr>
        <p:sp>
          <p:nvSpPr>
            <p:cNvPr id="208" name="Freeform 5">
              <a:extLst>
                <a:ext uri="{FF2B5EF4-FFF2-40B4-BE49-F238E27FC236}">
                  <a16:creationId xmlns:a16="http://schemas.microsoft.com/office/drawing/2014/main" id="{25D62ED4-B62C-498D-8BEF-CA5CA60A0A7C}"/>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9" name="Freeform 6">
              <a:extLst>
                <a:ext uri="{FF2B5EF4-FFF2-40B4-BE49-F238E27FC236}">
                  <a16:creationId xmlns:a16="http://schemas.microsoft.com/office/drawing/2014/main" id="{9CDFE748-DB54-47B2-B8B0-66A965141500}"/>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85" name="Group 184">
            <a:extLst>
              <a:ext uri="{FF2B5EF4-FFF2-40B4-BE49-F238E27FC236}">
                <a16:creationId xmlns:a16="http://schemas.microsoft.com/office/drawing/2014/main" id="{C14389DC-8309-48B3-8BE6-49AAF3121EA8}"/>
              </a:ext>
            </a:extLst>
          </p:cNvPr>
          <p:cNvGrpSpPr/>
          <p:nvPr/>
        </p:nvGrpSpPr>
        <p:grpSpPr>
          <a:xfrm>
            <a:off x="6872990" y="4831171"/>
            <a:ext cx="180789" cy="412504"/>
            <a:chOff x="-2986088" y="-171450"/>
            <a:chExt cx="2417763" cy="5516563"/>
          </a:xfrm>
          <a:solidFill>
            <a:schemeClr val="accent2"/>
          </a:solidFill>
        </p:grpSpPr>
        <p:sp>
          <p:nvSpPr>
            <p:cNvPr id="206" name="Freeform 5">
              <a:extLst>
                <a:ext uri="{FF2B5EF4-FFF2-40B4-BE49-F238E27FC236}">
                  <a16:creationId xmlns:a16="http://schemas.microsoft.com/office/drawing/2014/main" id="{1FD3A11A-6606-47FC-B1C6-03F0E6934144}"/>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7" name="Freeform 6">
              <a:extLst>
                <a:ext uri="{FF2B5EF4-FFF2-40B4-BE49-F238E27FC236}">
                  <a16:creationId xmlns:a16="http://schemas.microsoft.com/office/drawing/2014/main" id="{4677DBFA-A5C8-4566-B947-B2C2151EF162}"/>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86" name="Group 185">
            <a:extLst>
              <a:ext uri="{FF2B5EF4-FFF2-40B4-BE49-F238E27FC236}">
                <a16:creationId xmlns:a16="http://schemas.microsoft.com/office/drawing/2014/main" id="{5C0F212E-DFD4-41A9-86CB-167740E34FE8}"/>
              </a:ext>
            </a:extLst>
          </p:cNvPr>
          <p:cNvGrpSpPr/>
          <p:nvPr/>
        </p:nvGrpSpPr>
        <p:grpSpPr>
          <a:xfrm>
            <a:off x="7052482" y="4831171"/>
            <a:ext cx="180789" cy="412504"/>
            <a:chOff x="-2986088" y="-171450"/>
            <a:chExt cx="2417763" cy="5516563"/>
          </a:xfrm>
          <a:solidFill>
            <a:schemeClr val="accent2"/>
          </a:solidFill>
        </p:grpSpPr>
        <p:sp>
          <p:nvSpPr>
            <p:cNvPr id="204" name="Freeform 5">
              <a:extLst>
                <a:ext uri="{FF2B5EF4-FFF2-40B4-BE49-F238E27FC236}">
                  <a16:creationId xmlns:a16="http://schemas.microsoft.com/office/drawing/2014/main" id="{A98ABB55-4456-4F75-B7BE-9D3E5E1E9ADA}"/>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5" name="Freeform 6">
              <a:extLst>
                <a:ext uri="{FF2B5EF4-FFF2-40B4-BE49-F238E27FC236}">
                  <a16:creationId xmlns:a16="http://schemas.microsoft.com/office/drawing/2014/main" id="{64A17650-AB1C-4C3D-B1DC-3472A6164A9F}"/>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87" name="Group 186">
            <a:extLst>
              <a:ext uri="{FF2B5EF4-FFF2-40B4-BE49-F238E27FC236}">
                <a16:creationId xmlns:a16="http://schemas.microsoft.com/office/drawing/2014/main" id="{FBE5910E-8A5D-4B77-AE07-C39979CEE422}"/>
              </a:ext>
            </a:extLst>
          </p:cNvPr>
          <p:cNvGrpSpPr/>
          <p:nvPr/>
        </p:nvGrpSpPr>
        <p:grpSpPr>
          <a:xfrm>
            <a:off x="7231974" y="4831171"/>
            <a:ext cx="180789" cy="412504"/>
            <a:chOff x="-2986088" y="-171450"/>
            <a:chExt cx="2417763" cy="5516563"/>
          </a:xfrm>
          <a:solidFill>
            <a:schemeClr val="accent2"/>
          </a:solidFill>
        </p:grpSpPr>
        <p:sp>
          <p:nvSpPr>
            <p:cNvPr id="202" name="Freeform 5">
              <a:extLst>
                <a:ext uri="{FF2B5EF4-FFF2-40B4-BE49-F238E27FC236}">
                  <a16:creationId xmlns:a16="http://schemas.microsoft.com/office/drawing/2014/main" id="{833C3F2B-F1E5-427A-8C2C-88800B25DD96}"/>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3" name="Freeform 6">
              <a:extLst>
                <a:ext uri="{FF2B5EF4-FFF2-40B4-BE49-F238E27FC236}">
                  <a16:creationId xmlns:a16="http://schemas.microsoft.com/office/drawing/2014/main" id="{6058F4FD-766E-42AC-A6AB-A61A133BD3C4}"/>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88" name="Group 187">
            <a:extLst>
              <a:ext uri="{FF2B5EF4-FFF2-40B4-BE49-F238E27FC236}">
                <a16:creationId xmlns:a16="http://schemas.microsoft.com/office/drawing/2014/main" id="{B27628B9-30A3-4B91-80B4-22D624EEE48D}"/>
              </a:ext>
            </a:extLst>
          </p:cNvPr>
          <p:cNvGrpSpPr/>
          <p:nvPr/>
        </p:nvGrpSpPr>
        <p:grpSpPr>
          <a:xfrm>
            <a:off x="7411466" y="4831171"/>
            <a:ext cx="180789" cy="412504"/>
            <a:chOff x="-2986088" y="-171450"/>
            <a:chExt cx="2417763" cy="5516563"/>
          </a:xfrm>
          <a:solidFill>
            <a:schemeClr val="accent2"/>
          </a:solidFill>
        </p:grpSpPr>
        <p:sp>
          <p:nvSpPr>
            <p:cNvPr id="200" name="Freeform 5">
              <a:extLst>
                <a:ext uri="{FF2B5EF4-FFF2-40B4-BE49-F238E27FC236}">
                  <a16:creationId xmlns:a16="http://schemas.microsoft.com/office/drawing/2014/main" id="{E3100EC7-1CED-4C75-8292-7D5C8BC915C9}"/>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1" name="Freeform 6">
              <a:extLst>
                <a:ext uri="{FF2B5EF4-FFF2-40B4-BE49-F238E27FC236}">
                  <a16:creationId xmlns:a16="http://schemas.microsoft.com/office/drawing/2014/main" id="{7B363DAF-DF9E-477B-BF2E-E03CF7F49958}"/>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89" name="Group 188">
            <a:extLst>
              <a:ext uri="{FF2B5EF4-FFF2-40B4-BE49-F238E27FC236}">
                <a16:creationId xmlns:a16="http://schemas.microsoft.com/office/drawing/2014/main" id="{7A784378-9127-491C-9D33-DF29B0CB6E7D}"/>
              </a:ext>
            </a:extLst>
          </p:cNvPr>
          <p:cNvGrpSpPr/>
          <p:nvPr/>
        </p:nvGrpSpPr>
        <p:grpSpPr>
          <a:xfrm>
            <a:off x="7590958" y="4831171"/>
            <a:ext cx="180789" cy="412504"/>
            <a:chOff x="-2986088" y="-171450"/>
            <a:chExt cx="2417763" cy="5516563"/>
          </a:xfrm>
          <a:solidFill>
            <a:schemeClr val="accent2"/>
          </a:solidFill>
        </p:grpSpPr>
        <p:sp>
          <p:nvSpPr>
            <p:cNvPr id="198" name="Freeform 5">
              <a:extLst>
                <a:ext uri="{FF2B5EF4-FFF2-40B4-BE49-F238E27FC236}">
                  <a16:creationId xmlns:a16="http://schemas.microsoft.com/office/drawing/2014/main" id="{9AC4B269-C1F6-4F69-993E-9CEF3DACE1DF}"/>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99" name="Freeform 6">
              <a:extLst>
                <a:ext uri="{FF2B5EF4-FFF2-40B4-BE49-F238E27FC236}">
                  <a16:creationId xmlns:a16="http://schemas.microsoft.com/office/drawing/2014/main" id="{377C9E09-D6C9-4AAF-9C05-02FBAC0CBA91}"/>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90" name="Group 189">
            <a:extLst>
              <a:ext uri="{FF2B5EF4-FFF2-40B4-BE49-F238E27FC236}">
                <a16:creationId xmlns:a16="http://schemas.microsoft.com/office/drawing/2014/main" id="{010945A3-288B-4A83-BB8D-1BBFE29ADD93}"/>
              </a:ext>
            </a:extLst>
          </p:cNvPr>
          <p:cNvGrpSpPr/>
          <p:nvPr/>
        </p:nvGrpSpPr>
        <p:grpSpPr>
          <a:xfrm>
            <a:off x="7770452" y="4831171"/>
            <a:ext cx="180789" cy="412504"/>
            <a:chOff x="-2986088" y="-171450"/>
            <a:chExt cx="2417763" cy="5516563"/>
          </a:xfrm>
          <a:solidFill>
            <a:schemeClr val="accent2"/>
          </a:solidFill>
        </p:grpSpPr>
        <p:sp>
          <p:nvSpPr>
            <p:cNvPr id="196" name="Freeform 5">
              <a:extLst>
                <a:ext uri="{FF2B5EF4-FFF2-40B4-BE49-F238E27FC236}">
                  <a16:creationId xmlns:a16="http://schemas.microsoft.com/office/drawing/2014/main" id="{36A219C6-A8E0-42A4-A32E-DB02FFCBE6A7}"/>
                </a:ext>
              </a:extLst>
            </p:cNvPr>
            <p:cNvSpPr>
              <a:spLocks noEditPoints="1"/>
            </p:cNvSpPr>
            <p:nvPr/>
          </p:nvSpPr>
          <p:spPr bwMode="auto">
            <a:xfrm>
              <a:off x="-2247900" y="-171450"/>
              <a:ext cx="919163" cy="914400"/>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97" name="Freeform 6">
              <a:extLst>
                <a:ext uri="{FF2B5EF4-FFF2-40B4-BE49-F238E27FC236}">
                  <a16:creationId xmlns:a16="http://schemas.microsoft.com/office/drawing/2014/main" id="{178E450F-CC52-436A-AF2B-FBDE736DB357}"/>
                </a:ext>
              </a:extLst>
            </p:cNvPr>
            <p:cNvSpPr>
              <a:spLocks noEditPoints="1"/>
            </p:cNvSpPr>
            <p:nvPr/>
          </p:nvSpPr>
          <p:spPr bwMode="auto">
            <a:xfrm>
              <a:off x="-2986088" y="936625"/>
              <a:ext cx="2417763" cy="4408488"/>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pic>
        <p:nvPicPr>
          <p:cNvPr id="191" name="Picture 190">
            <a:extLst>
              <a:ext uri="{FF2B5EF4-FFF2-40B4-BE49-F238E27FC236}">
                <a16:creationId xmlns:a16="http://schemas.microsoft.com/office/drawing/2014/main" id="{25DBB1B4-5916-417D-BC13-43686712816D}"/>
              </a:ext>
            </a:extLst>
          </p:cNvPr>
          <p:cNvPicPr>
            <a:picLocks noChangeAspect="1"/>
          </p:cNvPicPr>
          <p:nvPr/>
        </p:nvPicPr>
        <p:blipFill rotWithShape="1">
          <a:blip r:embed="rId4"/>
          <a:srcRect l="169" t="88635" r="-3"/>
          <a:stretch/>
        </p:blipFill>
        <p:spPr>
          <a:xfrm>
            <a:off x="6695399" y="5188523"/>
            <a:ext cx="176505" cy="46420"/>
          </a:xfrm>
          <a:prstGeom prst="rect">
            <a:avLst/>
          </a:prstGeom>
        </p:spPr>
      </p:pic>
      <p:pic>
        <p:nvPicPr>
          <p:cNvPr id="192" name="Picture 191">
            <a:extLst>
              <a:ext uri="{FF2B5EF4-FFF2-40B4-BE49-F238E27FC236}">
                <a16:creationId xmlns:a16="http://schemas.microsoft.com/office/drawing/2014/main" id="{B809DF8E-D204-4045-BF6F-9E0A7D70D849}"/>
              </a:ext>
            </a:extLst>
          </p:cNvPr>
          <p:cNvPicPr>
            <a:picLocks noChangeAspect="1"/>
          </p:cNvPicPr>
          <p:nvPr/>
        </p:nvPicPr>
        <p:blipFill rotWithShape="1">
          <a:blip r:embed="rId4"/>
          <a:srcRect l="8082" t="70987" r="-7" b="-1"/>
          <a:stretch/>
        </p:blipFill>
        <p:spPr>
          <a:xfrm>
            <a:off x="6351000" y="4367095"/>
            <a:ext cx="162510" cy="118508"/>
          </a:xfrm>
          <a:prstGeom prst="rect">
            <a:avLst/>
          </a:prstGeom>
        </p:spPr>
      </p:pic>
      <p:grpSp>
        <p:nvGrpSpPr>
          <p:cNvPr id="193" name="Group 192">
            <a:extLst>
              <a:ext uri="{FF2B5EF4-FFF2-40B4-BE49-F238E27FC236}">
                <a16:creationId xmlns:a16="http://schemas.microsoft.com/office/drawing/2014/main" id="{893D17F5-9A41-45CE-8669-237F18B0C939}"/>
              </a:ext>
            </a:extLst>
          </p:cNvPr>
          <p:cNvGrpSpPr/>
          <p:nvPr/>
        </p:nvGrpSpPr>
        <p:grpSpPr>
          <a:xfrm>
            <a:off x="6514006" y="4831171"/>
            <a:ext cx="180789" cy="412504"/>
            <a:chOff x="-2986088" y="-171450"/>
            <a:chExt cx="2417763" cy="5516563"/>
          </a:xfrm>
          <a:solidFill>
            <a:sysClr val="window" lastClr="FFFFFF"/>
          </a:solidFill>
        </p:grpSpPr>
        <p:sp>
          <p:nvSpPr>
            <p:cNvPr id="194" name="Freeform 5">
              <a:extLst>
                <a:ext uri="{FF2B5EF4-FFF2-40B4-BE49-F238E27FC236}">
                  <a16:creationId xmlns:a16="http://schemas.microsoft.com/office/drawing/2014/main" id="{582CC969-257A-48F3-ABB3-1133CCF66ECD}"/>
                </a:ext>
              </a:extLst>
            </p:cNvPr>
            <p:cNvSpPr>
              <a:spLocks noEditPoints="1"/>
            </p:cNvSpPr>
            <p:nvPr/>
          </p:nvSpPr>
          <p:spPr bwMode="auto">
            <a:xfrm>
              <a:off x="-2247903" y="-171450"/>
              <a:ext cx="919167" cy="914403"/>
            </a:xfrm>
            <a:custGeom>
              <a:avLst/>
              <a:gdLst>
                <a:gd name="T0" fmla="*/ 302 w 302"/>
                <a:gd name="T1" fmla="*/ 151 h 301"/>
                <a:gd name="T2" fmla="*/ 151 w 302"/>
                <a:gd name="T3" fmla="*/ 301 h 301"/>
                <a:gd name="T4" fmla="*/ 0 w 302"/>
                <a:gd name="T5" fmla="*/ 151 h 301"/>
                <a:gd name="T6" fmla="*/ 151 w 302"/>
                <a:gd name="T7" fmla="*/ 0 h 301"/>
                <a:gd name="T8" fmla="*/ 302 w 302"/>
                <a:gd name="T9" fmla="*/ 151 h 301"/>
                <a:gd name="T10" fmla="*/ 302 w 302"/>
                <a:gd name="T11" fmla="*/ 151 h 301"/>
                <a:gd name="T12" fmla="*/ 302 w 302"/>
                <a:gd name="T13" fmla="*/ 151 h 301"/>
              </a:gdLst>
              <a:ahLst/>
              <a:cxnLst>
                <a:cxn ang="0">
                  <a:pos x="T0" y="T1"/>
                </a:cxn>
                <a:cxn ang="0">
                  <a:pos x="T2" y="T3"/>
                </a:cxn>
                <a:cxn ang="0">
                  <a:pos x="T4" y="T5"/>
                </a:cxn>
                <a:cxn ang="0">
                  <a:pos x="T6" y="T7"/>
                </a:cxn>
                <a:cxn ang="0">
                  <a:pos x="T8" y="T9"/>
                </a:cxn>
                <a:cxn ang="0">
                  <a:pos x="T10" y="T11"/>
                </a:cxn>
                <a:cxn ang="0">
                  <a:pos x="T12" y="T13"/>
                </a:cxn>
              </a:cxnLst>
              <a:rect l="0" t="0" r="r" b="b"/>
              <a:pathLst>
                <a:path w="302" h="301">
                  <a:moveTo>
                    <a:pt x="302" y="151"/>
                  </a:moveTo>
                  <a:cubicBezTo>
                    <a:pt x="302" y="234"/>
                    <a:pt x="234" y="301"/>
                    <a:pt x="151" y="301"/>
                  </a:cubicBezTo>
                  <a:cubicBezTo>
                    <a:pt x="68" y="301"/>
                    <a:pt x="0" y="234"/>
                    <a:pt x="0" y="151"/>
                  </a:cubicBezTo>
                  <a:cubicBezTo>
                    <a:pt x="0" y="67"/>
                    <a:pt x="68" y="0"/>
                    <a:pt x="151" y="0"/>
                  </a:cubicBezTo>
                  <a:cubicBezTo>
                    <a:pt x="234" y="0"/>
                    <a:pt x="302" y="67"/>
                    <a:pt x="302" y="151"/>
                  </a:cubicBezTo>
                  <a:close/>
                  <a:moveTo>
                    <a:pt x="302" y="151"/>
                  </a:moveTo>
                  <a:cubicBezTo>
                    <a:pt x="302" y="151"/>
                    <a:pt x="302" y="151"/>
                    <a:pt x="302"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95" name="Freeform 6">
              <a:extLst>
                <a:ext uri="{FF2B5EF4-FFF2-40B4-BE49-F238E27FC236}">
                  <a16:creationId xmlns:a16="http://schemas.microsoft.com/office/drawing/2014/main" id="{FC811D80-DE6F-48E2-813E-1EF083D2454C}"/>
                </a:ext>
              </a:extLst>
            </p:cNvPr>
            <p:cNvSpPr>
              <a:spLocks noEditPoints="1"/>
            </p:cNvSpPr>
            <p:nvPr/>
          </p:nvSpPr>
          <p:spPr bwMode="auto">
            <a:xfrm>
              <a:off x="-2986088" y="936626"/>
              <a:ext cx="2417763" cy="4408487"/>
            </a:xfrm>
            <a:custGeom>
              <a:avLst/>
              <a:gdLst>
                <a:gd name="T0" fmla="*/ 447 w 795"/>
                <a:gd name="T1" fmla="*/ 8 h 1452"/>
                <a:gd name="T2" fmla="*/ 331 w 795"/>
                <a:gd name="T3" fmla="*/ 9 h 1452"/>
                <a:gd name="T4" fmla="*/ 23 w 795"/>
                <a:gd name="T5" fmla="*/ 549 h 1452"/>
                <a:gd name="T6" fmla="*/ 173 w 795"/>
                <a:gd name="T7" fmla="*/ 549 h 1452"/>
                <a:gd name="T8" fmla="*/ 211 w 795"/>
                <a:gd name="T9" fmla="*/ 261 h 1452"/>
                <a:gd name="T10" fmla="*/ 211 w 795"/>
                <a:gd name="T11" fmla="*/ 576 h 1452"/>
                <a:gd name="T12" fmla="*/ 212 w 795"/>
                <a:gd name="T13" fmla="*/ 587 h 1452"/>
                <a:gd name="T14" fmla="*/ 211 w 795"/>
                <a:gd name="T15" fmla="*/ 592 h 1452"/>
                <a:gd name="T16" fmla="*/ 200 w 795"/>
                <a:gd name="T17" fmla="*/ 1341 h 1452"/>
                <a:gd name="T18" fmla="*/ 373 w 795"/>
                <a:gd name="T19" fmla="*/ 1341 h 1452"/>
                <a:gd name="T20" fmla="*/ 383 w 795"/>
                <a:gd name="T21" fmla="*/ 754 h 1452"/>
                <a:gd name="T22" fmla="*/ 408 w 795"/>
                <a:gd name="T23" fmla="*/ 754 h 1452"/>
                <a:gd name="T24" fmla="*/ 418 w 795"/>
                <a:gd name="T25" fmla="*/ 1341 h 1452"/>
                <a:gd name="T26" fmla="*/ 590 w 795"/>
                <a:gd name="T27" fmla="*/ 1341 h 1452"/>
                <a:gd name="T28" fmla="*/ 580 w 795"/>
                <a:gd name="T29" fmla="*/ 592 h 1452"/>
                <a:gd name="T30" fmla="*/ 577 w 795"/>
                <a:gd name="T31" fmla="*/ 570 h 1452"/>
                <a:gd name="T32" fmla="*/ 574 w 795"/>
                <a:gd name="T33" fmla="*/ 245 h 1452"/>
                <a:gd name="T34" fmla="*/ 621 w 795"/>
                <a:gd name="T35" fmla="*/ 549 h 1452"/>
                <a:gd name="T36" fmla="*/ 771 w 795"/>
                <a:gd name="T37" fmla="*/ 549 h 1452"/>
                <a:gd name="T38" fmla="*/ 447 w 795"/>
                <a:gd name="T39" fmla="*/ 8 h 1452"/>
                <a:gd name="T40" fmla="*/ 447 w 795"/>
                <a:gd name="T41" fmla="*/ 8 h 1452"/>
                <a:gd name="T42" fmla="*/ 447 w 795"/>
                <a:gd name="T43" fmla="*/ 8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5" h="1452">
                  <a:moveTo>
                    <a:pt x="447" y="8"/>
                  </a:moveTo>
                  <a:cubicBezTo>
                    <a:pt x="409" y="0"/>
                    <a:pt x="368" y="1"/>
                    <a:pt x="331" y="9"/>
                  </a:cubicBezTo>
                  <a:cubicBezTo>
                    <a:pt x="81" y="39"/>
                    <a:pt x="0" y="329"/>
                    <a:pt x="23" y="549"/>
                  </a:cubicBezTo>
                  <a:cubicBezTo>
                    <a:pt x="33" y="645"/>
                    <a:pt x="183" y="646"/>
                    <a:pt x="173" y="549"/>
                  </a:cubicBezTo>
                  <a:cubicBezTo>
                    <a:pt x="165" y="469"/>
                    <a:pt x="168" y="348"/>
                    <a:pt x="211" y="261"/>
                  </a:cubicBezTo>
                  <a:cubicBezTo>
                    <a:pt x="211" y="576"/>
                    <a:pt x="211" y="576"/>
                    <a:pt x="211" y="576"/>
                  </a:cubicBezTo>
                  <a:cubicBezTo>
                    <a:pt x="211" y="580"/>
                    <a:pt x="211" y="583"/>
                    <a:pt x="212" y="587"/>
                  </a:cubicBezTo>
                  <a:cubicBezTo>
                    <a:pt x="212" y="588"/>
                    <a:pt x="211" y="590"/>
                    <a:pt x="211" y="592"/>
                  </a:cubicBezTo>
                  <a:cubicBezTo>
                    <a:pt x="211" y="842"/>
                    <a:pt x="211" y="1091"/>
                    <a:pt x="200" y="1341"/>
                  </a:cubicBezTo>
                  <a:cubicBezTo>
                    <a:pt x="196" y="1452"/>
                    <a:pt x="368" y="1452"/>
                    <a:pt x="373" y="1341"/>
                  </a:cubicBezTo>
                  <a:cubicBezTo>
                    <a:pt x="381" y="1145"/>
                    <a:pt x="383" y="950"/>
                    <a:pt x="383" y="754"/>
                  </a:cubicBezTo>
                  <a:cubicBezTo>
                    <a:pt x="391" y="754"/>
                    <a:pt x="399" y="754"/>
                    <a:pt x="408" y="754"/>
                  </a:cubicBezTo>
                  <a:cubicBezTo>
                    <a:pt x="408" y="950"/>
                    <a:pt x="410" y="1145"/>
                    <a:pt x="418" y="1341"/>
                  </a:cubicBezTo>
                  <a:cubicBezTo>
                    <a:pt x="423" y="1452"/>
                    <a:pt x="595" y="1452"/>
                    <a:pt x="590" y="1341"/>
                  </a:cubicBezTo>
                  <a:cubicBezTo>
                    <a:pt x="580" y="1091"/>
                    <a:pt x="580" y="842"/>
                    <a:pt x="580" y="592"/>
                  </a:cubicBezTo>
                  <a:cubicBezTo>
                    <a:pt x="580" y="584"/>
                    <a:pt x="578" y="577"/>
                    <a:pt x="577" y="570"/>
                  </a:cubicBezTo>
                  <a:cubicBezTo>
                    <a:pt x="577" y="462"/>
                    <a:pt x="573" y="353"/>
                    <a:pt x="574" y="245"/>
                  </a:cubicBezTo>
                  <a:cubicBezTo>
                    <a:pt x="625" y="331"/>
                    <a:pt x="630" y="464"/>
                    <a:pt x="621" y="549"/>
                  </a:cubicBezTo>
                  <a:cubicBezTo>
                    <a:pt x="611" y="646"/>
                    <a:pt x="761" y="645"/>
                    <a:pt x="771" y="549"/>
                  </a:cubicBezTo>
                  <a:cubicBezTo>
                    <a:pt x="795" y="324"/>
                    <a:pt x="710" y="27"/>
                    <a:pt x="447" y="8"/>
                  </a:cubicBezTo>
                  <a:close/>
                  <a:moveTo>
                    <a:pt x="447" y="8"/>
                  </a:moveTo>
                  <a:cubicBezTo>
                    <a:pt x="447" y="8"/>
                    <a:pt x="447" y="8"/>
                    <a:pt x="447"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3" name="Group 12">
            <a:extLst>
              <a:ext uri="{FF2B5EF4-FFF2-40B4-BE49-F238E27FC236}">
                <a16:creationId xmlns:a16="http://schemas.microsoft.com/office/drawing/2014/main" id="{A1FDC52D-3191-4905-869E-40BDF1579A4F}"/>
              </a:ext>
            </a:extLst>
          </p:cNvPr>
          <p:cNvGrpSpPr/>
          <p:nvPr/>
        </p:nvGrpSpPr>
        <p:grpSpPr>
          <a:xfrm>
            <a:off x="705906" y="4533844"/>
            <a:ext cx="289776" cy="333597"/>
            <a:chOff x="2221706" y="5432425"/>
            <a:chExt cx="312738" cy="341071"/>
          </a:xfrm>
        </p:grpSpPr>
        <p:sp>
          <p:nvSpPr>
            <p:cNvPr id="12" name="Rectangle: Rounded Corners 11">
              <a:extLst>
                <a:ext uri="{FF2B5EF4-FFF2-40B4-BE49-F238E27FC236}">
                  <a16:creationId xmlns:a16="http://schemas.microsoft.com/office/drawing/2014/main" id="{14B206A2-8AA8-4DDD-843C-571514986654}"/>
                </a:ext>
              </a:extLst>
            </p:cNvPr>
            <p:cNvSpPr/>
            <p:nvPr/>
          </p:nvSpPr>
          <p:spPr>
            <a:xfrm>
              <a:off x="2221706" y="5432425"/>
              <a:ext cx="312738" cy="341071"/>
            </a:xfrm>
            <a:prstGeom prst="roundRect">
              <a:avLst/>
            </a:prstGeom>
            <a:solidFill>
              <a:schemeClr val="bg1"/>
            </a:solidFill>
            <a:ln>
              <a:solidFill>
                <a:schemeClr val="accent3"/>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 name="Group 4">
              <a:extLst>
                <a:ext uri="{FF2B5EF4-FFF2-40B4-BE49-F238E27FC236}">
                  <a16:creationId xmlns:a16="http://schemas.microsoft.com/office/drawing/2014/main" id="{428873BC-8B9C-48A2-91FB-C8C62D886498}"/>
                </a:ext>
              </a:extLst>
            </p:cNvPr>
            <p:cNvGrpSpPr>
              <a:grpSpLocks noChangeAspect="1"/>
            </p:cNvGrpSpPr>
            <p:nvPr/>
          </p:nvGrpSpPr>
          <p:grpSpPr bwMode="auto">
            <a:xfrm>
              <a:off x="2384425" y="5438775"/>
              <a:ext cx="123825" cy="177800"/>
              <a:chOff x="1502" y="3426"/>
              <a:chExt cx="78" cy="112"/>
            </a:xfrm>
          </p:grpSpPr>
          <p:sp>
            <p:nvSpPr>
              <p:cNvPr id="4" name="Freeform 5">
                <a:extLst>
                  <a:ext uri="{FF2B5EF4-FFF2-40B4-BE49-F238E27FC236}">
                    <a16:creationId xmlns:a16="http://schemas.microsoft.com/office/drawing/2014/main" id="{11FA129D-0C79-4506-95E6-80026D6BC0F0}"/>
                  </a:ext>
                </a:extLst>
              </p:cNvPr>
              <p:cNvSpPr>
                <a:spLocks noEditPoints="1"/>
              </p:cNvSpPr>
              <p:nvPr/>
            </p:nvSpPr>
            <p:spPr bwMode="auto">
              <a:xfrm>
                <a:off x="1535" y="3454"/>
                <a:ext cx="45" cy="84"/>
              </a:xfrm>
              <a:custGeom>
                <a:avLst/>
                <a:gdLst>
                  <a:gd name="T0" fmla="*/ 117 w 450"/>
                  <a:gd name="T1" fmla="*/ 13 h 844"/>
                  <a:gd name="T2" fmla="*/ 78 w 450"/>
                  <a:gd name="T3" fmla="*/ 38 h 844"/>
                  <a:gd name="T4" fmla="*/ 34 w 450"/>
                  <a:gd name="T5" fmla="*/ 89 h 844"/>
                  <a:gd name="T6" fmla="*/ 2 w 450"/>
                  <a:gd name="T7" fmla="*/ 165 h 844"/>
                  <a:gd name="T8" fmla="*/ 9 w 450"/>
                  <a:gd name="T9" fmla="*/ 229 h 844"/>
                  <a:gd name="T10" fmla="*/ 38 w 450"/>
                  <a:gd name="T11" fmla="*/ 265 h 844"/>
                  <a:gd name="T12" fmla="*/ 78 w 450"/>
                  <a:gd name="T13" fmla="*/ 280 h 844"/>
                  <a:gd name="T14" fmla="*/ 124 w 450"/>
                  <a:gd name="T15" fmla="*/ 274 h 844"/>
                  <a:gd name="T16" fmla="*/ 159 w 450"/>
                  <a:gd name="T17" fmla="*/ 255 h 844"/>
                  <a:gd name="T18" fmla="*/ 229 w 450"/>
                  <a:gd name="T19" fmla="*/ 173 h 844"/>
                  <a:gd name="T20" fmla="*/ 253 w 450"/>
                  <a:gd name="T21" fmla="*/ 100 h 844"/>
                  <a:gd name="T22" fmla="*/ 244 w 450"/>
                  <a:gd name="T23" fmla="*/ 50 h 844"/>
                  <a:gd name="T24" fmla="*/ 213 w 450"/>
                  <a:gd name="T25" fmla="*/ 14 h 844"/>
                  <a:gd name="T26" fmla="*/ 166 w 450"/>
                  <a:gd name="T27" fmla="*/ 0 h 844"/>
                  <a:gd name="T28" fmla="*/ 175 w 450"/>
                  <a:gd name="T29" fmla="*/ 424 h 844"/>
                  <a:gd name="T30" fmla="*/ 186 w 450"/>
                  <a:gd name="T31" fmla="*/ 447 h 844"/>
                  <a:gd name="T32" fmla="*/ 210 w 450"/>
                  <a:gd name="T33" fmla="*/ 463 h 844"/>
                  <a:gd name="T34" fmla="*/ 266 w 450"/>
                  <a:gd name="T35" fmla="*/ 462 h 844"/>
                  <a:gd name="T36" fmla="*/ 321 w 450"/>
                  <a:gd name="T37" fmla="*/ 434 h 844"/>
                  <a:gd name="T38" fmla="*/ 358 w 450"/>
                  <a:gd name="T39" fmla="*/ 392 h 844"/>
                  <a:gd name="T40" fmla="*/ 379 w 450"/>
                  <a:gd name="T41" fmla="*/ 337 h 844"/>
                  <a:gd name="T42" fmla="*/ 380 w 450"/>
                  <a:gd name="T43" fmla="*/ 296 h 844"/>
                  <a:gd name="T44" fmla="*/ 366 w 450"/>
                  <a:gd name="T45" fmla="*/ 269 h 844"/>
                  <a:gd name="T46" fmla="*/ 336 w 450"/>
                  <a:gd name="T47" fmla="*/ 254 h 844"/>
                  <a:gd name="T48" fmla="*/ 291 w 450"/>
                  <a:gd name="T49" fmla="*/ 255 h 844"/>
                  <a:gd name="T50" fmla="*/ 227 w 450"/>
                  <a:gd name="T51" fmla="*/ 289 h 844"/>
                  <a:gd name="T52" fmla="*/ 184 w 450"/>
                  <a:gd name="T53" fmla="*/ 348 h 844"/>
                  <a:gd name="T54" fmla="*/ 172 w 450"/>
                  <a:gd name="T55" fmla="*/ 402 h 844"/>
                  <a:gd name="T56" fmla="*/ 357 w 450"/>
                  <a:gd name="T57" fmla="*/ 654 h 844"/>
                  <a:gd name="T58" fmla="*/ 401 w 450"/>
                  <a:gd name="T59" fmla="*/ 634 h 844"/>
                  <a:gd name="T60" fmla="*/ 432 w 450"/>
                  <a:gd name="T61" fmla="*/ 600 h 844"/>
                  <a:gd name="T62" fmla="*/ 449 w 450"/>
                  <a:gd name="T63" fmla="*/ 561 h 844"/>
                  <a:gd name="T64" fmla="*/ 441 w 450"/>
                  <a:gd name="T65" fmla="*/ 526 h 844"/>
                  <a:gd name="T66" fmla="*/ 414 w 450"/>
                  <a:gd name="T67" fmla="*/ 504 h 844"/>
                  <a:gd name="T68" fmla="*/ 380 w 450"/>
                  <a:gd name="T69" fmla="*/ 501 h 844"/>
                  <a:gd name="T70" fmla="*/ 307 w 450"/>
                  <a:gd name="T71" fmla="*/ 533 h 844"/>
                  <a:gd name="T72" fmla="*/ 272 w 450"/>
                  <a:gd name="T73" fmla="*/ 581 h 844"/>
                  <a:gd name="T74" fmla="*/ 268 w 450"/>
                  <a:gd name="T75" fmla="*/ 623 h 844"/>
                  <a:gd name="T76" fmla="*/ 285 w 450"/>
                  <a:gd name="T77" fmla="*/ 652 h 844"/>
                  <a:gd name="T78" fmla="*/ 312 w 450"/>
                  <a:gd name="T79" fmla="*/ 661 h 844"/>
                  <a:gd name="T80" fmla="*/ 347 w 450"/>
                  <a:gd name="T81" fmla="*/ 839 h 844"/>
                  <a:gd name="T82" fmla="*/ 402 w 450"/>
                  <a:gd name="T83" fmla="*/ 805 h 844"/>
                  <a:gd name="T84" fmla="*/ 419 w 450"/>
                  <a:gd name="T85" fmla="*/ 777 h 844"/>
                  <a:gd name="T86" fmla="*/ 415 w 450"/>
                  <a:gd name="T87" fmla="*/ 732 h 844"/>
                  <a:gd name="T88" fmla="*/ 386 w 450"/>
                  <a:gd name="T89" fmla="*/ 714 h 844"/>
                  <a:gd name="T90" fmla="*/ 344 w 450"/>
                  <a:gd name="T91" fmla="*/ 715 h 844"/>
                  <a:gd name="T92" fmla="*/ 305 w 450"/>
                  <a:gd name="T93" fmla="*/ 732 h 844"/>
                  <a:gd name="T94" fmla="*/ 276 w 450"/>
                  <a:gd name="T95" fmla="*/ 764 h 844"/>
                  <a:gd name="T96" fmla="*/ 267 w 450"/>
                  <a:gd name="T97" fmla="*/ 794 h 844"/>
                  <a:gd name="T98" fmla="*/ 275 w 450"/>
                  <a:gd name="T99" fmla="*/ 825 h 844"/>
                  <a:gd name="T100" fmla="*/ 301 w 450"/>
                  <a:gd name="T101" fmla="*/ 842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0" h="844">
                    <a:moveTo>
                      <a:pt x="166" y="0"/>
                    </a:moveTo>
                    <a:lnTo>
                      <a:pt x="166" y="0"/>
                    </a:lnTo>
                    <a:lnTo>
                      <a:pt x="141" y="6"/>
                    </a:lnTo>
                    <a:lnTo>
                      <a:pt x="129" y="9"/>
                    </a:lnTo>
                    <a:lnTo>
                      <a:pt x="117" y="13"/>
                    </a:lnTo>
                    <a:lnTo>
                      <a:pt x="117" y="13"/>
                    </a:lnTo>
                    <a:lnTo>
                      <a:pt x="107" y="19"/>
                    </a:lnTo>
                    <a:lnTo>
                      <a:pt x="96" y="25"/>
                    </a:lnTo>
                    <a:lnTo>
                      <a:pt x="87" y="31"/>
                    </a:lnTo>
                    <a:lnTo>
                      <a:pt x="78" y="38"/>
                    </a:lnTo>
                    <a:lnTo>
                      <a:pt x="69" y="46"/>
                    </a:lnTo>
                    <a:lnTo>
                      <a:pt x="61" y="54"/>
                    </a:lnTo>
                    <a:lnTo>
                      <a:pt x="54" y="62"/>
                    </a:lnTo>
                    <a:lnTo>
                      <a:pt x="47" y="71"/>
                    </a:lnTo>
                    <a:lnTo>
                      <a:pt x="34" y="89"/>
                    </a:lnTo>
                    <a:lnTo>
                      <a:pt x="23" y="109"/>
                    </a:lnTo>
                    <a:lnTo>
                      <a:pt x="14" y="130"/>
                    </a:lnTo>
                    <a:lnTo>
                      <a:pt x="6" y="152"/>
                    </a:lnTo>
                    <a:lnTo>
                      <a:pt x="6" y="152"/>
                    </a:lnTo>
                    <a:lnTo>
                      <a:pt x="2" y="165"/>
                    </a:lnTo>
                    <a:lnTo>
                      <a:pt x="0" y="178"/>
                    </a:lnTo>
                    <a:lnTo>
                      <a:pt x="0" y="191"/>
                    </a:lnTo>
                    <a:lnTo>
                      <a:pt x="1" y="204"/>
                    </a:lnTo>
                    <a:lnTo>
                      <a:pt x="4" y="217"/>
                    </a:lnTo>
                    <a:lnTo>
                      <a:pt x="9" y="229"/>
                    </a:lnTo>
                    <a:lnTo>
                      <a:pt x="15" y="241"/>
                    </a:lnTo>
                    <a:lnTo>
                      <a:pt x="24" y="253"/>
                    </a:lnTo>
                    <a:lnTo>
                      <a:pt x="24" y="253"/>
                    </a:lnTo>
                    <a:lnTo>
                      <a:pt x="31" y="259"/>
                    </a:lnTo>
                    <a:lnTo>
                      <a:pt x="38" y="265"/>
                    </a:lnTo>
                    <a:lnTo>
                      <a:pt x="45" y="270"/>
                    </a:lnTo>
                    <a:lnTo>
                      <a:pt x="53" y="274"/>
                    </a:lnTo>
                    <a:lnTo>
                      <a:pt x="61" y="277"/>
                    </a:lnTo>
                    <a:lnTo>
                      <a:pt x="70" y="279"/>
                    </a:lnTo>
                    <a:lnTo>
                      <a:pt x="78" y="280"/>
                    </a:lnTo>
                    <a:lnTo>
                      <a:pt x="87" y="281"/>
                    </a:lnTo>
                    <a:lnTo>
                      <a:pt x="96" y="280"/>
                    </a:lnTo>
                    <a:lnTo>
                      <a:pt x="106" y="279"/>
                    </a:lnTo>
                    <a:lnTo>
                      <a:pt x="115" y="277"/>
                    </a:lnTo>
                    <a:lnTo>
                      <a:pt x="124" y="274"/>
                    </a:lnTo>
                    <a:lnTo>
                      <a:pt x="133" y="270"/>
                    </a:lnTo>
                    <a:lnTo>
                      <a:pt x="142" y="266"/>
                    </a:lnTo>
                    <a:lnTo>
                      <a:pt x="151" y="261"/>
                    </a:lnTo>
                    <a:lnTo>
                      <a:pt x="159" y="255"/>
                    </a:lnTo>
                    <a:lnTo>
                      <a:pt x="159" y="255"/>
                    </a:lnTo>
                    <a:lnTo>
                      <a:pt x="177" y="241"/>
                    </a:lnTo>
                    <a:lnTo>
                      <a:pt x="192" y="225"/>
                    </a:lnTo>
                    <a:lnTo>
                      <a:pt x="206" y="209"/>
                    </a:lnTo>
                    <a:lnTo>
                      <a:pt x="218" y="191"/>
                    </a:lnTo>
                    <a:lnTo>
                      <a:pt x="229" y="173"/>
                    </a:lnTo>
                    <a:lnTo>
                      <a:pt x="239" y="153"/>
                    </a:lnTo>
                    <a:lnTo>
                      <a:pt x="246" y="132"/>
                    </a:lnTo>
                    <a:lnTo>
                      <a:pt x="251" y="110"/>
                    </a:lnTo>
                    <a:lnTo>
                      <a:pt x="251" y="110"/>
                    </a:lnTo>
                    <a:lnTo>
                      <a:pt x="253" y="100"/>
                    </a:lnTo>
                    <a:lnTo>
                      <a:pt x="253" y="89"/>
                    </a:lnTo>
                    <a:lnTo>
                      <a:pt x="252" y="79"/>
                    </a:lnTo>
                    <a:lnTo>
                      <a:pt x="251" y="69"/>
                    </a:lnTo>
                    <a:lnTo>
                      <a:pt x="248" y="59"/>
                    </a:lnTo>
                    <a:lnTo>
                      <a:pt x="244" y="50"/>
                    </a:lnTo>
                    <a:lnTo>
                      <a:pt x="240" y="41"/>
                    </a:lnTo>
                    <a:lnTo>
                      <a:pt x="234" y="33"/>
                    </a:lnTo>
                    <a:lnTo>
                      <a:pt x="227" y="26"/>
                    </a:lnTo>
                    <a:lnTo>
                      <a:pt x="220" y="19"/>
                    </a:lnTo>
                    <a:lnTo>
                      <a:pt x="213" y="14"/>
                    </a:lnTo>
                    <a:lnTo>
                      <a:pt x="205" y="9"/>
                    </a:lnTo>
                    <a:lnTo>
                      <a:pt x="196" y="5"/>
                    </a:lnTo>
                    <a:lnTo>
                      <a:pt x="186" y="2"/>
                    </a:lnTo>
                    <a:lnTo>
                      <a:pt x="176" y="1"/>
                    </a:lnTo>
                    <a:lnTo>
                      <a:pt x="166" y="0"/>
                    </a:lnTo>
                    <a:lnTo>
                      <a:pt x="166" y="0"/>
                    </a:lnTo>
                    <a:close/>
                    <a:moveTo>
                      <a:pt x="172" y="402"/>
                    </a:moveTo>
                    <a:lnTo>
                      <a:pt x="172" y="402"/>
                    </a:lnTo>
                    <a:lnTo>
                      <a:pt x="174" y="417"/>
                    </a:lnTo>
                    <a:lnTo>
                      <a:pt x="175" y="424"/>
                    </a:lnTo>
                    <a:lnTo>
                      <a:pt x="177" y="431"/>
                    </a:lnTo>
                    <a:lnTo>
                      <a:pt x="177" y="431"/>
                    </a:lnTo>
                    <a:lnTo>
                      <a:pt x="180" y="437"/>
                    </a:lnTo>
                    <a:lnTo>
                      <a:pt x="183" y="442"/>
                    </a:lnTo>
                    <a:lnTo>
                      <a:pt x="186" y="447"/>
                    </a:lnTo>
                    <a:lnTo>
                      <a:pt x="190" y="451"/>
                    </a:lnTo>
                    <a:lnTo>
                      <a:pt x="195" y="455"/>
                    </a:lnTo>
                    <a:lnTo>
                      <a:pt x="199" y="458"/>
                    </a:lnTo>
                    <a:lnTo>
                      <a:pt x="205" y="461"/>
                    </a:lnTo>
                    <a:lnTo>
                      <a:pt x="210" y="463"/>
                    </a:lnTo>
                    <a:lnTo>
                      <a:pt x="222" y="466"/>
                    </a:lnTo>
                    <a:lnTo>
                      <a:pt x="236" y="467"/>
                    </a:lnTo>
                    <a:lnTo>
                      <a:pt x="251" y="465"/>
                    </a:lnTo>
                    <a:lnTo>
                      <a:pt x="266" y="462"/>
                    </a:lnTo>
                    <a:lnTo>
                      <a:pt x="266" y="462"/>
                    </a:lnTo>
                    <a:lnTo>
                      <a:pt x="278" y="457"/>
                    </a:lnTo>
                    <a:lnTo>
                      <a:pt x="290" y="453"/>
                    </a:lnTo>
                    <a:lnTo>
                      <a:pt x="301" y="447"/>
                    </a:lnTo>
                    <a:lnTo>
                      <a:pt x="311" y="441"/>
                    </a:lnTo>
                    <a:lnTo>
                      <a:pt x="321" y="434"/>
                    </a:lnTo>
                    <a:lnTo>
                      <a:pt x="330" y="427"/>
                    </a:lnTo>
                    <a:lnTo>
                      <a:pt x="338" y="419"/>
                    </a:lnTo>
                    <a:lnTo>
                      <a:pt x="345" y="411"/>
                    </a:lnTo>
                    <a:lnTo>
                      <a:pt x="352" y="402"/>
                    </a:lnTo>
                    <a:lnTo>
                      <a:pt x="358" y="392"/>
                    </a:lnTo>
                    <a:lnTo>
                      <a:pt x="364" y="382"/>
                    </a:lnTo>
                    <a:lnTo>
                      <a:pt x="369" y="371"/>
                    </a:lnTo>
                    <a:lnTo>
                      <a:pt x="373" y="360"/>
                    </a:lnTo>
                    <a:lnTo>
                      <a:pt x="376" y="349"/>
                    </a:lnTo>
                    <a:lnTo>
                      <a:pt x="379" y="337"/>
                    </a:lnTo>
                    <a:lnTo>
                      <a:pt x="381" y="324"/>
                    </a:lnTo>
                    <a:lnTo>
                      <a:pt x="381" y="324"/>
                    </a:lnTo>
                    <a:lnTo>
                      <a:pt x="382" y="310"/>
                    </a:lnTo>
                    <a:lnTo>
                      <a:pt x="381" y="303"/>
                    </a:lnTo>
                    <a:lnTo>
                      <a:pt x="380" y="296"/>
                    </a:lnTo>
                    <a:lnTo>
                      <a:pt x="379" y="290"/>
                    </a:lnTo>
                    <a:lnTo>
                      <a:pt x="376" y="284"/>
                    </a:lnTo>
                    <a:lnTo>
                      <a:pt x="374" y="278"/>
                    </a:lnTo>
                    <a:lnTo>
                      <a:pt x="370" y="273"/>
                    </a:lnTo>
                    <a:lnTo>
                      <a:pt x="366" y="269"/>
                    </a:lnTo>
                    <a:lnTo>
                      <a:pt x="361" y="265"/>
                    </a:lnTo>
                    <a:lnTo>
                      <a:pt x="356" y="261"/>
                    </a:lnTo>
                    <a:lnTo>
                      <a:pt x="350" y="258"/>
                    </a:lnTo>
                    <a:lnTo>
                      <a:pt x="343" y="255"/>
                    </a:lnTo>
                    <a:lnTo>
                      <a:pt x="336" y="254"/>
                    </a:lnTo>
                    <a:lnTo>
                      <a:pt x="328" y="252"/>
                    </a:lnTo>
                    <a:lnTo>
                      <a:pt x="319" y="252"/>
                    </a:lnTo>
                    <a:lnTo>
                      <a:pt x="319" y="252"/>
                    </a:lnTo>
                    <a:lnTo>
                      <a:pt x="305" y="253"/>
                    </a:lnTo>
                    <a:lnTo>
                      <a:pt x="291" y="255"/>
                    </a:lnTo>
                    <a:lnTo>
                      <a:pt x="278" y="259"/>
                    </a:lnTo>
                    <a:lnTo>
                      <a:pt x="264" y="265"/>
                    </a:lnTo>
                    <a:lnTo>
                      <a:pt x="252" y="272"/>
                    </a:lnTo>
                    <a:lnTo>
                      <a:pt x="240" y="280"/>
                    </a:lnTo>
                    <a:lnTo>
                      <a:pt x="227" y="289"/>
                    </a:lnTo>
                    <a:lnTo>
                      <a:pt x="216" y="299"/>
                    </a:lnTo>
                    <a:lnTo>
                      <a:pt x="207" y="311"/>
                    </a:lnTo>
                    <a:lnTo>
                      <a:pt x="198" y="323"/>
                    </a:lnTo>
                    <a:lnTo>
                      <a:pt x="190" y="335"/>
                    </a:lnTo>
                    <a:lnTo>
                      <a:pt x="184" y="348"/>
                    </a:lnTo>
                    <a:lnTo>
                      <a:pt x="179" y="362"/>
                    </a:lnTo>
                    <a:lnTo>
                      <a:pt x="175" y="375"/>
                    </a:lnTo>
                    <a:lnTo>
                      <a:pt x="172" y="389"/>
                    </a:lnTo>
                    <a:lnTo>
                      <a:pt x="172" y="402"/>
                    </a:lnTo>
                    <a:lnTo>
                      <a:pt x="172" y="402"/>
                    </a:lnTo>
                    <a:close/>
                    <a:moveTo>
                      <a:pt x="312" y="661"/>
                    </a:moveTo>
                    <a:lnTo>
                      <a:pt x="312" y="661"/>
                    </a:lnTo>
                    <a:lnTo>
                      <a:pt x="336" y="659"/>
                    </a:lnTo>
                    <a:lnTo>
                      <a:pt x="347" y="657"/>
                    </a:lnTo>
                    <a:lnTo>
                      <a:pt x="357" y="654"/>
                    </a:lnTo>
                    <a:lnTo>
                      <a:pt x="367" y="651"/>
                    </a:lnTo>
                    <a:lnTo>
                      <a:pt x="376" y="648"/>
                    </a:lnTo>
                    <a:lnTo>
                      <a:pt x="385" y="643"/>
                    </a:lnTo>
                    <a:lnTo>
                      <a:pt x="393" y="639"/>
                    </a:lnTo>
                    <a:lnTo>
                      <a:pt x="401" y="634"/>
                    </a:lnTo>
                    <a:lnTo>
                      <a:pt x="408" y="628"/>
                    </a:lnTo>
                    <a:lnTo>
                      <a:pt x="415" y="622"/>
                    </a:lnTo>
                    <a:lnTo>
                      <a:pt x="421" y="615"/>
                    </a:lnTo>
                    <a:lnTo>
                      <a:pt x="427" y="608"/>
                    </a:lnTo>
                    <a:lnTo>
                      <a:pt x="432" y="600"/>
                    </a:lnTo>
                    <a:lnTo>
                      <a:pt x="442" y="583"/>
                    </a:lnTo>
                    <a:lnTo>
                      <a:pt x="442" y="583"/>
                    </a:lnTo>
                    <a:lnTo>
                      <a:pt x="445" y="575"/>
                    </a:lnTo>
                    <a:lnTo>
                      <a:pt x="448" y="568"/>
                    </a:lnTo>
                    <a:lnTo>
                      <a:pt x="449" y="561"/>
                    </a:lnTo>
                    <a:lnTo>
                      <a:pt x="450" y="554"/>
                    </a:lnTo>
                    <a:lnTo>
                      <a:pt x="449" y="546"/>
                    </a:lnTo>
                    <a:lnTo>
                      <a:pt x="448" y="539"/>
                    </a:lnTo>
                    <a:lnTo>
                      <a:pt x="445" y="532"/>
                    </a:lnTo>
                    <a:lnTo>
                      <a:pt x="441" y="526"/>
                    </a:lnTo>
                    <a:lnTo>
                      <a:pt x="441" y="526"/>
                    </a:lnTo>
                    <a:lnTo>
                      <a:pt x="435" y="519"/>
                    </a:lnTo>
                    <a:lnTo>
                      <a:pt x="429" y="513"/>
                    </a:lnTo>
                    <a:lnTo>
                      <a:pt x="422" y="508"/>
                    </a:lnTo>
                    <a:lnTo>
                      <a:pt x="414" y="504"/>
                    </a:lnTo>
                    <a:lnTo>
                      <a:pt x="406" y="502"/>
                    </a:lnTo>
                    <a:lnTo>
                      <a:pt x="398" y="500"/>
                    </a:lnTo>
                    <a:lnTo>
                      <a:pt x="389" y="500"/>
                    </a:lnTo>
                    <a:lnTo>
                      <a:pt x="380" y="501"/>
                    </a:lnTo>
                    <a:lnTo>
                      <a:pt x="380" y="501"/>
                    </a:lnTo>
                    <a:lnTo>
                      <a:pt x="363" y="503"/>
                    </a:lnTo>
                    <a:lnTo>
                      <a:pt x="347" y="508"/>
                    </a:lnTo>
                    <a:lnTo>
                      <a:pt x="333" y="515"/>
                    </a:lnTo>
                    <a:lnTo>
                      <a:pt x="319" y="523"/>
                    </a:lnTo>
                    <a:lnTo>
                      <a:pt x="307" y="533"/>
                    </a:lnTo>
                    <a:lnTo>
                      <a:pt x="295" y="544"/>
                    </a:lnTo>
                    <a:lnTo>
                      <a:pt x="285" y="557"/>
                    </a:lnTo>
                    <a:lnTo>
                      <a:pt x="277" y="572"/>
                    </a:lnTo>
                    <a:lnTo>
                      <a:pt x="277" y="572"/>
                    </a:lnTo>
                    <a:lnTo>
                      <a:pt x="272" y="581"/>
                    </a:lnTo>
                    <a:lnTo>
                      <a:pt x="269" y="591"/>
                    </a:lnTo>
                    <a:lnTo>
                      <a:pt x="267" y="599"/>
                    </a:lnTo>
                    <a:lnTo>
                      <a:pt x="267" y="608"/>
                    </a:lnTo>
                    <a:lnTo>
                      <a:pt x="267" y="616"/>
                    </a:lnTo>
                    <a:lnTo>
                      <a:pt x="268" y="623"/>
                    </a:lnTo>
                    <a:lnTo>
                      <a:pt x="270" y="630"/>
                    </a:lnTo>
                    <a:lnTo>
                      <a:pt x="273" y="637"/>
                    </a:lnTo>
                    <a:lnTo>
                      <a:pt x="277" y="643"/>
                    </a:lnTo>
                    <a:lnTo>
                      <a:pt x="281" y="648"/>
                    </a:lnTo>
                    <a:lnTo>
                      <a:pt x="285" y="652"/>
                    </a:lnTo>
                    <a:lnTo>
                      <a:pt x="290" y="656"/>
                    </a:lnTo>
                    <a:lnTo>
                      <a:pt x="296" y="659"/>
                    </a:lnTo>
                    <a:lnTo>
                      <a:pt x="301" y="661"/>
                    </a:lnTo>
                    <a:lnTo>
                      <a:pt x="307" y="661"/>
                    </a:lnTo>
                    <a:lnTo>
                      <a:pt x="312" y="661"/>
                    </a:lnTo>
                    <a:lnTo>
                      <a:pt x="312" y="661"/>
                    </a:lnTo>
                    <a:close/>
                    <a:moveTo>
                      <a:pt x="317" y="844"/>
                    </a:moveTo>
                    <a:lnTo>
                      <a:pt x="317" y="844"/>
                    </a:lnTo>
                    <a:lnTo>
                      <a:pt x="332" y="843"/>
                    </a:lnTo>
                    <a:lnTo>
                      <a:pt x="347" y="839"/>
                    </a:lnTo>
                    <a:lnTo>
                      <a:pt x="362" y="834"/>
                    </a:lnTo>
                    <a:lnTo>
                      <a:pt x="377" y="826"/>
                    </a:lnTo>
                    <a:lnTo>
                      <a:pt x="391" y="817"/>
                    </a:lnTo>
                    <a:lnTo>
                      <a:pt x="397" y="811"/>
                    </a:lnTo>
                    <a:lnTo>
                      <a:pt x="402" y="805"/>
                    </a:lnTo>
                    <a:lnTo>
                      <a:pt x="408" y="799"/>
                    </a:lnTo>
                    <a:lnTo>
                      <a:pt x="412" y="792"/>
                    </a:lnTo>
                    <a:lnTo>
                      <a:pt x="416" y="785"/>
                    </a:lnTo>
                    <a:lnTo>
                      <a:pt x="419" y="777"/>
                    </a:lnTo>
                    <a:lnTo>
                      <a:pt x="419" y="777"/>
                    </a:lnTo>
                    <a:lnTo>
                      <a:pt x="422" y="767"/>
                    </a:lnTo>
                    <a:lnTo>
                      <a:pt x="422" y="758"/>
                    </a:lnTo>
                    <a:lnTo>
                      <a:pt x="422" y="748"/>
                    </a:lnTo>
                    <a:lnTo>
                      <a:pt x="419" y="740"/>
                    </a:lnTo>
                    <a:lnTo>
                      <a:pt x="415" y="732"/>
                    </a:lnTo>
                    <a:lnTo>
                      <a:pt x="410" y="725"/>
                    </a:lnTo>
                    <a:lnTo>
                      <a:pt x="403" y="720"/>
                    </a:lnTo>
                    <a:lnTo>
                      <a:pt x="395" y="716"/>
                    </a:lnTo>
                    <a:lnTo>
                      <a:pt x="395" y="716"/>
                    </a:lnTo>
                    <a:lnTo>
                      <a:pt x="386" y="714"/>
                    </a:lnTo>
                    <a:lnTo>
                      <a:pt x="377" y="713"/>
                    </a:lnTo>
                    <a:lnTo>
                      <a:pt x="369" y="712"/>
                    </a:lnTo>
                    <a:lnTo>
                      <a:pt x="360" y="712"/>
                    </a:lnTo>
                    <a:lnTo>
                      <a:pt x="352" y="713"/>
                    </a:lnTo>
                    <a:lnTo>
                      <a:pt x="344" y="715"/>
                    </a:lnTo>
                    <a:lnTo>
                      <a:pt x="335" y="717"/>
                    </a:lnTo>
                    <a:lnTo>
                      <a:pt x="327" y="720"/>
                    </a:lnTo>
                    <a:lnTo>
                      <a:pt x="320" y="723"/>
                    </a:lnTo>
                    <a:lnTo>
                      <a:pt x="312" y="727"/>
                    </a:lnTo>
                    <a:lnTo>
                      <a:pt x="305" y="732"/>
                    </a:lnTo>
                    <a:lnTo>
                      <a:pt x="298" y="737"/>
                    </a:lnTo>
                    <a:lnTo>
                      <a:pt x="292" y="743"/>
                    </a:lnTo>
                    <a:lnTo>
                      <a:pt x="286" y="749"/>
                    </a:lnTo>
                    <a:lnTo>
                      <a:pt x="281" y="756"/>
                    </a:lnTo>
                    <a:lnTo>
                      <a:pt x="276" y="764"/>
                    </a:lnTo>
                    <a:lnTo>
                      <a:pt x="276" y="764"/>
                    </a:lnTo>
                    <a:lnTo>
                      <a:pt x="273" y="771"/>
                    </a:lnTo>
                    <a:lnTo>
                      <a:pt x="270" y="779"/>
                    </a:lnTo>
                    <a:lnTo>
                      <a:pt x="268" y="786"/>
                    </a:lnTo>
                    <a:lnTo>
                      <a:pt x="267" y="794"/>
                    </a:lnTo>
                    <a:lnTo>
                      <a:pt x="267" y="800"/>
                    </a:lnTo>
                    <a:lnTo>
                      <a:pt x="267" y="807"/>
                    </a:lnTo>
                    <a:lnTo>
                      <a:pt x="269" y="813"/>
                    </a:lnTo>
                    <a:lnTo>
                      <a:pt x="271" y="819"/>
                    </a:lnTo>
                    <a:lnTo>
                      <a:pt x="275" y="825"/>
                    </a:lnTo>
                    <a:lnTo>
                      <a:pt x="279" y="829"/>
                    </a:lnTo>
                    <a:lnTo>
                      <a:pt x="283" y="834"/>
                    </a:lnTo>
                    <a:lnTo>
                      <a:pt x="289" y="837"/>
                    </a:lnTo>
                    <a:lnTo>
                      <a:pt x="295" y="840"/>
                    </a:lnTo>
                    <a:lnTo>
                      <a:pt x="301" y="842"/>
                    </a:lnTo>
                    <a:lnTo>
                      <a:pt x="309" y="843"/>
                    </a:lnTo>
                    <a:lnTo>
                      <a:pt x="317" y="844"/>
                    </a:lnTo>
                    <a:lnTo>
                      <a:pt x="317" y="8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6" name="Freeform 7">
                <a:extLst>
                  <a:ext uri="{FF2B5EF4-FFF2-40B4-BE49-F238E27FC236}">
                    <a16:creationId xmlns:a16="http://schemas.microsoft.com/office/drawing/2014/main" id="{A45518CC-CC94-4781-A4F2-475AFD19B997}"/>
                  </a:ext>
                </a:extLst>
              </p:cNvPr>
              <p:cNvSpPr>
                <a:spLocks/>
              </p:cNvSpPr>
              <p:nvPr/>
            </p:nvSpPr>
            <p:spPr bwMode="auto">
              <a:xfrm>
                <a:off x="1506" y="3426"/>
                <a:ext cx="34" cy="40"/>
              </a:xfrm>
              <a:custGeom>
                <a:avLst/>
                <a:gdLst>
                  <a:gd name="T0" fmla="*/ 281 w 341"/>
                  <a:gd name="T1" fmla="*/ 10 h 402"/>
                  <a:gd name="T2" fmla="*/ 301 w 341"/>
                  <a:gd name="T3" fmla="*/ 27 h 402"/>
                  <a:gd name="T4" fmla="*/ 316 w 341"/>
                  <a:gd name="T5" fmla="*/ 45 h 402"/>
                  <a:gd name="T6" fmla="*/ 328 w 341"/>
                  <a:gd name="T7" fmla="*/ 64 h 402"/>
                  <a:gd name="T8" fmla="*/ 335 w 341"/>
                  <a:gd name="T9" fmla="*/ 84 h 402"/>
                  <a:gd name="T10" fmla="*/ 340 w 341"/>
                  <a:gd name="T11" fmla="*/ 106 h 402"/>
                  <a:gd name="T12" fmla="*/ 341 w 341"/>
                  <a:gd name="T13" fmla="*/ 128 h 402"/>
                  <a:gd name="T14" fmla="*/ 340 w 341"/>
                  <a:gd name="T15" fmla="*/ 152 h 402"/>
                  <a:gd name="T16" fmla="*/ 336 w 341"/>
                  <a:gd name="T17" fmla="*/ 176 h 402"/>
                  <a:gd name="T18" fmla="*/ 324 w 341"/>
                  <a:gd name="T19" fmla="*/ 218 h 402"/>
                  <a:gd name="T20" fmla="*/ 314 w 341"/>
                  <a:gd name="T21" fmla="*/ 245 h 402"/>
                  <a:gd name="T22" fmla="*/ 301 w 341"/>
                  <a:gd name="T23" fmla="*/ 270 h 402"/>
                  <a:gd name="T24" fmla="*/ 286 w 341"/>
                  <a:gd name="T25" fmla="*/ 293 h 402"/>
                  <a:gd name="T26" fmla="*/ 269 w 341"/>
                  <a:gd name="T27" fmla="*/ 316 h 402"/>
                  <a:gd name="T28" fmla="*/ 250 w 341"/>
                  <a:gd name="T29" fmla="*/ 336 h 402"/>
                  <a:gd name="T30" fmla="*/ 228 w 341"/>
                  <a:gd name="T31" fmla="*/ 355 h 402"/>
                  <a:gd name="T32" fmla="*/ 216 w 341"/>
                  <a:gd name="T33" fmla="*/ 364 h 402"/>
                  <a:gd name="T34" fmla="*/ 178 w 341"/>
                  <a:gd name="T35" fmla="*/ 387 h 402"/>
                  <a:gd name="T36" fmla="*/ 159 w 341"/>
                  <a:gd name="T37" fmla="*/ 395 h 402"/>
                  <a:gd name="T38" fmla="*/ 139 w 341"/>
                  <a:gd name="T39" fmla="*/ 400 h 402"/>
                  <a:gd name="T40" fmla="*/ 118 w 341"/>
                  <a:gd name="T41" fmla="*/ 402 h 402"/>
                  <a:gd name="T42" fmla="*/ 97 w 341"/>
                  <a:gd name="T43" fmla="*/ 401 h 402"/>
                  <a:gd name="T44" fmla="*/ 75 w 341"/>
                  <a:gd name="T45" fmla="*/ 396 h 402"/>
                  <a:gd name="T46" fmla="*/ 52 w 341"/>
                  <a:gd name="T47" fmla="*/ 386 h 402"/>
                  <a:gd name="T48" fmla="*/ 41 w 341"/>
                  <a:gd name="T49" fmla="*/ 379 h 402"/>
                  <a:gd name="T50" fmla="*/ 22 w 341"/>
                  <a:gd name="T51" fmla="*/ 362 h 402"/>
                  <a:gd name="T52" fmla="*/ 10 w 341"/>
                  <a:gd name="T53" fmla="*/ 341 h 402"/>
                  <a:gd name="T54" fmla="*/ 3 w 341"/>
                  <a:gd name="T55" fmla="*/ 317 h 402"/>
                  <a:gd name="T56" fmla="*/ 1 w 341"/>
                  <a:gd name="T57" fmla="*/ 305 h 402"/>
                  <a:gd name="T58" fmla="*/ 0 w 341"/>
                  <a:gd name="T59" fmla="*/ 266 h 402"/>
                  <a:gd name="T60" fmla="*/ 3 w 341"/>
                  <a:gd name="T61" fmla="*/ 230 h 402"/>
                  <a:gd name="T62" fmla="*/ 12 w 341"/>
                  <a:gd name="T63" fmla="*/ 195 h 402"/>
                  <a:gd name="T64" fmla="*/ 25 w 341"/>
                  <a:gd name="T65" fmla="*/ 162 h 402"/>
                  <a:gd name="T66" fmla="*/ 42 w 341"/>
                  <a:gd name="T67" fmla="*/ 131 h 402"/>
                  <a:gd name="T68" fmla="*/ 63 w 341"/>
                  <a:gd name="T69" fmla="*/ 102 h 402"/>
                  <a:gd name="T70" fmla="*/ 88 w 341"/>
                  <a:gd name="T71" fmla="*/ 74 h 402"/>
                  <a:gd name="T72" fmla="*/ 117 w 341"/>
                  <a:gd name="T73" fmla="*/ 49 h 402"/>
                  <a:gd name="T74" fmla="*/ 131 w 341"/>
                  <a:gd name="T75" fmla="*/ 38 h 402"/>
                  <a:gd name="T76" fmla="*/ 177 w 341"/>
                  <a:gd name="T77" fmla="*/ 10 h 402"/>
                  <a:gd name="T78" fmla="*/ 195 w 341"/>
                  <a:gd name="T79" fmla="*/ 6 h 402"/>
                  <a:gd name="T80" fmla="*/ 224 w 341"/>
                  <a:gd name="T81" fmla="*/ 1 h 402"/>
                  <a:gd name="T82" fmla="*/ 247 w 341"/>
                  <a:gd name="T83" fmla="*/ 1 h 402"/>
                  <a:gd name="T84" fmla="*/ 269 w 341"/>
                  <a:gd name="T85" fmla="*/ 6 h 402"/>
                  <a:gd name="T86" fmla="*/ 281 w 341"/>
                  <a:gd name="T87" fmla="*/ 1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1" h="402">
                    <a:moveTo>
                      <a:pt x="281" y="10"/>
                    </a:moveTo>
                    <a:lnTo>
                      <a:pt x="281" y="10"/>
                    </a:lnTo>
                    <a:lnTo>
                      <a:pt x="291" y="18"/>
                    </a:lnTo>
                    <a:lnTo>
                      <a:pt x="301" y="27"/>
                    </a:lnTo>
                    <a:lnTo>
                      <a:pt x="309" y="35"/>
                    </a:lnTo>
                    <a:lnTo>
                      <a:pt x="316" y="45"/>
                    </a:lnTo>
                    <a:lnTo>
                      <a:pt x="322" y="54"/>
                    </a:lnTo>
                    <a:lnTo>
                      <a:pt x="328" y="64"/>
                    </a:lnTo>
                    <a:lnTo>
                      <a:pt x="332" y="74"/>
                    </a:lnTo>
                    <a:lnTo>
                      <a:pt x="335" y="84"/>
                    </a:lnTo>
                    <a:lnTo>
                      <a:pt x="338" y="95"/>
                    </a:lnTo>
                    <a:lnTo>
                      <a:pt x="340" y="106"/>
                    </a:lnTo>
                    <a:lnTo>
                      <a:pt x="341" y="117"/>
                    </a:lnTo>
                    <a:lnTo>
                      <a:pt x="341" y="128"/>
                    </a:lnTo>
                    <a:lnTo>
                      <a:pt x="341" y="140"/>
                    </a:lnTo>
                    <a:lnTo>
                      <a:pt x="340" y="152"/>
                    </a:lnTo>
                    <a:lnTo>
                      <a:pt x="336" y="176"/>
                    </a:lnTo>
                    <a:lnTo>
                      <a:pt x="336" y="176"/>
                    </a:lnTo>
                    <a:lnTo>
                      <a:pt x="328" y="204"/>
                    </a:lnTo>
                    <a:lnTo>
                      <a:pt x="324" y="218"/>
                    </a:lnTo>
                    <a:lnTo>
                      <a:pt x="319" y="232"/>
                    </a:lnTo>
                    <a:lnTo>
                      <a:pt x="314" y="245"/>
                    </a:lnTo>
                    <a:lnTo>
                      <a:pt x="308" y="257"/>
                    </a:lnTo>
                    <a:lnTo>
                      <a:pt x="301" y="270"/>
                    </a:lnTo>
                    <a:lnTo>
                      <a:pt x="294" y="282"/>
                    </a:lnTo>
                    <a:lnTo>
                      <a:pt x="286" y="293"/>
                    </a:lnTo>
                    <a:lnTo>
                      <a:pt x="278" y="305"/>
                    </a:lnTo>
                    <a:lnTo>
                      <a:pt x="269" y="316"/>
                    </a:lnTo>
                    <a:lnTo>
                      <a:pt x="260" y="326"/>
                    </a:lnTo>
                    <a:lnTo>
                      <a:pt x="250" y="336"/>
                    </a:lnTo>
                    <a:lnTo>
                      <a:pt x="239" y="346"/>
                    </a:lnTo>
                    <a:lnTo>
                      <a:pt x="228" y="355"/>
                    </a:lnTo>
                    <a:lnTo>
                      <a:pt x="216" y="364"/>
                    </a:lnTo>
                    <a:lnTo>
                      <a:pt x="216" y="364"/>
                    </a:lnTo>
                    <a:lnTo>
                      <a:pt x="197" y="376"/>
                    </a:lnTo>
                    <a:lnTo>
                      <a:pt x="178" y="387"/>
                    </a:lnTo>
                    <a:lnTo>
                      <a:pt x="169" y="391"/>
                    </a:lnTo>
                    <a:lnTo>
                      <a:pt x="159" y="395"/>
                    </a:lnTo>
                    <a:lnTo>
                      <a:pt x="149" y="398"/>
                    </a:lnTo>
                    <a:lnTo>
                      <a:pt x="139" y="400"/>
                    </a:lnTo>
                    <a:lnTo>
                      <a:pt x="129" y="402"/>
                    </a:lnTo>
                    <a:lnTo>
                      <a:pt x="118" y="402"/>
                    </a:lnTo>
                    <a:lnTo>
                      <a:pt x="108" y="402"/>
                    </a:lnTo>
                    <a:lnTo>
                      <a:pt x="97" y="401"/>
                    </a:lnTo>
                    <a:lnTo>
                      <a:pt x="85" y="399"/>
                    </a:lnTo>
                    <a:lnTo>
                      <a:pt x="75" y="396"/>
                    </a:lnTo>
                    <a:lnTo>
                      <a:pt x="63" y="392"/>
                    </a:lnTo>
                    <a:lnTo>
                      <a:pt x="52" y="386"/>
                    </a:lnTo>
                    <a:lnTo>
                      <a:pt x="52" y="386"/>
                    </a:lnTo>
                    <a:lnTo>
                      <a:pt x="41" y="379"/>
                    </a:lnTo>
                    <a:lnTo>
                      <a:pt x="30" y="371"/>
                    </a:lnTo>
                    <a:lnTo>
                      <a:pt x="22" y="362"/>
                    </a:lnTo>
                    <a:lnTo>
                      <a:pt x="15" y="351"/>
                    </a:lnTo>
                    <a:lnTo>
                      <a:pt x="10" y="341"/>
                    </a:lnTo>
                    <a:lnTo>
                      <a:pt x="6" y="329"/>
                    </a:lnTo>
                    <a:lnTo>
                      <a:pt x="3" y="317"/>
                    </a:lnTo>
                    <a:lnTo>
                      <a:pt x="1" y="305"/>
                    </a:lnTo>
                    <a:lnTo>
                      <a:pt x="1" y="305"/>
                    </a:lnTo>
                    <a:lnTo>
                      <a:pt x="0" y="285"/>
                    </a:lnTo>
                    <a:lnTo>
                      <a:pt x="0" y="266"/>
                    </a:lnTo>
                    <a:lnTo>
                      <a:pt x="1" y="248"/>
                    </a:lnTo>
                    <a:lnTo>
                      <a:pt x="3" y="230"/>
                    </a:lnTo>
                    <a:lnTo>
                      <a:pt x="7" y="212"/>
                    </a:lnTo>
                    <a:lnTo>
                      <a:pt x="12" y="195"/>
                    </a:lnTo>
                    <a:lnTo>
                      <a:pt x="18" y="178"/>
                    </a:lnTo>
                    <a:lnTo>
                      <a:pt x="25" y="162"/>
                    </a:lnTo>
                    <a:lnTo>
                      <a:pt x="33" y="146"/>
                    </a:lnTo>
                    <a:lnTo>
                      <a:pt x="42" y="131"/>
                    </a:lnTo>
                    <a:lnTo>
                      <a:pt x="52" y="116"/>
                    </a:lnTo>
                    <a:lnTo>
                      <a:pt x="63" y="102"/>
                    </a:lnTo>
                    <a:lnTo>
                      <a:pt x="75" y="88"/>
                    </a:lnTo>
                    <a:lnTo>
                      <a:pt x="88" y="74"/>
                    </a:lnTo>
                    <a:lnTo>
                      <a:pt x="102" y="61"/>
                    </a:lnTo>
                    <a:lnTo>
                      <a:pt x="117" y="49"/>
                    </a:lnTo>
                    <a:lnTo>
                      <a:pt x="117" y="49"/>
                    </a:lnTo>
                    <a:lnTo>
                      <a:pt x="131" y="38"/>
                    </a:lnTo>
                    <a:lnTo>
                      <a:pt x="146" y="28"/>
                    </a:lnTo>
                    <a:lnTo>
                      <a:pt x="177" y="10"/>
                    </a:lnTo>
                    <a:lnTo>
                      <a:pt x="177" y="10"/>
                    </a:lnTo>
                    <a:lnTo>
                      <a:pt x="195" y="6"/>
                    </a:lnTo>
                    <a:lnTo>
                      <a:pt x="211" y="2"/>
                    </a:lnTo>
                    <a:lnTo>
                      <a:pt x="224" y="1"/>
                    </a:lnTo>
                    <a:lnTo>
                      <a:pt x="236" y="0"/>
                    </a:lnTo>
                    <a:lnTo>
                      <a:pt x="247" y="1"/>
                    </a:lnTo>
                    <a:lnTo>
                      <a:pt x="258" y="2"/>
                    </a:lnTo>
                    <a:lnTo>
                      <a:pt x="269" y="6"/>
                    </a:lnTo>
                    <a:lnTo>
                      <a:pt x="281" y="10"/>
                    </a:lnTo>
                    <a:lnTo>
                      <a:pt x="281" y="1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7" name="Freeform 8">
                <a:extLst>
                  <a:ext uri="{FF2B5EF4-FFF2-40B4-BE49-F238E27FC236}">
                    <a16:creationId xmlns:a16="http://schemas.microsoft.com/office/drawing/2014/main" id="{80CCB37C-6EDC-4A64-BC04-8BAE7EECCE66}"/>
                  </a:ext>
                </a:extLst>
              </p:cNvPr>
              <p:cNvSpPr>
                <a:spLocks/>
              </p:cNvSpPr>
              <p:nvPr/>
            </p:nvSpPr>
            <p:spPr bwMode="auto">
              <a:xfrm>
                <a:off x="1535" y="3454"/>
                <a:ext cx="25" cy="28"/>
              </a:xfrm>
              <a:custGeom>
                <a:avLst/>
                <a:gdLst>
                  <a:gd name="T0" fmla="*/ 166 w 253"/>
                  <a:gd name="T1" fmla="*/ 0 h 281"/>
                  <a:gd name="T2" fmla="*/ 186 w 253"/>
                  <a:gd name="T3" fmla="*/ 2 h 281"/>
                  <a:gd name="T4" fmla="*/ 205 w 253"/>
                  <a:gd name="T5" fmla="*/ 9 h 281"/>
                  <a:gd name="T6" fmla="*/ 220 w 253"/>
                  <a:gd name="T7" fmla="*/ 19 h 281"/>
                  <a:gd name="T8" fmla="*/ 234 w 253"/>
                  <a:gd name="T9" fmla="*/ 33 h 281"/>
                  <a:gd name="T10" fmla="*/ 244 w 253"/>
                  <a:gd name="T11" fmla="*/ 50 h 281"/>
                  <a:gd name="T12" fmla="*/ 251 w 253"/>
                  <a:gd name="T13" fmla="*/ 69 h 281"/>
                  <a:gd name="T14" fmla="*/ 253 w 253"/>
                  <a:gd name="T15" fmla="*/ 89 h 281"/>
                  <a:gd name="T16" fmla="*/ 251 w 253"/>
                  <a:gd name="T17" fmla="*/ 110 h 281"/>
                  <a:gd name="T18" fmla="*/ 246 w 253"/>
                  <a:gd name="T19" fmla="*/ 132 h 281"/>
                  <a:gd name="T20" fmla="*/ 229 w 253"/>
                  <a:gd name="T21" fmla="*/ 173 h 281"/>
                  <a:gd name="T22" fmla="*/ 206 w 253"/>
                  <a:gd name="T23" fmla="*/ 209 h 281"/>
                  <a:gd name="T24" fmla="*/ 177 w 253"/>
                  <a:gd name="T25" fmla="*/ 241 h 281"/>
                  <a:gd name="T26" fmla="*/ 159 w 253"/>
                  <a:gd name="T27" fmla="*/ 255 h 281"/>
                  <a:gd name="T28" fmla="*/ 142 w 253"/>
                  <a:gd name="T29" fmla="*/ 266 h 281"/>
                  <a:gd name="T30" fmla="*/ 124 w 253"/>
                  <a:gd name="T31" fmla="*/ 274 h 281"/>
                  <a:gd name="T32" fmla="*/ 106 w 253"/>
                  <a:gd name="T33" fmla="*/ 279 h 281"/>
                  <a:gd name="T34" fmla="*/ 87 w 253"/>
                  <a:gd name="T35" fmla="*/ 281 h 281"/>
                  <a:gd name="T36" fmla="*/ 70 w 253"/>
                  <a:gd name="T37" fmla="*/ 279 h 281"/>
                  <a:gd name="T38" fmla="*/ 53 w 253"/>
                  <a:gd name="T39" fmla="*/ 274 h 281"/>
                  <a:gd name="T40" fmla="*/ 38 w 253"/>
                  <a:gd name="T41" fmla="*/ 265 h 281"/>
                  <a:gd name="T42" fmla="*/ 24 w 253"/>
                  <a:gd name="T43" fmla="*/ 253 h 281"/>
                  <a:gd name="T44" fmla="*/ 15 w 253"/>
                  <a:gd name="T45" fmla="*/ 241 h 281"/>
                  <a:gd name="T46" fmla="*/ 4 w 253"/>
                  <a:gd name="T47" fmla="*/ 217 h 281"/>
                  <a:gd name="T48" fmla="*/ 0 w 253"/>
                  <a:gd name="T49" fmla="*/ 191 h 281"/>
                  <a:gd name="T50" fmla="*/ 2 w 253"/>
                  <a:gd name="T51" fmla="*/ 165 h 281"/>
                  <a:gd name="T52" fmla="*/ 6 w 253"/>
                  <a:gd name="T53" fmla="*/ 152 h 281"/>
                  <a:gd name="T54" fmla="*/ 23 w 253"/>
                  <a:gd name="T55" fmla="*/ 109 h 281"/>
                  <a:gd name="T56" fmla="*/ 47 w 253"/>
                  <a:gd name="T57" fmla="*/ 71 h 281"/>
                  <a:gd name="T58" fmla="*/ 61 w 253"/>
                  <a:gd name="T59" fmla="*/ 54 h 281"/>
                  <a:gd name="T60" fmla="*/ 78 w 253"/>
                  <a:gd name="T61" fmla="*/ 38 h 281"/>
                  <a:gd name="T62" fmla="*/ 96 w 253"/>
                  <a:gd name="T63" fmla="*/ 25 h 281"/>
                  <a:gd name="T64" fmla="*/ 117 w 253"/>
                  <a:gd name="T65" fmla="*/ 13 h 281"/>
                  <a:gd name="T66" fmla="*/ 129 w 253"/>
                  <a:gd name="T67" fmla="*/ 9 h 281"/>
                  <a:gd name="T68" fmla="*/ 166 w 253"/>
                  <a:gd name="T69"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3" h="281">
                    <a:moveTo>
                      <a:pt x="166" y="0"/>
                    </a:moveTo>
                    <a:lnTo>
                      <a:pt x="166" y="0"/>
                    </a:lnTo>
                    <a:lnTo>
                      <a:pt x="176" y="1"/>
                    </a:lnTo>
                    <a:lnTo>
                      <a:pt x="186" y="2"/>
                    </a:lnTo>
                    <a:lnTo>
                      <a:pt x="196" y="5"/>
                    </a:lnTo>
                    <a:lnTo>
                      <a:pt x="205" y="9"/>
                    </a:lnTo>
                    <a:lnTo>
                      <a:pt x="213" y="14"/>
                    </a:lnTo>
                    <a:lnTo>
                      <a:pt x="220" y="19"/>
                    </a:lnTo>
                    <a:lnTo>
                      <a:pt x="227" y="26"/>
                    </a:lnTo>
                    <a:lnTo>
                      <a:pt x="234" y="33"/>
                    </a:lnTo>
                    <a:lnTo>
                      <a:pt x="240" y="41"/>
                    </a:lnTo>
                    <a:lnTo>
                      <a:pt x="244" y="50"/>
                    </a:lnTo>
                    <a:lnTo>
                      <a:pt x="248" y="59"/>
                    </a:lnTo>
                    <a:lnTo>
                      <a:pt x="251" y="69"/>
                    </a:lnTo>
                    <a:lnTo>
                      <a:pt x="252" y="79"/>
                    </a:lnTo>
                    <a:lnTo>
                      <a:pt x="253" y="89"/>
                    </a:lnTo>
                    <a:lnTo>
                      <a:pt x="253" y="100"/>
                    </a:lnTo>
                    <a:lnTo>
                      <a:pt x="251" y="110"/>
                    </a:lnTo>
                    <a:lnTo>
                      <a:pt x="251" y="110"/>
                    </a:lnTo>
                    <a:lnTo>
                      <a:pt x="246" y="132"/>
                    </a:lnTo>
                    <a:lnTo>
                      <a:pt x="239" y="153"/>
                    </a:lnTo>
                    <a:lnTo>
                      <a:pt x="229" y="173"/>
                    </a:lnTo>
                    <a:lnTo>
                      <a:pt x="218" y="191"/>
                    </a:lnTo>
                    <a:lnTo>
                      <a:pt x="206" y="209"/>
                    </a:lnTo>
                    <a:lnTo>
                      <a:pt x="192" y="225"/>
                    </a:lnTo>
                    <a:lnTo>
                      <a:pt x="177" y="241"/>
                    </a:lnTo>
                    <a:lnTo>
                      <a:pt x="159" y="255"/>
                    </a:lnTo>
                    <a:lnTo>
                      <a:pt x="159" y="255"/>
                    </a:lnTo>
                    <a:lnTo>
                      <a:pt x="151" y="261"/>
                    </a:lnTo>
                    <a:lnTo>
                      <a:pt x="142" y="266"/>
                    </a:lnTo>
                    <a:lnTo>
                      <a:pt x="133" y="270"/>
                    </a:lnTo>
                    <a:lnTo>
                      <a:pt x="124" y="274"/>
                    </a:lnTo>
                    <a:lnTo>
                      <a:pt x="115" y="277"/>
                    </a:lnTo>
                    <a:lnTo>
                      <a:pt x="106" y="279"/>
                    </a:lnTo>
                    <a:lnTo>
                      <a:pt x="96" y="280"/>
                    </a:lnTo>
                    <a:lnTo>
                      <a:pt x="87" y="281"/>
                    </a:lnTo>
                    <a:lnTo>
                      <a:pt x="78" y="280"/>
                    </a:lnTo>
                    <a:lnTo>
                      <a:pt x="70" y="279"/>
                    </a:lnTo>
                    <a:lnTo>
                      <a:pt x="61" y="277"/>
                    </a:lnTo>
                    <a:lnTo>
                      <a:pt x="53" y="274"/>
                    </a:lnTo>
                    <a:lnTo>
                      <a:pt x="45" y="270"/>
                    </a:lnTo>
                    <a:lnTo>
                      <a:pt x="38" y="265"/>
                    </a:lnTo>
                    <a:lnTo>
                      <a:pt x="31" y="259"/>
                    </a:lnTo>
                    <a:lnTo>
                      <a:pt x="24" y="253"/>
                    </a:lnTo>
                    <a:lnTo>
                      <a:pt x="24" y="253"/>
                    </a:lnTo>
                    <a:lnTo>
                      <a:pt x="15" y="241"/>
                    </a:lnTo>
                    <a:lnTo>
                      <a:pt x="9" y="229"/>
                    </a:lnTo>
                    <a:lnTo>
                      <a:pt x="4" y="217"/>
                    </a:lnTo>
                    <a:lnTo>
                      <a:pt x="1" y="204"/>
                    </a:lnTo>
                    <a:lnTo>
                      <a:pt x="0" y="191"/>
                    </a:lnTo>
                    <a:lnTo>
                      <a:pt x="0" y="178"/>
                    </a:lnTo>
                    <a:lnTo>
                      <a:pt x="2" y="165"/>
                    </a:lnTo>
                    <a:lnTo>
                      <a:pt x="6" y="152"/>
                    </a:lnTo>
                    <a:lnTo>
                      <a:pt x="6" y="152"/>
                    </a:lnTo>
                    <a:lnTo>
                      <a:pt x="14" y="130"/>
                    </a:lnTo>
                    <a:lnTo>
                      <a:pt x="23" y="109"/>
                    </a:lnTo>
                    <a:lnTo>
                      <a:pt x="34" y="89"/>
                    </a:lnTo>
                    <a:lnTo>
                      <a:pt x="47" y="71"/>
                    </a:lnTo>
                    <a:lnTo>
                      <a:pt x="54" y="62"/>
                    </a:lnTo>
                    <a:lnTo>
                      <a:pt x="61" y="54"/>
                    </a:lnTo>
                    <a:lnTo>
                      <a:pt x="69" y="46"/>
                    </a:lnTo>
                    <a:lnTo>
                      <a:pt x="78" y="38"/>
                    </a:lnTo>
                    <a:lnTo>
                      <a:pt x="87" y="31"/>
                    </a:lnTo>
                    <a:lnTo>
                      <a:pt x="96" y="25"/>
                    </a:lnTo>
                    <a:lnTo>
                      <a:pt x="107" y="19"/>
                    </a:lnTo>
                    <a:lnTo>
                      <a:pt x="117" y="13"/>
                    </a:lnTo>
                    <a:lnTo>
                      <a:pt x="117" y="13"/>
                    </a:lnTo>
                    <a:lnTo>
                      <a:pt x="129" y="9"/>
                    </a:lnTo>
                    <a:lnTo>
                      <a:pt x="141" y="6"/>
                    </a:lnTo>
                    <a:lnTo>
                      <a:pt x="166" y="0"/>
                    </a:lnTo>
                    <a:lnTo>
                      <a:pt x="166"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8" name="Freeform 9">
                <a:extLst>
                  <a:ext uri="{FF2B5EF4-FFF2-40B4-BE49-F238E27FC236}">
                    <a16:creationId xmlns:a16="http://schemas.microsoft.com/office/drawing/2014/main" id="{4B592A33-92E8-421E-9844-ADDEE86D21DF}"/>
                  </a:ext>
                </a:extLst>
              </p:cNvPr>
              <p:cNvSpPr>
                <a:spLocks/>
              </p:cNvSpPr>
              <p:nvPr/>
            </p:nvSpPr>
            <p:spPr bwMode="auto">
              <a:xfrm>
                <a:off x="1552" y="3479"/>
                <a:ext cx="21" cy="21"/>
              </a:xfrm>
              <a:custGeom>
                <a:avLst/>
                <a:gdLst>
                  <a:gd name="T0" fmla="*/ 0 w 210"/>
                  <a:gd name="T1" fmla="*/ 150 h 215"/>
                  <a:gd name="T2" fmla="*/ 3 w 210"/>
                  <a:gd name="T3" fmla="*/ 123 h 215"/>
                  <a:gd name="T4" fmla="*/ 12 w 210"/>
                  <a:gd name="T5" fmla="*/ 96 h 215"/>
                  <a:gd name="T6" fmla="*/ 26 w 210"/>
                  <a:gd name="T7" fmla="*/ 71 h 215"/>
                  <a:gd name="T8" fmla="*/ 44 w 210"/>
                  <a:gd name="T9" fmla="*/ 47 h 215"/>
                  <a:gd name="T10" fmla="*/ 68 w 210"/>
                  <a:gd name="T11" fmla="*/ 28 h 215"/>
                  <a:gd name="T12" fmla="*/ 92 w 210"/>
                  <a:gd name="T13" fmla="*/ 13 h 215"/>
                  <a:gd name="T14" fmla="*/ 119 w 210"/>
                  <a:gd name="T15" fmla="*/ 3 h 215"/>
                  <a:gd name="T16" fmla="*/ 147 w 210"/>
                  <a:gd name="T17" fmla="*/ 0 h 215"/>
                  <a:gd name="T18" fmla="*/ 156 w 210"/>
                  <a:gd name="T19" fmla="*/ 0 h 215"/>
                  <a:gd name="T20" fmla="*/ 171 w 210"/>
                  <a:gd name="T21" fmla="*/ 3 h 215"/>
                  <a:gd name="T22" fmla="*/ 184 w 210"/>
                  <a:gd name="T23" fmla="*/ 9 h 215"/>
                  <a:gd name="T24" fmla="*/ 194 w 210"/>
                  <a:gd name="T25" fmla="*/ 17 h 215"/>
                  <a:gd name="T26" fmla="*/ 202 w 210"/>
                  <a:gd name="T27" fmla="*/ 26 h 215"/>
                  <a:gd name="T28" fmla="*/ 207 w 210"/>
                  <a:gd name="T29" fmla="*/ 38 h 215"/>
                  <a:gd name="T30" fmla="*/ 209 w 210"/>
                  <a:gd name="T31" fmla="*/ 51 h 215"/>
                  <a:gd name="T32" fmla="*/ 209 w 210"/>
                  <a:gd name="T33" fmla="*/ 72 h 215"/>
                  <a:gd name="T34" fmla="*/ 207 w 210"/>
                  <a:gd name="T35" fmla="*/ 85 h 215"/>
                  <a:gd name="T36" fmla="*/ 201 w 210"/>
                  <a:gd name="T37" fmla="*/ 108 h 215"/>
                  <a:gd name="T38" fmla="*/ 192 w 210"/>
                  <a:gd name="T39" fmla="*/ 130 h 215"/>
                  <a:gd name="T40" fmla="*/ 180 w 210"/>
                  <a:gd name="T41" fmla="*/ 150 h 215"/>
                  <a:gd name="T42" fmla="*/ 166 w 210"/>
                  <a:gd name="T43" fmla="*/ 167 h 215"/>
                  <a:gd name="T44" fmla="*/ 149 w 210"/>
                  <a:gd name="T45" fmla="*/ 182 h 215"/>
                  <a:gd name="T46" fmla="*/ 129 w 210"/>
                  <a:gd name="T47" fmla="*/ 195 h 215"/>
                  <a:gd name="T48" fmla="*/ 106 w 210"/>
                  <a:gd name="T49" fmla="*/ 205 h 215"/>
                  <a:gd name="T50" fmla="*/ 94 w 210"/>
                  <a:gd name="T51" fmla="*/ 210 h 215"/>
                  <a:gd name="T52" fmla="*/ 64 w 210"/>
                  <a:gd name="T53" fmla="*/ 215 h 215"/>
                  <a:gd name="T54" fmla="*/ 38 w 210"/>
                  <a:gd name="T55" fmla="*/ 211 h 215"/>
                  <a:gd name="T56" fmla="*/ 27 w 210"/>
                  <a:gd name="T57" fmla="*/ 206 h 215"/>
                  <a:gd name="T58" fmla="*/ 18 w 210"/>
                  <a:gd name="T59" fmla="*/ 199 h 215"/>
                  <a:gd name="T60" fmla="*/ 11 w 210"/>
                  <a:gd name="T61" fmla="*/ 190 h 215"/>
                  <a:gd name="T62" fmla="*/ 5 w 210"/>
                  <a:gd name="T63" fmla="*/ 179 h 215"/>
                  <a:gd name="T64" fmla="*/ 3 w 210"/>
                  <a:gd name="T65" fmla="*/ 172 h 215"/>
                  <a:gd name="T66" fmla="*/ 0 w 210"/>
                  <a:gd name="T67" fmla="*/ 15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0" h="215">
                    <a:moveTo>
                      <a:pt x="0" y="150"/>
                    </a:moveTo>
                    <a:lnTo>
                      <a:pt x="0" y="150"/>
                    </a:lnTo>
                    <a:lnTo>
                      <a:pt x="0" y="137"/>
                    </a:lnTo>
                    <a:lnTo>
                      <a:pt x="3" y="123"/>
                    </a:lnTo>
                    <a:lnTo>
                      <a:pt x="7" y="110"/>
                    </a:lnTo>
                    <a:lnTo>
                      <a:pt x="12" y="96"/>
                    </a:lnTo>
                    <a:lnTo>
                      <a:pt x="18" y="83"/>
                    </a:lnTo>
                    <a:lnTo>
                      <a:pt x="26" y="71"/>
                    </a:lnTo>
                    <a:lnTo>
                      <a:pt x="35" y="59"/>
                    </a:lnTo>
                    <a:lnTo>
                      <a:pt x="44" y="47"/>
                    </a:lnTo>
                    <a:lnTo>
                      <a:pt x="55" y="37"/>
                    </a:lnTo>
                    <a:lnTo>
                      <a:pt x="68" y="28"/>
                    </a:lnTo>
                    <a:lnTo>
                      <a:pt x="80" y="20"/>
                    </a:lnTo>
                    <a:lnTo>
                      <a:pt x="92" y="13"/>
                    </a:lnTo>
                    <a:lnTo>
                      <a:pt x="106" y="7"/>
                    </a:lnTo>
                    <a:lnTo>
                      <a:pt x="119" y="3"/>
                    </a:lnTo>
                    <a:lnTo>
                      <a:pt x="133" y="1"/>
                    </a:lnTo>
                    <a:lnTo>
                      <a:pt x="147" y="0"/>
                    </a:lnTo>
                    <a:lnTo>
                      <a:pt x="147" y="0"/>
                    </a:lnTo>
                    <a:lnTo>
                      <a:pt x="156" y="0"/>
                    </a:lnTo>
                    <a:lnTo>
                      <a:pt x="164" y="2"/>
                    </a:lnTo>
                    <a:lnTo>
                      <a:pt x="171" y="3"/>
                    </a:lnTo>
                    <a:lnTo>
                      <a:pt x="178" y="6"/>
                    </a:lnTo>
                    <a:lnTo>
                      <a:pt x="184" y="9"/>
                    </a:lnTo>
                    <a:lnTo>
                      <a:pt x="189" y="13"/>
                    </a:lnTo>
                    <a:lnTo>
                      <a:pt x="194" y="17"/>
                    </a:lnTo>
                    <a:lnTo>
                      <a:pt x="198" y="21"/>
                    </a:lnTo>
                    <a:lnTo>
                      <a:pt x="202" y="26"/>
                    </a:lnTo>
                    <a:lnTo>
                      <a:pt x="204" y="32"/>
                    </a:lnTo>
                    <a:lnTo>
                      <a:pt x="207" y="38"/>
                    </a:lnTo>
                    <a:lnTo>
                      <a:pt x="208" y="44"/>
                    </a:lnTo>
                    <a:lnTo>
                      <a:pt x="209" y="51"/>
                    </a:lnTo>
                    <a:lnTo>
                      <a:pt x="210" y="58"/>
                    </a:lnTo>
                    <a:lnTo>
                      <a:pt x="209" y="72"/>
                    </a:lnTo>
                    <a:lnTo>
                      <a:pt x="209" y="72"/>
                    </a:lnTo>
                    <a:lnTo>
                      <a:pt x="207" y="85"/>
                    </a:lnTo>
                    <a:lnTo>
                      <a:pt x="204" y="97"/>
                    </a:lnTo>
                    <a:lnTo>
                      <a:pt x="201" y="108"/>
                    </a:lnTo>
                    <a:lnTo>
                      <a:pt x="197" y="119"/>
                    </a:lnTo>
                    <a:lnTo>
                      <a:pt x="192" y="130"/>
                    </a:lnTo>
                    <a:lnTo>
                      <a:pt x="186" y="140"/>
                    </a:lnTo>
                    <a:lnTo>
                      <a:pt x="180" y="150"/>
                    </a:lnTo>
                    <a:lnTo>
                      <a:pt x="173" y="159"/>
                    </a:lnTo>
                    <a:lnTo>
                      <a:pt x="166" y="167"/>
                    </a:lnTo>
                    <a:lnTo>
                      <a:pt x="158" y="175"/>
                    </a:lnTo>
                    <a:lnTo>
                      <a:pt x="149" y="182"/>
                    </a:lnTo>
                    <a:lnTo>
                      <a:pt x="139" y="189"/>
                    </a:lnTo>
                    <a:lnTo>
                      <a:pt x="129" y="195"/>
                    </a:lnTo>
                    <a:lnTo>
                      <a:pt x="118" y="201"/>
                    </a:lnTo>
                    <a:lnTo>
                      <a:pt x="106" y="205"/>
                    </a:lnTo>
                    <a:lnTo>
                      <a:pt x="94" y="210"/>
                    </a:lnTo>
                    <a:lnTo>
                      <a:pt x="94" y="210"/>
                    </a:lnTo>
                    <a:lnTo>
                      <a:pt x="79" y="213"/>
                    </a:lnTo>
                    <a:lnTo>
                      <a:pt x="64" y="215"/>
                    </a:lnTo>
                    <a:lnTo>
                      <a:pt x="50" y="214"/>
                    </a:lnTo>
                    <a:lnTo>
                      <a:pt x="38" y="211"/>
                    </a:lnTo>
                    <a:lnTo>
                      <a:pt x="33" y="209"/>
                    </a:lnTo>
                    <a:lnTo>
                      <a:pt x="27" y="206"/>
                    </a:lnTo>
                    <a:lnTo>
                      <a:pt x="23" y="203"/>
                    </a:lnTo>
                    <a:lnTo>
                      <a:pt x="18" y="199"/>
                    </a:lnTo>
                    <a:lnTo>
                      <a:pt x="14" y="195"/>
                    </a:lnTo>
                    <a:lnTo>
                      <a:pt x="11" y="190"/>
                    </a:lnTo>
                    <a:lnTo>
                      <a:pt x="8" y="185"/>
                    </a:lnTo>
                    <a:lnTo>
                      <a:pt x="5" y="179"/>
                    </a:lnTo>
                    <a:lnTo>
                      <a:pt x="5" y="179"/>
                    </a:lnTo>
                    <a:lnTo>
                      <a:pt x="3" y="172"/>
                    </a:lnTo>
                    <a:lnTo>
                      <a:pt x="2" y="165"/>
                    </a:lnTo>
                    <a:lnTo>
                      <a:pt x="0" y="150"/>
                    </a:lnTo>
                    <a:lnTo>
                      <a:pt x="0" y="15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9" name="Freeform 10">
                <a:extLst>
                  <a:ext uri="{FF2B5EF4-FFF2-40B4-BE49-F238E27FC236}">
                    <a16:creationId xmlns:a16="http://schemas.microsoft.com/office/drawing/2014/main" id="{A8B55A5F-AAA8-4A6D-871C-FA2C767C7922}"/>
                  </a:ext>
                </a:extLst>
              </p:cNvPr>
              <p:cNvSpPr>
                <a:spLocks/>
              </p:cNvSpPr>
              <p:nvPr/>
            </p:nvSpPr>
            <p:spPr bwMode="auto">
              <a:xfrm>
                <a:off x="1562" y="3503"/>
                <a:ext cx="18" cy="17"/>
              </a:xfrm>
              <a:custGeom>
                <a:avLst/>
                <a:gdLst>
                  <a:gd name="T0" fmla="*/ 45 w 183"/>
                  <a:gd name="T1" fmla="*/ 161 h 161"/>
                  <a:gd name="T2" fmla="*/ 45 w 183"/>
                  <a:gd name="T3" fmla="*/ 161 h 161"/>
                  <a:gd name="T4" fmla="*/ 40 w 183"/>
                  <a:gd name="T5" fmla="*/ 161 h 161"/>
                  <a:gd name="T6" fmla="*/ 34 w 183"/>
                  <a:gd name="T7" fmla="*/ 161 h 161"/>
                  <a:gd name="T8" fmla="*/ 29 w 183"/>
                  <a:gd name="T9" fmla="*/ 159 h 161"/>
                  <a:gd name="T10" fmla="*/ 23 w 183"/>
                  <a:gd name="T11" fmla="*/ 156 h 161"/>
                  <a:gd name="T12" fmla="*/ 18 w 183"/>
                  <a:gd name="T13" fmla="*/ 152 h 161"/>
                  <a:gd name="T14" fmla="*/ 14 w 183"/>
                  <a:gd name="T15" fmla="*/ 148 h 161"/>
                  <a:gd name="T16" fmla="*/ 10 w 183"/>
                  <a:gd name="T17" fmla="*/ 143 h 161"/>
                  <a:gd name="T18" fmla="*/ 6 w 183"/>
                  <a:gd name="T19" fmla="*/ 137 h 161"/>
                  <a:gd name="T20" fmla="*/ 3 w 183"/>
                  <a:gd name="T21" fmla="*/ 130 h 161"/>
                  <a:gd name="T22" fmla="*/ 1 w 183"/>
                  <a:gd name="T23" fmla="*/ 123 h 161"/>
                  <a:gd name="T24" fmla="*/ 0 w 183"/>
                  <a:gd name="T25" fmla="*/ 116 h 161"/>
                  <a:gd name="T26" fmla="*/ 0 w 183"/>
                  <a:gd name="T27" fmla="*/ 108 h 161"/>
                  <a:gd name="T28" fmla="*/ 0 w 183"/>
                  <a:gd name="T29" fmla="*/ 99 h 161"/>
                  <a:gd name="T30" fmla="*/ 2 w 183"/>
                  <a:gd name="T31" fmla="*/ 91 h 161"/>
                  <a:gd name="T32" fmla="*/ 5 w 183"/>
                  <a:gd name="T33" fmla="*/ 81 h 161"/>
                  <a:gd name="T34" fmla="*/ 10 w 183"/>
                  <a:gd name="T35" fmla="*/ 72 h 161"/>
                  <a:gd name="T36" fmla="*/ 10 w 183"/>
                  <a:gd name="T37" fmla="*/ 72 h 161"/>
                  <a:gd name="T38" fmla="*/ 18 w 183"/>
                  <a:gd name="T39" fmla="*/ 57 h 161"/>
                  <a:gd name="T40" fmla="*/ 28 w 183"/>
                  <a:gd name="T41" fmla="*/ 44 h 161"/>
                  <a:gd name="T42" fmla="*/ 40 w 183"/>
                  <a:gd name="T43" fmla="*/ 33 h 161"/>
                  <a:gd name="T44" fmla="*/ 52 w 183"/>
                  <a:gd name="T45" fmla="*/ 23 h 161"/>
                  <a:gd name="T46" fmla="*/ 66 w 183"/>
                  <a:gd name="T47" fmla="*/ 15 h 161"/>
                  <a:gd name="T48" fmla="*/ 80 w 183"/>
                  <a:gd name="T49" fmla="*/ 8 h 161"/>
                  <a:gd name="T50" fmla="*/ 96 w 183"/>
                  <a:gd name="T51" fmla="*/ 3 h 161"/>
                  <a:gd name="T52" fmla="*/ 113 w 183"/>
                  <a:gd name="T53" fmla="*/ 1 h 161"/>
                  <a:gd name="T54" fmla="*/ 113 w 183"/>
                  <a:gd name="T55" fmla="*/ 1 h 161"/>
                  <a:gd name="T56" fmla="*/ 122 w 183"/>
                  <a:gd name="T57" fmla="*/ 0 h 161"/>
                  <a:gd name="T58" fmla="*/ 131 w 183"/>
                  <a:gd name="T59" fmla="*/ 0 h 161"/>
                  <a:gd name="T60" fmla="*/ 139 w 183"/>
                  <a:gd name="T61" fmla="*/ 2 h 161"/>
                  <a:gd name="T62" fmla="*/ 147 w 183"/>
                  <a:gd name="T63" fmla="*/ 4 h 161"/>
                  <a:gd name="T64" fmla="*/ 155 w 183"/>
                  <a:gd name="T65" fmla="*/ 8 h 161"/>
                  <a:gd name="T66" fmla="*/ 162 w 183"/>
                  <a:gd name="T67" fmla="*/ 13 h 161"/>
                  <a:gd name="T68" fmla="*/ 168 w 183"/>
                  <a:gd name="T69" fmla="*/ 19 h 161"/>
                  <a:gd name="T70" fmla="*/ 174 w 183"/>
                  <a:gd name="T71" fmla="*/ 26 h 161"/>
                  <a:gd name="T72" fmla="*/ 174 w 183"/>
                  <a:gd name="T73" fmla="*/ 26 h 161"/>
                  <a:gd name="T74" fmla="*/ 178 w 183"/>
                  <a:gd name="T75" fmla="*/ 32 h 161"/>
                  <a:gd name="T76" fmla="*/ 181 w 183"/>
                  <a:gd name="T77" fmla="*/ 39 h 161"/>
                  <a:gd name="T78" fmla="*/ 182 w 183"/>
                  <a:gd name="T79" fmla="*/ 46 h 161"/>
                  <a:gd name="T80" fmla="*/ 183 w 183"/>
                  <a:gd name="T81" fmla="*/ 54 h 161"/>
                  <a:gd name="T82" fmla="*/ 182 w 183"/>
                  <a:gd name="T83" fmla="*/ 61 h 161"/>
                  <a:gd name="T84" fmla="*/ 181 w 183"/>
                  <a:gd name="T85" fmla="*/ 68 h 161"/>
                  <a:gd name="T86" fmla="*/ 178 w 183"/>
                  <a:gd name="T87" fmla="*/ 75 h 161"/>
                  <a:gd name="T88" fmla="*/ 175 w 183"/>
                  <a:gd name="T89" fmla="*/ 83 h 161"/>
                  <a:gd name="T90" fmla="*/ 175 w 183"/>
                  <a:gd name="T91" fmla="*/ 83 h 161"/>
                  <a:gd name="T92" fmla="*/ 165 w 183"/>
                  <a:gd name="T93" fmla="*/ 100 h 161"/>
                  <a:gd name="T94" fmla="*/ 160 w 183"/>
                  <a:gd name="T95" fmla="*/ 108 h 161"/>
                  <a:gd name="T96" fmla="*/ 154 w 183"/>
                  <a:gd name="T97" fmla="*/ 115 h 161"/>
                  <a:gd name="T98" fmla="*/ 148 w 183"/>
                  <a:gd name="T99" fmla="*/ 122 h 161"/>
                  <a:gd name="T100" fmla="*/ 141 w 183"/>
                  <a:gd name="T101" fmla="*/ 128 h 161"/>
                  <a:gd name="T102" fmla="*/ 134 w 183"/>
                  <a:gd name="T103" fmla="*/ 134 h 161"/>
                  <a:gd name="T104" fmla="*/ 126 w 183"/>
                  <a:gd name="T105" fmla="*/ 139 h 161"/>
                  <a:gd name="T106" fmla="*/ 118 w 183"/>
                  <a:gd name="T107" fmla="*/ 143 h 161"/>
                  <a:gd name="T108" fmla="*/ 109 w 183"/>
                  <a:gd name="T109" fmla="*/ 148 h 161"/>
                  <a:gd name="T110" fmla="*/ 100 w 183"/>
                  <a:gd name="T111" fmla="*/ 151 h 161"/>
                  <a:gd name="T112" fmla="*/ 90 w 183"/>
                  <a:gd name="T113" fmla="*/ 154 h 161"/>
                  <a:gd name="T114" fmla="*/ 80 w 183"/>
                  <a:gd name="T115" fmla="*/ 157 h 161"/>
                  <a:gd name="T116" fmla="*/ 69 w 183"/>
                  <a:gd name="T117" fmla="*/ 159 h 161"/>
                  <a:gd name="T118" fmla="*/ 45 w 183"/>
                  <a:gd name="T119" fmla="*/ 161 h 161"/>
                  <a:gd name="T120" fmla="*/ 45 w 183"/>
                  <a:gd name="T121"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3" h="161">
                    <a:moveTo>
                      <a:pt x="45" y="161"/>
                    </a:moveTo>
                    <a:lnTo>
                      <a:pt x="45" y="161"/>
                    </a:lnTo>
                    <a:lnTo>
                      <a:pt x="40" y="161"/>
                    </a:lnTo>
                    <a:lnTo>
                      <a:pt x="34" y="161"/>
                    </a:lnTo>
                    <a:lnTo>
                      <a:pt x="29" y="159"/>
                    </a:lnTo>
                    <a:lnTo>
                      <a:pt x="23" y="156"/>
                    </a:lnTo>
                    <a:lnTo>
                      <a:pt x="18" y="152"/>
                    </a:lnTo>
                    <a:lnTo>
                      <a:pt x="14" y="148"/>
                    </a:lnTo>
                    <a:lnTo>
                      <a:pt x="10" y="143"/>
                    </a:lnTo>
                    <a:lnTo>
                      <a:pt x="6" y="137"/>
                    </a:lnTo>
                    <a:lnTo>
                      <a:pt x="3" y="130"/>
                    </a:lnTo>
                    <a:lnTo>
                      <a:pt x="1" y="123"/>
                    </a:lnTo>
                    <a:lnTo>
                      <a:pt x="0" y="116"/>
                    </a:lnTo>
                    <a:lnTo>
                      <a:pt x="0" y="108"/>
                    </a:lnTo>
                    <a:lnTo>
                      <a:pt x="0" y="99"/>
                    </a:lnTo>
                    <a:lnTo>
                      <a:pt x="2" y="91"/>
                    </a:lnTo>
                    <a:lnTo>
                      <a:pt x="5" y="81"/>
                    </a:lnTo>
                    <a:lnTo>
                      <a:pt x="10" y="72"/>
                    </a:lnTo>
                    <a:lnTo>
                      <a:pt x="10" y="72"/>
                    </a:lnTo>
                    <a:lnTo>
                      <a:pt x="18" y="57"/>
                    </a:lnTo>
                    <a:lnTo>
                      <a:pt x="28" y="44"/>
                    </a:lnTo>
                    <a:lnTo>
                      <a:pt x="40" y="33"/>
                    </a:lnTo>
                    <a:lnTo>
                      <a:pt x="52" y="23"/>
                    </a:lnTo>
                    <a:lnTo>
                      <a:pt x="66" y="15"/>
                    </a:lnTo>
                    <a:lnTo>
                      <a:pt x="80" y="8"/>
                    </a:lnTo>
                    <a:lnTo>
                      <a:pt x="96" y="3"/>
                    </a:lnTo>
                    <a:lnTo>
                      <a:pt x="113" y="1"/>
                    </a:lnTo>
                    <a:lnTo>
                      <a:pt x="113" y="1"/>
                    </a:lnTo>
                    <a:lnTo>
                      <a:pt x="122" y="0"/>
                    </a:lnTo>
                    <a:lnTo>
                      <a:pt x="131" y="0"/>
                    </a:lnTo>
                    <a:lnTo>
                      <a:pt x="139" y="2"/>
                    </a:lnTo>
                    <a:lnTo>
                      <a:pt x="147" y="4"/>
                    </a:lnTo>
                    <a:lnTo>
                      <a:pt x="155" y="8"/>
                    </a:lnTo>
                    <a:lnTo>
                      <a:pt x="162" y="13"/>
                    </a:lnTo>
                    <a:lnTo>
                      <a:pt x="168" y="19"/>
                    </a:lnTo>
                    <a:lnTo>
                      <a:pt x="174" y="26"/>
                    </a:lnTo>
                    <a:lnTo>
                      <a:pt x="174" y="26"/>
                    </a:lnTo>
                    <a:lnTo>
                      <a:pt x="178" y="32"/>
                    </a:lnTo>
                    <a:lnTo>
                      <a:pt x="181" y="39"/>
                    </a:lnTo>
                    <a:lnTo>
                      <a:pt x="182" y="46"/>
                    </a:lnTo>
                    <a:lnTo>
                      <a:pt x="183" y="54"/>
                    </a:lnTo>
                    <a:lnTo>
                      <a:pt x="182" y="61"/>
                    </a:lnTo>
                    <a:lnTo>
                      <a:pt x="181" y="68"/>
                    </a:lnTo>
                    <a:lnTo>
                      <a:pt x="178" y="75"/>
                    </a:lnTo>
                    <a:lnTo>
                      <a:pt x="175" y="83"/>
                    </a:lnTo>
                    <a:lnTo>
                      <a:pt x="175" y="83"/>
                    </a:lnTo>
                    <a:lnTo>
                      <a:pt x="165" y="100"/>
                    </a:lnTo>
                    <a:lnTo>
                      <a:pt x="160" y="108"/>
                    </a:lnTo>
                    <a:lnTo>
                      <a:pt x="154" y="115"/>
                    </a:lnTo>
                    <a:lnTo>
                      <a:pt x="148" y="122"/>
                    </a:lnTo>
                    <a:lnTo>
                      <a:pt x="141" y="128"/>
                    </a:lnTo>
                    <a:lnTo>
                      <a:pt x="134" y="134"/>
                    </a:lnTo>
                    <a:lnTo>
                      <a:pt x="126" y="139"/>
                    </a:lnTo>
                    <a:lnTo>
                      <a:pt x="118" y="143"/>
                    </a:lnTo>
                    <a:lnTo>
                      <a:pt x="109" y="148"/>
                    </a:lnTo>
                    <a:lnTo>
                      <a:pt x="100" y="151"/>
                    </a:lnTo>
                    <a:lnTo>
                      <a:pt x="90" y="154"/>
                    </a:lnTo>
                    <a:lnTo>
                      <a:pt x="80" y="157"/>
                    </a:lnTo>
                    <a:lnTo>
                      <a:pt x="69" y="159"/>
                    </a:lnTo>
                    <a:lnTo>
                      <a:pt x="45" y="161"/>
                    </a:lnTo>
                    <a:lnTo>
                      <a:pt x="45" y="16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0" name="Freeform 11">
                <a:extLst>
                  <a:ext uri="{FF2B5EF4-FFF2-40B4-BE49-F238E27FC236}">
                    <a16:creationId xmlns:a16="http://schemas.microsoft.com/office/drawing/2014/main" id="{8CC5DAA1-6F1E-4F8A-A350-3AF0C627A64D}"/>
                  </a:ext>
                </a:extLst>
              </p:cNvPr>
              <p:cNvSpPr>
                <a:spLocks/>
              </p:cNvSpPr>
              <p:nvPr/>
            </p:nvSpPr>
            <p:spPr bwMode="auto">
              <a:xfrm>
                <a:off x="1562" y="3525"/>
                <a:ext cx="15" cy="13"/>
              </a:xfrm>
              <a:custGeom>
                <a:avLst/>
                <a:gdLst>
                  <a:gd name="T0" fmla="*/ 50 w 155"/>
                  <a:gd name="T1" fmla="*/ 132 h 132"/>
                  <a:gd name="T2" fmla="*/ 50 w 155"/>
                  <a:gd name="T3" fmla="*/ 132 h 132"/>
                  <a:gd name="T4" fmla="*/ 42 w 155"/>
                  <a:gd name="T5" fmla="*/ 131 h 132"/>
                  <a:gd name="T6" fmla="*/ 34 w 155"/>
                  <a:gd name="T7" fmla="*/ 130 h 132"/>
                  <a:gd name="T8" fmla="*/ 28 w 155"/>
                  <a:gd name="T9" fmla="*/ 128 h 132"/>
                  <a:gd name="T10" fmla="*/ 22 w 155"/>
                  <a:gd name="T11" fmla="*/ 125 h 132"/>
                  <a:gd name="T12" fmla="*/ 16 w 155"/>
                  <a:gd name="T13" fmla="*/ 122 h 132"/>
                  <a:gd name="T14" fmla="*/ 12 w 155"/>
                  <a:gd name="T15" fmla="*/ 117 h 132"/>
                  <a:gd name="T16" fmla="*/ 8 w 155"/>
                  <a:gd name="T17" fmla="*/ 113 h 132"/>
                  <a:gd name="T18" fmla="*/ 4 w 155"/>
                  <a:gd name="T19" fmla="*/ 107 h 132"/>
                  <a:gd name="T20" fmla="*/ 2 w 155"/>
                  <a:gd name="T21" fmla="*/ 101 h 132"/>
                  <a:gd name="T22" fmla="*/ 0 w 155"/>
                  <a:gd name="T23" fmla="*/ 95 h 132"/>
                  <a:gd name="T24" fmla="*/ 0 w 155"/>
                  <a:gd name="T25" fmla="*/ 88 h 132"/>
                  <a:gd name="T26" fmla="*/ 0 w 155"/>
                  <a:gd name="T27" fmla="*/ 82 h 132"/>
                  <a:gd name="T28" fmla="*/ 1 w 155"/>
                  <a:gd name="T29" fmla="*/ 74 h 132"/>
                  <a:gd name="T30" fmla="*/ 3 w 155"/>
                  <a:gd name="T31" fmla="*/ 67 h 132"/>
                  <a:gd name="T32" fmla="*/ 6 w 155"/>
                  <a:gd name="T33" fmla="*/ 59 h 132"/>
                  <a:gd name="T34" fmla="*/ 9 w 155"/>
                  <a:gd name="T35" fmla="*/ 52 h 132"/>
                  <a:gd name="T36" fmla="*/ 9 w 155"/>
                  <a:gd name="T37" fmla="*/ 52 h 132"/>
                  <a:gd name="T38" fmla="*/ 14 w 155"/>
                  <a:gd name="T39" fmla="*/ 44 h 132"/>
                  <a:gd name="T40" fmla="*/ 19 w 155"/>
                  <a:gd name="T41" fmla="*/ 37 h 132"/>
                  <a:gd name="T42" fmla="*/ 25 w 155"/>
                  <a:gd name="T43" fmla="*/ 31 h 132"/>
                  <a:gd name="T44" fmla="*/ 31 w 155"/>
                  <a:gd name="T45" fmla="*/ 25 h 132"/>
                  <a:gd name="T46" fmla="*/ 38 w 155"/>
                  <a:gd name="T47" fmla="*/ 20 h 132"/>
                  <a:gd name="T48" fmla="*/ 45 w 155"/>
                  <a:gd name="T49" fmla="*/ 15 h 132"/>
                  <a:gd name="T50" fmla="*/ 53 w 155"/>
                  <a:gd name="T51" fmla="*/ 11 h 132"/>
                  <a:gd name="T52" fmla="*/ 60 w 155"/>
                  <a:gd name="T53" fmla="*/ 8 h 132"/>
                  <a:gd name="T54" fmla="*/ 68 w 155"/>
                  <a:gd name="T55" fmla="*/ 5 h 132"/>
                  <a:gd name="T56" fmla="*/ 77 w 155"/>
                  <a:gd name="T57" fmla="*/ 3 h 132"/>
                  <a:gd name="T58" fmla="*/ 85 w 155"/>
                  <a:gd name="T59" fmla="*/ 1 h 132"/>
                  <a:gd name="T60" fmla="*/ 93 w 155"/>
                  <a:gd name="T61" fmla="*/ 0 h 132"/>
                  <a:gd name="T62" fmla="*/ 102 w 155"/>
                  <a:gd name="T63" fmla="*/ 0 h 132"/>
                  <a:gd name="T64" fmla="*/ 110 w 155"/>
                  <a:gd name="T65" fmla="*/ 1 h 132"/>
                  <a:gd name="T66" fmla="*/ 119 w 155"/>
                  <a:gd name="T67" fmla="*/ 2 h 132"/>
                  <a:gd name="T68" fmla="*/ 128 w 155"/>
                  <a:gd name="T69" fmla="*/ 4 h 132"/>
                  <a:gd name="T70" fmla="*/ 128 w 155"/>
                  <a:gd name="T71" fmla="*/ 4 h 132"/>
                  <a:gd name="T72" fmla="*/ 136 w 155"/>
                  <a:gd name="T73" fmla="*/ 8 h 132"/>
                  <a:gd name="T74" fmla="*/ 143 w 155"/>
                  <a:gd name="T75" fmla="*/ 13 h 132"/>
                  <a:gd name="T76" fmla="*/ 148 w 155"/>
                  <a:gd name="T77" fmla="*/ 20 h 132"/>
                  <a:gd name="T78" fmla="*/ 152 w 155"/>
                  <a:gd name="T79" fmla="*/ 28 h 132"/>
                  <a:gd name="T80" fmla="*/ 155 w 155"/>
                  <a:gd name="T81" fmla="*/ 36 h 132"/>
                  <a:gd name="T82" fmla="*/ 155 w 155"/>
                  <a:gd name="T83" fmla="*/ 46 h 132"/>
                  <a:gd name="T84" fmla="*/ 155 w 155"/>
                  <a:gd name="T85" fmla="*/ 55 h 132"/>
                  <a:gd name="T86" fmla="*/ 152 w 155"/>
                  <a:gd name="T87" fmla="*/ 65 h 132"/>
                  <a:gd name="T88" fmla="*/ 152 w 155"/>
                  <a:gd name="T89" fmla="*/ 65 h 132"/>
                  <a:gd name="T90" fmla="*/ 149 w 155"/>
                  <a:gd name="T91" fmla="*/ 73 h 132"/>
                  <a:gd name="T92" fmla="*/ 145 w 155"/>
                  <a:gd name="T93" fmla="*/ 80 h 132"/>
                  <a:gd name="T94" fmla="*/ 141 w 155"/>
                  <a:gd name="T95" fmla="*/ 87 h 132"/>
                  <a:gd name="T96" fmla="*/ 135 w 155"/>
                  <a:gd name="T97" fmla="*/ 93 h 132"/>
                  <a:gd name="T98" fmla="*/ 130 w 155"/>
                  <a:gd name="T99" fmla="*/ 99 h 132"/>
                  <a:gd name="T100" fmla="*/ 124 w 155"/>
                  <a:gd name="T101" fmla="*/ 105 h 132"/>
                  <a:gd name="T102" fmla="*/ 110 w 155"/>
                  <a:gd name="T103" fmla="*/ 114 h 132"/>
                  <a:gd name="T104" fmla="*/ 95 w 155"/>
                  <a:gd name="T105" fmla="*/ 122 h 132"/>
                  <a:gd name="T106" fmla="*/ 80 w 155"/>
                  <a:gd name="T107" fmla="*/ 127 h 132"/>
                  <a:gd name="T108" fmla="*/ 65 w 155"/>
                  <a:gd name="T109" fmla="*/ 131 h 132"/>
                  <a:gd name="T110" fmla="*/ 50 w 155"/>
                  <a:gd name="T111" fmla="*/ 132 h 132"/>
                  <a:gd name="T112" fmla="*/ 50 w 155"/>
                  <a:gd name="T113"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5" h="132">
                    <a:moveTo>
                      <a:pt x="50" y="132"/>
                    </a:moveTo>
                    <a:lnTo>
                      <a:pt x="50" y="132"/>
                    </a:lnTo>
                    <a:lnTo>
                      <a:pt x="42" y="131"/>
                    </a:lnTo>
                    <a:lnTo>
                      <a:pt x="34" y="130"/>
                    </a:lnTo>
                    <a:lnTo>
                      <a:pt x="28" y="128"/>
                    </a:lnTo>
                    <a:lnTo>
                      <a:pt x="22" y="125"/>
                    </a:lnTo>
                    <a:lnTo>
                      <a:pt x="16" y="122"/>
                    </a:lnTo>
                    <a:lnTo>
                      <a:pt x="12" y="117"/>
                    </a:lnTo>
                    <a:lnTo>
                      <a:pt x="8" y="113"/>
                    </a:lnTo>
                    <a:lnTo>
                      <a:pt x="4" y="107"/>
                    </a:lnTo>
                    <a:lnTo>
                      <a:pt x="2" y="101"/>
                    </a:lnTo>
                    <a:lnTo>
                      <a:pt x="0" y="95"/>
                    </a:lnTo>
                    <a:lnTo>
                      <a:pt x="0" y="88"/>
                    </a:lnTo>
                    <a:lnTo>
                      <a:pt x="0" y="82"/>
                    </a:lnTo>
                    <a:lnTo>
                      <a:pt x="1" y="74"/>
                    </a:lnTo>
                    <a:lnTo>
                      <a:pt x="3" y="67"/>
                    </a:lnTo>
                    <a:lnTo>
                      <a:pt x="6" y="59"/>
                    </a:lnTo>
                    <a:lnTo>
                      <a:pt x="9" y="52"/>
                    </a:lnTo>
                    <a:lnTo>
                      <a:pt x="9" y="52"/>
                    </a:lnTo>
                    <a:lnTo>
                      <a:pt x="14" y="44"/>
                    </a:lnTo>
                    <a:lnTo>
                      <a:pt x="19" y="37"/>
                    </a:lnTo>
                    <a:lnTo>
                      <a:pt x="25" y="31"/>
                    </a:lnTo>
                    <a:lnTo>
                      <a:pt x="31" y="25"/>
                    </a:lnTo>
                    <a:lnTo>
                      <a:pt x="38" y="20"/>
                    </a:lnTo>
                    <a:lnTo>
                      <a:pt x="45" y="15"/>
                    </a:lnTo>
                    <a:lnTo>
                      <a:pt x="53" y="11"/>
                    </a:lnTo>
                    <a:lnTo>
                      <a:pt x="60" y="8"/>
                    </a:lnTo>
                    <a:lnTo>
                      <a:pt x="68" y="5"/>
                    </a:lnTo>
                    <a:lnTo>
                      <a:pt x="77" y="3"/>
                    </a:lnTo>
                    <a:lnTo>
                      <a:pt x="85" y="1"/>
                    </a:lnTo>
                    <a:lnTo>
                      <a:pt x="93" y="0"/>
                    </a:lnTo>
                    <a:lnTo>
                      <a:pt x="102" y="0"/>
                    </a:lnTo>
                    <a:lnTo>
                      <a:pt x="110" y="1"/>
                    </a:lnTo>
                    <a:lnTo>
                      <a:pt x="119" y="2"/>
                    </a:lnTo>
                    <a:lnTo>
                      <a:pt x="128" y="4"/>
                    </a:lnTo>
                    <a:lnTo>
                      <a:pt x="128" y="4"/>
                    </a:lnTo>
                    <a:lnTo>
                      <a:pt x="136" y="8"/>
                    </a:lnTo>
                    <a:lnTo>
                      <a:pt x="143" y="13"/>
                    </a:lnTo>
                    <a:lnTo>
                      <a:pt x="148" y="20"/>
                    </a:lnTo>
                    <a:lnTo>
                      <a:pt x="152" y="28"/>
                    </a:lnTo>
                    <a:lnTo>
                      <a:pt x="155" y="36"/>
                    </a:lnTo>
                    <a:lnTo>
                      <a:pt x="155" y="46"/>
                    </a:lnTo>
                    <a:lnTo>
                      <a:pt x="155" y="55"/>
                    </a:lnTo>
                    <a:lnTo>
                      <a:pt x="152" y="65"/>
                    </a:lnTo>
                    <a:lnTo>
                      <a:pt x="152" y="65"/>
                    </a:lnTo>
                    <a:lnTo>
                      <a:pt x="149" y="73"/>
                    </a:lnTo>
                    <a:lnTo>
                      <a:pt x="145" y="80"/>
                    </a:lnTo>
                    <a:lnTo>
                      <a:pt x="141" y="87"/>
                    </a:lnTo>
                    <a:lnTo>
                      <a:pt x="135" y="93"/>
                    </a:lnTo>
                    <a:lnTo>
                      <a:pt x="130" y="99"/>
                    </a:lnTo>
                    <a:lnTo>
                      <a:pt x="124" y="105"/>
                    </a:lnTo>
                    <a:lnTo>
                      <a:pt x="110" y="114"/>
                    </a:lnTo>
                    <a:lnTo>
                      <a:pt x="95" y="122"/>
                    </a:lnTo>
                    <a:lnTo>
                      <a:pt x="80" y="127"/>
                    </a:lnTo>
                    <a:lnTo>
                      <a:pt x="65" y="131"/>
                    </a:lnTo>
                    <a:lnTo>
                      <a:pt x="50" y="132"/>
                    </a:lnTo>
                    <a:lnTo>
                      <a:pt x="50" y="132"/>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1" name="Freeform 12">
                <a:extLst>
                  <a:ext uri="{FF2B5EF4-FFF2-40B4-BE49-F238E27FC236}">
                    <a16:creationId xmlns:a16="http://schemas.microsoft.com/office/drawing/2014/main" id="{68411503-2563-4AB0-AAE7-24891072A3D1}"/>
                  </a:ext>
                </a:extLst>
              </p:cNvPr>
              <p:cNvSpPr>
                <a:spLocks/>
              </p:cNvSpPr>
              <p:nvPr/>
            </p:nvSpPr>
            <p:spPr bwMode="auto">
              <a:xfrm>
                <a:off x="1502" y="3521"/>
                <a:ext cx="17" cy="17"/>
              </a:xfrm>
              <a:custGeom>
                <a:avLst/>
                <a:gdLst>
                  <a:gd name="T0" fmla="*/ 173 w 173"/>
                  <a:gd name="T1" fmla="*/ 88 h 174"/>
                  <a:gd name="T2" fmla="*/ 172 w 173"/>
                  <a:gd name="T3" fmla="*/ 106 h 174"/>
                  <a:gd name="T4" fmla="*/ 168 w 173"/>
                  <a:gd name="T5" fmla="*/ 122 h 174"/>
                  <a:gd name="T6" fmla="*/ 160 w 173"/>
                  <a:gd name="T7" fmla="*/ 137 h 174"/>
                  <a:gd name="T8" fmla="*/ 149 w 173"/>
                  <a:gd name="T9" fmla="*/ 150 h 174"/>
                  <a:gd name="T10" fmla="*/ 136 w 173"/>
                  <a:gd name="T11" fmla="*/ 160 h 174"/>
                  <a:gd name="T12" fmla="*/ 120 w 173"/>
                  <a:gd name="T13" fmla="*/ 168 h 174"/>
                  <a:gd name="T14" fmla="*/ 103 w 173"/>
                  <a:gd name="T15" fmla="*/ 173 h 174"/>
                  <a:gd name="T16" fmla="*/ 85 w 173"/>
                  <a:gd name="T17" fmla="*/ 174 h 174"/>
                  <a:gd name="T18" fmla="*/ 77 w 173"/>
                  <a:gd name="T19" fmla="*/ 174 h 174"/>
                  <a:gd name="T20" fmla="*/ 61 w 173"/>
                  <a:gd name="T21" fmla="*/ 171 h 174"/>
                  <a:gd name="T22" fmla="*/ 46 w 173"/>
                  <a:gd name="T23" fmla="*/ 165 h 174"/>
                  <a:gd name="T24" fmla="*/ 32 w 173"/>
                  <a:gd name="T25" fmla="*/ 156 h 174"/>
                  <a:gd name="T26" fmla="*/ 20 w 173"/>
                  <a:gd name="T27" fmla="*/ 145 h 174"/>
                  <a:gd name="T28" fmla="*/ 11 w 173"/>
                  <a:gd name="T29" fmla="*/ 131 h 174"/>
                  <a:gd name="T30" fmla="*/ 4 w 173"/>
                  <a:gd name="T31" fmla="*/ 115 h 174"/>
                  <a:gd name="T32" fmla="*/ 0 w 173"/>
                  <a:gd name="T33" fmla="*/ 96 h 174"/>
                  <a:gd name="T34" fmla="*/ 0 w 173"/>
                  <a:gd name="T35" fmla="*/ 86 h 174"/>
                  <a:gd name="T36" fmla="*/ 2 w 173"/>
                  <a:gd name="T37" fmla="*/ 67 h 174"/>
                  <a:gd name="T38" fmla="*/ 7 w 173"/>
                  <a:gd name="T39" fmla="*/ 50 h 174"/>
                  <a:gd name="T40" fmla="*/ 15 w 173"/>
                  <a:gd name="T41" fmla="*/ 35 h 174"/>
                  <a:gd name="T42" fmla="*/ 26 w 173"/>
                  <a:gd name="T43" fmla="*/ 23 h 174"/>
                  <a:gd name="T44" fmla="*/ 39 w 173"/>
                  <a:gd name="T45" fmla="*/ 13 h 174"/>
                  <a:gd name="T46" fmla="*/ 53 w 173"/>
                  <a:gd name="T47" fmla="*/ 6 h 174"/>
                  <a:gd name="T48" fmla="*/ 69 w 173"/>
                  <a:gd name="T49" fmla="*/ 1 h 174"/>
                  <a:gd name="T50" fmla="*/ 85 w 173"/>
                  <a:gd name="T51" fmla="*/ 0 h 174"/>
                  <a:gd name="T52" fmla="*/ 94 w 173"/>
                  <a:gd name="T53" fmla="*/ 0 h 174"/>
                  <a:gd name="T54" fmla="*/ 112 w 173"/>
                  <a:gd name="T55" fmla="*/ 3 h 174"/>
                  <a:gd name="T56" fmla="*/ 128 w 173"/>
                  <a:gd name="T57" fmla="*/ 9 h 174"/>
                  <a:gd name="T58" fmla="*/ 143 w 173"/>
                  <a:gd name="T59" fmla="*/ 19 h 174"/>
                  <a:gd name="T60" fmla="*/ 155 w 173"/>
                  <a:gd name="T61" fmla="*/ 30 h 174"/>
                  <a:gd name="T62" fmla="*/ 164 w 173"/>
                  <a:gd name="T63" fmla="*/ 45 h 174"/>
                  <a:gd name="T64" fmla="*/ 170 w 173"/>
                  <a:gd name="T65" fmla="*/ 61 h 174"/>
                  <a:gd name="T66" fmla="*/ 173 w 173"/>
                  <a:gd name="T67" fmla="*/ 78 h 174"/>
                  <a:gd name="T68" fmla="*/ 173 w 173"/>
                  <a:gd name="T69" fmla="*/ 8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174">
                    <a:moveTo>
                      <a:pt x="173" y="88"/>
                    </a:moveTo>
                    <a:lnTo>
                      <a:pt x="173" y="88"/>
                    </a:lnTo>
                    <a:lnTo>
                      <a:pt x="173" y="97"/>
                    </a:lnTo>
                    <a:lnTo>
                      <a:pt x="172" y="106"/>
                    </a:lnTo>
                    <a:lnTo>
                      <a:pt x="170" y="114"/>
                    </a:lnTo>
                    <a:lnTo>
                      <a:pt x="168" y="122"/>
                    </a:lnTo>
                    <a:lnTo>
                      <a:pt x="164" y="130"/>
                    </a:lnTo>
                    <a:lnTo>
                      <a:pt x="160" y="137"/>
                    </a:lnTo>
                    <a:lnTo>
                      <a:pt x="155" y="144"/>
                    </a:lnTo>
                    <a:lnTo>
                      <a:pt x="149" y="150"/>
                    </a:lnTo>
                    <a:lnTo>
                      <a:pt x="143" y="155"/>
                    </a:lnTo>
                    <a:lnTo>
                      <a:pt x="136" y="160"/>
                    </a:lnTo>
                    <a:lnTo>
                      <a:pt x="128" y="164"/>
                    </a:lnTo>
                    <a:lnTo>
                      <a:pt x="120" y="168"/>
                    </a:lnTo>
                    <a:lnTo>
                      <a:pt x="112" y="171"/>
                    </a:lnTo>
                    <a:lnTo>
                      <a:pt x="103" y="173"/>
                    </a:lnTo>
                    <a:lnTo>
                      <a:pt x="95" y="174"/>
                    </a:lnTo>
                    <a:lnTo>
                      <a:pt x="85" y="174"/>
                    </a:lnTo>
                    <a:lnTo>
                      <a:pt x="85" y="174"/>
                    </a:lnTo>
                    <a:lnTo>
                      <a:pt x="77" y="174"/>
                    </a:lnTo>
                    <a:lnTo>
                      <a:pt x="69" y="173"/>
                    </a:lnTo>
                    <a:lnTo>
                      <a:pt x="61" y="171"/>
                    </a:lnTo>
                    <a:lnTo>
                      <a:pt x="54" y="168"/>
                    </a:lnTo>
                    <a:lnTo>
                      <a:pt x="46" y="165"/>
                    </a:lnTo>
                    <a:lnTo>
                      <a:pt x="39" y="161"/>
                    </a:lnTo>
                    <a:lnTo>
                      <a:pt x="32" y="156"/>
                    </a:lnTo>
                    <a:lnTo>
                      <a:pt x="26" y="151"/>
                    </a:lnTo>
                    <a:lnTo>
                      <a:pt x="20" y="145"/>
                    </a:lnTo>
                    <a:lnTo>
                      <a:pt x="15" y="138"/>
                    </a:lnTo>
                    <a:lnTo>
                      <a:pt x="11" y="131"/>
                    </a:lnTo>
                    <a:lnTo>
                      <a:pt x="7" y="123"/>
                    </a:lnTo>
                    <a:lnTo>
                      <a:pt x="4" y="115"/>
                    </a:lnTo>
                    <a:lnTo>
                      <a:pt x="2" y="106"/>
                    </a:lnTo>
                    <a:lnTo>
                      <a:pt x="0" y="96"/>
                    </a:lnTo>
                    <a:lnTo>
                      <a:pt x="0" y="86"/>
                    </a:lnTo>
                    <a:lnTo>
                      <a:pt x="0" y="86"/>
                    </a:lnTo>
                    <a:lnTo>
                      <a:pt x="0" y="76"/>
                    </a:lnTo>
                    <a:lnTo>
                      <a:pt x="2" y="67"/>
                    </a:lnTo>
                    <a:lnTo>
                      <a:pt x="4" y="58"/>
                    </a:lnTo>
                    <a:lnTo>
                      <a:pt x="7" y="50"/>
                    </a:lnTo>
                    <a:lnTo>
                      <a:pt x="11" y="42"/>
                    </a:lnTo>
                    <a:lnTo>
                      <a:pt x="15" y="35"/>
                    </a:lnTo>
                    <a:lnTo>
                      <a:pt x="21" y="29"/>
                    </a:lnTo>
                    <a:lnTo>
                      <a:pt x="26" y="23"/>
                    </a:lnTo>
                    <a:lnTo>
                      <a:pt x="32" y="18"/>
                    </a:lnTo>
                    <a:lnTo>
                      <a:pt x="39" y="13"/>
                    </a:lnTo>
                    <a:lnTo>
                      <a:pt x="46" y="9"/>
                    </a:lnTo>
                    <a:lnTo>
                      <a:pt x="53" y="6"/>
                    </a:lnTo>
                    <a:lnTo>
                      <a:pt x="61" y="3"/>
                    </a:lnTo>
                    <a:lnTo>
                      <a:pt x="69" y="1"/>
                    </a:lnTo>
                    <a:lnTo>
                      <a:pt x="77" y="0"/>
                    </a:lnTo>
                    <a:lnTo>
                      <a:pt x="85" y="0"/>
                    </a:lnTo>
                    <a:lnTo>
                      <a:pt x="85" y="0"/>
                    </a:lnTo>
                    <a:lnTo>
                      <a:pt x="94" y="0"/>
                    </a:lnTo>
                    <a:lnTo>
                      <a:pt x="103" y="1"/>
                    </a:lnTo>
                    <a:lnTo>
                      <a:pt x="112" y="3"/>
                    </a:lnTo>
                    <a:lnTo>
                      <a:pt x="120" y="6"/>
                    </a:lnTo>
                    <a:lnTo>
                      <a:pt x="128" y="9"/>
                    </a:lnTo>
                    <a:lnTo>
                      <a:pt x="136" y="14"/>
                    </a:lnTo>
                    <a:lnTo>
                      <a:pt x="143" y="19"/>
                    </a:lnTo>
                    <a:lnTo>
                      <a:pt x="149" y="24"/>
                    </a:lnTo>
                    <a:lnTo>
                      <a:pt x="155" y="30"/>
                    </a:lnTo>
                    <a:lnTo>
                      <a:pt x="160" y="37"/>
                    </a:lnTo>
                    <a:lnTo>
                      <a:pt x="164" y="45"/>
                    </a:lnTo>
                    <a:lnTo>
                      <a:pt x="168" y="52"/>
                    </a:lnTo>
                    <a:lnTo>
                      <a:pt x="170" y="61"/>
                    </a:lnTo>
                    <a:lnTo>
                      <a:pt x="172" y="69"/>
                    </a:lnTo>
                    <a:lnTo>
                      <a:pt x="173" y="78"/>
                    </a:lnTo>
                    <a:lnTo>
                      <a:pt x="173" y="88"/>
                    </a:lnTo>
                    <a:lnTo>
                      <a:pt x="173" y="8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sp>
        <p:nvSpPr>
          <p:cNvPr id="173" name="Freeform 6">
            <a:extLst>
              <a:ext uri="{FF2B5EF4-FFF2-40B4-BE49-F238E27FC236}">
                <a16:creationId xmlns:a16="http://schemas.microsoft.com/office/drawing/2014/main" id="{CFB02EB1-25DA-4417-BE10-E48B5877EA5B}"/>
              </a:ext>
            </a:extLst>
          </p:cNvPr>
          <p:cNvSpPr>
            <a:spLocks noEditPoints="1"/>
          </p:cNvSpPr>
          <p:nvPr/>
        </p:nvSpPr>
        <p:spPr bwMode="auto">
          <a:xfrm>
            <a:off x="717343" y="4602976"/>
            <a:ext cx="225054" cy="251540"/>
          </a:xfrm>
          <a:custGeom>
            <a:avLst/>
            <a:gdLst>
              <a:gd name="T0" fmla="*/ 204 w 1533"/>
              <a:gd name="T1" fmla="*/ 1603 h 1617"/>
              <a:gd name="T2" fmla="*/ 139 w 1533"/>
              <a:gd name="T3" fmla="*/ 1562 h 1617"/>
              <a:gd name="T4" fmla="*/ 93 w 1533"/>
              <a:gd name="T5" fmla="*/ 1518 h 1617"/>
              <a:gd name="T6" fmla="*/ 32 w 1533"/>
              <a:gd name="T7" fmla="*/ 1438 h 1617"/>
              <a:gd name="T8" fmla="*/ 8 w 1533"/>
              <a:gd name="T9" fmla="*/ 1380 h 1617"/>
              <a:gd name="T10" fmla="*/ 1 w 1533"/>
              <a:gd name="T11" fmla="*/ 1343 h 1617"/>
              <a:gd name="T12" fmla="*/ 2 w 1533"/>
              <a:gd name="T13" fmla="*/ 1297 h 1617"/>
              <a:gd name="T14" fmla="*/ 28 w 1533"/>
              <a:gd name="T15" fmla="*/ 1209 h 1617"/>
              <a:gd name="T16" fmla="*/ 71 w 1533"/>
              <a:gd name="T17" fmla="*/ 1139 h 1617"/>
              <a:gd name="T18" fmla="*/ 145 w 1533"/>
              <a:gd name="T19" fmla="*/ 1051 h 1617"/>
              <a:gd name="T20" fmla="*/ 200 w 1533"/>
              <a:gd name="T21" fmla="*/ 1002 h 1617"/>
              <a:gd name="T22" fmla="*/ 297 w 1533"/>
              <a:gd name="T23" fmla="*/ 945 h 1617"/>
              <a:gd name="T24" fmla="*/ 364 w 1533"/>
              <a:gd name="T25" fmla="*/ 908 h 1617"/>
              <a:gd name="T26" fmla="*/ 482 w 1533"/>
              <a:gd name="T27" fmla="*/ 814 h 1617"/>
              <a:gd name="T28" fmla="*/ 552 w 1533"/>
              <a:gd name="T29" fmla="*/ 736 h 1617"/>
              <a:gd name="T30" fmla="*/ 591 w 1533"/>
              <a:gd name="T31" fmla="*/ 675 h 1617"/>
              <a:gd name="T32" fmla="*/ 611 w 1533"/>
              <a:gd name="T33" fmla="*/ 612 h 1617"/>
              <a:gd name="T34" fmla="*/ 617 w 1533"/>
              <a:gd name="T35" fmla="*/ 561 h 1617"/>
              <a:gd name="T36" fmla="*/ 617 w 1533"/>
              <a:gd name="T37" fmla="*/ 441 h 1617"/>
              <a:gd name="T38" fmla="*/ 631 w 1533"/>
              <a:gd name="T39" fmla="*/ 328 h 1617"/>
              <a:gd name="T40" fmla="*/ 670 w 1533"/>
              <a:gd name="T41" fmla="*/ 221 h 1617"/>
              <a:gd name="T42" fmla="*/ 732 w 1533"/>
              <a:gd name="T43" fmla="*/ 113 h 1617"/>
              <a:gd name="T44" fmla="*/ 767 w 1533"/>
              <a:gd name="T45" fmla="*/ 65 h 1617"/>
              <a:gd name="T46" fmla="*/ 825 w 1533"/>
              <a:gd name="T47" fmla="*/ 24 h 1617"/>
              <a:gd name="T48" fmla="*/ 877 w 1533"/>
              <a:gd name="T49" fmla="*/ 7 h 1617"/>
              <a:gd name="T50" fmla="*/ 935 w 1533"/>
              <a:gd name="T51" fmla="*/ 0 h 1617"/>
              <a:gd name="T52" fmla="*/ 1020 w 1533"/>
              <a:gd name="T53" fmla="*/ 7 h 1617"/>
              <a:gd name="T54" fmla="*/ 1105 w 1533"/>
              <a:gd name="T55" fmla="*/ 30 h 1617"/>
              <a:gd name="T56" fmla="*/ 1169 w 1533"/>
              <a:gd name="T57" fmla="*/ 58 h 1617"/>
              <a:gd name="T58" fmla="*/ 1254 w 1533"/>
              <a:gd name="T59" fmla="*/ 115 h 1617"/>
              <a:gd name="T60" fmla="*/ 1327 w 1533"/>
              <a:gd name="T61" fmla="*/ 187 h 1617"/>
              <a:gd name="T62" fmla="*/ 1434 w 1533"/>
              <a:gd name="T63" fmla="*/ 331 h 1617"/>
              <a:gd name="T64" fmla="*/ 1475 w 1533"/>
              <a:gd name="T65" fmla="*/ 410 h 1617"/>
              <a:gd name="T66" fmla="*/ 1509 w 1533"/>
              <a:gd name="T67" fmla="*/ 494 h 1617"/>
              <a:gd name="T68" fmla="*/ 1527 w 1533"/>
              <a:gd name="T69" fmla="*/ 570 h 1617"/>
              <a:gd name="T70" fmla="*/ 1533 w 1533"/>
              <a:gd name="T71" fmla="*/ 673 h 1617"/>
              <a:gd name="T72" fmla="*/ 1527 w 1533"/>
              <a:gd name="T73" fmla="*/ 730 h 1617"/>
              <a:gd name="T74" fmla="*/ 1511 w 1533"/>
              <a:gd name="T75" fmla="*/ 790 h 1617"/>
              <a:gd name="T76" fmla="*/ 1470 w 1533"/>
              <a:gd name="T77" fmla="*/ 873 h 1617"/>
              <a:gd name="T78" fmla="*/ 1404 w 1533"/>
              <a:gd name="T79" fmla="*/ 958 h 1617"/>
              <a:gd name="T80" fmla="*/ 1372 w 1533"/>
              <a:gd name="T81" fmla="*/ 1003 h 1617"/>
              <a:gd name="T82" fmla="*/ 1371 w 1533"/>
              <a:gd name="T83" fmla="*/ 1197 h 1617"/>
              <a:gd name="T84" fmla="*/ 1365 w 1533"/>
              <a:gd name="T85" fmla="*/ 1229 h 1617"/>
              <a:gd name="T86" fmla="*/ 1348 w 1533"/>
              <a:gd name="T87" fmla="*/ 1254 h 1617"/>
              <a:gd name="T88" fmla="*/ 1323 w 1533"/>
              <a:gd name="T89" fmla="*/ 1271 h 1617"/>
              <a:gd name="T90" fmla="*/ 1292 w 1533"/>
              <a:gd name="T91" fmla="*/ 1277 h 1617"/>
              <a:gd name="T92" fmla="*/ 997 w 1533"/>
              <a:gd name="T93" fmla="*/ 1276 h 1617"/>
              <a:gd name="T94" fmla="*/ 953 w 1533"/>
              <a:gd name="T95" fmla="*/ 1279 h 1617"/>
              <a:gd name="T96" fmla="*/ 899 w 1533"/>
              <a:gd name="T97" fmla="*/ 1297 h 1617"/>
              <a:gd name="T98" fmla="*/ 738 w 1533"/>
              <a:gd name="T99" fmla="*/ 1390 h 1617"/>
              <a:gd name="T100" fmla="*/ 653 w 1533"/>
              <a:gd name="T101" fmla="*/ 1447 h 1617"/>
              <a:gd name="T102" fmla="*/ 546 w 1533"/>
              <a:gd name="T103" fmla="*/ 1529 h 1617"/>
              <a:gd name="T104" fmla="*/ 462 w 1533"/>
              <a:gd name="T105" fmla="*/ 1582 h 1617"/>
              <a:gd name="T106" fmla="*/ 367 w 1533"/>
              <a:gd name="T107" fmla="*/ 1614 h 1617"/>
              <a:gd name="T108" fmla="*/ 365 w 1533"/>
              <a:gd name="T109" fmla="*/ 1617 h 1617"/>
              <a:gd name="T110" fmla="*/ 1283 w 1533"/>
              <a:gd name="T111" fmla="*/ 1189 h 1617"/>
              <a:gd name="T112" fmla="*/ 1283 w 1533"/>
              <a:gd name="T113" fmla="*/ 532 h 1617"/>
              <a:gd name="T114" fmla="*/ 1276 w 1533"/>
              <a:gd name="T115" fmla="*/ 512 h 1617"/>
              <a:gd name="T116" fmla="*/ 1157 w 1533"/>
              <a:gd name="T117" fmla="*/ 407 h 1617"/>
              <a:gd name="T118" fmla="*/ 934 w 1533"/>
              <a:gd name="T119" fmla="*/ 378 h 1617"/>
              <a:gd name="T120" fmla="*/ 782 w 1533"/>
              <a:gd name="T121" fmla="*/ 510 h 1617"/>
              <a:gd name="T122" fmla="*/ 774 w 1533"/>
              <a:gd name="T123" fmla="*/ 535 h 1617"/>
              <a:gd name="T124" fmla="*/ 774 w 1533"/>
              <a:gd name="T125" fmla="*/ 1189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33" h="1617">
                <a:moveTo>
                  <a:pt x="241" y="1617"/>
                </a:moveTo>
                <a:lnTo>
                  <a:pt x="241" y="1617"/>
                </a:lnTo>
                <a:lnTo>
                  <a:pt x="222" y="1611"/>
                </a:lnTo>
                <a:lnTo>
                  <a:pt x="204" y="1603"/>
                </a:lnTo>
                <a:lnTo>
                  <a:pt x="186" y="1594"/>
                </a:lnTo>
                <a:lnTo>
                  <a:pt x="170" y="1585"/>
                </a:lnTo>
                <a:lnTo>
                  <a:pt x="154" y="1574"/>
                </a:lnTo>
                <a:lnTo>
                  <a:pt x="139" y="1562"/>
                </a:lnTo>
                <a:lnTo>
                  <a:pt x="124" y="1550"/>
                </a:lnTo>
                <a:lnTo>
                  <a:pt x="110" y="1537"/>
                </a:lnTo>
                <a:lnTo>
                  <a:pt x="110" y="1537"/>
                </a:lnTo>
                <a:lnTo>
                  <a:pt x="93" y="1518"/>
                </a:lnTo>
                <a:lnTo>
                  <a:pt x="76" y="1499"/>
                </a:lnTo>
                <a:lnTo>
                  <a:pt x="60" y="1480"/>
                </a:lnTo>
                <a:lnTo>
                  <a:pt x="45" y="1460"/>
                </a:lnTo>
                <a:lnTo>
                  <a:pt x="32" y="1438"/>
                </a:lnTo>
                <a:lnTo>
                  <a:pt x="21" y="1416"/>
                </a:lnTo>
                <a:lnTo>
                  <a:pt x="16" y="1404"/>
                </a:lnTo>
                <a:lnTo>
                  <a:pt x="12" y="1392"/>
                </a:lnTo>
                <a:lnTo>
                  <a:pt x="8" y="1380"/>
                </a:lnTo>
                <a:lnTo>
                  <a:pt x="5" y="1367"/>
                </a:lnTo>
                <a:lnTo>
                  <a:pt x="5" y="1367"/>
                </a:lnTo>
                <a:lnTo>
                  <a:pt x="3" y="1355"/>
                </a:lnTo>
                <a:lnTo>
                  <a:pt x="1" y="1343"/>
                </a:lnTo>
                <a:lnTo>
                  <a:pt x="0" y="1331"/>
                </a:lnTo>
                <a:lnTo>
                  <a:pt x="0" y="1320"/>
                </a:lnTo>
                <a:lnTo>
                  <a:pt x="1" y="1308"/>
                </a:lnTo>
                <a:lnTo>
                  <a:pt x="2" y="1297"/>
                </a:lnTo>
                <a:lnTo>
                  <a:pt x="5" y="1274"/>
                </a:lnTo>
                <a:lnTo>
                  <a:pt x="11" y="1252"/>
                </a:lnTo>
                <a:lnTo>
                  <a:pt x="19" y="1230"/>
                </a:lnTo>
                <a:lnTo>
                  <a:pt x="28" y="1209"/>
                </a:lnTo>
                <a:lnTo>
                  <a:pt x="40" y="1188"/>
                </a:lnTo>
                <a:lnTo>
                  <a:pt x="40" y="1188"/>
                </a:lnTo>
                <a:lnTo>
                  <a:pt x="55" y="1163"/>
                </a:lnTo>
                <a:lnTo>
                  <a:pt x="71" y="1139"/>
                </a:lnTo>
                <a:lnTo>
                  <a:pt x="88" y="1116"/>
                </a:lnTo>
                <a:lnTo>
                  <a:pt x="106" y="1093"/>
                </a:lnTo>
                <a:lnTo>
                  <a:pt x="125" y="1071"/>
                </a:lnTo>
                <a:lnTo>
                  <a:pt x="145" y="1051"/>
                </a:lnTo>
                <a:lnTo>
                  <a:pt x="166" y="1031"/>
                </a:lnTo>
                <a:lnTo>
                  <a:pt x="188" y="1012"/>
                </a:lnTo>
                <a:lnTo>
                  <a:pt x="188" y="1012"/>
                </a:lnTo>
                <a:lnTo>
                  <a:pt x="200" y="1002"/>
                </a:lnTo>
                <a:lnTo>
                  <a:pt x="213" y="992"/>
                </a:lnTo>
                <a:lnTo>
                  <a:pt x="241" y="975"/>
                </a:lnTo>
                <a:lnTo>
                  <a:pt x="268" y="959"/>
                </a:lnTo>
                <a:lnTo>
                  <a:pt x="297" y="945"/>
                </a:lnTo>
                <a:lnTo>
                  <a:pt x="297" y="945"/>
                </a:lnTo>
                <a:lnTo>
                  <a:pt x="314" y="936"/>
                </a:lnTo>
                <a:lnTo>
                  <a:pt x="331" y="928"/>
                </a:lnTo>
                <a:lnTo>
                  <a:pt x="364" y="908"/>
                </a:lnTo>
                <a:lnTo>
                  <a:pt x="395" y="887"/>
                </a:lnTo>
                <a:lnTo>
                  <a:pt x="425" y="864"/>
                </a:lnTo>
                <a:lnTo>
                  <a:pt x="454" y="840"/>
                </a:lnTo>
                <a:lnTo>
                  <a:pt x="482" y="814"/>
                </a:lnTo>
                <a:lnTo>
                  <a:pt x="508" y="787"/>
                </a:lnTo>
                <a:lnTo>
                  <a:pt x="533" y="758"/>
                </a:lnTo>
                <a:lnTo>
                  <a:pt x="533" y="758"/>
                </a:lnTo>
                <a:lnTo>
                  <a:pt x="552" y="736"/>
                </a:lnTo>
                <a:lnTo>
                  <a:pt x="569" y="713"/>
                </a:lnTo>
                <a:lnTo>
                  <a:pt x="577" y="701"/>
                </a:lnTo>
                <a:lnTo>
                  <a:pt x="584" y="688"/>
                </a:lnTo>
                <a:lnTo>
                  <a:pt x="591" y="675"/>
                </a:lnTo>
                <a:lnTo>
                  <a:pt x="596" y="662"/>
                </a:lnTo>
                <a:lnTo>
                  <a:pt x="596" y="662"/>
                </a:lnTo>
                <a:lnTo>
                  <a:pt x="605" y="637"/>
                </a:lnTo>
                <a:lnTo>
                  <a:pt x="611" y="612"/>
                </a:lnTo>
                <a:lnTo>
                  <a:pt x="614" y="599"/>
                </a:lnTo>
                <a:lnTo>
                  <a:pt x="616" y="587"/>
                </a:lnTo>
                <a:lnTo>
                  <a:pt x="617" y="574"/>
                </a:lnTo>
                <a:lnTo>
                  <a:pt x="617" y="561"/>
                </a:lnTo>
                <a:lnTo>
                  <a:pt x="617" y="561"/>
                </a:lnTo>
                <a:lnTo>
                  <a:pt x="617" y="501"/>
                </a:lnTo>
                <a:lnTo>
                  <a:pt x="617" y="441"/>
                </a:lnTo>
                <a:lnTo>
                  <a:pt x="617" y="441"/>
                </a:lnTo>
                <a:lnTo>
                  <a:pt x="618" y="412"/>
                </a:lnTo>
                <a:lnTo>
                  <a:pt x="621" y="384"/>
                </a:lnTo>
                <a:lnTo>
                  <a:pt x="625" y="355"/>
                </a:lnTo>
                <a:lnTo>
                  <a:pt x="631" y="328"/>
                </a:lnTo>
                <a:lnTo>
                  <a:pt x="638" y="300"/>
                </a:lnTo>
                <a:lnTo>
                  <a:pt x="648" y="274"/>
                </a:lnTo>
                <a:lnTo>
                  <a:pt x="658" y="247"/>
                </a:lnTo>
                <a:lnTo>
                  <a:pt x="670" y="221"/>
                </a:lnTo>
                <a:lnTo>
                  <a:pt x="670" y="221"/>
                </a:lnTo>
                <a:lnTo>
                  <a:pt x="690" y="184"/>
                </a:lnTo>
                <a:lnTo>
                  <a:pt x="710" y="148"/>
                </a:lnTo>
                <a:lnTo>
                  <a:pt x="732" y="113"/>
                </a:lnTo>
                <a:lnTo>
                  <a:pt x="744" y="96"/>
                </a:lnTo>
                <a:lnTo>
                  <a:pt x="756" y="79"/>
                </a:lnTo>
                <a:lnTo>
                  <a:pt x="756" y="79"/>
                </a:lnTo>
                <a:lnTo>
                  <a:pt x="767" y="65"/>
                </a:lnTo>
                <a:lnTo>
                  <a:pt x="780" y="53"/>
                </a:lnTo>
                <a:lnTo>
                  <a:pt x="794" y="42"/>
                </a:lnTo>
                <a:lnTo>
                  <a:pt x="809" y="32"/>
                </a:lnTo>
                <a:lnTo>
                  <a:pt x="825" y="24"/>
                </a:lnTo>
                <a:lnTo>
                  <a:pt x="842" y="17"/>
                </a:lnTo>
                <a:lnTo>
                  <a:pt x="859" y="12"/>
                </a:lnTo>
                <a:lnTo>
                  <a:pt x="877" y="7"/>
                </a:lnTo>
                <a:lnTo>
                  <a:pt x="877" y="7"/>
                </a:lnTo>
                <a:lnTo>
                  <a:pt x="892" y="4"/>
                </a:lnTo>
                <a:lnTo>
                  <a:pt x="906" y="2"/>
                </a:lnTo>
                <a:lnTo>
                  <a:pt x="921" y="1"/>
                </a:lnTo>
                <a:lnTo>
                  <a:pt x="935" y="0"/>
                </a:lnTo>
                <a:lnTo>
                  <a:pt x="949" y="0"/>
                </a:lnTo>
                <a:lnTo>
                  <a:pt x="964" y="0"/>
                </a:lnTo>
                <a:lnTo>
                  <a:pt x="992" y="3"/>
                </a:lnTo>
                <a:lnTo>
                  <a:pt x="1020" y="7"/>
                </a:lnTo>
                <a:lnTo>
                  <a:pt x="1048" y="14"/>
                </a:lnTo>
                <a:lnTo>
                  <a:pt x="1077" y="21"/>
                </a:lnTo>
                <a:lnTo>
                  <a:pt x="1105" y="30"/>
                </a:lnTo>
                <a:lnTo>
                  <a:pt x="1105" y="30"/>
                </a:lnTo>
                <a:lnTo>
                  <a:pt x="1122" y="36"/>
                </a:lnTo>
                <a:lnTo>
                  <a:pt x="1138" y="43"/>
                </a:lnTo>
                <a:lnTo>
                  <a:pt x="1154" y="50"/>
                </a:lnTo>
                <a:lnTo>
                  <a:pt x="1169" y="58"/>
                </a:lnTo>
                <a:lnTo>
                  <a:pt x="1184" y="66"/>
                </a:lnTo>
                <a:lnTo>
                  <a:pt x="1199" y="76"/>
                </a:lnTo>
                <a:lnTo>
                  <a:pt x="1227" y="95"/>
                </a:lnTo>
                <a:lnTo>
                  <a:pt x="1254" y="115"/>
                </a:lnTo>
                <a:lnTo>
                  <a:pt x="1279" y="138"/>
                </a:lnTo>
                <a:lnTo>
                  <a:pt x="1304" y="162"/>
                </a:lnTo>
                <a:lnTo>
                  <a:pt x="1327" y="187"/>
                </a:lnTo>
                <a:lnTo>
                  <a:pt x="1327" y="187"/>
                </a:lnTo>
                <a:lnTo>
                  <a:pt x="1356" y="221"/>
                </a:lnTo>
                <a:lnTo>
                  <a:pt x="1384" y="257"/>
                </a:lnTo>
                <a:lnTo>
                  <a:pt x="1410" y="293"/>
                </a:lnTo>
                <a:lnTo>
                  <a:pt x="1434" y="331"/>
                </a:lnTo>
                <a:lnTo>
                  <a:pt x="1445" y="350"/>
                </a:lnTo>
                <a:lnTo>
                  <a:pt x="1456" y="370"/>
                </a:lnTo>
                <a:lnTo>
                  <a:pt x="1466" y="389"/>
                </a:lnTo>
                <a:lnTo>
                  <a:pt x="1475" y="410"/>
                </a:lnTo>
                <a:lnTo>
                  <a:pt x="1484" y="430"/>
                </a:lnTo>
                <a:lnTo>
                  <a:pt x="1493" y="451"/>
                </a:lnTo>
                <a:lnTo>
                  <a:pt x="1501" y="472"/>
                </a:lnTo>
                <a:lnTo>
                  <a:pt x="1509" y="494"/>
                </a:lnTo>
                <a:lnTo>
                  <a:pt x="1509" y="494"/>
                </a:lnTo>
                <a:lnTo>
                  <a:pt x="1516" y="519"/>
                </a:lnTo>
                <a:lnTo>
                  <a:pt x="1522" y="545"/>
                </a:lnTo>
                <a:lnTo>
                  <a:pt x="1527" y="570"/>
                </a:lnTo>
                <a:lnTo>
                  <a:pt x="1530" y="596"/>
                </a:lnTo>
                <a:lnTo>
                  <a:pt x="1532" y="621"/>
                </a:lnTo>
                <a:lnTo>
                  <a:pt x="1533" y="647"/>
                </a:lnTo>
                <a:lnTo>
                  <a:pt x="1533" y="673"/>
                </a:lnTo>
                <a:lnTo>
                  <a:pt x="1531" y="699"/>
                </a:lnTo>
                <a:lnTo>
                  <a:pt x="1531" y="699"/>
                </a:lnTo>
                <a:lnTo>
                  <a:pt x="1529" y="715"/>
                </a:lnTo>
                <a:lnTo>
                  <a:pt x="1527" y="730"/>
                </a:lnTo>
                <a:lnTo>
                  <a:pt x="1524" y="745"/>
                </a:lnTo>
                <a:lnTo>
                  <a:pt x="1520" y="760"/>
                </a:lnTo>
                <a:lnTo>
                  <a:pt x="1516" y="775"/>
                </a:lnTo>
                <a:lnTo>
                  <a:pt x="1511" y="790"/>
                </a:lnTo>
                <a:lnTo>
                  <a:pt x="1506" y="804"/>
                </a:lnTo>
                <a:lnTo>
                  <a:pt x="1499" y="818"/>
                </a:lnTo>
                <a:lnTo>
                  <a:pt x="1486" y="846"/>
                </a:lnTo>
                <a:lnTo>
                  <a:pt x="1470" y="873"/>
                </a:lnTo>
                <a:lnTo>
                  <a:pt x="1453" y="899"/>
                </a:lnTo>
                <a:lnTo>
                  <a:pt x="1433" y="924"/>
                </a:lnTo>
                <a:lnTo>
                  <a:pt x="1433" y="924"/>
                </a:lnTo>
                <a:lnTo>
                  <a:pt x="1404" y="958"/>
                </a:lnTo>
                <a:lnTo>
                  <a:pt x="1376" y="994"/>
                </a:lnTo>
                <a:lnTo>
                  <a:pt x="1376" y="994"/>
                </a:lnTo>
                <a:lnTo>
                  <a:pt x="1373" y="998"/>
                </a:lnTo>
                <a:lnTo>
                  <a:pt x="1372" y="1003"/>
                </a:lnTo>
                <a:lnTo>
                  <a:pt x="1371" y="1014"/>
                </a:lnTo>
                <a:lnTo>
                  <a:pt x="1371" y="1014"/>
                </a:lnTo>
                <a:lnTo>
                  <a:pt x="1371" y="1197"/>
                </a:lnTo>
                <a:lnTo>
                  <a:pt x="1371" y="1197"/>
                </a:lnTo>
                <a:lnTo>
                  <a:pt x="1371" y="1205"/>
                </a:lnTo>
                <a:lnTo>
                  <a:pt x="1369" y="1214"/>
                </a:lnTo>
                <a:lnTo>
                  <a:pt x="1367" y="1221"/>
                </a:lnTo>
                <a:lnTo>
                  <a:pt x="1365" y="1229"/>
                </a:lnTo>
                <a:lnTo>
                  <a:pt x="1362" y="1236"/>
                </a:lnTo>
                <a:lnTo>
                  <a:pt x="1358" y="1242"/>
                </a:lnTo>
                <a:lnTo>
                  <a:pt x="1353" y="1248"/>
                </a:lnTo>
                <a:lnTo>
                  <a:pt x="1348" y="1254"/>
                </a:lnTo>
                <a:lnTo>
                  <a:pt x="1343" y="1259"/>
                </a:lnTo>
                <a:lnTo>
                  <a:pt x="1337" y="1264"/>
                </a:lnTo>
                <a:lnTo>
                  <a:pt x="1330" y="1268"/>
                </a:lnTo>
                <a:lnTo>
                  <a:pt x="1323" y="1271"/>
                </a:lnTo>
                <a:lnTo>
                  <a:pt x="1316" y="1273"/>
                </a:lnTo>
                <a:lnTo>
                  <a:pt x="1308" y="1275"/>
                </a:lnTo>
                <a:lnTo>
                  <a:pt x="1300" y="1277"/>
                </a:lnTo>
                <a:lnTo>
                  <a:pt x="1292" y="1277"/>
                </a:lnTo>
                <a:lnTo>
                  <a:pt x="1292" y="1277"/>
                </a:lnTo>
                <a:lnTo>
                  <a:pt x="1145" y="1278"/>
                </a:lnTo>
                <a:lnTo>
                  <a:pt x="1070" y="1277"/>
                </a:lnTo>
                <a:lnTo>
                  <a:pt x="997" y="1276"/>
                </a:lnTo>
                <a:lnTo>
                  <a:pt x="997" y="1276"/>
                </a:lnTo>
                <a:lnTo>
                  <a:pt x="982" y="1276"/>
                </a:lnTo>
                <a:lnTo>
                  <a:pt x="967" y="1277"/>
                </a:lnTo>
                <a:lnTo>
                  <a:pt x="953" y="1279"/>
                </a:lnTo>
                <a:lnTo>
                  <a:pt x="939" y="1282"/>
                </a:lnTo>
                <a:lnTo>
                  <a:pt x="925" y="1286"/>
                </a:lnTo>
                <a:lnTo>
                  <a:pt x="912" y="1291"/>
                </a:lnTo>
                <a:lnTo>
                  <a:pt x="899" y="1297"/>
                </a:lnTo>
                <a:lnTo>
                  <a:pt x="886" y="1303"/>
                </a:lnTo>
                <a:lnTo>
                  <a:pt x="886" y="1303"/>
                </a:lnTo>
                <a:lnTo>
                  <a:pt x="787" y="1361"/>
                </a:lnTo>
                <a:lnTo>
                  <a:pt x="738" y="1390"/>
                </a:lnTo>
                <a:lnTo>
                  <a:pt x="689" y="1421"/>
                </a:lnTo>
                <a:lnTo>
                  <a:pt x="689" y="1421"/>
                </a:lnTo>
                <a:lnTo>
                  <a:pt x="671" y="1433"/>
                </a:lnTo>
                <a:lnTo>
                  <a:pt x="653" y="1447"/>
                </a:lnTo>
                <a:lnTo>
                  <a:pt x="617" y="1474"/>
                </a:lnTo>
                <a:lnTo>
                  <a:pt x="582" y="1502"/>
                </a:lnTo>
                <a:lnTo>
                  <a:pt x="546" y="1529"/>
                </a:lnTo>
                <a:lnTo>
                  <a:pt x="546" y="1529"/>
                </a:lnTo>
                <a:lnTo>
                  <a:pt x="526" y="1544"/>
                </a:lnTo>
                <a:lnTo>
                  <a:pt x="505" y="1557"/>
                </a:lnTo>
                <a:lnTo>
                  <a:pt x="483" y="1570"/>
                </a:lnTo>
                <a:lnTo>
                  <a:pt x="462" y="1582"/>
                </a:lnTo>
                <a:lnTo>
                  <a:pt x="439" y="1592"/>
                </a:lnTo>
                <a:lnTo>
                  <a:pt x="416" y="1601"/>
                </a:lnTo>
                <a:lnTo>
                  <a:pt x="392" y="1608"/>
                </a:lnTo>
                <a:lnTo>
                  <a:pt x="367" y="1614"/>
                </a:lnTo>
                <a:lnTo>
                  <a:pt x="367" y="1614"/>
                </a:lnTo>
                <a:lnTo>
                  <a:pt x="366" y="1615"/>
                </a:lnTo>
                <a:lnTo>
                  <a:pt x="365" y="1617"/>
                </a:lnTo>
                <a:lnTo>
                  <a:pt x="365" y="1617"/>
                </a:lnTo>
                <a:lnTo>
                  <a:pt x="241" y="1617"/>
                </a:lnTo>
                <a:lnTo>
                  <a:pt x="241" y="1617"/>
                </a:lnTo>
                <a:close/>
                <a:moveTo>
                  <a:pt x="1283" y="1189"/>
                </a:moveTo>
                <a:lnTo>
                  <a:pt x="1283" y="1189"/>
                </a:lnTo>
                <a:lnTo>
                  <a:pt x="1283" y="1173"/>
                </a:lnTo>
                <a:lnTo>
                  <a:pt x="1283" y="1173"/>
                </a:lnTo>
                <a:lnTo>
                  <a:pt x="1283" y="852"/>
                </a:lnTo>
                <a:lnTo>
                  <a:pt x="1283" y="532"/>
                </a:lnTo>
                <a:lnTo>
                  <a:pt x="1283" y="532"/>
                </a:lnTo>
                <a:lnTo>
                  <a:pt x="1282" y="526"/>
                </a:lnTo>
                <a:lnTo>
                  <a:pt x="1279" y="519"/>
                </a:lnTo>
                <a:lnTo>
                  <a:pt x="1276" y="512"/>
                </a:lnTo>
                <a:lnTo>
                  <a:pt x="1271" y="507"/>
                </a:lnTo>
                <a:lnTo>
                  <a:pt x="1271" y="507"/>
                </a:lnTo>
                <a:lnTo>
                  <a:pt x="1214" y="457"/>
                </a:lnTo>
                <a:lnTo>
                  <a:pt x="1157" y="407"/>
                </a:lnTo>
                <a:lnTo>
                  <a:pt x="1157" y="407"/>
                </a:lnTo>
                <a:lnTo>
                  <a:pt x="1029" y="297"/>
                </a:lnTo>
                <a:lnTo>
                  <a:pt x="1029" y="297"/>
                </a:lnTo>
                <a:lnTo>
                  <a:pt x="934" y="378"/>
                </a:lnTo>
                <a:lnTo>
                  <a:pt x="934" y="378"/>
                </a:lnTo>
                <a:lnTo>
                  <a:pt x="788" y="504"/>
                </a:lnTo>
                <a:lnTo>
                  <a:pt x="788" y="504"/>
                </a:lnTo>
                <a:lnTo>
                  <a:pt x="782" y="510"/>
                </a:lnTo>
                <a:lnTo>
                  <a:pt x="777" y="517"/>
                </a:lnTo>
                <a:lnTo>
                  <a:pt x="774" y="525"/>
                </a:lnTo>
                <a:lnTo>
                  <a:pt x="774" y="535"/>
                </a:lnTo>
                <a:lnTo>
                  <a:pt x="774" y="535"/>
                </a:lnTo>
                <a:lnTo>
                  <a:pt x="774" y="852"/>
                </a:lnTo>
                <a:lnTo>
                  <a:pt x="774" y="1170"/>
                </a:lnTo>
                <a:lnTo>
                  <a:pt x="774" y="1170"/>
                </a:lnTo>
                <a:lnTo>
                  <a:pt x="774" y="1189"/>
                </a:lnTo>
                <a:lnTo>
                  <a:pt x="774" y="1189"/>
                </a:lnTo>
                <a:lnTo>
                  <a:pt x="1283" y="1189"/>
                </a:lnTo>
                <a:lnTo>
                  <a:pt x="1283" y="118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3E086FC5-B332-6C79-605C-5BB767D1E1FB}"/>
              </a:ext>
            </a:extLst>
          </p:cNvPr>
          <p:cNvSpPr txBox="1"/>
          <p:nvPr/>
        </p:nvSpPr>
        <p:spPr>
          <a:xfrm>
            <a:off x="406400" y="5740659"/>
            <a:ext cx="7046444" cy="461665"/>
          </a:xfrm>
          <a:prstGeom prst="rect">
            <a:avLst/>
          </a:prstGeom>
          <a:noFill/>
        </p:spPr>
        <p:txBody>
          <a:bodyPr wrap="square" lIns="91440" tIns="45720" rIns="91440" bIns="45720" anchor="t">
            <a:spAutoFit/>
          </a:bodyPr>
          <a:lstStyle/>
          <a:p>
            <a:pPr lvl="0">
              <a:defRPr/>
            </a:pPr>
            <a:r>
              <a:rPr kumimoji="0" lang="en-US" sz="800" b="0" i="0" u="none" strike="noStrike" kern="1200" cap="none" spc="0" normalizeH="0" baseline="0" noProof="0" dirty="0">
                <a:ln>
                  <a:noFill/>
                </a:ln>
                <a:solidFill>
                  <a:srgbClr val="353B3E"/>
                </a:solidFill>
                <a:effectLst/>
                <a:uLnTx/>
                <a:uFillTx/>
                <a:latin typeface="Arial" panose="020B0604020202020204"/>
                <a:ea typeface="+mn-ea"/>
                <a:cs typeface="+mn-cs"/>
              </a:rPr>
              <a:t>*</a:t>
            </a:r>
            <a:r>
              <a:rPr lang="en-US" sz="800" dirty="0">
                <a:solidFill>
                  <a:srgbClr val="353B3E"/>
                </a:solidFill>
              </a:rPr>
              <a:t>18</a:t>
            </a:r>
            <a:r>
              <a:rPr lang="tr-TR" sz="800" dirty="0">
                <a:solidFill>
                  <a:srgbClr val="353B3E"/>
                </a:solidFill>
              </a:rPr>
              <a:t> yaş ve üzeri, TGP</a:t>
            </a:r>
            <a:r>
              <a:rPr lang="en-US" sz="800" dirty="0">
                <a:solidFill>
                  <a:srgbClr val="353B3E"/>
                </a:solidFill>
              </a:rPr>
              <a:t> </a:t>
            </a:r>
            <a:r>
              <a:rPr lang="en-US" sz="800" dirty="0" err="1">
                <a:solidFill>
                  <a:srgbClr val="353B3E"/>
                </a:solidFill>
              </a:rPr>
              <a:t>ile</a:t>
            </a:r>
            <a:r>
              <a:rPr lang="en-US" sz="800" dirty="0">
                <a:solidFill>
                  <a:srgbClr val="353B3E"/>
                </a:solidFill>
              </a:rPr>
              <a:t> </a:t>
            </a:r>
            <a:r>
              <a:rPr lang="en-US" sz="800" dirty="0" err="1">
                <a:solidFill>
                  <a:srgbClr val="353B3E"/>
                </a:solidFill>
              </a:rPr>
              <a:t>hastaneye</a:t>
            </a:r>
            <a:r>
              <a:rPr lang="en-US" sz="800" dirty="0">
                <a:solidFill>
                  <a:srgbClr val="353B3E"/>
                </a:solidFill>
              </a:rPr>
              <a:t> </a:t>
            </a:r>
            <a:r>
              <a:rPr lang="en-US" sz="800" dirty="0" err="1">
                <a:solidFill>
                  <a:srgbClr val="353B3E"/>
                </a:solidFill>
              </a:rPr>
              <a:t>yatırıldı</a:t>
            </a:r>
            <a:r>
              <a:rPr lang="tr-TR" sz="800" dirty="0">
                <a:solidFill>
                  <a:srgbClr val="353B3E"/>
                </a:solidFill>
                <a:latin typeface="Arial" panose="020B0604020202020204"/>
              </a:rPr>
              <a:t>. </a:t>
            </a:r>
            <a:r>
              <a:rPr kumimoji="0" lang="tr-TR" sz="800" b="0" i="0" u="none" strike="noStrike" kern="1200" cap="none" spc="0" normalizeH="0" baseline="0" noProof="0" dirty="0">
                <a:ln>
                  <a:noFill/>
                </a:ln>
                <a:solidFill>
                  <a:srgbClr val="353B3E"/>
                </a:solidFill>
                <a:effectLst/>
                <a:uLnTx/>
                <a:uFillTx/>
                <a:latin typeface="Arial" panose="020B0604020202020204"/>
                <a:ea typeface="+mn-ea"/>
                <a:cs typeface="+mn-cs"/>
              </a:rPr>
              <a:t>Temmuz </a:t>
            </a:r>
            <a:r>
              <a:rPr kumimoji="0" lang="en-US" sz="800" b="0" i="0" u="none" strike="noStrike" kern="1200" cap="none" spc="0" normalizeH="0" baseline="0" noProof="0" dirty="0">
                <a:ln>
                  <a:noFill/>
                </a:ln>
                <a:solidFill>
                  <a:srgbClr val="353B3E"/>
                </a:solidFill>
                <a:effectLst/>
                <a:uLnTx/>
                <a:uFillTx/>
                <a:latin typeface="Arial" panose="020B0604020202020204"/>
                <a:ea typeface="+mn-ea"/>
                <a:cs typeface="+mn-cs"/>
              </a:rPr>
              <a:t>2014</a:t>
            </a:r>
            <a:r>
              <a:rPr kumimoji="0" lang="tr-TR" sz="800" b="0" i="0" u="none" strike="noStrike" kern="1200" cap="none" spc="0" normalizeH="0" baseline="0" noProof="0" dirty="0">
                <a:ln>
                  <a:noFill/>
                </a:ln>
                <a:solidFill>
                  <a:srgbClr val="353B3E"/>
                </a:solidFill>
                <a:effectLst/>
                <a:uLnTx/>
                <a:uFillTx/>
                <a:latin typeface="Arial" panose="020B0604020202020204"/>
                <a:ea typeface="+mn-ea"/>
                <a:cs typeface="+mn-cs"/>
              </a:rPr>
              <a:t>’ten </a:t>
            </a:r>
            <a:r>
              <a:rPr kumimoji="0" lang="en-US" sz="800" b="0" i="0" u="none" strike="noStrike" kern="1200" cap="none" spc="0" normalizeH="0" baseline="0" noProof="0" dirty="0">
                <a:ln>
                  <a:noFill/>
                </a:ln>
                <a:solidFill>
                  <a:srgbClr val="353B3E"/>
                </a:solidFill>
                <a:effectLst/>
                <a:uLnTx/>
                <a:uFillTx/>
                <a:latin typeface="Arial" panose="020B0604020202020204"/>
                <a:ea typeface="+mn-ea"/>
                <a:cs typeface="+mn-cs"/>
              </a:rPr>
              <a:t>May 2016</a:t>
            </a:r>
            <a:r>
              <a:rPr kumimoji="0" lang="tr-TR" sz="800" b="0" i="0" u="none" strike="noStrike" kern="1200" cap="none" spc="0" normalizeH="0" baseline="0" noProof="0" dirty="0">
                <a:ln>
                  <a:noFill/>
                </a:ln>
                <a:solidFill>
                  <a:srgbClr val="353B3E"/>
                </a:solidFill>
                <a:effectLst/>
                <a:uLnTx/>
                <a:uFillTx/>
                <a:latin typeface="Arial" panose="020B0604020202020204"/>
                <a:ea typeface="+mn-ea"/>
                <a:cs typeface="+mn-cs"/>
              </a:rPr>
              <a:t>’ya kadar</a:t>
            </a:r>
            <a:r>
              <a:rPr kumimoji="0" lang="en-US" sz="800" b="0" i="0" u="none" strike="noStrike" kern="1200" cap="none" spc="0" normalizeH="0" baseline="0" noProof="0" dirty="0">
                <a:ln>
                  <a:noFill/>
                </a:ln>
                <a:solidFill>
                  <a:srgbClr val="353B3E"/>
                </a:solidFill>
                <a:effectLst/>
                <a:uLnTx/>
                <a:uFillTx/>
                <a:latin typeface="Arial" panose="020B0604020202020204"/>
                <a:ea typeface="+mn-ea"/>
                <a:cs typeface="+mn-cs"/>
              </a:rPr>
              <a:t> (N=7449).</a:t>
            </a:r>
          </a:p>
          <a:p>
            <a:pPr>
              <a:defRPr/>
            </a:pPr>
            <a:r>
              <a:rPr lang="en-US" sz="800" dirty="0">
                <a:solidFill>
                  <a:srgbClr val="353B3E"/>
                </a:solidFill>
                <a:latin typeface="Arial" panose="020B0604020202020204"/>
              </a:rPr>
              <a:t>ABD; Amerika </a:t>
            </a:r>
            <a:r>
              <a:rPr lang="en-US" sz="800" dirty="0" err="1">
                <a:solidFill>
                  <a:srgbClr val="353B3E"/>
                </a:solidFill>
                <a:latin typeface="Arial" panose="020B0604020202020204"/>
              </a:rPr>
              <a:t>Birleşik</a:t>
            </a:r>
            <a:r>
              <a:rPr lang="en-US" sz="800" dirty="0">
                <a:solidFill>
                  <a:srgbClr val="353B3E"/>
                </a:solidFill>
                <a:latin typeface="Arial" panose="020B0604020202020204"/>
              </a:rPr>
              <a:t> </a:t>
            </a:r>
            <a:r>
              <a:rPr lang="en-US" sz="800" dirty="0" err="1">
                <a:solidFill>
                  <a:srgbClr val="353B3E"/>
                </a:solidFill>
                <a:latin typeface="Arial" panose="020B0604020202020204"/>
              </a:rPr>
              <a:t>Devletleri</a:t>
            </a:r>
            <a:r>
              <a:rPr lang="en-US" sz="800" dirty="0">
                <a:solidFill>
                  <a:srgbClr val="353B3E"/>
                </a:solidFill>
                <a:latin typeface="Arial" panose="020B0604020202020204"/>
              </a:rPr>
              <a:t> TGP</a:t>
            </a:r>
            <a:r>
              <a:rPr kumimoji="0" lang="en-US" sz="800" b="0" i="0" u="none" strike="noStrike" kern="1200" cap="none" spc="0" normalizeH="0" baseline="0" noProof="0" dirty="0">
                <a:ln>
                  <a:noFill/>
                </a:ln>
                <a:solidFill>
                  <a:srgbClr val="353B3E"/>
                </a:solidFill>
                <a:effectLst/>
                <a:uLnTx/>
                <a:uFillTx/>
                <a:latin typeface="Arial" panose="020B0604020202020204"/>
                <a:ea typeface="+mn-ea"/>
                <a:cs typeface="+mn-cs"/>
              </a:rPr>
              <a:t>=</a:t>
            </a:r>
            <a:r>
              <a:rPr lang="en-US" sz="800" dirty="0">
                <a:solidFill>
                  <a:srgbClr val="353B3E"/>
                </a:solidFill>
                <a:latin typeface="Arial" panose="020B0604020202020204"/>
              </a:rPr>
              <a:t> </a:t>
            </a:r>
            <a:r>
              <a:rPr lang="en-US" sz="800" dirty="0" err="1">
                <a:solidFill>
                  <a:srgbClr val="353B3E"/>
                </a:solidFill>
                <a:latin typeface="Arial" panose="020B0604020202020204"/>
              </a:rPr>
              <a:t>Toplumda</a:t>
            </a:r>
            <a:r>
              <a:rPr lang="en-US" sz="800" dirty="0">
                <a:solidFill>
                  <a:srgbClr val="353B3E"/>
                </a:solidFill>
                <a:latin typeface="Arial" panose="020B0604020202020204"/>
              </a:rPr>
              <a:t> </a:t>
            </a:r>
            <a:r>
              <a:rPr lang="en-US" sz="800" dirty="0" err="1">
                <a:solidFill>
                  <a:srgbClr val="353B3E"/>
                </a:solidFill>
                <a:latin typeface="Arial" panose="020B0604020202020204"/>
              </a:rPr>
              <a:t>gelişen</a:t>
            </a:r>
            <a:r>
              <a:rPr lang="en-US" sz="800" dirty="0">
                <a:solidFill>
                  <a:srgbClr val="353B3E"/>
                </a:solidFill>
                <a:latin typeface="Arial" panose="020B0604020202020204"/>
              </a:rPr>
              <a:t> </a:t>
            </a:r>
            <a:r>
              <a:rPr lang="en-US" sz="800" dirty="0" err="1">
                <a:solidFill>
                  <a:srgbClr val="353B3E"/>
                </a:solidFill>
                <a:latin typeface="Arial" panose="020B0604020202020204"/>
              </a:rPr>
              <a:t>pnömoni</a:t>
            </a:r>
            <a:endParaRPr kumimoji="0" lang="en-US" sz="800" b="0" i="0" u="none" strike="noStrike" kern="1200" cap="none" spc="0" normalizeH="0" baseline="0" noProof="0" dirty="0">
              <a:ln>
                <a:noFill/>
              </a:ln>
              <a:solidFill>
                <a:srgbClr val="353B3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53B3E"/>
                </a:solidFill>
                <a:effectLst/>
                <a:uLnTx/>
                <a:uFillTx/>
                <a:latin typeface="Arial" panose="020B0604020202020204"/>
                <a:ea typeface="+mn-ea"/>
                <a:cs typeface="+mn-cs"/>
              </a:rPr>
              <a:t>Ramirez JA, et al. </a:t>
            </a:r>
            <a:r>
              <a:rPr kumimoji="0" lang="en-US" sz="800" b="0" i="1" u="none" strike="noStrike" kern="1200" cap="none" spc="0" normalizeH="0" baseline="0" noProof="0" dirty="0">
                <a:ln>
                  <a:noFill/>
                </a:ln>
                <a:solidFill>
                  <a:srgbClr val="353B3E"/>
                </a:solidFill>
                <a:effectLst/>
                <a:uLnTx/>
                <a:uFillTx/>
                <a:latin typeface="Arial" panose="020B0604020202020204"/>
                <a:ea typeface="+mn-ea"/>
                <a:cs typeface="+mn-cs"/>
              </a:rPr>
              <a:t>Clin Infect Dis</a:t>
            </a:r>
            <a:r>
              <a:rPr kumimoji="0" lang="en-US" sz="800" b="0" i="0" u="none" strike="noStrike" kern="1200" cap="none" spc="0" normalizeH="0" baseline="0" noProof="0" dirty="0">
                <a:ln>
                  <a:noFill/>
                </a:ln>
                <a:solidFill>
                  <a:srgbClr val="353B3E"/>
                </a:solidFill>
                <a:effectLst/>
                <a:uLnTx/>
                <a:uFillTx/>
                <a:latin typeface="Arial" panose="020B0604020202020204"/>
                <a:ea typeface="+mn-ea"/>
                <a:cs typeface="+mn-cs"/>
              </a:rPr>
              <a:t>. 2017;65(11):1806-1812.</a:t>
            </a:r>
            <a:endParaRPr lang="en-US" sz="800" b="0" i="0" u="none" strike="noStrike" kern="1200" cap="none" spc="0" normalizeH="0" baseline="0" noProof="0" dirty="0">
              <a:ln>
                <a:noFill/>
              </a:ln>
              <a:solidFill>
                <a:srgbClr val="353B3E"/>
              </a:solidFill>
              <a:effectLst/>
              <a:uLnTx/>
              <a:uFillTx/>
              <a:latin typeface="Arial" panose="020B0604020202020204"/>
              <a:cs typeface="Arial"/>
            </a:endParaRPr>
          </a:p>
        </p:txBody>
      </p:sp>
      <p:pic>
        <p:nvPicPr>
          <p:cNvPr id="14" name="Picture 13" descr="A yellow and blue logo&#10;&#10;Description automatically generated">
            <a:extLst>
              <a:ext uri="{FF2B5EF4-FFF2-40B4-BE49-F238E27FC236}">
                <a16:creationId xmlns:a16="http://schemas.microsoft.com/office/drawing/2014/main" id="{2FF91A86-427B-8BA5-877C-A91ED0704094}"/>
              </a:ext>
            </a:extLst>
          </p:cNvPr>
          <p:cNvPicPr>
            <a:picLocks noChangeAspect="1"/>
          </p:cNvPicPr>
          <p:nvPr/>
        </p:nvPicPr>
        <p:blipFill>
          <a:blip r:embed="rId5">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22314374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A3578-EDC1-209D-2C06-5418A3545329}"/>
              </a:ext>
            </a:extLst>
          </p:cNvPr>
          <p:cNvSpPr>
            <a:spLocks noGrp="1"/>
          </p:cNvSpPr>
          <p:nvPr>
            <p:ph type="title"/>
          </p:nvPr>
        </p:nvSpPr>
        <p:spPr>
          <a:xfrm>
            <a:off x="613152" y="221942"/>
            <a:ext cx="11253422" cy="815898"/>
          </a:xfrm>
        </p:spPr>
        <p:txBody>
          <a:bodyPr anchor="ctr">
            <a:normAutofit fontScale="90000"/>
          </a:bodyPr>
          <a:lstStyle/>
          <a:p>
            <a:r>
              <a:rPr lang="en-US" sz="3200" dirty="0" err="1">
                <a:solidFill>
                  <a:srgbClr val="FFFFFF"/>
                </a:solidFill>
              </a:rPr>
              <a:t>Küresel</a:t>
            </a:r>
            <a:r>
              <a:rPr lang="en-US" sz="3200" dirty="0">
                <a:solidFill>
                  <a:srgbClr val="FFFFFF"/>
                </a:solidFill>
              </a:rPr>
              <a:t> </a:t>
            </a:r>
            <a:r>
              <a:rPr lang="en-US" sz="3200" dirty="0" err="1">
                <a:solidFill>
                  <a:srgbClr val="FFFFFF"/>
                </a:solidFill>
              </a:rPr>
              <a:t>çapta</a:t>
            </a:r>
            <a:r>
              <a:rPr lang="en-US" sz="3200" dirty="0">
                <a:solidFill>
                  <a:srgbClr val="FFFFFF"/>
                </a:solidFill>
              </a:rPr>
              <a:t> viral </a:t>
            </a:r>
            <a:r>
              <a:rPr lang="en-US" sz="3200" dirty="0" err="1">
                <a:solidFill>
                  <a:srgbClr val="FFFFFF"/>
                </a:solidFill>
              </a:rPr>
              <a:t>ve</a:t>
            </a:r>
            <a:r>
              <a:rPr lang="en-US" sz="3200" dirty="0">
                <a:solidFill>
                  <a:srgbClr val="FFFFFF"/>
                </a:solidFill>
              </a:rPr>
              <a:t> </a:t>
            </a:r>
            <a:r>
              <a:rPr lang="en-US" sz="3200" dirty="0" err="1">
                <a:solidFill>
                  <a:srgbClr val="FFFFFF"/>
                </a:solidFill>
              </a:rPr>
              <a:t>bakteriyel</a:t>
            </a:r>
            <a:r>
              <a:rPr lang="en-US" sz="3200" dirty="0">
                <a:solidFill>
                  <a:srgbClr val="FFFFFF"/>
                </a:solidFill>
              </a:rPr>
              <a:t> </a:t>
            </a:r>
            <a:r>
              <a:rPr lang="en-US" sz="3200" dirty="0" err="1">
                <a:solidFill>
                  <a:srgbClr val="FFFFFF"/>
                </a:solidFill>
              </a:rPr>
              <a:t>patojenlerin</a:t>
            </a:r>
            <a:r>
              <a:rPr lang="en-US" sz="3200" dirty="0">
                <a:solidFill>
                  <a:srgbClr val="FFFFFF"/>
                </a:solidFill>
              </a:rPr>
              <a:t> </a:t>
            </a:r>
            <a:r>
              <a:rPr lang="en-US" sz="3200" dirty="0" err="1">
                <a:solidFill>
                  <a:srgbClr val="FFFFFF"/>
                </a:solidFill>
              </a:rPr>
              <a:t>neden</a:t>
            </a:r>
            <a:r>
              <a:rPr lang="en-US" sz="3200" dirty="0">
                <a:solidFill>
                  <a:srgbClr val="FFFFFF"/>
                </a:solidFill>
              </a:rPr>
              <a:t> </a:t>
            </a:r>
            <a:r>
              <a:rPr lang="en-US" sz="3200" dirty="0" err="1">
                <a:solidFill>
                  <a:srgbClr val="FFFFFF"/>
                </a:solidFill>
              </a:rPr>
              <a:t>olduğu</a:t>
            </a:r>
            <a:r>
              <a:rPr lang="en-US" sz="3200" dirty="0">
                <a:solidFill>
                  <a:srgbClr val="FFFFFF"/>
                </a:solidFill>
              </a:rPr>
              <a:t> alt </a:t>
            </a:r>
            <a:r>
              <a:rPr lang="en-US" sz="3200" dirty="0" err="1">
                <a:solidFill>
                  <a:srgbClr val="FFFFFF"/>
                </a:solidFill>
              </a:rPr>
              <a:t>solunum</a:t>
            </a:r>
            <a:r>
              <a:rPr lang="en-US" sz="3200" dirty="0">
                <a:solidFill>
                  <a:srgbClr val="FFFFFF"/>
                </a:solidFill>
              </a:rPr>
              <a:t> </a:t>
            </a:r>
            <a:r>
              <a:rPr lang="en-US" sz="3200" dirty="0" err="1">
                <a:solidFill>
                  <a:srgbClr val="FFFFFF"/>
                </a:solidFill>
              </a:rPr>
              <a:t>yolu</a:t>
            </a:r>
            <a:r>
              <a:rPr lang="en-US" sz="3200" dirty="0">
                <a:solidFill>
                  <a:srgbClr val="FFFFFF"/>
                </a:solidFill>
              </a:rPr>
              <a:t> </a:t>
            </a:r>
            <a:r>
              <a:rPr lang="en-US" sz="3200" dirty="0" err="1">
                <a:solidFill>
                  <a:srgbClr val="FFFFFF"/>
                </a:solidFill>
              </a:rPr>
              <a:t>enfeksiyonları</a:t>
            </a:r>
            <a:r>
              <a:rPr lang="en-US" sz="3200" dirty="0">
                <a:solidFill>
                  <a:srgbClr val="FFFFFF"/>
                </a:solidFill>
              </a:rPr>
              <a:t>*, </a:t>
            </a:r>
            <a:r>
              <a:rPr lang="en-US" sz="3200" dirty="0" err="1">
                <a:solidFill>
                  <a:srgbClr val="FFFFFF"/>
                </a:solidFill>
              </a:rPr>
              <a:t>önde</a:t>
            </a:r>
            <a:r>
              <a:rPr lang="en-US" sz="3200" dirty="0">
                <a:solidFill>
                  <a:srgbClr val="FFFFFF"/>
                </a:solidFill>
              </a:rPr>
              <a:t> </a:t>
            </a:r>
            <a:r>
              <a:rPr lang="en-US" sz="3200" dirty="0" err="1">
                <a:solidFill>
                  <a:srgbClr val="FFFFFF"/>
                </a:solidFill>
              </a:rPr>
              <a:t>gelen</a:t>
            </a:r>
            <a:r>
              <a:rPr lang="en-US" sz="3200" dirty="0">
                <a:solidFill>
                  <a:srgbClr val="FFFFFF"/>
                </a:solidFill>
              </a:rPr>
              <a:t> </a:t>
            </a:r>
            <a:r>
              <a:rPr lang="en-US" sz="3200" dirty="0" err="1">
                <a:solidFill>
                  <a:srgbClr val="FFFFFF"/>
                </a:solidFill>
              </a:rPr>
              <a:t>ölüm</a:t>
            </a:r>
            <a:r>
              <a:rPr lang="en-US" sz="3200" dirty="0">
                <a:solidFill>
                  <a:srgbClr val="FFFFFF"/>
                </a:solidFill>
              </a:rPr>
              <a:t> </a:t>
            </a:r>
            <a:r>
              <a:rPr lang="en-US" sz="3200" dirty="0" err="1">
                <a:solidFill>
                  <a:srgbClr val="FFFFFF"/>
                </a:solidFill>
              </a:rPr>
              <a:t>nedenlerinden</a:t>
            </a:r>
            <a:r>
              <a:rPr lang="en-US" sz="3200" dirty="0">
                <a:solidFill>
                  <a:srgbClr val="FFFFFF"/>
                </a:solidFill>
              </a:rPr>
              <a:t> </a:t>
            </a:r>
            <a:r>
              <a:rPr lang="en-US" sz="3200" dirty="0" err="1">
                <a:solidFill>
                  <a:srgbClr val="FFFFFF"/>
                </a:solidFill>
              </a:rPr>
              <a:t>biridir</a:t>
            </a:r>
            <a:r>
              <a:rPr lang="en-US" sz="3200" dirty="0">
                <a:solidFill>
                  <a:srgbClr val="FFFFFF"/>
                </a:solidFill>
              </a:rPr>
              <a:t>. </a:t>
            </a:r>
            <a:endParaRPr lang="tr-TR" sz="3200" dirty="0">
              <a:solidFill>
                <a:schemeClr val="bg1"/>
              </a:solidFill>
            </a:endParaRPr>
          </a:p>
        </p:txBody>
      </p:sp>
      <p:sp>
        <p:nvSpPr>
          <p:cNvPr id="3" name="Slide Number Placeholder 2">
            <a:extLst>
              <a:ext uri="{FF2B5EF4-FFF2-40B4-BE49-F238E27FC236}">
                <a16:creationId xmlns:a16="http://schemas.microsoft.com/office/drawing/2014/main" id="{2DFFFE3C-D069-3788-CEAD-EC1CBF33130C}"/>
              </a:ext>
            </a:extLst>
          </p:cNvPr>
          <p:cNvSpPr>
            <a:spLocks noGrp="1"/>
          </p:cNvSpPr>
          <p:nvPr>
            <p:ph type="sldNum" sz="quarter" idx="4"/>
          </p:nvPr>
        </p:nvSpPr>
        <p:spPr/>
        <p:txBody>
          <a:bodyPr/>
          <a:lstStyle/>
          <a:p>
            <a:fld id="{2B39012A-6F33-204B-8224-A57BEFB0AAD0}" type="slidenum">
              <a:rPr lang="en-US" smtClean="0"/>
              <a:pPr/>
              <a:t>4</a:t>
            </a:fld>
            <a:endParaRPr lang="en-US"/>
          </a:p>
        </p:txBody>
      </p:sp>
      <p:pic>
        <p:nvPicPr>
          <p:cNvPr id="20" name="Picture 19" descr="A yellow and blue logo&#10;&#10;Description automatically generated">
            <a:extLst>
              <a:ext uri="{FF2B5EF4-FFF2-40B4-BE49-F238E27FC236}">
                <a16:creationId xmlns:a16="http://schemas.microsoft.com/office/drawing/2014/main" id="{827AC245-9EAE-484B-C5AC-8C5F05F3D9DD}"/>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21" name="Picture 20" descr="A black and blue logo&#10;&#10;AI-generated content may be incorrect.">
            <a:extLst>
              <a:ext uri="{FF2B5EF4-FFF2-40B4-BE49-F238E27FC236}">
                <a16:creationId xmlns:a16="http://schemas.microsoft.com/office/drawing/2014/main" id="{A7741775-0139-B682-66FF-1714B1270451}"/>
              </a:ext>
            </a:extLst>
          </p:cNvPr>
          <p:cNvPicPr>
            <a:picLocks noChangeAspect="1"/>
          </p:cNvPicPr>
          <p:nvPr/>
        </p:nvPicPr>
        <p:blipFill>
          <a:blip r:embed="rId3"/>
          <a:stretch>
            <a:fillRect/>
          </a:stretch>
        </p:blipFill>
        <p:spPr>
          <a:xfrm>
            <a:off x="9513903" y="6494969"/>
            <a:ext cx="981021" cy="204067"/>
          </a:xfrm>
          <a:prstGeom prst="rect">
            <a:avLst/>
          </a:prstGeom>
        </p:spPr>
      </p:pic>
      <p:sp>
        <p:nvSpPr>
          <p:cNvPr id="13" name="Rectangle: Rounded Corners 12">
            <a:extLst>
              <a:ext uri="{FF2B5EF4-FFF2-40B4-BE49-F238E27FC236}">
                <a16:creationId xmlns:a16="http://schemas.microsoft.com/office/drawing/2014/main" id="{2A175C14-BF53-26FC-C72F-189C13BAAB2B}"/>
              </a:ext>
            </a:extLst>
          </p:cNvPr>
          <p:cNvSpPr/>
          <p:nvPr/>
        </p:nvSpPr>
        <p:spPr>
          <a:xfrm>
            <a:off x="595901" y="1501660"/>
            <a:ext cx="3584492" cy="3628649"/>
          </a:xfrm>
          <a:prstGeom prst="roundRect">
            <a:avLst>
              <a:gd name="adj" fmla="val 9444"/>
            </a:avLst>
          </a:prstGeom>
          <a:solidFill>
            <a:schemeClr val="accent1">
              <a:lumMod val="20000"/>
              <a:lumOff val="80000"/>
              <a:alpha val="6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4" name="Rectangle: Rounded Corners 13">
            <a:extLst>
              <a:ext uri="{FF2B5EF4-FFF2-40B4-BE49-F238E27FC236}">
                <a16:creationId xmlns:a16="http://schemas.microsoft.com/office/drawing/2014/main" id="{1C4DBAF7-DE78-9C9D-B07E-41B5829600A1}"/>
              </a:ext>
            </a:extLst>
          </p:cNvPr>
          <p:cNvSpPr/>
          <p:nvPr/>
        </p:nvSpPr>
        <p:spPr>
          <a:xfrm>
            <a:off x="606887" y="1715763"/>
            <a:ext cx="3784261" cy="3287911"/>
          </a:xfrm>
          <a:prstGeom prst="roundRect">
            <a:avLst>
              <a:gd name="adj" fmla="val 9444"/>
            </a:avLst>
          </a:prstGeom>
          <a:gradFill>
            <a:gsLst>
              <a:gs pos="0">
                <a:schemeClr val="accent1"/>
              </a:gs>
              <a:gs pos="100000">
                <a:schemeClr val="accent1">
                  <a:lumMod val="75000"/>
                </a:schemeClr>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5" name="Rectangle: Rounded Corners 14">
            <a:extLst>
              <a:ext uri="{FF2B5EF4-FFF2-40B4-BE49-F238E27FC236}">
                <a16:creationId xmlns:a16="http://schemas.microsoft.com/office/drawing/2014/main" id="{06B3DDA0-5287-0111-519F-64FF0CA75E0D}"/>
              </a:ext>
            </a:extLst>
          </p:cNvPr>
          <p:cNvSpPr/>
          <p:nvPr/>
        </p:nvSpPr>
        <p:spPr>
          <a:xfrm>
            <a:off x="4391148" y="1482471"/>
            <a:ext cx="7171726" cy="2628727"/>
          </a:xfrm>
          <a:prstGeom prst="roundRect">
            <a:avLst>
              <a:gd name="adj" fmla="val 7777"/>
            </a:avLst>
          </a:prstGeom>
          <a:solidFill>
            <a:schemeClr val="bg1">
              <a:alpha val="85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16" name="TextBox 15">
            <a:extLst>
              <a:ext uri="{FF2B5EF4-FFF2-40B4-BE49-F238E27FC236}">
                <a16:creationId xmlns:a16="http://schemas.microsoft.com/office/drawing/2014/main" id="{3A6191B1-FEBA-455F-D8E4-1BE93F016A55}"/>
              </a:ext>
            </a:extLst>
          </p:cNvPr>
          <p:cNvSpPr txBox="1"/>
          <p:nvPr/>
        </p:nvSpPr>
        <p:spPr>
          <a:xfrm>
            <a:off x="8589057" y="2058782"/>
            <a:ext cx="1460818" cy="338554"/>
          </a:xfrm>
          <a:prstGeom prst="rect">
            <a:avLst/>
          </a:prstGeom>
          <a:noFill/>
        </p:spPr>
        <p:txBody>
          <a:bodyPr wrap="square" anchor="ctr">
            <a:noAutofit/>
          </a:bodyPr>
          <a:lstStyle/>
          <a:p>
            <a:pPr marL="0" marR="0" lvl="0" indent="0" algn="ctr" defTabSz="914400" rtl="0" eaLnBrk="1" fontAlgn="base" latinLnBrk="0" hangingPunct="1">
              <a:lnSpc>
                <a:spcPct val="100000"/>
              </a:lnSpc>
              <a:spcBef>
                <a:spcPts val="0"/>
              </a:spcBef>
              <a:spcAft>
                <a:spcPts val="1200"/>
              </a:spcAft>
              <a:buClr>
                <a:srgbClr val="000000"/>
              </a:buClr>
              <a:buSzPct val="100000"/>
              <a:buFontTx/>
              <a:buNone/>
              <a:tabLst/>
              <a:defRPr/>
            </a:pPr>
            <a:r>
              <a:rPr kumimoji="0" lang="en-US" sz="1600" b="1" i="0" u="none" strike="noStrike" kern="1200" cap="none" spc="0" normalizeH="0" baseline="0" noProof="0">
                <a:ln>
                  <a:noFill/>
                </a:ln>
                <a:solidFill>
                  <a:srgbClr val="0070BF"/>
                </a:solidFill>
                <a:effectLst/>
                <a:uLnTx/>
                <a:uFillTx/>
                <a:latin typeface="Pfizer Tomorrow"/>
                <a:ea typeface="+mn-ea"/>
                <a:cs typeface="+mn-cs"/>
              </a:rPr>
              <a:t>SARS-CoV-2</a:t>
            </a:r>
            <a:endParaRPr kumimoji="0" lang="en-US" sz="1400" b="1" i="0" u="none" strike="noStrike" kern="1200" cap="none" spc="0" normalizeH="0" baseline="0" noProof="0">
              <a:ln>
                <a:noFill/>
              </a:ln>
              <a:solidFill>
                <a:srgbClr val="0070BF"/>
              </a:solidFill>
              <a:effectLst/>
              <a:uLnTx/>
              <a:uFillTx/>
              <a:latin typeface="Pfizer Diatype Office"/>
              <a:ea typeface="+mn-ea"/>
              <a:cs typeface="+mn-cs"/>
            </a:endParaRPr>
          </a:p>
        </p:txBody>
      </p:sp>
      <p:sp>
        <p:nvSpPr>
          <p:cNvPr id="17" name="TextBox 16">
            <a:extLst>
              <a:ext uri="{FF2B5EF4-FFF2-40B4-BE49-F238E27FC236}">
                <a16:creationId xmlns:a16="http://schemas.microsoft.com/office/drawing/2014/main" id="{15640A9D-0EB5-091E-ED8C-5C00E20A031D}"/>
              </a:ext>
            </a:extLst>
          </p:cNvPr>
          <p:cNvSpPr txBox="1"/>
          <p:nvPr/>
        </p:nvSpPr>
        <p:spPr>
          <a:xfrm>
            <a:off x="10126347" y="2058782"/>
            <a:ext cx="1170951" cy="338554"/>
          </a:xfrm>
          <a:prstGeom prst="rect">
            <a:avLst/>
          </a:prstGeom>
          <a:noFill/>
        </p:spPr>
        <p:txBody>
          <a:bodyPr wrap="square" anchor="ctr">
            <a:noAutofit/>
          </a:bodyPr>
          <a:lstStyle/>
          <a:p>
            <a:pPr marL="0" marR="0" lvl="0" indent="0" algn="ctr" defTabSz="914400" rtl="0" eaLnBrk="1" fontAlgn="base" latinLnBrk="0" hangingPunct="1">
              <a:lnSpc>
                <a:spcPct val="100000"/>
              </a:lnSpc>
              <a:spcBef>
                <a:spcPts val="0"/>
              </a:spcBef>
              <a:spcAft>
                <a:spcPts val="1200"/>
              </a:spcAft>
              <a:buClr>
                <a:srgbClr val="000000"/>
              </a:buClr>
              <a:buSzPct val="100000"/>
              <a:buFontTx/>
              <a:buNone/>
              <a:tabLst/>
              <a:defRPr/>
            </a:pPr>
            <a:r>
              <a:rPr kumimoji="0" lang="en-US" sz="1600" b="1" i="0" u="none" strike="noStrike" kern="1200" cap="none" spc="0" normalizeH="0" baseline="0" noProof="0">
                <a:ln>
                  <a:noFill/>
                </a:ln>
                <a:solidFill>
                  <a:srgbClr val="0000C9"/>
                </a:solidFill>
                <a:effectLst/>
                <a:uLnTx/>
                <a:uFillTx/>
                <a:latin typeface="Pfizer Tomorrow"/>
                <a:ea typeface="+mn-ea"/>
                <a:cs typeface="+mn-cs"/>
              </a:rPr>
              <a:t>Influenza</a:t>
            </a:r>
            <a:endParaRPr kumimoji="0" lang="en-US" sz="1400" b="1" i="0" u="none" strike="noStrike" kern="1200" cap="none" spc="0" normalizeH="0" baseline="0" noProof="0">
              <a:ln>
                <a:noFill/>
              </a:ln>
              <a:solidFill>
                <a:srgbClr val="EDEDED"/>
              </a:solidFill>
              <a:effectLst/>
              <a:uLnTx/>
              <a:uFillTx/>
              <a:latin typeface="Pfizer Diatype Office"/>
              <a:ea typeface="+mn-ea"/>
              <a:cs typeface="+mn-cs"/>
            </a:endParaRPr>
          </a:p>
        </p:txBody>
      </p:sp>
      <p:sp>
        <p:nvSpPr>
          <p:cNvPr id="18" name="TextBox 17">
            <a:extLst>
              <a:ext uri="{FF2B5EF4-FFF2-40B4-BE49-F238E27FC236}">
                <a16:creationId xmlns:a16="http://schemas.microsoft.com/office/drawing/2014/main" id="{7C7ACA83-B186-21CC-4A38-C6E1A51CED10}"/>
              </a:ext>
            </a:extLst>
          </p:cNvPr>
          <p:cNvSpPr txBox="1"/>
          <p:nvPr/>
        </p:nvSpPr>
        <p:spPr>
          <a:xfrm>
            <a:off x="7527697" y="2058782"/>
            <a:ext cx="770772" cy="338554"/>
          </a:xfrm>
          <a:prstGeom prst="rect">
            <a:avLst/>
          </a:prstGeom>
          <a:noFill/>
        </p:spPr>
        <p:txBody>
          <a:bodyPr wrap="square" anchor="ctr">
            <a:noAutofit/>
          </a:bodyPr>
          <a:lstStyle/>
          <a:p>
            <a:pPr marL="0" marR="0" lvl="0" indent="0" algn="ctr" defTabSz="914400" rtl="0" eaLnBrk="1" fontAlgn="base" latinLnBrk="0" hangingPunct="1">
              <a:lnSpc>
                <a:spcPct val="100000"/>
              </a:lnSpc>
              <a:spcBef>
                <a:spcPts val="0"/>
              </a:spcBef>
              <a:spcAft>
                <a:spcPts val="1200"/>
              </a:spcAft>
              <a:buClr>
                <a:srgbClr val="000000"/>
              </a:buClr>
              <a:buSzPct val="100000"/>
              <a:buFontTx/>
              <a:buNone/>
              <a:tabLst/>
              <a:defRPr/>
            </a:pPr>
            <a:r>
              <a:rPr kumimoji="0" lang="en-US" sz="1600" b="1" i="0" u="none" strike="noStrike" kern="1200" cap="none" spc="0" normalizeH="0" baseline="0" noProof="0">
                <a:ln>
                  <a:noFill/>
                </a:ln>
                <a:solidFill>
                  <a:srgbClr val="0DBDBA"/>
                </a:solidFill>
                <a:effectLst/>
                <a:uLnTx/>
                <a:uFillTx/>
                <a:latin typeface="Pfizer Tomorrow"/>
                <a:ea typeface="+mn-ea"/>
                <a:cs typeface="+mn-cs"/>
              </a:rPr>
              <a:t>RSV</a:t>
            </a:r>
            <a:endParaRPr kumimoji="0" lang="en-US" sz="1400" b="1" i="0" u="none" strike="noStrike" kern="1200" cap="none" spc="0" normalizeH="0" baseline="0" noProof="0">
              <a:ln>
                <a:noFill/>
              </a:ln>
              <a:solidFill>
                <a:srgbClr val="0DBDBA"/>
              </a:solidFill>
              <a:effectLst/>
              <a:uLnTx/>
              <a:uFillTx/>
              <a:latin typeface="Pfizer Diatype Office"/>
              <a:ea typeface="+mn-ea"/>
              <a:cs typeface="+mn-cs"/>
            </a:endParaRPr>
          </a:p>
        </p:txBody>
      </p:sp>
      <p:grpSp>
        <p:nvGrpSpPr>
          <p:cNvPr id="19" name="Graphic 99">
            <a:extLst>
              <a:ext uri="{FF2B5EF4-FFF2-40B4-BE49-F238E27FC236}">
                <a16:creationId xmlns:a16="http://schemas.microsoft.com/office/drawing/2014/main" id="{A2A9FF9E-EC68-24A0-390F-22C3F0AC5465}"/>
              </a:ext>
            </a:extLst>
          </p:cNvPr>
          <p:cNvGrpSpPr/>
          <p:nvPr/>
        </p:nvGrpSpPr>
        <p:grpSpPr>
          <a:xfrm>
            <a:off x="10391604" y="2401805"/>
            <a:ext cx="640438" cy="606068"/>
            <a:chOff x="14651672" y="365569"/>
            <a:chExt cx="4240529" cy="4241482"/>
          </a:xfrm>
          <a:solidFill>
            <a:srgbClr val="0000C9"/>
          </a:solidFill>
        </p:grpSpPr>
        <p:sp>
          <p:nvSpPr>
            <p:cNvPr id="22" name="Freeform: Shape 21">
              <a:extLst>
                <a:ext uri="{FF2B5EF4-FFF2-40B4-BE49-F238E27FC236}">
                  <a16:creationId xmlns:a16="http://schemas.microsoft.com/office/drawing/2014/main" id="{94908E18-6B1C-E2EE-429B-38F9D7460A2E}"/>
                </a:ext>
              </a:extLst>
            </p:cNvPr>
            <p:cNvSpPr/>
            <p:nvPr/>
          </p:nvSpPr>
          <p:spPr>
            <a:xfrm>
              <a:off x="17117694" y="1968627"/>
              <a:ext cx="259080" cy="259079"/>
            </a:xfrm>
            <a:custGeom>
              <a:avLst/>
              <a:gdLst>
                <a:gd name="connsiteX0" fmla="*/ 259080 w 259080"/>
                <a:gd name="connsiteY0" fmla="*/ 129540 h 259079"/>
                <a:gd name="connsiteX1" fmla="*/ 129540 w 259080"/>
                <a:gd name="connsiteY1" fmla="*/ 259080 h 259079"/>
                <a:gd name="connsiteX2" fmla="*/ 0 w 259080"/>
                <a:gd name="connsiteY2" fmla="*/ 129540 h 259079"/>
                <a:gd name="connsiteX3" fmla="*/ 129540 w 259080"/>
                <a:gd name="connsiteY3" fmla="*/ 0 h 259079"/>
                <a:gd name="connsiteX4" fmla="*/ 259080 w 259080"/>
                <a:gd name="connsiteY4" fmla="*/ 129540 h 259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80" h="259079">
                  <a:moveTo>
                    <a:pt x="259080" y="129540"/>
                  </a:moveTo>
                  <a:cubicBezTo>
                    <a:pt x="259080" y="201083"/>
                    <a:pt x="201083" y="259080"/>
                    <a:pt x="129540" y="259080"/>
                  </a:cubicBezTo>
                  <a:cubicBezTo>
                    <a:pt x="57997" y="259080"/>
                    <a:pt x="0" y="201083"/>
                    <a:pt x="0" y="129540"/>
                  </a:cubicBezTo>
                  <a:cubicBezTo>
                    <a:pt x="0" y="57997"/>
                    <a:pt x="57997" y="0"/>
                    <a:pt x="129540" y="0"/>
                  </a:cubicBezTo>
                  <a:cubicBezTo>
                    <a:pt x="201083" y="0"/>
                    <a:pt x="259080" y="57997"/>
                    <a:pt x="259080" y="129540"/>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23" name="Freeform: Shape 22">
              <a:extLst>
                <a:ext uri="{FF2B5EF4-FFF2-40B4-BE49-F238E27FC236}">
                  <a16:creationId xmlns:a16="http://schemas.microsoft.com/office/drawing/2014/main" id="{E0930240-2737-5554-205E-5BF46D14EC46}"/>
                </a:ext>
              </a:extLst>
            </p:cNvPr>
            <p:cNvSpPr/>
            <p:nvPr/>
          </p:nvSpPr>
          <p:spPr>
            <a:xfrm>
              <a:off x="16167099" y="2919222"/>
              <a:ext cx="259079" cy="259080"/>
            </a:xfrm>
            <a:custGeom>
              <a:avLst/>
              <a:gdLst>
                <a:gd name="connsiteX0" fmla="*/ 259080 w 259079"/>
                <a:gd name="connsiteY0" fmla="*/ 129540 h 259080"/>
                <a:gd name="connsiteX1" fmla="*/ 129540 w 259079"/>
                <a:gd name="connsiteY1" fmla="*/ 259080 h 259080"/>
                <a:gd name="connsiteX2" fmla="*/ 0 w 259079"/>
                <a:gd name="connsiteY2" fmla="*/ 129540 h 259080"/>
                <a:gd name="connsiteX3" fmla="*/ 129540 w 259079"/>
                <a:gd name="connsiteY3" fmla="*/ 0 h 259080"/>
                <a:gd name="connsiteX4" fmla="*/ 259080 w 259079"/>
                <a:gd name="connsiteY4" fmla="*/ 129540 h 259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79" h="259080">
                  <a:moveTo>
                    <a:pt x="259080" y="129540"/>
                  </a:moveTo>
                  <a:cubicBezTo>
                    <a:pt x="259080" y="201083"/>
                    <a:pt x="201083" y="259080"/>
                    <a:pt x="129540" y="259080"/>
                  </a:cubicBezTo>
                  <a:cubicBezTo>
                    <a:pt x="57997" y="259080"/>
                    <a:pt x="0" y="201083"/>
                    <a:pt x="0" y="129540"/>
                  </a:cubicBezTo>
                  <a:cubicBezTo>
                    <a:pt x="0" y="57997"/>
                    <a:pt x="57997" y="0"/>
                    <a:pt x="129540" y="0"/>
                  </a:cubicBezTo>
                  <a:cubicBezTo>
                    <a:pt x="201083" y="0"/>
                    <a:pt x="259080" y="57997"/>
                    <a:pt x="259080" y="129540"/>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24" name="Freeform: Shape 23">
              <a:extLst>
                <a:ext uri="{FF2B5EF4-FFF2-40B4-BE49-F238E27FC236}">
                  <a16:creationId xmlns:a16="http://schemas.microsoft.com/office/drawing/2014/main" id="{DDC9CBCA-ECE6-92E0-9D40-189206F52DF5}"/>
                </a:ext>
              </a:extLst>
            </p:cNvPr>
            <p:cNvSpPr/>
            <p:nvPr/>
          </p:nvSpPr>
          <p:spPr>
            <a:xfrm>
              <a:off x="16857662" y="2486787"/>
              <a:ext cx="173355" cy="173355"/>
            </a:xfrm>
            <a:custGeom>
              <a:avLst/>
              <a:gdLst>
                <a:gd name="connsiteX0" fmla="*/ 173355 w 173355"/>
                <a:gd name="connsiteY0" fmla="*/ 86678 h 173355"/>
                <a:gd name="connsiteX1" fmla="*/ 86678 w 173355"/>
                <a:gd name="connsiteY1" fmla="*/ 173355 h 173355"/>
                <a:gd name="connsiteX2" fmla="*/ 0 w 173355"/>
                <a:gd name="connsiteY2" fmla="*/ 86678 h 173355"/>
                <a:gd name="connsiteX3" fmla="*/ 86678 w 173355"/>
                <a:gd name="connsiteY3" fmla="*/ 0 h 173355"/>
                <a:gd name="connsiteX4" fmla="*/ 173355 w 173355"/>
                <a:gd name="connsiteY4" fmla="*/ 86678 h 173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355" h="173355">
                  <a:moveTo>
                    <a:pt x="173355" y="86678"/>
                  </a:moveTo>
                  <a:cubicBezTo>
                    <a:pt x="173355" y="134548"/>
                    <a:pt x="134548" y="173355"/>
                    <a:pt x="86678" y="173355"/>
                  </a:cubicBezTo>
                  <a:cubicBezTo>
                    <a:pt x="38807" y="173355"/>
                    <a:pt x="0" y="134548"/>
                    <a:pt x="0" y="86678"/>
                  </a:cubicBezTo>
                  <a:cubicBezTo>
                    <a:pt x="0" y="38807"/>
                    <a:pt x="38807" y="0"/>
                    <a:pt x="86678" y="0"/>
                  </a:cubicBezTo>
                  <a:cubicBezTo>
                    <a:pt x="134548" y="0"/>
                    <a:pt x="173355" y="38807"/>
                    <a:pt x="173355" y="86678"/>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25" name="Freeform: Shape 24">
              <a:extLst>
                <a:ext uri="{FF2B5EF4-FFF2-40B4-BE49-F238E27FC236}">
                  <a16:creationId xmlns:a16="http://schemas.microsoft.com/office/drawing/2014/main" id="{55568ACA-0759-749E-BC96-4C0A6582C051}"/>
                </a:ext>
              </a:extLst>
            </p:cNvPr>
            <p:cNvSpPr/>
            <p:nvPr/>
          </p:nvSpPr>
          <p:spPr>
            <a:xfrm>
              <a:off x="15429864" y="1144714"/>
              <a:ext cx="2684144" cy="2684144"/>
            </a:xfrm>
            <a:custGeom>
              <a:avLst/>
              <a:gdLst>
                <a:gd name="connsiteX0" fmla="*/ 1342073 w 2684144"/>
                <a:gd name="connsiteY0" fmla="*/ 2684145 h 2684144"/>
                <a:gd name="connsiteX1" fmla="*/ 0 w 2684144"/>
                <a:gd name="connsiteY1" fmla="*/ 1342073 h 2684144"/>
                <a:gd name="connsiteX2" fmla="*/ 1342073 w 2684144"/>
                <a:gd name="connsiteY2" fmla="*/ 0 h 2684144"/>
                <a:gd name="connsiteX3" fmla="*/ 2684145 w 2684144"/>
                <a:gd name="connsiteY3" fmla="*/ 1342073 h 2684144"/>
                <a:gd name="connsiteX4" fmla="*/ 1342073 w 2684144"/>
                <a:gd name="connsiteY4" fmla="*/ 2684145 h 2684144"/>
                <a:gd name="connsiteX5" fmla="*/ 1342073 w 2684144"/>
                <a:gd name="connsiteY5" fmla="*/ 92393 h 2684144"/>
                <a:gd name="connsiteX6" fmla="*/ 91440 w 2684144"/>
                <a:gd name="connsiteY6" fmla="*/ 1343025 h 2684144"/>
                <a:gd name="connsiteX7" fmla="*/ 1342073 w 2684144"/>
                <a:gd name="connsiteY7" fmla="*/ 2592705 h 2684144"/>
                <a:gd name="connsiteX8" fmla="*/ 2592705 w 2684144"/>
                <a:gd name="connsiteY8" fmla="*/ 1342073 h 2684144"/>
                <a:gd name="connsiteX9" fmla="*/ 1342073 w 2684144"/>
                <a:gd name="connsiteY9" fmla="*/ 92393 h 26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4144" h="2684144">
                  <a:moveTo>
                    <a:pt x="1342073" y="2684145"/>
                  </a:moveTo>
                  <a:cubicBezTo>
                    <a:pt x="601980" y="2684145"/>
                    <a:pt x="0" y="2082165"/>
                    <a:pt x="0" y="1342073"/>
                  </a:cubicBezTo>
                  <a:cubicBezTo>
                    <a:pt x="0" y="601980"/>
                    <a:pt x="601980" y="0"/>
                    <a:pt x="1342073" y="0"/>
                  </a:cubicBezTo>
                  <a:cubicBezTo>
                    <a:pt x="2082165" y="0"/>
                    <a:pt x="2684145" y="601980"/>
                    <a:pt x="2684145" y="1342073"/>
                  </a:cubicBezTo>
                  <a:cubicBezTo>
                    <a:pt x="2684145" y="2082165"/>
                    <a:pt x="2082165" y="2684145"/>
                    <a:pt x="1342073" y="2684145"/>
                  </a:cubicBezTo>
                  <a:close/>
                  <a:moveTo>
                    <a:pt x="1342073" y="92393"/>
                  </a:moveTo>
                  <a:cubicBezTo>
                    <a:pt x="652463" y="92393"/>
                    <a:pt x="91440" y="653415"/>
                    <a:pt x="91440" y="1343025"/>
                  </a:cubicBezTo>
                  <a:cubicBezTo>
                    <a:pt x="91440" y="2032635"/>
                    <a:pt x="652463" y="2592705"/>
                    <a:pt x="1342073" y="2592705"/>
                  </a:cubicBezTo>
                  <a:cubicBezTo>
                    <a:pt x="2031683" y="2592705"/>
                    <a:pt x="2592705" y="2031683"/>
                    <a:pt x="2592705" y="1342073"/>
                  </a:cubicBezTo>
                  <a:cubicBezTo>
                    <a:pt x="2592705" y="652463"/>
                    <a:pt x="2031683" y="92393"/>
                    <a:pt x="1342073" y="9239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26" name="Freeform: Shape 25">
              <a:extLst>
                <a:ext uri="{FF2B5EF4-FFF2-40B4-BE49-F238E27FC236}">
                  <a16:creationId xmlns:a16="http://schemas.microsoft.com/office/drawing/2014/main" id="{EB0C67BA-280D-043B-F565-128FE9D271AE}"/>
                </a:ext>
              </a:extLst>
            </p:cNvPr>
            <p:cNvSpPr/>
            <p:nvPr/>
          </p:nvSpPr>
          <p:spPr>
            <a:xfrm>
              <a:off x="16466184" y="365569"/>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3345 h 611505"/>
                <a:gd name="connsiteX6" fmla="*/ 92393 w 611505"/>
                <a:gd name="connsiteY6" fmla="*/ 306705 h 611505"/>
                <a:gd name="connsiteX7" fmla="*/ 305753 w 611505"/>
                <a:gd name="connsiteY7" fmla="*/ 520065 h 611505"/>
                <a:gd name="connsiteX8" fmla="*/ 519113 w 611505"/>
                <a:gd name="connsiteY8" fmla="*/ 306705 h 611505"/>
                <a:gd name="connsiteX9" fmla="*/ 305753 w 611505"/>
                <a:gd name="connsiteY9" fmla="*/ 93345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3345"/>
                  </a:moveTo>
                  <a:cubicBezTo>
                    <a:pt x="188595" y="93345"/>
                    <a:pt x="92393" y="188595"/>
                    <a:pt x="92393" y="306705"/>
                  </a:cubicBezTo>
                  <a:cubicBezTo>
                    <a:pt x="92393" y="424815"/>
                    <a:pt x="187643" y="520065"/>
                    <a:pt x="305753" y="520065"/>
                  </a:cubicBezTo>
                  <a:cubicBezTo>
                    <a:pt x="422910" y="520065"/>
                    <a:pt x="519113" y="424815"/>
                    <a:pt x="519113" y="306705"/>
                  </a:cubicBezTo>
                  <a:cubicBezTo>
                    <a:pt x="519113" y="188595"/>
                    <a:pt x="422910" y="93345"/>
                    <a:pt x="305753" y="93345"/>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27" name="Freeform: Shape 26">
              <a:extLst>
                <a:ext uri="{FF2B5EF4-FFF2-40B4-BE49-F238E27FC236}">
                  <a16:creationId xmlns:a16="http://schemas.microsoft.com/office/drawing/2014/main" id="{996AC84A-1128-1387-0760-9C1E363AA37D}"/>
                </a:ext>
              </a:extLst>
            </p:cNvPr>
            <p:cNvSpPr/>
            <p:nvPr/>
          </p:nvSpPr>
          <p:spPr>
            <a:xfrm>
              <a:off x="16466184" y="3995546"/>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2393 h 611505"/>
                <a:gd name="connsiteX6" fmla="*/ 92393 w 611505"/>
                <a:gd name="connsiteY6" fmla="*/ 305753 h 611505"/>
                <a:gd name="connsiteX7" fmla="*/ 305753 w 611505"/>
                <a:gd name="connsiteY7" fmla="*/ 519113 h 611505"/>
                <a:gd name="connsiteX8" fmla="*/ 519113 w 611505"/>
                <a:gd name="connsiteY8" fmla="*/ 305753 h 611505"/>
                <a:gd name="connsiteX9" fmla="*/ 305753 w 611505"/>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3" y="187643"/>
                    <a:pt x="92393" y="305753"/>
                  </a:cubicBezTo>
                  <a:cubicBezTo>
                    <a:pt x="92393" y="423863"/>
                    <a:pt x="187643" y="519113"/>
                    <a:pt x="305753" y="519113"/>
                  </a:cubicBezTo>
                  <a:cubicBezTo>
                    <a:pt x="423863" y="519113"/>
                    <a:pt x="519113" y="423863"/>
                    <a:pt x="519113" y="305753"/>
                  </a:cubicBezTo>
                  <a:cubicBezTo>
                    <a:pt x="519113" y="188595"/>
                    <a:pt x="422910" y="92393"/>
                    <a:pt x="305753" y="9239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28" name="Freeform: Shape 27">
              <a:extLst>
                <a:ext uri="{FF2B5EF4-FFF2-40B4-BE49-F238E27FC236}">
                  <a16:creationId xmlns:a16="http://schemas.microsoft.com/office/drawing/2014/main" id="{7ED77565-5472-BF3F-4C96-4DCA96596734}"/>
                </a:ext>
              </a:extLst>
            </p:cNvPr>
            <p:cNvSpPr/>
            <p:nvPr/>
          </p:nvSpPr>
          <p:spPr>
            <a:xfrm>
              <a:off x="16726216" y="885634"/>
              <a:ext cx="91439" cy="351472"/>
            </a:xfrm>
            <a:custGeom>
              <a:avLst/>
              <a:gdLst>
                <a:gd name="connsiteX0" fmla="*/ 45720 w 91439"/>
                <a:gd name="connsiteY0" fmla="*/ 351473 h 351472"/>
                <a:gd name="connsiteX1" fmla="*/ 0 w 91439"/>
                <a:gd name="connsiteY1" fmla="*/ 305753 h 351472"/>
                <a:gd name="connsiteX2" fmla="*/ 0 w 91439"/>
                <a:gd name="connsiteY2" fmla="*/ 45720 h 351472"/>
                <a:gd name="connsiteX3" fmla="*/ 45720 w 91439"/>
                <a:gd name="connsiteY3" fmla="*/ 0 h 351472"/>
                <a:gd name="connsiteX4" fmla="*/ 91440 w 91439"/>
                <a:gd name="connsiteY4" fmla="*/ 45720 h 351472"/>
                <a:gd name="connsiteX5" fmla="*/ 91440 w 91439"/>
                <a:gd name="connsiteY5" fmla="*/ 304800 h 351472"/>
                <a:gd name="connsiteX6" fmla="*/ 45720 w 91439"/>
                <a:gd name="connsiteY6" fmla="*/ 351473 h 351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 h="351472">
                  <a:moveTo>
                    <a:pt x="45720" y="351473"/>
                  </a:moveTo>
                  <a:cubicBezTo>
                    <a:pt x="20003" y="351473"/>
                    <a:pt x="0" y="330517"/>
                    <a:pt x="0" y="305753"/>
                  </a:cubicBezTo>
                  <a:lnTo>
                    <a:pt x="0" y="45720"/>
                  </a:lnTo>
                  <a:cubicBezTo>
                    <a:pt x="0" y="20002"/>
                    <a:pt x="20955" y="0"/>
                    <a:pt x="45720" y="0"/>
                  </a:cubicBezTo>
                  <a:cubicBezTo>
                    <a:pt x="70485" y="0"/>
                    <a:pt x="91440" y="20955"/>
                    <a:pt x="91440" y="45720"/>
                  </a:cubicBezTo>
                  <a:lnTo>
                    <a:pt x="91440" y="304800"/>
                  </a:lnTo>
                  <a:cubicBezTo>
                    <a:pt x="91440" y="330517"/>
                    <a:pt x="71438" y="351473"/>
                    <a:pt x="45720" y="35147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29" name="Freeform: Shape 28">
              <a:extLst>
                <a:ext uri="{FF2B5EF4-FFF2-40B4-BE49-F238E27FC236}">
                  <a16:creationId xmlns:a16="http://schemas.microsoft.com/office/drawing/2014/main" id="{CCA64905-B022-5D88-DB10-25CD65CCB66F}"/>
                </a:ext>
              </a:extLst>
            </p:cNvPr>
            <p:cNvSpPr/>
            <p:nvPr/>
          </p:nvSpPr>
          <p:spPr>
            <a:xfrm>
              <a:off x="16726216" y="3737419"/>
              <a:ext cx="91439" cy="350520"/>
            </a:xfrm>
            <a:custGeom>
              <a:avLst/>
              <a:gdLst>
                <a:gd name="connsiteX0" fmla="*/ 45720 w 91439"/>
                <a:gd name="connsiteY0" fmla="*/ 350520 h 350520"/>
                <a:gd name="connsiteX1" fmla="*/ 0 w 91439"/>
                <a:gd name="connsiteY1" fmla="*/ 304800 h 350520"/>
                <a:gd name="connsiteX2" fmla="*/ 0 w 91439"/>
                <a:gd name="connsiteY2" fmla="*/ 45720 h 350520"/>
                <a:gd name="connsiteX3" fmla="*/ 45720 w 91439"/>
                <a:gd name="connsiteY3" fmla="*/ 0 h 350520"/>
                <a:gd name="connsiteX4" fmla="*/ 91440 w 91439"/>
                <a:gd name="connsiteY4" fmla="*/ 45720 h 350520"/>
                <a:gd name="connsiteX5" fmla="*/ 91440 w 91439"/>
                <a:gd name="connsiteY5" fmla="*/ 304800 h 350520"/>
                <a:gd name="connsiteX6" fmla="*/ 45720 w 91439"/>
                <a:gd name="connsiteY6" fmla="*/ 350520 h 35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 h="350520">
                  <a:moveTo>
                    <a:pt x="45720" y="350520"/>
                  </a:moveTo>
                  <a:cubicBezTo>
                    <a:pt x="20003" y="350520"/>
                    <a:pt x="0" y="329565"/>
                    <a:pt x="0" y="304800"/>
                  </a:cubicBezTo>
                  <a:lnTo>
                    <a:pt x="0" y="45720"/>
                  </a:lnTo>
                  <a:cubicBezTo>
                    <a:pt x="0" y="20003"/>
                    <a:pt x="20955" y="0"/>
                    <a:pt x="45720" y="0"/>
                  </a:cubicBezTo>
                  <a:cubicBezTo>
                    <a:pt x="70485" y="0"/>
                    <a:pt x="91440" y="20955"/>
                    <a:pt x="91440" y="45720"/>
                  </a:cubicBezTo>
                  <a:lnTo>
                    <a:pt x="91440" y="304800"/>
                  </a:lnTo>
                  <a:cubicBezTo>
                    <a:pt x="91440" y="330518"/>
                    <a:pt x="71438" y="350520"/>
                    <a:pt x="45720" y="350520"/>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30" name="Freeform: Shape 29">
              <a:extLst>
                <a:ext uri="{FF2B5EF4-FFF2-40B4-BE49-F238E27FC236}">
                  <a16:creationId xmlns:a16="http://schemas.microsoft.com/office/drawing/2014/main" id="{BBAC3B83-E8F7-75CC-991B-7969FA0CD24D}"/>
                </a:ext>
              </a:extLst>
            </p:cNvPr>
            <p:cNvSpPr/>
            <p:nvPr/>
          </p:nvSpPr>
          <p:spPr>
            <a:xfrm>
              <a:off x="18280696" y="2181034"/>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2393 h 611505"/>
                <a:gd name="connsiteX6" fmla="*/ 92393 w 611505"/>
                <a:gd name="connsiteY6" fmla="*/ 305753 h 611505"/>
                <a:gd name="connsiteX7" fmla="*/ 305753 w 611505"/>
                <a:gd name="connsiteY7" fmla="*/ 519113 h 611505"/>
                <a:gd name="connsiteX8" fmla="*/ 519113 w 611505"/>
                <a:gd name="connsiteY8" fmla="*/ 305753 h 611505"/>
                <a:gd name="connsiteX9" fmla="*/ 305753 w 611505"/>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3" y="187643"/>
                    <a:pt x="92393" y="305753"/>
                  </a:cubicBezTo>
                  <a:cubicBezTo>
                    <a:pt x="92393" y="423863"/>
                    <a:pt x="187643" y="519113"/>
                    <a:pt x="305753" y="519113"/>
                  </a:cubicBezTo>
                  <a:cubicBezTo>
                    <a:pt x="423863" y="519113"/>
                    <a:pt x="519113" y="423863"/>
                    <a:pt x="519113" y="305753"/>
                  </a:cubicBezTo>
                  <a:cubicBezTo>
                    <a:pt x="519113" y="188595"/>
                    <a:pt x="423863" y="92393"/>
                    <a:pt x="305753" y="9239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31" name="Freeform: Shape 30">
              <a:extLst>
                <a:ext uri="{FF2B5EF4-FFF2-40B4-BE49-F238E27FC236}">
                  <a16:creationId xmlns:a16="http://schemas.microsoft.com/office/drawing/2014/main" id="{66F96D1F-E8C2-C9F8-6E33-CB6EE59A029D}"/>
                </a:ext>
              </a:extLst>
            </p:cNvPr>
            <p:cNvSpPr/>
            <p:nvPr/>
          </p:nvSpPr>
          <p:spPr>
            <a:xfrm>
              <a:off x="14651672" y="2181034"/>
              <a:ext cx="611504" cy="611505"/>
            </a:xfrm>
            <a:custGeom>
              <a:avLst/>
              <a:gdLst>
                <a:gd name="connsiteX0" fmla="*/ 305753 w 611504"/>
                <a:gd name="connsiteY0" fmla="*/ 611505 h 611505"/>
                <a:gd name="connsiteX1" fmla="*/ 0 w 611504"/>
                <a:gd name="connsiteY1" fmla="*/ 305753 h 611505"/>
                <a:gd name="connsiteX2" fmla="*/ 305753 w 611504"/>
                <a:gd name="connsiteY2" fmla="*/ 0 h 611505"/>
                <a:gd name="connsiteX3" fmla="*/ 611505 w 611504"/>
                <a:gd name="connsiteY3" fmla="*/ 305753 h 611505"/>
                <a:gd name="connsiteX4" fmla="*/ 305753 w 611504"/>
                <a:gd name="connsiteY4" fmla="*/ 611505 h 611505"/>
                <a:gd name="connsiteX5" fmla="*/ 305753 w 611504"/>
                <a:gd name="connsiteY5" fmla="*/ 92393 h 611505"/>
                <a:gd name="connsiteX6" fmla="*/ 92392 w 611504"/>
                <a:gd name="connsiteY6" fmla="*/ 305753 h 611505"/>
                <a:gd name="connsiteX7" fmla="*/ 305753 w 611504"/>
                <a:gd name="connsiteY7" fmla="*/ 519113 h 611505"/>
                <a:gd name="connsiteX8" fmla="*/ 519113 w 611504"/>
                <a:gd name="connsiteY8" fmla="*/ 305753 h 611505"/>
                <a:gd name="connsiteX9" fmla="*/ 305753 w 611504"/>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4"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2" y="187643"/>
                    <a:pt x="92392" y="305753"/>
                  </a:cubicBezTo>
                  <a:cubicBezTo>
                    <a:pt x="92392" y="423863"/>
                    <a:pt x="187642" y="519113"/>
                    <a:pt x="305753" y="519113"/>
                  </a:cubicBezTo>
                  <a:cubicBezTo>
                    <a:pt x="423863" y="519113"/>
                    <a:pt x="519113" y="423863"/>
                    <a:pt x="519113" y="305753"/>
                  </a:cubicBezTo>
                  <a:cubicBezTo>
                    <a:pt x="519113" y="187643"/>
                    <a:pt x="422910" y="92393"/>
                    <a:pt x="305753" y="9239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32" name="Freeform: Shape 31">
              <a:extLst>
                <a:ext uri="{FF2B5EF4-FFF2-40B4-BE49-F238E27FC236}">
                  <a16:creationId xmlns:a16="http://schemas.microsoft.com/office/drawing/2014/main" id="{186D38AB-BDF9-C2D3-8BBE-48923367E8D8}"/>
                </a:ext>
              </a:extLst>
            </p:cNvPr>
            <p:cNvSpPr/>
            <p:nvPr/>
          </p:nvSpPr>
          <p:spPr>
            <a:xfrm>
              <a:off x="18022569" y="2441066"/>
              <a:ext cx="350520" cy="91439"/>
            </a:xfrm>
            <a:custGeom>
              <a:avLst/>
              <a:gdLst>
                <a:gd name="connsiteX0" fmla="*/ 304800 w 350520"/>
                <a:gd name="connsiteY0" fmla="*/ 91440 h 91439"/>
                <a:gd name="connsiteX1" fmla="*/ 45720 w 350520"/>
                <a:gd name="connsiteY1" fmla="*/ 91440 h 91439"/>
                <a:gd name="connsiteX2" fmla="*/ 0 w 350520"/>
                <a:gd name="connsiteY2" fmla="*/ 45720 h 91439"/>
                <a:gd name="connsiteX3" fmla="*/ 45720 w 350520"/>
                <a:gd name="connsiteY3" fmla="*/ 0 h 91439"/>
                <a:gd name="connsiteX4" fmla="*/ 304800 w 350520"/>
                <a:gd name="connsiteY4" fmla="*/ 0 h 91439"/>
                <a:gd name="connsiteX5" fmla="*/ 350520 w 350520"/>
                <a:gd name="connsiteY5" fmla="*/ 45720 h 91439"/>
                <a:gd name="connsiteX6" fmla="*/ 304800 w 350520"/>
                <a:gd name="connsiteY6" fmla="*/ 91440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20" h="91439">
                  <a:moveTo>
                    <a:pt x="304800" y="91440"/>
                  </a:moveTo>
                  <a:lnTo>
                    <a:pt x="45720" y="91440"/>
                  </a:lnTo>
                  <a:cubicBezTo>
                    <a:pt x="20003" y="91440"/>
                    <a:pt x="0" y="70485"/>
                    <a:pt x="0" y="45720"/>
                  </a:cubicBezTo>
                  <a:cubicBezTo>
                    <a:pt x="0" y="20955"/>
                    <a:pt x="20955" y="0"/>
                    <a:pt x="45720" y="0"/>
                  </a:cubicBezTo>
                  <a:lnTo>
                    <a:pt x="304800" y="0"/>
                  </a:lnTo>
                  <a:cubicBezTo>
                    <a:pt x="330518" y="0"/>
                    <a:pt x="350520" y="20955"/>
                    <a:pt x="350520" y="45720"/>
                  </a:cubicBezTo>
                  <a:cubicBezTo>
                    <a:pt x="350520" y="71438"/>
                    <a:pt x="330518" y="91440"/>
                    <a:pt x="304800" y="91440"/>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33" name="Freeform: Shape 32">
              <a:extLst>
                <a:ext uri="{FF2B5EF4-FFF2-40B4-BE49-F238E27FC236}">
                  <a16:creationId xmlns:a16="http://schemas.microsoft.com/office/drawing/2014/main" id="{7E647AA7-5333-0352-063F-FC46B93ED178}"/>
                </a:ext>
              </a:extLst>
            </p:cNvPr>
            <p:cNvSpPr/>
            <p:nvPr/>
          </p:nvSpPr>
          <p:spPr>
            <a:xfrm>
              <a:off x="15170784" y="2441066"/>
              <a:ext cx="350551" cy="91439"/>
            </a:xfrm>
            <a:custGeom>
              <a:avLst/>
              <a:gdLst>
                <a:gd name="connsiteX0" fmla="*/ 304800 w 350551"/>
                <a:gd name="connsiteY0" fmla="*/ 91440 h 91439"/>
                <a:gd name="connsiteX1" fmla="*/ 45720 w 350551"/>
                <a:gd name="connsiteY1" fmla="*/ 91440 h 91439"/>
                <a:gd name="connsiteX2" fmla="*/ 0 w 350551"/>
                <a:gd name="connsiteY2" fmla="*/ 45720 h 91439"/>
                <a:gd name="connsiteX3" fmla="*/ 45720 w 350551"/>
                <a:gd name="connsiteY3" fmla="*/ 0 h 91439"/>
                <a:gd name="connsiteX4" fmla="*/ 304800 w 350551"/>
                <a:gd name="connsiteY4" fmla="*/ 0 h 91439"/>
                <a:gd name="connsiteX5" fmla="*/ 350520 w 350551"/>
                <a:gd name="connsiteY5" fmla="*/ 45720 h 91439"/>
                <a:gd name="connsiteX6" fmla="*/ 304800 w 350551"/>
                <a:gd name="connsiteY6" fmla="*/ 91440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51" h="91439">
                  <a:moveTo>
                    <a:pt x="304800" y="91440"/>
                  </a:moveTo>
                  <a:lnTo>
                    <a:pt x="45720" y="91440"/>
                  </a:lnTo>
                  <a:cubicBezTo>
                    <a:pt x="20002" y="91440"/>
                    <a:pt x="0" y="70485"/>
                    <a:pt x="0" y="45720"/>
                  </a:cubicBezTo>
                  <a:cubicBezTo>
                    <a:pt x="0" y="20955"/>
                    <a:pt x="20955" y="0"/>
                    <a:pt x="45720" y="0"/>
                  </a:cubicBezTo>
                  <a:lnTo>
                    <a:pt x="304800" y="0"/>
                  </a:lnTo>
                  <a:cubicBezTo>
                    <a:pt x="330517" y="0"/>
                    <a:pt x="350520" y="20955"/>
                    <a:pt x="350520" y="45720"/>
                  </a:cubicBezTo>
                  <a:cubicBezTo>
                    <a:pt x="351473" y="71438"/>
                    <a:pt x="330517" y="91440"/>
                    <a:pt x="304800" y="91440"/>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34" name="Freeform: Shape 33">
              <a:extLst>
                <a:ext uri="{FF2B5EF4-FFF2-40B4-BE49-F238E27FC236}">
                  <a16:creationId xmlns:a16="http://schemas.microsoft.com/office/drawing/2014/main" id="{6343FD66-392A-6224-D968-5DCD0959B12D}"/>
                </a:ext>
              </a:extLst>
            </p:cNvPr>
            <p:cNvSpPr/>
            <p:nvPr/>
          </p:nvSpPr>
          <p:spPr>
            <a:xfrm>
              <a:off x="17750392" y="898255"/>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520779 w 610076"/>
                <a:gd name="connsiteY4" fmla="*/ 520779 h 610076"/>
                <a:gd name="connsiteX5" fmla="*/ 520779 w 610076"/>
                <a:gd name="connsiteY5" fmla="*/ 520779 h 610076"/>
                <a:gd name="connsiteX6" fmla="*/ 89297 w 610076"/>
                <a:gd name="connsiteY6" fmla="*/ 520779 h 610076"/>
                <a:gd name="connsiteX7" fmla="*/ 154067 w 610076"/>
                <a:gd name="connsiteY7" fmla="*/ 155019 h 610076"/>
                <a:gd name="connsiteX8" fmla="*/ 154067 w 610076"/>
                <a:gd name="connsiteY8" fmla="*/ 456009 h 610076"/>
                <a:gd name="connsiteX9" fmla="*/ 455057 w 610076"/>
                <a:gd name="connsiteY9" fmla="*/ 456009 h 610076"/>
                <a:gd name="connsiteX10" fmla="*/ 455057 w 610076"/>
                <a:gd name="connsiteY10" fmla="*/ 456009 h 610076"/>
                <a:gd name="connsiteX11" fmla="*/ 455057 w 610076"/>
                <a:gd name="connsiteY11" fmla="*/ 155019 h 610076"/>
                <a:gd name="connsiteX12" fmla="*/ 154067 w 610076"/>
                <a:gd name="connsiteY12" fmla="*/ 155019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lnTo>
                    <a:pt x="520779" y="520779"/>
                  </a:lnTo>
                  <a:lnTo>
                    <a:pt x="520779" y="520779"/>
                  </a:lnTo>
                  <a:cubicBezTo>
                    <a:pt x="401717" y="639842"/>
                    <a:pt x="208359" y="639842"/>
                    <a:pt x="89297" y="520779"/>
                  </a:cubicBezTo>
                  <a:close/>
                  <a:moveTo>
                    <a:pt x="154067" y="155019"/>
                  </a:moveTo>
                  <a:cubicBezTo>
                    <a:pt x="71199" y="237887"/>
                    <a:pt x="71199" y="373142"/>
                    <a:pt x="154067" y="456009"/>
                  </a:cubicBezTo>
                  <a:cubicBezTo>
                    <a:pt x="236934" y="538877"/>
                    <a:pt x="372189" y="538877"/>
                    <a:pt x="455057" y="456009"/>
                  </a:cubicBezTo>
                  <a:lnTo>
                    <a:pt x="455057" y="456009"/>
                  </a:lnTo>
                  <a:cubicBezTo>
                    <a:pt x="537924" y="373142"/>
                    <a:pt x="537924" y="237887"/>
                    <a:pt x="455057" y="155019"/>
                  </a:cubicBezTo>
                  <a:cubicBezTo>
                    <a:pt x="372189" y="71199"/>
                    <a:pt x="236934" y="71199"/>
                    <a:pt x="154067" y="155019"/>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35" name="Freeform: Shape 34">
              <a:extLst>
                <a:ext uri="{FF2B5EF4-FFF2-40B4-BE49-F238E27FC236}">
                  <a16:creationId xmlns:a16="http://schemas.microsoft.com/office/drawing/2014/main" id="{A2916ED5-6823-820A-A7EC-2CA4EDD7F3FD}"/>
                </a:ext>
              </a:extLst>
            </p:cNvPr>
            <p:cNvSpPr/>
            <p:nvPr/>
          </p:nvSpPr>
          <p:spPr>
            <a:xfrm>
              <a:off x="15183405" y="3465242"/>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520779 w 610076"/>
                <a:gd name="connsiteY4" fmla="*/ 520779 h 610076"/>
                <a:gd name="connsiteX5" fmla="*/ 89297 w 610076"/>
                <a:gd name="connsiteY5" fmla="*/ 520779 h 610076"/>
                <a:gd name="connsiteX6" fmla="*/ 155019 w 610076"/>
                <a:gd name="connsiteY6" fmla="*/ 154067 h 610076"/>
                <a:gd name="connsiteX7" fmla="*/ 155019 w 610076"/>
                <a:gd name="connsiteY7" fmla="*/ 455057 h 610076"/>
                <a:gd name="connsiteX8" fmla="*/ 456009 w 610076"/>
                <a:gd name="connsiteY8" fmla="*/ 455057 h 610076"/>
                <a:gd name="connsiteX9" fmla="*/ 456009 w 610076"/>
                <a:gd name="connsiteY9" fmla="*/ 154067 h 610076"/>
                <a:gd name="connsiteX10" fmla="*/ 155019 w 610076"/>
                <a:gd name="connsiteY10" fmla="*/ 154067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lnTo>
                    <a:pt x="520779" y="520779"/>
                  </a:lnTo>
                  <a:cubicBezTo>
                    <a:pt x="402669" y="639842"/>
                    <a:pt x="208359" y="639842"/>
                    <a:pt x="89297" y="520779"/>
                  </a:cubicBezTo>
                  <a:close/>
                  <a:moveTo>
                    <a:pt x="155019" y="154067"/>
                  </a:moveTo>
                  <a:cubicBezTo>
                    <a:pt x="72152" y="236934"/>
                    <a:pt x="72152" y="372189"/>
                    <a:pt x="155019" y="455057"/>
                  </a:cubicBezTo>
                  <a:cubicBezTo>
                    <a:pt x="237887" y="537924"/>
                    <a:pt x="373142" y="537924"/>
                    <a:pt x="456009" y="455057"/>
                  </a:cubicBezTo>
                  <a:cubicBezTo>
                    <a:pt x="538877" y="372189"/>
                    <a:pt x="538877" y="236934"/>
                    <a:pt x="456009" y="154067"/>
                  </a:cubicBezTo>
                  <a:cubicBezTo>
                    <a:pt x="373142" y="71199"/>
                    <a:pt x="237887" y="71199"/>
                    <a:pt x="155019" y="154067"/>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36" name="Freeform: Shape 35">
              <a:extLst>
                <a:ext uri="{FF2B5EF4-FFF2-40B4-BE49-F238E27FC236}">
                  <a16:creationId xmlns:a16="http://schemas.microsoft.com/office/drawing/2014/main" id="{7B96387A-0BF4-CFBE-9A2C-54DBFD563599}"/>
                </a:ext>
              </a:extLst>
            </p:cNvPr>
            <p:cNvSpPr/>
            <p:nvPr/>
          </p:nvSpPr>
          <p:spPr>
            <a:xfrm>
              <a:off x="17642283" y="1341643"/>
              <a:ext cx="274796" cy="274796"/>
            </a:xfrm>
            <a:custGeom>
              <a:avLst/>
              <a:gdLst>
                <a:gd name="connsiteX0" fmla="*/ 13573 w 274796"/>
                <a:gd name="connsiteY0" fmla="*/ 261223 h 274796"/>
                <a:gd name="connsiteX1" fmla="*/ 13573 w 274796"/>
                <a:gd name="connsiteY1" fmla="*/ 196453 h 274796"/>
                <a:gd name="connsiteX2" fmla="*/ 196453 w 274796"/>
                <a:gd name="connsiteY2" fmla="*/ 13573 h 274796"/>
                <a:gd name="connsiteX3" fmla="*/ 261223 w 274796"/>
                <a:gd name="connsiteY3" fmla="*/ 13573 h 274796"/>
                <a:gd name="connsiteX4" fmla="*/ 261223 w 274796"/>
                <a:gd name="connsiteY4" fmla="*/ 78343 h 274796"/>
                <a:gd name="connsiteX5" fmla="*/ 78343 w 274796"/>
                <a:gd name="connsiteY5" fmla="*/ 261223 h 274796"/>
                <a:gd name="connsiteX6" fmla="*/ 1357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3573" y="261223"/>
                  </a:moveTo>
                  <a:cubicBezTo>
                    <a:pt x="-4524" y="243126"/>
                    <a:pt x="-4524" y="213598"/>
                    <a:pt x="13573" y="196453"/>
                  </a:cubicBezTo>
                  <a:lnTo>
                    <a:pt x="196453" y="13573"/>
                  </a:lnTo>
                  <a:cubicBezTo>
                    <a:pt x="214551" y="-4524"/>
                    <a:pt x="244078" y="-4524"/>
                    <a:pt x="261223" y="13573"/>
                  </a:cubicBezTo>
                  <a:cubicBezTo>
                    <a:pt x="279321" y="31671"/>
                    <a:pt x="279321" y="61198"/>
                    <a:pt x="261223" y="78343"/>
                  </a:cubicBezTo>
                  <a:lnTo>
                    <a:pt x="78343" y="261223"/>
                  </a:lnTo>
                  <a:cubicBezTo>
                    <a:pt x="61198" y="279321"/>
                    <a:pt x="31671" y="279321"/>
                    <a:pt x="13573" y="26122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37" name="Freeform: Shape 36">
              <a:extLst>
                <a:ext uri="{FF2B5EF4-FFF2-40B4-BE49-F238E27FC236}">
                  <a16:creationId xmlns:a16="http://schemas.microsoft.com/office/drawing/2014/main" id="{2410BA50-1A6F-A25E-1920-2BA5F4CA7BE5}"/>
                </a:ext>
              </a:extLst>
            </p:cNvPr>
            <p:cNvSpPr/>
            <p:nvPr/>
          </p:nvSpPr>
          <p:spPr>
            <a:xfrm>
              <a:off x="15625841" y="3358086"/>
              <a:ext cx="274796" cy="274796"/>
            </a:xfrm>
            <a:custGeom>
              <a:avLst/>
              <a:gdLst>
                <a:gd name="connsiteX0" fmla="*/ 13573 w 274796"/>
                <a:gd name="connsiteY0" fmla="*/ 261223 h 274796"/>
                <a:gd name="connsiteX1" fmla="*/ 13573 w 274796"/>
                <a:gd name="connsiteY1" fmla="*/ 196453 h 274796"/>
                <a:gd name="connsiteX2" fmla="*/ 196453 w 274796"/>
                <a:gd name="connsiteY2" fmla="*/ 13573 h 274796"/>
                <a:gd name="connsiteX3" fmla="*/ 261223 w 274796"/>
                <a:gd name="connsiteY3" fmla="*/ 13573 h 274796"/>
                <a:gd name="connsiteX4" fmla="*/ 261223 w 274796"/>
                <a:gd name="connsiteY4" fmla="*/ 78343 h 274796"/>
                <a:gd name="connsiteX5" fmla="*/ 78343 w 274796"/>
                <a:gd name="connsiteY5" fmla="*/ 261223 h 274796"/>
                <a:gd name="connsiteX6" fmla="*/ 1357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3573" y="261223"/>
                  </a:moveTo>
                  <a:cubicBezTo>
                    <a:pt x="-4524" y="243126"/>
                    <a:pt x="-4524" y="213598"/>
                    <a:pt x="13573" y="196453"/>
                  </a:cubicBezTo>
                  <a:lnTo>
                    <a:pt x="196453" y="13573"/>
                  </a:lnTo>
                  <a:cubicBezTo>
                    <a:pt x="214551" y="-4524"/>
                    <a:pt x="244078" y="-4524"/>
                    <a:pt x="261223" y="13573"/>
                  </a:cubicBezTo>
                  <a:cubicBezTo>
                    <a:pt x="279321" y="31671"/>
                    <a:pt x="279321" y="61198"/>
                    <a:pt x="261223" y="78343"/>
                  </a:cubicBezTo>
                  <a:lnTo>
                    <a:pt x="78343" y="261223"/>
                  </a:lnTo>
                  <a:cubicBezTo>
                    <a:pt x="61198" y="279321"/>
                    <a:pt x="31671" y="279321"/>
                    <a:pt x="13573" y="26122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38" name="Freeform: Shape 37">
              <a:extLst>
                <a:ext uri="{FF2B5EF4-FFF2-40B4-BE49-F238E27FC236}">
                  <a16:creationId xmlns:a16="http://schemas.microsoft.com/office/drawing/2014/main" id="{48A047BA-FD9C-DD19-5A4D-18237F54C53D}"/>
                </a:ext>
              </a:extLst>
            </p:cNvPr>
            <p:cNvSpPr/>
            <p:nvPr/>
          </p:nvSpPr>
          <p:spPr>
            <a:xfrm>
              <a:off x="17750392" y="3465242"/>
              <a:ext cx="610076" cy="589372"/>
            </a:xfrm>
            <a:custGeom>
              <a:avLst/>
              <a:gdLst>
                <a:gd name="connsiteX0" fmla="*/ 89297 w 610076"/>
                <a:gd name="connsiteY0" fmla="*/ 520779 h 589372"/>
                <a:gd name="connsiteX1" fmla="*/ 89297 w 610076"/>
                <a:gd name="connsiteY1" fmla="*/ 89297 h 589372"/>
                <a:gd name="connsiteX2" fmla="*/ 520779 w 610076"/>
                <a:gd name="connsiteY2" fmla="*/ 89297 h 589372"/>
                <a:gd name="connsiteX3" fmla="*/ 520779 w 610076"/>
                <a:gd name="connsiteY3" fmla="*/ 520779 h 589372"/>
                <a:gd name="connsiteX4" fmla="*/ 89297 w 610076"/>
                <a:gd name="connsiteY4" fmla="*/ 520779 h 589372"/>
                <a:gd name="connsiteX5" fmla="*/ 154067 w 610076"/>
                <a:gd name="connsiteY5" fmla="*/ 154067 h 589372"/>
                <a:gd name="connsiteX6" fmla="*/ 154067 w 610076"/>
                <a:gd name="connsiteY6" fmla="*/ 455057 h 589372"/>
                <a:gd name="connsiteX7" fmla="*/ 455057 w 610076"/>
                <a:gd name="connsiteY7" fmla="*/ 455057 h 589372"/>
                <a:gd name="connsiteX8" fmla="*/ 455057 w 610076"/>
                <a:gd name="connsiteY8" fmla="*/ 154067 h 589372"/>
                <a:gd name="connsiteX9" fmla="*/ 154067 w 610076"/>
                <a:gd name="connsiteY9" fmla="*/ 154067 h 58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076" h="589372">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cubicBezTo>
                    <a:pt x="460772" y="579834"/>
                    <a:pt x="208359" y="639842"/>
                    <a:pt x="89297" y="520779"/>
                  </a:cubicBezTo>
                  <a:close/>
                  <a:moveTo>
                    <a:pt x="154067" y="154067"/>
                  </a:moveTo>
                  <a:cubicBezTo>
                    <a:pt x="71199" y="236934"/>
                    <a:pt x="71199" y="372189"/>
                    <a:pt x="154067" y="455057"/>
                  </a:cubicBezTo>
                  <a:cubicBezTo>
                    <a:pt x="236934" y="537924"/>
                    <a:pt x="372189" y="537924"/>
                    <a:pt x="455057" y="455057"/>
                  </a:cubicBezTo>
                  <a:cubicBezTo>
                    <a:pt x="537924" y="372189"/>
                    <a:pt x="537924" y="236934"/>
                    <a:pt x="455057" y="154067"/>
                  </a:cubicBezTo>
                  <a:cubicBezTo>
                    <a:pt x="414099" y="112157"/>
                    <a:pt x="236934" y="71199"/>
                    <a:pt x="154067" y="154067"/>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39" name="Freeform: Shape 38">
              <a:extLst>
                <a:ext uri="{FF2B5EF4-FFF2-40B4-BE49-F238E27FC236}">
                  <a16:creationId xmlns:a16="http://schemas.microsoft.com/office/drawing/2014/main" id="{EFB27DB6-ACD2-CE42-E8EB-29A51D656BBC}"/>
                </a:ext>
              </a:extLst>
            </p:cNvPr>
            <p:cNvSpPr/>
            <p:nvPr/>
          </p:nvSpPr>
          <p:spPr>
            <a:xfrm>
              <a:off x="15183405" y="898255"/>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89297 w 610076"/>
                <a:gd name="connsiteY4" fmla="*/ 520779 h 610076"/>
                <a:gd name="connsiteX5" fmla="*/ 155019 w 610076"/>
                <a:gd name="connsiteY5" fmla="*/ 155019 h 610076"/>
                <a:gd name="connsiteX6" fmla="*/ 155019 w 610076"/>
                <a:gd name="connsiteY6" fmla="*/ 456009 h 610076"/>
                <a:gd name="connsiteX7" fmla="*/ 456009 w 610076"/>
                <a:gd name="connsiteY7" fmla="*/ 456009 h 610076"/>
                <a:gd name="connsiteX8" fmla="*/ 456009 w 610076"/>
                <a:gd name="connsiteY8" fmla="*/ 155019 h 610076"/>
                <a:gd name="connsiteX9" fmla="*/ 155019 w 610076"/>
                <a:gd name="connsiteY9" fmla="*/ 155019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cubicBezTo>
                    <a:pt x="402669" y="639842"/>
                    <a:pt x="208359" y="639842"/>
                    <a:pt x="89297" y="520779"/>
                  </a:cubicBezTo>
                  <a:close/>
                  <a:moveTo>
                    <a:pt x="155019" y="155019"/>
                  </a:moveTo>
                  <a:cubicBezTo>
                    <a:pt x="72152" y="237887"/>
                    <a:pt x="72152" y="373142"/>
                    <a:pt x="155019" y="456009"/>
                  </a:cubicBezTo>
                  <a:cubicBezTo>
                    <a:pt x="237887" y="538877"/>
                    <a:pt x="373142" y="538877"/>
                    <a:pt x="456009" y="456009"/>
                  </a:cubicBezTo>
                  <a:cubicBezTo>
                    <a:pt x="538877" y="373142"/>
                    <a:pt x="538877" y="237887"/>
                    <a:pt x="456009" y="155019"/>
                  </a:cubicBezTo>
                  <a:cubicBezTo>
                    <a:pt x="373142" y="71199"/>
                    <a:pt x="237887" y="71199"/>
                    <a:pt x="155019" y="155019"/>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40" name="Freeform: Shape 39">
              <a:extLst>
                <a:ext uri="{FF2B5EF4-FFF2-40B4-BE49-F238E27FC236}">
                  <a16:creationId xmlns:a16="http://schemas.microsoft.com/office/drawing/2014/main" id="{F38F977B-51F4-FC05-6248-EE5A6D2CE312}"/>
                </a:ext>
              </a:extLst>
            </p:cNvPr>
            <p:cNvSpPr/>
            <p:nvPr/>
          </p:nvSpPr>
          <p:spPr>
            <a:xfrm>
              <a:off x="17643236" y="3358086"/>
              <a:ext cx="274796" cy="274796"/>
            </a:xfrm>
            <a:custGeom>
              <a:avLst/>
              <a:gdLst>
                <a:gd name="connsiteX0" fmla="*/ 196453 w 274796"/>
                <a:gd name="connsiteY0" fmla="*/ 261223 h 274796"/>
                <a:gd name="connsiteX1" fmla="*/ 13573 w 274796"/>
                <a:gd name="connsiteY1" fmla="*/ 78343 h 274796"/>
                <a:gd name="connsiteX2" fmla="*/ 13573 w 274796"/>
                <a:gd name="connsiteY2" fmla="*/ 13573 h 274796"/>
                <a:gd name="connsiteX3" fmla="*/ 78343 w 274796"/>
                <a:gd name="connsiteY3" fmla="*/ 13573 h 274796"/>
                <a:gd name="connsiteX4" fmla="*/ 261223 w 274796"/>
                <a:gd name="connsiteY4" fmla="*/ 196453 h 274796"/>
                <a:gd name="connsiteX5" fmla="*/ 261223 w 274796"/>
                <a:gd name="connsiteY5" fmla="*/ 261223 h 274796"/>
                <a:gd name="connsiteX6" fmla="*/ 19645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96453" y="261223"/>
                  </a:moveTo>
                  <a:lnTo>
                    <a:pt x="13573" y="78343"/>
                  </a:lnTo>
                  <a:cubicBezTo>
                    <a:pt x="-4524" y="60246"/>
                    <a:pt x="-4524" y="30718"/>
                    <a:pt x="13573" y="13573"/>
                  </a:cubicBezTo>
                  <a:cubicBezTo>
                    <a:pt x="31671" y="-4524"/>
                    <a:pt x="61198" y="-4524"/>
                    <a:pt x="78343" y="13573"/>
                  </a:cubicBezTo>
                  <a:lnTo>
                    <a:pt x="261223" y="196453"/>
                  </a:lnTo>
                  <a:cubicBezTo>
                    <a:pt x="279321" y="214551"/>
                    <a:pt x="279321" y="244078"/>
                    <a:pt x="261223" y="261223"/>
                  </a:cubicBezTo>
                  <a:cubicBezTo>
                    <a:pt x="243126" y="279321"/>
                    <a:pt x="213598" y="279321"/>
                    <a:pt x="196453" y="26122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41" name="Freeform: Shape 40">
              <a:extLst>
                <a:ext uri="{FF2B5EF4-FFF2-40B4-BE49-F238E27FC236}">
                  <a16:creationId xmlns:a16="http://schemas.microsoft.com/office/drawing/2014/main" id="{36F24CFC-C857-9219-3B29-E08D196FBAC3}"/>
                </a:ext>
              </a:extLst>
            </p:cNvPr>
            <p:cNvSpPr/>
            <p:nvPr/>
          </p:nvSpPr>
          <p:spPr>
            <a:xfrm>
              <a:off x="15625841" y="1341643"/>
              <a:ext cx="274796" cy="274796"/>
            </a:xfrm>
            <a:custGeom>
              <a:avLst/>
              <a:gdLst>
                <a:gd name="connsiteX0" fmla="*/ 196453 w 274796"/>
                <a:gd name="connsiteY0" fmla="*/ 261223 h 274796"/>
                <a:gd name="connsiteX1" fmla="*/ 13573 w 274796"/>
                <a:gd name="connsiteY1" fmla="*/ 78343 h 274796"/>
                <a:gd name="connsiteX2" fmla="*/ 13573 w 274796"/>
                <a:gd name="connsiteY2" fmla="*/ 13573 h 274796"/>
                <a:gd name="connsiteX3" fmla="*/ 78343 w 274796"/>
                <a:gd name="connsiteY3" fmla="*/ 13573 h 274796"/>
                <a:gd name="connsiteX4" fmla="*/ 261223 w 274796"/>
                <a:gd name="connsiteY4" fmla="*/ 196453 h 274796"/>
                <a:gd name="connsiteX5" fmla="*/ 261223 w 274796"/>
                <a:gd name="connsiteY5" fmla="*/ 261223 h 274796"/>
                <a:gd name="connsiteX6" fmla="*/ 19645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96453" y="261223"/>
                  </a:moveTo>
                  <a:lnTo>
                    <a:pt x="13573" y="78343"/>
                  </a:lnTo>
                  <a:cubicBezTo>
                    <a:pt x="-4524" y="60246"/>
                    <a:pt x="-4524" y="30718"/>
                    <a:pt x="13573" y="13573"/>
                  </a:cubicBezTo>
                  <a:cubicBezTo>
                    <a:pt x="31671" y="-4524"/>
                    <a:pt x="61198" y="-4524"/>
                    <a:pt x="78343" y="13573"/>
                  </a:cubicBezTo>
                  <a:lnTo>
                    <a:pt x="261223" y="196453"/>
                  </a:lnTo>
                  <a:cubicBezTo>
                    <a:pt x="279321" y="214551"/>
                    <a:pt x="279321" y="244078"/>
                    <a:pt x="261223" y="261223"/>
                  </a:cubicBezTo>
                  <a:cubicBezTo>
                    <a:pt x="244078" y="279321"/>
                    <a:pt x="214551" y="279321"/>
                    <a:pt x="196453" y="26122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42" name="Freeform: Shape 41">
              <a:extLst>
                <a:ext uri="{FF2B5EF4-FFF2-40B4-BE49-F238E27FC236}">
                  <a16:creationId xmlns:a16="http://schemas.microsoft.com/office/drawing/2014/main" id="{972A6A70-9A6E-C514-FD67-42D4798A10A6}"/>
                </a:ext>
              </a:extLst>
            </p:cNvPr>
            <p:cNvSpPr/>
            <p:nvPr/>
          </p:nvSpPr>
          <p:spPr>
            <a:xfrm>
              <a:off x="16120427" y="1835277"/>
              <a:ext cx="611504" cy="611504"/>
            </a:xfrm>
            <a:custGeom>
              <a:avLst/>
              <a:gdLst>
                <a:gd name="connsiteX0" fmla="*/ 305752 w 611504"/>
                <a:gd name="connsiteY0" fmla="*/ 611505 h 611504"/>
                <a:gd name="connsiteX1" fmla="*/ 0 w 611504"/>
                <a:gd name="connsiteY1" fmla="*/ 305752 h 611504"/>
                <a:gd name="connsiteX2" fmla="*/ 305752 w 611504"/>
                <a:gd name="connsiteY2" fmla="*/ 0 h 611504"/>
                <a:gd name="connsiteX3" fmla="*/ 611505 w 611504"/>
                <a:gd name="connsiteY3" fmla="*/ 305752 h 611504"/>
                <a:gd name="connsiteX4" fmla="*/ 305752 w 611504"/>
                <a:gd name="connsiteY4" fmla="*/ 611505 h 611504"/>
                <a:gd name="connsiteX5" fmla="*/ 305752 w 611504"/>
                <a:gd name="connsiteY5" fmla="*/ 92392 h 611504"/>
                <a:gd name="connsiteX6" fmla="*/ 92392 w 611504"/>
                <a:gd name="connsiteY6" fmla="*/ 305752 h 611504"/>
                <a:gd name="connsiteX7" fmla="*/ 305752 w 611504"/>
                <a:gd name="connsiteY7" fmla="*/ 519113 h 611504"/>
                <a:gd name="connsiteX8" fmla="*/ 519113 w 611504"/>
                <a:gd name="connsiteY8" fmla="*/ 305752 h 611504"/>
                <a:gd name="connsiteX9" fmla="*/ 305752 w 611504"/>
                <a:gd name="connsiteY9" fmla="*/ 92392 h 611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4" h="611504">
                  <a:moveTo>
                    <a:pt x="305752" y="611505"/>
                  </a:moveTo>
                  <a:cubicBezTo>
                    <a:pt x="137160" y="611505"/>
                    <a:pt x="0" y="474345"/>
                    <a:pt x="0" y="305752"/>
                  </a:cubicBezTo>
                  <a:cubicBezTo>
                    <a:pt x="0" y="137160"/>
                    <a:pt x="137160" y="0"/>
                    <a:pt x="305752" y="0"/>
                  </a:cubicBezTo>
                  <a:cubicBezTo>
                    <a:pt x="474345" y="0"/>
                    <a:pt x="611505" y="137160"/>
                    <a:pt x="611505" y="305752"/>
                  </a:cubicBezTo>
                  <a:cubicBezTo>
                    <a:pt x="611505" y="474345"/>
                    <a:pt x="474345" y="611505"/>
                    <a:pt x="305752" y="611505"/>
                  </a:cubicBezTo>
                  <a:close/>
                  <a:moveTo>
                    <a:pt x="305752" y="92392"/>
                  </a:moveTo>
                  <a:cubicBezTo>
                    <a:pt x="188595" y="92392"/>
                    <a:pt x="92392" y="187642"/>
                    <a:pt x="92392" y="305752"/>
                  </a:cubicBezTo>
                  <a:cubicBezTo>
                    <a:pt x="92392" y="423863"/>
                    <a:pt x="187642" y="519113"/>
                    <a:pt x="305752" y="519113"/>
                  </a:cubicBezTo>
                  <a:cubicBezTo>
                    <a:pt x="423863" y="519113"/>
                    <a:pt x="519113" y="423863"/>
                    <a:pt x="519113" y="305752"/>
                  </a:cubicBezTo>
                  <a:cubicBezTo>
                    <a:pt x="519113" y="187642"/>
                    <a:pt x="423863" y="92392"/>
                    <a:pt x="305752" y="92392"/>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43" name="Freeform: Shape 42">
              <a:extLst>
                <a:ext uri="{FF2B5EF4-FFF2-40B4-BE49-F238E27FC236}">
                  <a16:creationId xmlns:a16="http://schemas.microsoft.com/office/drawing/2014/main" id="{91AC07C8-2104-9541-3183-75E5B20888F7}"/>
                </a:ext>
              </a:extLst>
            </p:cNvPr>
            <p:cNvSpPr/>
            <p:nvPr/>
          </p:nvSpPr>
          <p:spPr>
            <a:xfrm>
              <a:off x="16985296" y="2872549"/>
              <a:ext cx="438150" cy="438150"/>
            </a:xfrm>
            <a:custGeom>
              <a:avLst/>
              <a:gdLst>
                <a:gd name="connsiteX0" fmla="*/ 219075 w 438150"/>
                <a:gd name="connsiteY0" fmla="*/ 438150 h 438150"/>
                <a:gd name="connsiteX1" fmla="*/ 0 w 438150"/>
                <a:gd name="connsiteY1" fmla="*/ 219075 h 438150"/>
                <a:gd name="connsiteX2" fmla="*/ 219075 w 438150"/>
                <a:gd name="connsiteY2" fmla="*/ 0 h 438150"/>
                <a:gd name="connsiteX3" fmla="*/ 438150 w 438150"/>
                <a:gd name="connsiteY3" fmla="*/ 219075 h 438150"/>
                <a:gd name="connsiteX4" fmla="*/ 219075 w 438150"/>
                <a:gd name="connsiteY4" fmla="*/ 438150 h 438150"/>
                <a:gd name="connsiteX5" fmla="*/ 219075 w 438150"/>
                <a:gd name="connsiteY5" fmla="*/ 92393 h 438150"/>
                <a:gd name="connsiteX6" fmla="*/ 92393 w 438150"/>
                <a:gd name="connsiteY6" fmla="*/ 219075 h 438150"/>
                <a:gd name="connsiteX7" fmla="*/ 219075 w 438150"/>
                <a:gd name="connsiteY7" fmla="*/ 345757 h 438150"/>
                <a:gd name="connsiteX8" fmla="*/ 345758 w 438150"/>
                <a:gd name="connsiteY8" fmla="*/ 219075 h 438150"/>
                <a:gd name="connsiteX9" fmla="*/ 219075 w 438150"/>
                <a:gd name="connsiteY9" fmla="*/ 92393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150" h="438150">
                  <a:moveTo>
                    <a:pt x="219075" y="438150"/>
                  </a:moveTo>
                  <a:cubicBezTo>
                    <a:pt x="98108" y="438150"/>
                    <a:pt x="0" y="340043"/>
                    <a:pt x="0" y="219075"/>
                  </a:cubicBezTo>
                  <a:cubicBezTo>
                    <a:pt x="0" y="98107"/>
                    <a:pt x="98108" y="0"/>
                    <a:pt x="219075" y="0"/>
                  </a:cubicBezTo>
                  <a:cubicBezTo>
                    <a:pt x="340043" y="0"/>
                    <a:pt x="438150" y="98107"/>
                    <a:pt x="438150" y="219075"/>
                  </a:cubicBezTo>
                  <a:cubicBezTo>
                    <a:pt x="437197" y="340043"/>
                    <a:pt x="339090" y="438150"/>
                    <a:pt x="219075" y="438150"/>
                  </a:cubicBezTo>
                  <a:close/>
                  <a:moveTo>
                    <a:pt x="219075" y="92393"/>
                  </a:moveTo>
                  <a:cubicBezTo>
                    <a:pt x="149543" y="92393"/>
                    <a:pt x="92393" y="149543"/>
                    <a:pt x="92393" y="219075"/>
                  </a:cubicBezTo>
                  <a:cubicBezTo>
                    <a:pt x="92393" y="288607"/>
                    <a:pt x="149543" y="345757"/>
                    <a:pt x="219075" y="345757"/>
                  </a:cubicBezTo>
                  <a:cubicBezTo>
                    <a:pt x="288608" y="345757"/>
                    <a:pt x="345758" y="288607"/>
                    <a:pt x="345758" y="219075"/>
                  </a:cubicBezTo>
                  <a:cubicBezTo>
                    <a:pt x="345758" y="149543"/>
                    <a:pt x="288608" y="92393"/>
                    <a:pt x="219075" y="9239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grpSp>
      <p:sp>
        <p:nvSpPr>
          <p:cNvPr id="44" name="Freeform: Shape 111">
            <a:extLst>
              <a:ext uri="{FF2B5EF4-FFF2-40B4-BE49-F238E27FC236}">
                <a16:creationId xmlns:a16="http://schemas.microsoft.com/office/drawing/2014/main" id="{91AA76B9-9265-9CE7-B9B9-8EC28254959E}"/>
              </a:ext>
            </a:extLst>
          </p:cNvPr>
          <p:cNvSpPr/>
          <p:nvPr/>
        </p:nvSpPr>
        <p:spPr>
          <a:xfrm>
            <a:off x="9049541" y="2402315"/>
            <a:ext cx="638436" cy="605049"/>
          </a:xfrm>
          <a:custGeom>
            <a:avLst/>
            <a:gdLst>
              <a:gd name="connsiteX0" fmla="*/ 223488 w 458148"/>
              <a:gd name="connsiteY0" fmla="*/ 574 h 456788"/>
              <a:gd name="connsiteX1" fmla="*/ 254724 w 458148"/>
              <a:gd name="connsiteY1" fmla="*/ 20907 h 456788"/>
              <a:gd name="connsiteX2" fmla="*/ 248755 w 458148"/>
              <a:gd name="connsiteY2" fmla="*/ 43957 h 456788"/>
              <a:gd name="connsiteX3" fmla="*/ 240246 w 458148"/>
              <a:gd name="connsiteY3" fmla="*/ 69040 h 456788"/>
              <a:gd name="connsiteX4" fmla="*/ 252120 w 458148"/>
              <a:gd name="connsiteY4" fmla="*/ 97488 h 456788"/>
              <a:gd name="connsiteX5" fmla="*/ 274409 w 458148"/>
              <a:gd name="connsiteY5" fmla="*/ 103520 h 456788"/>
              <a:gd name="connsiteX6" fmla="*/ 298983 w 458148"/>
              <a:gd name="connsiteY6" fmla="*/ 84788 h 456788"/>
              <a:gd name="connsiteX7" fmla="*/ 304127 w 458148"/>
              <a:gd name="connsiteY7" fmla="*/ 58816 h 456788"/>
              <a:gd name="connsiteX8" fmla="*/ 307048 w 458148"/>
              <a:gd name="connsiteY8" fmla="*/ 40465 h 456788"/>
              <a:gd name="connsiteX9" fmla="*/ 309651 w 458148"/>
              <a:gd name="connsiteY9" fmla="*/ 36737 h 456788"/>
              <a:gd name="connsiteX10" fmla="*/ 346862 w 458148"/>
              <a:gd name="connsiteY10" fmla="*/ 33416 h 456788"/>
              <a:gd name="connsiteX11" fmla="*/ 355181 w 458148"/>
              <a:gd name="connsiteY11" fmla="*/ 61420 h 456788"/>
              <a:gd name="connsiteX12" fmla="*/ 338798 w 458148"/>
              <a:gd name="connsiteY12" fmla="*/ 78438 h 456788"/>
              <a:gd name="connsiteX13" fmla="*/ 318478 w 458148"/>
              <a:gd name="connsiteY13" fmla="*/ 96027 h 456788"/>
              <a:gd name="connsiteX14" fmla="*/ 314477 w 458148"/>
              <a:gd name="connsiteY14" fmla="*/ 126507 h 456788"/>
              <a:gd name="connsiteX15" fmla="*/ 330987 w 458148"/>
              <a:gd name="connsiteY15" fmla="*/ 143081 h 456788"/>
              <a:gd name="connsiteX16" fmla="*/ 361467 w 458148"/>
              <a:gd name="connsiteY16" fmla="*/ 139080 h 456788"/>
              <a:gd name="connsiteX17" fmla="*/ 378866 w 458148"/>
              <a:gd name="connsiteY17" fmla="*/ 119205 h 456788"/>
              <a:gd name="connsiteX18" fmla="*/ 386118 w 458148"/>
              <a:gd name="connsiteY18" fmla="*/ 107984 h 456788"/>
              <a:gd name="connsiteX19" fmla="*/ 423443 w 458148"/>
              <a:gd name="connsiteY19" fmla="*/ 109635 h 456788"/>
              <a:gd name="connsiteX20" fmla="*/ 421792 w 458148"/>
              <a:gd name="connsiteY20" fmla="*/ 146954 h 456788"/>
              <a:gd name="connsiteX21" fmla="*/ 399123 w 458148"/>
              <a:gd name="connsiteY21" fmla="*/ 153304 h 456788"/>
              <a:gd name="connsiteX22" fmla="*/ 372707 w 458148"/>
              <a:gd name="connsiteY22" fmla="*/ 158384 h 456788"/>
              <a:gd name="connsiteX23" fmla="*/ 354116 w 458148"/>
              <a:gd name="connsiteY23" fmla="*/ 182666 h 456788"/>
              <a:gd name="connsiteX24" fmla="*/ 354038 w 458148"/>
              <a:gd name="connsiteY24" fmla="*/ 182387 h 456788"/>
              <a:gd name="connsiteX25" fmla="*/ 354038 w 458148"/>
              <a:gd name="connsiteY25" fmla="*/ 182768 h 456788"/>
              <a:gd name="connsiteX26" fmla="*/ 354116 w 458148"/>
              <a:gd name="connsiteY26" fmla="*/ 182666 h 456788"/>
              <a:gd name="connsiteX27" fmla="*/ 360388 w 458148"/>
              <a:gd name="connsiteY27" fmla="*/ 205184 h 456788"/>
              <a:gd name="connsiteX28" fmla="*/ 388709 w 458148"/>
              <a:gd name="connsiteY28" fmla="*/ 216995 h 456788"/>
              <a:gd name="connsiteX29" fmla="*/ 413791 w 458148"/>
              <a:gd name="connsiteY29" fmla="*/ 208486 h 456788"/>
              <a:gd name="connsiteX30" fmla="*/ 436905 w 458148"/>
              <a:gd name="connsiteY30" fmla="*/ 202453 h 456788"/>
              <a:gd name="connsiteX31" fmla="*/ 457162 w 458148"/>
              <a:gd name="connsiteY31" fmla="*/ 223599 h 456788"/>
              <a:gd name="connsiteX32" fmla="*/ 449872 w 458148"/>
              <a:gd name="connsiteY32" fmla="*/ 249875 h 456788"/>
              <a:gd name="connsiteX33" fmla="*/ 412712 w 458148"/>
              <a:gd name="connsiteY33" fmla="*/ 248745 h 456788"/>
              <a:gd name="connsiteX34" fmla="*/ 387312 w 458148"/>
              <a:gd name="connsiteY34" fmla="*/ 239982 h 456788"/>
              <a:gd name="connsiteX35" fmla="*/ 358991 w 458148"/>
              <a:gd name="connsiteY35" fmla="*/ 251729 h 456788"/>
              <a:gd name="connsiteX36" fmla="*/ 352958 w 458148"/>
              <a:gd name="connsiteY36" fmla="*/ 274335 h 456788"/>
              <a:gd name="connsiteX37" fmla="*/ 371627 w 458148"/>
              <a:gd name="connsiteY37" fmla="*/ 298719 h 456788"/>
              <a:gd name="connsiteX38" fmla="*/ 397599 w 458148"/>
              <a:gd name="connsiteY38" fmla="*/ 303863 h 456788"/>
              <a:gd name="connsiteX39" fmla="*/ 411855 w 458148"/>
              <a:gd name="connsiteY39" fmla="*/ 304593 h 456788"/>
              <a:gd name="connsiteX40" fmla="*/ 428460 w 458148"/>
              <a:gd name="connsiteY40" fmla="*/ 338057 h 456788"/>
              <a:gd name="connsiteX41" fmla="*/ 394995 w 458148"/>
              <a:gd name="connsiteY41" fmla="*/ 354663 h 456788"/>
              <a:gd name="connsiteX42" fmla="*/ 377977 w 458148"/>
              <a:gd name="connsiteY42" fmla="*/ 338280 h 456788"/>
              <a:gd name="connsiteX43" fmla="*/ 360324 w 458148"/>
              <a:gd name="connsiteY43" fmla="*/ 317960 h 456788"/>
              <a:gd name="connsiteX44" fmla="*/ 330035 w 458148"/>
              <a:gd name="connsiteY44" fmla="*/ 313959 h 456788"/>
              <a:gd name="connsiteX45" fmla="*/ 313398 w 458148"/>
              <a:gd name="connsiteY45" fmla="*/ 330596 h 456788"/>
              <a:gd name="connsiteX46" fmla="*/ 317398 w 458148"/>
              <a:gd name="connsiteY46" fmla="*/ 360822 h 456788"/>
              <a:gd name="connsiteX47" fmla="*/ 337337 w 458148"/>
              <a:gd name="connsiteY47" fmla="*/ 378221 h 456788"/>
              <a:gd name="connsiteX48" fmla="*/ 348132 w 458148"/>
              <a:gd name="connsiteY48" fmla="*/ 385200 h 456788"/>
              <a:gd name="connsiteX49" fmla="*/ 346831 w 458148"/>
              <a:gd name="connsiteY49" fmla="*/ 422443 h 456788"/>
              <a:gd name="connsiteX50" fmla="*/ 309588 w 458148"/>
              <a:gd name="connsiteY50" fmla="*/ 421147 h 456788"/>
              <a:gd name="connsiteX51" fmla="*/ 303238 w 458148"/>
              <a:gd name="connsiteY51" fmla="*/ 398478 h 456788"/>
              <a:gd name="connsiteX52" fmla="*/ 298094 w 458148"/>
              <a:gd name="connsiteY52" fmla="*/ 372062 h 456788"/>
              <a:gd name="connsiteX53" fmla="*/ 273837 w 458148"/>
              <a:gd name="connsiteY53" fmla="*/ 353393 h 456788"/>
              <a:gd name="connsiteX54" fmla="*/ 251231 w 458148"/>
              <a:gd name="connsiteY54" fmla="*/ 359743 h 456788"/>
              <a:gd name="connsiteX55" fmla="*/ 239547 w 458148"/>
              <a:gd name="connsiteY55" fmla="*/ 388000 h 456788"/>
              <a:gd name="connsiteX56" fmla="*/ 248056 w 458148"/>
              <a:gd name="connsiteY56" fmla="*/ 413019 h 456788"/>
              <a:gd name="connsiteX57" fmla="*/ 254235 w 458148"/>
              <a:gd name="connsiteY57" fmla="*/ 434971 h 456788"/>
              <a:gd name="connsiteX58" fmla="*/ 223736 w 458148"/>
              <a:gd name="connsiteY58" fmla="*/ 456390 h 456788"/>
              <a:gd name="connsiteX59" fmla="*/ 202527 w 458148"/>
              <a:gd name="connsiteY59" fmla="*/ 436324 h 456788"/>
              <a:gd name="connsiteX60" fmla="*/ 208242 w 458148"/>
              <a:gd name="connsiteY60" fmla="*/ 413400 h 456788"/>
              <a:gd name="connsiteX61" fmla="*/ 217005 w 458148"/>
              <a:gd name="connsiteY61" fmla="*/ 388000 h 456788"/>
              <a:gd name="connsiteX62" fmla="*/ 205321 w 458148"/>
              <a:gd name="connsiteY62" fmla="*/ 359679 h 456788"/>
              <a:gd name="connsiteX63" fmla="*/ 182905 w 458148"/>
              <a:gd name="connsiteY63" fmla="*/ 353647 h 456788"/>
              <a:gd name="connsiteX64" fmla="*/ 158585 w 458148"/>
              <a:gd name="connsiteY64" fmla="*/ 372316 h 456788"/>
              <a:gd name="connsiteX65" fmla="*/ 153441 w 458148"/>
              <a:gd name="connsiteY65" fmla="*/ 398732 h 456788"/>
              <a:gd name="connsiteX66" fmla="*/ 150393 w 458148"/>
              <a:gd name="connsiteY66" fmla="*/ 416575 h 456788"/>
              <a:gd name="connsiteX67" fmla="*/ 136017 w 458148"/>
              <a:gd name="connsiteY67" fmla="*/ 428386 h 456788"/>
              <a:gd name="connsiteX68" fmla="*/ 102597 w 458148"/>
              <a:gd name="connsiteY68" fmla="*/ 411895 h 456788"/>
              <a:gd name="connsiteX69" fmla="*/ 119088 w 458148"/>
              <a:gd name="connsiteY69" fmla="*/ 378475 h 456788"/>
              <a:gd name="connsiteX70" fmla="*/ 139027 w 458148"/>
              <a:gd name="connsiteY70" fmla="*/ 361076 h 456788"/>
              <a:gd name="connsiteX71" fmla="*/ 143027 w 458148"/>
              <a:gd name="connsiteY71" fmla="*/ 330850 h 456788"/>
              <a:gd name="connsiteX72" fmla="*/ 126390 w 458148"/>
              <a:gd name="connsiteY72" fmla="*/ 314213 h 456788"/>
              <a:gd name="connsiteX73" fmla="*/ 96101 w 458148"/>
              <a:gd name="connsiteY73" fmla="*/ 318214 h 456788"/>
              <a:gd name="connsiteX74" fmla="*/ 78448 w 458148"/>
              <a:gd name="connsiteY74" fmla="*/ 338534 h 456788"/>
              <a:gd name="connsiteX75" fmla="*/ 66954 w 458148"/>
              <a:gd name="connsiteY75" fmla="*/ 352504 h 456788"/>
              <a:gd name="connsiteX76" fmla="*/ 48584 w 458148"/>
              <a:gd name="connsiteY76" fmla="*/ 355552 h 456788"/>
              <a:gd name="connsiteX77" fmla="*/ 27889 w 458148"/>
              <a:gd name="connsiteY77" fmla="*/ 324551 h 456788"/>
              <a:gd name="connsiteX78" fmla="*/ 58890 w 458148"/>
              <a:gd name="connsiteY78" fmla="*/ 303863 h 456788"/>
              <a:gd name="connsiteX79" fmla="*/ 84861 w 458148"/>
              <a:gd name="connsiteY79" fmla="*/ 298719 h 456788"/>
              <a:gd name="connsiteX80" fmla="*/ 103467 w 458148"/>
              <a:gd name="connsiteY80" fmla="*/ 274335 h 456788"/>
              <a:gd name="connsiteX81" fmla="*/ 97117 w 458148"/>
              <a:gd name="connsiteY81" fmla="*/ 251729 h 456788"/>
              <a:gd name="connsiteX82" fmla="*/ 68796 w 458148"/>
              <a:gd name="connsiteY82" fmla="*/ 239982 h 456788"/>
              <a:gd name="connsiteX83" fmla="*/ 43396 w 458148"/>
              <a:gd name="connsiteY83" fmla="*/ 248745 h 456788"/>
              <a:gd name="connsiteX84" fmla="*/ 26441 w 458148"/>
              <a:gd name="connsiteY84" fmla="*/ 255095 h 456788"/>
              <a:gd name="connsiteX85" fmla="*/ 641 w 458148"/>
              <a:gd name="connsiteY85" fmla="*/ 234438 h 456788"/>
              <a:gd name="connsiteX86" fmla="*/ 20663 w 458148"/>
              <a:gd name="connsiteY86" fmla="*/ 202898 h 456788"/>
              <a:gd name="connsiteX87" fmla="*/ 43777 w 458148"/>
              <a:gd name="connsiteY87" fmla="*/ 208930 h 456788"/>
              <a:gd name="connsiteX88" fmla="*/ 69177 w 458148"/>
              <a:gd name="connsiteY88" fmla="*/ 217439 h 456788"/>
              <a:gd name="connsiteX89" fmla="*/ 97561 w 458148"/>
              <a:gd name="connsiteY89" fmla="*/ 205628 h 456788"/>
              <a:gd name="connsiteX90" fmla="*/ 103833 w 458148"/>
              <a:gd name="connsiteY90" fmla="*/ 183111 h 456788"/>
              <a:gd name="connsiteX91" fmla="*/ 103911 w 458148"/>
              <a:gd name="connsiteY91" fmla="*/ 183213 h 456788"/>
              <a:gd name="connsiteX92" fmla="*/ 103911 w 458148"/>
              <a:gd name="connsiteY92" fmla="*/ 182832 h 456788"/>
              <a:gd name="connsiteX93" fmla="*/ 103833 w 458148"/>
              <a:gd name="connsiteY93" fmla="*/ 183111 h 456788"/>
              <a:gd name="connsiteX94" fmla="*/ 85242 w 458148"/>
              <a:gd name="connsiteY94" fmla="*/ 158829 h 456788"/>
              <a:gd name="connsiteX95" fmla="*/ 58890 w 458148"/>
              <a:gd name="connsiteY95" fmla="*/ 153749 h 456788"/>
              <a:gd name="connsiteX96" fmla="*/ 41046 w 458148"/>
              <a:gd name="connsiteY96" fmla="*/ 150764 h 456788"/>
              <a:gd name="connsiteX97" fmla="*/ 29096 w 458148"/>
              <a:gd name="connsiteY97" fmla="*/ 120145 h 456788"/>
              <a:gd name="connsiteX98" fmla="*/ 62128 w 458148"/>
              <a:gd name="connsiteY98" fmla="*/ 102695 h 456788"/>
              <a:gd name="connsiteX99" fmla="*/ 79146 w 458148"/>
              <a:gd name="connsiteY99" fmla="*/ 119459 h 456788"/>
              <a:gd name="connsiteX100" fmla="*/ 96609 w 458148"/>
              <a:gd name="connsiteY100" fmla="*/ 139334 h 456788"/>
              <a:gd name="connsiteX101" fmla="*/ 127025 w 458148"/>
              <a:gd name="connsiteY101" fmla="*/ 143335 h 456788"/>
              <a:gd name="connsiteX102" fmla="*/ 143599 w 458148"/>
              <a:gd name="connsiteY102" fmla="*/ 126761 h 456788"/>
              <a:gd name="connsiteX103" fmla="*/ 139598 w 458148"/>
              <a:gd name="connsiteY103" fmla="*/ 96281 h 456788"/>
              <a:gd name="connsiteX104" fmla="*/ 119278 w 458148"/>
              <a:gd name="connsiteY104" fmla="*/ 78692 h 456788"/>
              <a:gd name="connsiteX105" fmla="*/ 108737 w 458148"/>
              <a:gd name="connsiteY105" fmla="*/ 71681 h 456788"/>
              <a:gd name="connsiteX106" fmla="*/ 110369 w 458148"/>
              <a:gd name="connsiteY106" fmla="*/ 34451 h 456788"/>
              <a:gd name="connsiteX107" fmla="*/ 147599 w 458148"/>
              <a:gd name="connsiteY107" fmla="*/ 36083 h 456788"/>
              <a:gd name="connsiteX108" fmla="*/ 153949 w 458148"/>
              <a:gd name="connsiteY108" fmla="*/ 59070 h 456788"/>
              <a:gd name="connsiteX109" fmla="*/ 159156 w 458148"/>
              <a:gd name="connsiteY109" fmla="*/ 85042 h 456788"/>
              <a:gd name="connsiteX110" fmla="*/ 183667 w 458148"/>
              <a:gd name="connsiteY110" fmla="*/ 103774 h 456788"/>
              <a:gd name="connsiteX111" fmla="*/ 206718 w 458148"/>
              <a:gd name="connsiteY111" fmla="*/ 97424 h 456788"/>
              <a:gd name="connsiteX112" fmla="*/ 205956 w 458148"/>
              <a:gd name="connsiteY112" fmla="*/ 97424 h 456788"/>
              <a:gd name="connsiteX113" fmla="*/ 217703 w 458148"/>
              <a:gd name="connsiteY113" fmla="*/ 69040 h 456788"/>
              <a:gd name="connsiteX114" fmla="*/ 208940 w 458148"/>
              <a:gd name="connsiteY114" fmla="*/ 43640 h 456788"/>
              <a:gd name="connsiteX115" fmla="*/ 202590 w 458148"/>
              <a:gd name="connsiteY115" fmla="*/ 26622 h 456788"/>
              <a:gd name="connsiteX116" fmla="*/ 223488 w 458148"/>
              <a:gd name="connsiteY116" fmla="*/ 574 h 456788"/>
              <a:gd name="connsiteX117" fmla="*/ 229387 w 458148"/>
              <a:gd name="connsiteY117" fmla="*/ 124030 h 456788"/>
              <a:gd name="connsiteX118" fmla="*/ 206146 w 458148"/>
              <a:gd name="connsiteY118" fmla="*/ 147144 h 456788"/>
              <a:gd name="connsiteX119" fmla="*/ 206146 w 458148"/>
              <a:gd name="connsiteY119" fmla="*/ 147208 h 456788"/>
              <a:gd name="connsiteX120" fmla="*/ 229197 w 458148"/>
              <a:gd name="connsiteY120" fmla="*/ 170385 h 456788"/>
              <a:gd name="connsiteX121" fmla="*/ 229260 w 458148"/>
              <a:gd name="connsiteY121" fmla="*/ 170385 h 456788"/>
              <a:gd name="connsiteX122" fmla="*/ 252501 w 458148"/>
              <a:gd name="connsiteY122" fmla="*/ 147271 h 456788"/>
              <a:gd name="connsiteX123" fmla="*/ 229387 w 458148"/>
              <a:gd name="connsiteY123" fmla="*/ 124030 h 456788"/>
              <a:gd name="connsiteX124" fmla="*/ 305262 w 458148"/>
              <a:gd name="connsiteY124" fmla="*/ 165197 h 456788"/>
              <a:gd name="connsiteX125" fmla="*/ 287667 w 458148"/>
              <a:gd name="connsiteY125" fmla="*/ 167464 h 456788"/>
              <a:gd name="connsiteX126" fmla="*/ 287553 w 458148"/>
              <a:gd name="connsiteY126" fmla="*/ 167528 h 456788"/>
              <a:gd name="connsiteX127" fmla="*/ 279266 w 458148"/>
              <a:gd name="connsiteY127" fmla="*/ 199151 h 456788"/>
              <a:gd name="connsiteX128" fmla="*/ 310889 w 458148"/>
              <a:gd name="connsiteY128" fmla="*/ 207431 h 456788"/>
              <a:gd name="connsiteX129" fmla="*/ 319303 w 458148"/>
              <a:gd name="connsiteY129" fmla="*/ 176037 h 456788"/>
              <a:gd name="connsiteX130" fmla="*/ 305262 w 458148"/>
              <a:gd name="connsiteY130" fmla="*/ 165197 h 456788"/>
              <a:gd name="connsiteX131" fmla="*/ 153422 w 458148"/>
              <a:gd name="connsiteY131" fmla="*/ 165277 h 456788"/>
              <a:gd name="connsiteX132" fmla="*/ 139420 w 458148"/>
              <a:gd name="connsiteY132" fmla="*/ 176094 h 456788"/>
              <a:gd name="connsiteX133" fmla="*/ 147986 w 458148"/>
              <a:gd name="connsiteY133" fmla="*/ 207641 h 456788"/>
              <a:gd name="connsiteX134" fmla="*/ 179412 w 458148"/>
              <a:gd name="connsiteY134" fmla="*/ 199278 h 456788"/>
              <a:gd name="connsiteX135" fmla="*/ 171062 w 458148"/>
              <a:gd name="connsiteY135" fmla="*/ 167585 h 456788"/>
              <a:gd name="connsiteX136" fmla="*/ 170967 w 458148"/>
              <a:gd name="connsiteY136" fmla="*/ 167528 h 456788"/>
              <a:gd name="connsiteX137" fmla="*/ 153422 w 458148"/>
              <a:gd name="connsiteY137" fmla="*/ 165277 h 456788"/>
              <a:gd name="connsiteX138" fmla="*/ 229260 w 458148"/>
              <a:gd name="connsiteY138" fmla="*/ 198199 h 456788"/>
              <a:gd name="connsiteX139" fmla="*/ 200050 w 458148"/>
              <a:gd name="connsiteY139" fmla="*/ 227409 h 456788"/>
              <a:gd name="connsiteX140" fmla="*/ 229260 w 458148"/>
              <a:gd name="connsiteY140" fmla="*/ 256619 h 456788"/>
              <a:gd name="connsiteX141" fmla="*/ 258470 w 458148"/>
              <a:gd name="connsiteY141" fmla="*/ 227409 h 456788"/>
              <a:gd name="connsiteX142" fmla="*/ 229260 w 458148"/>
              <a:gd name="connsiteY142" fmla="*/ 198199 h 456788"/>
              <a:gd name="connsiteX143" fmla="*/ 293115 w 458148"/>
              <a:gd name="connsiteY143" fmla="*/ 246027 h 456788"/>
              <a:gd name="connsiteX144" fmla="*/ 279139 w 458148"/>
              <a:gd name="connsiteY144" fmla="*/ 256873 h 456788"/>
              <a:gd name="connsiteX145" fmla="*/ 287782 w 458148"/>
              <a:gd name="connsiteY145" fmla="*/ 288400 h 456788"/>
              <a:gd name="connsiteX146" fmla="*/ 319176 w 458148"/>
              <a:gd name="connsiteY146" fmla="*/ 279987 h 456788"/>
              <a:gd name="connsiteX147" fmla="*/ 311004 w 458148"/>
              <a:gd name="connsiteY147" fmla="*/ 248427 h 456788"/>
              <a:gd name="connsiteX148" fmla="*/ 310667 w 458148"/>
              <a:gd name="connsiteY148" fmla="*/ 248237 h 456788"/>
              <a:gd name="connsiteX149" fmla="*/ 293115 w 458148"/>
              <a:gd name="connsiteY149" fmla="*/ 246027 h 456788"/>
              <a:gd name="connsiteX150" fmla="*/ 165604 w 458148"/>
              <a:gd name="connsiteY150" fmla="*/ 245867 h 456788"/>
              <a:gd name="connsiteX151" fmla="*/ 148057 w 458148"/>
              <a:gd name="connsiteY151" fmla="*/ 248116 h 456788"/>
              <a:gd name="connsiteX152" fmla="*/ 147854 w 458148"/>
              <a:gd name="connsiteY152" fmla="*/ 248236 h 456788"/>
              <a:gd name="connsiteX153" fmla="*/ 139611 w 458148"/>
              <a:gd name="connsiteY153" fmla="*/ 279866 h 456788"/>
              <a:gd name="connsiteX154" fmla="*/ 171241 w 458148"/>
              <a:gd name="connsiteY154" fmla="*/ 288108 h 456788"/>
              <a:gd name="connsiteX155" fmla="*/ 179604 w 458148"/>
              <a:gd name="connsiteY155" fmla="*/ 256682 h 456788"/>
              <a:gd name="connsiteX156" fmla="*/ 165604 w 458148"/>
              <a:gd name="connsiteY156" fmla="*/ 245867 h 456788"/>
              <a:gd name="connsiteX157" fmla="*/ 229260 w 458148"/>
              <a:gd name="connsiteY157" fmla="*/ 285447 h 456788"/>
              <a:gd name="connsiteX158" fmla="*/ 206019 w 458148"/>
              <a:gd name="connsiteY158" fmla="*/ 308561 h 456788"/>
              <a:gd name="connsiteX159" fmla="*/ 229133 w 458148"/>
              <a:gd name="connsiteY159" fmla="*/ 331802 h 456788"/>
              <a:gd name="connsiteX160" fmla="*/ 252374 w 458148"/>
              <a:gd name="connsiteY160" fmla="*/ 308688 h 456788"/>
              <a:gd name="connsiteX161" fmla="*/ 252374 w 458148"/>
              <a:gd name="connsiteY161" fmla="*/ 308561 h 456788"/>
              <a:gd name="connsiteX162" fmla="*/ 229260 w 458148"/>
              <a:gd name="connsiteY162" fmla="*/ 285447 h 456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458148" h="456788">
                <a:moveTo>
                  <a:pt x="223488" y="574"/>
                </a:moveTo>
                <a:cubicBezTo>
                  <a:pt x="237731" y="-2436"/>
                  <a:pt x="251714" y="6670"/>
                  <a:pt x="254724" y="20907"/>
                </a:cubicBezTo>
                <a:cubicBezTo>
                  <a:pt x="256578" y="29105"/>
                  <a:pt x="254355" y="37690"/>
                  <a:pt x="248755" y="43957"/>
                </a:cubicBezTo>
                <a:cubicBezTo>
                  <a:pt x="243072" y="51069"/>
                  <a:pt x="240062" y="59940"/>
                  <a:pt x="240246" y="69040"/>
                </a:cubicBezTo>
                <a:cubicBezTo>
                  <a:pt x="239852" y="79803"/>
                  <a:pt x="244195" y="90198"/>
                  <a:pt x="252120" y="97488"/>
                </a:cubicBezTo>
                <a:cubicBezTo>
                  <a:pt x="259715" y="98840"/>
                  <a:pt x="267170" y="100860"/>
                  <a:pt x="274409" y="103520"/>
                </a:cubicBezTo>
                <a:cubicBezTo>
                  <a:pt x="284937" y="101152"/>
                  <a:pt x="293910" y="94313"/>
                  <a:pt x="298983" y="84788"/>
                </a:cubicBezTo>
                <a:cubicBezTo>
                  <a:pt x="303689" y="77003"/>
                  <a:pt x="305511" y="67808"/>
                  <a:pt x="304127" y="58816"/>
                </a:cubicBezTo>
                <a:cubicBezTo>
                  <a:pt x="302819" y="52549"/>
                  <a:pt x="303854" y="46015"/>
                  <a:pt x="307048" y="40465"/>
                </a:cubicBezTo>
                <a:cubicBezTo>
                  <a:pt x="307810" y="39150"/>
                  <a:pt x="308680" y="37906"/>
                  <a:pt x="309651" y="36737"/>
                </a:cubicBezTo>
                <a:cubicBezTo>
                  <a:pt x="319011" y="25549"/>
                  <a:pt x="335667" y="24056"/>
                  <a:pt x="346862" y="33416"/>
                </a:cubicBezTo>
                <a:cubicBezTo>
                  <a:pt x="354939" y="40274"/>
                  <a:pt x="358203" y="51260"/>
                  <a:pt x="355181" y="61420"/>
                </a:cubicBezTo>
                <a:cubicBezTo>
                  <a:pt x="352730" y="69370"/>
                  <a:pt x="346646" y="75688"/>
                  <a:pt x="338798" y="78438"/>
                </a:cubicBezTo>
                <a:cubicBezTo>
                  <a:pt x="330130" y="81664"/>
                  <a:pt x="322910" y="87912"/>
                  <a:pt x="318478" y="96027"/>
                </a:cubicBezTo>
                <a:cubicBezTo>
                  <a:pt x="312807" y="105133"/>
                  <a:pt x="311347" y="116246"/>
                  <a:pt x="314477" y="126507"/>
                </a:cubicBezTo>
                <a:cubicBezTo>
                  <a:pt x="320465" y="131530"/>
                  <a:pt x="325990" y="137074"/>
                  <a:pt x="330987" y="143081"/>
                </a:cubicBezTo>
                <a:cubicBezTo>
                  <a:pt x="341243" y="146243"/>
                  <a:pt x="352374" y="144783"/>
                  <a:pt x="361467" y="139080"/>
                </a:cubicBezTo>
                <a:cubicBezTo>
                  <a:pt x="369411" y="134692"/>
                  <a:pt x="375571" y="127663"/>
                  <a:pt x="378866" y="119205"/>
                </a:cubicBezTo>
                <a:cubicBezTo>
                  <a:pt x="380282" y="114906"/>
                  <a:pt x="382778" y="111039"/>
                  <a:pt x="386118" y="107984"/>
                </a:cubicBezTo>
                <a:cubicBezTo>
                  <a:pt x="396881" y="98135"/>
                  <a:pt x="413594" y="98872"/>
                  <a:pt x="423443" y="109635"/>
                </a:cubicBezTo>
                <a:cubicBezTo>
                  <a:pt x="433292" y="120392"/>
                  <a:pt x="432556" y="137105"/>
                  <a:pt x="421792" y="146954"/>
                </a:cubicBezTo>
                <a:cubicBezTo>
                  <a:pt x="415684" y="152568"/>
                  <a:pt x="407257" y="154930"/>
                  <a:pt x="399123" y="153304"/>
                </a:cubicBezTo>
                <a:cubicBezTo>
                  <a:pt x="389992" y="151793"/>
                  <a:pt x="380625" y="153596"/>
                  <a:pt x="372707" y="158384"/>
                </a:cubicBezTo>
                <a:lnTo>
                  <a:pt x="354116" y="182666"/>
                </a:lnTo>
                <a:lnTo>
                  <a:pt x="354038" y="182387"/>
                </a:lnTo>
                <a:lnTo>
                  <a:pt x="354038" y="182768"/>
                </a:lnTo>
                <a:lnTo>
                  <a:pt x="354116" y="182666"/>
                </a:lnTo>
                <a:lnTo>
                  <a:pt x="360388" y="205184"/>
                </a:lnTo>
                <a:cubicBezTo>
                  <a:pt x="367659" y="213051"/>
                  <a:pt x="378003" y="217363"/>
                  <a:pt x="388709" y="216995"/>
                </a:cubicBezTo>
                <a:cubicBezTo>
                  <a:pt x="397808" y="217192"/>
                  <a:pt x="406686" y="214175"/>
                  <a:pt x="413791" y="208486"/>
                </a:cubicBezTo>
                <a:cubicBezTo>
                  <a:pt x="420059" y="202840"/>
                  <a:pt x="428676" y="200593"/>
                  <a:pt x="436905" y="202453"/>
                </a:cubicBezTo>
                <a:cubicBezTo>
                  <a:pt x="447268" y="204835"/>
                  <a:pt x="455231" y="213140"/>
                  <a:pt x="457162" y="223599"/>
                </a:cubicBezTo>
                <a:cubicBezTo>
                  <a:pt x="459822" y="233035"/>
                  <a:pt x="457009" y="243163"/>
                  <a:pt x="449872" y="249875"/>
                </a:cubicBezTo>
                <a:cubicBezTo>
                  <a:pt x="439299" y="259825"/>
                  <a:pt x="422662" y="259317"/>
                  <a:pt x="412712" y="248745"/>
                </a:cubicBezTo>
                <a:cubicBezTo>
                  <a:pt x="405568" y="242877"/>
                  <a:pt x="396557" y="239766"/>
                  <a:pt x="387312" y="239982"/>
                </a:cubicBezTo>
                <a:cubicBezTo>
                  <a:pt x="376618" y="239620"/>
                  <a:pt x="366287" y="243906"/>
                  <a:pt x="358991" y="251729"/>
                </a:cubicBezTo>
                <a:cubicBezTo>
                  <a:pt x="357676" y="259432"/>
                  <a:pt x="355657" y="267001"/>
                  <a:pt x="352958" y="274335"/>
                </a:cubicBezTo>
                <a:cubicBezTo>
                  <a:pt x="355308" y="284806"/>
                  <a:pt x="362134" y="293715"/>
                  <a:pt x="371627" y="298719"/>
                </a:cubicBezTo>
                <a:cubicBezTo>
                  <a:pt x="379406" y="303444"/>
                  <a:pt x="388607" y="305266"/>
                  <a:pt x="397599" y="303863"/>
                </a:cubicBezTo>
                <a:cubicBezTo>
                  <a:pt x="402330" y="302796"/>
                  <a:pt x="407264" y="303043"/>
                  <a:pt x="411855" y="304593"/>
                </a:cubicBezTo>
                <a:cubicBezTo>
                  <a:pt x="425685" y="309248"/>
                  <a:pt x="433114" y="324233"/>
                  <a:pt x="428460" y="338057"/>
                </a:cubicBezTo>
                <a:cubicBezTo>
                  <a:pt x="423805" y="351881"/>
                  <a:pt x="408819" y="359317"/>
                  <a:pt x="394995" y="354663"/>
                </a:cubicBezTo>
                <a:cubicBezTo>
                  <a:pt x="387032" y="352231"/>
                  <a:pt x="380714" y="346141"/>
                  <a:pt x="377977" y="338280"/>
                </a:cubicBezTo>
                <a:cubicBezTo>
                  <a:pt x="374707" y="329618"/>
                  <a:pt x="368446" y="322411"/>
                  <a:pt x="360324" y="317960"/>
                </a:cubicBezTo>
                <a:cubicBezTo>
                  <a:pt x="351282" y="312315"/>
                  <a:pt x="340233" y="310854"/>
                  <a:pt x="330035" y="313959"/>
                </a:cubicBezTo>
                <a:cubicBezTo>
                  <a:pt x="324974" y="319973"/>
                  <a:pt x="319411" y="325535"/>
                  <a:pt x="313398" y="330596"/>
                </a:cubicBezTo>
                <a:cubicBezTo>
                  <a:pt x="310331" y="340782"/>
                  <a:pt x="311785" y="351792"/>
                  <a:pt x="317398" y="360822"/>
                </a:cubicBezTo>
                <a:cubicBezTo>
                  <a:pt x="321805" y="368779"/>
                  <a:pt x="328860" y="374932"/>
                  <a:pt x="337337" y="378221"/>
                </a:cubicBezTo>
                <a:cubicBezTo>
                  <a:pt x="341452" y="379618"/>
                  <a:pt x="345161" y="382019"/>
                  <a:pt x="348132" y="385200"/>
                </a:cubicBezTo>
                <a:cubicBezTo>
                  <a:pt x="358057" y="395842"/>
                  <a:pt x="357473" y="412518"/>
                  <a:pt x="346831" y="422443"/>
                </a:cubicBezTo>
                <a:cubicBezTo>
                  <a:pt x="336188" y="432368"/>
                  <a:pt x="319513" y="431790"/>
                  <a:pt x="309588" y="421147"/>
                </a:cubicBezTo>
                <a:cubicBezTo>
                  <a:pt x="303974" y="415039"/>
                  <a:pt x="301612" y="406612"/>
                  <a:pt x="303238" y="398478"/>
                </a:cubicBezTo>
                <a:cubicBezTo>
                  <a:pt x="304755" y="389340"/>
                  <a:pt x="302927" y="379961"/>
                  <a:pt x="298094" y="372062"/>
                </a:cubicBezTo>
                <a:cubicBezTo>
                  <a:pt x="293084" y="362626"/>
                  <a:pt x="284239" y="355818"/>
                  <a:pt x="273837" y="353393"/>
                </a:cubicBezTo>
                <a:cubicBezTo>
                  <a:pt x="266503" y="356161"/>
                  <a:pt x="258940" y="358289"/>
                  <a:pt x="251231" y="359743"/>
                </a:cubicBezTo>
                <a:cubicBezTo>
                  <a:pt x="243440" y="367033"/>
                  <a:pt x="239179" y="377339"/>
                  <a:pt x="239547" y="388000"/>
                </a:cubicBezTo>
                <a:cubicBezTo>
                  <a:pt x="239363" y="397081"/>
                  <a:pt x="242373" y="405933"/>
                  <a:pt x="248056" y="413019"/>
                </a:cubicBezTo>
                <a:cubicBezTo>
                  <a:pt x="253339" y="419020"/>
                  <a:pt x="255613" y="427097"/>
                  <a:pt x="254235" y="434971"/>
                </a:cubicBezTo>
                <a:cubicBezTo>
                  <a:pt x="251727" y="449310"/>
                  <a:pt x="238074" y="458898"/>
                  <a:pt x="223736" y="456390"/>
                </a:cubicBezTo>
                <a:cubicBezTo>
                  <a:pt x="213309" y="454510"/>
                  <a:pt x="204984" y="446630"/>
                  <a:pt x="202527" y="436324"/>
                </a:cubicBezTo>
                <a:cubicBezTo>
                  <a:pt x="200666" y="428208"/>
                  <a:pt x="202787" y="419693"/>
                  <a:pt x="208242" y="413400"/>
                </a:cubicBezTo>
                <a:cubicBezTo>
                  <a:pt x="214090" y="406244"/>
                  <a:pt x="217195" y="397239"/>
                  <a:pt x="217005" y="388000"/>
                </a:cubicBezTo>
                <a:cubicBezTo>
                  <a:pt x="217360" y="377320"/>
                  <a:pt x="213100" y="367001"/>
                  <a:pt x="205321" y="359679"/>
                </a:cubicBezTo>
                <a:cubicBezTo>
                  <a:pt x="197675" y="358365"/>
                  <a:pt x="190176" y="356345"/>
                  <a:pt x="182905" y="353647"/>
                </a:cubicBezTo>
                <a:cubicBezTo>
                  <a:pt x="172472" y="356047"/>
                  <a:pt x="163601" y="362861"/>
                  <a:pt x="158585" y="372316"/>
                </a:cubicBezTo>
                <a:cubicBezTo>
                  <a:pt x="153778" y="380228"/>
                  <a:pt x="151955" y="389594"/>
                  <a:pt x="153441" y="398732"/>
                </a:cubicBezTo>
                <a:cubicBezTo>
                  <a:pt x="154622" y="404853"/>
                  <a:pt x="153536" y="411190"/>
                  <a:pt x="150393" y="416575"/>
                </a:cubicBezTo>
                <a:cubicBezTo>
                  <a:pt x="147199" y="422132"/>
                  <a:pt x="142087" y="426329"/>
                  <a:pt x="136017" y="428386"/>
                </a:cubicBezTo>
                <a:cubicBezTo>
                  <a:pt x="122237" y="433060"/>
                  <a:pt x="107270" y="425681"/>
                  <a:pt x="102597" y="411895"/>
                </a:cubicBezTo>
                <a:cubicBezTo>
                  <a:pt x="97923" y="398116"/>
                  <a:pt x="105302" y="383149"/>
                  <a:pt x="119088" y="378475"/>
                </a:cubicBezTo>
                <a:cubicBezTo>
                  <a:pt x="127565" y="375186"/>
                  <a:pt x="134620" y="369033"/>
                  <a:pt x="139027" y="361076"/>
                </a:cubicBezTo>
                <a:cubicBezTo>
                  <a:pt x="144672" y="352053"/>
                  <a:pt x="146132" y="341029"/>
                  <a:pt x="143027" y="330850"/>
                </a:cubicBezTo>
                <a:cubicBezTo>
                  <a:pt x="137033" y="325777"/>
                  <a:pt x="131464" y="320208"/>
                  <a:pt x="126390" y="314213"/>
                </a:cubicBezTo>
                <a:cubicBezTo>
                  <a:pt x="116192" y="311115"/>
                  <a:pt x="105150" y="312575"/>
                  <a:pt x="96101" y="318214"/>
                </a:cubicBezTo>
                <a:cubicBezTo>
                  <a:pt x="87992" y="322684"/>
                  <a:pt x="81737" y="329885"/>
                  <a:pt x="78448" y="338534"/>
                </a:cubicBezTo>
                <a:cubicBezTo>
                  <a:pt x="76429" y="344427"/>
                  <a:pt x="72345" y="349386"/>
                  <a:pt x="66954" y="352504"/>
                </a:cubicBezTo>
                <a:cubicBezTo>
                  <a:pt x="61404" y="355723"/>
                  <a:pt x="54870" y="356803"/>
                  <a:pt x="48584" y="355552"/>
                </a:cubicBezTo>
                <a:cubicBezTo>
                  <a:pt x="34309" y="352701"/>
                  <a:pt x="25044" y="338826"/>
                  <a:pt x="27889" y="324551"/>
                </a:cubicBezTo>
                <a:cubicBezTo>
                  <a:pt x="30740" y="310276"/>
                  <a:pt x="44615" y="301018"/>
                  <a:pt x="58890" y="303863"/>
                </a:cubicBezTo>
                <a:cubicBezTo>
                  <a:pt x="67881" y="305247"/>
                  <a:pt x="77076" y="303425"/>
                  <a:pt x="84861" y="298719"/>
                </a:cubicBezTo>
                <a:cubicBezTo>
                  <a:pt x="94323" y="293696"/>
                  <a:pt x="101124" y="284787"/>
                  <a:pt x="103467" y="274335"/>
                </a:cubicBezTo>
                <a:cubicBezTo>
                  <a:pt x="100717" y="266995"/>
                  <a:pt x="98590" y="259432"/>
                  <a:pt x="97117" y="251729"/>
                </a:cubicBezTo>
                <a:cubicBezTo>
                  <a:pt x="89827" y="243893"/>
                  <a:pt x="79496" y="239601"/>
                  <a:pt x="68796" y="239982"/>
                </a:cubicBezTo>
                <a:cubicBezTo>
                  <a:pt x="59557" y="239772"/>
                  <a:pt x="50546" y="242884"/>
                  <a:pt x="43396" y="248745"/>
                </a:cubicBezTo>
                <a:cubicBezTo>
                  <a:pt x="38684" y="252815"/>
                  <a:pt x="32671" y="255069"/>
                  <a:pt x="26441" y="255095"/>
                </a:cubicBezTo>
                <a:cubicBezTo>
                  <a:pt x="14065" y="255107"/>
                  <a:pt x="3340" y="246516"/>
                  <a:pt x="641" y="234438"/>
                </a:cubicBezTo>
                <a:cubicBezTo>
                  <a:pt x="-2540" y="220195"/>
                  <a:pt x="6426" y="206079"/>
                  <a:pt x="20663" y="202898"/>
                </a:cubicBezTo>
                <a:cubicBezTo>
                  <a:pt x="28892" y="201037"/>
                  <a:pt x="37509" y="203285"/>
                  <a:pt x="43777" y="208930"/>
                </a:cubicBezTo>
                <a:cubicBezTo>
                  <a:pt x="50965" y="214690"/>
                  <a:pt x="59969" y="217706"/>
                  <a:pt x="69177" y="217439"/>
                </a:cubicBezTo>
                <a:cubicBezTo>
                  <a:pt x="79902" y="217795"/>
                  <a:pt x="90252" y="213489"/>
                  <a:pt x="97561" y="205628"/>
                </a:cubicBezTo>
                <a:lnTo>
                  <a:pt x="103833" y="183111"/>
                </a:lnTo>
                <a:lnTo>
                  <a:pt x="103911" y="183213"/>
                </a:lnTo>
                <a:lnTo>
                  <a:pt x="103911" y="182832"/>
                </a:lnTo>
                <a:lnTo>
                  <a:pt x="103833" y="183111"/>
                </a:lnTo>
                <a:lnTo>
                  <a:pt x="85242" y="158829"/>
                </a:lnTo>
                <a:cubicBezTo>
                  <a:pt x="77343" y="154047"/>
                  <a:pt x="67996" y="152250"/>
                  <a:pt x="58890" y="153749"/>
                </a:cubicBezTo>
                <a:cubicBezTo>
                  <a:pt x="52775" y="154904"/>
                  <a:pt x="46450" y="153850"/>
                  <a:pt x="41046" y="150764"/>
                </a:cubicBezTo>
                <a:cubicBezTo>
                  <a:pt x="30423" y="144579"/>
                  <a:pt x="25470" y="131886"/>
                  <a:pt x="29096" y="120145"/>
                </a:cubicBezTo>
                <a:cubicBezTo>
                  <a:pt x="33401" y="106206"/>
                  <a:pt x="48190" y="98390"/>
                  <a:pt x="62128" y="102695"/>
                </a:cubicBezTo>
                <a:cubicBezTo>
                  <a:pt x="70174" y="105203"/>
                  <a:pt x="76511" y="111451"/>
                  <a:pt x="79146" y="119459"/>
                </a:cubicBezTo>
                <a:cubicBezTo>
                  <a:pt x="82442" y="127936"/>
                  <a:pt x="88627" y="134972"/>
                  <a:pt x="96609" y="139334"/>
                </a:cubicBezTo>
                <a:cubicBezTo>
                  <a:pt x="105683" y="145036"/>
                  <a:pt x="116789" y="146497"/>
                  <a:pt x="127025" y="143335"/>
                </a:cubicBezTo>
                <a:cubicBezTo>
                  <a:pt x="132029" y="137315"/>
                  <a:pt x="137579" y="131765"/>
                  <a:pt x="143599" y="126761"/>
                </a:cubicBezTo>
                <a:cubicBezTo>
                  <a:pt x="146698" y="116500"/>
                  <a:pt x="145237" y="105400"/>
                  <a:pt x="139598" y="96281"/>
                </a:cubicBezTo>
                <a:cubicBezTo>
                  <a:pt x="135134" y="88185"/>
                  <a:pt x="127927" y="81949"/>
                  <a:pt x="119278" y="78692"/>
                </a:cubicBezTo>
                <a:cubicBezTo>
                  <a:pt x="115246" y="77250"/>
                  <a:pt x="111627" y="74844"/>
                  <a:pt x="108737" y="71681"/>
                </a:cubicBezTo>
                <a:cubicBezTo>
                  <a:pt x="98907" y="60950"/>
                  <a:pt x="99638" y="44281"/>
                  <a:pt x="110369" y="34451"/>
                </a:cubicBezTo>
                <a:cubicBezTo>
                  <a:pt x="121101" y="24622"/>
                  <a:pt x="137769" y="25352"/>
                  <a:pt x="147599" y="36083"/>
                </a:cubicBezTo>
                <a:cubicBezTo>
                  <a:pt x="153327" y="42255"/>
                  <a:pt x="155696" y="50834"/>
                  <a:pt x="153949" y="59070"/>
                </a:cubicBezTo>
                <a:cubicBezTo>
                  <a:pt x="152616" y="68068"/>
                  <a:pt x="154457" y="77250"/>
                  <a:pt x="159156" y="85042"/>
                </a:cubicBezTo>
                <a:cubicBezTo>
                  <a:pt x="164217" y="94548"/>
                  <a:pt x="173164" y="101387"/>
                  <a:pt x="183667" y="103774"/>
                </a:cubicBezTo>
                <a:cubicBezTo>
                  <a:pt x="191135" y="100942"/>
                  <a:pt x="198850" y="98821"/>
                  <a:pt x="206718" y="97424"/>
                </a:cubicBezTo>
                <a:lnTo>
                  <a:pt x="205956" y="97424"/>
                </a:lnTo>
                <a:cubicBezTo>
                  <a:pt x="213792" y="90103"/>
                  <a:pt x="218072" y="79752"/>
                  <a:pt x="217703" y="69040"/>
                </a:cubicBezTo>
                <a:cubicBezTo>
                  <a:pt x="217894" y="59800"/>
                  <a:pt x="214789" y="50796"/>
                  <a:pt x="208940" y="43640"/>
                </a:cubicBezTo>
                <a:cubicBezTo>
                  <a:pt x="204851" y="38915"/>
                  <a:pt x="202597" y="32870"/>
                  <a:pt x="202590" y="26622"/>
                </a:cubicBezTo>
                <a:cubicBezTo>
                  <a:pt x="202463" y="14068"/>
                  <a:pt x="211207" y="3171"/>
                  <a:pt x="223488" y="574"/>
                </a:cubicBezTo>
                <a:close/>
                <a:moveTo>
                  <a:pt x="229387" y="124030"/>
                </a:moveTo>
                <a:cubicBezTo>
                  <a:pt x="216585" y="123998"/>
                  <a:pt x="206184" y="134342"/>
                  <a:pt x="206146" y="147144"/>
                </a:cubicBezTo>
                <a:cubicBezTo>
                  <a:pt x="206146" y="147163"/>
                  <a:pt x="206146" y="147189"/>
                  <a:pt x="206146" y="147208"/>
                </a:cubicBezTo>
                <a:cubicBezTo>
                  <a:pt x="206108" y="159971"/>
                  <a:pt x="216433" y="170347"/>
                  <a:pt x="229197" y="170385"/>
                </a:cubicBezTo>
                <a:cubicBezTo>
                  <a:pt x="229216" y="170385"/>
                  <a:pt x="229241" y="170385"/>
                  <a:pt x="229260" y="170385"/>
                </a:cubicBezTo>
                <a:cubicBezTo>
                  <a:pt x="242062" y="170423"/>
                  <a:pt x="252463" y="160073"/>
                  <a:pt x="252501" y="147271"/>
                </a:cubicBezTo>
                <a:cubicBezTo>
                  <a:pt x="252539" y="134469"/>
                  <a:pt x="242189" y="124068"/>
                  <a:pt x="229387" y="124030"/>
                </a:cubicBezTo>
                <a:close/>
                <a:moveTo>
                  <a:pt x="305262" y="165197"/>
                </a:moveTo>
                <a:cubicBezTo>
                  <a:pt x="299537" y="163646"/>
                  <a:pt x="293221" y="164280"/>
                  <a:pt x="287667" y="167464"/>
                </a:cubicBezTo>
                <a:cubicBezTo>
                  <a:pt x="287629" y="167483"/>
                  <a:pt x="287591" y="167509"/>
                  <a:pt x="287553" y="167528"/>
                </a:cubicBezTo>
                <a:cubicBezTo>
                  <a:pt x="276536" y="173973"/>
                  <a:pt x="272821" y="188127"/>
                  <a:pt x="279266" y="199151"/>
                </a:cubicBezTo>
                <a:cubicBezTo>
                  <a:pt x="285712" y="210168"/>
                  <a:pt x="299872" y="213876"/>
                  <a:pt x="310889" y="207431"/>
                </a:cubicBezTo>
                <a:cubicBezTo>
                  <a:pt x="321824" y="201043"/>
                  <a:pt x="325571" y="187041"/>
                  <a:pt x="319303" y="176037"/>
                </a:cubicBezTo>
                <a:cubicBezTo>
                  <a:pt x="316119" y="170484"/>
                  <a:pt x="310986" y="166748"/>
                  <a:pt x="305262" y="165197"/>
                </a:cubicBezTo>
                <a:close/>
                <a:moveTo>
                  <a:pt x="153422" y="165277"/>
                </a:moveTo>
                <a:cubicBezTo>
                  <a:pt x="147713" y="166826"/>
                  <a:pt x="142595" y="170554"/>
                  <a:pt x="139420" y="176094"/>
                </a:cubicBezTo>
                <a:cubicBezTo>
                  <a:pt x="133076" y="187169"/>
                  <a:pt x="136905" y="201291"/>
                  <a:pt x="147986" y="207641"/>
                </a:cubicBezTo>
                <a:cubicBezTo>
                  <a:pt x="158978" y="213940"/>
                  <a:pt x="172999" y="210213"/>
                  <a:pt x="179412" y="199278"/>
                </a:cubicBezTo>
                <a:cubicBezTo>
                  <a:pt x="185858" y="188216"/>
                  <a:pt x="182117" y="174030"/>
                  <a:pt x="171062" y="167585"/>
                </a:cubicBezTo>
                <a:cubicBezTo>
                  <a:pt x="171030" y="167566"/>
                  <a:pt x="170999" y="167547"/>
                  <a:pt x="170967" y="167528"/>
                </a:cubicBezTo>
                <a:cubicBezTo>
                  <a:pt x="165429" y="164356"/>
                  <a:pt x="159130" y="163727"/>
                  <a:pt x="153422" y="165277"/>
                </a:cubicBezTo>
                <a:close/>
                <a:moveTo>
                  <a:pt x="229260" y="198199"/>
                </a:moveTo>
                <a:cubicBezTo>
                  <a:pt x="213125" y="198199"/>
                  <a:pt x="200050" y="211274"/>
                  <a:pt x="200050" y="227409"/>
                </a:cubicBezTo>
                <a:cubicBezTo>
                  <a:pt x="200050" y="243544"/>
                  <a:pt x="213125" y="256619"/>
                  <a:pt x="229260" y="256619"/>
                </a:cubicBezTo>
                <a:cubicBezTo>
                  <a:pt x="245395" y="256619"/>
                  <a:pt x="258470" y="243544"/>
                  <a:pt x="258470" y="227409"/>
                </a:cubicBezTo>
                <a:cubicBezTo>
                  <a:pt x="258470" y="211280"/>
                  <a:pt x="245395" y="198199"/>
                  <a:pt x="229260" y="198199"/>
                </a:cubicBezTo>
                <a:close/>
                <a:moveTo>
                  <a:pt x="293115" y="246027"/>
                </a:moveTo>
                <a:cubicBezTo>
                  <a:pt x="287410" y="247590"/>
                  <a:pt x="282302" y="251329"/>
                  <a:pt x="279139" y="256873"/>
                </a:cubicBezTo>
                <a:cubicBezTo>
                  <a:pt x="272821" y="267966"/>
                  <a:pt x="276688" y="282082"/>
                  <a:pt x="287782" y="288400"/>
                </a:cubicBezTo>
                <a:cubicBezTo>
                  <a:pt x="298780" y="294674"/>
                  <a:pt x="312782" y="290921"/>
                  <a:pt x="319176" y="279987"/>
                </a:cubicBezTo>
                <a:cubicBezTo>
                  <a:pt x="325634" y="269014"/>
                  <a:pt x="321970" y="254885"/>
                  <a:pt x="311004" y="248427"/>
                </a:cubicBezTo>
                <a:cubicBezTo>
                  <a:pt x="310889" y="248364"/>
                  <a:pt x="310781" y="248300"/>
                  <a:pt x="310667" y="248237"/>
                </a:cubicBezTo>
                <a:cubicBezTo>
                  <a:pt x="305121" y="245078"/>
                  <a:pt x="298820" y="244465"/>
                  <a:pt x="293115" y="246027"/>
                </a:cubicBezTo>
                <a:close/>
                <a:moveTo>
                  <a:pt x="165604" y="245867"/>
                </a:moveTo>
                <a:cubicBezTo>
                  <a:pt x="159895" y="244317"/>
                  <a:pt x="153594" y="244944"/>
                  <a:pt x="148057" y="248116"/>
                </a:cubicBezTo>
                <a:cubicBezTo>
                  <a:pt x="147987" y="248160"/>
                  <a:pt x="147923" y="248198"/>
                  <a:pt x="147854" y="248236"/>
                </a:cubicBezTo>
                <a:cubicBezTo>
                  <a:pt x="136843" y="254694"/>
                  <a:pt x="133153" y="268855"/>
                  <a:pt x="139611" y="279866"/>
                </a:cubicBezTo>
                <a:cubicBezTo>
                  <a:pt x="146069" y="290877"/>
                  <a:pt x="160230" y="294572"/>
                  <a:pt x="171241" y="288108"/>
                </a:cubicBezTo>
                <a:cubicBezTo>
                  <a:pt x="182175" y="281701"/>
                  <a:pt x="185903" y="267680"/>
                  <a:pt x="179604" y="256682"/>
                </a:cubicBezTo>
                <a:cubicBezTo>
                  <a:pt x="176432" y="251145"/>
                  <a:pt x="171314" y="247417"/>
                  <a:pt x="165604" y="245867"/>
                </a:cubicBezTo>
                <a:close/>
                <a:moveTo>
                  <a:pt x="229260" y="285447"/>
                </a:moveTo>
                <a:cubicBezTo>
                  <a:pt x="216459" y="285409"/>
                  <a:pt x="206057" y="295760"/>
                  <a:pt x="206019" y="308561"/>
                </a:cubicBezTo>
                <a:cubicBezTo>
                  <a:pt x="205987" y="321363"/>
                  <a:pt x="216332" y="331764"/>
                  <a:pt x="229133" y="331802"/>
                </a:cubicBezTo>
                <a:cubicBezTo>
                  <a:pt x="241935" y="331840"/>
                  <a:pt x="252336" y="321490"/>
                  <a:pt x="252374" y="308688"/>
                </a:cubicBezTo>
                <a:cubicBezTo>
                  <a:pt x="252374" y="308644"/>
                  <a:pt x="252374" y="308606"/>
                  <a:pt x="252374" y="308561"/>
                </a:cubicBezTo>
                <a:cubicBezTo>
                  <a:pt x="252374" y="295798"/>
                  <a:pt x="242024" y="285447"/>
                  <a:pt x="229260" y="285447"/>
                </a:cubicBezTo>
                <a:close/>
              </a:path>
            </a:pathLst>
          </a:custGeom>
          <a:solidFill>
            <a:srgbClr val="0070BF"/>
          </a:solidFill>
          <a:ln w="6350" cap="flat">
            <a:noFill/>
            <a:prstDash val="solid"/>
            <a:miter/>
          </a:ln>
        </p:spPr>
        <p:txBody>
          <a:bodyPr wrap="square" rtlCol="0" anchor="ctr">
            <a:noAutofit/>
          </a:bodyPr>
          <a:lstStyle/>
          <a:p>
            <a:pPr marL="0" marR="0" lvl="0" indent="0" algn="ctr" defTabSz="914104" rtl="0" eaLnBrk="1" fontAlgn="auto" latinLnBrk="0" hangingPunct="1">
              <a:lnSpc>
                <a:spcPct val="100000"/>
              </a:lnSpc>
              <a:spcBef>
                <a:spcPts val="0"/>
              </a:spcBef>
              <a:spcAft>
                <a:spcPts val="0"/>
              </a:spcAft>
              <a:buClr>
                <a:srgbClr val="000000"/>
              </a:buClr>
              <a:buSzTx/>
              <a:buFontTx/>
              <a:buNone/>
              <a:tabLst/>
              <a:defRPr/>
            </a:pPr>
            <a:endParaRPr kumimoji="0" lang="en-GB" sz="1799" b="0" i="0" u="none" strike="noStrike" kern="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pic>
        <p:nvPicPr>
          <p:cNvPr id="45" name="Graphic 44" descr="Covid-19 outline">
            <a:extLst>
              <a:ext uri="{FF2B5EF4-FFF2-40B4-BE49-F238E27FC236}">
                <a16:creationId xmlns:a16="http://schemas.microsoft.com/office/drawing/2014/main" id="{9C12D43C-D6A8-D714-CEC0-C1E21FAB1C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7517537" y="2335624"/>
            <a:ext cx="828376" cy="738430"/>
          </a:xfrm>
          <a:prstGeom prst="rect">
            <a:avLst/>
          </a:prstGeom>
        </p:spPr>
      </p:pic>
      <p:sp>
        <p:nvSpPr>
          <p:cNvPr id="46" name="TextBox 45">
            <a:extLst>
              <a:ext uri="{FF2B5EF4-FFF2-40B4-BE49-F238E27FC236}">
                <a16:creationId xmlns:a16="http://schemas.microsoft.com/office/drawing/2014/main" id="{5F871C7C-ADBB-1FF0-F4E0-FBEC3AC7FCA5}"/>
              </a:ext>
            </a:extLst>
          </p:cNvPr>
          <p:cNvSpPr txBox="1"/>
          <p:nvPr/>
        </p:nvSpPr>
        <p:spPr>
          <a:xfrm>
            <a:off x="4409940" y="2334981"/>
            <a:ext cx="2738476" cy="400110"/>
          </a:xfrm>
          <a:prstGeom prst="rect">
            <a:avLst/>
          </a:prstGeom>
          <a:noFill/>
        </p:spPr>
        <p:txBody>
          <a:bodyPr wrap="square">
            <a:spAutoFit/>
          </a:bodyPr>
          <a:lstStyle/>
          <a:p>
            <a:pPr marL="0" marR="0" lvl="0" indent="0" algn="ctr" defTabSz="914400" rtl="0" eaLnBrk="1" fontAlgn="base" latinLnBrk="0" hangingPunct="1">
              <a:lnSpc>
                <a:spcPct val="100000"/>
              </a:lnSpc>
              <a:spcBef>
                <a:spcPts val="0"/>
              </a:spcBef>
              <a:spcAft>
                <a:spcPts val="1200"/>
              </a:spcAft>
              <a:buClr>
                <a:srgbClr val="000000"/>
              </a:buClr>
              <a:buSzPct val="100000"/>
              <a:buFontTx/>
              <a:buNone/>
              <a:tabLst/>
              <a:defRPr/>
            </a:pPr>
            <a:r>
              <a:rPr kumimoji="0" lang="en-US" sz="2000" b="1" i="0" u="none" strike="noStrike" kern="1200" cap="none" spc="0" normalizeH="0" baseline="0" noProof="0">
                <a:ln>
                  <a:noFill/>
                </a:ln>
                <a:solidFill>
                  <a:schemeClr val="tx2"/>
                </a:solidFill>
                <a:effectLst/>
                <a:uLnTx/>
                <a:uFillTx/>
                <a:latin typeface="Pfizer Tomorrow"/>
                <a:ea typeface="+mn-ea"/>
                <a:cs typeface="+mn-cs"/>
              </a:rPr>
              <a:t>Viral </a:t>
            </a:r>
            <a:r>
              <a:rPr kumimoji="0" lang="en-US" sz="2000" b="1" i="0" u="none" strike="noStrike" kern="1200" cap="none" spc="0" normalizeH="0" baseline="0" noProof="0" err="1">
                <a:ln>
                  <a:noFill/>
                </a:ln>
                <a:solidFill>
                  <a:schemeClr val="tx2"/>
                </a:solidFill>
                <a:effectLst/>
                <a:uLnTx/>
                <a:uFillTx/>
                <a:latin typeface="Pfizer Tomorrow"/>
                <a:ea typeface="+mn-ea"/>
                <a:cs typeface="+mn-cs"/>
              </a:rPr>
              <a:t>patojenler</a:t>
            </a:r>
            <a:endParaRPr kumimoji="0" lang="en-US" sz="2000" b="1" i="0" u="none" strike="noStrike" kern="1200" cap="none" spc="0" normalizeH="0" baseline="30000" noProof="0">
              <a:ln>
                <a:noFill/>
              </a:ln>
              <a:solidFill>
                <a:schemeClr val="tx2"/>
              </a:solidFill>
              <a:effectLst/>
              <a:uLnTx/>
              <a:uFillTx/>
              <a:latin typeface="Pfizer Diatype Office"/>
              <a:ea typeface="+mn-ea"/>
              <a:cs typeface="+mn-cs"/>
            </a:endParaRPr>
          </a:p>
        </p:txBody>
      </p:sp>
      <p:sp>
        <p:nvSpPr>
          <p:cNvPr id="47" name="Rectangle: Rounded Corners 46">
            <a:extLst>
              <a:ext uri="{FF2B5EF4-FFF2-40B4-BE49-F238E27FC236}">
                <a16:creationId xmlns:a16="http://schemas.microsoft.com/office/drawing/2014/main" id="{11329871-572E-AE1F-370C-4945C8846D02}"/>
              </a:ext>
            </a:extLst>
          </p:cNvPr>
          <p:cNvSpPr/>
          <p:nvPr/>
        </p:nvSpPr>
        <p:spPr>
          <a:xfrm>
            <a:off x="4422067" y="4166102"/>
            <a:ext cx="7171727" cy="948290"/>
          </a:xfrm>
          <a:prstGeom prst="roundRect">
            <a:avLst>
              <a:gd name="adj" fmla="val 11078"/>
            </a:avLst>
          </a:prstGeom>
          <a:solidFill>
            <a:schemeClr val="bg1">
              <a:alpha val="85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48" name="TextBox 47">
            <a:extLst>
              <a:ext uri="{FF2B5EF4-FFF2-40B4-BE49-F238E27FC236}">
                <a16:creationId xmlns:a16="http://schemas.microsoft.com/office/drawing/2014/main" id="{EE4AD60F-4CF6-5CE9-B9CB-7AD761C114F0}"/>
              </a:ext>
            </a:extLst>
          </p:cNvPr>
          <p:cNvSpPr txBox="1"/>
          <p:nvPr/>
        </p:nvSpPr>
        <p:spPr>
          <a:xfrm>
            <a:off x="4758910" y="4320081"/>
            <a:ext cx="2109401" cy="707886"/>
          </a:xfrm>
          <a:prstGeom prst="rect">
            <a:avLst/>
          </a:prstGeom>
          <a:noFill/>
        </p:spPr>
        <p:txBody>
          <a:bodyPr wrap="square">
            <a:spAutoFit/>
          </a:bodyPr>
          <a:lstStyle/>
          <a:p>
            <a:pPr marL="0" marR="0" lvl="0" indent="0" algn="ctr" defTabSz="914400" rtl="0" eaLnBrk="1" fontAlgn="base" latinLnBrk="0" hangingPunct="1">
              <a:lnSpc>
                <a:spcPct val="100000"/>
              </a:lnSpc>
              <a:spcBef>
                <a:spcPts val="0"/>
              </a:spcBef>
              <a:spcAft>
                <a:spcPts val="1200"/>
              </a:spcAft>
              <a:buClr>
                <a:srgbClr val="000000"/>
              </a:buClr>
              <a:buSzPct val="100000"/>
              <a:buFontTx/>
              <a:buNone/>
              <a:tabLst/>
              <a:defRPr/>
            </a:pPr>
            <a:r>
              <a:rPr kumimoji="0" lang="en-US" sz="2000" b="1" i="1" u="none" strike="noStrike" kern="1200" cap="none" spc="0" normalizeH="0" baseline="0" noProof="0">
                <a:ln>
                  <a:noFill/>
                </a:ln>
                <a:solidFill>
                  <a:schemeClr val="tx2"/>
                </a:solidFill>
                <a:effectLst/>
                <a:uLnTx/>
                <a:uFillTx/>
                <a:latin typeface="Pfizer Tomorrow"/>
                <a:ea typeface="+mn-ea"/>
                <a:cs typeface="+mn-cs"/>
              </a:rPr>
              <a:t>Streptococcus pneumoniae</a:t>
            </a:r>
            <a:endParaRPr kumimoji="0" lang="en-US" sz="2000" b="1" i="1" u="none" strike="noStrike" kern="1200" cap="none" spc="0" normalizeH="0" baseline="0" noProof="0">
              <a:ln>
                <a:noFill/>
              </a:ln>
              <a:solidFill>
                <a:schemeClr val="tx2"/>
              </a:solidFill>
              <a:effectLst/>
              <a:uLnTx/>
              <a:uFillTx/>
              <a:latin typeface="Pfizer Diatype Office"/>
              <a:ea typeface="+mn-ea"/>
              <a:cs typeface="+mn-cs"/>
            </a:endParaRPr>
          </a:p>
        </p:txBody>
      </p:sp>
      <p:sp>
        <p:nvSpPr>
          <p:cNvPr id="49" name="Title 3">
            <a:extLst>
              <a:ext uri="{FF2B5EF4-FFF2-40B4-BE49-F238E27FC236}">
                <a16:creationId xmlns:a16="http://schemas.microsoft.com/office/drawing/2014/main" id="{19F01FFC-1453-B06D-DF5F-259EB5FDD61D}"/>
              </a:ext>
            </a:extLst>
          </p:cNvPr>
          <p:cNvSpPr txBox="1">
            <a:spLocks/>
          </p:cNvSpPr>
          <p:nvPr/>
        </p:nvSpPr>
        <p:spPr>
          <a:xfrm>
            <a:off x="7527784" y="4970901"/>
            <a:ext cx="1211836" cy="584774"/>
          </a:xfrm>
          <a:prstGeom prst="rect">
            <a:avLst/>
          </a:prstGeom>
        </p:spPr>
        <p:txBody>
          <a:bodyPr lIns="0" tIns="36000" rIns="0" bIns="36000"/>
          <a:lstStyle>
            <a:lvl1pPr algn="l" defTabSz="913897" rtl="0" eaLnBrk="1" latinLnBrk="0" hangingPunct="1">
              <a:lnSpc>
                <a:spcPct val="90000"/>
              </a:lnSpc>
              <a:spcBef>
                <a:spcPct val="0"/>
              </a:spcBef>
              <a:buNone/>
              <a:defRPr lang="en-US" sz="2698" b="1" kern="1200" spc="-25" dirty="0">
                <a:solidFill>
                  <a:schemeClr val="accent1"/>
                </a:solidFill>
                <a:latin typeface="Pfizer Tomorrow" panose="02010503040201060303" pitchFamily="2" charset="77"/>
                <a:ea typeface="+mj-ea"/>
                <a:cs typeface="+mj-cs"/>
              </a:defRPr>
            </a:lvl1pPr>
          </a:lstStyle>
          <a:p>
            <a:pPr marL="0" marR="0" lvl="0" indent="0" algn="l" defTabSz="913897"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25" normalizeH="0" baseline="0" noProof="0">
                <a:ln>
                  <a:noFill/>
                </a:ln>
                <a:solidFill>
                  <a:srgbClr val="02005E"/>
                </a:solidFill>
                <a:effectLst/>
                <a:uLnTx/>
                <a:uFillTx/>
                <a:latin typeface="Pfizer Diatype Office"/>
                <a:ea typeface="+mj-ea"/>
                <a:cs typeface="+mj-cs"/>
              </a:rPr>
              <a:t> </a:t>
            </a:r>
            <a:endParaRPr kumimoji="0" lang="en-GB" sz="1400" b="0" i="0" u="none" strike="noStrike" kern="1200" cap="none" spc="-25" normalizeH="0" baseline="30000" noProof="0">
              <a:ln>
                <a:noFill/>
              </a:ln>
              <a:solidFill>
                <a:srgbClr val="02005E"/>
              </a:solidFill>
              <a:effectLst/>
              <a:uLnTx/>
              <a:uFillTx/>
              <a:latin typeface="Pfizer Diatype Office"/>
              <a:ea typeface="+mj-ea"/>
              <a:cs typeface="+mj-cs"/>
            </a:endParaRPr>
          </a:p>
        </p:txBody>
      </p:sp>
      <p:sp>
        <p:nvSpPr>
          <p:cNvPr id="50" name="Title 3">
            <a:extLst>
              <a:ext uri="{FF2B5EF4-FFF2-40B4-BE49-F238E27FC236}">
                <a16:creationId xmlns:a16="http://schemas.microsoft.com/office/drawing/2014/main" id="{C415CB83-23BD-4562-0BC9-BB1D60C0761C}"/>
              </a:ext>
            </a:extLst>
          </p:cNvPr>
          <p:cNvSpPr txBox="1">
            <a:spLocks/>
          </p:cNvSpPr>
          <p:nvPr/>
        </p:nvSpPr>
        <p:spPr>
          <a:xfrm>
            <a:off x="9270014" y="4189080"/>
            <a:ext cx="2250654" cy="969888"/>
          </a:xfrm>
          <a:prstGeom prst="rect">
            <a:avLst/>
          </a:prstGeom>
        </p:spPr>
        <p:txBody>
          <a:bodyPr lIns="0" tIns="36000" rIns="0" bIns="36000" anchor="ctr"/>
          <a:lstStyle>
            <a:lvl1pPr algn="l" defTabSz="913897" rtl="0" eaLnBrk="1" latinLnBrk="0" hangingPunct="1">
              <a:lnSpc>
                <a:spcPct val="90000"/>
              </a:lnSpc>
              <a:spcBef>
                <a:spcPct val="0"/>
              </a:spcBef>
              <a:buNone/>
              <a:defRPr lang="en-US" sz="2698" b="1" kern="1200" spc="-25" dirty="0">
                <a:solidFill>
                  <a:schemeClr val="accent1"/>
                </a:solidFill>
                <a:latin typeface="Pfizer Tomorrow" panose="02010503040201060303" pitchFamily="2" charset="77"/>
                <a:ea typeface="+mj-ea"/>
                <a:cs typeface="+mj-cs"/>
              </a:defRPr>
            </a:lvl1pPr>
          </a:lstStyle>
          <a:p>
            <a:pPr lvl="0">
              <a:defRPr/>
            </a:pPr>
            <a:r>
              <a:rPr lang="en-GB" sz="1300" b="0" err="1">
                <a:solidFill>
                  <a:srgbClr val="02005E"/>
                </a:solidFill>
                <a:latin typeface="Pfizer Diatype Office"/>
              </a:rPr>
              <a:t>oranında</a:t>
            </a:r>
            <a:r>
              <a:rPr lang="en-GB" sz="1300" b="0">
                <a:solidFill>
                  <a:srgbClr val="02005E"/>
                </a:solidFill>
                <a:latin typeface="Pfizer Diatype Office"/>
              </a:rPr>
              <a:t> ASYE </a:t>
            </a:r>
            <a:r>
              <a:rPr lang="en-GB" sz="1300" b="0" err="1">
                <a:solidFill>
                  <a:srgbClr val="02005E"/>
                </a:solidFill>
                <a:latin typeface="Pfizer Diatype Office"/>
              </a:rPr>
              <a:t>ilişkili</a:t>
            </a:r>
            <a:r>
              <a:rPr lang="en-GB" sz="1300" b="0">
                <a:solidFill>
                  <a:srgbClr val="02005E"/>
                </a:solidFill>
                <a:latin typeface="Pfizer Diatype Office"/>
              </a:rPr>
              <a:t> can </a:t>
            </a:r>
            <a:r>
              <a:rPr lang="en-GB" sz="1300" b="0" err="1">
                <a:solidFill>
                  <a:srgbClr val="02005E"/>
                </a:solidFill>
                <a:latin typeface="Pfizer Diatype Office"/>
              </a:rPr>
              <a:t>kaybının</a:t>
            </a:r>
            <a:r>
              <a:rPr lang="en-GB" sz="1300" b="0">
                <a:solidFill>
                  <a:srgbClr val="02005E"/>
                </a:solidFill>
                <a:latin typeface="Pfizer Diatype Office"/>
              </a:rPr>
              <a:t>, 2021 </a:t>
            </a:r>
            <a:r>
              <a:rPr lang="en-GB" sz="1300" b="0" err="1">
                <a:solidFill>
                  <a:srgbClr val="02005E"/>
                </a:solidFill>
                <a:latin typeface="Pfizer Diatype Office"/>
              </a:rPr>
              <a:t>yılında</a:t>
            </a:r>
            <a:r>
              <a:rPr lang="en-GB" sz="1300" b="0">
                <a:solidFill>
                  <a:srgbClr val="02005E"/>
                </a:solidFill>
                <a:latin typeface="Pfizer Diatype Office"/>
              </a:rPr>
              <a:t> </a:t>
            </a:r>
            <a:r>
              <a:rPr lang="en-GB" sz="1300" b="0" err="1">
                <a:solidFill>
                  <a:srgbClr val="02005E"/>
                </a:solidFill>
                <a:latin typeface="Pfizer Diatype Office"/>
              </a:rPr>
              <a:t>dünya</a:t>
            </a:r>
            <a:r>
              <a:rPr lang="en-GB" sz="1300" b="0">
                <a:solidFill>
                  <a:srgbClr val="02005E"/>
                </a:solidFill>
                <a:latin typeface="Pfizer Diatype Office"/>
              </a:rPr>
              <a:t> </a:t>
            </a:r>
            <a:r>
              <a:rPr lang="en-GB" sz="1300" b="0" err="1">
                <a:solidFill>
                  <a:srgbClr val="02005E"/>
                </a:solidFill>
                <a:latin typeface="Pfizer Diatype Office"/>
              </a:rPr>
              <a:t>genelinde</a:t>
            </a:r>
            <a:r>
              <a:rPr lang="en-GB" sz="1300" b="0">
                <a:solidFill>
                  <a:srgbClr val="02005E"/>
                </a:solidFill>
                <a:latin typeface="Pfizer Diatype Office"/>
              </a:rPr>
              <a:t> </a:t>
            </a:r>
            <a:r>
              <a:rPr lang="en-GB" sz="1300" b="0" err="1">
                <a:solidFill>
                  <a:srgbClr val="02005E"/>
                </a:solidFill>
                <a:latin typeface="Pfizer Diatype Office"/>
              </a:rPr>
              <a:t>tüm</a:t>
            </a:r>
            <a:r>
              <a:rPr lang="en-GB" sz="1300" b="0">
                <a:solidFill>
                  <a:srgbClr val="02005E"/>
                </a:solidFill>
                <a:latin typeface="Pfizer Diatype Office"/>
              </a:rPr>
              <a:t> </a:t>
            </a:r>
            <a:r>
              <a:rPr lang="en-GB" sz="1300" b="0" err="1">
                <a:solidFill>
                  <a:srgbClr val="02005E"/>
                </a:solidFill>
                <a:latin typeface="Pfizer Diatype Office"/>
              </a:rPr>
              <a:t>yaş</a:t>
            </a:r>
            <a:r>
              <a:rPr lang="en-GB" sz="1300" b="0">
                <a:solidFill>
                  <a:srgbClr val="02005E"/>
                </a:solidFill>
                <a:latin typeface="Pfizer Diatype Office"/>
              </a:rPr>
              <a:t> </a:t>
            </a:r>
            <a:r>
              <a:rPr lang="en-GB" sz="1300" b="0" err="1">
                <a:solidFill>
                  <a:srgbClr val="02005E"/>
                </a:solidFill>
                <a:latin typeface="Pfizer Diatype Office"/>
              </a:rPr>
              <a:t>gruplarında</a:t>
            </a:r>
            <a:r>
              <a:rPr lang="en-GB" sz="1300" b="0">
                <a:solidFill>
                  <a:srgbClr val="02005E"/>
                </a:solidFill>
                <a:latin typeface="Pfizer Diatype Office"/>
              </a:rPr>
              <a:t> </a:t>
            </a:r>
            <a:r>
              <a:rPr lang="en-GB" sz="1300" b="0" i="1">
                <a:solidFill>
                  <a:srgbClr val="02005E"/>
                </a:solidFill>
                <a:latin typeface="Pfizer Diatype Office"/>
              </a:rPr>
              <a:t>S. pneumoniae </a:t>
            </a:r>
            <a:r>
              <a:rPr lang="en-GB" sz="1300" b="0" i="1" err="1">
                <a:solidFill>
                  <a:srgbClr val="02005E"/>
                </a:solidFill>
                <a:latin typeface="Pfizer Diatype Office"/>
              </a:rPr>
              <a:t>kaynaklı</a:t>
            </a:r>
            <a:r>
              <a:rPr lang="en-GB" sz="1300" b="0" i="1">
                <a:solidFill>
                  <a:srgbClr val="02005E"/>
                </a:solidFill>
                <a:latin typeface="Pfizer Diatype Office"/>
              </a:rPr>
              <a:t> </a:t>
            </a:r>
            <a:r>
              <a:rPr lang="en-GB" sz="1300" b="0" i="1" err="1">
                <a:solidFill>
                  <a:srgbClr val="02005E"/>
                </a:solidFill>
                <a:latin typeface="Pfizer Diatype Office"/>
              </a:rPr>
              <a:t>olduğu</a:t>
            </a:r>
            <a:r>
              <a:rPr lang="en-GB" sz="1300" b="0" i="1">
                <a:solidFill>
                  <a:srgbClr val="02005E"/>
                </a:solidFill>
                <a:latin typeface="Pfizer Diatype Office"/>
              </a:rPr>
              <a:t> </a:t>
            </a:r>
            <a:r>
              <a:rPr lang="en-GB" sz="1300" b="0" i="1" err="1">
                <a:solidFill>
                  <a:srgbClr val="02005E"/>
                </a:solidFill>
                <a:latin typeface="Pfizer Diatype Office"/>
              </a:rPr>
              <a:t>tahmin</a:t>
            </a:r>
            <a:r>
              <a:rPr lang="en-GB" sz="1300" b="0" i="1">
                <a:solidFill>
                  <a:srgbClr val="02005E"/>
                </a:solidFill>
                <a:latin typeface="Pfizer Diatype Office"/>
              </a:rPr>
              <a:t> edilmektedir.</a:t>
            </a:r>
            <a:r>
              <a:rPr lang="en-GB" sz="1200" b="0" baseline="30000">
                <a:solidFill>
                  <a:srgbClr val="02005E"/>
                </a:solidFill>
                <a:latin typeface="Pfizer Diatype Office"/>
              </a:rPr>
              <a:t>3</a:t>
            </a:r>
            <a:endParaRPr kumimoji="0" lang="en-GB" sz="1300" b="0" i="0" u="none" strike="noStrike" kern="1200" cap="none" spc="-25" normalizeH="0" baseline="30000" noProof="0">
              <a:ln>
                <a:noFill/>
              </a:ln>
              <a:solidFill>
                <a:srgbClr val="02005E"/>
              </a:solidFill>
              <a:effectLst/>
              <a:uLnTx/>
              <a:uFillTx/>
              <a:latin typeface="Pfizer Diatype Office"/>
              <a:ea typeface="+mj-ea"/>
              <a:cs typeface="+mj-cs"/>
            </a:endParaRPr>
          </a:p>
        </p:txBody>
      </p:sp>
      <p:sp>
        <p:nvSpPr>
          <p:cNvPr id="51" name="Title 3">
            <a:extLst>
              <a:ext uri="{FF2B5EF4-FFF2-40B4-BE49-F238E27FC236}">
                <a16:creationId xmlns:a16="http://schemas.microsoft.com/office/drawing/2014/main" id="{75761714-CBC2-011D-5A23-CEC37042DF4A}"/>
              </a:ext>
            </a:extLst>
          </p:cNvPr>
          <p:cNvSpPr txBox="1">
            <a:spLocks/>
          </p:cNvSpPr>
          <p:nvPr/>
        </p:nvSpPr>
        <p:spPr>
          <a:xfrm>
            <a:off x="7497141" y="4244679"/>
            <a:ext cx="1662194" cy="858691"/>
          </a:xfrm>
          <a:prstGeom prst="rect">
            <a:avLst/>
          </a:prstGeom>
        </p:spPr>
        <p:txBody>
          <a:bodyPr lIns="0" tIns="0" rIns="0" bIns="0" anchor="ctr"/>
          <a:lstStyle>
            <a:lvl1pPr algn="l" defTabSz="913897" rtl="0" eaLnBrk="1" latinLnBrk="0" hangingPunct="1">
              <a:lnSpc>
                <a:spcPct val="90000"/>
              </a:lnSpc>
              <a:spcBef>
                <a:spcPct val="0"/>
              </a:spcBef>
              <a:buNone/>
              <a:defRPr lang="en-US" sz="2698" b="1" kern="1200" spc="-25" dirty="0">
                <a:solidFill>
                  <a:schemeClr val="accent1"/>
                </a:solidFill>
                <a:latin typeface="Pfizer Tomorrow" panose="02010503040201060303" pitchFamily="2" charset="77"/>
                <a:ea typeface="+mj-ea"/>
                <a:cs typeface="+mj-cs"/>
              </a:defRPr>
            </a:lvl1pPr>
          </a:lstStyle>
          <a:p>
            <a:pPr marL="0" marR="0" lvl="0" indent="0" algn="ctr" defTabSz="913897" rtl="0" eaLnBrk="1" fontAlgn="auto" latinLnBrk="0" hangingPunct="1">
              <a:lnSpc>
                <a:spcPct val="90000"/>
              </a:lnSpc>
              <a:spcBef>
                <a:spcPct val="0"/>
              </a:spcBef>
              <a:spcAft>
                <a:spcPts val="0"/>
              </a:spcAft>
              <a:buClrTx/>
              <a:buSzTx/>
              <a:buFontTx/>
              <a:buNone/>
              <a:tabLst/>
              <a:defRPr/>
            </a:pPr>
            <a:r>
              <a:rPr kumimoji="0" lang="en-GB" sz="4400" b="0" u="none" strike="noStrike" kern="1200" cap="none" spc="-25" normalizeH="0" noProof="0">
                <a:ln>
                  <a:noFill/>
                </a:ln>
                <a:solidFill>
                  <a:srgbClr val="02005E"/>
                </a:solidFill>
                <a:effectLst/>
                <a:uLnTx/>
                <a:uFillTx/>
                <a:latin typeface="+mj-lt"/>
                <a:ea typeface="Tahoma" panose="020B0604030504040204" pitchFamily="34" charset="0"/>
                <a:cs typeface="Tahoma" panose="020B0604030504040204" pitchFamily="34" charset="0"/>
              </a:rPr>
              <a:t>⁓</a:t>
            </a:r>
            <a:r>
              <a:rPr kumimoji="0" lang="en-GB" sz="4400" u="none" strike="noStrike" kern="1200" cap="none" spc="-25" normalizeH="0" noProof="0">
                <a:ln>
                  <a:noFill/>
                </a:ln>
                <a:solidFill>
                  <a:srgbClr val="02005E"/>
                </a:solidFill>
                <a:effectLst/>
                <a:uLnTx/>
                <a:uFillTx/>
                <a:latin typeface="+mj-lt"/>
                <a:ea typeface="+mj-ea"/>
                <a:cs typeface="+mj-cs"/>
              </a:rPr>
              <a:t>23%</a:t>
            </a:r>
          </a:p>
        </p:txBody>
      </p:sp>
      <p:pic>
        <p:nvPicPr>
          <p:cNvPr id="52" name="Graphic 51">
            <a:extLst>
              <a:ext uri="{FF2B5EF4-FFF2-40B4-BE49-F238E27FC236}">
                <a16:creationId xmlns:a16="http://schemas.microsoft.com/office/drawing/2014/main" id="{5BEF4D34-5515-2215-2B8B-8EA5B4D721C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1697" y="1952509"/>
            <a:ext cx="3180564" cy="2804027"/>
          </a:xfrm>
          <a:prstGeom prst="rect">
            <a:avLst/>
          </a:prstGeom>
        </p:spPr>
      </p:pic>
      <p:sp>
        <p:nvSpPr>
          <p:cNvPr id="53" name="TextBox 52">
            <a:extLst>
              <a:ext uri="{FF2B5EF4-FFF2-40B4-BE49-F238E27FC236}">
                <a16:creationId xmlns:a16="http://schemas.microsoft.com/office/drawing/2014/main" id="{B11419E3-0D29-8E17-2681-9FF7EDC90CB5}"/>
              </a:ext>
            </a:extLst>
          </p:cNvPr>
          <p:cNvSpPr txBox="1"/>
          <p:nvPr/>
        </p:nvSpPr>
        <p:spPr>
          <a:xfrm>
            <a:off x="820805" y="2357900"/>
            <a:ext cx="3276000" cy="1809726"/>
          </a:xfrm>
          <a:prstGeom prst="rect">
            <a:avLst/>
          </a:prstGeom>
          <a:noFill/>
        </p:spPr>
        <p:txBody>
          <a:bodyPr wrap="square" anchor="ctr">
            <a:spAutoFit/>
          </a:bodyPr>
          <a:lstStyle/>
          <a:p>
            <a:pPr lvl="0" algn="ctr" eaLnBrk="0" fontAlgn="base" hangingPunct="0">
              <a:lnSpc>
                <a:spcPct val="90000"/>
              </a:lnSpc>
              <a:spcBef>
                <a:spcPct val="20000"/>
              </a:spcBef>
              <a:spcAft>
                <a:spcPct val="0"/>
              </a:spcAft>
              <a:defRPr/>
            </a:pPr>
            <a:r>
              <a:rPr lang="en-US" sz="4000" b="1">
                <a:solidFill>
                  <a:srgbClr val="FFFFFF"/>
                </a:solidFill>
                <a:latin typeface="+mj-lt"/>
                <a:cs typeface="Arial"/>
              </a:rPr>
              <a:t>~2.18 </a:t>
            </a:r>
            <a:r>
              <a:rPr lang="en-US" sz="4000" b="1" err="1">
                <a:solidFill>
                  <a:srgbClr val="FFFFFF"/>
                </a:solidFill>
                <a:latin typeface="+mj-lt"/>
                <a:cs typeface="Arial"/>
              </a:rPr>
              <a:t>milyon</a:t>
            </a:r>
            <a:r>
              <a:rPr lang="en-US" sz="4000" b="1">
                <a:solidFill>
                  <a:srgbClr val="FFFFFF"/>
                </a:solidFill>
                <a:latin typeface="+mj-lt"/>
                <a:cs typeface="Arial"/>
              </a:rPr>
              <a:t> </a:t>
            </a:r>
            <a:r>
              <a:rPr lang="en-US" sz="2800" b="1">
                <a:solidFill>
                  <a:srgbClr val="FFFFFF"/>
                </a:solidFill>
                <a:latin typeface="+mj-lt"/>
                <a:cs typeface="Arial"/>
              </a:rPr>
              <a:t>2021 </a:t>
            </a:r>
            <a:r>
              <a:rPr lang="en-US" sz="2800" b="1" err="1">
                <a:solidFill>
                  <a:srgbClr val="FFFFFF"/>
                </a:solidFill>
                <a:latin typeface="+mj-lt"/>
                <a:cs typeface="Arial"/>
              </a:rPr>
              <a:t>yılında</a:t>
            </a:r>
            <a:r>
              <a:rPr lang="en-US" sz="2800" b="1">
                <a:solidFill>
                  <a:srgbClr val="FFFFFF"/>
                </a:solidFill>
                <a:latin typeface="+mj-lt"/>
                <a:cs typeface="Arial"/>
              </a:rPr>
              <a:t>, ASYE </a:t>
            </a:r>
            <a:r>
              <a:rPr lang="en-US" sz="2800" b="1" err="1">
                <a:solidFill>
                  <a:srgbClr val="FFFFFF"/>
                </a:solidFill>
                <a:latin typeface="+mj-lt"/>
                <a:cs typeface="Arial"/>
              </a:rPr>
              <a:t>ilişkili</a:t>
            </a:r>
            <a:r>
              <a:rPr lang="en-US" sz="2800" b="1">
                <a:solidFill>
                  <a:srgbClr val="FFFFFF"/>
                </a:solidFill>
                <a:latin typeface="+mj-lt"/>
                <a:cs typeface="Arial"/>
              </a:rPr>
              <a:t> can </a:t>
            </a:r>
            <a:r>
              <a:rPr lang="en-US" sz="2800" b="1" err="1">
                <a:solidFill>
                  <a:srgbClr val="FFFFFF"/>
                </a:solidFill>
                <a:latin typeface="+mj-lt"/>
                <a:cs typeface="Arial"/>
              </a:rPr>
              <a:t>kaybı</a:t>
            </a:r>
            <a:r>
              <a:rPr lang="en-US" sz="2800" b="1">
                <a:solidFill>
                  <a:srgbClr val="FFFFFF"/>
                </a:solidFill>
                <a:latin typeface="+mj-lt"/>
                <a:cs typeface="Arial"/>
              </a:rPr>
              <a:t> sayısı</a:t>
            </a:r>
            <a:r>
              <a:rPr lang="en-US" sz="2800" b="1" baseline="30000">
                <a:solidFill>
                  <a:srgbClr val="FFFFFF"/>
                </a:solidFill>
                <a:cs typeface="Arial"/>
              </a:rPr>
              <a:t>3,</a:t>
            </a:r>
            <a:r>
              <a:rPr lang="en-GB" sz="2800" b="1" baseline="30000">
                <a:solidFill>
                  <a:srgbClr val="FFFFFF"/>
                </a:solidFill>
                <a:cs typeface="Arial"/>
              </a:rPr>
              <a:t>†</a:t>
            </a:r>
          </a:p>
        </p:txBody>
      </p:sp>
      <p:grpSp>
        <p:nvGrpSpPr>
          <p:cNvPr id="54" name="Group 53">
            <a:extLst>
              <a:ext uri="{FF2B5EF4-FFF2-40B4-BE49-F238E27FC236}">
                <a16:creationId xmlns:a16="http://schemas.microsoft.com/office/drawing/2014/main" id="{CE35419A-A828-D904-5053-91BC2CE440EB}"/>
              </a:ext>
            </a:extLst>
          </p:cNvPr>
          <p:cNvGrpSpPr/>
          <p:nvPr/>
        </p:nvGrpSpPr>
        <p:grpSpPr>
          <a:xfrm>
            <a:off x="6978208" y="4416427"/>
            <a:ext cx="533400" cy="515194"/>
            <a:chOff x="6081371" y="4948272"/>
            <a:chExt cx="350330" cy="385235"/>
          </a:xfrm>
        </p:grpSpPr>
        <p:sp>
          <p:nvSpPr>
            <p:cNvPr id="55" name="Oval 54">
              <a:extLst>
                <a:ext uri="{FF2B5EF4-FFF2-40B4-BE49-F238E27FC236}">
                  <a16:creationId xmlns:a16="http://schemas.microsoft.com/office/drawing/2014/main" id="{AFA5DEC0-B6A2-58A7-AEC9-68AB4697D2E8}"/>
                </a:ext>
              </a:extLst>
            </p:cNvPr>
            <p:cNvSpPr/>
            <p:nvPr/>
          </p:nvSpPr>
          <p:spPr>
            <a:xfrm>
              <a:off x="6332790" y="5166415"/>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A7112C9F-B131-F09D-17E1-BD9E33B4A5C4}"/>
                </a:ext>
              </a:extLst>
            </p:cNvPr>
            <p:cNvSpPr/>
            <p:nvPr/>
          </p:nvSpPr>
          <p:spPr>
            <a:xfrm>
              <a:off x="6368003" y="5135316"/>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06FA99FD-A4C5-4BDC-A8D8-6714D9189128}"/>
                </a:ext>
              </a:extLst>
            </p:cNvPr>
            <p:cNvSpPr/>
            <p:nvPr/>
          </p:nvSpPr>
          <p:spPr>
            <a:xfrm>
              <a:off x="6214415" y="4996015"/>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F99ADF09-30DE-AA5D-5162-76FF15D67D32}"/>
                </a:ext>
              </a:extLst>
            </p:cNvPr>
            <p:cNvSpPr/>
            <p:nvPr/>
          </p:nvSpPr>
          <p:spPr>
            <a:xfrm>
              <a:off x="6248968" y="4973190"/>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55AE87FD-D9F0-DCC6-459B-C1F83789A192}"/>
                </a:ext>
              </a:extLst>
            </p:cNvPr>
            <p:cNvSpPr/>
            <p:nvPr/>
          </p:nvSpPr>
          <p:spPr>
            <a:xfrm>
              <a:off x="6130384" y="5254610"/>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6EEEEA27-F4E1-3A2B-BBEF-6AE873ED4C4D}"/>
                </a:ext>
              </a:extLst>
            </p:cNvPr>
            <p:cNvSpPr/>
            <p:nvPr/>
          </p:nvSpPr>
          <p:spPr>
            <a:xfrm>
              <a:off x="6098535" y="5211731"/>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C60D08D4-DCFD-0762-DF03-EED661AC326B}"/>
                </a:ext>
              </a:extLst>
            </p:cNvPr>
            <p:cNvSpPr/>
            <p:nvPr/>
          </p:nvSpPr>
          <p:spPr>
            <a:xfrm>
              <a:off x="6247874" y="5234029"/>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16309F41-B314-BF2A-2D30-C790CDA8888A}"/>
                </a:ext>
              </a:extLst>
            </p:cNvPr>
            <p:cNvSpPr/>
            <p:nvPr/>
          </p:nvSpPr>
          <p:spPr>
            <a:xfrm>
              <a:off x="6217346" y="5192304"/>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F73C84E1-C49A-B908-05E7-62E79DE6027D}"/>
                </a:ext>
              </a:extLst>
            </p:cNvPr>
            <p:cNvSpPr/>
            <p:nvPr/>
          </p:nvSpPr>
          <p:spPr>
            <a:xfrm>
              <a:off x="6194082" y="5147243"/>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A18678DD-DF81-C9CB-F0BF-39DED4A35EDD}"/>
                </a:ext>
              </a:extLst>
            </p:cNvPr>
            <p:cNvSpPr/>
            <p:nvPr/>
          </p:nvSpPr>
          <p:spPr>
            <a:xfrm>
              <a:off x="6166185" y="5110413"/>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05108CAD-8B60-3E51-5CD0-6CD701877020}"/>
                </a:ext>
              </a:extLst>
            </p:cNvPr>
            <p:cNvSpPr/>
            <p:nvPr/>
          </p:nvSpPr>
          <p:spPr>
            <a:xfrm>
              <a:off x="6125392" y="5082572"/>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3C15D7A9-A218-DE32-0613-9DF89E3EF629}"/>
                </a:ext>
              </a:extLst>
            </p:cNvPr>
            <p:cNvSpPr/>
            <p:nvPr/>
          </p:nvSpPr>
          <p:spPr>
            <a:xfrm>
              <a:off x="6081371" y="5052710"/>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32310E3C-73EC-28A1-DC36-32724C800B0F}"/>
                </a:ext>
              </a:extLst>
            </p:cNvPr>
            <p:cNvSpPr/>
            <p:nvPr/>
          </p:nvSpPr>
          <p:spPr>
            <a:xfrm>
              <a:off x="6285809" y="5271309"/>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15E673F3-2417-C27E-F91A-880724880C02}"/>
                </a:ext>
              </a:extLst>
            </p:cNvPr>
            <p:cNvSpPr/>
            <p:nvPr/>
          </p:nvSpPr>
          <p:spPr>
            <a:xfrm>
              <a:off x="6292902" y="5076993"/>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C707DA5B-31DA-7E08-ECFA-5E2E91050A07}"/>
                </a:ext>
              </a:extLst>
            </p:cNvPr>
            <p:cNvSpPr/>
            <p:nvPr/>
          </p:nvSpPr>
          <p:spPr>
            <a:xfrm>
              <a:off x="6313211" y="5037491"/>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E7DD91DA-533F-2831-F610-BABC89A2C67F}"/>
                </a:ext>
              </a:extLst>
            </p:cNvPr>
            <p:cNvSpPr/>
            <p:nvPr/>
          </p:nvSpPr>
          <p:spPr>
            <a:xfrm>
              <a:off x="6332790" y="4990512"/>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5AF0E2AE-2A2A-3EE1-0894-27BF85568B8B}"/>
                </a:ext>
              </a:extLst>
            </p:cNvPr>
            <p:cNvSpPr/>
            <p:nvPr/>
          </p:nvSpPr>
          <p:spPr>
            <a:xfrm>
              <a:off x="6351375" y="4948272"/>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2" name="TextBox 71">
            <a:extLst>
              <a:ext uri="{FF2B5EF4-FFF2-40B4-BE49-F238E27FC236}">
                <a16:creationId xmlns:a16="http://schemas.microsoft.com/office/drawing/2014/main" id="{60BC6127-832A-3377-3E88-101320FA3C51}"/>
              </a:ext>
            </a:extLst>
          </p:cNvPr>
          <p:cNvSpPr txBox="1"/>
          <p:nvPr/>
        </p:nvSpPr>
        <p:spPr>
          <a:xfrm>
            <a:off x="676334" y="5398564"/>
            <a:ext cx="10940264" cy="1000274"/>
          </a:xfrm>
          <a:prstGeom prst="rect">
            <a:avLst/>
          </a:prstGeom>
          <a:noFill/>
        </p:spPr>
        <p:txBody>
          <a:bodyPr wrap="square" lIns="0" tIns="0" rIns="0" bIns="0" rtlCol="0" anchor="b">
            <a:spAutoFit/>
          </a:bodyPr>
          <a:lstStyle/>
          <a:p>
            <a:pPr lvl="0">
              <a:defRPr/>
            </a:pPr>
            <a:r>
              <a:rPr lang="en-GB">
                <a:solidFill>
                  <a:schemeClr val="tx1">
                    <a:lumMod val="50000"/>
                    <a:lumOff val="50000"/>
                  </a:schemeClr>
                </a:solidFill>
                <a:latin typeface="Pfizer Diatype Office"/>
              </a:rPr>
              <a:t>*</a:t>
            </a:r>
            <a:r>
              <a:rPr lang="en-GB" sz="700" err="1">
                <a:solidFill>
                  <a:schemeClr val="tx1">
                    <a:lumMod val="50000"/>
                    <a:lumOff val="50000"/>
                  </a:schemeClr>
                </a:solidFill>
                <a:latin typeface="Pfizer Diatype Office"/>
              </a:rPr>
              <a:t>Ayrıca</a:t>
            </a:r>
            <a:r>
              <a:rPr lang="en-GB" sz="700">
                <a:solidFill>
                  <a:schemeClr val="tx1">
                    <a:lumMod val="50000"/>
                    <a:lumOff val="50000"/>
                  </a:schemeClr>
                </a:solidFill>
                <a:latin typeface="Pfizer Diatype Office"/>
              </a:rPr>
              <a:t> “alt </a:t>
            </a:r>
            <a:r>
              <a:rPr kumimoji="0" lang="en-GB" sz="700" b="0" i="0" u="none" strike="noStrike" kern="1200" cap="none" spc="0" normalizeH="0" baseline="0" noProof="0">
                <a:ln>
                  <a:noFill/>
                </a:ln>
                <a:solidFill>
                  <a:schemeClr val="tx1">
                    <a:lumMod val="50000"/>
                    <a:lumOff val="50000"/>
                  </a:schemeClr>
                </a:solidFill>
                <a:effectLst/>
                <a:uLnTx/>
                <a:uFillTx/>
                <a:latin typeface="Pfizer Diatype Office"/>
                <a:ea typeface="+mn-ea"/>
                <a:cs typeface="+mn-cs"/>
              </a:rPr>
              <a:t>solunum yolu hastalığı</a:t>
            </a:r>
            <a:r>
              <a:rPr lang="en-GB" sz="700">
                <a:solidFill>
                  <a:schemeClr val="tx1">
                    <a:lumMod val="50000"/>
                    <a:lumOff val="50000"/>
                  </a:schemeClr>
                </a:solidFill>
                <a:latin typeface="Pfizer Diatype Office"/>
              </a:rPr>
              <a:t>" olarak da</a:t>
            </a:r>
            <a:r>
              <a:rPr kumimoji="0" lang="en-GB" sz="700" b="0" i="0" u="none" strike="noStrike" kern="1200" cap="none" spc="0" normalizeH="0" baseline="0" noProof="0">
                <a:ln>
                  <a:noFill/>
                </a:ln>
                <a:solidFill>
                  <a:schemeClr val="tx1">
                    <a:lumMod val="50000"/>
                    <a:lumOff val="50000"/>
                  </a:schemeClr>
                </a:solidFill>
                <a:effectLst/>
                <a:uLnTx/>
                <a:uFillTx/>
                <a:latin typeface="Pfizer Diatype Office"/>
                <a:ea typeface="+mn-ea"/>
                <a:cs typeface="+mn-cs"/>
              </a:rPr>
              <a:t> ifade</a:t>
            </a:r>
            <a:r>
              <a:rPr lang="en-GB" sz="700">
                <a:solidFill>
                  <a:schemeClr val="tx1">
                    <a:lumMod val="50000"/>
                    <a:lumOff val="50000"/>
                  </a:schemeClr>
                </a:solidFill>
                <a:latin typeface="Pfizer Diatype Office"/>
              </a:rPr>
              <a:t> edilir</a:t>
            </a:r>
            <a:r>
              <a:rPr kumimoji="0" lang="en-GB" sz="700" b="0" i="0" u="none" strike="noStrike" kern="1200" cap="none" spc="0" normalizeH="0" baseline="0" noProof="0">
                <a:ln>
                  <a:noFill/>
                </a:ln>
                <a:solidFill>
                  <a:schemeClr val="tx1">
                    <a:lumMod val="50000"/>
                    <a:lumOff val="50000"/>
                  </a:schemeClr>
                </a:solidFill>
                <a:effectLst/>
                <a:uLnTx/>
                <a:uFillTx/>
                <a:latin typeface="Pfizer Diatype Office"/>
                <a:ea typeface="+mn-ea"/>
                <a:cs typeface="+mn-cs"/>
              </a:rPr>
              <a:t>. </a:t>
            </a:r>
            <a:r>
              <a:rPr kumimoji="0" lang="en-GB" sz="700" b="0" i="0" u="none" strike="noStrike" kern="1200" cap="none" spc="0" normalizeH="0" baseline="30000" noProof="0">
                <a:ln>
                  <a:noFill/>
                </a:ln>
                <a:solidFill>
                  <a:schemeClr val="tx1">
                    <a:lumMod val="50000"/>
                    <a:lumOff val="50000"/>
                  </a:schemeClr>
                </a:solidFill>
                <a:effectLst/>
                <a:uLnTx/>
                <a:uFillTx/>
                <a:latin typeface="Pfizer Diatype Office"/>
              </a:rPr>
              <a:t>†</a:t>
            </a:r>
            <a:r>
              <a:rPr kumimoji="0" lang="en-GB" sz="700" b="0" i="0" u="none" strike="noStrike" kern="1200" cap="none" spc="0" normalizeH="0" baseline="0" noProof="0">
                <a:ln>
                  <a:noFill/>
                </a:ln>
                <a:solidFill>
                  <a:schemeClr val="tx1">
                    <a:lumMod val="50000"/>
                    <a:lumOff val="50000"/>
                  </a:schemeClr>
                </a:solidFill>
                <a:effectLst/>
                <a:uLnTx/>
                <a:uFillTx/>
                <a:latin typeface="Pfizer Diatype Office"/>
              </a:rPr>
              <a:t>ASYE, Global </a:t>
            </a:r>
            <a:r>
              <a:rPr kumimoji="0" lang="en-GB" sz="700" b="0" i="0" u="none" strike="noStrike" kern="1200" cap="none" spc="0" normalizeH="0" baseline="0" noProof="0" err="1">
                <a:ln>
                  <a:noFill/>
                </a:ln>
                <a:solidFill>
                  <a:schemeClr val="tx1">
                    <a:lumMod val="50000"/>
                    <a:lumOff val="50000"/>
                  </a:schemeClr>
                </a:solidFill>
                <a:effectLst/>
                <a:uLnTx/>
                <a:uFillTx/>
                <a:latin typeface="Pfizer Diatype Office"/>
              </a:rPr>
              <a:t>Hastalık</a:t>
            </a:r>
            <a:r>
              <a:rPr kumimoji="0" lang="en-GB" sz="700" b="0" i="0" u="none" strike="noStrike" kern="1200" cap="none" spc="0" normalizeH="0" baseline="0" noProof="0">
                <a:ln>
                  <a:noFill/>
                </a:ln>
                <a:solidFill>
                  <a:schemeClr val="tx1">
                    <a:lumMod val="50000"/>
                    <a:lumOff val="50000"/>
                  </a:schemeClr>
                </a:solidFill>
                <a:effectLst/>
                <a:uLnTx/>
                <a:uFillTx/>
                <a:latin typeface="Pfizer Diatype Office"/>
              </a:rPr>
              <a:t> </a:t>
            </a:r>
            <a:r>
              <a:rPr kumimoji="0" lang="en-GB" sz="700" b="0" i="0" u="none" strike="noStrike" kern="1200" cap="none" spc="0" normalizeH="0" baseline="0" noProof="0" err="1">
                <a:ln>
                  <a:noFill/>
                </a:ln>
                <a:solidFill>
                  <a:schemeClr val="tx1">
                    <a:lumMod val="50000"/>
                    <a:lumOff val="50000"/>
                  </a:schemeClr>
                </a:solidFill>
                <a:effectLst/>
                <a:uLnTx/>
                <a:uFillTx/>
                <a:latin typeface="Pfizer Diatype Office"/>
              </a:rPr>
              <a:t>Yükü</a:t>
            </a:r>
            <a:r>
              <a:rPr kumimoji="0" lang="en-GB" sz="700" b="0" i="0" u="none" strike="noStrike" kern="1200" cap="none" spc="0" normalizeH="0" baseline="0" noProof="0">
                <a:ln>
                  <a:noFill/>
                </a:ln>
                <a:solidFill>
                  <a:schemeClr val="tx1">
                    <a:lumMod val="50000"/>
                    <a:lumOff val="50000"/>
                  </a:schemeClr>
                </a:solidFill>
                <a:effectLst/>
                <a:uLnTx/>
                <a:uFillTx/>
                <a:latin typeface="Pfizer Diatype Office"/>
              </a:rPr>
              <a:t>, </a:t>
            </a:r>
            <a:r>
              <a:rPr kumimoji="0" lang="en-GB" sz="700" b="0" i="0" u="none" strike="noStrike" kern="1200" cap="none" spc="0" normalizeH="0" baseline="0" noProof="0" err="1">
                <a:ln>
                  <a:noFill/>
                </a:ln>
                <a:solidFill>
                  <a:schemeClr val="tx1">
                    <a:lumMod val="50000"/>
                    <a:lumOff val="50000"/>
                  </a:schemeClr>
                </a:solidFill>
                <a:effectLst/>
                <a:uLnTx/>
                <a:uFillTx/>
                <a:latin typeface="Pfizer Diatype Office"/>
              </a:rPr>
              <a:t>Yaralanmalar</a:t>
            </a:r>
            <a:r>
              <a:rPr kumimoji="0" lang="en-GB" sz="700" b="0" i="0" u="none" strike="noStrike" kern="1200" cap="none" spc="0" normalizeH="0" baseline="0" noProof="0">
                <a:ln>
                  <a:noFill/>
                </a:ln>
                <a:solidFill>
                  <a:schemeClr val="tx1">
                    <a:lumMod val="50000"/>
                    <a:lumOff val="50000"/>
                  </a:schemeClr>
                </a:solidFill>
                <a:effectLst/>
                <a:uLnTx/>
                <a:uFillTx/>
                <a:latin typeface="Pfizer Diatype Office"/>
              </a:rPr>
              <a:t> </a:t>
            </a:r>
            <a:r>
              <a:rPr kumimoji="0" lang="en-GB" sz="700" b="0" i="0" u="none" strike="noStrike" kern="1200" cap="none" spc="0" normalizeH="0" baseline="0" noProof="0" err="1">
                <a:ln>
                  <a:noFill/>
                </a:ln>
                <a:solidFill>
                  <a:schemeClr val="tx1">
                    <a:lumMod val="50000"/>
                    <a:lumOff val="50000"/>
                  </a:schemeClr>
                </a:solidFill>
                <a:effectLst/>
                <a:uLnTx/>
                <a:uFillTx/>
                <a:latin typeface="Pfizer Diatype Office"/>
              </a:rPr>
              <a:t>ve</a:t>
            </a:r>
            <a:r>
              <a:rPr kumimoji="0" lang="en-GB" sz="700" b="0" i="0" u="none" strike="noStrike" kern="1200" cap="none" spc="0" normalizeH="0" baseline="0" noProof="0">
                <a:ln>
                  <a:noFill/>
                </a:ln>
                <a:solidFill>
                  <a:schemeClr val="tx1">
                    <a:lumMod val="50000"/>
                    <a:lumOff val="50000"/>
                  </a:schemeClr>
                </a:solidFill>
                <a:effectLst/>
                <a:uLnTx/>
                <a:uFillTx/>
                <a:latin typeface="Pfizer Diatype Office"/>
              </a:rPr>
              <a:t> Risk </a:t>
            </a:r>
            <a:r>
              <a:rPr kumimoji="0" lang="en-GB" sz="700" b="0" i="0" u="none" strike="noStrike" kern="1200" cap="none" spc="0" normalizeH="0" baseline="0" noProof="0" err="1">
                <a:ln>
                  <a:noFill/>
                </a:ln>
                <a:solidFill>
                  <a:schemeClr val="tx1">
                    <a:lumMod val="50000"/>
                    <a:lumOff val="50000"/>
                  </a:schemeClr>
                </a:solidFill>
                <a:effectLst/>
                <a:uLnTx/>
                <a:uFillTx/>
                <a:latin typeface="Pfizer Diatype Office"/>
              </a:rPr>
              <a:t>Faktörleri</a:t>
            </a:r>
            <a:r>
              <a:rPr kumimoji="0" lang="en-GB" sz="700" b="0" i="0" u="none" strike="noStrike" kern="1200" cap="none" spc="0" normalizeH="0" baseline="0" noProof="0">
                <a:ln>
                  <a:noFill/>
                </a:ln>
                <a:solidFill>
                  <a:schemeClr val="tx1">
                    <a:lumMod val="50000"/>
                    <a:lumOff val="50000"/>
                  </a:schemeClr>
                </a:solidFill>
                <a:effectLst/>
                <a:uLnTx/>
                <a:uFillTx/>
                <a:latin typeface="Pfizer Diatype Office"/>
              </a:rPr>
              <a:t> </a:t>
            </a:r>
            <a:r>
              <a:rPr lang="en-GB" sz="700" err="1">
                <a:solidFill>
                  <a:schemeClr val="tx1">
                    <a:lumMod val="50000"/>
                    <a:lumOff val="50000"/>
                  </a:schemeClr>
                </a:solidFill>
                <a:latin typeface="Pfizer Diatype Office"/>
              </a:rPr>
              <a:t>Çalışmasına</a:t>
            </a:r>
            <a:r>
              <a:rPr lang="en-GB" sz="700">
                <a:solidFill>
                  <a:schemeClr val="tx1">
                    <a:lumMod val="50000"/>
                    <a:lumOff val="50000"/>
                  </a:schemeClr>
                </a:solidFill>
                <a:latin typeface="Pfizer Diatype Office"/>
              </a:rPr>
              <a:t> </a:t>
            </a:r>
            <a:r>
              <a:rPr lang="en-GB" sz="700" err="1">
                <a:solidFill>
                  <a:schemeClr val="tx1">
                    <a:lumMod val="50000"/>
                    <a:lumOff val="50000"/>
                  </a:schemeClr>
                </a:solidFill>
                <a:latin typeface="Pfizer Diatype Office"/>
              </a:rPr>
              <a:t>göre</a:t>
            </a:r>
            <a:r>
              <a:rPr lang="en-GB" sz="700">
                <a:solidFill>
                  <a:schemeClr val="tx1">
                    <a:lumMod val="50000"/>
                    <a:lumOff val="50000"/>
                  </a:schemeClr>
                </a:solidFill>
                <a:latin typeface="Pfizer Diatype Office"/>
              </a:rPr>
              <a:t>, COVID-19 </a:t>
            </a:r>
            <a:r>
              <a:rPr lang="en-GB" sz="700" err="1">
                <a:solidFill>
                  <a:schemeClr val="tx1">
                    <a:lumMod val="50000"/>
                    <a:lumOff val="50000"/>
                  </a:schemeClr>
                </a:solidFill>
                <a:latin typeface="Pfizer Diatype Office"/>
              </a:rPr>
              <a:t>hariç</a:t>
            </a:r>
            <a:r>
              <a:rPr lang="en-GB" sz="700">
                <a:solidFill>
                  <a:schemeClr val="tx1">
                    <a:lumMod val="50000"/>
                    <a:lumOff val="50000"/>
                  </a:schemeClr>
                </a:solidFill>
                <a:latin typeface="Pfizer Diatype Office"/>
              </a:rPr>
              <a:t> </a:t>
            </a:r>
            <a:r>
              <a:rPr lang="en-GB" sz="700" err="1">
                <a:solidFill>
                  <a:schemeClr val="tx1">
                    <a:lumMod val="50000"/>
                    <a:lumOff val="50000"/>
                  </a:schemeClr>
                </a:solidFill>
                <a:latin typeface="Pfizer Diatype Office"/>
              </a:rPr>
              <a:t>olmak</a:t>
            </a:r>
            <a:r>
              <a:rPr lang="en-GB" sz="700">
                <a:solidFill>
                  <a:schemeClr val="tx1">
                    <a:lumMod val="50000"/>
                    <a:lumOff val="50000"/>
                  </a:schemeClr>
                </a:solidFill>
                <a:latin typeface="Pfizer Diatype Office"/>
              </a:rPr>
              <a:t> </a:t>
            </a:r>
            <a:r>
              <a:rPr lang="en-GB" sz="700" err="1">
                <a:solidFill>
                  <a:schemeClr val="tx1">
                    <a:lumMod val="50000"/>
                    <a:lumOff val="50000"/>
                  </a:schemeClr>
                </a:solidFill>
                <a:latin typeface="Pfizer Diatype Office"/>
              </a:rPr>
              <a:t>üzere</a:t>
            </a:r>
            <a:r>
              <a:rPr lang="en-GB" sz="700">
                <a:solidFill>
                  <a:schemeClr val="tx1">
                    <a:lumMod val="50000"/>
                    <a:lumOff val="50000"/>
                  </a:schemeClr>
                </a:solidFill>
                <a:latin typeface="Pfizer Diatype Office"/>
              </a:rPr>
              <a:t> </a:t>
            </a:r>
            <a:r>
              <a:rPr lang="en-GB" sz="700" err="1">
                <a:solidFill>
                  <a:schemeClr val="tx1">
                    <a:lumMod val="50000"/>
                    <a:lumOff val="50000"/>
                  </a:schemeClr>
                </a:solidFill>
                <a:latin typeface="Pfizer Diatype Office"/>
              </a:rPr>
              <a:t>pnömoni</a:t>
            </a:r>
            <a:r>
              <a:rPr lang="en-GB" sz="700">
                <a:solidFill>
                  <a:schemeClr val="tx1">
                    <a:lumMod val="50000"/>
                    <a:lumOff val="50000"/>
                  </a:schemeClr>
                </a:solidFill>
                <a:latin typeface="Pfizer Diatype Office"/>
              </a:rPr>
              <a:t> </a:t>
            </a:r>
            <a:r>
              <a:rPr lang="en-GB" sz="700" err="1">
                <a:solidFill>
                  <a:schemeClr val="tx1">
                    <a:lumMod val="50000"/>
                    <a:lumOff val="50000"/>
                  </a:schemeClr>
                </a:solidFill>
                <a:latin typeface="Pfizer Diatype Office"/>
              </a:rPr>
              <a:t>veya</a:t>
            </a:r>
            <a:r>
              <a:rPr lang="en-GB" sz="700">
                <a:solidFill>
                  <a:schemeClr val="tx1">
                    <a:lumMod val="50000"/>
                    <a:lumOff val="50000"/>
                  </a:schemeClr>
                </a:solidFill>
                <a:latin typeface="Pfizer Diatype Office"/>
              </a:rPr>
              <a:t> </a:t>
            </a:r>
            <a:r>
              <a:rPr lang="en-GB" sz="700" err="1">
                <a:solidFill>
                  <a:schemeClr val="tx1">
                    <a:lumMod val="50000"/>
                    <a:lumOff val="50000"/>
                  </a:schemeClr>
                </a:solidFill>
                <a:latin typeface="Pfizer Diatype Office"/>
              </a:rPr>
              <a:t>bronşiolit</a:t>
            </a:r>
            <a:r>
              <a:rPr lang="en-GB" sz="700">
                <a:solidFill>
                  <a:schemeClr val="tx1">
                    <a:lumMod val="50000"/>
                    <a:lumOff val="50000"/>
                  </a:schemeClr>
                </a:solidFill>
                <a:latin typeface="Pfizer Diatype Office"/>
              </a:rPr>
              <a:t> </a:t>
            </a:r>
            <a:r>
              <a:rPr lang="en-GB" sz="700" err="1">
                <a:solidFill>
                  <a:schemeClr val="tx1">
                    <a:lumMod val="50000"/>
                    <a:lumOff val="50000"/>
                  </a:schemeClr>
                </a:solidFill>
                <a:latin typeface="Pfizer Diatype Office"/>
              </a:rPr>
              <a:t>olarka</a:t>
            </a:r>
            <a:r>
              <a:rPr lang="en-GB" sz="700">
                <a:solidFill>
                  <a:schemeClr val="tx1">
                    <a:lumMod val="50000"/>
                    <a:lumOff val="50000"/>
                  </a:schemeClr>
                </a:solidFill>
                <a:latin typeface="Pfizer Diatype Office"/>
              </a:rPr>
              <a:t> </a:t>
            </a:r>
            <a:r>
              <a:rPr lang="en-GB" sz="700" err="1">
                <a:solidFill>
                  <a:schemeClr val="tx1">
                    <a:lumMod val="50000"/>
                    <a:lumOff val="50000"/>
                  </a:schemeClr>
                </a:solidFill>
                <a:latin typeface="Pfizer Diatype Office"/>
              </a:rPr>
              <a:t>tanımlanmaktadır</a:t>
            </a:r>
            <a:r>
              <a:rPr kumimoji="0" lang="en-GB" sz="700" b="0" i="0" u="none" strike="noStrike" kern="1200" cap="none" spc="0" normalizeH="0" baseline="0" noProof="0">
                <a:ln>
                  <a:noFill/>
                </a:ln>
                <a:solidFill>
                  <a:schemeClr val="tx1">
                    <a:lumMod val="50000"/>
                    <a:lumOff val="50000"/>
                  </a:schemeClr>
                </a:solidFill>
                <a:effectLst/>
                <a:uLnTx/>
                <a:uFillTx/>
                <a:latin typeface="Pfizer Diatype Office"/>
              </a:rPr>
              <a:t>. Atfedilebilir </a:t>
            </a:r>
            <a:r>
              <a:rPr kumimoji="0" lang="en-GB" sz="700" b="0" i="0" u="none" strike="noStrike" kern="1200" cap="none" spc="0" normalizeH="0" baseline="0" noProof="0" err="1">
                <a:ln>
                  <a:noFill/>
                </a:ln>
                <a:solidFill>
                  <a:schemeClr val="tx1">
                    <a:lumMod val="50000"/>
                    <a:lumOff val="50000"/>
                  </a:schemeClr>
                </a:solidFill>
                <a:effectLst/>
                <a:uLnTx/>
                <a:uFillTx/>
                <a:latin typeface="Pfizer Diatype Office"/>
              </a:rPr>
              <a:t>patojenler</a:t>
            </a:r>
            <a:r>
              <a:rPr kumimoji="0" lang="en-GB" sz="700" b="0" i="0" u="none" strike="noStrike" kern="1200" cap="none" spc="0" normalizeH="0" baseline="0" noProof="0">
                <a:ln>
                  <a:noFill/>
                </a:ln>
                <a:solidFill>
                  <a:schemeClr val="tx1">
                    <a:lumMod val="50000"/>
                    <a:lumOff val="50000"/>
                  </a:schemeClr>
                </a:solidFill>
                <a:effectLst/>
                <a:uLnTx/>
                <a:uFillTx/>
                <a:latin typeface="Pfizer Diatype Office"/>
              </a:rPr>
              <a:t> </a:t>
            </a:r>
            <a:r>
              <a:rPr lang="en-GB" sz="700" i="1">
                <a:solidFill>
                  <a:schemeClr val="tx1">
                    <a:lumMod val="50000"/>
                    <a:lumOff val="50000"/>
                  </a:schemeClr>
                </a:solidFill>
              </a:rPr>
              <a:t>Acinetobacter baumannii</a:t>
            </a:r>
            <a:r>
              <a:rPr lang="en-GB" sz="700">
                <a:solidFill>
                  <a:schemeClr val="tx1">
                    <a:lumMod val="50000"/>
                    <a:lumOff val="50000"/>
                  </a:schemeClr>
                </a:solidFill>
              </a:rPr>
              <a:t>, Chlamydia </a:t>
            </a:r>
            <a:r>
              <a:rPr lang="en-GB" sz="700" err="1">
                <a:solidFill>
                  <a:schemeClr val="tx1">
                    <a:lumMod val="50000"/>
                    <a:lumOff val="50000"/>
                  </a:schemeClr>
                </a:solidFill>
              </a:rPr>
              <a:t>spp</a:t>
            </a:r>
            <a:r>
              <a:rPr lang="en-GB" sz="700">
                <a:solidFill>
                  <a:schemeClr val="tx1">
                    <a:lumMod val="50000"/>
                    <a:lumOff val="50000"/>
                  </a:schemeClr>
                </a:solidFill>
              </a:rPr>
              <a:t>, Enterobacter </a:t>
            </a:r>
            <a:r>
              <a:rPr lang="en-GB" sz="700" err="1">
                <a:solidFill>
                  <a:schemeClr val="tx1">
                    <a:lumMod val="50000"/>
                    <a:lumOff val="50000"/>
                  </a:schemeClr>
                </a:solidFill>
              </a:rPr>
              <a:t>spp</a:t>
            </a:r>
            <a:r>
              <a:rPr lang="en-GB" sz="700">
                <a:solidFill>
                  <a:schemeClr val="tx1">
                    <a:lumMod val="50000"/>
                    <a:lumOff val="50000"/>
                  </a:schemeClr>
                </a:solidFill>
              </a:rPr>
              <a:t>, </a:t>
            </a:r>
            <a:r>
              <a:rPr lang="en-GB" sz="700" i="1">
                <a:solidFill>
                  <a:schemeClr val="tx1">
                    <a:lumMod val="50000"/>
                    <a:lumOff val="50000"/>
                  </a:schemeClr>
                </a:solidFill>
              </a:rPr>
              <a:t>Escherichia coli</a:t>
            </a:r>
            <a:r>
              <a:rPr lang="en-GB" sz="700">
                <a:solidFill>
                  <a:schemeClr val="tx1">
                    <a:lumMod val="50000"/>
                    <a:lumOff val="50000"/>
                  </a:schemeClr>
                </a:solidFill>
              </a:rPr>
              <a:t>, fungi, group B streptococcus, </a:t>
            </a:r>
            <a:r>
              <a:rPr lang="en-GB" sz="700" i="1">
                <a:solidFill>
                  <a:schemeClr val="tx1">
                    <a:lumMod val="50000"/>
                    <a:lumOff val="50000"/>
                  </a:schemeClr>
                </a:solidFill>
              </a:rPr>
              <a:t>Haemophilus influenzae</a:t>
            </a:r>
            <a:r>
              <a:rPr lang="en-GB" sz="700">
                <a:solidFill>
                  <a:schemeClr val="tx1">
                    <a:lumMod val="50000"/>
                    <a:lumOff val="50000"/>
                  </a:schemeClr>
                </a:solidFill>
              </a:rPr>
              <a:t>, influenza </a:t>
            </a:r>
            <a:r>
              <a:rPr lang="en-GB" sz="700" err="1">
                <a:solidFill>
                  <a:schemeClr val="tx1">
                    <a:lumMod val="50000"/>
                    <a:lumOff val="50000"/>
                  </a:schemeClr>
                </a:solidFill>
              </a:rPr>
              <a:t>virusleri</a:t>
            </a:r>
            <a:r>
              <a:rPr lang="en-GB" sz="700">
                <a:solidFill>
                  <a:schemeClr val="tx1">
                    <a:lumMod val="50000"/>
                    <a:lumOff val="50000"/>
                  </a:schemeClr>
                </a:solidFill>
              </a:rPr>
              <a:t>, </a:t>
            </a:r>
            <a:r>
              <a:rPr lang="en-GB" sz="700" i="1">
                <a:solidFill>
                  <a:schemeClr val="tx1">
                    <a:lumMod val="50000"/>
                    <a:lumOff val="50000"/>
                  </a:schemeClr>
                </a:solidFill>
              </a:rPr>
              <a:t>Klebsiella pneumoniae</a:t>
            </a:r>
            <a:r>
              <a:rPr lang="en-GB" sz="700">
                <a:solidFill>
                  <a:schemeClr val="tx1">
                    <a:lumMod val="50000"/>
                    <a:lumOff val="50000"/>
                  </a:schemeClr>
                </a:solidFill>
              </a:rPr>
              <a:t>, Legionella </a:t>
            </a:r>
            <a:r>
              <a:rPr lang="en-GB" sz="700" err="1">
                <a:solidFill>
                  <a:schemeClr val="tx1">
                    <a:lumMod val="50000"/>
                    <a:lumOff val="50000"/>
                  </a:schemeClr>
                </a:solidFill>
              </a:rPr>
              <a:t>spp</a:t>
            </a:r>
            <a:r>
              <a:rPr lang="en-GB" sz="700">
                <a:solidFill>
                  <a:schemeClr val="tx1">
                    <a:lumMod val="50000"/>
                    <a:lumOff val="50000"/>
                  </a:schemeClr>
                </a:solidFill>
              </a:rPr>
              <a:t>, Mycoplasma </a:t>
            </a:r>
            <a:r>
              <a:rPr lang="en-GB" sz="700" err="1">
                <a:solidFill>
                  <a:schemeClr val="tx1">
                    <a:lumMod val="50000"/>
                    <a:lumOff val="50000"/>
                  </a:schemeClr>
                </a:solidFill>
              </a:rPr>
              <a:t>spp</a:t>
            </a:r>
            <a:r>
              <a:rPr lang="en-GB" sz="700">
                <a:solidFill>
                  <a:schemeClr val="tx1">
                    <a:lumMod val="50000"/>
                    <a:lumOff val="50000"/>
                  </a:schemeClr>
                </a:solidFill>
              </a:rPr>
              <a:t>, </a:t>
            </a:r>
            <a:r>
              <a:rPr lang="en-GB" sz="700" err="1">
                <a:solidFill>
                  <a:schemeClr val="tx1">
                    <a:lumMod val="50000"/>
                    <a:lumOff val="50000"/>
                  </a:schemeClr>
                </a:solidFill>
              </a:rPr>
              <a:t>polimikrobial</a:t>
            </a:r>
            <a:r>
              <a:rPr lang="en-GB" sz="700">
                <a:solidFill>
                  <a:schemeClr val="tx1">
                    <a:lumMod val="50000"/>
                    <a:lumOff val="50000"/>
                  </a:schemeClr>
                </a:solidFill>
              </a:rPr>
              <a:t> </a:t>
            </a:r>
            <a:r>
              <a:rPr lang="en-GB" sz="700" err="1">
                <a:solidFill>
                  <a:schemeClr val="tx1">
                    <a:lumMod val="50000"/>
                    <a:lumOff val="50000"/>
                  </a:schemeClr>
                </a:solidFill>
              </a:rPr>
              <a:t>enfeksiyonlar</a:t>
            </a:r>
            <a:r>
              <a:rPr lang="en-GB" sz="700">
                <a:solidFill>
                  <a:schemeClr val="tx1">
                    <a:lumMod val="50000"/>
                    <a:lumOff val="50000"/>
                  </a:schemeClr>
                </a:solidFill>
              </a:rPr>
              <a:t>, </a:t>
            </a:r>
            <a:r>
              <a:rPr lang="en-GB" sz="700" i="1">
                <a:solidFill>
                  <a:schemeClr val="tx1">
                    <a:lumMod val="50000"/>
                    <a:lumOff val="50000"/>
                  </a:schemeClr>
                </a:solidFill>
              </a:rPr>
              <a:t>Pseudomonas aeruginosa</a:t>
            </a:r>
            <a:r>
              <a:rPr lang="en-GB" sz="700">
                <a:solidFill>
                  <a:schemeClr val="tx1">
                    <a:lumMod val="50000"/>
                    <a:lumOff val="50000"/>
                  </a:schemeClr>
                </a:solidFill>
              </a:rPr>
              <a:t>, respiratory syncytial virus (RSV), </a:t>
            </a:r>
            <a:r>
              <a:rPr lang="en-GB" sz="700" i="1">
                <a:solidFill>
                  <a:schemeClr val="tx1">
                    <a:lumMod val="50000"/>
                    <a:lumOff val="50000"/>
                  </a:schemeClr>
                </a:solidFill>
              </a:rPr>
              <a:t>Staphylococcus aureus</a:t>
            </a:r>
            <a:r>
              <a:rPr lang="en-GB" sz="700">
                <a:solidFill>
                  <a:schemeClr val="tx1">
                    <a:lumMod val="50000"/>
                    <a:lumOff val="50000"/>
                  </a:schemeClr>
                </a:solidFill>
              </a:rPr>
              <a:t>, </a:t>
            </a:r>
            <a:r>
              <a:rPr lang="en-GB" sz="700" i="1">
                <a:solidFill>
                  <a:schemeClr val="tx1">
                    <a:lumMod val="50000"/>
                    <a:lumOff val="50000"/>
                  </a:schemeClr>
                </a:solidFill>
              </a:rPr>
              <a:t>Streptococcus pneumoniae</a:t>
            </a:r>
            <a:r>
              <a:rPr lang="en-GB" sz="700">
                <a:solidFill>
                  <a:schemeClr val="tx1">
                    <a:lumMod val="50000"/>
                    <a:lumOff val="50000"/>
                  </a:schemeClr>
                </a:solidFill>
              </a:rPr>
              <a:t>,</a:t>
            </a:r>
            <a:r>
              <a:rPr kumimoji="0" lang="en-GB" sz="700" b="0" i="1" u="none" strike="noStrike" kern="1200" cap="none" spc="0" normalizeH="0" baseline="0" noProof="0">
                <a:ln>
                  <a:noFill/>
                </a:ln>
                <a:solidFill>
                  <a:schemeClr val="tx1">
                    <a:lumMod val="50000"/>
                    <a:lumOff val="50000"/>
                  </a:schemeClr>
                </a:solidFill>
                <a:effectLst/>
                <a:uLnTx/>
                <a:uFillTx/>
                <a:latin typeface="Pfizer Diatype Office"/>
              </a:rPr>
              <a:t>, ve diğer virüsler (yani, influenza ve RSV hariç, çalışılan tüm virüslerin toplamı) ve ayrıca diğer </a:t>
            </a:r>
            <a:r>
              <a:rPr kumimoji="0" lang="en-GB" sz="700" b="0" i="1" u="none" strike="noStrike" kern="1200" cap="none" spc="0" normalizeH="0" baseline="0" noProof="0" err="1">
                <a:ln>
                  <a:noFill/>
                </a:ln>
                <a:solidFill>
                  <a:schemeClr val="tx1">
                    <a:lumMod val="50000"/>
                    <a:lumOff val="50000"/>
                  </a:schemeClr>
                </a:solidFill>
                <a:effectLst/>
                <a:uLnTx/>
                <a:uFillTx/>
                <a:latin typeface="Pfizer Diatype Office"/>
              </a:rPr>
              <a:t>bakteriyel</a:t>
            </a:r>
            <a:r>
              <a:rPr kumimoji="0" lang="en-GB" sz="700" b="0" i="1" u="none" strike="noStrike" kern="1200" cap="none" spc="0" normalizeH="0" baseline="0" noProof="0">
                <a:ln>
                  <a:noFill/>
                </a:ln>
                <a:solidFill>
                  <a:schemeClr val="tx1">
                    <a:lumMod val="50000"/>
                    <a:lumOff val="50000"/>
                  </a:schemeClr>
                </a:solidFill>
                <a:effectLst/>
                <a:uLnTx/>
                <a:uFillTx/>
                <a:latin typeface="Pfizer Diatype Office"/>
              </a:rPr>
              <a:t> </a:t>
            </a:r>
            <a:r>
              <a:rPr kumimoji="0" lang="en-GB" sz="700" b="0" i="1" u="none" strike="noStrike" kern="1200" cap="none" spc="0" normalizeH="0" baseline="0" noProof="0" err="1">
                <a:ln>
                  <a:noFill/>
                </a:ln>
                <a:solidFill>
                  <a:schemeClr val="tx1">
                    <a:lumMod val="50000"/>
                    <a:lumOff val="50000"/>
                  </a:schemeClr>
                </a:solidFill>
                <a:effectLst/>
                <a:uLnTx/>
                <a:uFillTx/>
                <a:latin typeface="Pfizer Diatype Office"/>
              </a:rPr>
              <a:t>patojenlerden</a:t>
            </a:r>
            <a:r>
              <a:rPr kumimoji="0" lang="en-GB" sz="700" b="0" i="1" u="none" strike="noStrike" kern="1200" cap="none" spc="0" normalizeH="0" baseline="0" noProof="0">
                <a:ln>
                  <a:noFill/>
                </a:ln>
                <a:solidFill>
                  <a:schemeClr val="tx1">
                    <a:lumMod val="50000"/>
                    <a:lumOff val="50000"/>
                  </a:schemeClr>
                </a:solidFill>
                <a:effectLst/>
                <a:uLnTx/>
                <a:uFillTx/>
                <a:latin typeface="Pfizer Diatype Office"/>
              </a:rPr>
              <a:t> </a:t>
            </a:r>
            <a:r>
              <a:rPr kumimoji="0" lang="en-GB" sz="700" b="0" i="1" u="none" strike="noStrike" kern="1200" cap="none" spc="0" normalizeH="0" baseline="0" noProof="0" err="1">
                <a:ln>
                  <a:noFill/>
                </a:ln>
                <a:solidFill>
                  <a:schemeClr val="tx1">
                    <a:lumMod val="50000"/>
                    <a:lumOff val="50000"/>
                  </a:schemeClr>
                </a:solidFill>
                <a:effectLst/>
                <a:uLnTx/>
                <a:uFillTx/>
                <a:latin typeface="Pfizer Diatype Office"/>
              </a:rPr>
              <a:t>oluşan</a:t>
            </a:r>
            <a:r>
              <a:rPr kumimoji="0" lang="en-GB" sz="700" b="0" i="1" u="none" strike="noStrike" kern="1200" cap="none" spc="0" normalizeH="0" baseline="0" noProof="0">
                <a:ln>
                  <a:noFill/>
                </a:ln>
                <a:solidFill>
                  <a:schemeClr val="tx1">
                    <a:lumMod val="50000"/>
                    <a:lumOff val="50000"/>
                  </a:schemeClr>
                </a:solidFill>
                <a:effectLst/>
                <a:uLnTx/>
                <a:uFillTx/>
                <a:latin typeface="Pfizer Diatype Office"/>
              </a:rPr>
              <a:t> artık </a:t>
            </a:r>
            <a:r>
              <a:rPr kumimoji="0" lang="en-GB" sz="700" b="0" i="1" u="none" strike="noStrike" kern="1200" cap="none" spc="0" normalizeH="0" baseline="0" noProof="0" err="1">
                <a:ln>
                  <a:noFill/>
                </a:ln>
                <a:solidFill>
                  <a:schemeClr val="tx1">
                    <a:lumMod val="50000"/>
                    <a:lumOff val="50000"/>
                  </a:schemeClr>
                </a:solidFill>
                <a:effectLst/>
                <a:uLnTx/>
                <a:uFillTx/>
                <a:latin typeface="Pfizer Diatype Office"/>
              </a:rPr>
              <a:t>bir</a:t>
            </a:r>
            <a:r>
              <a:rPr kumimoji="0" lang="en-GB" sz="700" b="0" i="1" u="none" strike="noStrike" kern="1200" cap="none" spc="0" normalizeH="0" baseline="0" noProof="0">
                <a:ln>
                  <a:noFill/>
                </a:ln>
                <a:solidFill>
                  <a:schemeClr val="tx1">
                    <a:lumMod val="50000"/>
                    <a:lumOff val="50000"/>
                  </a:schemeClr>
                </a:solidFill>
                <a:effectLst/>
                <a:uLnTx/>
                <a:uFillTx/>
                <a:latin typeface="Pfizer Diatype Office"/>
              </a:rPr>
              <a:t> </a:t>
            </a:r>
            <a:r>
              <a:rPr kumimoji="0" lang="en-GB" sz="700" b="0" i="1" u="none" strike="noStrike" kern="1200" cap="none" spc="0" normalizeH="0" baseline="0" noProof="0" err="1">
                <a:ln>
                  <a:noFill/>
                </a:ln>
                <a:solidFill>
                  <a:schemeClr val="tx1">
                    <a:lumMod val="50000"/>
                    <a:lumOff val="50000"/>
                  </a:schemeClr>
                </a:solidFill>
                <a:effectLst/>
                <a:uLnTx/>
                <a:uFillTx/>
                <a:latin typeface="Pfizer Diatype Office"/>
              </a:rPr>
              <a:t>kategori</a:t>
            </a:r>
            <a:r>
              <a:rPr kumimoji="0" lang="en-GB" sz="700" b="0" i="1" u="none" strike="noStrike" kern="1200" cap="none" spc="0" normalizeH="0" baseline="0" noProof="0">
                <a:ln>
                  <a:noFill/>
                </a:ln>
                <a:solidFill>
                  <a:schemeClr val="tx1">
                    <a:lumMod val="50000"/>
                    <a:lumOff val="50000"/>
                  </a:schemeClr>
                </a:solidFill>
                <a:effectLst/>
                <a:uLnTx/>
                <a:uFillTx/>
                <a:latin typeface="Pfizer Diatype Office"/>
              </a:rPr>
              <a:t>.</a:t>
            </a:r>
            <a:r>
              <a:rPr kumimoji="0" lang="en-GB" sz="700" b="0" i="0" u="none" strike="noStrike" kern="1200" cap="none" spc="0" normalizeH="0" baseline="0" noProof="0">
                <a:ln>
                  <a:noFill/>
                </a:ln>
                <a:solidFill>
                  <a:schemeClr val="tx1">
                    <a:lumMod val="50000"/>
                    <a:lumOff val="50000"/>
                  </a:schemeClr>
                </a:solidFill>
                <a:effectLst/>
                <a:uLnTx/>
                <a:uFillTx/>
                <a:latin typeface="Pfizer Diatype Office"/>
              </a:rPr>
              <a:t> Solunum yolu enfeksiyonları ve </a:t>
            </a:r>
            <a:r>
              <a:rPr kumimoji="0" lang="en-GB" sz="700" b="0" i="0" u="none" strike="noStrike" kern="1200" cap="none" spc="0" normalizeH="0" baseline="0" noProof="0" err="1">
                <a:ln>
                  <a:noFill/>
                </a:ln>
                <a:solidFill>
                  <a:schemeClr val="tx1">
                    <a:lumMod val="50000"/>
                    <a:lumOff val="50000"/>
                  </a:schemeClr>
                </a:solidFill>
                <a:effectLst/>
                <a:uLnTx/>
                <a:uFillTx/>
                <a:latin typeface="Pfizer Diatype Office"/>
              </a:rPr>
              <a:t>hastalık</a:t>
            </a:r>
            <a:r>
              <a:rPr kumimoji="0" lang="en-GB" sz="700" b="0" i="0" u="none" strike="noStrike" kern="1200" cap="none" spc="0" normalizeH="0" baseline="0" noProof="0">
                <a:ln>
                  <a:noFill/>
                </a:ln>
                <a:solidFill>
                  <a:schemeClr val="tx1">
                    <a:lumMod val="50000"/>
                    <a:lumOff val="50000"/>
                  </a:schemeClr>
                </a:solidFill>
                <a:effectLst/>
                <a:uLnTx/>
                <a:uFillTx/>
                <a:latin typeface="Pfizer Diatype Office"/>
              </a:rPr>
              <a:t> </a:t>
            </a:r>
            <a:r>
              <a:rPr kumimoji="0" lang="en-GB" sz="700" b="0" i="0" u="none" strike="noStrike" kern="1200" cap="none" spc="0" normalizeH="0" baseline="0" noProof="0" err="1">
                <a:ln>
                  <a:noFill/>
                </a:ln>
                <a:solidFill>
                  <a:schemeClr val="tx1">
                    <a:lumMod val="50000"/>
                    <a:lumOff val="50000"/>
                  </a:schemeClr>
                </a:solidFill>
                <a:effectLst/>
                <a:uLnTx/>
                <a:uFillTx/>
                <a:latin typeface="Pfizer Diatype Office"/>
              </a:rPr>
              <a:t>seyri</a:t>
            </a:r>
            <a:r>
              <a:rPr kumimoji="0" lang="en-GB" sz="700" b="0" i="0" u="none" strike="noStrike" kern="1200" cap="none" spc="0" normalizeH="0" baseline="0" noProof="0">
                <a:ln>
                  <a:noFill/>
                </a:ln>
                <a:solidFill>
                  <a:schemeClr val="tx1">
                    <a:lumMod val="50000"/>
                    <a:lumOff val="50000"/>
                  </a:schemeClr>
                </a:solidFill>
                <a:effectLst/>
                <a:uLnTx/>
                <a:uFillTx/>
                <a:latin typeface="Pfizer Diatype Office"/>
              </a:rPr>
              <a:t> ile ilgili ek tanımlar için Ek'e bakın. </a:t>
            </a:r>
            <a:r>
              <a:rPr kumimoji="0" lang="en-GB" sz="700" b="0" i="0" u="none" strike="noStrike" kern="1200" cap="none" spc="0" normalizeH="0" baseline="30000" noProof="0">
                <a:ln>
                  <a:noFill/>
                </a:ln>
                <a:solidFill>
                  <a:schemeClr val="tx1">
                    <a:lumMod val="50000"/>
                    <a:lumOff val="50000"/>
                  </a:schemeClr>
                </a:solidFill>
                <a:effectLst/>
                <a:uLnTx/>
                <a:uFillTx/>
                <a:latin typeface="Pfizer Diatype Office"/>
              </a:rPr>
              <a:t>‡</a:t>
            </a:r>
            <a:r>
              <a:rPr lang="en-GB" sz="700">
                <a:solidFill>
                  <a:schemeClr val="tx1">
                    <a:lumMod val="50000"/>
                    <a:lumOff val="50000"/>
                  </a:schemeClr>
                </a:solidFill>
                <a:latin typeface="Pfizer Diatype Office"/>
              </a:rPr>
              <a:t>Tahminler pandemik bir dönem içerir. </a:t>
            </a:r>
            <a:br>
              <a:rPr kumimoji="0" lang="en-GB" sz="700" b="0" i="0" u="none" strike="noStrike" kern="1200" cap="none" spc="0" normalizeH="0" baseline="0" noProof="0">
                <a:ln>
                  <a:noFill/>
                </a:ln>
                <a:solidFill>
                  <a:schemeClr val="tx1">
                    <a:lumMod val="50000"/>
                    <a:lumOff val="50000"/>
                  </a:schemeClr>
                </a:solidFill>
                <a:effectLst/>
                <a:uLnTx/>
                <a:uFillTx/>
                <a:latin typeface="Pfizer Diatype Office"/>
              </a:rPr>
            </a:br>
            <a:r>
              <a:rPr lang="en-GB" sz="700">
                <a:solidFill>
                  <a:schemeClr val="tx1">
                    <a:lumMod val="50000"/>
                    <a:lumOff val="50000"/>
                  </a:schemeClr>
                </a:solidFill>
                <a:latin typeface="Pfizer Diatype Office"/>
              </a:rPr>
              <a:t>ASYE,</a:t>
            </a:r>
            <a:r>
              <a:rPr kumimoji="0" lang="en-GB" sz="700" b="0" i="0" u="none" strike="noStrike" kern="1200" cap="none" spc="0" normalizeH="0" baseline="0" noProof="0">
                <a:ln>
                  <a:noFill/>
                </a:ln>
                <a:solidFill>
                  <a:schemeClr val="tx1">
                    <a:lumMod val="50000"/>
                    <a:lumOff val="50000"/>
                  </a:schemeClr>
                </a:solidFill>
                <a:effectLst/>
                <a:uLnTx/>
                <a:uFillTx/>
                <a:latin typeface="Pfizer Diatype Office"/>
                <a:ea typeface="+mn-ea"/>
                <a:cs typeface="+mn-cs"/>
              </a:rPr>
              <a:t> </a:t>
            </a:r>
            <a:r>
              <a:rPr lang="en-GB" sz="700">
                <a:solidFill>
                  <a:schemeClr val="tx1">
                    <a:lumMod val="50000"/>
                    <a:lumOff val="50000"/>
                  </a:schemeClr>
                </a:solidFill>
                <a:latin typeface="Pfizer Diatype Office"/>
              </a:rPr>
              <a:t>alt</a:t>
            </a:r>
            <a:r>
              <a:rPr kumimoji="0" lang="en-GB" sz="700" b="0" i="0" u="none" strike="noStrike" kern="1200" cap="none" spc="0" normalizeH="0" baseline="0" noProof="0">
                <a:ln>
                  <a:noFill/>
                </a:ln>
                <a:solidFill>
                  <a:schemeClr val="tx1">
                    <a:lumMod val="50000"/>
                    <a:lumOff val="50000"/>
                  </a:schemeClr>
                </a:solidFill>
                <a:effectLst/>
                <a:uLnTx/>
                <a:uFillTx/>
                <a:latin typeface="Pfizer Diatype Office"/>
                <a:ea typeface="+mn-ea"/>
                <a:cs typeface="+mn-cs"/>
              </a:rPr>
              <a:t> solunum yolu enfeksiyonu; RSV, solunum sinsityal virüsü. </a:t>
            </a:r>
          </a:p>
          <a:p>
            <a:pPr lvl="0">
              <a:defRPr/>
            </a:pPr>
            <a:r>
              <a:rPr lang="en-GB" sz="700">
                <a:solidFill>
                  <a:schemeClr val="tx1">
                    <a:lumMod val="50000"/>
                    <a:lumOff val="50000"/>
                  </a:schemeClr>
                </a:solidFill>
              </a:rPr>
              <a:t>1. Safiri S, et al. </a:t>
            </a:r>
            <a:r>
              <a:rPr lang="en-GB" sz="700" i="1">
                <a:solidFill>
                  <a:schemeClr val="tx1">
                    <a:lumMod val="50000"/>
                    <a:lumOff val="50000"/>
                  </a:schemeClr>
                </a:solidFill>
              </a:rPr>
              <a:t>Front Public Health</a:t>
            </a:r>
            <a:r>
              <a:rPr lang="en-GB" sz="700">
                <a:solidFill>
                  <a:schemeClr val="tx1">
                    <a:lumMod val="50000"/>
                    <a:lumOff val="50000"/>
                  </a:schemeClr>
                </a:solidFill>
              </a:rPr>
              <a:t>. 2023;10:1028525; 2. World Health Organization. </a:t>
            </a:r>
            <a:r>
              <a:rPr lang="en-US" sz="700">
                <a:solidFill>
                  <a:schemeClr val="tx1">
                    <a:lumMod val="50000"/>
                    <a:lumOff val="50000"/>
                  </a:schemeClr>
                </a:solidFill>
              </a:rPr>
              <a:t>Preventing a triple threat this autumn and winter - applying lessons and understanding individual risk to protect ourselves and others from respiratory illness</a:t>
            </a:r>
            <a:r>
              <a:rPr lang="en-GB" sz="700">
                <a:solidFill>
                  <a:schemeClr val="tx1">
                    <a:lumMod val="50000"/>
                    <a:lumOff val="50000"/>
                  </a:schemeClr>
                </a:solidFill>
              </a:rPr>
              <a:t>. </a:t>
            </a:r>
            <a:r>
              <a:rPr lang="en-GB" sz="700">
                <a:solidFill>
                  <a:schemeClr val="tx1">
                    <a:lumMod val="50000"/>
                    <a:lumOff val="50000"/>
                  </a:schemeClr>
                </a:solidFill>
                <a:hlinkClick r:id="rId8">
                  <a:extLst>
                    <a:ext uri="{A12FA001-AC4F-418D-AE19-62706E023703}">
                      <ahyp:hlinkClr xmlns:ahyp="http://schemas.microsoft.com/office/drawing/2018/hyperlinkcolor" val="tx"/>
                    </a:ext>
                  </a:extLst>
                </a:hlinkClick>
              </a:rPr>
              <a:t>https://www.who.int/europe/event/preventing-a-triple-threat-this-autumn-and-winter--applying-lessons-and-understanding-individual-risk-to-protect-ourselves-and-others-from-respiratory-illness</a:t>
            </a:r>
            <a:r>
              <a:rPr lang="en-GB" sz="700">
                <a:solidFill>
                  <a:schemeClr val="tx1">
                    <a:lumMod val="50000"/>
                    <a:lumOff val="50000"/>
                  </a:schemeClr>
                </a:solidFill>
              </a:rPr>
              <a:t>. Accessed 12 February 2025; 3. GBD 2021 Lower Respiratory Infections and Antimicrobial Resistance Collaborators. </a:t>
            </a:r>
            <a:r>
              <a:rPr lang="en-GB" sz="700" i="1">
                <a:solidFill>
                  <a:schemeClr val="tx1">
                    <a:lumMod val="50000"/>
                    <a:lumOff val="50000"/>
                  </a:schemeClr>
                </a:solidFill>
              </a:rPr>
              <a:t>Lancet Infect Dis</a:t>
            </a:r>
            <a:r>
              <a:rPr lang="en-GB" sz="700">
                <a:solidFill>
                  <a:schemeClr val="tx1">
                    <a:lumMod val="50000"/>
                    <a:lumOff val="50000"/>
                  </a:schemeClr>
                </a:solidFill>
              </a:rPr>
              <a:t>. 2024;24(9):974-1002; 4. Our World in Data. COVID-19 was the third largest cause of death in 2021. </a:t>
            </a:r>
            <a:r>
              <a:rPr lang="en-GB" sz="700">
                <a:solidFill>
                  <a:schemeClr val="tx1">
                    <a:lumMod val="50000"/>
                    <a:lumOff val="50000"/>
                  </a:schemeClr>
                </a:solidFill>
                <a:hlinkClick r:id="rId9"/>
              </a:rPr>
              <a:t>https://ourworldindata.org/data-insights/covid-19-was-the-third-largest-cause-of-death-in-2021</a:t>
            </a:r>
            <a:r>
              <a:rPr lang="en-GB" sz="700">
                <a:solidFill>
                  <a:schemeClr val="tx1">
                    <a:lumMod val="50000"/>
                    <a:lumOff val="50000"/>
                  </a:schemeClr>
                </a:solidFill>
              </a:rPr>
              <a:t>. Accessed 28 April 2025.</a:t>
            </a:r>
          </a:p>
        </p:txBody>
      </p:sp>
      <p:sp>
        <p:nvSpPr>
          <p:cNvPr id="73" name="TextBox 72">
            <a:extLst>
              <a:ext uri="{FF2B5EF4-FFF2-40B4-BE49-F238E27FC236}">
                <a16:creationId xmlns:a16="http://schemas.microsoft.com/office/drawing/2014/main" id="{F020347C-AD63-1CDF-5298-601DD3701E76}"/>
              </a:ext>
            </a:extLst>
          </p:cNvPr>
          <p:cNvSpPr txBox="1"/>
          <p:nvPr/>
        </p:nvSpPr>
        <p:spPr>
          <a:xfrm>
            <a:off x="4756526" y="1568188"/>
            <a:ext cx="6576924" cy="523220"/>
          </a:xfrm>
          <a:prstGeom prst="rect">
            <a:avLst/>
          </a:prstGeom>
          <a:noFill/>
        </p:spPr>
        <p:txBody>
          <a:bodyPr wrap="square" lIns="0" rIns="0">
            <a:spAutoFit/>
          </a:bodyPr>
          <a:lstStyle/>
          <a:p>
            <a:pPr marL="3175" lvl="3">
              <a:spcAft>
                <a:spcPts val="600"/>
              </a:spcAft>
              <a:defRPr/>
            </a:pPr>
            <a:r>
              <a:rPr lang="en-GB" sz="1400">
                <a:solidFill>
                  <a:srgbClr val="000067"/>
                </a:solidFill>
                <a:latin typeface="Pfizer Diatype Office"/>
              </a:rPr>
              <a:t>COVID-19</a:t>
            </a:r>
            <a:r>
              <a:rPr kumimoji="0" lang="en-GB" sz="1400" b="0" i="0" u="none" strike="noStrike" kern="1200" cap="none" spc="0" normalizeH="0" baseline="0" noProof="0">
                <a:ln>
                  <a:noFill/>
                </a:ln>
                <a:solidFill>
                  <a:srgbClr val="000067"/>
                </a:solidFill>
                <a:effectLst/>
                <a:uLnTx/>
                <a:uFillTx/>
                <a:latin typeface="Pfizer Diatype Office"/>
                <a:ea typeface="+mn-ea"/>
                <a:cs typeface="+mn-cs"/>
              </a:rPr>
              <a:t>'un</a:t>
            </a:r>
            <a:r>
              <a:rPr lang="en-GB" sz="1400">
                <a:solidFill>
                  <a:srgbClr val="000067"/>
                </a:solidFill>
                <a:latin typeface="Pfizer Diatype Office"/>
              </a:rPr>
              <a:t> </a:t>
            </a:r>
            <a:r>
              <a:rPr lang="en-GB" sz="1400" err="1">
                <a:solidFill>
                  <a:srgbClr val="000067"/>
                </a:solidFill>
                <a:latin typeface="Pfizer Diatype Office"/>
              </a:rPr>
              <a:t>ortaya</a:t>
            </a:r>
            <a:r>
              <a:rPr lang="en-GB" sz="1400">
                <a:solidFill>
                  <a:srgbClr val="000067"/>
                </a:solidFill>
                <a:latin typeface="Pfizer Diatype Office"/>
              </a:rPr>
              <a:t> </a:t>
            </a:r>
            <a:r>
              <a:rPr lang="en-GB" sz="1400" err="1">
                <a:solidFill>
                  <a:srgbClr val="000067"/>
                </a:solidFill>
                <a:latin typeface="Pfizer Diatype Office"/>
              </a:rPr>
              <a:t>çıkmasıyla</a:t>
            </a:r>
            <a:r>
              <a:rPr kumimoji="0" lang="en-GB" sz="1400" b="0" i="0" u="none" strike="noStrike" kern="1200" cap="none" spc="0" normalizeH="0" baseline="0" noProof="0">
                <a:ln>
                  <a:noFill/>
                </a:ln>
                <a:solidFill>
                  <a:srgbClr val="000067"/>
                </a:solidFill>
                <a:effectLst/>
                <a:uLnTx/>
                <a:uFillTx/>
                <a:latin typeface="Pfizer Diatype Office"/>
                <a:ea typeface="+mn-ea"/>
                <a:cs typeface="+mn-cs"/>
              </a:rPr>
              <a:t>, </a:t>
            </a:r>
            <a:r>
              <a:rPr kumimoji="0" lang="en-GB" sz="1400" b="1" i="0" u="none" strike="noStrike" kern="1200" cap="none" spc="0" normalizeH="0" baseline="0" noProof="0" err="1">
                <a:ln>
                  <a:noFill/>
                </a:ln>
                <a:solidFill>
                  <a:srgbClr val="000067"/>
                </a:solidFill>
                <a:effectLst/>
                <a:uLnTx/>
                <a:uFillTx/>
                <a:latin typeface="Pfizer Diatype Office"/>
                <a:ea typeface="+mn-ea"/>
                <a:cs typeface="+mn-cs"/>
              </a:rPr>
              <a:t>küresel</a:t>
            </a:r>
            <a:r>
              <a:rPr kumimoji="0" lang="en-GB" sz="1400" b="1" i="0" u="none" strike="noStrike" kern="1200" cap="none" spc="0" normalizeH="0" baseline="0" noProof="0">
                <a:ln>
                  <a:noFill/>
                </a:ln>
                <a:solidFill>
                  <a:srgbClr val="000067"/>
                </a:solidFill>
                <a:effectLst/>
                <a:uLnTx/>
                <a:uFillTx/>
                <a:latin typeface="Pfizer Diatype Office"/>
                <a:ea typeface="+mn-ea"/>
                <a:cs typeface="+mn-cs"/>
              </a:rPr>
              <a:t> </a:t>
            </a:r>
            <a:r>
              <a:rPr kumimoji="0" lang="en-GB" sz="1400" b="1" i="0" u="none" strike="noStrike" kern="1200" cap="none" spc="0" normalizeH="0" baseline="0" noProof="0" err="1">
                <a:ln>
                  <a:noFill/>
                </a:ln>
                <a:solidFill>
                  <a:srgbClr val="000067"/>
                </a:solidFill>
                <a:effectLst/>
                <a:uLnTx/>
                <a:uFillTx/>
                <a:latin typeface="Pfizer Diatype Office"/>
                <a:ea typeface="+mn-ea"/>
                <a:cs typeface="+mn-cs"/>
              </a:rPr>
              <a:t>popülasyon</a:t>
            </a:r>
            <a:r>
              <a:rPr lang="en-GB" sz="1400">
                <a:solidFill>
                  <a:srgbClr val="000067"/>
                </a:solidFill>
                <a:latin typeface="Pfizer Diatype Office"/>
              </a:rPr>
              <a:t> </a:t>
            </a:r>
            <a:r>
              <a:rPr lang="en-GB" sz="1400" err="1">
                <a:solidFill>
                  <a:srgbClr val="000067"/>
                </a:solidFill>
                <a:latin typeface="Pfizer Diatype Office"/>
              </a:rPr>
              <a:t>ASYE’lere</a:t>
            </a:r>
            <a:r>
              <a:rPr lang="en-GB" sz="1400">
                <a:solidFill>
                  <a:srgbClr val="000067"/>
                </a:solidFill>
                <a:latin typeface="Pfizer Diatype Office"/>
              </a:rPr>
              <a:t> </a:t>
            </a:r>
            <a:r>
              <a:rPr lang="en-GB" sz="1400" err="1">
                <a:solidFill>
                  <a:srgbClr val="000067"/>
                </a:solidFill>
                <a:latin typeface="Pfizer Diatype Office"/>
              </a:rPr>
              <a:t>neden</a:t>
            </a:r>
            <a:r>
              <a:rPr lang="en-GB" sz="1400">
                <a:solidFill>
                  <a:srgbClr val="000067"/>
                </a:solidFill>
                <a:latin typeface="Pfizer Diatype Office"/>
              </a:rPr>
              <a:t> </a:t>
            </a:r>
            <a:r>
              <a:rPr lang="en-GB" sz="1400" err="1">
                <a:solidFill>
                  <a:srgbClr val="000067"/>
                </a:solidFill>
                <a:latin typeface="Pfizer Diatype Office"/>
              </a:rPr>
              <a:t>olan</a:t>
            </a:r>
            <a:r>
              <a:rPr kumimoji="0" lang="en-GB" sz="1400" b="0" i="0" u="none" strike="noStrike" kern="1200" cap="none" spc="0" normalizeH="0" baseline="0" noProof="0">
                <a:ln>
                  <a:noFill/>
                </a:ln>
                <a:solidFill>
                  <a:srgbClr val="000067"/>
                </a:solidFill>
                <a:effectLst/>
                <a:uLnTx/>
                <a:uFillTx/>
                <a:latin typeface="Pfizer Diatype Office"/>
                <a:ea typeface="+mn-ea"/>
                <a:cs typeface="+mn-cs"/>
              </a:rPr>
              <a:t> 3</a:t>
            </a:r>
            <a:r>
              <a:rPr lang="en-GB" sz="1400">
                <a:solidFill>
                  <a:srgbClr val="000067"/>
                </a:solidFill>
                <a:latin typeface="Pfizer Diatype Office"/>
              </a:rPr>
              <a:t> </a:t>
            </a:r>
            <a:r>
              <a:rPr lang="en-GB" sz="1400" err="1">
                <a:solidFill>
                  <a:srgbClr val="000067"/>
                </a:solidFill>
                <a:latin typeface="Pfizer Diatype Office"/>
              </a:rPr>
              <a:t>dolaşım</a:t>
            </a:r>
            <a:r>
              <a:rPr lang="en-GB" sz="1400">
                <a:solidFill>
                  <a:srgbClr val="000067"/>
                </a:solidFill>
                <a:latin typeface="Pfizer Diatype Office"/>
              </a:rPr>
              <a:t> </a:t>
            </a:r>
            <a:r>
              <a:rPr lang="en-GB" sz="1400" err="1">
                <a:solidFill>
                  <a:srgbClr val="000067"/>
                </a:solidFill>
                <a:latin typeface="Pfizer Diatype Office"/>
              </a:rPr>
              <a:t>yolu</a:t>
            </a:r>
            <a:r>
              <a:rPr lang="en-GB" sz="1400">
                <a:solidFill>
                  <a:srgbClr val="000067"/>
                </a:solidFill>
                <a:latin typeface="Pfizer Diatype Office"/>
              </a:rPr>
              <a:t> </a:t>
            </a:r>
            <a:r>
              <a:rPr kumimoji="0" lang="en-GB" sz="1400" b="0" i="0" u="none" strike="noStrike" kern="1200" cap="none" spc="0" normalizeH="0" baseline="0" noProof="0" err="1">
                <a:ln>
                  <a:noFill/>
                </a:ln>
                <a:solidFill>
                  <a:srgbClr val="000067"/>
                </a:solidFill>
                <a:effectLst/>
                <a:uLnTx/>
                <a:uFillTx/>
                <a:latin typeface="Pfizer Diatype Office"/>
                <a:ea typeface="+mn-ea"/>
                <a:cs typeface="+mn-cs"/>
              </a:rPr>
              <a:t>virüsüne</a:t>
            </a:r>
            <a:r>
              <a:rPr kumimoji="0" lang="en-GB" sz="1400" b="0" i="0" u="none" strike="noStrike" kern="1200" cap="none" spc="0" normalizeH="0" baseline="0" noProof="0">
                <a:ln>
                  <a:noFill/>
                </a:ln>
                <a:solidFill>
                  <a:srgbClr val="000067"/>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67"/>
                </a:solidFill>
                <a:effectLst/>
                <a:uLnTx/>
                <a:uFillTx/>
                <a:latin typeface="Pfizer Diatype Office"/>
                <a:ea typeface="+mn-ea"/>
                <a:cs typeface="+mn-cs"/>
              </a:rPr>
              <a:t>maruz</a:t>
            </a:r>
            <a:r>
              <a:rPr lang="en-GB" sz="1400">
                <a:solidFill>
                  <a:srgbClr val="000067"/>
                </a:solidFill>
                <a:latin typeface="Pfizer Diatype Office"/>
              </a:rPr>
              <a:t> </a:t>
            </a:r>
            <a:r>
              <a:rPr lang="en-GB" sz="1400" err="1">
                <a:solidFill>
                  <a:srgbClr val="000067"/>
                </a:solidFill>
                <a:latin typeface="Pfizer Diatype Office"/>
              </a:rPr>
              <a:t>kaldı</a:t>
            </a:r>
            <a:r>
              <a:rPr lang="en-GB" sz="1400">
                <a:solidFill>
                  <a:srgbClr val="000067"/>
                </a:solidFill>
                <a:latin typeface="Pfizer Diatype Office"/>
              </a:rPr>
              <a:t>:</a:t>
            </a:r>
            <a:r>
              <a:rPr kumimoji="0" lang="en-GB" sz="1400" b="0" i="0" u="none" strike="noStrike" kern="1200" cap="none" spc="0" normalizeH="0" baseline="0" noProof="0">
                <a:ln>
                  <a:noFill/>
                </a:ln>
                <a:solidFill>
                  <a:srgbClr val="000067"/>
                </a:solidFill>
                <a:effectLst/>
                <a:uLnTx/>
                <a:uFillTx/>
                <a:latin typeface="Pfizer Diatype Office"/>
                <a:ea typeface="+mn-ea"/>
                <a:cs typeface="+mn-cs"/>
              </a:rPr>
              <a:t> SARS-CoV-2, influenza </a:t>
            </a:r>
            <a:r>
              <a:rPr kumimoji="0" lang="en-GB" sz="1400" b="0" i="0" u="none" strike="noStrike" kern="1200" cap="none" spc="0" normalizeH="0" baseline="0" noProof="0" err="1">
                <a:ln>
                  <a:noFill/>
                </a:ln>
                <a:solidFill>
                  <a:srgbClr val="000067"/>
                </a:solidFill>
                <a:effectLst/>
                <a:uLnTx/>
                <a:uFillTx/>
                <a:latin typeface="Pfizer Diatype Office"/>
                <a:ea typeface="+mn-ea"/>
                <a:cs typeface="+mn-cs"/>
              </a:rPr>
              <a:t>ve</a:t>
            </a:r>
            <a:r>
              <a:rPr kumimoji="0" lang="en-GB" sz="1400" b="0" i="0" u="none" strike="noStrike" kern="1200" cap="none" spc="0" normalizeH="0" baseline="0" noProof="0">
                <a:ln>
                  <a:noFill/>
                </a:ln>
                <a:solidFill>
                  <a:srgbClr val="000067"/>
                </a:solidFill>
                <a:effectLst/>
                <a:uLnTx/>
                <a:uFillTx/>
                <a:latin typeface="Pfizer Diatype Office"/>
                <a:ea typeface="+mn-ea"/>
                <a:cs typeface="+mn-cs"/>
              </a:rPr>
              <a:t> </a:t>
            </a:r>
            <a:r>
              <a:rPr lang="en-GB" sz="1400">
                <a:solidFill>
                  <a:srgbClr val="000067"/>
                </a:solidFill>
              </a:rPr>
              <a:t>RSV</a:t>
            </a:r>
            <a:r>
              <a:rPr lang="en-GB" sz="1400" baseline="30000">
                <a:solidFill>
                  <a:srgbClr val="000067"/>
                </a:solidFill>
              </a:rPr>
              <a:t>2</a:t>
            </a:r>
            <a:endParaRPr kumimoji="0" lang="en-GB" sz="1400" b="0" i="0" u="none" strike="noStrike" kern="1200" cap="none" spc="0" normalizeH="0" baseline="0" noProof="0">
              <a:ln>
                <a:noFill/>
              </a:ln>
              <a:solidFill>
                <a:srgbClr val="000067"/>
              </a:solidFill>
              <a:effectLst/>
              <a:uLnTx/>
              <a:uFillTx/>
              <a:latin typeface="Pfizer Diatype Office"/>
              <a:ea typeface="+mn-ea"/>
              <a:cs typeface="+mn-cs"/>
            </a:endParaRPr>
          </a:p>
        </p:txBody>
      </p:sp>
      <p:sp>
        <p:nvSpPr>
          <p:cNvPr id="74" name="TextBox 73">
            <a:extLst>
              <a:ext uri="{FF2B5EF4-FFF2-40B4-BE49-F238E27FC236}">
                <a16:creationId xmlns:a16="http://schemas.microsoft.com/office/drawing/2014/main" id="{67C9A94A-C4CA-91EA-E489-EF59F6A8864B}"/>
              </a:ext>
            </a:extLst>
          </p:cNvPr>
          <p:cNvSpPr txBox="1"/>
          <p:nvPr/>
        </p:nvSpPr>
        <p:spPr>
          <a:xfrm>
            <a:off x="4674464" y="3027020"/>
            <a:ext cx="6825874" cy="1107996"/>
          </a:xfrm>
          <a:prstGeom prst="rect">
            <a:avLst/>
          </a:prstGeom>
          <a:noFill/>
        </p:spPr>
        <p:txBody>
          <a:bodyPr wrap="square" lIns="0" rIns="0">
            <a:spAutoFit/>
          </a:bodyPr>
          <a:lstStyle/>
          <a:p>
            <a:pPr marL="173736" lvl="3" indent="-173736">
              <a:spcAft>
                <a:spcPts val="600"/>
              </a:spcAft>
              <a:buFont typeface="Arial" panose="020B0604020202020204" pitchFamily="34" charset="0"/>
              <a:buChar char="•"/>
              <a:defRPr/>
            </a:pPr>
            <a:r>
              <a:rPr lang="en-GB" sz="1400">
                <a:solidFill>
                  <a:srgbClr val="000067"/>
                </a:solidFill>
                <a:latin typeface="Pfizer Diatype Office"/>
              </a:rPr>
              <a:t>COVID-19, 2021 </a:t>
            </a:r>
            <a:r>
              <a:rPr lang="en-GB" sz="1400" err="1">
                <a:solidFill>
                  <a:srgbClr val="000067"/>
                </a:solidFill>
                <a:latin typeface="Pfizer Diatype Office"/>
              </a:rPr>
              <a:t>yılında</a:t>
            </a:r>
            <a:r>
              <a:rPr lang="en-GB" sz="1400">
                <a:solidFill>
                  <a:srgbClr val="000067"/>
                </a:solidFill>
                <a:latin typeface="Pfizer Diatype Office"/>
              </a:rPr>
              <a:t> </a:t>
            </a:r>
            <a:r>
              <a:rPr lang="en-GB" sz="1400" err="1">
                <a:solidFill>
                  <a:srgbClr val="000067"/>
                </a:solidFill>
                <a:latin typeface="Pfizer Diatype Office"/>
              </a:rPr>
              <a:t>dünya</a:t>
            </a:r>
            <a:r>
              <a:rPr lang="en-GB" sz="1400">
                <a:solidFill>
                  <a:srgbClr val="000067"/>
                </a:solidFill>
                <a:latin typeface="Pfizer Diatype Office"/>
              </a:rPr>
              <a:t> </a:t>
            </a:r>
            <a:r>
              <a:rPr lang="en-GB" sz="1400" err="1">
                <a:solidFill>
                  <a:srgbClr val="000067"/>
                </a:solidFill>
                <a:latin typeface="Pfizer Diatype Office"/>
              </a:rPr>
              <a:t>genelinde</a:t>
            </a:r>
            <a:r>
              <a:rPr lang="en-GB" sz="1400">
                <a:solidFill>
                  <a:srgbClr val="000067"/>
                </a:solidFill>
                <a:latin typeface="Pfizer Diatype Office"/>
              </a:rPr>
              <a:t> </a:t>
            </a:r>
            <a:r>
              <a:rPr lang="en-GB" sz="1400" err="1">
                <a:solidFill>
                  <a:srgbClr val="000067"/>
                </a:solidFill>
                <a:latin typeface="Pfizer Diatype Office"/>
              </a:rPr>
              <a:t>yaklaşık</a:t>
            </a:r>
            <a:r>
              <a:rPr lang="en-GB" sz="1400">
                <a:solidFill>
                  <a:srgbClr val="000067"/>
                </a:solidFill>
                <a:latin typeface="Pfizer Diatype Office"/>
              </a:rPr>
              <a:t> 7,89 </a:t>
            </a:r>
            <a:r>
              <a:rPr lang="en-GB" sz="1400" err="1">
                <a:solidFill>
                  <a:srgbClr val="000067"/>
                </a:solidFill>
                <a:latin typeface="Pfizer Diatype Office"/>
              </a:rPr>
              <a:t>milyon</a:t>
            </a:r>
            <a:r>
              <a:rPr lang="en-GB" sz="1400">
                <a:solidFill>
                  <a:srgbClr val="000067"/>
                </a:solidFill>
                <a:latin typeface="Pfizer Diatype Office"/>
              </a:rPr>
              <a:t> can </a:t>
            </a:r>
            <a:r>
              <a:rPr lang="en-GB" sz="1400" err="1">
                <a:solidFill>
                  <a:srgbClr val="000067"/>
                </a:solidFill>
                <a:latin typeface="Pfizer Diatype Office"/>
              </a:rPr>
              <a:t>kaybına</a:t>
            </a:r>
            <a:r>
              <a:rPr lang="en-GB" sz="1400">
                <a:solidFill>
                  <a:srgbClr val="000067"/>
                </a:solidFill>
                <a:latin typeface="Pfizer Diatype Office"/>
              </a:rPr>
              <a:t> </a:t>
            </a:r>
            <a:r>
              <a:rPr lang="en-GB" sz="1400" err="1">
                <a:solidFill>
                  <a:srgbClr val="000067"/>
                </a:solidFill>
                <a:latin typeface="Pfizer Diatype Office"/>
              </a:rPr>
              <a:t>sebep</a:t>
            </a:r>
            <a:r>
              <a:rPr lang="en-GB" sz="1400">
                <a:solidFill>
                  <a:srgbClr val="000067"/>
                </a:solidFill>
                <a:latin typeface="Pfizer Diatype Office"/>
              </a:rPr>
              <a:t> </a:t>
            </a:r>
          </a:p>
          <a:p>
            <a:pPr marL="0" lvl="3">
              <a:spcAft>
                <a:spcPts val="600"/>
              </a:spcAft>
              <a:defRPr/>
            </a:pPr>
            <a:r>
              <a:rPr lang="en-GB" sz="1400" err="1">
                <a:solidFill>
                  <a:srgbClr val="000067"/>
                </a:solidFill>
                <a:latin typeface="Pfizer Diatype Office"/>
              </a:rPr>
              <a:t>oldu</a:t>
            </a:r>
            <a:r>
              <a:rPr lang="en-GB" sz="1400">
                <a:solidFill>
                  <a:srgbClr val="000067"/>
                </a:solidFill>
                <a:latin typeface="Pfizer Diatype Office"/>
              </a:rPr>
              <a:t>.</a:t>
            </a:r>
            <a:r>
              <a:rPr lang="en-GB" sz="1400" baseline="30000">
                <a:solidFill>
                  <a:srgbClr val="000067"/>
                </a:solidFill>
              </a:rPr>
              <a:t> 4</a:t>
            </a:r>
            <a:endParaRPr lang="en-GB" sz="1400">
              <a:solidFill>
                <a:srgbClr val="000067"/>
              </a:solidFill>
              <a:latin typeface="Pfizer Diatype Office"/>
            </a:endParaRPr>
          </a:p>
          <a:p>
            <a:pPr marL="173736" lvl="3" indent="-173736">
              <a:spcAft>
                <a:spcPts val="600"/>
              </a:spcAft>
              <a:buFont typeface="Arial" panose="020B0604020202020204" pitchFamily="34" charset="0"/>
              <a:buChar char="•"/>
              <a:defRPr/>
            </a:pPr>
            <a:r>
              <a:rPr lang="en-GB" sz="1400">
                <a:solidFill>
                  <a:srgbClr val="000067"/>
                </a:solidFill>
                <a:latin typeface="Pfizer Diatype Office"/>
              </a:rPr>
              <a:t>2021 </a:t>
            </a:r>
            <a:r>
              <a:rPr lang="en-GB" sz="1400" err="1">
                <a:solidFill>
                  <a:srgbClr val="000067"/>
                </a:solidFill>
                <a:latin typeface="Pfizer Diatype Office"/>
              </a:rPr>
              <a:t>yılında</a:t>
            </a:r>
            <a:r>
              <a:rPr lang="en-GB" sz="1400">
                <a:solidFill>
                  <a:srgbClr val="000067"/>
                </a:solidFill>
                <a:latin typeface="Pfizer Diatype Office"/>
              </a:rPr>
              <a:t>, influenza </a:t>
            </a:r>
            <a:r>
              <a:rPr lang="en-GB" sz="1400" err="1">
                <a:solidFill>
                  <a:srgbClr val="000067"/>
                </a:solidFill>
                <a:latin typeface="Pfizer Diatype Office"/>
              </a:rPr>
              <a:t>ve</a:t>
            </a:r>
            <a:r>
              <a:rPr lang="en-GB" sz="1400">
                <a:solidFill>
                  <a:srgbClr val="000067"/>
                </a:solidFill>
                <a:latin typeface="Pfizer Diatype Office"/>
              </a:rPr>
              <a:t> RSV, </a:t>
            </a:r>
            <a:r>
              <a:rPr lang="en-GB" sz="1400" err="1">
                <a:solidFill>
                  <a:srgbClr val="000067"/>
                </a:solidFill>
                <a:latin typeface="Pfizer Diatype Office"/>
              </a:rPr>
              <a:t>dünya</a:t>
            </a:r>
            <a:r>
              <a:rPr lang="en-GB" sz="1400">
                <a:solidFill>
                  <a:srgbClr val="000067"/>
                </a:solidFill>
                <a:latin typeface="Pfizer Diatype Office"/>
              </a:rPr>
              <a:t> </a:t>
            </a:r>
            <a:r>
              <a:rPr lang="en-GB" sz="1400" err="1">
                <a:solidFill>
                  <a:srgbClr val="000067"/>
                </a:solidFill>
                <a:latin typeface="Pfizer Diatype Office"/>
              </a:rPr>
              <a:t>genelinde</a:t>
            </a:r>
            <a:r>
              <a:rPr lang="en-GB" sz="1400">
                <a:solidFill>
                  <a:srgbClr val="000067"/>
                </a:solidFill>
                <a:latin typeface="Pfizer Diatype Office"/>
              </a:rPr>
              <a:t> </a:t>
            </a:r>
            <a:r>
              <a:rPr lang="en-GB" sz="1400" err="1">
                <a:solidFill>
                  <a:srgbClr val="000067"/>
                </a:solidFill>
                <a:latin typeface="Pfizer Diatype Office"/>
              </a:rPr>
              <a:t>tüm</a:t>
            </a:r>
            <a:r>
              <a:rPr lang="en-GB" sz="1400">
                <a:solidFill>
                  <a:srgbClr val="000067"/>
                </a:solidFill>
                <a:latin typeface="Pfizer Diatype Office"/>
              </a:rPr>
              <a:t> </a:t>
            </a:r>
            <a:r>
              <a:rPr lang="en-GB" sz="1400" err="1">
                <a:solidFill>
                  <a:srgbClr val="000067"/>
                </a:solidFill>
                <a:latin typeface="Pfizer Diatype Office"/>
              </a:rPr>
              <a:t>yaş</a:t>
            </a:r>
            <a:r>
              <a:rPr lang="en-GB" sz="1400">
                <a:solidFill>
                  <a:srgbClr val="000067"/>
                </a:solidFill>
                <a:latin typeface="Pfizer Diatype Office"/>
              </a:rPr>
              <a:t> </a:t>
            </a:r>
            <a:r>
              <a:rPr lang="en-GB" sz="1400" err="1">
                <a:solidFill>
                  <a:srgbClr val="000067"/>
                </a:solidFill>
                <a:latin typeface="Pfizer Diatype Office"/>
              </a:rPr>
              <a:t>gruplarında</a:t>
            </a:r>
            <a:r>
              <a:rPr lang="en-GB" sz="1400">
                <a:solidFill>
                  <a:srgbClr val="000067"/>
                </a:solidFill>
                <a:latin typeface="Pfizer Diatype Office"/>
              </a:rPr>
              <a:t> </a:t>
            </a:r>
            <a:r>
              <a:rPr lang="en-GB" sz="1400" err="1">
                <a:solidFill>
                  <a:srgbClr val="000067"/>
                </a:solidFill>
                <a:latin typeface="Pfizer Diatype Office"/>
              </a:rPr>
              <a:t>yaklaşık</a:t>
            </a:r>
            <a:r>
              <a:rPr lang="en-GB" sz="1400">
                <a:solidFill>
                  <a:srgbClr val="000067"/>
                </a:solidFill>
                <a:latin typeface="Pfizer Diatype Office"/>
              </a:rPr>
              <a:t> 98.200 </a:t>
            </a:r>
            <a:r>
              <a:rPr lang="en-GB" sz="1400" err="1">
                <a:solidFill>
                  <a:srgbClr val="000067"/>
                </a:solidFill>
                <a:latin typeface="Pfizer Diatype Office"/>
              </a:rPr>
              <a:t>ve</a:t>
            </a:r>
            <a:r>
              <a:rPr lang="en-GB" sz="1400">
                <a:solidFill>
                  <a:srgbClr val="000067"/>
                </a:solidFill>
                <a:latin typeface="Pfizer Diatype Office"/>
              </a:rPr>
              <a:t> 31.500‡ can </a:t>
            </a:r>
            <a:r>
              <a:rPr lang="en-GB" sz="1400" err="1">
                <a:solidFill>
                  <a:srgbClr val="000067"/>
                </a:solidFill>
                <a:latin typeface="Pfizer Diatype Office"/>
              </a:rPr>
              <a:t>kaybına</a:t>
            </a:r>
            <a:r>
              <a:rPr lang="en-GB" sz="1400">
                <a:solidFill>
                  <a:srgbClr val="000067"/>
                </a:solidFill>
                <a:latin typeface="Pfizer Diatype Office"/>
              </a:rPr>
              <a:t> </a:t>
            </a:r>
            <a:r>
              <a:rPr lang="en-GB" sz="1400" err="1">
                <a:solidFill>
                  <a:srgbClr val="000067"/>
                </a:solidFill>
                <a:latin typeface="Pfizer Diatype Office"/>
              </a:rPr>
              <a:t>sebep</a:t>
            </a:r>
            <a:r>
              <a:rPr lang="en-GB" sz="1400">
                <a:solidFill>
                  <a:srgbClr val="000067"/>
                </a:solidFill>
                <a:latin typeface="Pfizer Diatype Office"/>
              </a:rPr>
              <a:t> </a:t>
            </a:r>
            <a:r>
              <a:rPr lang="en-GB" sz="1400" err="1">
                <a:solidFill>
                  <a:srgbClr val="000067"/>
                </a:solidFill>
                <a:latin typeface="Pfizer Diatype Office"/>
              </a:rPr>
              <a:t>oldu</a:t>
            </a:r>
            <a:r>
              <a:rPr lang="en-GB" sz="1400">
                <a:solidFill>
                  <a:srgbClr val="000067"/>
                </a:solidFill>
                <a:latin typeface="Pfizer Diatype Office"/>
              </a:rPr>
              <a:t>.</a:t>
            </a:r>
            <a:r>
              <a:rPr kumimoji="0" lang="en-GB" sz="1400" b="0" i="0" u="none" strike="noStrike" kern="1200" cap="none" spc="0" normalizeH="0" baseline="30000" noProof="0">
                <a:ln>
                  <a:noFill/>
                </a:ln>
                <a:solidFill>
                  <a:srgbClr val="000067"/>
                </a:solidFill>
                <a:effectLst/>
                <a:uLnTx/>
                <a:uFillTx/>
                <a:latin typeface="Pfizer Diatype Office"/>
                <a:ea typeface="+mn-ea"/>
                <a:cs typeface="+mn-cs"/>
              </a:rPr>
              <a:t>3</a:t>
            </a:r>
          </a:p>
        </p:txBody>
      </p:sp>
    </p:spTree>
    <p:extLst>
      <p:ext uri="{BB962C8B-B14F-4D97-AF65-F5344CB8AC3E}">
        <p14:creationId xmlns:p14="http://schemas.microsoft.com/office/powerpoint/2010/main" val="22841966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04631-5790-68AE-26FF-17728D7016BF}"/>
              </a:ext>
            </a:extLst>
          </p:cNvPr>
          <p:cNvSpPr>
            <a:spLocks noGrp="1"/>
          </p:cNvSpPr>
          <p:nvPr>
            <p:ph type="title"/>
          </p:nvPr>
        </p:nvSpPr>
        <p:spPr/>
        <p:txBody>
          <a:bodyPr/>
          <a:lstStyle/>
          <a:p>
            <a:r>
              <a:rPr lang="en-US" b="1" i="1">
                <a:cs typeface="Calibri" panose="020F0502020204030204" pitchFamily="34" charset="0"/>
              </a:rPr>
              <a:t>Streptococcus</a:t>
            </a:r>
            <a:r>
              <a:rPr lang="tr-TR" b="1" i="1">
                <a:cs typeface="Calibri" panose="020F0502020204030204" pitchFamily="34" charset="0"/>
              </a:rPr>
              <a:t> </a:t>
            </a:r>
            <a:r>
              <a:rPr lang="en-US" b="1" i="1">
                <a:cs typeface="Calibri" panose="020F0502020204030204" pitchFamily="34" charset="0"/>
              </a:rPr>
              <a:t>pneumoniae</a:t>
            </a:r>
            <a:r>
              <a:rPr lang="tr-TR" b="1">
                <a:cs typeface="Calibri" panose="020F0502020204030204" pitchFamily="34" charset="0"/>
              </a:rPr>
              <a:t>, </a:t>
            </a:r>
            <a:r>
              <a:rPr lang="en-US" b="1" err="1">
                <a:cs typeface="Calibri" panose="020F0502020204030204" pitchFamily="34" charset="0"/>
              </a:rPr>
              <a:t>toplumda</a:t>
            </a:r>
            <a:r>
              <a:rPr lang="en-US" b="1">
                <a:cs typeface="Calibri" panose="020F0502020204030204" pitchFamily="34" charset="0"/>
              </a:rPr>
              <a:t> </a:t>
            </a:r>
            <a:r>
              <a:rPr lang="en-US" b="1" err="1">
                <a:cs typeface="Calibri" panose="020F0502020204030204" pitchFamily="34" charset="0"/>
              </a:rPr>
              <a:t>gelişen</a:t>
            </a:r>
            <a:r>
              <a:rPr lang="en-US" b="1">
                <a:cs typeface="Calibri" panose="020F0502020204030204" pitchFamily="34" charset="0"/>
              </a:rPr>
              <a:t> </a:t>
            </a:r>
            <a:r>
              <a:rPr lang="en-US" b="1" err="1">
                <a:cs typeface="Calibri" panose="020F0502020204030204" pitchFamily="34" charset="0"/>
              </a:rPr>
              <a:t>pnömoni</a:t>
            </a:r>
            <a:r>
              <a:rPr lang="tr-TR" b="1">
                <a:cs typeface="Calibri" panose="020F0502020204030204" pitchFamily="34" charset="0"/>
              </a:rPr>
              <a:t>de</a:t>
            </a:r>
            <a:r>
              <a:rPr lang="en-US" b="1">
                <a:cs typeface="Calibri" panose="020F0502020204030204" pitchFamily="34" charset="0"/>
              </a:rPr>
              <a:t> (TGP)</a:t>
            </a:r>
            <a:r>
              <a:rPr lang="tr-TR" b="1">
                <a:cs typeface="Calibri" panose="020F0502020204030204" pitchFamily="34" charset="0"/>
              </a:rPr>
              <a:t> en sık izole edilen patojendir.</a:t>
            </a:r>
            <a:r>
              <a:rPr lang="en-US" b="1" baseline="30000">
                <a:cs typeface="Calibri" panose="020F0502020204030204" pitchFamily="34" charset="0"/>
              </a:rPr>
              <a:t>1,2 </a:t>
            </a:r>
            <a:endParaRPr lang="tr-TR"/>
          </a:p>
        </p:txBody>
      </p:sp>
      <p:sp>
        <p:nvSpPr>
          <p:cNvPr id="3" name="Slide Number Placeholder 2">
            <a:extLst>
              <a:ext uri="{FF2B5EF4-FFF2-40B4-BE49-F238E27FC236}">
                <a16:creationId xmlns:a16="http://schemas.microsoft.com/office/drawing/2014/main" id="{90182D71-96AF-C7C8-2ABF-7CB9CC066AF3}"/>
              </a:ext>
            </a:extLst>
          </p:cNvPr>
          <p:cNvSpPr>
            <a:spLocks noGrp="1"/>
          </p:cNvSpPr>
          <p:nvPr>
            <p:ph type="sldNum" sz="quarter" idx="4"/>
          </p:nvPr>
        </p:nvSpPr>
        <p:spPr/>
        <p:txBody>
          <a:bodyPr/>
          <a:lstStyle/>
          <a:p>
            <a:fld id="{03074DEF-F175-4420-8EE3-137377F9872B}" type="slidenum">
              <a:rPr lang="en-US" smtClean="0"/>
              <a:pPr/>
              <a:t>40</a:t>
            </a:fld>
            <a:endParaRPr lang="en-US"/>
          </a:p>
        </p:txBody>
      </p:sp>
      <p:sp>
        <p:nvSpPr>
          <p:cNvPr id="5" name="Title 1">
            <a:extLst>
              <a:ext uri="{FF2B5EF4-FFF2-40B4-BE49-F238E27FC236}">
                <a16:creationId xmlns:a16="http://schemas.microsoft.com/office/drawing/2014/main" id="{8E268E62-CE90-2E0D-CE71-749345CD6326}"/>
              </a:ext>
            </a:extLst>
          </p:cNvPr>
          <p:cNvSpPr txBox="1">
            <a:spLocks/>
          </p:cNvSpPr>
          <p:nvPr/>
        </p:nvSpPr>
        <p:spPr>
          <a:xfrm>
            <a:off x="508484" y="340241"/>
            <a:ext cx="11175032" cy="778098"/>
          </a:xfrm>
          <a:prstGeom prst="rect">
            <a:avLst/>
          </a:prstGeom>
        </p:spPr>
        <p:txBody>
          <a:bodyPr vert="horz" lIns="91440" tIns="45720" rIns="91440" bIns="0" rtlCol="0" anchor="ctr">
            <a:noAutofit/>
          </a:bodyPr>
          <a:lstStyle>
            <a:lvl1pPr algn="l" defTabSz="914400" rtl="0" eaLnBrk="1" latinLnBrk="0" hangingPunct="1">
              <a:lnSpc>
                <a:spcPct val="90000"/>
              </a:lnSpc>
              <a:spcBef>
                <a:spcPct val="0"/>
              </a:spcBef>
              <a:buNone/>
              <a:defRPr sz="2800" kern="1200">
                <a:solidFill>
                  <a:schemeClr val="bg1"/>
                </a:solidFill>
                <a:latin typeface="+mj-lt"/>
                <a:ea typeface="+mj-ea"/>
                <a:cs typeface="+mj-cs"/>
              </a:defRPr>
            </a:lvl1pPr>
          </a:lstStyle>
          <a:p>
            <a:endParaRPr lang="en-US" sz="2600" b="1">
              <a:solidFill>
                <a:srgbClr val="002060"/>
              </a:solidFill>
              <a:cs typeface="Calibri" panose="020F0502020204030204" pitchFamily="34" charset="0"/>
            </a:endParaRPr>
          </a:p>
        </p:txBody>
      </p:sp>
      <p:sp>
        <p:nvSpPr>
          <p:cNvPr id="6" name="Content Placeholder 3">
            <a:extLst>
              <a:ext uri="{FF2B5EF4-FFF2-40B4-BE49-F238E27FC236}">
                <a16:creationId xmlns:a16="http://schemas.microsoft.com/office/drawing/2014/main" id="{AC6F83D7-3E8C-4CE4-FD6E-5ECC253EEC84}"/>
              </a:ext>
            </a:extLst>
          </p:cNvPr>
          <p:cNvSpPr txBox="1">
            <a:spLocks/>
          </p:cNvSpPr>
          <p:nvPr/>
        </p:nvSpPr>
        <p:spPr>
          <a:xfrm>
            <a:off x="583940" y="5477351"/>
            <a:ext cx="11175032" cy="431757"/>
          </a:xfrm>
          <a:prstGeom prst="rect">
            <a:avLst/>
          </a:prstGeom>
          <a:noFill/>
          <a:ln w="1905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defTabSz="457200">
              <a:buFont typeface="Arial" panose="020B0604020202020204" pitchFamily="34" charset="0"/>
              <a:buNone/>
            </a:pPr>
            <a:r>
              <a:rPr lang="en-US" sz="1800" b="1" i="1" dirty="0">
                <a:solidFill>
                  <a:srgbClr val="C00000"/>
                </a:solidFill>
              </a:rPr>
              <a:t>S. pneumoniae</a:t>
            </a:r>
            <a:r>
              <a:rPr lang="tr-TR" sz="1800" dirty="0">
                <a:solidFill>
                  <a:srgbClr val="C00000"/>
                </a:solidFill>
              </a:rPr>
              <a:t>,</a:t>
            </a:r>
            <a:r>
              <a:rPr lang="en-US" sz="1800" dirty="0">
                <a:solidFill>
                  <a:srgbClr val="C00000"/>
                </a:solidFill>
              </a:rPr>
              <a:t> </a:t>
            </a:r>
            <a:r>
              <a:rPr lang="tr-TR" sz="1800" dirty="0">
                <a:solidFill>
                  <a:srgbClr val="C00000"/>
                </a:solidFill>
              </a:rPr>
              <a:t>hastane, yoğun bakım üniteleri ve polikliniklerde</a:t>
            </a:r>
            <a:r>
              <a:rPr lang="en-US" sz="1800" dirty="0">
                <a:solidFill>
                  <a:srgbClr val="C00000"/>
                </a:solidFill>
              </a:rPr>
              <a:t>ki</a:t>
            </a:r>
            <a:r>
              <a:rPr lang="tr-TR" sz="1800" dirty="0">
                <a:solidFill>
                  <a:srgbClr val="C00000"/>
                </a:solidFill>
              </a:rPr>
              <a:t> </a:t>
            </a:r>
            <a:r>
              <a:rPr lang="tr-TR" sz="1800" b="1" dirty="0">
                <a:solidFill>
                  <a:srgbClr val="C00000"/>
                </a:solidFill>
              </a:rPr>
              <a:t>T</a:t>
            </a:r>
            <a:r>
              <a:rPr lang="en-US" sz="1800" b="1" dirty="0">
                <a:solidFill>
                  <a:srgbClr val="C00000"/>
                </a:solidFill>
              </a:rPr>
              <a:t>G</a:t>
            </a:r>
            <a:r>
              <a:rPr lang="tr-TR" sz="1800" b="1" dirty="0">
                <a:solidFill>
                  <a:srgbClr val="C00000"/>
                </a:solidFill>
              </a:rPr>
              <a:t>P</a:t>
            </a:r>
            <a:r>
              <a:rPr lang="tr-TR" sz="1800" dirty="0">
                <a:solidFill>
                  <a:srgbClr val="C00000"/>
                </a:solidFill>
              </a:rPr>
              <a:t> hastalarında </a:t>
            </a:r>
            <a:r>
              <a:rPr lang="tr-TR" sz="1800" b="1" dirty="0">
                <a:solidFill>
                  <a:srgbClr val="C00000"/>
                </a:solidFill>
              </a:rPr>
              <a:t>en sık izole edilen patojen</a:t>
            </a:r>
            <a:r>
              <a:rPr lang="tr-TR" sz="1800" dirty="0">
                <a:solidFill>
                  <a:srgbClr val="C00000"/>
                </a:solidFill>
              </a:rPr>
              <a:t>dir.</a:t>
            </a:r>
            <a:r>
              <a:rPr lang="en-US" sz="1800" baseline="30000" dirty="0">
                <a:solidFill>
                  <a:srgbClr val="C00000"/>
                </a:solidFill>
              </a:rPr>
              <a:t>1,2</a:t>
            </a:r>
            <a:r>
              <a:rPr lang="en-US" sz="1800" dirty="0">
                <a:solidFill>
                  <a:srgbClr val="C00000"/>
                </a:solidFill>
              </a:rPr>
              <a:t> </a:t>
            </a:r>
          </a:p>
        </p:txBody>
      </p:sp>
      <p:sp>
        <p:nvSpPr>
          <p:cNvPr id="7" name="Rectangle 6">
            <a:extLst>
              <a:ext uri="{FF2B5EF4-FFF2-40B4-BE49-F238E27FC236}">
                <a16:creationId xmlns:a16="http://schemas.microsoft.com/office/drawing/2014/main" id="{99D5FF53-9EEE-6CD7-6210-8F9663F44BD6}"/>
              </a:ext>
            </a:extLst>
          </p:cNvPr>
          <p:cNvSpPr/>
          <p:nvPr/>
        </p:nvSpPr>
        <p:spPr>
          <a:xfrm>
            <a:off x="3529372" y="1094414"/>
            <a:ext cx="8229600" cy="431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457200">
              <a:lnSpc>
                <a:spcPct val="90000"/>
              </a:lnSpc>
            </a:pPr>
            <a:r>
              <a:rPr lang="tr-TR" b="1">
                <a:solidFill>
                  <a:schemeClr val="tx1"/>
                </a:solidFill>
              </a:rPr>
              <a:t>Avrupa’da T</a:t>
            </a:r>
            <a:r>
              <a:rPr lang="en-US" b="1">
                <a:solidFill>
                  <a:schemeClr val="tx1"/>
                </a:solidFill>
              </a:rPr>
              <a:t>G</a:t>
            </a:r>
            <a:r>
              <a:rPr lang="tr-TR" b="1">
                <a:solidFill>
                  <a:schemeClr val="tx1"/>
                </a:solidFill>
              </a:rPr>
              <a:t>P’ye neden olan organizmaların görülme sıklığı</a:t>
            </a:r>
            <a:r>
              <a:rPr lang="en-US" b="1">
                <a:solidFill>
                  <a:schemeClr val="tx1"/>
                </a:solidFill>
              </a:rPr>
              <a:t>, 1990–2009</a:t>
            </a:r>
            <a:r>
              <a:rPr lang="en-US" b="1" baseline="30000">
                <a:solidFill>
                  <a:schemeClr val="tx1"/>
                </a:solidFill>
              </a:rPr>
              <a:t>1</a:t>
            </a:r>
          </a:p>
        </p:txBody>
      </p:sp>
      <p:sp>
        <p:nvSpPr>
          <p:cNvPr id="8" name="AutoShape 14">
            <a:extLst>
              <a:ext uri="{FF2B5EF4-FFF2-40B4-BE49-F238E27FC236}">
                <a16:creationId xmlns:a16="http://schemas.microsoft.com/office/drawing/2014/main" id="{D3E081FB-538A-44F1-8E48-AC4D0480C939}"/>
              </a:ext>
            </a:extLst>
          </p:cNvPr>
          <p:cNvSpPr>
            <a:spLocks noChangeArrowheads="1"/>
          </p:cNvSpPr>
          <p:nvPr/>
        </p:nvSpPr>
        <p:spPr bwMode="gray">
          <a:xfrm rot="5400000" flipV="1">
            <a:off x="1803731" y="2593248"/>
            <a:ext cx="2914846" cy="1061178"/>
          </a:xfrm>
          <a:prstGeom prst="triangle">
            <a:avLst>
              <a:gd name="adj" fmla="val 50000"/>
            </a:avLst>
          </a:prstGeom>
          <a:gradFill>
            <a:gsLst>
              <a:gs pos="0">
                <a:schemeClr val="accent1"/>
              </a:gs>
              <a:gs pos="100000">
                <a:schemeClr val="accent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137160" tIns="274320" rIns="137160" bIns="137160" rtlCol="0" anchor="t" anchorCtr="0">
            <a:noAutofit/>
          </a:bodyPr>
          <a:lstStyle/>
          <a:p>
            <a:pPr marL="233363" indent="-233363" defTabSz="457200">
              <a:lnSpc>
                <a:spcPct val="90000"/>
              </a:lnSpc>
              <a:spcBef>
                <a:spcPts val="1200"/>
              </a:spcBef>
              <a:buClr>
                <a:srgbClr val="008B95"/>
              </a:buClr>
              <a:buSzPct val="100000"/>
              <a:buFont typeface="Wingdings 2" pitchFamily="18" charset="2"/>
              <a:buChar char=""/>
            </a:pPr>
            <a:endParaRPr lang="en-US">
              <a:solidFill>
                <a:prstClr val="white"/>
              </a:solidFill>
            </a:endParaRPr>
          </a:p>
        </p:txBody>
      </p:sp>
      <p:graphicFrame>
        <p:nvGraphicFramePr>
          <p:cNvPr id="9" name="Content Placeholder 3">
            <a:extLst>
              <a:ext uri="{FF2B5EF4-FFF2-40B4-BE49-F238E27FC236}">
                <a16:creationId xmlns:a16="http://schemas.microsoft.com/office/drawing/2014/main" id="{993EFAD7-F625-8EC1-98B5-B7ED06D78762}"/>
              </a:ext>
            </a:extLst>
          </p:cNvPr>
          <p:cNvGraphicFramePr>
            <a:graphicFrameLocks/>
          </p:cNvGraphicFramePr>
          <p:nvPr/>
        </p:nvGraphicFramePr>
        <p:xfrm>
          <a:off x="977025" y="1544344"/>
          <a:ext cx="2251052" cy="2324808"/>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a:extLst>
              <a:ext uri="{FF2B5EF4-FFF2-40B4-BE49-F238E27FC236}">
                <a16:creationId xmlns:a16="http://schemas.microsoft.com/office/drawing/2014/main" id="{DD096E26-84F9-C179-4308-60F6670425A2}"/>
              </a:ext>
            </a:extLst>
          </p:cNvPr>
          <p:cNvSpPr/>
          <p:nvPr/>
        </p:nvSpPr>
        <p:spPr>
          <a:xfrm>
            <a:off x="1269267" y="2396355"/>
            <a:ext cx="800236" cy="618631"/>
          </a:xfrm>
          <a:prstGeom prst="rect">
            <a:avLst/>
          </a:prstGeom>
        </p:spPr>
        <p:txBody>
          <a:bodyPr wrap="square" lIns="18288" tIns="18288" rIns="18288" bIns="18288" anchor="ctr">
            <a:spAutoFit/>
          </a:bodyPr>
          <a:lstStyle/>
          <a:p>
            <a:pPr algn="ctr" defTabSz="457200">
              <a:lnSpc>
                <a:spcPct val="90000"/>
              </a:lnSpc>
            </a:pPr>
            <a:r>
              <a:rPr lang="tr-TR" sz="1400" b="1" dirty="0">
                <a:solidFill>
                  <a:prstClr val="black"/>
                </a:solidFill>
              </a:rPr>
              <a:t>Patojen tespit edilmedi</a:t>
            </a:r>
            <a:endParaRPr lang="en-US" sz="1400" b="1" dirty="0">
              <a:solidFill>
                <a:prstClr val="black"/>
              </a:solidFill>
            </a:endParaRPr>
          </a:p>
        </p:txBody>
      </p:sp>
      <p:sp>
        <p:nvSpPr>
          <p:cNvPr id="11" name="Rectangle 10">
            <a:extLst>
              <a:ext uri="{FF2B5EF4-FFF2-40B4-BE49-F238E27FC236}">
                <a16:creationId xmlns:a16="http://schemas.microsoft.com/office/drawing/2014/main" id="{B7DB3F91-1421-7D6A-971A-A5CC53AA06DC}"/>
              </a:ext>
            </a:extLst>
          </p:cNvPr>
          <p:cNvSpPr/>
          <p:nvPr/>
        </p:nvSpPr>
        <p:spPr>
          <a:xfrm>
            <a:off x="2162019" y="2276710"/>
            <a:ext cx="806828" cy="618631"/>
          </a:xfrm>
          <a:prstGeom prst="rect">
            <a:avLst/>
          </a:prstGeom>
        </p:spPr>
        <p:txBody>
          <a:bodyPr wrap="square" lIns="18288" tIns="18288" rIns="18288" bIns="18288" anchor="ctr">
            <a:spAutoFit/>
          </a:bodyPr>
          <a:lstStyle/>
          <a:p>
            <a:pPr algn="ctr" defTabSz="457200">
              <a:lnSpc>
                <a:spcPct val="90000"/>
              </a:lnSpc>
            </a:pPr>
            <a:r>
              <a:rPr lang="tr-TR" sz="1400" b="1">
                <a:solidFill>
                  <a:prstClr val="white"/>
                </a:solidFill>
              </a:rPr>
              <a:t>Patojen tespit edildi.</a:t>
            </a:r>
            <a:endParaRPr lang="en-US" sz="1400" b="1">
              <a:solidFill>
                <a:prstClr val="white"/>
              </a:solidFill>
            </a:endParaRPr>
          </a:p>
        </p:txBody>
      </p:sp>
      <p:graphicFrame>
        <p:nvGraphicFramePr>
          <p:cNvPr id="12" name="Table 11">
            <a:extLst>
              <a:ext uri="{FF2B5EF4-FFF2-40B4-BE49-F238E27FC236}">
                <a16:creationId xmlns:a16="http://schemas.microsoft.com/office/drawing/2014/main" id="{61001F71-B45A-32EE-BC95-B1DEDA739C45}"/>
              </a:ext>
            </a:extLst>
          </p:cNvPr>
          <p:cNvGraphicFramePr>
            <a:graphicFrameLocks noGrp="1"/>
          </p:cNvGraphicFramePr>
          <p:nvPr/>
        </p:nvGraphicFramePr>
        <p:xfrm>
          <a:off x="2073716" y="1728200"/>
          <a:ext cx="3756825" cy="2853060"/>
        </p:xfrm>
        <a:graphic>
          <a:graphicData uri="http://schemas.openxmlformats.org/drawingml/2006/table">
            <a:tbl>
              <a:tblPr/>
              <a:tblGrid>
                <a:gridCol w="3756825">
                  <a:extLst>
                    <a:ext uri="{9D8B030D-6E8A-4147-A177-3AD203B41FA5}">
                      <a16:colId xmlns:a16="http://schemas.microsoft.com/office/drawing/2014/main" val="20000"/>
                    </a:ext>
                  </a:extLst>
                </a:gridCol>
              </a:tblGrid>
              <a:tr h="218517">
                <a:tc>
                  <a:txBody>
                    <a:bodyPr/>
                    <a:lstStyle/>
                    <a:p>
                      <a:pPr algn="r" fontAlgn="b">
                        <a:lnSpc>
                          <a:spcPct val="96000"/>
                        </a:lnSpc>
                      </a:pPr>
                      <a:r>
                        <a:rPr lang="en-US" sz="1700" b="1" i="1" u="none" strike="noStrike">
                          <a:solidFill>
                            <a:srgbClr val="000000"/>
                          </a:solidFill>
                          <a:effectLst/>
                          <a:latin typeface="+mn-lt"/>
                        </a:rPr>
                        <a:t>S. pneumoniae</a:t>
                      </a:r>
                    </a:p>
                  </a:txBody>
                  <a:tcPr marL="45720" marR="45720" marT="18288" marB="18288" anchor="ctr">
                    <a:lnL w="635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18517">
                <a:tc>
                  <a:txBody>
                    <a:bodyPr/>
                    <a:lstStyle/>
                    <a:p>
                      <a:pPr algn="r" fontAlgn="b">
                        <a:lnSpc>
                          <a:spcPct val="96000"/>
                        </a:lnSpc>
                      </a:pPr>
                      <a:r>
                        <a:rPr lang="en-US" sz="1700" b="0" i="1" u="none" strike="noStrike" err="1">
                          <a:solidFill>
                            <a:srgbClr val="000000"/>
                          </a:solidFill>
                          <a:effectLst/>
                          <a:latin typeface="+mn-lt"/>
                        </a:rPr>
                        <a:t>Haemophilus</a:t>
                      </a:r>
                      <a:r>
                        <a:rPr lang="en-US" sz="1700" b="0" i="1" u="none" strike="noStrike">
                          <a:solidFill>
                            <a:srgbClr val="000000"/>
                          </a:solidFill>
                          <a:effectLst/>
                          <a:latin typeface="+mn-lt"/>
                        </a:rPr>
                        <a:t> influenzae</a:t>
                      </a:r>
                    </a:p>
                  </a:txBody>
                  <a:tcPr marL="45720" marR="45720" marT="18288" marB="18288"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18517">
                <a:tc>
                  <a:txBody>
                    <a:bodyPr/>
                    <a:lstStyle/>
                    <a:p>
                      <a:pPr algn="r" fontAlgn="b">
                        <a:lnSpc>
                          <a:spcPct val="96000"/>
                        </a:lnSpc>
                      </a:pPr>
                      <a:r>
                        <a:rPr lang="en-US" sz="1700" b="0" i="1" u="none" strike="noStrike">
                          <a:solidFill>
                            <a:srgbClr val="000000"/>
                          </a:solidFill>
                          <a:effectLst/>
                          <a:latin typeface="+mn-lt"/>
                        </a:rPr>
                        <a:t>Legionella </a:t>
                      </a:r>
                      <a:r>
                        <a:rPr lang="en-US" sz="1700" b="0" i="0" u="none" strike="noStrike">
                          <a:solidFill>
                            <a:srgbClr val="000000"/>
                          </a:solidFill>
                          <a:effectLst/>
                          <a:latin typeface="+mn-lt"/>
                        </a:rPr>
                        <a:t>spp</a:t>
                      </a:r>
                      <a:r>
                        <a:rPr lang="en-US" sz="1700" b="0" i="1" u="none" strike="noStrike">
                          <a:solidFill>
                            <a:srgbClr val="000000"/>
                          </a:solidFill>
                          <a:effectLst/>
                          <a:latin typeface="+mn-lt"/>
                        </a:rPr>
                        <a:t>.</a:t>
                      </a:r>
                    </a:p>
                  </a:txBody>
                  <a:tcPr marL="45720" marR="45720" marT="18288" marB="18288"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18517">
                <a:tc>
                  <a:txBody>
                    <a:bodyPr/>
                    <a:lstStyle/>
                    <a:p>
                      <a:pPr algn="r" fontAlgn="b">
                        <a:lnSpc>
                          <a:spcPct val="96000"/>
                        </a:lnSpc>
                      </a:pPr>
                      <a:r>
                        <a:rPr lang="en-US" sz="1700" b="0" i="1" u="none" strike="noStrike" dirty="0">
                          <a:solidFill>
                            <a:srgbClr val="000000"/>
                          </a:solidFill>
                          <a:effectLst/>
                          <a:latin typeface="+mn-lt"/>
                        </a:rPr>
                        <a:t>Staphylococcus </a:t>
                      </a:r>
                      <a:r>
                        <a:rPr lang="en-US" sz="1700" b="0" i="0" u="none" strike="noStrike" dirty="0">
                          <a:solidFill>
                            <a:srgbClr val="000000"/>
                          </a:solidFill>
                          <a:effectLst/>
                          <a:latin typeface="+mn-lt"/>
                        </a:rPr>
                        <a:t>spp</a:t>
                      </a:r>
                      <a:r>
                        <a:rPr lang="en-US" sz="1700" b="0" i="1" u="none" strike="noStrike" dirty="0">
                          <a:solidFill>
                            <a:srgbClr val="000000"/>
                          </a:solidFill>
                          <a:effectLst/>
                          <a:latin typeface="+mn-lt"/>
                        </a:rPr>
                        <a:t>.</a:t>
                      </a:r>
                    </a:p>
                  </a:txBody>
                  <a:tcPr marL="45720" marR="45720" marT="18288" marB="18288"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18517">
                <a:tc>
                  <a:txBody>
                    <a:bodyPr/>
                    <a:lstStyle/>
                    <a:p>
                      <a:pPr algn="r" fontAlgn="b">
                        <a:lnSpc>
                          <a:spcPct val="96000"/>
                        </a:lnSpc>
                      </a:pPr>
                      <a:r>
                        <a:rPr lang="en-US" sz="1700" b="0" i="1" u="none" strike="noStrike">
                          <a:solidFill>
                            <a:srgbClr val="000000"/>
                          </a:solidFill>
                          <a:effectLst/>
                          <a:latin typeface="+mn-lt"/>
                        </a:rPr>
                        <a:t>Moraxella catarrhalis</a:t>
                      </a:r>
                    </a:p>
                  </a:txBody>
                  <a:tcPr marL="45720" marR="45720" marT="18288" marB="18288"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19600">
                <a:tc>
                  <a:txBody>
                    <a:bodyPr/>
                    <a:lstStyle/>
                    <a:p>
                      <a:pPr algn="r" fontAlgn="b">
                        <a:lnSpc>
                          <a:spcPct val="96000"/>
                        </a:lnSpc>
                      </a:pPr>
                      <a:r>
                        <a:rPr lang="en-US" sz="1700" b="0" i="0" u="none" strike="noStrike">
                          <a:solidFill>
                            <a:srgbClr val="000000"/>
                          </a:solidFill>
                          <a:effectLst/>
                          <a:latin typeface="+mn-lt"/>
                        </a:rPr>
                        <a:t>Gram-</a:t>
                      </a:r>
                      <a:r>
                        <a:rPr lang="en-US" sz="1700" b="0" i="0" u="none" strike="noStrike" err="1">
                          <a:solidFill>
                            <a:srgbClr val="000000"/>
                          </a:solidFill>
                          <a:effectLst/>
                          <a:latin typeface="+mn-lt"/>
                        </a:rPr>
                        <a:t>negati</a:t>
                      </a:r>
                      <a:r>
                        <a:rPr lang="tr-TR" sz="1700" b="0" i="0" u="none" strike="noStrike">
                          <a:solidFill>
                            <a:srgbClr val="000000"/>
                          </a:solidFill>
                          <a:effectLst/>
                          <a:latin typeface="+mn-lt"/>
                        </a:rPr>
                        <a:t>f</a:t>
                      </a:r>
                      <a:r>
                        <a:rPr lang="en-US" sz="1700" b="0" i="0" u="none" strike="noStrike">
                          <a:solidFill>
                            <a:srgbClr val="000000"/>
                          </a:solidFill>
                          <a:effectLst/>
                          <a:latin typeface="+mn-lt"/>
                        </a:rPr>
                        <a:t> bacilli</a:t>
                      </a:r>
                    </a:p>
                  </a:txBody>
                  <a:tcPr marL="45720" marR="45720" marT="18288" marB="18288"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19600">
                <a:tc>
                  <a:txBody>
                    <a:bodyPr/>
                    <a:lstStyle/>
                    <a:p>
                      <a:pPr algn="r" fontAlgn="b">
                        <a:lnSpc>
                          <a:spcPct val="96000"/>
                        </a:lnSpc>
                      </a:pPr>
                      <a:r>
                        <a:rPr lang="en-US" sz="1700" b="0" i="1" u="none" strike="noStrike" kern="1200">
                          <a:solidFill>
                            <a:srgbClr val="000000"/>
                          </a:solidFill>
                          <a:effectLst/>
                          <a:latin typeface="+mn-lt"/>
                          <a:ea typeface="+mn-ea"/>
                          <a:cs typeface="+mn-cs"/>
                        </a:rPr>
                        <a:t>Mycoplasma pneumoniae</a:t>
                      </a:r>
                    </a:p>
                  </a:txBody>
                  <a:tcPr marL="45720" marR="45720" marT="18288" marB="18288"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18517">
                <a:tc>
                  <a:txBody>
                    <a:bodyPr/>
                    <a:lstStyle/>
                    <a:p>
                      <a:pPr algn="r" fontAlgn="b">
                        <a:lnSpc>
                          <a:spcPct val="96000"/>
                        </a:lnSpc>
                      </a:pPr>
                      <a:r>
                        <a:rPr lang="en-US" sz="1700" b="0" i="1" u="none" strike="noStrike">
                          <a:solidFill>
                            <a:srgbClr val="000000"/>
                          </a:solidFill>
                          <a:effectLst/>
                          <a:latin typeface="+mn-lt"/>
                        </a:rPr>
                        <a:t>Chlamydophila </a:t>
                      </a:r>
                      <a:r>
                        <a:rPr lang="en-US" sz="1700" b="0" i="0" u="none" strike="noStrike">
                          <a:solidFill>
                            <a:srgbClr val="000000"/>
                          </a:solidFill>
                          <a:effectLst/>
                          <a:latin typeface="+mn-lt"/>
                        </a:rPr>
                        <a:t>spp.</a:t>
                      </a:r>
                    </a:p>
                  </a:txBody>
                  <a:tcPr marL="45720" marR="45720" marT="18288" marB="18288"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18517">
                <a:tc>
                  <a:txBody>
                    <a:bodyPr/>
                    <a:lstStyle/>
                    <a:p>
                      <a:pPr algn="r" fontAlgn="b">
                        <a:lnSpc>
                          <a:spcPct val="96000"/>
                        </a:lnSpc>
                      </a:pPr>
                      <a:r>
                        <a:rPr lang="en-US" sz="1700" b="0" i="1" u="none" strike="noStrike">
                          <a:solidFill>
                            <a:srgbClr val="000000"/>
                          </a:solidFill>
                          <a:effectLst/>
                          <a:latin typeface="+mn-lt"/>
                        </a:rPr>
                        <a:t>Coxiella  </a:t>
                      </a:r>
                      <a:r>
                        <a:rPr lang="en-US" sz="1700" b="0" i="1" u="none" strike="noStrike" err="1">
                          <a:solidFill>
                            <a:srgbClr val="000000"/>
                          </a:solidFill>
                          <a:effectLst/>
                          <a:latin typeface="+mn-lt"/>
                        </a:rPr>
                        <a:t>burnetti</a:t>
                      </a:r>
                      <a:endParaRPr lang="en-US" sz="1700" b="0" i="1" u="none" strike="noStrike">
                        <a:solidFill>
                          <a:srgbClr val="000000"/>
                        </a:solidFill>
                        <a:effectLst/>
                        <a:latin typeface="+mn-lt"/>
                      </a:endParaRPr>
                    </a:p>
                  </a:txBody>
                  <a:tcPr marL="45720" marR="45720" marT="18288" marB="18288"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18517">
                <a:tc>
                  <a:txBody>
                    <a:bodyPr/>
                    <a:lstStyle/>
                    <a:p>
                      <a:pPr algn="r" fontAlgn="b">
                        <a:lnSpc>
                          <a:spcPct val="96000"/>
                        </a:lnSpc>
                      </a:pPr>
                      <a:r>
                        <a:rPr lang="en-US" sz="1700" b="0" i="0" u="none" strike="noStrike" dirty="0">
                          <a:solidFill>
                            <a:srgbClr val="000000"/>
                          </a:solidFill>
                          <a:effectLst/>
                          <a:latin typeface="+mn-lt"/>
                        </a:rPr>
                        <a:t>Vir</a:t>
                      </a:r>
                      <a:r>
                        <a:rPr lang="tr-TR" sz="1700" b="0" i="0" u="none" strike="noStrike" dirty="0">
                          <a:solidFill>
                            <a:srgbClr val="000000"/>
                          </a:solidFill>
                          <a:effectLst/>
                          <a:latin typeface="+mn-lt"/>
                        </a:rPr>
                        <a:t>üsler</a:t>
                      </a:r>
                      <a:endParaRPr lang="en-US" sz="1700" b="0" i="0" u="none" strike="noStrike" dirty="0">
                        <a:solidFill>
                          <a:srgbClr val="000000"/>
                        </a:solidFill>
                        <a:effectLst/>
                        <a:latin typeface="+mn-lt"/>
                      </a:endParaRPr>
                    </a:p>
                  </a:txBody>
                  <a:tcPr marL="45720" marR="45720" marT="18288" marB="18288"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graphicFrame>
        <p:nvGraphicFramePr>
          <p:cNvPr id="13" name="Content Placeholder 3">
            <a:extLst>
              <a:ext uri="{FF2B5EF4-FFF2-40B4-BE49-F238E27FC236}">
                <a16:creationId xmlns:a16="http://schemas.microsoft.com/office/drawing/2014/main" id="{310B6D66-4648-7F13-EDE8-EFD4379307D3}"/>
              </a:ext>
            </a:extLst>
          </p:cNvPr>
          <p:cNvGraphicFramePr>
            <a:graphicFrameLocks/>
          </p:cNvGraphicFramePr>
          <p:nvPr/>
        </p:nvGraphicFramePr>
        <p:xfrm>
          <a:off x="5786066" y="1629483"/>
          <a:ext cx="5062462" cy="3551382"/>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 Placeholder 3">
            <a:extLst>
              <a:ext uri="{FF2B5EF4-FFF2-40B4-BE49-F238E27FC236}">
                <a16:creationId xmlns:a16="http://schemas.microsoft.com/office/drawing/2014/main" id="{164BCAE3-BAAE-45D2-1A05-EABA772743E2}"/>
              </a:ext>
            </a:extLst>
          </p:cNvPr>
          <p:cNvSpPr txBox="1">
            <a:spLocks/>
          </p:cNvSpPr>
          <p:nvPr/>
        </p:nvSpPr>
        <p:spPr>
          <a:xfrm>
            <a:off x="453873" y="6014663"/>
            <a:ext cx="10753335" cy="365125"/>
          </a:xfrm>
          <a:prstGeom prst="rect">
            <a:avLst/>
          </a:prstGeom>
        </p:spPr>
        <p:txBody>
          <a:bodyPr anchor="b" anchorCtr="0"/>
          <a:lstStyle>
            <a:lvl1pPr marL="342900" indent="-342900" algn="l" defTabSz="457200" rtl="0" eaLnBrk="1" latinLnBrk="0" hangingPunct="1">
              <a:spcBef>
                <a:spcPct val="20000"/>
              </a:spcBef>
              <a:buClr>
                <a:schemeClr val="accent2"/>
              </a:buClr>
              <a:buFont typeface="Arial"/>
              <a:buChar char="•"/>
              <a:defRPr sz="2400" kern="1200">
                <a:solidFill>
                  <a:schemeClr val="accent3">
                    <a:lumMod val="50000"/>
                  </a:schemeClr>
                </a:solidFill>
                <a:latin typeface="+mn-lt"/>
                <a:ea typeface="+mn-ea"/>
                <a:cs typeface="+mn-cs"/>
              </a:defRPr>
            </a:lvl1pPr>
            <a:lvl2pPr marL="742950" indent="-285750" algn="l" defTabSz="457200" rtl="0" eaLnBrk="1" latinLnBrk="0" hangingPunct="1">
              <a:spcBef>
                <a:spcPct val="20000"/>
              </a:spcBef>
              <a:buClr>
                <a:schemeClr val="accent5"/>
              </a:buClr>
              <a:buFont typeface="Arial"/>
              <a:buChar char="–"/>
              <a:defRPr sz="2400" kern="1200">
                <a:solidFill>
                  <a:schemeClr val="accent3">
                    <a:lumMod val="50000"/>
                  </a:schemeClr>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accent3">
                    <a:lumMod val="50000"/>
                  </a:schemeClr>
                </a:solidFill>
                <a:latin typeface="+mn-lt"/>
                <a:ea typeface="+mn-ea"/>
                <a:cs typeface="+mn-cs"/>
              </a:defRPr>
            </a:lvl3pPr>
            <a:lvl4pPr marL="1600200" indent="-228600" algn="l" defTabSz="457200" rtl="0" eaLnBrk="1" latinLnBrk="0" hangingPunct="1">
              <a:spcBef>
                <a:spcPct val="20000"/>
              </a:spcBef>
              <a:buFont typeface="Arial"/>
              <a:buChar char="–"/>
              <a:defRPr sz="1200" kern="1200">
                <a:solidFill>
                  <a:schemeClr val="accent3">
                    <a:lumMod val="50000"/>
                  </a:schemeClr>
                </a:solidFill>
                <a:latin typeface="+mn-lt"/>
                <a:ea typeface="+mn-ea"/>
                <a:cs typeface="+mn-cs"/>
              </a:defRPr>
            </a:lvl4pPr>
            <a:lvl5pPr marL="2057400" indent="-228600" algn="l" defTabSz="457200" rtl="0" eaLnBrk="1" latinLnBrk="0" hangingPunct="1">
              <a:spcBef>
                <a:spcPct val="20000"/>
              </a:spcBef>
              <a:buFont typeface="Arial"/>
              <a:buChar char="»"/>
              <a:defRPr sz="1200" kern="1200">
                <a:solidFill>
                  <a:schemeClr val="accent3">
                    <a:lumMod val="50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schemeClr val="bg1">
                  <a:lumMod val="50000"/>
                </a:schemeClr>
              </a:buClr>
              <a:buNone/>
            </a:pPr>
            <a:r>
              <a:rPr lang="tr-TR" sz="700" dirty="0">
                <a:solidFill>
                  <a:schemeClr val="tx1">
                    <a:lumMod val="65000"/>
                    <a:lumOff val="35000"/>
                  </a:schemeClr>
                </a:solidFill>
              </a:rPr>
              <a:t>TGP= Toplumda gelişen pnömoni</a:t>
            </a:r>
          </a:p>
          <a:p>
            <a:pPr marL="0" indent="0">
              <a:buClr>
                <a:schemeClr val="bg1">
                  <a:lumMod val="50000"/>
                </a:schemeClr>
              </a:buClr>
              <a:buNone/>
            </a:pPr>
            <a:r>
              <a:rPr lang="tr-TR" sz="700" dirty="0">
                <a:solidFill>
                  <a:schemeClr val="tx1">
                    <a:lumMod val="65000"/>
                    <a:lumOff val="35000"/>
                  </a:schemeClr>
                </a:solidFill>
              </a:rPr>
              <a:t>1. </a:t>
            </a:r>
            <a:r>
              <a:rPr lang="es-ES" sz="700" dirty="0" err="1">
                <a:solidFill>
                  <a:schemeClr val="tx1">
                    <a:lumMod val="65000"/>
                    <a:lumOff val="35000"/>
                  </a:schemeClr>
                </a:solidFill>
              </a:rPr>
              <a:t>Welte</a:t>
            </a:r>
            <a:r>
              <a:rPr lang="es-ES" sz="700" dirty="0">
                <a:solidFill>
                  <a:schemeClr val="tx1">
                    <a:lumMod val="65000"/>
                    <a:lumOff val="35000"/>
                  </a:schemeClr>
                </a:solidFill>
              </a:rPr>
              <a:t> T et al, </a:t>
            </a:r>
            <a:r>
              <a:rPr lang="es-ES" sz="700" dirty="0" err="1">
                <a:solidFill>
                  <a:schemeClr val="tx1">
                    <a:lumMod val="65000"/>
                    <a:lumOff val="35000"/>
                  </a:schemeClr>
                </a:solidFill>
              </a:rPr>
              <a:t>Thorax</a:t>
            </a:r>
            <a:r>
              <a:rPr lang="es-ES" sz="700" dirty="0">
                <a:solidFill>
                  <a:schemeClr val="tx1">
                    <a:lumMod val="65000"/>
                    <a:lumOff val="35000"/>
                  </a:schemeClr>
                </a:solidFill>
              </a:rPr>
              <a:t> 2012;67:71–79</a:t>
            </a:r>
            <a:r>
              <a:rPr lang="en-US" sz="700" dirty="0">
                <a:solidFill>
                  <a:schemeClr val="tx1">
                    <a:lumMod val="65000"/>
                    <a:lumOff val="35000"/>
                  </a:schemeClr>
                </a:solidFill>
              </a:rPr>
              <a:t>.</a:t>
            </a:r>
            <a:r>
              <a:rPr lang="es-ES" sz="700" dirty="0">
                <a:solidFill>
                  <a:schemeClr val="tx1">
                    <a:lumMod val="65000"/>
                    <a:lumOff val="35000"/>
                  </a:schemeClr>
                </a:solidFill>
              </a:rPr>
              <a:t> 2. </a:t>
            </a:r>
            <a:r>
              <a:rPr lang="es-ES" sz="700" dirty="0" err="1">
                <a:solidFill>
                  <a:schemeClr val="tx1">
                    <a:lumMod val="65000"/>
                    <a:lumOff val="35000"/>
                  </a:schemeClr>
                </a:solidFill>
              </a:rPr>
              <a:t>Lode</a:t>
            </a:r>
            <a:r>
              <a:rPr lang="es-ES" sz="700" dirty="0">
                <a:solidFill>
                  <a:schemeClr val="tx1">
                    <a:lumMod val="65000"/>
                    <a:lumOff val="35000"/>
                  </a:schemeClr>
                </a:solidFill>
              </a:rPr>
              <a:t> HM. </a:t>
            </a:r>
            <a:r>
              <a:rPr lang="es-ES" sz="700" dirty="0" err="1">
                <a:solidFill>
                  <a:schemeClr val="tx1">
                    <a:lumMod val="65000"/>
                    <a:lumOff val="35000"/>
                  </a:schemeClr>
                </a:solidFill>
              </a:rPr>
              <a:t>Respir</a:t>
            </a:r>
            <a:r>
              <a:rPr lang="es-ES" sz="700" dirty="0">
                <a:solidFill>
                  <a:schemeClr val="tx1">
                    <a:lumMod val="65000"/>
                    <a:lumOff val="35000"/>
                  </a:schemeClr>
                </a:solidFill>
              </a:rPr>
              <a:t> Med 2007;101:1864–73.</a:t>
            </a:r>
            <a:r>
              <a:rPr lang="tr-TR" sz="700" dirty="0">
                <a:solidFill>
                  <a:schemeClr val="tx1">
                    <a:lumMod val="65000"/>
                    <a:lumOff val="35000"/>
                  </a:schemeClr>
                </a:solidFill>
              </a:rPr>
              <a:t> 2. </a:t>
            </a:r>
            <a:r>
              <a:rPr lang="en-US" sz="700" dirty="0">
                <a:solidFill>
                  <a:schemeClr val="tx1">
                    <a:lumMod val="65000"/>
                    <a:lumOff val="35000"/>
                  </a:schemeClr>
                </a:solidFill>
              </a:rPr>
              <a:t>Lode HM. Managing community-acquired pneumonia: a European perspective. Respir Med. 2007;101(9):1864-1873.</a:t>
            </a:r>
          </a:p>
        </p:txBody>
      </p:sp>
      <p:sp>
        <p:nvSpPr>
          <p:cNvPr id="16" name="TextBox 181">
            <a:extLst>
              <a:ext uri="{FF2B5EF4-FFF2-40B4-BE49-F238E27FC236}">
                <a16:creationId xmlns:a16="http://schemas.microsoft.com/office/drawing/2014/main" id="{1236B12B-572C-502A-A452-092FEC87FAEE}"/>
              </a:ext>
            </a:extLst>
          </p:cNvPr>
          <p:cNvSpPr txBox="1">
            <a:spLocks noChangeArrowheads="1"/>
          </p:cNvSpPr>
          <p:nvPr/>
        </p:nvSpPr>
        <p:spPr bwMode="gray">
          <a:xfrm>
            <a:off x="6534422" y="5040991"/>
            <a:ext cx="2999656" cy="243143"/>
          </a:xfrm>
          <a:prstGeom prst="rect">
            <a:avLst/>
          </a:prstGeom>
          <a:noFill/>
          <a:ln w="9525">
            <a:noFill/>
            <a:miter lim="800000"/>
            <a:headEnd/>
            <a:tailEnd/>
          </a:ln>
        </p:spPr>
        <p:txBody>
          <a:bodyPr wrap="square" tIns="36576" bIns="36576" anchor="b">
            <a:spAutoFit/>
          </a:bodyPr>
          <a:lstStyle/>
          <a:p>
            <a:pPr algn="ctr">
              <a:lnSpc>
                <a:spcPct val="110000"/>
              </a:lnSpc>
              <a:spcBef>
                <a:spcPts val="125"/>
              </a:spcBef>
            </a:pPr>
            <a:r>
              <a:rPr lang="en-US" altLang="en-US" sz="1000" dirty="0" err="1">
                <a:solidFill>
                  <a:schemeClr val="tx1">
                    <a:lumMod val="50000"/>
                    <a:lumOff val="50000"/>
                  </a:schemeClr>
                </a:solidFill>
                <a:latin typeface="Calibri" pitchFamily="34" charset="0"/>
              </a:rPr>
              <a:t>Grafik</a:t>
            </a:r>
            <a:r>
              <a:rPr lang="en-US" altLang="en-US" sz="1000" dirty="0">
                <a:solidFill>
                  <a:schemeClr val="tx1">
                    <a:lumMod val="50000"/>
                    <a:lumOff val="50000"/>
                  </a:schemeClr>
                </a:solidFill>
                <a:latin typeface="Calibri" pitchFamily="34" charset="0"/>
              </a:rPr>
              <a:t>, </a:t>
            </a:r>
            <a:r>
              <a:rPr lang="en-US" altLang="en-US" sz="1000" dirty="0" err="1">
                <a:solidFill>
                  <a:schemeClr val="tx1">
                    <a:lumMod val="50000"/>
                    <a:lumOff val="50000"/>
                  </a:schemeClr>
                </a:solidFill>
                <a:latin typeface="Calibri" pitchFamily="34" charset="0"/>
              </a:rPr>
              <a:t>Referans</a:t>
            </a:r>
            <a:r>
              <a:rPr lang="en-US" altLang="en-US" sz="1000" dirty="0">
                <a:solidFill>
                  <a:schemeClr val="tx1">
                    <a:lumMod val="50000"/>
                    <a:lumOff val="50000"/>
                  </a:schemeClr>
                </a:solidFill>
                <a:latin typeface="Calibri" pitchFamily="34" charset="0"/>
              </a:rPr>
              <a:t> 1'den </a:t>
            </a:r>
            <a:r>
              <a:rPr lang="en-US" altLang="en-US" sz="1000" dirty="0" err="1">
                <a:solidFill>
                  <a:schemeClr val="tx1">
                    <a:lumMod val="50000"/>
                    <a:lumOff val="50000"/>
                  </a:schemeClr>
                </a:solidFill>
                <a:latin typeface="Calibri" pitchFamily="34" charset="0"/>
              </a:rPr>
              <a:t>uyarlanmıştır</a:t>
            </a:r>
            <a:r>
              <a:rPr lang="en-US" altLang="en-US" sz="1000" dirty="0">
                <a:solidFill>
                  <a:schemeClr val="tx1">
                    <a:lumMod val="50000"/>
                    <a:lumOff val="50000"/>
                  </a:schemeClr>
                </a:solidFill>
                <a:latin typeface="Calibri" pitchFamily="34" charset="0"/>
              </a:rPr>
              <a:t>. </a:t>
            </a:r>
          </a:p>
        </p:txBody>
      </p:sp>
      <p:sp>
        <p:nvSpPr>
          <p:cNvPr id="18" name="TextBox 17">
            <a:extLst>
              <a:ext uri="{FF2B5EF4-FFF2-40B4-BE49-F238E27FC236}">
                <a16:creationId xmlns:a16="http://schemas.microsoft.com/office/drawing/2014/main" id="{9094F65D-6235-A896-D7CD-7E6B96D1BB58}"/>
              </a:ext>
            </a:extLst>
          </p:cNvPr>
          <p:cNvSpPr txBox="1"/>
          <p:nvPr/>
        </p:nvSpPr>
        <p:spPr>
          <a:xfrm>
            <a:off x="1422198" y="6485343"/>
            <a:ext cx="1741714" cy="200055"/>
          </a:xfrm>
          <a:prstGeom prst="rect">
            <a:avLst/>
          </a:prstGeom>
          <a:noFill/>
        </p:spPr>
        <p:txBody>
          <a:bodyPr wrap="square" lIns="91440" tIns="45720" rIns="91440" bIns="45720" anchor="t">
            <a:spAutoFit/>
          </a:bodyPr>
          <a:lstStyle/>
          <a:p>
            <a:r>
              <a:rPr lang="en-US" sz="700" dirty="0">
                <a:latin typeface="Calibri" panose="020F0502020204030204"/>
              </a:rPr>
              <a:t>EM-TUR-PCV-0012 (V3)</a:t>
            </a:r>
          </a:p>
        </p:txBody>
      </p:sp>
      <p:pic>
        <p:nvPicPr>
          <p:cNvPr id="4" name="Picture 3" descr="A yellow and blue logo&#10;&#10;Description automatically generated">
            <a:extLst>
              <a:ext uri="{FF2B5EF4-FFF2-40B4-BE49-F238E27FC236}">
                <a16:creationId xmlns:a16="http://schemas.microsoft.com/office/drawing/2014/main" id="{C5BE394B-6DDB-BE1D-DE24-4F223B2A1919}"/>
              </a:ext>
            </a:extLst>
          </p:cNvPr>
          <p:cNvPicPr>
            <a:picLocks noChangeAspect="1"/>
          </p:cNvPicPr>
          <p:nvPr/>
        </p:nvPicPr>
        <p:blipFill>
          <a:blip r:embed="rId5">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17427544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111CF45A-7641-F5BC-E504-1C72DAFC2326}"/>
              </a:ext>
            </a:extLst>
          </p:cNvPr>
          <p:cNvSpPr/>
          <p:nvPr/>
        </p:nvSpPr>
        <p:spPr>
          <a:xfrm>
            <a:off x="6389783" y="1970152"/>
            <a:ext cx="5400966" cy="3009472"/>
          </a:xfrm>
          <a:prstGeom prst="roundRect">
            <a:avLst/>
          </a:prstGeom>
          <a:solidFill>
            <a:schemeClr val="bg2">
              <a:lumMod val="20000"/>
              <a:lumOff val="8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8F3702EC-7AFA-EF5E-5BEE-7B79260FD4C2}"/>
              </a:ext>
            </a:extLst>
          </p:cNvPr>
          <p:cNvSpPr>
            <a:spLocks noGrp="1"/>
          </p:cNvSpPr>
          <p:nvPr>
            <p:ph type="title"/>
          </p:nvPr>
        </p:nvSpPr>
        <p:spPr/>
        <p:txBody>
          <a:bodyPr>
            <a:normAutofit/>
          </a:bodyPr>
          <a:lstStyle/>
          <a:p>
            <a:r>
              <a:rPr lang="en-US" sz="2400" dirty="0" err="1">
                <a:cs typeface="Calibri" panose="020F0502020204030204" pitchFamily="34" charset="0"/>
              </a:rPr>
              <a:t>Türkiye’de</a:t>
            </a:r>
            <a:r>
              <a:rPr lang="en-US" sz="2400" dirty="0">
                <a:cs typeface="Calibri" panose="020F0502020204030204" pitchFamily="34" charset="0"/>
              </a:rPr>
              <a:t> de </a:t>
            </a:r>
            <a:r>
              <a:rPr lang="en-US" sz="2400" dirty="0" err="1">
                <a:cs typeface="Calibri" panose="020F0502020204030204" pitchFamily="34" charset="0"/>
              </a:rPr>
              <a:t>TGP’nin</a:t>
            </a:r>
            <a:r>
              <a:rPr lang="en-US" sz="2400" dirty="0">
                <a:cs typeface="Calibri" panose="020F0502020204030204" pitchFamily="34" charset="0"/>
              </a:rPr>
              <a:t> </a:t>
            </a:r>
            <a:r>
              <a:rPr lang="en-US" sz="2400" dirty="0" err="1">
                <a:cs typeface="Calibri" panose="020F0502020204030204" pitchFamily="34" charset="0"/>
              </a:rPr>
              <a:t>en</a:t>
            </a:r>
            <a:r>
              <a:rPr lang="en-US" sz="2400" dirty="0">
                <a:cs typeface="Calibri" panose="020F0502020204030204" pitchFamily="34" charset="0"/>
              </a:rPr>
              <a:t> </a:t>
            </a:r>
            <a:r>
              <a:rPr lang="en-US" sz="2400" dirty="0" err="1">
                <a:cs typeface="Calibri" panose="020F0502020204030204" pitchFamily="34" charset="0"/>
              </a:rPr>
              <a:t>sık</a:t>
            </a:r>
            <a:r>
              <a:rPr lang="en-US" sz="2400" dirty="0">
                <a:cs typeface="Calibri" panose="020F0502020204030204" pitchFamily="34" charset="0"/>
              </a:rPr>
              <a:t> </a:t>
            </a:r>
            <a:r>
              <a:rPr lang="en-US" sz="2400" dirty="0" err="1">
                <a:cs typeface="Calibri" panose="020F0502020204030204" pitchFamily="34" charset="0"/>
              </a:rPr>
              <a:t>etkeni</a:t>
            </a:r>
            <a:r>
              <a:rPr lang="en-US" sz="2400" dirty="0">
                <a:cs typeface="Calibri" panose="020F0502020204030204" pitchFamily="34" charset="0"/>
              </a:rPr>
              <a:t> </a:t>
            </a:r>
            <a:r>
              <a:rPr lang="en-US" sz="2400" i="1" dirty="0">
                <a:cs typeface="Calibri" panose="020F0502020204030204" pitchFamily="34" charset="0"/>
              </a:rPr>
              <a:t>S. pneumoniae</a:t>
            </a:r>
            <a:r>
              <a:rPr lang="en-US" sz="2400" dirty="0">
                <a:cs typeface="Calibri" panose="020F0502020204030204" pitchFamily="34" charset="0"/>
              </a:rPr>
              <a:t>’dır.</a:t>
            </a:r>
            <a:r>
              <a:rPr lang="en-US" sz="2400" baseline="30000" dirty="0">
                <a:cs typeface="Calibri" panose="020F0502020204030204" pitchFamily="34" charset="0"/>
              </a:rPr>
              <a:t>1</a:t>
            </a:r>
            <a:endParaRPr lang="tr-TR" dirty="0"/>
          </a:p>
        </p:txBody>
      </p:sp>
      <p:sp>
        <p:nvSpPr>
          <p:cNvPr id="3" name="Slide Number Placeholder 2">
            <a:extLst>
              <a:ext uri="{FF2B5EF4-FFF2-40B4-BE49-F238E27FC236}">
                <a16:creationId xmlns:a16="http://schemas.microsoft.com/office/drawing/2014/main" id="{1B3730D0-4E08-B2EF-A567-62562679E0F7}"/>
              </a:ext>
            </a:extLst>
          </p:cNvPr>
          <p:cNvSpPr>
            <a:spLocks noGrp="1"/>
          </p:cNvSpPr>
          <p:nvPr>
            <p:ph type="sldNum" sz="quarter" idx="4"/>
          </p:nvPr>
        </p:nvSpPr>
        <p:spPr>
          <a:xfrm>
            <a:off x="10438834" y="6508427"/>
            <a:ext cx="1143536" cy="153889"/>
          </a:xfrm>
        </p:spPr>
        <p:txBody>
          <a:bodyPr/>
          <a:lstStyle/>
          <a:p>
            <a:fld id="{03074DEF-F175-4420-8EE3-137377F9872B}" type="slidenum">
              <a:rPr lang="en-US" smtClean="0"/>
              <a:pPr/>
              <a:t>41</a:t>
            </a:fld>
            <a:endParaRPr lang="en-US"/>
          </a:p>
        </p:txBody>
      </p:sp>
      <p:sp>
        <p:nvSpPr>
          <p:cNvPr id="5" name="Text Placeholder 3">
            <a:extLst>
              <a:ext uri="{FF2B5EF4-FFF2-40B4-BE49-F238E27FC236}">
                <a16:creationId xmlns:a16="http://schemas.microsoft.com/office/drawing/2014/main" id="{2B6ED795-3DDF-B1A7-2268-E6D16D11FF38}"/>
              </a:ext>
            </a:extLst>
          </p:cNvPr>
          <p:cNvSpPr txBox="1">
            <a:spLocks/>
          </p:cNvSpPr>
          <p:nvPr/>
        </p:nvSpPr>
        <p:spPr>
          <a:xfrm>
            <a:off x="449762" y="5949485"/>
            <a:ext cx="10972800" cy="36512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tr-TR" sz="900" dirty="0">
                <a:solidFill>
                  <a:srgbClr val="030303"/>
                </a:solidFill>
                <a:latin typeface="Arial" panose="020B0604020202020204" pitchFamily="34" charset="0"/>
              </a:rPr>
              <a:t>1. Şenol </a:t>
            </a:r>
            <a:r>
              <a:rPr lang="en-US" sz="900" dirty="0">
                <a:solidFill>
                  <a:srgbClr val="030303"/>
                </a:solidFill>
                <a:latin typeface="Arial" panose="020B0604020202020204" pitchFamily="34" charset="0"/>
              </a:rPr>
              <a:t> et </a:t>
            </a:r>
            <a:r>
              <a:rPr lang="en-US" sz="900" dirty="0" err="1">
                <a:solidFill>
                  <a:srgbClr val="030303"/>
                </a:solidFill>
                <a:latin typeface="Arial" panose="020B0604020202020204" pitchFamily="34" charset="0"/>
              </a:rPr>
              <a:t>al.,Turk</a:t>
            </a:r>
            <a:r>
              <a:rPr lang="en-US" sz="900" dirty="0">
                <a:solidFill>
                  <a:srgbClr val="030303"/>
                </a:solidFill>
                <a:latin typeface="Arial" panose="020B0604020202020204" pitchFamily="34" charset="0"/>
              </a:rPr>
              <a:t> </a:t>
            </a:r>
            <a:r>
              <a:rPr lang="en-US" sz="900" dirty="0" err="1">
                <a:solidFill>
                  <a:srgbClr val="030303"/>
                </a:solidFill>
                <a:latin typeface="Arial" panose="020B0604020202020204" pitchFamily="34" charset="0"/>
              </a:rPr>
              <a:t>Thorac</a:t>
            </a:r>
            <a:r>
              <a:rPr lang="en-US" sz="900" dirty="0">
                <a:solidFill>
                  <a:srgbClr val="030303"/>
                </a:solidFill>
                <a:latin typeface="Arial" panose="020B0604020202020204" pitchFamily="34" charset="0"/>
              </a:rPr>
              <a:t> J 2021; 22: 339-345</a:t>
            </a:r>
            <a:endParaRPr lang="tr-TR" sz="900" dirty="0"/>
          </a:p>
        </p:txBody>
      </p:sp>
      <p:sp>
        <p:nvSpPr>
          <p:cNvPr id="6" name="Title 1">
            <a:extLst>
              <a:ext uri="{FF2B5EF4-FFF2-40B4-BE49-F238E27FC236}">
                <a16:creationId xmlns:a16="http://schemas.microsoft.com/office/drawing/2014/main" id="{10544EA8-6754-CDA7-1F15-E3405B4CE51A}"/>
              </a:ext>
            </a:extLst>
          </p:cNvPr>
          <p:cNvSpPr txBox="1">
            <a:spLocks/>
          </p:cNvSpPr>
          <p:nvPr/>
        </p:nvSpPr>
        <p:spPr>
          <a:xfrm>
            <a:off x="381000" y="182691"/>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tr-TR" sz="2800" b="1" dirty="0">
              <a:solidFill>
                <a:srgbClr val="002060"/>
              </a:solidFill>
              <a:cs typeface="Calibri" panose="020F0502020204030204" pitchFamily="34" charset="0"/>
            </a:endParaRPr>
          </a:p>
        </p:txBody>
      </p:sp>
      <p:sp>
        <p:nvSpPr>
          <p:cNvPr id="7" name="TextBox 6">
            <a:extLst>
              <a:ext uri="{FF2B5EF4-FFF2-40B4-BE49-F238E27FC236}">
                <a16:creationId xmlns:a16="http://schemas.microsoft.com/office/drawing/2014/main" id="{C68BC745-DCB4-4974-8963-E159C79E227B}"/>
              </a:ext>
            </a:extLst>
          </p:cNvPr>
          <p:cNvSpPr txBox="1"/>
          <p:nvPr/>
        </p:nvSpPr>
        <p:spPr>
          <a:xfrm>
            <a:off x="6534352" y="2369735"/>
            <a:ext cx="5111827" cy="2118529"/>
          </a:xfrm>
          <a:prstGeom prst="rect">
            <a:avLst/>
          </a:prstGeom>
          <a:noFill/>
        </p:spPr>
        <p:txBody>
          <a:bodyPr wrap="square">
            <a:spAutoFit/>
          </a:bodyPr>
          <a:lstStyle/>
          <a:p>
            <a:pPr>
              <a:lnSpc>
                <a:spcPct val="150000"/>
              </a:lnSpc>
            </a:pPr>
            <a:r>
              <a:rPr lang="tr-TR" sz="1800" dirty="0"/>
              <a:t>2021 yılında ü</a:t>
            </a:r>
            <a:r>
              <a:rPr lang="en-US" sz="1800" dirty="0" err="1"/>
              <a:t>lke</a:t>
            </a:r>
            <a:r>
              <a:rPr lang="en-US" sz="1800" dirty="0"/>
              <a:t> </a:t>
            </a:r>
            <a:r>
              <a:rPr lang="en-US" sz="1800" dirty="0" err="1"/>
              <a:t>genelinden</a:t>
            </a:r>
            <a:r>
              <a:rPr lang="en-US" sz="1800" dirty="0"/>
              <a:t> 22 </a:t>
            </a:r>
            <a:r>
              <a:rPr lang="en-US" sz="1800" dirty="0" err="1"/>
              <a:t>merkezin</a:t>
            </a:r>
            <a:r>
              <a:rPr lang="en-US" sz="1800" dirty="0"/>
              <a:t> </a:t>
            </a:r>
            <a:r>
              <a:rPr lang="en-US" sz="1800" dirty="0" err="1"/>
              <a:t>katıldığı</a:t>
            </a:r>
            <a:r>
              <a:rPr lang="en-US" sz="1800" dirty="0"/>
              <a:t> </a:t>
            </a:r>
            <a:r>
              <a:rPr lang="en-US" sz="1800" dirty="0" err="1"/>
              <a:t>prospektif</a:t>
            </a:r>
            <a:r>
              <a:rPr lang="en-US" sz="1800" dirty="0"/>
              <a:t> </a:t>
            </a:r>
            <a:r>
              <a:rPr lang="en-US" sz="1800" dirty="0" err="1"/>
              <a:t>gözlemsel</a:t>
            </a:r>
            <a:r>
              <a:rPr lang="en-US" sz="1800" dirty="0"/>
              <a:t> </a:t>
            </a:r>
            <a:r>
              <a:rPr lang="en-US" sz="1800" dirty="0" err="1"/>
              <a:t>bir</a:t>
            </a:r>
            <a:r>
              <a:rPr lang="en-US" sz="1800" dirty="0"/>
              <a:t> </a:t>
            </a:r>
            <a:r>
              <a:rPr lang="en-US" sz="1800" dirty="0" err="1"/>
              <a:t>çalışma</a:t>
            </a:r>
            <a:r>
              <a:rPr lang="en-US" sz="1800" dirty="0"/>
              <a:t> </a:t>
            </a:r>
            <a:r>
              <a:rPr lang="en-US" sz="1800" dirty="0" err="1"/>
              <a:t>olan</a:t>
            </a:r>
            <a:r>
              <a:rPr lang="en-US" sz="1800" dirty="0"/>
              <a:t> </a:t>
            </a:r>
            <a:r>
              <a:rPr lang="tr-TR" sz="1800" dirty="0" err="1"/>
              <a:t>TurkCAP</a:t>
            </a:r>
            <a:r>
              <a:rPr lang="en-US" sz="1800" dirty="0"/>
              <a:t> </a:t>
            </a:r>
            <a:r>
              <a:rPr lang="en-US" sz="1800" dirty="0" err="1"/>
              <a:t>Çalışması’nda</a:t>
            </a:r>
            <a:r>
              <a:rPr lang="en-US" sz="1800" dirty="0"/>
              <a:t> </a:t>
            </a:r>
            <a:r>
              <a:rPr lang="en-US" sz="1800" dirty="0" err="1"/>
              <a:t>erişkin</a:t>
            </a:r>
            <a:r>
              <a:rPr lang="tr-TR" sz="1800" dirty="0"/>
              <a:t> </a:t>
            </a:r>
            <a:r>
              <a:rPr lang="en-US" sz="1800" b="1" dirty="0" err="1"/>
              <a:t>TGP’lerin</a:t>
            </a:r>
            <a:r>
              <a:rPr lang="en-US" sz="1800" b="1" dirty="0"/>
              <a:t> %22.8’inin </a:t>
            </a:r>
            <a:r>
              <a:rPr lang="en-US" sz="1800" b="1" dirty="0" err="1"/>
              <a:t>pnömokok</a:t>
            </a:r>
            <a:r>
              <a:rPr lang="en-US" sz="1800" b="1" dirty="0"/>
              <a:t> </a:t>
            </a:r>
            <a:r>
              <a:rPr lang="en-US" sz="1800" b="1" dirty="0" err="1"/>
              <a:t>kaynaklı</a:t>
            </a:r>
            <a:r>
              <a:rPr lang="en-US" sz="1800" dirty="0"/>
              <a:t> </a:t>
            </a:r>
            <a:r>
              <a:rPr lang="en-US" sz="1800" dirty="0" err="1"/>
              <a:t>olduğu</a:t>
            </a:r>
            <a:r>
              <a:rPr lang="en-US" sz="1800" dirty="0"/>
              <a:t> </a:t>
            </a:r>
            <a:r>
              <a:rPr lang="en-US" sz="1800" dirty="0" err="1"/>
              <a:t>saptanmıştır</a:t>
            </a:r>
            <a:r>
              <a:rPr lang="en-US" sz="1800" dirty="0"/>
              <a:t>.</a:t>
            </a:r>
            <a:r>
              <a:rPr lang="tr-TR" sz="1800" dirty="0"/>
              <a:t>*</a:t>
            </a:r>
            <a:r>
              <a:rPr lang="en-US" sz="1800" baseline="30000" dirty="0"/>
              <a:t>1</a:t>
            </a:r>
            <a:endParaRPr lang="tr-TR" sz="1800" dirty="0"/>
          </a:p>
        </p:txBody>
      </p:sp>
      <p:pic>
        <p:nvPicPr>
          <p:cNvPr id="8" name="Picture 2" descr="Türkiye harita vektörler | Türkiye harita vektör çizimler, vektörel grafik  | Depositphotos®">
            <a:extLst>
              <a:ext uri="{FF2B5EF4-FFF2-40B4-BE49-F238E27FC236}">
                <a16:creationId xmlns:a16="http://schemas.microsoft.com/office/drawing/2014/main" id="{8D0A88B3-C09B-A308-79E5-5F947AD1E865}"/>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7837" y="1867283"/>
            <a:ext cx="5662815" cy="339769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D068A911-E5F6-1B9A-8634-17218CD54D87}"/>
              </a:ext>
            </a:extLst>
          </p:cNvPr>
          <p:cNvSpPr txBox="1"/>
          <p:nvPr/>
        </p:nvSpPr>
        <p:spPr>
          <a:xfrm>
            <a:off x="1788847" y="3202269"/>
            <a:ext cx="2376264" cy="584775"/>
          </a:xfrm>
          <a:prstGeom prst="rect">
            <a:avLst/>
          </a:prstGeom>
          <a:noFill/>
        </p:spPr>
        <p:txBody>
          <a:bodyPr wrap="square" rtlCol="0">
            <a:spAutoFit/>
          </a:bodyPr>
          <a:lstStyle/>
          <a:p>
            <a:pPr algn="ctr"/>
            <a:r>
              <a:rPr lang="en-US" sz="1600" b="1" err="1"/>
              <a:t>TGP’lerin</a:t>
            </a:r>
            <a:r>
              <a:rPr lang="en-US" sz="1600" b="1"/>
              <a:t>  %</a:t>
            </a:r>
            <a:r>
              <a:rPr lang="tr-TR" sz="1600" b="1"/>
              <a:t>22.8</a:t>
            </a:r>
            <a:r>
              <a:rPr lang="en-US" sz="1600" b="1"/>
              <a:t>’</a:t>
            </a:r>
            <a:r>
              <a:rPr lang="en-US" sz="1600" b="1" err="1"/>
              <a:t>i</a:t>
            </a:r>
            <a:endParaRPr lang="en-US" sz="1600" b="1"/>
          </a:p>
          <a:p>
            <a:pPr algn="ctr"/>
            <a:r>
              <a:rPr lang="en-US" sz="1600" b="1" i="1"/>
              <a:t>S. pneumonia </a:t>
            </a:r>
            <a:r>
              <a:rPr lang="en-US" sz="1600" b="1" err="1"/>
              <a:t>kaynaklı</a:t>
            </a:r>
            <a:endParaRPr lang="en-US" sz="1600" baseline="30000"/>
          </a:p>
        </p:txBody>
      </p:sp>
      <p:sp>
        <p:nvSpPr>
          <p:cNvPr id="10" name="TextBox 9">
            <a:extLst>
              <a:ext uri="{FF2B5EF4-FFF2-40B4-BE49-F238E27FC236}">
                <a16:creationId xmlns:a16="http://schemas.microsoft.com/office/drawing/2014/main" id="{8CCBCA0F-9E1B-E9AA-4033-6D328F521F29}"/>
              </a:ext>
            </a:extLst>
          </p:cNvPr>
          <p:cNvSpPr txBox="1"/>
          <p:nvPr/>
        </p:nvSpPr>
        <p:spPr>
          <a:xfrm>
            <a:off x="449762" y="5742327"/>
            <a:ext cx="3562597" cy="261610"/>
          </a:xfrm>
          <a:prstGeom prst="rect">
            <a:avLst/>
          </a:prstGeom>
          <a:noFill/>
        </p:spPr>
        <p:txBody>
          <a:bodyPr wrap="square" rtlCol="0">
            <a:spAutoFit/>
          </a:bodyPr>
          <a:lstStyle/>
          <a:p>
            <a:r>
              <a:rPr lang="en-US" sz="1100" b="0" i="0" dirty="0">
                <a:solidFill>
                  <a:srgbClr val="1D1D1D"/>
                </a:solidFill>
                <a:effectLst/>
                <a:latin typeface="Arial" panose="020B0604020202020204" pitchFamily="34" charset="0"/>
              </a:rPr>
              <a:t>TGP</a:t>
            </a:r>
            <a:r>
              <a:rPr lang="tr-TR" sz="1100" b="0" i="0" dirty="0">
                <a:solidFill>
                  <a:srgbClr val="1D1D1D"/>
                </a:solidFill>
                <a:effectLst/>
                <a:latin typeface="Arial" panose="020B0604020202020204" pitchFamily="34" charset="0"/>
              </a:rPr>
              <a:t>=</a:t>
            </a:r>
            <a:r>
              <a:rPr lang="en-US" sz="1100" b="0" i="0" dirty="0">
                <a:solidFill>
                  <a:srgbClr val="1D1D1D"/>
                </a:solidFill>
                <a:effectLst/>
                <a:latin typeface="Arial" panose="020B0604020202020204" pitchFamily="34" charset="0"/>
              </a:rPr>
              <a:t> </a:t>
            </a:r>
            <a:r>
              <a:rPr lang="en-US" sz="1100" b="0" i="0" dirty="0" err="1">
                <a:solidFill>
                  <a:srgbClr val="1D1D1D"/>
                </a:solidFill>
                <a:effectLst/>
                <a:latin typeface="Arial" panose="020B0604020202020204" pitchFamily="34" charset="0"/>
              </a:rPr>
              <a:t>Toplumda</a:t>
            </a:r>
            <a:r>
              <a:rPr lang="en-US" sz="1100" b="0" i="0" dirty="0">
                <a:solidFill>
                  <a:srgbClr val="1D1D1D"/>
                </a:solidFill>
                <a:effectLst/>
                <a:latin typeface="Arial" panose="020B0604020202020204" pitchFamily="34" charset="0"/>
              </a:rPr>
              <a:t> </a:t>
            </a:r>
            <a:r>
              <a:rPr lang="en-US" sz="1100" b="0" i="0" dirty="0" err="1">
                <a:solidFill>
                  <a:srgbClr val="1D1D1D"/>
                </a:solidFill>
                <a:effectLst/>
                <a:latin typeface="Arial" panose="020B0604020202020204" pitchFamily="34" charset="0"/>
              </a:rPr>
              <a:t>gelişen</a:t>
            </a:r>
            <a:r>
              <a:rPr lang="en-US" sz="1100" b="0" i="0" dirty="0">
                <a:solidFill>
                  <a:srgbClr val="1D1D1D"/>
                </a:solidFill>
                <a:effectLst/>
                <a:latin typeface="Arial" panose="020B0604020202020204" pitchFamily="34" charset="0"/>
              </a:rPr>
              <a:t> </a:t>
            </a:r>
            <a:r>
              <a:rPr lang="en-US" sz="1100" b="0" i="0" dirty="0" err="1">
                <a:solidFill>
                  <a:srgbClr val="1D1D1D"/>
                </a:solidFill>
                <a:effectLst/>
                <a:latin typeface="Arial" panose="020B0604020202020204" pitchFamily="34" charset="0"/>
              </a:rPr>
              <a:t>pnömoni</a:t>
            </a:r>
            <a:endParaRPr lang="en-US" sz="1100" dirty="0"/>
          </a:p>
        </p:txBody>
      </p:sp>
      <p:pic>
        <p:nvPicPr>
          <p:cNvPr id="13" name="Picture 12" descr="A yellow and blue logo&#10;&#10;Description automatically generated">
            <a:extLst>
              <a:ext uri="{FF2B5EF4-FFF2-40B4-BE49-F238E27FC236}">
                <a16:creationId xmlns:a16="http://schemas.microsoft.com/office/drawing/2014/main" id="{DF887CAB-5EB6-D77F-4DD4-DDAC7C2CC59B}"/>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97434481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03C98-7F32-E6FC-DA7C-01E8AAFD1916}"/>
              </a:ext>
            </a:extLst>
          </p:cNvPr>
          <p:cNvSpPr>
            <a:spLocks noGrp="1"/>
          </p:cNvSpPr>
          <p:nvPr>
            <p:ph type="title"/>
          </p:nvPr>
        </p:nvSpPr>
        <p:spPr>
          <a:xfrm>
            <a:off x="613152" y="195684"/>
            <a:ext cx="10969218" cy="842156"/>
          </a:xfrm>
        </p:spPr>
        <p:txBody>
          <a:bodyPr>
            <a:normAutofit/>
          </a:bodyPr>
          <a:lstStyle/>
          <a:p>
            <a:r>
              <a:rPr lang="tr-TR" dirty="0"/>
              <a:t>Tüm yaş gruplarında küresel </a:t>
            </a:r>
            <a:r>
              <a:rPr lang="en-US" dirty="0" err="1"/>
              <a:t>ölüm</a:t>
            </a:r>
            <a:r>
              <a:rPr lang="en-US" dirty="0"/>
              <a:t> </a:t>
            </a:r>
            <a:r>
              <a:rPr lang="tr-TR" dirty="0"/>
              <a:t>sayısına göre sıralanmış </a:t>
            </a:r>
            <a:r>
              <a:rPr lang="en-US" dirty="0"/>
              <a:t>alt </a:t>
            </a:r>
            <a:r>
              <a:rPr lang="en-US" dirty="0" err="1"/>
              <a:t>solunum</a:t>
            </a:r>
            <a:r>
              <a:rPr lang="en-US" dirty="0"/>
              <a:t> </a:t>
            </a:r>
            <a:r>
              <a:rPr lang="en-US" dirty="0" err="1"/>
              <a:t>enfeksiyonu</a:t>
            </a:r>
            <a:r>
              <a:rPr lang="en-US" dirty="0"/>
              <a:t> </a:t>
            </a:r>
            <a:r>
              <a:rPr lang="tr-TR" dirty="0"/>
              <a:t>etiyolojiler</a:t>
            </a:r>
            <a:r>
              <a:rPr lang="en-US" dirty="0"/>
              <a:t>i</a:t>
            </a:r>
            <a:r>
              <a:rPr lang="tr-TR" dirty="0"/>
              <a:t> </a:t>
            </a:r>
          </a:p>
        </p:txBody>
      </p:sp>
      <p:pic>
        <p:nvPicPr>
          <p:cNvPr id="4" name="Content Placeholder 15">
            <a:extLst>
              <a:ext uri="{FF2B5EF4-FFF2-40B4-BE49-F238E27FC236}">
                <a16:creationId xmlns:a16="http://schemas.microsoft.com/office/drawing/2014/main" id="{F8E36145-E206-26A5-9429-8AA2FF43A3E1}"/>
              </a:ext>
            </a:extLst>
          </p:cNvPr>
          <p:cNvPicPr>
            <a:picLocks noGrp="1" noChangeAspect="1"/>
          </p:cNvPicPr>
          <p:nvPr>
            <p:ph idx="4294967295"/>
          </p:nvPr>
        </p:nvPicPr>
        <p:blipFill>
          <a:blip r:embed="rId2" cstate="print"/>
          <a:stretch>
            <a:fillRect/>
          </a:stretch>
        </p:blipFill>
        <p:spPr>
          <a:xfrm>
            <a:off x="0" y="1409700"/>
            <a:ext cx="6556375" cy="4645025"/>
          </a:xfrm>
          <a:prstGeom prst="rect">
            <a:avLst/>
          </a:prstGeom>
        </p:spPr>
      </p:pic>
      <p:sp>
        <p:nvSpPr>
          <p:cNvPr id="7" name="TextBox 6">
            <a:extLst>
              <a:ext uri="{FF2B5EF4-FFF2-40B4-BE49-F238E27FC236}">
                <a16:creationId xmlns:a16="http://schemas.microsoft.com/office/drawing/2014/main" id="{F7FBD6DC-8DDB-FCA6-08FC-EA41514F0CCA}"/>
              </a:ext>
            </a:extLst>
          </p:cNvPr>
          <p:cNvSpPr txBox="1"/>
          <p:nvPr/>
        </p:nvSpPr>
        <p:spPr>
          <a:xfrm>
            <a:off x="567843" y="5988364"/>
            <a:ext cx="9437761" cy="253916"/>
          </a:xfrm>
          <a:prstGeom prst="rect">
            <a:avLst/>
          </a:prstGeom>
          <a:noFill/>
        </p:spPr>
        <p:txBody>
          <a:bodyPr wrap="square">
            <a:spAutoFit/>
          </a:bodyPr>
          <a:lstStyle/>
          <a:p>
            <a:r>
              <a:rPr lang="en-US" sz="800" err="1"/>
              <a:t>Grafik</a:t>
            </a:r>
            <a:r>
              <a:rPr lang="en-US" sz="800"/>
              <a:t> </a:t>
            </a:r>
            <a:r>
              <a:rPr lang="en-US" sz="800" err="1"/>
              <a:t>referans</a:t>
            </a:r>
            <a:r>
              <a:rPr lang="en-US" sz="800"/>
              <a:t> 1’den </a:t>
            </a:r>
            <a:r>
              <a:rPr lang="en-US" sz="800" err="1"/>
              <a:t>üretilmiştir</a:t>
            </a:r>
            <a:r>
              <a:rPr lang="en-US" sz="800"/>
              <a:t>. </a:t>
            </a:r>
            <a:r>
              <a:rPr lang="en-US" sz="800" err="1"/>
              <a:t>Mevcut</a:t>
            </a:r>
            <a:r>
              <a:rPr lang="en-US" sz="800"/>
              <a:t> </a:t>
            </a:r>
            <a:r>
              <a:rPr lang="en-US" sz="800" err="1"/>
              <a:t>çalışma</a:t>
            </a:r>
            <a:r>
              <a:rPr lang="en-US" sz="800"/>
              <a:t> COVID </a:t>
            </a:r>
            <a:r>
              <a:rPr lang="en-US" sz="800" err="1"/>
              <a:t>dışı</a:t>
            </a:r>
            <a:r>
              <a:rPr lang="en-US" sz="800"/>
              <a:t> </a:t>
            </a:r>
            <a:r>
              <a:rPr lang="en-US" sz="800" err="1"/>
              <a:t>enfeksiyonları</a:t>
            </a:r>
            <a:r>
              <a:rPr lang="en-US" sz="800"/>
              <a:t> </a:t>
            </a:r>
            <a:r>
              <a:rPr lang="en-US" sz="800" err="1"/>
              <a:t>temel</a:t>
            </a:r>
            <a:r>
              <a:rPr lang="en-US" sz="800"/>
              <a:t> </a:t>
            </a:r>
            <a:r>
              <a:rPr lang="en-US" sz="800" err="1"/>
              <a:t>almaktadır</a:t>
            </a:r>
            <a:r>
              <a:rPr lang="en-US" sz="1050"/>
              <a:t>. </a:t>
            </a:r>
            <a:r>
              <a:rPr lang="en-US" sz="800" err="1"/>
              <a:t>Yaklaşık</a:t>
            </a:r>
            <a:r>
              <a:rPr lang="en-US" sz="800"/>
              <a:t> </a:t>
            </a:r>
            <a:r>
              <a:rPr lang="en-US" sz="800" err="1"/>
              <a:t>değerler</a:t>
            </a:r>
            <a:r>
              <a:rPr lang="en-US" sz="800"/>
              <a:t> </a:t>
            </a:r>
            <a:r>
              <a:rPr lang="en-US" sz="800" err="1"/>
              <a:t>milyon</a:t>
            </a:r>
            <a:r>
              <a:rPr lang="en-US" sz="800"/>
              <a:t> </a:t>
            </a:r>
            <a:r>
              <a:rPr lang="en-US" sz="800" err="1"/>
              <a:t>üzerindendir</a:t>
            </a:r>
            <a:r>
              <a:rPr lang="en-US" sz="800"/>
              <a:t> </a:t>
            </a:r>
            <a:endParaRPr lang="tr-TR" sz="1050"/>
          </a:p>
        </p:txBody>
      </p:sp>
      <p:sp>
        <p:nvSpPr>
          <p:cNvPr id="8" name="Text Placeholder 3">
            <a:extLst>
              <a:ext uri="{FF2B5EF4-FFF2-40B4-BE49-F238E27FC236}">
                <a16:creationId xmlns:a16="http://schemas.microsoft.com/office/drawing/2014/main" id="{51805129-8253-A63D-F012-24D919695468}"/>
              </a:ext>
            </a:extLst>
          </p:cNvPr>
          <p:cNvSpPr txBox="1">
            <a:spLocks/>
          </p:cNvSpPr>
          <p:nvPr/>
        </p:nvSpPr>
        <p:spPr>
          <a:xfrm>
            <a:off x="594922" y="6194655"/>
            <a:ext cx="9837459" cy="31047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 dirty="0"/>
              <a:t>1. GBD 2021 Lower Respiratory Infections and Antimicrobial Resistance Collaborators. Global, regional, and national incidence and mortality burden of non-COVID-19 lower respiratory infections and </a:t>
            </a:r>
            <a:r>
              <a:rPr lang="en-US" sz="600" dirty="0" err="1"/>
              <a:t>aetiologies</a:t>
            </a:r>
            <a:r>
              <a:rPr lang="en-US" sz="600" dirty="0"/>
              <a:t>, 1990-2021: a systematic analysis from the Global Burden of Disease Study 2021. Lancet Infect Dis. 2024 Sep;24(9):974-1002. </a:t>
            </a:r>
            <a:r>
              <a:rPr lang="en-US" sz="600" dirty="0" err="1"/>
              <a:t>doi</a:t>
            </a:r>
            <a:r>
              <a:rPr lang="en-US" sz="600" dirty="0"/>
              <a:t>: 10.1016/S1473-3099(24)00176-2. </a:t>
            </a:r>
            <a:r>
              <a:rPr lang="en-US" sz="600" dirty="0" err="1"/>
              <a:t>Epub</a:t>
            </a:r>
            <a:r>
              <a:rPr lang="en-US" sz="600" dirty="0"/>
              <a:t> 2024 Apr 15. PMID: 38636536; PMCID: PMC11339187.</a:t>
            </a:r>
            <a:endParaRPr lang="tr-TR" sz="600" dirty="0"/>
          </a:p>
        </p:txBody>
      </p:sp>
      <p:sp>
        <p:nvSpPr>
          <p:cNvPr id="3" name="Rectangle: Rounded Corners 2">
            <a:extLst>
              <a:ext uri="{FF2B5EF4-FFF2-40B4-BE49-F238E27FC236}">
                <a16:creationId xmlns:a16="http://schemas.microsoft.com/office/drawing/2014/main" id="{602E0B6B-DF7C-81D3-90FF-EAAB985D79BA}"/>
              </a:ext>
            </a:extLst>
          </p:cNvPr>
          <p:cNvSpPr/>
          <p:nvPr/>
        </p:nvSpPr>
        <p:spPr>
          <a:xfrm>
            <a:off x="7390617" y="1970152"/>
            <a:ext cx="4400132" cy="3238172"/>
          </a:xfrm>
          <a:prstGeom prst="roundRect">
            <a:avLst/>
          </a:prstGeom>
          <a:solidFill>
            <a:schemeClr val="accent2">
              <a:lumMod val="20000"/>
              <a:lumOff val="8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D018053A-85DE-F5B0-6F11-1AA69236754C}"/>
              </a:ext>
            </a:extLst>
          </p:cNvPr>
          <p:cNvSpPr/>
          <p:nvPr/>
        </p:nvSpPr>
        <p:spPr>
          <a:xfrm>
            <a:off x="7537899" y="2521767"/>
            <a:ext cx="4127602" cy="2355281"/>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5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tx1">
                    <a:lumMod val="50000"/>
                  </a:schemeClr>
                </a:solidFill>
                <a:effectLst/>
                <a:uLnTx/>
                <a:uFillTx/>
                <a:latin typeface="Calibri" panose="020F0502020204030204"/>
                <a:ea typeface="+mn-ea"/>
                <a:cs typeface="+mn-cs"/>
              </a:rPr>
              <a:t>2021 </a:t>
            </a:r>
            <a:r>
              <a:rPr kumimoji="0" lang="en-US" sz="2000" b="1" i="0" u="none" strike="noStrike" kern="0" cap="none" spc="0" normalizeH="0" baseline="0" noProof="0" dirty="0" err="1">
                <a:ln>
                  <a:noFill/>
                </a:ln>
                <a:solidFill>
                  <a:schemeClr val="tx1">
                    <a:lumMod val="50000"/>
                  </a:schemeClr>
                </a:solidFill>
                <a:effectLst/>
                <a:uLnTx/>
                <a:uFillTx/>
                <a:latin typeface="Calibri" panose="020F0502020204030204"/>
                <a:ea typeface="+mn-ea"/>
                <a:cs typeface="+mn-cs"/>
              </a:rPr>
              <a:t>yılında</a:t>
            </a:r>
            <a:endParaRPr kumimoji="0" lang="en-US" sz="2000" b="1" i="0" u="none" strike="noStrike" kern="0" cap="none" spc="0" normalizeH="0" baseline="0" noProof="0" dirty="0">
              <a:ln>
                <a:noFill/>
              </a:ln>
              <a:solidFill>
                <a:schemeClr val="tx1">
                  <a:lumMod val="50000"/>
                </a:schemeClr>
              </a:solidFill>
              <a:effectLst/>
              <a:uLnTx/>
              <a:uFillTx/>
              <a:latin typeface="Calibri" panose="020F0502020204030204"/>
              <a:ea typeface="+mn-ea"/>
              <a:cs typeface="+mn-cs"/>
            </a:endParaRPr>
          </a:p>
          <a:p>
            <a:pPr marL="0" marR="0" lvl="0" indent="0" defTabSz="914400" eaLnBrk="1" fontAlgn="auto" latinLnBrk="0" hangingPunct="1">
              <a:lnSpc>
                <a:spcPct val="15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lumMod val="50000"/>
                  </a:schemeClr>
                </a:solidFill>
                <a:effectLst/>
                <a:uLnTx/>
                <a:uFillTx/>
                <a:latin typeface="Calibri" panose="020F0502020204030204"/>
                <a:ea typeface="+mn-ea"/>
                <a:cs typeface="+mn-cs"/>
              </a:rPr>
              <a:t>T</a:t>
            </a:r>
            <a:r>
              <a:rPr kumimoji="0" lang="tr-TR" sz="1400" b="0" i="0" u="none" strike="noStrike" kern="0" cap="none" spc="0" normalizeH="0" baseline="0" noProof="0" dirty="0" err="1">
                <a:ln>
                  <a:noFill/>
                </a:ln>
                <a:solidFill>
                  <a:schemeClr val="tx1">
                    <a:lumMod val="50000"/>
                  </a:schemeClr>
                </a:solidFill>
                <a:effectLst/>
                <a:uLnTx/>
                <a:uFillTx/>
                <a:latin typeface="Calibri" panose="020F0502020204030204"/>
                <a:ea typeface="+mn-ea"/>
                <a:cs typeface="+mn-cs"/>
              </a:rPr>
              <a:t>üm</a:t>
            </a:r>
            <a:r>
              <a:rPr kumimoji="0" lang="tr-TR" sz="1400" b="0" i="0" u="none" strike="noStrike" kern="0" cap="none" spc="0" normalizeH="0" baseline="0" noProof="0" dirty="0">
                <a:ln>
                  <a:noFill/>
                </a:ln>
                <a:solidFill>
                  <a:schemeClr val="tx1">
                    <a:lumMod val="50000"/>
                  </a:schemeClr>
                </a:solidFill>
                <a:effectLst/>
                <a:uLnTx/>
                <a:uFillTx/>
                <a:latin typeface="Calibri" panose="020F0502020204030204"/>
                <a:ea typeface="+mn-ea"/>
                <a:cs typeface="+mn-cs"/>
              </a:rPr>
              <a:t> yaş gruplarındaki alt solunum yolu enfeksiyonu (ASYE) ölümlerinin en büyük oranından sorumlu olan patojen yine </a:t>
            </a:r>
            <a:r>
              <a:rPr kumimoji="0" lang="tr-TR" sz="1400" b="0" i="1" u="none" strike="noStrike" kern="0" cap="none" spc="0" normalizeH="0" baseline="0" noProof="0" dirty="0">
                <a:ln>
                  <a:noFill/>
                </a:ln>
                <a:solidFill>
                  <a:schemeClr val="tx1">
                    <a:lumMod val="50000"/>
                  </a:schemeClr>
                </a:solidFill>
                <a:effectLst/>
                <a:uLnTx/>
                <a:uFillTx/>
                <a:latin typeface="Calibri" panose="020F0502020204030204"/>
                <a:ea typeface="+mn-ea"/>
                <a:cs typeface="+mn-cs"/>
              </a:rPr>
              <a:t>S. </a:t>
            </a:r>
            <a:r>
              <a:rPr kumimoji="0" lang="tr-TR" sz="1400" b="0" i="1" u="none" strike="noStrike" kern="0" cap="none" spc="0" normalizeH="0" baseline="0" noProof="0" dirty="0" err="1">
                <a:ln>
                  <a:noFill/>
                </a:ln>
                <a:solidFill>
                  <a:schemeClr val="tx1">
                    <a:lumMod val="50000"/>
                  </a:schemeClr>
                </a:solidFill>
                <a:effectLst/>
                <a:uLnTx/>
                <a:uFillTx/>
                <a:latin typeface="Calibri" panose="020F0502020204030204"/>
                <a:ea typeface="+mn-ea"/>
                <a:cs typeface="+mn-cs"/>
              </a:rPr>
              <a:t>pneumoniae</a:t>
            </a:r>
            <a:r>
              <a:rPr kumimoji="0" lang="tr-TR" sz="1400" b="0" i="0" u="none" strike="noStrike" kern="0" cap="none" spc="0" normalizeH="0" baseline="0" noProof="0" dirty="0">
                <a:ln>
                  <a:noFill/>
                </a:ln>
                <a:solidFill>
                  <a:schemeClr val="tx1">
                    <a:lumMod val="50000"/>
                  </a:schemeClr>
                </a:solidFill>
                <a:effectLst/>
                <a:uLnTx/>
                <a:uFillTx/>
                <a:latin typeface="Calibri" panose="020F0502020204030204"/>
                <a:ea typeface="+mn-ea"/>
                <a:cs typeface="+mn-cs"/>
              </a:rPr>
              <a:t> idi</a:t>
            </a:r>
            <a:r>
              <a:rPr kumimoji="0" lang="en-US" sz="1400" b="0" i="0" u="none" strike="noStrike" kern="0" cap="none" spc="0" normalizeH="0" baseline="0" noProof="0" dirty="0">
                <a:ln>
                  <a:noFill/>
                </a:ln>
                <a:solidFill>
                  <a:schemeClr val="tx1">
                    <a:lumMod val="50000"/>
                  </a:schemeClr>
                </a:solidFill>
                <a:effectLst/>
                <a:uLnTx/>
                <a:uFillTx/>
                <a:latin typeface="Calibri" panose="020F0502020204030204"/>
                <a:ea typeface="+mn-ea"/>
                <a:cs typeface="+mn-cs"/>
              </a:rPr>
              <a:t>. </a:t>
            </a:r>
            <a:r>
              <a:rPr kumimoji="0" lang="en-US" sz="1400" b="0" i="0" u="none" strike="noStrike" kern="0" cap="none" spc="0" normalizeH="0" baseline="30000" noProof="0" dirty="0">
                <a:ln>
                  <a:noFill/>
                </a:ln>
                <a:solidFill>
                  <a:schemeClr val="tx1">
                    <a:lumMod val="50000"/>
                  </a:schemeClr>
                </a:solidFill>
                <a:effectLst/>
                <a:uLnTx/>
                <a:uFillTx/>
                <a:latin typeface="Calibri" panose="020F0502020204030204"/>
                <a:ea typeface="+mn-ea"/>
                <a:cs typeface="+mn-cs"/>
              </a:rPr>
              <a:t>1</a:t>
            </a:r>
            <a:endParaRPr kumimoji="0" lang="en-US" sz="1400" b="0" i="0" u="none" strike="noStrike" kern="0" cap="none" spc="0" normalizeH="0" baseline="0" noProof="0" dirty="0">
              <a:ln>
                <a:noFill/>
              </a:ln>
              <a:solidFill>
                <a:schemeClr val="tx1">
                  <a:lumMod val="50000"/>
                </a:schemeClr>
              </a:solidFill>
              <a:effectLst/>
              <a:uLnTx/>
              <a:uFillTx/>
              <a:latin typeface="Calibri" panose="020F0502020204030204"/>
              <a:ea typeface="+mn-ea"/>
              <a:cs typeface="+mn-cs"/>
            </a:endParaRPr>
          </a:p>
          <a:p>
            <a:pPr marL="0" marR="0" lvl="0" indent="0" defTabSz="914400" eaLnBrk="1" fontAlgn="auto" latinLnBrk="0" hangingPunct="1">
              <a:lnSpc>
                <a:spcPct val="150000"/>
              </a:lnSpc>
              <a:spcBef>
                <a:spcPts val="0"/>
              </a:spcBef>
              <a:spcAft>
                <a:spcPts val="0"/>
              </a:spcAft>
              <a:buClrTx/>
              <a:buSzTx/>
              <a:buFontTx/>
              <a:buNone/>
              <a:tabLst/>
              <a:defRPr/>
            </a:pPr>
            <a:r>
              <a:rPr kumimoji="0" lang="en-US" sz="1400" b="0" i="0" u="none" strike="noStrike" kern="0" cap="none" spc="0" normalizeH="0" baseline="0" noProof="0" dirty="0" err="1">
                <a:ln>
                  <a:noFill/>
                </a:ln>
                <a:solidFill>
                  <a:schemeClr val="tx1">
                    <a:lumMod val="50000"/>
                  </a:schemeClr>
                </a:solidFill>
                <a:effectLst/>
                <a:uLnTx/>
                <a:uFillTx/>
                <a:latin typeface="Calibri" panose="020F0502020204030204"/>
                <a:ea typeface="+mn-ea"/>
                <a:cs typeface="+mn-cs"/>
              </a:rPr>
              <a:t>Yaklaşık</a:t>
            </a:r>
            <a:r>
              <a:rPr kumimoji="0" lang="en-US" sz="1400" b="0" i="0" u="none" strike="noStrike" kern="0" cap="none" spc="0" normalizeH="0" baseline="0" noProof="0" dirty="0">
                <a:ln>
                  <a:noFill/>
                </a:ln>
                <a:solidFill>
                  <a:schemeClr val="tx1">
                    <a:lumMod val="50000"/>
                  </a:schemeClr>
                </a:solidFill>
                <a:effectLst/>
                <a:uLnTx/>
                <a:uFillTx/>
                <a:latin typeface="Calibri" panose="020F0502020204030204"/>
                <a:ea typeface="+mn-ea"/>
                <a:cs typeface="+mn-cs"/>
              </a:rPr>
              <a:t> </a:t>
            </a:r>
            <a:r>
              <a:rPr kumimoji="0" lang="tr-TR" sz="1400" b="0" i="0" u="none" strike="noStrike" kern="0" cap="none" spc="0" normalizeH="0" baseline="0" noProof="0" dirty="0">
                <a:ln>
                  <a:noFill/>
                </a:ln>
                <a:solidFill>
                  <a:schemeClr val="tx1">
                    <a:lumMod val="50000"/>
                  </a:schemeClr>
                </a:solidFill>
                <a:effectLst/>
                <a:uLnTx/>
                <a:uFillTx/>
                <a:latin typeface="Calibri" panose="020F0502020204030204"/>
                <a:ea typeface="+mn-ea"/>
                <a:cs typeface="+mn-cs"/>
              </a:rPr>
              <a:t>505.000 ölüme yol açtı.</a:t>
            </a:r>
            <a:r>
              <a:rPr kumimoji="0" lang="en-US" sz="1400" b="0" i="0" u="none" strike="noStrike" kern="0" cap="none" spc="0" normalizeH="0" baseline="30000" noProof="0" dirty="0">
                <a:ln>
                  <a:noFill/>
                </a:ln>
                <a:solidFill>
                  <a:schemeClr val="tx1">
                    <a:lumMod val="50000"/>
                  </a:schemeClr>
                </a:solidFill>
                <a:effectLst/>
                <a:uLnTx/>
                <a:uFillTx/>
                <a:latin typeface="Calibri" panose="020F0502020204030204"/>
                <a:ea typeface="+mn-ea"/>
                <a:cs typeface="+mn-cs"/>
              </a:rPr>
              <a:t>1</a:t>
            </a:r>
            <a:endParaRPr kumimoji="0" lang="tr-TR" sz="1400" b="0" i="0" u="none" strike="noStrike" kern="0" cap="none" spc="0" normalizeH="0" baseline="30000" noProof="0" dirty="0">
              <a:ln>
                <a:noFill/>
              </a:ln>
              <a:solidFill>
                <a:schemeClr val="tx1">
                  <a:lumMod val="50000"/>
                </a:schemeClr>
              </a:solidFill>
              <a:effectLst/>
              <a:uLnTx/>
              <a:uFillTx/>
              <a:latin typeface="Calibri" panose="020F0502020204030204"/>
              <a:ea typeface="+mn-ea"/>
              <a:cs typeface="+mn-cs"/>
            </a:endParaRPr>
          </a:p>
          <a:p>
            <a:pPr marL="0" marR="0" lvl="0" indent="0" algn="ctr" defTabSz="457200" eaLnBrk="1" fontAlgn="auto" latinLnBrk="0" hangingPunct="1">
              <a:lnSpc>
                <a:spcPct val="15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lumMod val="50000"/>
                </a:schemeClr>
              </a:solidFill>
              <a:effectLst/>
              <a:uLnTx/>
              <a:uFillTx/>
              <a:latin typeface="Calibri" panose="020F0502020204030204"/>
              <a:ea typeface="+mn-ea"/>
              <a:cs typeface="+mn-cs"/>
            </a:endParaRPr>
          </a:p>
        </p:txBody>
      </p:sp>
      <p:pic>
        <p:nvPicPr>
          <p:cNvPr id="11" name="Picture 10" descr="A yellow and blue logo&#10;&#10;Description automatically generated">
            <a:extLst>
              <a:ext uri="{FF2B5EF4-FFF2-40B4-BE49-F238E27FC236}">
                <a16:creationId xmlns:a16="http://schemas.microsoft.com/office/drawing/2014/main" id="{610FCD49-C5E8-26F4-1F95-929A19E6683C}"/>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40035073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35B4B-FD62-58C4-C49A-5B1DB80299D6}"/>
              </a:ext>
            </a:extLst>
          </p:cNvPr>
          <p:cNvSpPr>
            <a:spLocks noGrp="1"/>
          </p:cNvSpPr>
          <p:nvPr>
            <p:ph type="title"/>
          </p:nvPr>
        </p:nvSpPr>
        <p:spPr/>
        <p:txBody>
          <a:bodyPr anchor="b">
            <a:normAutofit/>
          </a:bodyPr>
          <a:lstStyle/>
          <a:p>
            <a:r>
              <a:rPr lang="tr-TR" dirty="0"/>
              <a:t>S pneumoniae, dünya çapında solunum yolu enfeksiyonlarının önde gelen bir nedenidir</a:t>
            </a:r>
            <a:r>
              <a:rPr lang="en-US" baseline="30000" dirty="0"/>
              <a:t>1</a:t>
            </a:r>
          </a:p>
        </p:txBody>
      </p:sp>
      <p:sp>
        <p:nvSpPr>
          <p:cNvPr id="4" name="Text Placeholder 3">
            <a:extLst>
              <a:ext uri="{FF2B5EF4-FFF2-40B4-BE49-F238E27FC236}">
                <a16:creationId xmlns:a16="http://schemas.microsoft.com/office/drawing/2014/main" id="{CAFA2B26-AF65-1885-07D0-BD26599EDDB6}"/>
              </a:ext>
            </a:extLst>
          </p:cNvPr>
          <p:cNvSpPr>
            <a:spLocks noGrp="1"/>
          </p:cNvSpPr>
          <p:nvPr>
            <p:ph type="body" sz="quarter" idx="4294967295"/>
          </p:nvPr>
        </p:nvSpPr>
        <p:spPr>
          <a:xfrm>
            <a:off x="430135" y="5975149"/>
            <a:ext cx="9788248" cy="358775"/>
          </a:xfrm>
        </p:spPr>
        <p:txBody>
          <a:bodyPr>
            <a:normAutofit fontScale="32500" lnSpcReduction="20000"/>
          </a:bodyPr>
          <a:lstStyle/>
          <a:p>
            <a:pPr marL="0" indent="0">
              <a:lnSpc>
                <a:spcPct val="120000"/>
              </a:lnSpc>
              <a:spcBef>
                <a:spcPts val="0"/>
              </a:spcBef>
              <a:buNone/>
            </a:pPr>
            <a:r>
              <a:rPr lang="tr-TR" noProof="0" dirty="0">
                <a:solidFill>
                  <a:schemeClr val="bg1">
                    <a:lumMod val="50000"/>
                  </a:schemeClr>
                </a:solidFill>
              </a:rPr>
              <a:t>M= milyon; K=bin.</a:t>
            </a:r>
          </a:p>
          <a:p>
            <a:pPr marL="0" indent="0">
              <a:lnSpc>
                <a:spcPct val="120000"/>
              </a:lnSpc>
              <a:spcBef>
                <a:spcPts val="0"/>
              </a:spcBef>
              <a:buNone/>
            </a:pPr>
            <a:r>
              <a:rPr lang="en-US" noProof="0" dirty="0">
                <a:solidFill>
                  <a:schemeClr val="bg1">
                    <a:lumMod val="50000"/>
                  </a:schemeClr>
                </a:solidFill>
              </a:rPr>
              <a:t>*</a:t>
            </a:r>
            <a:r>
              <a:rPr lang="en-US" dirty="0">
                <a:solidFill>
                  <a:schemeClr val="bg1">
                    <a:lumMod val="50000"/>
                  </a:schemeClr>
                </a:solidFill>
              </a:rPr>
              <a:t>COVID-19 </a:t>
            </a:r>
            <a:r>
              <a:rPr lang="en-US" dirty="0" err="1">
                <a:solidFill>
                  <a:schemeClr val="bg1">
                    <a:lumMod val="50000"/>
                  </a:schemeClr>
                </a:solidFill>
              </a:rPr>
              <a:t>dışı</a:t>
            </a:r>
            <a:r>
              <a:rPr lang="en-US" dirty="0">
                <a:solidFill>
                  <a:schemeClr val="bg1">
                    <a:lumMod val="50000"/>
                  </a:schemeClr>
                </a:solidFill>
              </a:rPr>
              <a:t> </a:t>
            </a:r>
            <a:r>
              <a:rPr lang="en-US" dirty="0" err="1">
                <a:solidFill>
                  <a:schemeClr val="bg1">
                    <a:lumMod val="50000"/>
                  </a:schemeClr>
                </a:solidFill>
              </a:rPr>
              <a:t>enfeksiyonlar</a:t>
            </a:r>
            <a:r>
              <a:rPr lang="en-US" dirty="0">
                <a:solidFill>
                  <a:schemeClr val="bg1">
                    <a:lumMod val="50000"/>
                  </a:schemeClr>
                </a:solidFill>
              </a:rPr>
              <a:t> </a:t>
            </a:r>
          </a:p>
          <a:p>
            <a:pPr marL="0" indent="0">
              <a:lnSpc>
                <a:spcPct val="120000"/>
              </a:lnSpc>
              <a:spcBef>
                <a:spcPts val="0"/>
              </a:spcBef>
              <a:buNone/>
            </a:pPr>
            <a:r>
              <a:rPr lang="en-US" noProof="0" dirty="0">
                <a:solidFill>
                  <a:schemeClr val="bg1">
                    <a:lumMod val="50000"/>
                  </a:schemeClr>
                </a:solidFill>
              </a:rPr>
              <a:t>1. GBD 2021 Lower Respiratory Infections and Antimicrobial Resistance Collaborators. Lancet Infect Dis. 2024;24(9):974-1002. 2. Our World in Data. Cumulative confirmed COVID-19 cases and deaths</a:t>
            </a:r>
            <a:r>
              <a:rPr lang="en-US" dirty="0">
                <a:solidFill>
                  <a:schemeClr val="bg1">
                    <a:lumMod val="50000"/>
                  </a:schemeClr>
                </a:solidFill>
              </a:rPr>
              <a:t>. </a:t>
            </a:r>
            <a:r>
              <a:rPr lang="en-US" dirty="0" err="1">
                <a:solidFill>
                  <a:schemeClr val="bg1">
                    <a:lumMod val="50000"/>
                  </a:schemeClr>
                </a:solidFill>
              </a:rPr>
              <a:t>Erişim</a:t>
            </a:r>
            <a:r>
              <a:rPr lang="en-US" dirty="0">
                <a:solidFill>
                  <a:schemeClr val="bg1">
                    <a:lumMod val="50000"/>
                  </a:schemeClr>
                </a:solidFill>
              </a:rPr>
              <a:t> </a:t>
            </a:r>
            <a:r>
              <a:rPr lang="en-US" dirty="0" err="1">
                <a:solidFill>
                  <a:schemeClr val="bg1">
                    <a:lumMod val="50000"/>
                  </a:schemeClr>
                </a:solidFill>
              </a:rPr>
              <a:t>tarihi</a:t>
            </a:r>
            <a:r>
              <a:rPr lang="en-US" dirty="0">
                <a:solidFill>
                  <a:schemeClr val="bg1">
                    <a:lumMod val="50000"/>
                  </a:schemeClr>
                </a:solidFill>
              </a:rPr>
              <a:t>: 19 </a:t>
            </a:r>
            <a:r>
              <a:rPr lang="en-US" dirty="0" err="1">
                <a:solidFill>
                  <a:schemeClr val="bg1">
                    <a:lumMod val="50000"/>
                  </a:schemeClr>
                </a:solidFill>
              </a:rPr>
              <a:t>Ağustos</a:t>
            </a:r>
            <a:r>
              <a:rPr lang="en-US" dirty="0">
                <a:solidFill>
                  <a:schemeClr val="bg1">
                    <a:lumMod val="50000"/>
                  </a:schemeClr>
                </a:solidFill>
              </a:rPr>
              <a:t> 2024.</a:t>
            </a:r>
            <a:r>
              <a:rPr lang="en-US" noProof="0" dirty="0">
                <a:solidFill>
                  <a:schemeClr val="bg1">
                    <a:lumMod val="50000"/>
                  </a:schemeClr>
                </a:solidFill>
              </a:rPr>
              <a:t> https://ourworldindata.org/</a:t>
            </a:r>
            <a:r>
              <a:rPr lang="en-US" noProof="0" dirty="0" err="1">
                <a:solidFill>
                  <a:schemeClr val="bg1">
                    <a:lumMod val="50000"/>
                  </a:schemeClr>
                </a:solidFill>
              </a:rPr>
              <a:t>grapher</a:t>
            </a:r>
            <a:r>
              <a:rPr lang="en-US" noProof="0" dirty="0">
                <a:solidFill>
                  <a:schemeClr val="bg1">
                    <a:lumMod val="50000"/>
                  </a:schemeClr>
                </a:solidFill>
              </a:rPr>
              <a:t>/cumulative-deaths-and-cases-covid-19?time=2021-01-08..2022-01-06</a:t>
            </a:r>
          </a:p>
        </p:txBody>
      </p:sp>
      <p:sp>
        <p:nvSpPr>
          <p:cNvPr id="5" name="Parallelogram 4">
            <a:extLst>
              <a:ext uri="{FF2B5EF4-FFF2-40B4-BE49-F238E27FC236}">
                <a16:creationId xmlns:a16="http://schemas.microsoft.com/office/drawing/2014/main" id="{D1FB666A-9590-66DB-28CA-6B3A2176251D}"/>
              </a:ext>
            </a:extLst>
          </p:cNvPr>
          <p:cNvSpPr/>
          <p:nvPr/>
        </p:nvSpPr>
        <p:spPr>
          <a:xfrm>
            <a:off x="426753" y="4148390"/>
            <a:ext cx="11338494" cy="1773904"/>
          </a:xfrm>
          <a:prstGeom prst="parallelogram">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able 2 Cell 2, 1 to Text">
            <a:extLst>
              <a:ext uri="{FF2B5EF4-FFF2-40B4-BE49-F238E27FC236}">
                <a16:creationId xmlns:a16="http://schemas.microsoft.com/office/drawing/2014/main" id="{A2BF6314-1333-0301-990D-5227E96F8ABA}"/>
              </a:ext>
            </a:extLst>
          </p:cNvPr>
          <p:cNvSpPr txBox="1"/>
          <p:nvPr/>
        </p:nvSpPr>
        <p:spPr>
          <a:xfrm>
            <a:off x="2354839" y="3299055"/>
            <a:ext cx="2158724" cy="678661"/>
          </a:xfrm>
          <a:prstGeom prst="rect">
            <a:avLst/>
          </a:prstGeom>
          <a:noFill/>
        </p:spPr>
        <p:txBody>
          <a:bodyPr vert="horz" wrap="square" lIns="0" tIns="0" rIns="0" bIns="0" rtlCol="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1" u="none" strike="noStrike" kern="1200" cap="none" spc="0" normalizeH="0" baseline="0" noProof="0">
                <a:ln>
                  <a:noFill/>
                </a:ln>
                <a:solidFill>
                  <a:srgbClr val="0095FF"/>
                </a:solidFill>
                <a:effectLst/>
                <a:uLnTx/>
                <a:uFillTx/>
                <a:latin typeface="Arial" panose="020B0604020202020204"/>
                <a:ea typeface="+mn-ea"/>
                <a:cs typeface="+mn-cs"/>
              </a:rPr>
              <a:t>Streptococcus</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1" u="none" strike="noStrike" kern="1200" cap="none" spc="0" normalizeH="0" baseline="0" noProof="0">
                <a:ln>
                  <a:noFill/>
                </a:ln>
                <a:solidFill>
                  <a:srgbClr val="0095FF"/>
                </a:solidFill>
                <a:effectLst/>
                <a:uLnTx/>
                <a:uFillTx/>
                <a:latin typeface="Arial" panose="020B0604020202020204"/>
                <a:ea typeface="+mn-ea"/>
                <a:cs typeface="+mn-cs"/>
              </a:rPr>
              <a:t>Pneumoniae</a:t>
            </a:r>
            <a:r>
              <a:rPr kumimoji="0" lang="en-US" sz="2000" b="1" i="1" u="none" strike="noStrike" kern="1200" cap="none" spc="0" normalizeH="0" baseline="30000" noProof="0">
                <a:ln>
                  <a:noFill/>
                </a:ln>
                <a:solidFill>
                  <a:srgbClr val="0095FF"/>
                </a:solidFill>
                <a:effectLst/>
                <a:uLnTx/>
                <a:uFillTx/>
                <a:latin typeface="Arial" panose="020B0604020202020204"/>
                <a:ea typeface="+mn-ea"/>
                <a:cs typeface="+mn-cs"/>
              </a:rPr>
              <a:t>1</a:t>
            </a:r>
            <a:r>
              <a:rPr kumimoji="0" lang="en-US" sz="2000" b="1" i="1" u="none" strike="noStrike" kern="1200" cap="none" spc="0" normalizeH="0" baseline="0" noProof="0">
                <a:ln>
                  <a:noFill/>
                </a:ln>
                <a:solidFill>
                  <a:srgbClr val="0095FF"/>
                </a:solidFill>
                <a:effectLst/>
                <a:uLnTx/>
                <a:uFillTx/>
                <a:latin typeface="Arial" panose="020B0604020202020204"/>
                <a:ea typeface="+mn-ea"/>
                <a:cs typeface="+mn-cs"/>
              </a:rPr>
              <a:t>*</a:t>
            </a:r>
          </a:p>
        </p:txBody>
      </p:sp>
      <p:sp>
        <p:nvSpPr>
          <p:cNvPr id="12" name="Table 2 Cell 3, 1 to Text">
            <a:extLst>
              <a:ext uri="{FF2B5EF4-FFF2-40B4-BE49-F238E27FC236}">
                <a16:creationId xmlns:a16="http://schemas.microsoft.com/office/drawing/2014/main" id="{052C2EF0-EA90-8CAF-67D8-9BAF7A95772F}"/>
              </a:ext>
            </a:extLst>
          </p:cNvPr>
          <p:cNvSpPr txBox="1"/>
          <p:nvPr/>
        </p:nvSpPr>
        <p:spPr>
          <a:xfrm>
            <a:off x="4513563" y="3299055"/>
            <a:ext cx="2158724" cy="678661"/>
          </a:xfrm>
          <a:prstGeom prst="rect">
            <a:avLst/>
          </a:prstGeom>
          <a:noFill/>
        </p:spPr>
        <p:txBody>
          <a:bodyPr vert="horz" wrap="square" lIns="0" tIns="0" rIns="0" bIns="0" rtlCol="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95FF"/>
                </a:solidFill>
                <a:effectLst/>
                <a:uLnTx/>
                <a:uFillTx/>
                <a:latin typeface="Arial" panose="020B0604020202020204"/>
                <a:ea typeface="+mn-ea"/>
                <a:cs typeface="+mn-cs"/>
              </a:rPr>
              <a:t>Respirator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95FF"/>
                </a:solidFill>
                <a:effectLst/>
                <a:uLnTx/>
                <a:uFillTx/>
                <a:latin typeface="Arial" panose="020B0604020202020204"/>
                <a:ea typeface="+mn-ea"/>
                <a:cs typeface="+mn-cs"/>
              </a:rPr>
              <a:t>syncytial virus</a:t>
            </a:r>
            <a:r>
              <a:rPr kumimoji="0" lang="en-US" sz="2000" b="1" i="0" u="none" strike="noStrike" kern="1200" cap="none" spc="0" normalizeH="0" baseline="30000" noProof="0">
                <a:ln>
                  <a:noFill/>
                </a:ln>
                <a:solidFill>
                  <a:srgbClr val="0095FF"/>
                </a:solidFill>
                <a:effectLst/>
                <a:uLnTx/>
                <a:uFillTx/>
                <a:latin typeface="Arial" panose="020B0604020202020204"/>
                <a:ea typeface="+mn-ea"/>
                <a:cs typeface="+mn-cs"/>
              </a:rPr>
              <a:t>1</a:t>
            </a:r>
            <a:r>
              <a:rPr kumimoji="0" lang="en-US" sz="2000" b="1" i="0" u="none" strike="noStrike" kern="1200" cap="none" spc="0" normalizeH="0" baseline="0" noProof="0">
                <a:ln>
                  <a:noFill/>
                </a:ln>
                <a:solidFill>
                  <a:srgbClr val="0095FF"/>
                </a:solidFill>
                <a:effectLst/>
                <a:uLnTx/>
                <a:uFillTx/>
                <a:latin typeface="Arial" panose="020B0604020202020204"/>
                <a:ea typeface="+mn-ea"/>
                <a:cs typeface="+mn-cs"/>
              </a:rPr>
              <a:t>*</a:t>
            </a:r>
          </a:p>
        </p:txBody>
      </p:sp>
      <p:sp>
        <p:nvSpPr>
          <p:cNvPr id="13" name="Table 2 Cell 4, 1 to Text">
            <a:extLst>
              <a:ext uri="{FF2B5EF4-FFF2-40B4-BE49-F238E27FC236}">
                <a16:creationId xmlns:a16="http://schemas.microsoft.com/office/drawing/2014/main" id="{834A98E7-8540-CC14-B411-645D0BA6C933}"/>
              </a:ext>
            </a:extLst>
          </p:cNvPr>
          <p:cNvSpPr txBox="1"/>
          <p:nvPr/>
        </p:nvSpPr>
        <p:spPr>
          <a:xfrm>
            <a:off x="6672287" y="3299055"/>
            <a:ext cx="2158724" cy="678661"/>
          </a:xfrm>
          <a:prstGeom prst="rect">
            <a:avLst/>
          </a:prstGeom>
          <a:noFill/>
        </p:spPr>
        <p:txBody>
          <a:bodyPr vert="horz" wrap="square" lIns="0" tIns="0" rIns="0" bIns="0" rtlCol="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95FF"/>
                </a:solidFill>
                <a:effectLst/>
                <a:uLnTx/>
                <a:uFillTx/>
                <a:latin typeface="Arial" panose="020B0604020202020204"/>
                <a:ea typeface="+mn-ea"/>
                <a:cs typeface="+mn-cs"/>
              </a:rPr>
              <a:t>Influenza</a:t>
            </a:r>
            <a:r>
              <a:rPr kumimoji="0" lang="en-US" sz="2000" b="1" i="0" u="none" strike="noStrike" kern="1200" cap="none" spc="0" normalizeH="0" baseline="30000" noProof="0">
                <a:ln>
                  <a:noFill/>
                </a:ln>
                <a:solidFill>
                  <a:srgbClr val="0095FF"/>
                </a:solidFill>
                <a:effectLst/>
                <a:uLnTx/>
                <a:uFillTx/>
                <a:latin typeface="Arial" panose="020B0604020202020204"/>
                <a:ea typeface="+mn-ea"/>
                <a:cs typeface="+mn-cs"/>
              </a:rPr>
              <a:t>1</a:t>
            </a:r>
            <a:r>
              <a:rPr kumimoji="0" lang="en-US" sz="2000" b="1" i="0" u="none" strike="noStrike" kern="1200" cap="none" spc="0" normalizeH="0" baseline="0" noProof="0">
                <a:ln>
                  <a:noFill/>
                </a:ln>
                <a:solidFill>
                  <a:srgbClr val="0095FF"/>
                </a:solidFill>
                <a:effectLst/>
                <a:uLnTx/>
                <a:uFillTx/>
                <a:latin typeface="Arial" panose="020B0604020202020204"/>
                <a:ea typeface="+mn-ea"/>
                <a:cs typeface="+mn-cs"/>
              </a:rPr>
              <a:t>*</a:t>
            </a:r>
            <a:endParaRPr kumimoji="0" lang="en-US" sz="2000" b="1" i="0" u="none" strike="noStrike" kern="1200" cap="none" spc="0" normalizeH="0" baseline="30000" noProof="0">
              <a:ln>
                <a:noFill/>
              </a:ln>
              <a:solidFill>
                <a:srgbClr val="0095FF"/>
              </a:solidFill>
              <a:effectLst/>
              <a:uLnTx/>
              <a:uFillTx/>
              <a:latin typeface="Arial" panose="020B0604020202020204"/>
              <a:ea typeface="+mn-ea"/>
              <a:cs typeface="+mn-cs"/>
            </a:endParaRPr>
          </a:p>
        </p:txBody>
      </p:sp>
      <p:sp>
        <p:nvSpPr>
          <p:cNvPr id="14" name="Table 2 Cell 5, 1 to Text">
            <a:extLst>
              <a:ext uri="{FF2B5EF4-FFF2-40B4-BE49-F238E27FC236}">
                <a16:creationId xmlns:a16="http://schemas.microsoft.com/office/drawing/2014/main" id="{04D77FE5-CB6D-8C40-56E1-1AAF04ECBFAC}"/>
              </a:ext>
            </a:extLst>
          </p:cNvPr>
          <p:cNvSpPr txBox="1"/>
          <p:nvPr/>
        </p:nvSpPr>
        <p:spPr>
          <a:xfrm>
            <a:off x="9139021" y="3299055"/>
            <a:ext cx="2158724" cy="678661"/>
          </a:xfrm>
          <a:prstGeom prst="rect">
            <a:avLst/>
          </a:prstGeom>
          <a:noFill/>
        </p:spPr>
        <p:txBody>
          <a:bodyPr vert="horz" wrap="square" lIns="0" tIns="0" rIns="0" bIns="0" rtlCol="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95FF"/>
                </a:solidFill>
                <a:effectLst/>
                <a:uLnTx/>
                <a:uFillTx/>
                <a:latin typeface="Arial" panose="020B0604020202020204"/>
                <a:ea typeface="+mn-ea"/>
                <a:cs typeface="+mn-cs"/>
              </a:rPr>
              <a:t>SARS–</a:t>
            </a:r>
            <a:r>
              <a:rPr kumimoji="0" lang="en-US" sz="2000" b="1" i="0" u="none" strike="noStrike" kern="1200" cap="none" spc="0" normalizeH="0" baseline="0" noProof="0" err="1">
                <a:ln>
                  <a:noFill/>
                </a:ln>
                <a:solidFill>
                  <a:srgbClr val="0095FF"/>
                </a:solidFill>
                <a:effectLst/>
                <a:uLnTx/>
                <a:uFillTx/>
                <a:latin typeface="Arial" panose="020B0604020202020204"/>
                <a:ea typeface="+mn-ea"/>
                <a:cs typeface="+mn-cs"/>
              </a:rPr>
              <a:t>CoV</a:t>
            </a:r>
            <a:r>
              <a:rPr kumimoji="0" lang="en-US" sz="2000" b="1" i="0" u="none" strike="noStrike" kern="1200" cap="none" spc="0" normalizeH="0" baseline="0" noProof="0">
                <a:ln>
                  <a:noFill/>
                </a:ln>
                <a:solidFill>
                  <a:srgbClr val="0095FF"/>
                </a:solidFill>
                <a:effectLst/>
                <a:uLnTx/>
                <a:uFillTx/>
                <a:latin typeface="Arial" panose="020B0604020202020204"/>
                <a:ea typeface="+mn-ea"/>
                <a:cs typeface="+mn-cs"/>
              </a:rPr>
              <a:t>–2</a:t>
            </a:r>
            <a:r>
              <a:rPr kumimoji="0" lang="en-US" sz="2000" b="1" i="0" u="none" strike="noStrike" kern="1200" cap="none" spc="0" normalizeH="0" baseline="30000" noProof="0">
                <a:ln>
                  <a:noFill/>
                </a:ln>
                <a:solidFill>
                  <a:srgbClr val="0095FF"/>
                </a:solidFill>
                <a:effectLst/>
                <a:uLnTx/>
                <a:uFillTx/>
                <a:latin typeface="Arial" panose="020B0604020202020204"/>
                <a:ea typeface="+mn-ea"/>
                <a:cs typeface="+mn-cs"/>
              </a:rPr>
              <a:t>2</a:t>
            </a:r>
          </a:p>
        </p:txBody>
      </p:sp>
      <p:sp>
        <p:nvSpPr>
          <p:cNvPr id="15" name="Table 2 Cell 1, 2 to Text">
            <a:extLst>
              <a:ext uri="{FF2B5EF4-FFF2-40B4-BE49-F238E27FC236}">
                <a16:creationId xmlns:a16="http://schemas.microsoft.com/office/drawing/2014/main" id="{94CCB224-A050-1381-E037-10B48752D31D}"/>
              </a:ext>
            </a:extLst>
          </p:cNvPr>
          <p:cNvSpPr txBox="1"/>
          <p:nvPr/>
        </p:nvSpPr>
        <p:spPr>
          <a:xfrm>
            <a:off x="1096934" y="4345428"/>
            <a:ext cx="1031828" cy="598959"/>
          </a:xfrm>
          <a:prstGeom prst="rect">
            <a:avLst/>
          </a:prstGeom>
          <a:noFill/>
        </p:spPr>
        <p:txBody>
          <a:bodyPr vert="horz" wrap="square"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95FF"/>
                </a:solidFill>
                <a:effectLst/>
                <a:uLnTx/>
                <a:uFillTx/>
                <a:latin typeface="Arial" panose="020B0604020202020204"/>
                <a:ea typeface="+mn-ea"/>
                <a:cs typeface="+mn-cs"/>
              </a:rPr>
              <a:t>Vaka</a:t>
            </a:r>
          </a:p>
        </p:txBody>
      </p:sp>
      <p:sp>
        <p:nvSpPr>
          <p:cNvPr id="18" name="Table 2 Cell 3, 2 to Text">
            <a:extLst>
              <a:ext uri="{FF2B5EF4-FFF2-40B4-BE49-F238E27FC236}">
                <a16:creationId xmlns:a16="http://schemas.microsoft.com/office/drawing/2014/main" id="{492BB3B5-54A9-6B71-94E9-B89E13B3D62E}"/>
              </a:ext>
            </a:extLst>
          </p:cNvPr>
          <p:cNvSpPr txBox="1"/>
          <p:nvPr/>
        </p:nvSpPr>
        <p:spPr>
          <a:xfrm>
            <a:off x="4978022" y="4292263"/>
            <a:ext cx="1229806" cy="598959"/>
          </a:xfrm>
          <a:prstGeom prst="rect">
            <a:avLst/>
          </a:prstGeom>
          <a:noFill/>
        </p:spPr>
        <p:txBody>
          <a:bodyPr vert="horz" wrap="square"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B3E"/>
                </a:solidFill>
                <a:effectLst/>
                <a:uLnTx/>
                <a:uFillTx/>
                <a:latin typeface="Arial" panose="020B0604020202020204"/>
                <a:ea typeface="+mn-ea"/>
                <a:cs typeface="+mn-cs"/>
              </a:rPr>
              <a:t>5 M</a:t>
            </a:r>
          </a:p>
        </p:txBody>
      </p:sp>
      <p:sp>
        <p:nvSpPr>
          <p:cNvPr id="20" name="Table 2 Cell 4, 2 to Text">
            <a:extLst>
              <a:ext uri="{FF2B5EF4-FFF2-40B4-BE49-F238E27FC236}">
                <a16:creationId xmlns:a16="http://schemas.microsoft.com/office/drawing/2014/main" id="{ADB9C8D4-5BB5-E72F-CCD4-3C013DE1ADF2}"/>
              </a:ext>
            </a:extLst>
          </p:cNvPr>
          <p:cNvSpPr txBox="1"/>
          <p:nvPr/>
        </p:nvSpPr>
        <p:spPr>
          <a:xfrm>
            <a:off x="7136746" y="4292263"/>
            <a:ext cx="1229806" cy="598959"/>
          </a:xfrm>
          <a:prstGeom prst="rect">
            <a:avLst/>
          </a:prstGeom>
          <a:noFill/>
        </p:spPr>
        <p:txBody>
          <a:bodyPr vert="horz" wrap="square"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B3E"/>
                </a:solidFill>
                <a:effectLst/>
                <a:uLnTx/>
                <a:uFillTx/>
                <a:latin typeface="Arial" panose="020B0604020202020204"/>
                <a:ea typeface="+mn-ea"/>
                <a:cs typeface="+mn-cs"/>
              </a:rPr>
              <a:t>14 M</a:t>
            </a:r>
          </a:p>
        </p:txBody>
      </p:sp>
      <p:sp>
        <p:nvSpPr>
          <p:cNvPr id="27" name="Table 2 Cell 5, 2 to Text">
            <a:extLst>
              <a:ext uri="{FF2B5EF4-FFF2-40B4-BE49-F238E27FC236}">
                <a16:creationId xmlns:a16="http://schemas.microsoft.com/office/drawing/2014/main" id="{FF398F9E-BC25-616A-74CD-E36448DAC4EB}"/>
              </a:ext>
            </a:extLst>
          </p:cNvPr>
          <p:cNvSpPr txBox="1"/>
          <p:nvPr/>
        </p:nvSpPr>
        <p:spPr>
          <a:xfrm>
            <a:off x="9603480" y="4292263"/>
            <a:ext cx="1229806" cy="598959"/>
          </a:xfrm>
          <a:prstGeom prst="rect">
            <a:avLst/>
          </a:prstGeom>
          <a:noFill/>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B3E"/>
                </a:solidFill>
                <a:effectLst/>
                <a:uLnTx/>
                <a:uFillTx/>
                <a:latin typeface="Arial" panose="020B0604020202020204"/>
                <a:ea typeface="+mn-ea"/>
                <a:cs typeface="+mn-cs"/>
              </a:rPr>
              <a:t>291 M</a:t>
            </a:r>
          </a:p>
        </p:txBody>
      </p:sp>
      <p:sp>
        <p:nvSpPr>
          <p:cNvPr id="28" name="Table 2 Cell 1, 3 to Text">
            <a:extLst>
              <a:ext uri="{FF2B5EF4-FFF2-40B4-BE49-F238E27FC236}">
                <a16:creationId xmlns:a16="http://schemas.microsoft.com/office/drawing/2014/main" id="{9A422FA6-6354-5C31-46C1-21BDD91EED38}"/>
              </a:ext>
            </a:extLst>
          </p:cNvPr>
          <p:cNvSpPr txBox="1"/>
          <p:nvPr/>
        </p:nvSpPr>
        <p:spPr>
          <a:xfrm>
            <a:off x="1096934" y="5234588"/>
            <a:ext cx="946852" cy="598959"/>
          </a:xfrm>
          <a:prstGeom prst="rect">
            <a:avLst/>
          </a:prstGeom>
          <a:noFill/>
        </p:spPr>
        <p:txBody>
          <a:bodyPr vert="horz" wrap="square" lIns="0" tIns="0" rIns="0" bIns="0" rtlCol="0" anchor="ctr" anchorCtr="0">
            <a:noAutofit/>
          </a:bodyPr>
          <a:lstStyle/>
          <a:p>
            <a:pPr lvl="0" algn="ctr">
              <a:lnSpc>
                <a:spcPct val="90000"/>
              </a:lnSpc>
              <a:defRPr/>
            </a:pPr>
            <a:r>
              <a:rPr lang="en-US" err="1">
                <a:solidFill>
                  <a:srgbClr val="0095FF"/>
                </a:solidFill>
              </a:rPr>
              <a:t>Ölüm</a:t>
            </a:r>
            <a:endParaRPr kumimoji="0" lang="en-US" sz="1800" b="0" i="0" u="none" strike="noStrike" kern="1200" cap="none" spc="0" normalizeH="0" baseline="0" noProof="0">
              <a:ln>
                <a:noFill/>
              </a:ln>
              <a:solidFill>
                <a:srgbClr val="0095FF"/>
              </a:solidFill>
              <a:effectLst/>
              <a:uLnTx/>
              <a:uFillTx/>
              <a:latin typeface="Arial" panose="020B0604020202020204"/>
              <a:ea typeface="+mn-ea"/>
              <a:cs typeface="+mn-cs"/>
            </a:endParaRPr>
          </a:p>
        </p:txBody>
      </p:sp>
      <p:sp>
        <p:nvSpPr>
          <p:cNvPr id="33" name="Table 2 Cell 3, 3 to Text">
            <a:extLst>
              <a:ext uri="{FF2B5EF4-FFF2-40B4-BE49-F238E27FC236}">
                <a16:creationId xmlns:a16="http://schemas.microsoft.com/office/drawing/2014/main" id="{33EDC73C-E97E-C4BF-4D71-3BDB56EC11FB}"/>
              </a:ext>
            </a:extLst>
          </p:cNvPr>
          <p:cNvSpPr txBox="1"/>
          <p:nvPr/>
        </p:nvSpPr>
        <p:spPr>
          <a:xfrm>
            <a:off x="4978022" y="5234588"/>
            <a:ext cx="1229806" cy="598959"/>
          </a:xfrm>
          <a:prstGeom prst="rect">
            <a:avLst/>
          </a:prstGeom>
          <a:noFill/>
        </p:spPr>
        <p:txBody>
          <a:bodyPr vert="horz" wrap="square"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B3E"/>
                </a:solidFill>
                <a:effectLst/>
                <a:uLnTx/>
                <a:uFillTx/>
                <a:latin typeface="Arial" panose="020B0604020202020204"/>
                <a:ea typeface="+mn-ea"/>
                <a:cs typeface="+mn-cs"/>
              </a:rPr>
              <a:t>32 K</a:t>
            </a:r>
          </a:p>
        </p:txBody>
      </p:sp>
      <p:sp>
        <p:nvSpPr>
          <p:cNvPr id="34" name="Table 2 Cell 4, 3 to Text">
            <a:extLst>
              <a:ext uri="{FF2B5EF4-FFF2-40B4-BE49-F238E27FC236}">
                <a16:creationId xmlns:a16="http://schemas.microsoft.com/office/drawing/2014/main" id="{F52BB902-8324-0585-8102-A17977BB25D2}"/>
              </a:ext>
            </a:extLst>
          </p:cNvPr>
          <p:cNvSpPr txBox="1"/>
          <p:nvPr/>
        </p:nvSpPr>
        <p:spPr>
          <a:xfrm>
            <a:off x="7136746" y="5234588"/>
            <a:ext cx="1229806" cy="598959"/>
          </a:xfrm>
          <a:prstGeom prst="rect">
            <a:avLst/>
          </a:prstGeom>
          <a:noFill/>
        </p:spPr>
        <p:txBody>
          <a:bodyPr vert="horz" wrap="square"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B3E"/>
                </a:solidFill>
                <a:effectLst/>
                <a:uLnTx/>
                <a:uFillTx/>
                <a:latin typeface="Arial" panose="020B0604020202020204"/>
                <a:ea typeface="+mn-ea"/>
                <a:cs typeface="+mn-cs"/>
              </a:rPr>
              <a:t>98 K</a:t>
            </a:r>
          </a:p>
        </p:txBody>
      </p:sp>
      <p:sp>
        <p:nvSpPr>
          <p:cNvPr id="35" name="Table 2 Cell 5, 3 to Text">
            <a:extLst>
              <a:ext uri="{FF2B5EF4-FFF2-40B4-BE49-F238E27FC236}">
                <a16:creationId xmlns:a16="http://schemas.microsoft.com/office/drawing/2014/main" id="{A433B226-B74C-A1E7-695F-ECD32F02BD19}"/>
              </a:ext>
            </a:extLst>
          </p:cNvPr>
          <p:cNvSpPr txBox="1"/>
          <p:nvPr/>
        </p:nvSpPr>
        <p:spPr>
          <a:xfrm>
            <a:off x="9603480" y="5234588"/>
            <a:ext cx="1229806" cy="598959"/>
          </a:xfrm>
          <a:prstGeom prst="rect">
            <a:avLst/>
          </a:prstGeom>
          <a:noFill/>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B3E"/>
                </a:solidFill>
                <a:effectLst/>
                <a:uLnTx/>
                <a:uFillTx/>
                <a:latin typeface="Arial" panose="020B0604020202020204"/>
                <a:ea typeface="+mn-ea"/>
                <a:cs typeface="+mn-cs"/>
              </a:rPr>
              <a:t>5 M</a:t>
            </a:r>
          </a:p>
        </p:txBody>
      </p:sp>
      <p:grpSp>
        <p:nvGrpSpPr>
          <p:cNvPr id="36" name="Group 35">
            <a:extLst>
              <a:ext uri="{FF2B5EF4-FFF2-40B4-BE49-F238E27FC236}">
                <a16:creationId xmlns:a16="http://schemas.microsoft.com/office/drawing/2014/main" id="{592DC061-2610-0C2E-EEFE-1555020BEA50}"/>
              </a:ext>
            </a:extLst>
          </p:cNvPr>
          <p:cNvGrpSpPr/>
          <p:nvPr/>
        </p:nvGrpSpPr>
        <p:grpSpPr>
          <a:xfrm>
            <a:off x="7205581" y="2051683"/>
            <a:ext cx="1092136" cy="1092136"/>
            <a:chOff x="7543864" y="1761200"/>
            <a:chExt cx="1092136" cy="1092136"/>
          </a:xfrm>
        </p:grpSpPr>
        <p:sp>
          <p:nvSpPr>
            <p:cNvPr id="37" name="Flowchart: Connector 36">
              <a:extLst>
                <a:ext uri="{FF2B5EF4-FFF2-40B4-BE49-F238E27FC236}">
                  <a16:creationId xmlns:a16="http://schemas.microsoft.com/office/drawing/2014/main" id="{A4F6EBFB-46D3-26E2-7757-C48307688813}"/>
                </a:ext>
              </a:extLst>
            </p:cNvPr>
            <p:cNvSpPr/>
            <p:nvPr/>
          </p:nvSpPr>
          <p:spPr>
            <a:xfrm>
              <a:off x="7543864" y="1761200"/>
              <a:ext cx="1092136" cy="1092136"/>
            </a:xfrm>
            <a:prstGeom prst="flowChartConnector">
              <a:avLst/>
            </a:prstGeom>
            <a:gradFill flip="none" rotWithShape="1">
              <a:gsLst>
                <a:gs pos="0">
                  <a:schemeClr val="accent2">
                    <a:lumMod val="60000"/>
                    <a:lumOff val="40000"/>
                  </a:schemeClr>
                </a:gs>
                <a:gs pos="100000">
                  <a:schemeClr val="accent1"/>
                </a:gs>
                <a:gs pos="67000">
                  <a:schemeClr val="accent2">
                    <a:lumMod val="95000"/>
                    <a:lumOff val="5000"/>
                  </a:schemeClr>
                </a:gs>
              </a:gsLst>
              <a:path path="circle">
                <a:fillToRect l="50000" t="130000" r="50000" b="-30000"/>
              </a:path>
              <a:tileRect/>
            </a:gradFill>
            <a:ln w="38100">
              <a:solidFill>
                <a:schemeClr val="bg1"/>
              </a:solidFill>
            </a:ln>
            <a:effectLst>
              <a:outerShdw blurRad="279400" dist="1397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38" name="Graphic 37">
              <a:extLst>
                <a:ext uri="{FF2B5EF4-FFF2-40B4-BE49-F238E27FC236}">
                  <a16:creationId xmlns:a16="http://schemas.microsoft.com/office/drawing/2014/main" id="{73E354EC-4F71-BF0A-766F-7CC2A5BEA01E}"/>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7687501" y="1904837"/>
              <a:ext cx="804863" cy="804863"/>
            </a:xfrm>
            <a:prstGeom prst="rect">
              <a:avLst/>
            </a:prstGeom>
          </p:spPr>
        </p:pic>
      </p:grpSp>
      <p:grpSp>
        <p:nvGrpSpPr>
          <p:cNvPr id="39" name="Group 38">
            <a:extLst>
              <a:ext uri="{FF2B5EF4-FFF2-40B4-BE49-F238E27FC236}">
                <a16:creationId xmlns:a16="http://schemas.microsoft.com/office/drawing/2014/main" id="{AD52AB26-67FD-260B-9A4F-989A7502A010}"/>
              </a:ext>
            </a:extLst>
          </p:cNvPr>
          <p:cNvGrpSpPr/>
          <p:nvPr/>
        </p:nvGrpSpPr>
        <p:grpSpPr>
          <a:xfrm>
            <a:off x="9672315" y="2051683"/>
            <a:ext cx="1092136" cy="1092136"/>
            <a:chOff x="9715339" y="1761200"/>
            <a:chExt cx="1092136" cy="1092136"/>
          </a:xfrm>
        </p:grpSpPr>
        <p:sp>
          <p:nvSpPr>
            <p:cNvPr id="40" name="Flowchart: Connector 39">
              <a:extLst>
                <a:ext uri="{FF2B5EF4-FFF2-40B4-BE49-F238E27FC236}">
                  <a16:creationId xmlns:a16="http://schemas.microsoft.com/office/drawing/2014/main" id="{D8421D4D-7424-72E6-D66F-C04672724318}"/>
                </a:ext>
              </a:extLst>
            </p:cNvPr>
            <p:cNvSpPr/>
            <p:nvPr/>
          </p:nvSpPr>
          <p:spPr>
            <a:xfrm>
              <a:off x="9715339" y="1761200"/>
              <a:ext cx="1092136" cy="1092136"/>
            </a:xfrm>
            <a:prstGeom prst="flowChartConnector">
              <a:avLst/>
            </a:prstGeom>
            <a:gradFill flip="none" rotWithShape="1">
              <a:gsLst>
                <a:gs pos="0">
                  <a:schemeClr val="accent2">
                    <a:lumMod val="60000"/>
                    <a:lumOff val="40000"/>
                  </a:schemeClr>
                </a:gs>
                <a:gs pos="100000">
                  <a:schemeClr val="accent1"/>
                </a:gs>
                <a:gs pos="67000">
                  <a:schemeClr val="accent2">
                    <a:lumMod val="95000"/>
                    <a:lumOff val="5000"/>
                  </a:schemeClr>
                </a:gs>
              </a:gsLst>
              <a:path path="circle">
                <a:fillToRect l="50000" t="130000" r="50000" b="-30000"/>
              </a:path>
              <a:tileRect/>
            </a:gradFill>
            <a:ln w="38100">
              <a:solidFill>
                <a:schemeClr val="bg1"/>
              </a:solidFill>
            </a:ln>
            <a:effectLst>
              <a:outerShdw blurRad="279400" dist="1397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1" name="Graphic 40">
              <a:extLst>
                <a:ext uri="{FF2B5EF4-FFF2-40B4-BE49-F238E27FC236}">
                  <a16:creationId xmlns:a16="http://schemas.microsoft.com/office/drawing/2014/main" id="{2A250F02-AEE2-17F8-B36E-9E1591AE5655}"/>
                </a:ext>
              </a:extLst>
            </p:cNvPr>
            <p:cNvPicPr>
              <a:picLocks noChangeAspect="1"/>
            </p:cNvPicPr>
            <p:nvPr/>
          </p:nvPicPr>
          <p:blipFill>
            <a:blip r:embed="rId5" cstate="print">
              <a:extLst>
                <a:ext uri="{96DAC541-7B7A-43D3-8B79-37D633B846F1}">
                  <asvg:svgBlip xmlns:asvg="http://schemas.microsoft.com/office/drawing/2016/SVG/main" r:embed="rId6"/>
                </a:ext>
              </a:extLst>
            </a:blip>
            <a:stretch>
              <a:fillRect/>
            </a:stretch>
          </p:blipFill>
          <p:spPr>
            <a:xfrm>
              <a:off x="9915867" y="1961728"/>
              <a:ext cx="691080" cy="691080"/>
            </a:xfrm>
            <a:prstGeom prst="rect">
              <a:avLst/>
            </a:prstGeom>
          </p:spPr>
        </p:pic>
      </p:grpSp>
      <p:grpSp>
        <p:nvGrpSpPr>
          <p:cNvPr id="42" name="Group 41">
            <a:extLst>
              <a:ext uri="{FF2B5EF4-FFF2-40B4-BE49-F238E27FC236}">
                <a16:creationId xmlns:a16="http://schemas.microsoft.com/office/drawing/2014/main" id="{7A8A50FB-3ABB-40C9-B250-7C3B2540740D}"/>
              </a:ext>
            </a:extLst>
          </p:cNvPr>
          <p:cNvGrpSpPr/>
          <p:nvPr/>
        </p:nvGrpSpPr>
        <p:grpSpPr>
          <a:xfrm>
            <a:off x="2888133" y="2051683"/>
            <a:ext cx="1092136" cy="1092136"/>
            <a:chOff x="3286392" y="1761200"/>
            <a:chExt cx="1092136" cy="1092136"/>
          </a:xfrm>
        </p:grpSpPr>
        <p:sp>
          <p:nvSpPr>
            <p:cNvPr id="43" name="Flowchart: Connector 42">
              <a:extLst>
                <a:ext uri="{FF2B5EF4-FFF2-40B4-BE49-F238E27FC236}">
                  <a16:creationId xmlns:a16="http://schemas.microsoft.com/office/drawing/2014/main" id="{5C7940ED-6C82-29EC-C6FE-449B4391AAFD}"/>
                </a:ext>
              </a:extLst>
            </p:cNvPr>
            <p:cNvSpPr/>
            <p:nvPr/>
          </p:nvSpPr>
          <p:spPr>
            <a:xfrm>
              <a:off x="3286392" y="1761200"/>
              <a:ext cx="1092136" cy="1092136"/>
            </a:xfrm>
            <a:prstGeom prst="flowChartConnector">
              <a:avLst/>
            </a:prstGeom>
            <a:gradFill flip="none" rotWithShape="1">
              <a:gsLst>
                <a:gs pos="0">
                  <a:schemeClr val="accent2">
                    <a:lumMod val="60000"/>
                    <a:lumOff val="40000"/>
                  </a:schemeClr>
                </a:gs>
                <a:gs pos="100000">
                  <a:schemeClr val="accent1"/>
                </a:gs>
                <a:gs pos="67000">
                  <a:schemeClr val="accent2">
                    <a:lumMod val="95000"/>
                    <a:lumOff val="5000"/>
                  </a:schemeClr>
                </a:gs>
              </a:gsLst>
              <a:path path="circle">
                <a:fillToRect l="50000" t="130000" r="50000" b="-30000"/>
              </a:path>
              <a:tileRect/>
            </a:gradFill>
            <a:ln w="38100">
              <a:solidFill>
                <a:schemeClr val="bg1"/>
              </a:solidFill>
            </a:ln>
            <a:effectLst>
              <a:outerShdw blurRad="279400" dist="1397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4" name="Graphic 43">
              <a:extLst>
                <a:ext uri="{FF2B5EF4-FFF2-40B4-BE49-F238E27FC236}">
                  <a16:creationId xmlns:a16="http://schemas.microsoft.com/office/drawing/2014/main" id="{2C4D298B-7711-2EB6-E71C-44A920C60541}"/>
                </a:ext>
              </a:extLst>
            </p:cNvPr>
            <p:cNvPicPr>
              <a:picLocks noChangeAspect="1"/>
            </p:cNvPicPr>
            <p:nvPr/>
          </p:nvPicPr>
          <p:blipFill>
            <a:blip r:embed="rId7" cstate="print">
              <a:extLst>
                <a:ext uri="{96DAC541-7B7A-43D3-8B79-37D633B846F1}">
                  <asvg:svgBlip xmlns:asvg="http://schemas.microsoft.com/office/drawing/2016/SVG/main" r:embed="rId8"/>
                </a:ext>
              </a:extLst>
            </a:blip>
            <a:stretch>
              <a:fillRect/>
            </a:stretch>
          </p:blipFill>
          <p:spPr>
            <a:xfrm>
              <a:off x="3510199" y="1985008"/>
              <a:ext cx="644522" cy="644520"/>
            </a:xfrm>
            <a:prstGeom prst="rect">
              <a:avLst/>
            </a:prstGeom>
          </p:spPr>
        </p:pic>
      </p:grpSp>
      <p:grpSp>
        <p:nvGrpSpPr>
          <p:cNvPr id="45" name="Group 44">
            <a:extLst>
              <a:ext uri="{FF2B5EF4-FFF2-40B4-BE49-F238E27FC236}">
                <a16:creationId xmlns:a16="http://schemas.microsoft.com/office/drawing/2014/main" id="{34D81284-2D3B-7602-D3A2-E573D27083FF}"/>
              </a:ext>
            </a:extLst>
          </p:cNvPr>
          <p:cNvGrpSpPr/>
          <p:nvPr/>
        </p:nvGrpSpPr>
        <p:grpSpPr>
          <a:xfrm>
            <a:off x="5046857" y="2051683"/>
            <a:ext cx="1092136" cy="1092136"/>
            <a:chOff x="5395445" y="1761200"/>
            <a:chExt cx="1092136" cy="1092136"/>
          </a:xfrm>
        </p:grpSpPr>
        <p:sp>
          <p:nvSpPr>
            <p:cNvPr id="46" name="Flowchart: Connector 45">
              <a:extLst>
                <a:ext uri="{FF2B5EF4-FFF2-40B4-BE49-F238E27FC236}">
                  <a16:creationId xmlns:a16="http://schemas.microsoft.com/office/drawing/2014/main" id="{48E0D7DF-F46C-A264-EB8A-C65B3B0E12DA}"/>
                </a:ext>
              </a:extLst>
            </p:cNvPr>
            <p:cNvSpPr/>
            <p:nvPr/>
          </p:nvSpPr>
          <p:spPr>
            <a:xfrm>
              <a:off x="5395445" y="1761200"/>
              <a:ext cx="1092136" cy="1092136"/>
            </a:xfrm>
            <a:prstGeom prst="flowChartConnector">
              <a:avLst/>
            </a:prstGeom>
            <a:gradFill flip="none" rotWithShape="1">
              <a:gsLst>
                <a:gs pos="0">
                  <a:schemeClr val="accent2">
                    <a:lumMod val="60000"/>
                    <a:lumOff val="40000"/>
                  </a:schemeClr>
                </a:gs>
                <a:gs pos="100000">
                  <a:schemeClr val="accent1"/>
                </a:gs>
                <a:gs pos="67000">
                  <a:schemeClr val="accent2">
                    <a:lumMod val="95000"/>
                    <a:lumOff val="5000"/>
                  </a:schemeClr>
                </a:gs>
              </a:gsLst>
              <a:path path="circle">
                <a:fillToRect l="50000" t="130000" r="50000" b="-30000"/>
              </a:path>
              <a:tileRect/>
            </a:gradFill>
            <a:ln w="38100">
              <a:solidFill>
                <a:schemeClr val="bg1"/>
              </a:solidFill>
            </a:ln>
            <a:effectLst>
              <a:outerShdw blurRad="279400" dist="1397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47" name="Graphic 46">
              <a:extLst>
                <a:ext uri="{FF2B5EF4-FFF2-40B4-BE49-F238E27FC236}">
                  <a16:creationId xmlns:a16="http://schemas.microsoft.com/office/drawing/2014/main" id="{8DFEC664-CA92-2EE4-EAE0-081E413FEFCB}"/>
                </a:ext>
              </a:extLst>
            </p:cNvPr>
            <p:cNvPicPr>
              <a:picLocks noChangeAspect="1"/>
            </p:cNvPicPr>
            <p:nvPr/>
          </p:nvPicPr>
          <p:blipFill>
            <a:blip r:embed="rId9" cstate="print">
              <a:extLst>
                <a:ext uri="{96DAC541-7B7A-43D3-8B79-37D633B846F1}">
                  <asvg:svgBlip xmlns:asvg="http://schemas.microsoft.com/office/drawing/2016/SVG/main" r:embed="rId10"/>
                </a:ext>
              </a:extLst>
            </a:blip>
            <a:stretch>
              <a:fillRect/>
            </a:stretch>
          </p:blipFill>
          <p:spPr>
            <a:xfrm>
              <a:off x="5539082" y="1904837"/>
              <a:ext cx="804863" cy="804863"/>
            </a:xfrm>
            <a:prstGeom prst="rect">
              <a:avLst/>
            </a:prstGeom>
          </p:spPr>
        </p:pic>
      </p:grpSp>
      <p:sp>
        <p:nvSpPr>
          <p:cNvPr id="25" name="Rectangle 24">
            <a:extLst>
              <a:ext uri="{FF2B5EF4-FFF2-40B4-BE49-F238E27FC236}">
                <a16:creationId xmlns:a16="http://schemas.microsoft.com/office/drawing/2014/main" id="{29E95C97-D2A0-0C84-BEC4-474894E1585D}"/>
              </a:ext>
            </a:extLst>
          </p:cNvPr>
          <p:cNvSpPr/>
          <p:nvPr/>
        </p:nvSpPr>
        <p:spPr>
          <a:xfrm>
            <a:off x="2573079" y="4148390"/>
            <a:ext cx="1722474" cy="1773904"/>
          </a:xfrm>
          <a:prstGeom prst="rect">
            <a:avLst/>
          </a:prstGeom>
          <a:solidFill>
            <a:srgbClr val="29A4F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able 2 Cell 2, 2 to Text">
            <a:extLst>
              <a:ext uri="{FF2B5EF4-FFF2-40B4-BE49-F238E27FC236}">
                <a16:creationId xmlns:a16="http://schemas.microsoft.com/office/drawing/2014/main" id="{6F571B55-8CAF-3645-0BD2-B7B482EBD9F6}"/>
              </a:ext>
            </a:extLst>
          </p:cNvPr>
          <p:cNvSpPr txBox="1"/>
          <p:nvPr/>
        </p:nvSpPr>
        <p:spPr>
          <a:xfrm>
            <a:off x="2819298" y="4292263"/>
            <a:ext cx="1229806" cy="598959"/>
          </a:xfrm>
          <a:prstGeom prst="rect">
            <a:avLst/>
          </a:prstGeom>
          <a:noFill/>
        </p:spPr>
        <p:txBody>
          <a:bodyPr vert="horz" wrap="square"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98 M</a:t>
            </a:r>
          </a:p>
        </p:txBody>
      </p:sp>
      <p:sp>
        <p:nvSpPr>
          <p:cNvPr id="31" name="Table 2 Cell 2, 3 to Text">
            <a:extLst>
              <a:ext uri="{FF2B5EF4-FFF2-40B4-BE49-F238E27FC236}">
                <a16:creationId xmlns:a16="http://schemas.microsoft.com/office/drawing/2014/main" id="{9AF68C60-F375-ED4B-BE18-D06BDD248831}"/>
              </a:ext>
            </a:extLst>
          </p:cNvPr>
          <p:cNvSpPr txBox="1"/>
          <p:nvPr/>
        </p:nvSpPr>
        <p:spPr>
          <a:xfrm>
            <a:off x="2819298" y="5234588"/>
            <a:ext cx="1229806" cy="598959"/>
          </a:xfrm>
          <a:prstGeom prst="rect">
            <a:avLst/>
          </a:prstGeom>
          <a:noFill/>
        </p:spPr>
        <p:txBody>
          <a:bodyPr vert="horz" wrap="square"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505 K</a:t>
            </a:r>
          </a:p>
        </p:txBody>
      </p:sp>
      <p:sp>
        <p:nvSpPr>
          <p:cNvPr id="6" name="Rectangle 5">
            <a:extLst>
              <a:ext uri="{FF2B5EF4-FFF2-40B4-BE49-F238E27FC236}">
                <a16:creationId xmlns:a16="http://schemas.microsoft.com/office/drawing/2014/main" id="{32BECBBD-63DF-1C9C-F485-8C4F0009AD56}"/>
              </a:ext>
            </a:extLst>
          </p:cNvPr>
          <p:cNvSpPr/>
          <p:nvPr/>
        </p:nvSpPr>
        <p:spPr>
          <a:xfrm>
            <a:off x="640705" y="4997242"/>
            <a:ext cx="10972800" cy="76201"/>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3C2A9DB5-D8ED-4A96-6403-3347F2CF1114}"/>
              </a:ext>
            </a:extLst>
          </p:cNvPr>
          <p:cNvSpPr txBox="1"/>
          <p:nvPr/>
        </p:nvSpPr>
        <p:spPr>
          <a:xfrm>
            <a:off x="1887672" y="1295558"/>
            <a:ext cx="8416655" cy="400110"/>
          </a:xfrm>
          <a:prstGeom prst="rect">
            <a:avLst/>
          </a:prstGeom>
          <a:noFill/>
        </p:spPr>
        <p:txBody>
          <a:bodyPr wrap="square" rtlCol="0">
            <a:spAutoFit/>
          </a:bodyPr>
          <a:lstStyle/>
          <a:p>
            <a:pPr lvl="0" algn="ctr"/>
            <a:r>
              <a:rPr lang="en-US" sz="2000" b="1" err="1">
                <a:solidFill>
                  <a:srgbClr val="002060"/>
                </a:solidFill>
              </a:rPr>
              <a:t>Küresel</a:t>
            </a:r>
            <a:r>
              <a:rPr lang="en-US" sz="2000" b="1">
                <a:solidFill>
                  <a:srgbClr val="002060"/>
                </a:solidFill>
              </a:rPr>
              <a:t> </a:t>
            </a:r>
            <a:r>
              <a:rPr lang="en-US" sz="2000" b="1" err="1">
                <a:solidFill>
                  <a:srgbClr val="002060"/>
                </a:solidFill>
              </a:rPr>
              <a:t>olarak</a:t>
            </a:r>
            <a:r>
              <a:rPr lang="en-US" sz="2000" b="1">
                <a:solidFill>
                  <a:srgbClr val="002060"/>
                </a:solidFill>
              </a:rPr>
              <a:t> </a:t>
            </a:r>
            <a:r>
              <a:rPr lang="en-US" sz="2000" b="1" err="1">
                <a:solidFill>
                  <a:srgbClr val="002060"/>
                </a:solidFill>
              </a:rPr>
              <a:t>tüm</a:t>
            </a:r>
            <a:r>
              <a:rPr lang="en-US" sz="2000" b="1">
                <a:solidFill>
                  <a:srgbClr val="002060"/>
                </a:solidFill>
              </a:rPr>
              <a:t> </a:t>
            </a:r>
            <a:r>
              <a:rPr lang="en-US" sz="2000" b="1" err="1">
                <a:solidFill>
                  <a:srgbClr val="002060"/>
                </a:solidFill>
              </a:rPr>
              <a:t>yaşlar</a:t>
            </a:r>
            <a:r>
              <a:rPr lang="en-US" sz="2000" b="1">
                <a:solidFill>
                  <a:srgbClr val="002060"/>
                </a:solidFill>
              </a:rPr>
              <a:t> </a:t>
            </a:r>
            <a:r>
              <a:rPr lang="en-US" sz="2000" b="1" err="1">
                <a:solidFill>
                  <a:srgbClr val="002060"/>
                </a:solidFill>
              </a:rPr>
              <a:t>arasında</a:t>
            </a:r>
            <a:r>
              <a:rPr lang="en-US" sz="2000" b="1">
                <a:solidFill>
                  <a:srgbClr val="002060"/>
                </a:solidFill>
              </a:rPr>
              <a:t> </a:t>
            </a:r>
            <a:r>
              <a:rPr lang="en-US" sz="2000" b="1" err="1">
                <a:solidFill>
                  <a:srgbClr val="002060"/>
                </a:solidFill>
              </a:rPr>
              <a:t>yıllık</a:t>
            </a:r>
            <a:r>
              <a:rPr lang="en-US" sz="2000" b="1">
                <a:solidFill>
                  <a:srgbClr val="002060"/>
                </a:solidFill>
              </a:rPr>
              <a:t> </a:t>
            </a:r>
            <a:r>
              <a:rPr lang="en-US" sz="2000" b="1" err="1">
                <a:solidFill>
                  <a:srgbClr val="002060"/>
                </a:solidFill>
              </a:rPr>
              <a:t>vaka</a:t>
            </a:r>
            <a:r>
              <a:rPr lang="en-US" sz="2000" b="1">
                <a:solidFill>
                  <a:srgbClr val="002060"/>
                </a:solidFill>
              </a:rPr>
              <a:t> </a:t>
            </a:r>
            <a:r>
              <a:rPr lang="en-US" sz="2000" b="1" err="1">
                <a:solidFill>
                  <a:srgbClr val="002060"/>
                </a:solidFill>
              </a:rPr>
              <a:t>ve</a:t>
            </a:r>
            <a:r>
              <a:rPr lang="en-US" sz="2000" b="1">
                <a:solidFill>
                  <a:srgbClr val="002060"/>
                </a:solidFill>
              </a:rPr>
              <a:t> </a:t>
            </a:r>
            <a:r>
              <a:rPr lang="en-US" sz="2000" b="1" err="1">
                <a:solidFill>
                  <a:srgbClr val="002060"/>
                </a:solidFill>
              </a:rPr>
              <a:t>ölüm</a:t>
            </a:r>
            <a:r>
              <a:rPr lang="en-US" sz="2000" b="1">
                <a:solidFill>
                  <a:srgbClr val="002060"/>
                </a:solidFill>
              </a:rPr>
              <a:t> </a:t>
            </a:r>
            <a:r>
              <a:rPr lang="en-US" sz="2000" b="1" err="1">
                <a:solidFill>
                  <a:srgbClr val="002060"/>
                </a:solidFill>
              </a:rPr>
              <a:t>sayısı</a:t>
            </a:r>
            <a:r>
              <a:rPr lang="en-US" sz="2000" b="1">
                <a:solidFill>
                  <a:srgbClr val="002060"/>
                </a:solidFill>
              </a:rPr>
              <a:t>, 2021</a:t>
            </a:r>
            <a:endParaRPr kumimoji="0" lang="en-US" sz="2000" b="1" i="0" u="none" strike="noStrike" kern="1200" cap="none" spc="0" normalizeH="0" baseline="0" noProof="0">
              <a:ln>
                <a:noFill/>
              </a:ln>
              <a:solidFill>
                <a:srgbClr val="002060"/>
              </a:solidFill>
              <a:effectLst/>
              <a:uLnTx/>
              <a:uFillTx/>
              <a:latin typeface="Arial" panose="020B0604020202020204"/>
              <a:ea typeface="+mn-ea"/>
              <a:cs typeface="+mn-cs"/>
            </a:endParaRPr>
          </a:p>
        </p:txBody>
      </p:sp>
      <p:cxnSp>
        <p:nvCxnSpPr>
          <p:cNvPr id="9" name="Straight Connector 8">
            <a:extLst>
              <a:ext uri="{FF2B5EF4-FFF2-40B4-BE49-F238E27FC236}">
                <a16:creationId xmlns:a16="http://schemas.microsoft.com/office/drawing/2014/main" id="{E0FD4ACC-3811-E5A0-CCBF-8641D52F7166}"/>
              </a:ext>
            </a:extLst>
          </p:cNvPr>
          <p:cNvCxnSpPr>
            <a:cxnSpLocks/>
          </p:cNvCxnSpPr>
          <p:nvPr/>
        </p:nvCxnSpPr>
        <p:spPr>
          <a:xfrm>
            <a:off x="8830682" y="2264694"/>
            <a:ext cx="329" cy="3657600"/>
          </a:xfrm>
          <a:prstGeom prst="line">
            <a:avLst/>
          </a:prstGeom>
          <a:ln>
            <a:solidFill>
              <a:schemeClr val="accent2"/>
            </a:solidFill>
            <a:prstDash val="dash"/>
          </a:ln>
        </p:spPr>
        <p:style>
          <a:lnRef idx="2">
            <a:schemeClr val="accent1"/>
          </a:lnRef>
          <a:fillRef idx="0">
            <a:schemeClr val="accent1"/>
          </a:fillRef>
          <a:effectRef idx="1">
            <a:schemeClr val="accent1"/>
          </a:effectRef>
          <a:fontRef idx="minor">
            <a:schemeClr val="tx1"/>
          </a:fontRef>
        </p:style>
      </p:cxnSp>
      <p:pic>
        <p:nvPicPr>
          <p:cNvPr id="10" name="Picture 9" descr="A yellow and blue logo&#10;&#10;Description automatically generated">
            <a:extLst>
              <a:ext uri="{FF2B5EF4-FFF2-40B4-BE49-F238E27FC236}">
                <a16:creationId xmlns:a16="http://schemas.microsoft.com/office/drawing/2014/main" id="{F25F9776-1E8F-7AC7-F67F-EE8F8D0E865E}"/>
              </a:ext>
            </a:extLst>
          </p:cNvPr>
          <p:cNvPicPr>
            <a:picLocks noChangeAspect="1"/>
          </p:cNvPicPr>
          <p:nvPr/>
        </p:nvPicPr>
        <p:blipFill>
          <a:blip r:embed="rId11">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9761226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4" name="Group 273">
            <a:extLst>
              <a:ext uri="{FF2B5EF4-FFF2-40B4-BE49-F238E27FC236}">
                <a16:creationId xmlns:a16="http://schemas.microsoft.com/office/drawing/2014/main" id="{372F0801-B2D0-3040-8FEB-9F521EB3069C}"/>
              </a:ext>
            </a:extLst>
          </p:cNvPr>
          <p:cNvGrpSpPr/>
          <p:nvPr/>
        </p:nvGrpSpPr>
        <p:grpSpPr>
          <a:xfrm flipH="1">
            <a:off x="-1" y="3200822"/>
            <a:ext cx="5489854" cy="2378538"/>
            <a:chOff x="7230719" y="3285884"/>
            <a:chExt cx="6417787" cy="2378538"/>
          </a:xfrm>
        </p:grpSpPr>
        <p:grpSp>
          <p:nvGrpSpPr>
            <p:cNvPr id="275" name="Group 274">
              <a:extLst>
                <a:ext uri="{FF2B5EF4-FFF2-40B4-BE49-F238E27FC236}">
                  <a16:creationId xmlns:a16="http://schemas.microsoft.com/office/drawing/2014/main" id="{8265DCA2-C968-AFD5-2E06-EC7D6D12E9B2}"/>
                </a:ext>
              </a:extLst>
            </p:cNvPr>
            <p:cNvGrpSpPr/>
            <p:nvPr/>
          </p:nvGrpSpPr>
          <p:grpSpPr>
            <a:xfrm flipV="1">
              <a:off x="7639540" y="3285884"/>
              <a:ext cx="6008966" cy="1057515"/>
              <a:chOff x="5842314" y="1409695"/>
              <a:chExt cx="8178948" cy="4367303"/>
            </a:xfrm>
            <a:solidFill>
              <a:schemeClr val="bg2">
                <a:lumMod val="20000"/>
                <a:lumOff val="80000"/>
              </a:schemeClr>
            </a:solidFill>
          </p:grpSpPr>
          <p:sp>
            <p:nvSpPr>
              <p:cNvPr id="282" name="Parallelogram 281">
                <a:extLst>
                  <a:ext uri="{FF2B5EF4-FFF2-40B4-BE49-F238E27FC236}">
                    <a16:creationId xmlns:a16="http://schemas.microsoft.com/office/drawing/2014/main" id="{DB003E44-BE61-0BA6-C205-FFD54E064C84}"/>
                  </a:ext>
                </a:extLst>
              </p:cNvPr>
              <p:cNvSpPr/>
              <p:nvPr/>
            </p:nvSpPr>
            <p:spPr>
              <a:xfrm flipH="1">
                <a:off x="5842314" y="1409699"/>
                <a:ext cx="1808290" cy="4367299"/>
              </a:xfrm>
              <a:prstGeom prst="parallelogram">
                <a:avLst>
                  <a:gd name="adj" fmla="val 26801"/>
                </a:avLst>
              </a:prstGeom>
              <a:grp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sp>
            <p:nvSpPr>
              <p:cNvPr id="283" name="Rectangle 282">
                <a:extLst>
                  <a:ext uri="{FF2B5EF4-FFF2-40B4-BE49-F238E27FC236}">
                    <a16:creationId xmlns:a16="http://schemas.microsoft.com/office/drawing/2014/main" id="{1E50E89B-6B14-9851-B300-43A7B5B24CB6}"/>
                  </a:ext>
                </a:extLst>
              </p:cNvPr>
              <p:cNvSpPr/>
              <p:nvPr/>
            </p:nvSpPr>
            <p:spPr>
              <a:xfrm flipH="1" flipV="1">
                <a:off x="6598933" y="1409695"/>
                <a:ext cx="7422329" cy="4367299"/>
              </a:xfrm>
              <a:prstGeom prst="rect">
                <a:avLst/>
              </a:prstGeom>
              <a:grpFill/>
              <a:ln w="571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grpSp>
        <p:grpSp>
          <p:nvGrpSpPr>
            <p:cNvPr id="276" name="Group 275">
              <a:extLst>
                <a:ext uri="{FF2B5EF4-FFF2-40B4-BE49-F238E27FC236}">
                  <a16:creationId xmlns:a16="http://schemas.microsoft.com/office/drawing/2014/main" id="{D5D53526-6AA5-5251-8728-5BC8EB03E7F3}"/>
                </a:ext>
              </a:extLst>
            </p:cNvPr>
            <p:cNvGrpSpPr/>
            <p:nvPr/>
          </p:nvGrpSpPr>
          <p:grpSpPr>
            <a:xfrm flipV="1">
              <a:off x="7322090" y="4314376"/>
              <a:ext cx="6326408" cy="1057515"/>
              <a:chOff x="5808003" y="1409695"/>
              <a:chExt cx="8094281" cy="4367303"/>
            </a:xfrm>
            <a:solidFill>
              <a:schemeClr val="bg2">
                <a:lumMod val="20000"/>
                <a:lumOff val="80000"/>
              </a:schemeClr>
            </a:solidFill>
          </p:grpSpPr>
          <p:sp>
            <p:nvSpPr>
              <p:cNvPr id="280" name="Parallelogram 279">
                <a:extLst>
                  <a:ext uri="{FF2B5EF4-FFF2-40B4-BE49-F238E27FC236}">
                    <a16:creationId xmlns:a16="http://schemas.microsoft.com/office/drawing/2014/main" id="{8810F326-94BD-D559-CDFF-803B615A26FA}"/>
                  </a:ext>
                </a:extLst>
              </p:cNvPr>
              <p:cNvSpPr/>
              <p:nvPr/>
            </p:nvSpPr>
            <p:spPr>
              <a:xfrm flipH="1">
                <a:off x="5808003" y="1409699"/>
                <a:ext cx="1808290" cy="4367299"/>
              </a:xfrm>
              <a:prstGeom prst="parallelogram">
                <a:avLst>
                  <a:gd name="adj" fmla="val 26801"/>
                </a:avLst>
              </a:prstGeom>
              <a:grp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sp>
            <p:nvSpPr>
              <p:cNvPr id="281" name="Rectangle 280">
                <a:extLst>
                  <a:ext uri="{FF2B5EF4-FFF2-40B4-BE49-F238E27FC236}">
                    <a16:creationId xmlns:a16="http://schemas.microsoft.com/office/drawing/2014/main" id="{EDE69567-FB79-34F2-A366-39F7E2AF2DC7}"/>
                  </a:ext>
                </a:extLst>
              </p:cNvPr>
              <p:cNvSpPr/>
              <p:nvPr/>
            </p:nvSpPr>
            <p:spPr>
              <a:xfrm flipH="1" flipV="1">
                <a:off x="6612841" y="1409695"/>
                <a:ext cx="7289443" cy="4367299"/>
              </a:xfrm>
              <a:prstGeom prst="rect">
                <a:avLst/>
              </a:prstGeom>
              <a:grpFill/>
              <a:ln w="571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grpSp>
        <p:grpSp>
          <p:nvGrpSpPr>
            <p:cNvPr id="277" name="Group 276">
              <a:extLst>
                <a:ext uri="{FF2B5EF4-FFF2-40B4-BE49-F238E27FC236}">
                  <a16:creationId xmlns:a16="http://schemas.microsoft.com/office/drawing/2014/main" id="{EC576C33-953D-A55F-5CD7-2CCB6778E743}"/>
                </a:ext>
              </a:extLst>
            </p:cNvPr>
            <p:cNvGrpSpPr/>
            <p:nvPr/>
          </p:nvGrpSpPr>
          <p:grpSpPr>
            <a:xfrm flipV="1">
              <a:off x="7230719" y="4606907"/>
              <a:ext cx="6417784" cy="1057515"/>
              <a:chOff x="5808591" y="1409695"/>
              <a:chExt cx="8111350" cy="4367303"/>
            </a:xfrm>
            <a:solidFill>
              <a:schemeClr val="bg2">
                <a:lumMod val="20000"/>
                <a:lumOff val="80000"/>
              </a:schemeClr>
            </a:solidFill>
          </p:grpSpPr>
          <p:sp>
            <p:nvSpPr>
              <p:cNvPr id="278" name="Parallelogram 277">
                <a:extLst>
                  <a:ext uri="{FF2B5EF4-FFF2-40B4-BE49-F238E27FC236}">
                    <a16:creationId xmlns:a16="http://schemas.microsoft.com/office/drawing/2014/main" id="{F3D4FE8C-78CF-F3B1-147F-4BF7F263925C}"/>
                  </a:ext>
                </a:extLst>
              </p:cNvPr>
              <p:cNvSpPr/>
              <p:nvPr/>
            </p:nvSpPr>
            <p:spPr>
              <a:xfrm flipH="1">
                <a:off x="5808591" y="1409699"/>
                <a:ext cx="1808290" cy="4367299"/>
              </a:xfrm>
              <a:prstGeom prst="parallelogram">
                <a:avLst>
                  <a:gd name="adj" fmla="val 26801"/>
                </a:avLst>
              </a:prstGeom>
              <a:grp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sp>
            <p:nvSpPr>
              <p:cNvPr id="279" name="Rectangle 278">
                <a:extLst>
                  <a:ext uri="{FF2B5EF4-FFF2-40B4-BE49-F238E27FC236}">
                    <a16:creationId xmlns:a16="http://schemas.microsoft.com/office/drawing/2014/main" id="{A62DFF5B-F3AD-C7E9-CB18-E76F49C95D8E}"/>
                  </a:ext>
                </a:extLst>
              </p:cNvPr>
              <p:cNvSpPr/>
              <p:nvPr/>
            </p:nvSpPr>
            <p:spPr>
              <a:xfrm flipH="1" flipV="1">
                <a:off x="6612836" y="1409695"/>
                <a:ext cx="7307105" cy="4367299"/>
              </a:xfrm>
              <a:prstGeom prst="rect">
                <a:avLst/>
              </a:prstGeom>
              <a:grpFill/>
              <a:ln w="571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grpSp>
      </p:grpSp>
      <p:sp>
        <p:nvSpPr>
          <p:cNvPr id="63" name="Title 62">
            <a:extLst>
              <a:ext uri="{FF2B5EF4-FFF2-40B4-BE49-F238E27FC236}">
                <a16:creationId xmlns:a16="http://schemas.microsoft.com/office/drawing/2014/main" id="{80437118-F880-F811-1094-51317FCEC5FD}"/>
              </a:ext>
            </a:extLst>
          </p:cNvPr>
          <p:cNvSpPr>
            <a:spLocks noGrp="1"/>
          </p:cNvSpPr>
          <p:nvPr>
            <p:ph type="title"/>
          </p:nvPr>
        </p:nvSpPr>
        <p:spPr/>
        <p:txBody>
          <a:bodyPr>
            <a:normAutofit/>
          </a:bodyPr>
          <a:lstStyle/>
          <a:p>
            <a:r>
              <a:rPr lang="en-US" dirty="0"/>
              <a:t>Y</a:t>
            </a:r>
            <a:r>
              <a:rPr lang="tr-TR" dirty="0"/>
              <a:t>aşlı yetişkinler ve altta yatan tıbbi rahatsızlıkları olan kişiler, </a:t>
            </a:r>
            <a:r>
              <a:rPr lang="tr-TR" dirty="0" err="1"/>
              <a:t>pnömokok</a:t>
            </a:r>
            <a:r>
              <a:rPr lang="tr-TR" dirty="0"/>
              <a:t> hastalığı vakalarının büyük bir kısmını temsil etmektedir.</a:t>
            </a:r>
            <a:endParaRPr lang="en-US" dirty="0"/>
          </a:p>
        </p:txBody>
      </p:sp>
      <p:sp>
        <p:nvSpPr>
          <p:cNvPr id="2" name="Slide Number Placeholder 1">
            <a:extLst>
              <a:ext uri="{FF2B5EF4-FFF2-40B4-BE49-F238E27FC236}">
                <a16:creationId xmlns:a16="http://schemas.microsoft.com/office/drawing/2014/main" id="{CBC26315-864C-F476-8BF4-9A6404482DE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074DEF-F175-4420-8EE3-137377F9872B}" type="slidenum">
              <a:rPr kumimoji="0" lang="en-US" sz="1000" b="0" i="0" u="none" strike="noStrike" kern="1200" cap="none" spc="0" normalizeH="0" baseline="0" noProof="0" smtClean="0">
                <a:ln>
                  <a:noFill/>
                </a:ln>
                <a:solidFill>
                  <a:srgbClr val="A1AAB1">
                    <a:lumMod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000" b="0" i="0" u="none" strike="noStrike" kern="1200" cap="none" spc="0" normalizeH="0" baseline="0" noProof="0">
              <a:ln>
                <a:noFill/>
              </a:ln>
              <a:solidFill>
                <a:srgbClr val="A1AAB1">
                  <a:lumMod val="75000"/>
                </a:srgbClr>
              </a:solidFill>
              <a:effectLst/>
              <a:uLnTx/>
              <a:uFillTx/>
              <a:latin typeface="Arial" panose="020B0604020202020204"/>
              <a:ea typeface="+mn-ea"/>
              <a:cs typeface="+mn-cs"/>
            </a:endParaRPr>
          </a:p>
        </p:txBody>
      </p:sp>
      <p:sp>
        <p:nvSpPr>
          <p:cNvPr id="19" name="Text Placeholder 18">
            <a:extLst>
              <a:ext uri="{FF2B5EF4-FFF2-40B4-BE49-F238E27FC236}">
                <a16:creationId xmlns:a16="http://schemas.microsoft.com/office/drawing/2014/main" id="{8AE11FE9-A1E3-068F-0C18-29CBFE535E9B}"/>
              </a:ext>
            </a:extLst>
          </p:cNvPr>
          <p:cNvSpPr>
            <a:spLocks noGrp="1"/>
          </p:cNvSpPr>
          <p:nvPr>
            <p:ph type="body" sz="quarter" idx="4294967295"/>
          </p:nvPr>
        </p:nvSpPr>
        <p:spPr>
          <a:xfrm>
            <a:off x="169054" y="5920173"/>
            <a:ext cx="11430000" cy="358775"/>
          </a:xfrm>
        </p:spPr>
        <p:txBody>
          <a:bodyPr>
            <a:normAutofit fontScale="25000" lnSpcReduction="20000"/>
          </a:bodyPr>
          <a:lstStyle/>
          <a:p>
            <a:pPr>
              <a:lnSpc>
                <a:spcPct val="120000"/>
              </a:lnSpc>
              <a:spcBef>
                <a:spcPts val="0"/>
              </a:spcBef>
            </a:pPr>
            <a:r>
              <a:rPr lang="en-US" dirty="0">
                <a:solidFill>
                  <a:schemeClr val="bg1">
                    <a:lumMod val="50000"/>
                  </a:schemeClr>
                </a:solidFill>
              </a:rPr>
              <a:t>*Bu </a:t>
            </a:r>
            <a:r>
              <a:rPr lang="en-US" dirty="0" err="1">
                <a:solidFill>
                  <a:schemeClr val="bg1">
                    <a:lumMod val="50000"/>
                  </a:schemeClr>
                </a:solidFill>
              </a:rPr>
              <a:t>çalışma</a:t>
            </a:r>
            <a:r>
              <a:rPr lang="en-US" dirty="0">
                <a:solidFill>
                  <a:schemeClr val="bg1">
                    <a:lumMod val="50000"/>
                  </a:schemeClr>
                </a:solidFill>
              </a:rPr>
              <a:t>, </a:t>
            </a:r>
            <a:r>
              <a:rPr lang="en-US" dirty="0" err="1">
                <a:solidFill>
                  <a:schemeClr val="bg1">
                    <a:lumMod val="50000"/>
                  </a:schemeClr>
                </a:solidFill>
              </a:rPr>
              <a:t>İngiltere'nin</a:t>
            </a:r>
            <a:r>
              <a:rPr lang="en-US" dirty="0">
                <a:solidFill>
                  <a:schemeClr val="bg1">
                    <a:lumMod val="50000"/>
                  </a:schemeClr>
                </a:solidFill>
              </a:rPr>
              <a:t> Bristol </a:t>
            </a:r>
            <a:r>
              <a:rPr lang="en-US" dirty="0" err="1">
                <a:solidFill>
                  <a:schemeClr val="bg1">
                    <a:lumMod val="50000"/>
                  </a:schemeClr>
                </a:solidFill>
              </a:rPr>
              <a:t>kentindeki</a:t>
            </a:r>
            <a:r>
              <a:rPr lang="en-US" dirty="0">
                <a:solidFill>
                  <a:schemeClr val="bg1">
                    <a:lumMod val="50000"/>
                  </a:schemeClr>
                </a:solidFill>
              </a:rPr>
              <a:t> </a:t>
            </a:r>
            <a:r>
              <a:rPr lang="en-US" dirty="0" err="1">
                <a:solidFill>
                  <a:schemeClr val="bg1">
                    <a:lumMod val="50000"/>
                  </a:schemeClr>
                </a:solidFill>
              </a:rPr>
              <a:t>iki</a:t>
            </a:r>
            <a:r>
              <a:rPr lang="en-US" dirty="0">
                <a:solidFill>
                  <a:schemeClr val="bg1">
                    <a:lumMod val="50000"/>
                  </a:schemeClr>
                </a:solidFill>
              </a:rPr>
              <a:t> </a:t>
            </a:r>
            <a:r>
              <a:rPr lang="en-US" dirty="0" err="1">
                <a:solidFill>
                  <a:schemeClr val="bg1">
                    <a:lumMod val="50000"/>
                  </a:schemeClr>
                </a:solidFill>
              </a:rPr>
              <a:t>büyük</a:t>
            </a:r>
            <a:r>
              <a:rPr lang="en-US" dirty="0">
                <a:solidFill>
                  <a:schemeClr val="bg1">
                    <a:lumMod val="50000"/>
                  </a:schemeClr>
                </a:solidFill>
              </a:rPr>
              <a:t> </a:t>
            </a:r>
            <a:r>
              <a:rPr lang="en-US" dirty="0" err="1">
                <a:solidFill>
                  <a:schemeClr val="bg1">
                    <a:lumMod val="50000"/>
                  </a:schemeClr>
                </a:solidFill>
              </a:rPr>
              <a:t>hastaneye</a:t>
            </a:r>
            <a:r>
              <a:rPr lang="en-US" dirty="0">
                <a:solidFill>
                  <a:schemeClr val="bg1">
                    <a:lumMod val="50000"/>
                  </a:schemeClr>
                </a:solidFill>
              </a:rPr>
              <a:t> </a:t>
            </a:r>
            <a:r>
              <a:rPr lang="en-US" dirty="0" err="1">
                <a:solidFill>
                  <a:schemeClr val="bg1">
                    <a:lumMod val="50000"/>
                  </a:schemeClr>
                </a:solidFill>
              </a:rPr>
              <a:t>başvuran</a:t>
            </a:r>
            <a:r>
              <a:rPr lang="en-US" dirty="0">
                <a:solidFill>
                  <a:schemeClr val="bg1">
                    <a:lumMod val="50000"/>
                  </a:schemeClr>
                </a:solidFill>
              </a:rPr>
              <a:t> ≥18 </a:t>
            </a:r>
            <a:r>
              <a:rPr lang="en-US" dirty="0" err="1">
                <a:solidFill>
                  <a:schemeClr val="bg1">
                    <a:lumMod val="50000"/>
                  </a:schemeClr>
                </a:solidFill>
              </a:rPr>
              <a:t>yaş</a:t>
            </a:r>
            <a:r>
              <a:rPr lang="en-US" dirty="0">
                <a:solidFill>
                  <a:schemeClr val="bg1">
                    <a:lumMod val="50000"/>
                  </a:schemeClr>
                </a:solidFill>
              </a:rPr>
              <a:t> </a:t>
            </a:r>
            <a:r>
              <a:rPr lang="tr-TR" dirty="0">
                <a:solidFill>
                  <a:schemeClr val="bg1">
                    <a:lumMod val="50000"/>
                  </a:schemeClr>
                </a:solidFill>
              </a:rPr>
              <a:t>ve üzeri</a:t>
            </a:r>
            <a:r>
              <a:rPr lang="en-US" dirty="0">
                <a:solidFill>
                  <a:schemeClr val="bg1">
                    <a:lumMod val="50000"/>
                  </a:schemeClr>
                </a:solidFill>
              </a:rPr>
              <a:t> 280 </a:t>
            </a:r>
            <a:r>
              <a:rPr lang="en-US" dirty="0" err="1">
                <a:solidFill>
                  <a:schemeClr val="bg1">
                    <a:lumMod val="50000"/>
                  </a:schemeClr>
                </a:solidFill>
              </a:rPr>
              <a:t>yetişkini</a:t>
            </a:r>
            <a:r>
              <a:rPr lang="en-US" dirty="0">
                <a:solidFill>
                  <a:schemeClr val="bg1">
                    <a:lumMod val="50000"/>
                  </a:schemeClr>
                </a:solidFill>
              </a:rPr>
              <a:t>, </a:t>
            </a:r>
            <a:r>
              <a:rPr lang="en-US" dirty="0" err="1">
                <a:solidFill>
                  <a:schemeClr val="bg1">
                    <a:lumMod val="50000"/>
                  </a:schemeClr>
                </a:solidFill>
              </a:rPr>
              <a:t>aşağıdaki</a:t>
            </a:r>
            <a:r>
              <a:rPr lang="en-US" dirty="0">
                <a:solidFill>
                  <a:schemeClr val="bg1">
                    <a:lumMod val="50000"/>
                  </a:schemeClr>
                </a:solidFill>
              </a:rPr>
              <a:t> </a:t>
            </a:r>
            <a:r>
              <a:rPr lang="en-US" dirty="0" err="1">
                <a:solidFill>
                  <a:schemeClr val="bg1">
                    <a:lumMod val="50000"/>
                  </a:schemeClr>
                </a:solidFill>
              </a:rPr>
              <a:t>yöntemlerden</a:t>
            </a:r>
            <a:r>
              <a:rPr lang="en-US" dirty="0">
                <a:solidFill>
                  <a:schemeClr val="bg1">
                    <a:lumMod val="50000"/>
                  </a:schemeClr>
                </a:solidFill>
              </a:rPr>
              <a:t> </a:t>
            </a:r>
            <a:r>
              <a:rPr lang="en-US" dirty="0" err="1">
                <a:solidFill>
                  <a:schemeClr val="bg1">
                    <a:lumMod val="50000"/>
                  </a:schemeClr>
                </a:solidFill>
              </a:rPr>
              <a:t>herhangi</a:t>
            </a:r>
            <a:r>
              <a:rPr lang="en-US" dirty="0">
                <a:solidFill>
                  <a:schemeClr val="bg1">
                    <a:lumMod val="50000"/>
                  </a:schemeClr>
                </a:solidFill>
              </a:rPr>
              <a:t> </a:t>
            </a:r>
            <a:r>
              <a:rPr lang="en-US" dirty="0" err="1">
                <a:solidFill>
                  <a:schemeClr val="bg1">
                    <a:lumMod val="50000"/>
                  </a:schemeClr>
                </a:solidFill>
              </a:rPr>
              <a:t>biriyle</a:t>
            </a:r>
            <a:r>
              <a:rPr lang="en-US" dirty="0">
                <a:solidFill>
                  <a:schemeClr val="bg1">
                    <a:lumMod val="50000"/>
                  </a:schemeClr>
                </a:solidFill>
              </a:rPr>
              <a:t> </a:t>
            </a:r>
            <a:r>
              <a:rPr lang="en-US" dirty="0" err="1">
                <a:solidFill>
                  <a:schemeClr val="bg1">
                    <a:lumMod val="50000"/>
                  </a:schemeClr>
                </a:solidFill>
              </a:rPr>
              <a:t>tespit</a:t>
            </a:r>
            <a:r>
              <a:rPr lang="en-US" dirty="0">
                <a:solidFill>
                  <a:schemeClr val="bg1">
                    <a:lumMod val="50000"/>
                  </a:schemeClr>
                </a:solidFill>
              </a:rPr>
              <a:t> </a:t>
            </a:r>
            <a:r>
              <a:rPr lang="en-US" dirty="0" err="1">
                <a:solidFill>
                  <a:schemeClr val="bg1">
                    <a:lumMod val="50000"/>
                  </a:schemeClr>
                </a:solidFill>
              </a:rPr>
              <a:t>edilen</a:t>
            </a:r>
            <a:r>
              <a:rPr lang="en-US" dirty="0">
                <a:solidFill>
                  <a:schemeClr val="bg1">
                    <a:lumMod val="50000"/>
                  </a:schemeClr>
                </a:solidFill>
              </a:rPr>
              <a:t> </a:t>
            </a:r>
            <a:r>
              <a:rPr lang="en-US" dirty="0" err="1">
                <a:solidFill>
                  <a:schemeClr val="bg1">
                    <a:lumMod val="50000"/>
                  </a:schemeClr>
                </a:solidFill>
              </a:rPr>
              <a:t>pnömokok</a:t>
            </a:r>
            <a:r>
              <a:rPr lang="en-US" dirty="0">
                <a:solidFill>
                  <a:schemeClr val="bg1">
                    <a:lumMod val="50000"/>
                  </a:schemeClr>
                </a:solidFill>
              </a:rPr>
              <a:t> </a:t>
            </a:r>
            <a:r>
              <a:rPr lang="en-US" dirty="0" err="1">
                <a:solidFill>
                  <a:schemeClr val="bg1">
                    <a:lumMod val="50000"/>
                  </a:schemeClr>
                </a:solidFill>
              </a:rPr>
              <a:t>toplum</a:t>
            </a:r>
            <a:r>
              <a:rPr lang="en-US" dirty="0">
                <a:solidFill>
                  <a:schemeClr val="bg1">
                    <a:lumMod val="50000"/>
                  </a:schemeClr>
                </a:solidFill>
              </a:rPr>
              <a:t> </a:t>
            </a:r>
            <a:r>
              <a:rPr lang="en-US" dirty="0" err="1">
                <a:solidFill>
                  <a:schemeClr val="bg1">
                    <a:lumMod val="50000"/>
                  </a:schemeClr>
                </a:solidFill>
              </a:rPr>
              <a:t>kökenli</a:t>
            </a:r>
            <a:r>
              <a:rPr lang="en-US" dirty="0">
                <a:solidFill>
                  <a:schemeClr val="bg1">
                    <a:lumMod val="50000"/>
                  </a:schemeClr>
                </a:solidFill>
              </a:rPr>
              <a:t> </a:t>
            </a:r>
            <a:r>
              <a:rPr lang="en-US" dirty="0" err="1">
                <a:solidFill>
                  <a:schemeClr val="bg1">
                    <a:lumMod val="50000"/>
                  </a:schemeClr>
                </a:solidFill>
              </a:rPr>
              <a:t>pnömoni</a:t>
            </a:r>
            <a:r>
              <a:rPr lang="en-US" dirty="0">
                <a:solidFill>
                  <a:schemeClr val="bg1">
                    <a:lumMod val="50000"/>
                  </a:schemeClr>
                </a:solidFill>
              </a:rPr>
              <a:t> </a:t>
            </a:r>
            <a:r>
              <a:rPr lang="en-US" dirty="0" err="1">
                <a:solidFill>
                  <a:schemeClr val="bg1">
                    <a:lumMod val="50000"/>
                  </a:schemeClr>
                </a:solidFill>
              </a:rPr>
              <a:t>ile</a:t>
            </a:r>
            <a:r>
              <a:rPr lang="en-US" dirty="0">
                <a:solidFill>
                  <a:schemeClr val="bg1">
                    <a:lumMod val="50000"/>
                  </a:schemeClr>
                </a:solidFill>
              </a:rPr>
              <a:t> </a:t>
            </a:r>
            <a:r>
              <a:rPr lang="en-US" dirty="0" err="1">
                <a:solidFill>
                  <a:schemeClr val="bg1">
                    <a:lumMod val="50000"/>
                  </a:schemeClr>
                </a:solidFill>
              </a:rPr>
              <a:t>içeriyordu</a:t>
            </a:r>
            <a:r>
              <a:rPr lang="en-US" dirty="0">
                <a:solidFill>
                  <a:schemeClr val="bg1">
                    <a:lumMod val="50000"/>
                  </a:schemeClr>
                </a:solidFill>
              </a:rPr>
              <a:t>: </a:t>
            </a:r>
            <a:r>
              <a:rPr lang="en-US" dirty="0" err="1">
                <a:solidFill>
                  <a:schemeClr val="bg1">
                    <a:lumMod val="50000"/>
                  </a:schemeClr>
                </a:solidFill>
              </a:rPr>
              <a:t>steril</a:t>
            </a:r>
            <a:r>
              <a:rPr lang="en-US" dirty="0">
                <a:solidFill>
                  <a:schemeClr val="bg1">
                    <a:lumMod val="50000"/>
                  </a:schemeClr>
                </a:solidFill>
              </a:rPr>
              <a:t> </a:t>
            </a:r>
            <a:r>
              <a:rPr lang="en-US" dirty="0" err="1">
                <a:solidFill>
                  <a:schemeClr val="bg1">
                    <a:lumMod val="50000"/>
                  </a:schemeClr>
                </a:solidFill>
              </a:rPr>
              <a:t>alan</a:t>
            </a:r>
            <a:r>
              <a:rPr lang="en-US" dirty="0">
                <a:solidFill>
                  <a:schemeClr val="bg1">
                    <a:lumMod val="50000"/>
                  </a:schemeClr>
                </a:solidFill>
              </a:rPr>
              <a:t> </a:t>
            </a:r>
            <a:r>
              <a:rPr lang="en-US" dirty="0" err="1">
                <a:solidFill>
                  <a:schemeClr val="bg1">
                    <a:lumMod val="50000"/>
                  </a:schemeClr>
                </a:solidFill>
              </a:rPr>
              <a:t>kültürü</a:t>
            </a:r>
            <a:r>
              <a:rPr lang="en-US" dirty="0">
                <a:solidFill>
                  <a:schemeClr val="bg1">
                    <a:lumMod val="50000"/>
                  </a:schemeClr>
                </a:solidFill>
              </a:rPr>
              <a:t>, </a:t>
            </a:r>
            <a:r>
              <a:rPr lang="en-US" dirty="0" err="1">
                <a:solidFill>
                  <a:schemeClr val="bg1">
                    <a:lumMod val="50000"/>
                  </a:schemeClr>
                </a:solidFill>
              </a:rPr>
              <a:t>pnömokok</a:t>
            </a:r>
            <a:r>
              <a:rPr lang="en-US" dirty="0">
                <a:solidFill>
                  <a:schemeClr val="bg1">
                    <a:lumMod val="50000"/>
                  </a:schemeClr>
                </a:solidFill>
              </a:rPr>
              <a:t> </a:t>
            </a:r>
            <a:r>
              <a:rPr lang="en-US" dirty="0" err="1">
                <a:solidFill>
                  <a:schemeClr val="bg1">
                    <a:lumMod val="50000"/>
                  </a:schemeClr>
                </a:solidFill>
              </a:rPr>
              <a:t>üriner</a:t>
            </a:r>
            <a:r>
              <a:rPr lang="en-US" dirty="0">
                <a:solidFill>
                  <a:schemeClr val="bg1">
                    <a:lumMod val="50000"/>
                  </a:schemeClr>
                </a:solidFill>
              </a:rPr>
              <a:t> </a:t>
            </a:r>
            <a:r>
              <a:rPr lang="en-US" dirty="0" err="1">
                <a:solidFill>
                  <a:schemeClr val="bg1">
                    <a:lumMod val="50000"/>
                  </a:schemeClr>
                </a:solidFill>
              </a:rPr>
              <a:t>antijen</a:t>
            </a:r>
            <a:r>
              <a:rPr lang="en-US" dirty="0">
                <a:solidFill>
                  <a:schemeClr val="bg1">
                    <a:lumMod val="50000"/>
                  </a:schemeClr>
                </a:solidFill>
              </a:rPr>
              <a:t> </a:t>
            </a:r>
            <a:r>
              <a:rPr lang="en-US" dirty="0" err="1">
                <a:solidFill>
                  <a:schemeClr val="bg1">
                    <a:lumMod val="50000"/>
                  </a:schemeClr>
                </a:solidFill>
              </a:rPr>
              <a:t>testi</a:t>
            </a:r>
            <a:r>
              <a:rPr lang="en-US" dirty="0">
                <a:solidFill>
                  <a:schemeClr val="bg1">
                    <a:lumMod val="50000"/>
                  </a:schemeClr>
                </a:solidFill>
              </a:rPr>
              <a:t> (PUAT, </a:t>
            </a:r>
            <a:r>
              <a:rPr lang="en-US" dirty="0" err="1">
                <a:solidFill>
                  <a:schemeClr val="bg1">
                    <a:lumMod val="50000"/>
                  </a:schemeClr>
                </a:solidFill>
              </a:rPr>
              <a:t>BinaxNow</a:t>
            </a:r>
            <a:r>
              <a:rPr lang="en-US" dirty="0">
                <a:solidFill>
                  <a:schemeClr val="bg1">
                    <a:lumMod val="50000"/>
                  </a:schemeClr>
                </a:solidFill>
              </a:rPr>
              <a:t> S. pneumoniae) </a:t>
            </a:r>
            <a:r>
              <a:rPr lang="en-US" dirty="0" err="1">
                <a:solidFill>
                  <a:schemeClr val="bg1">
                    <a:lumMod val="50000"/>
                  </a:schemeClr>
                </a:solidFill>
              </a:rPr>
              <a:t>veya</a:t>
            </a:r>
            <a:r>
              <a:rPr lang="en-US" dirty="0">
                <a:solidFill>
                  <a:schemeClr val="bg1">
                    <a:lumMod val="50000"/>
                  </a:schemeClr>
                </a:solidFill>
              </a:rPr>
              <a:t> </a:t>
            </a:r>
            <a:r>
              <a:rPr lang="en-US" dirty="0" err="1">
                <a:solidFill>
                  <a:schemeClr val="bg1">
                    <a:lumMod val="50000"/>
                  </a:schemeClr>
                </a:solidFill>
              </a:rPr>
              <a:t>Pfizer'in</a:t>
            </a:r>
            <a:r>
              <a:rPr lang="en-US" dirty="0">
                <a:solidFill>
                  <a:schemeClr val="bg1">
                    <a:lumMod val="50000"/>
                  </a:schemeClr>
                </a:solidFill>
              </a:rPr>
              <a:t> </a:t>
            </a:r>
            <a:r>
              <a:rPr lang="en-US" dirty="0" err="1">
                <a:solidFill>
                  <a:schemeClr val="bg1">
                    <a:lumMod val="50000"/>
                  </a:schemeClr>
                </a:solidFill>
              </a:rPr>
              <a:t>serotipe</a:t>
            </a:r>
            <a:r>
              <a:rPr lang="en-US" dirty="0">
                <a:solidFill>
                  <a:schemeClr val="bg1">
                    <a:lumMod val="50000"/>
                  </a:schemeClr>
                </a:solidFill>
              </a:rPr>
              <a:t> </a:t>
            </a:r>
            <a:r>
              <a:rPr lang="en-US" dirty="0" err="1">
                <a:solidFill>
                  <a:schemeClr val="bg1">
                    <a:lumMod val="50000"/>
                  </a:schemeClr>
                </a:solidFill>
              </a:rPr>
              <a:t>özgü</a:t>
            </a:r>
            <a:r>
              <a:rPr lang="en-US" dirty="0">
                <a:solidFill>
                  <a:schemeClr val="bg1">
                    <a:lumMod val="50000"/>
                  </a:schemeClr>
                </a:solidFill>
              </a:rPr>
              <a:t> </a:t>
            </a:r>
            <a:r>
              <a:rPr lang="en-US" dirty="0" err="1">
                <a:solidFill>
                  <a:schemeClr val="bg1">
                    <a:lumMod val="50000"/>
                  </a:schemeClr>
                </a:solidFill>
              </a:rPr>
              <a:t>üriner</a:t>
            </a:r>
            <a:r>
              <a:rPr lang="en-US" dirty="0">
                <a:solidFill>
                  <a:schemeClr val="bg1">
                    <a:lumMod val="50000"/>
                  </a:schemeClr>
                </a:solidFill>
              </a:rPr>
              <a:t> </a:t>
            </a:r>
            <a:r>
              <a:rPr lang="en-US" dirty="0" err="1">
                <a:solidFill>
                  <a:schemeClr val="bg1">
                    <a:lumMod val="50000"/>
                  </a:schemeClr>
                </a:solidFill>
              </a:rPr>
              <a:t>antijen</a:t>
            </a:r>
            <a:r>
              <a:rPr lang="en-US" dirty="0">
                <a:solidFill>
                  <a:schemeClr val="bg1">
                    <a:lumMod val="50000"/>
                  </a:schemeClr>
                </a:solidFill>
              </a:rPr>
              <a:t> </a:t>
            </a:r>
            <a:r>
              <a:rPr lang="en-US" dirty="0" err="1">
                <a:solidFill>
                  <a:schemeClr val="bg1">
                    <a:lumMod val="50000"/>
                  </a:schemeClr>
                </a:solidFill>
              </a:rPr>
              <a:t>tespit</a:t>
            </a:r>
            <a:r>
              <a:rPr lang="en-US" dirty="0">
                <a:solidFill>
                  <a:schemeClr val="bg1">
                    <a:lumMod val="50000"/>
                  </a:schemeClr>
                </a:solidFill>
              </a:rPr>
              <a:t> </a:t>
            </a:r>
            <a:r>
              <a:rPr lang="en-US" dirty="0" err="1">
                <a:solidFill>
                  <a:schemeClr val="bg1">
                    <a:lumMod val="50000"/>
                  </a:schemeClr>
                </a:solidFill>
              </a:rPr>
              <a:t>testi</a:t>
            </a:r>
            <a:r>
              <a:rPr lang="en-US" dirty="0">
                <a:solidFill>
                  <a:schemeClr val="bg1">
                    <a:lumMod val="50000"/>
                  </a:schemeClr>
                </a:solidFill>
              </a:rPr>
              <a:t> (UAD1 </a:t>
            </a:r>
            <a:r>
              <a:rPr lang="en-US" dirty="0" err="1">
                <a:solidFill>
                  <a:schemeClr val="bg1">
                    <a:lumMod val="50000"/>
                  </a:schemeClr>
                </a:solidFill>
              </a:rPr>
              <a:t>veya</a:t>
            </a:r>
            <a:r>
              <a:rPr lang="en-US" dirty="0">
                <a:solidFill>
                  <a:schemeClr val="bg1">
                    <a:lumMod val="50000"/>
                  </a:schemeClr>
                </a:solidFill>
              </a:rPr>
              <a:t> UAD2). †Risk </a:t>
            </a:r>
            <a:r>
              <a:rPr lang="en-US" dirty="0" err="1">
                <a:solidFill>
                  <a:schemeClr val="bg1">
                    <a:lumMod val="50000"/>
                  </a:schemeClr>
                </a:solidFill>
              </a:rPr>
              <a:t>altındakiler</a:t>
            </a:r>
            <a:r>
              <a:rPr lang="en-US" dirty="0">
                <a:solidFill>
                  <a:schemeClr val="bg1">
                    <a:lumMod val="50000"/>
                  </a:schemeClr>
                </a:solidFill>
              </a:rPr>
              <a:t>, </a:t>
            </a:r>
            <a:r>
              <a:rPr lang="en-US" dirty="0" err="1">
                <a:solidFill>
                  <a:schemeClr val="bg1">
                    <a:lumMod val="50000"/>
                  </a:schemeClr>
                </a:solidFill>
              </a:rPr>
              <a:t>astım</a:t>
            </a:r>
            <a:r>
              <a:rPr lang="en-US" dirty="0">
                <a:solidFill>
                  <a:schemeClr val="bg1">
                    <a:lumMod val="50000"/>
                  </a:schemeClr>
                </a:solidFill>
              </a:rPr>
              <a:t>, </a:t>
            </a:r>
            <a:r>
              <a:rPr lang="en-US" dirty="0" err="1">
                <a:solidFill>
                  <a:schemeClr val="bg1">
                    <a:lumMod val="50000"/>
                  </a:schemeClr>
                </a:solidFill>
              </a:rPr>
              <a:t>konjestif</a:t>
            </a:r>
            <a:r>
              <a:rPr lang="en-US" dirty="0">
                <a:solidFill>
                  <a:schemeClr val="bg1">
                    <a:lumMod val="50000"/>
                  </a:schemeClr>
                </a:solidFill>
              </a:rPr>
              <a:t> </a:t>
            </a:r>
            <a:r>
              <a:rPr lang="en-US" dirty="0" err="1">
                <a:solidFill>
                  <a:schemeClr val="bg1">
                    <a:lumMod val="50000"/>
                  </a:schemeClr>
                </a:solidFill>
              </a:rPr>
              <a:t>kalp</a:t>
            </a:r>
            <a:r>
              <a:rPr lang="en-US" dirty="0">
                <a:solidFill>
                  <a:schemeClr val="bg1">
                    <a:lumMod val="50000"/>
                  </a:schemeClr>
                </a:solidFill>
              </a:rPr>
              <a:t> </a:t>
            </a:r>
            <a:r>
              <a:rPr lang="en-US" dirty="0" err="1">
                <a:solidFill>
                  <a:schemeClr val="bg1">
                    <a:lumMod val="50000"/>
                  </a:schemeClr>
                </a:solidFill>
              </a:rPr>
              <a:t>yetmezliği</a:t>
            </a:r>
            <a:r>
              <a:rPr lang="en-US" dirty="0">
                <a:solidFill>
                  <a:schemeClr val="bg1">
                    <a:lumMod val="50000"/>
                  </a:schemeClr>
                </a:solidFill>
              </a:rPr>
              <a:t>, </a:t>
            </a:r>
            <a:r>
              <a:rPr lang="en-US" dirty="0" err="1">
                <a:solidFill>
                  <a:schemeClr val="bg1">
                    <a:lumMod val="50000"/>
                  </a:schemeClr>
                </a:solidFill>
              </a:rPr>
              <a:t>karaciğer</a:t>
            </a:r>
            <a:r>
              <a:rPr lang="en-US" dirty="0">
                <a:solidFill>
                  <a:schemeClr val="bg1">
                    <a:lumMod val="50000"/>
                  </a:schemeClr>
                </a:solidFill>
              </a:rPr>
              <a:t> </a:t>
            </a:r>
            <a:r>
              <a:rPr lang="en-US" dirty="0" err="1">
                <a:solidFill>
                  <a:schemeClr val="bg1">
                    <a:lumMod val="50000"/>
                  </a:schemeClr>
                </a:solidFill>
              </a:rPr>
              <a:t>hastalığı</a:t>
            </a:r>
            <a:r>
              <a:rPr lang="en-US" dirty="0">
                <a:solidFill>
                  <a:schemeClr val="bg1">
                    <a:lumMod val="50000"/>
                  </a:schemeClr>
                </a:solidFill>
              </a:rPr>
              <a:t>, </a:t>
            </a:r>
            <a:r>
              <a:rPr lang="en-US" dirty="0" err="1">
                <a:solidFill>
                  <a:schemeClr val="bg1">
                    <a:lumMod val="50000"/>
                  </a:schemeClr>
                </a:solidFill>
              </a:rPr>
              <a:t>kronik</a:t>
            </a:r>
            <a:r>
              <a:rPr lang="en-US" dirty="0">
                <a:solidFill>
                  <a:schemeClr val="bg1">
                    <a:lumMod val="50000"/>
                  </a:schemeClr>
                </a:solidFill>
              </a:rPr>
              <a:t> </a:t>
            </a:r>
            <a:r>
              <a:rPr lang="en-US" dirty="0" err="1">
                <a:solidFill>
                  <a:schemeClr val="bg1">
                    <a:lumMod val="50000"/>
                  </a:schemeClr>
                </a:solidFill>
              </a:rPr>
              <a:t>obstrüktif</a:t>
            </a:r>
            <a:r>
              <a:rPr lang="en-US" dirty="0">
                <a:solidFill>
                  <a:schemeClr val="bg1">
                    <a:lumMod val="50000"/>
                  </a:schemeClr>
                </a:solidFill>
              </a:rPr>
              <a:t> </a:t>
            </a:r>
            <a:r>
              <a:rPr lang="en-US" dirty="0" err="1">
                <a:solidFill>
                  <a:schemeClr val="bg1">
                    <a:lumMod val="50000"/>
                  </a:schemeClr>
                </a:solidFill>
              </a:rPr>
              <a:t>akciğer</a:t>
            </a:r>
            <a:r>
              <a:rPr lang="en-US" dirty="0">
                <a:solidFill>
                  <a:schemeClr val="bg1">
                    <a:lumMod val="50000"/>
                  </a:schemeClr>
                </a:solidFill>
              </a:rPr>
              <a:t> </a:t>
            </a:r>
            <a:r>
              <a:rPr lang="en-US" dirty="0" err="1">
                <a:solidFill>
                  <a:schemeClr val="bg1">
                    <a:lumMod val="50000"/>
                  </a:schemeClr>
                </a:solidFill>
              </a:rPr>
              <a:t>hastalığı</a:t>
            </a:r>
            <a:r>
              <a:rPr lang="en-US" dirty="0">
                <a:solidFill>
                  <a:schemeClr val="bg1">
                    <a:lumMod val="50000"/>
                  </a:schemeClr>
                </a:solidFill>
              </a:rPr>
              <a:t>, diabetes mellitus, </a:t>
            </a:r>
            <a:r>
              <a:rPr lang="en-US" dirty="0" err="1">
                <a:solidFill>
                  <a:schemeClr val="bg1">
                    <a:lumMod val="50000"/>
                  </a:schemeClr>
                </a:solidFill>
              </a:rPr>
              <a:t>alkol</a:t>
            </a:r>
            <a:r>
              <a:rPr lang="en-US" dirty="0">
                <a:solidFill>
                  <a:schemeClr val="bg1">
                    <a:lumMod val="50000"/>
                  </a:schemeClr>
                </a:solidFill>
              </a:rPr>
              <a:t> </a:t>
            </a:r>
            <a:r>
              <a:rPr lang="en-US" dirty="0" err="1">
                <a:solidFill>
                  <a:schemeClr val="bg1">
                    <a:lumMod val="50000"/>
                  </a:schemeClr>
                </a:solidFill>
              </a:rPr>
              <a:t>kötüye</a:t>
            </a:r>
            <a:r>
              <a:rPr lang="en-US" dirty="0">
                <a:solidFill>
                  <a:schemeClr val="bg1">
                    <a:lumMod val="50000"/>
                  </a:schemeClr>
                </a:solidFill>
              </a:rPr>
              <a:t> </a:t>
            </a:r>
            <a:r>
              <a:rPr lang="en-US" dirty="0" err="1">
                <a:solidFill>
                  <a:schemeClr val="bg1">
                    <a:lumMod val="50000"/>
                  </a:schemeClr>
                </a:solidFill>
              </a:rPr>
              <a:t>kullanımı</a:t>
            </a:r>
            <a:r>
              <a:rPr lang="en-US" dirty="0">
                <a:solidFill>
                  <a:schemeClr val="bg1">
                    <a:lumMod val="50000"/>
                  </a:schemeClr>
                </a:solidFill>
              </a:rPr>
              <a:t> </a:t>
            </a:r>
            <a:r>
              <a:rPr lang="en-US" dirty="0" err="1">
                <a:solidFill>
                  <a:schemeClr val="bg1">
                    <a:lumMod val="50000"/>
                  </a:schemeClr>
                </a:solidFill>
              </a:rPr>
              <a:t>olan</a:t>
            </a:r>
            <a:r>
              <a:rPr lang="en-US" dirty="0">
                <a:solidFill>
                  <a:schemeClr val="bg1">
                    <a:lumMod val="50000"/>
                  </a:schemeClr>
                </a:solidFill>
              </a:rPr>
              <a:t> </a:t>
            </a:r>
            <a:r>
              <a:rPr lang="en-US" dirty="0" err="1">
                <a:solidFill>
                  <a:schemeClr val="bg1">
                    <a:lumMod val="50000"/>
                  </a:schemeClr>
                </a:solidFill>
              </a:rPr>
              <a:t>veya</a:t>
            </a:r>
            <a:r>
              <a:rPr lang="en-US" dirty="0">
                <a:solidFill>
                  <a:schemeClr val="bg1">
                    <a:lumMod val="50000"/>
                  </a:schemeClr>
                </a:solidFill>
              </a:rPr>
              <a:t> </a:t>
            </a:r>
            <a:r>
              <a:rPr lang="en-US" dirty="0" err="1">
                <a:solidFill>
                  <a:schemeClr val="bg1">
                    <a:lumMod val="50000"/>
                  </a:schemeClr>
                </a:solidFill>
              </a:rPr>
              <a:t>şu</a:t>
            </a:r>
            <a:r>
              <a:rPr lang="en-US" dirty="0">
                <a:solidFill>
                  <a:schemeClr val="bg1">
                    <a:lumMod val="50000"/>
                  </a:schemeClr>
                </a:solidFill>
              </a:rPr>
              <a:t> </a:t>
            </a:r>
            <a:r>
              <a:rPr lang="en-US" dirty="0" err="1">
                <a:solidFill>
                  <a:schemeClr val="bg1">
                    <a:lumMod val="50000"/>
                  </a:schemeClr>
                </a:solidFill>
              </a:rPr>
              <a:t>anda</a:t>
            </a:r>
            <a:r>
              <a:rPr lang="en-US" dirty="0">
                <a:solidFill>
                  <a:schemeClr val="bg1">
                    <a:lumMod val="50000"/>
                  </a:schemeClr>
                </a:solidFill>
              </a:rPr>
              <a:t> </a:t>
            </a:r>
            <a:r>
              <a:rPr lang="en-US" dirty="0" err="1">
                <a:solidFill>
                  <a:schemeClr val="bg1">
                    <a:lumMod val="50000"/>
                  </a:schemeClr>
                </a:solidFill>
              </a:rPr>
              <a:t>sigara</a:t>
            </a:r>
            <a:r>
              <a:rPr lang="en-US" dirty="0">
                <a:solidFill>
                  <a:schemeClr val="bg1">
                    <a:lumMod val="50000"/>
                  </a:schemeClr>
                </a:solidFill>
              </a:rPr>
              <a:t> </a:t>
            </a:r>
            <a:r>
              <a:rPr lang="en-US" dirty="0" err="1">
                <a:solidFill>
                  <a:schemeClr val="bg1">
                    <a:lumMod val="50000"/>
                  </a:schemeClr>
                </a:solidFill>
              </a:rPr>
              <a:t>içen</a:t>
            </a:r>
            <a:r>
              <a:rPr lang="en-US" dirty="0">
                <a:solidFill>
                  <a:schemeClr val="bg1">
                    <a:lumMod val="50000"/>
                  </a:schemeClr>
                </a:solidFill>
              </a:rPr>
              <a:t>, </a:t>
            </a:r>
            <a:r>
              <a:rPr lang="en-US" dirty="0" err="1">
                <a:solidFill>
                  <a:schemeClr val="bg1">
                    <a:lumMod val="50000"/>
                  </a:schemeClr>
                </a:solidFill>
              </a:rPr>
              <a:t>bağışıklığı</a:t>
            </a:r>
            <a:r>
              <a:rPr lang="en-US" dirty="0">
                <a:solidFill>
                  <a:schemeClr val="bg1">
                    <a:lumMod val="50000"/>
                  </a:schemeClr>
                </a:solidFill>
              </a:rPr>
              <a:t> </a:t>
            </a:r>
            <a:r>
              <a:rPr lang="en-US" dirty="0" err="1">
                <a:solidFill>
                  <a:schemeClr val="bg1">
                    <a:lumMod val="50000"/>
                  </a:schemeClr>
                </a:solidFill>
              </a:rPr>
              <a:t>baskılayıcı</a:t>
            </a:r>
            <a:r>
              <a:rPr lang="en-US" dirty="0">
                <a:solidFill>
                  <a:schemeClr val="bg1">
                    <a:lumMod val="50000"/>
                  </a:schemeClr>
                </a:solidFill>
              </a:rPr>
              <a:t> </a:t>
            </a:r>
            <a:r>
              <a:rPr lang="en-US" dirty="0" err="1">
                <a:solidFill>
                  <a:schemeClr val="bg1">
                    <a:lumMod val="50000"/>
                  </a:schemeClr>
                </a:solidFill>
              </a:rPr>
              <a:t>koşulları</a:t>
            </a:r>
            <a:r>
              <a:rPr lang="en-US" dirty="0">
                <a:solidFill>
                  <a:schemeClr val="bg1">
                    <a:lumMod val="50000"/>
                  </a:schemeClr>
                </a:solidFill>
              </a:rPr>
              <a:t> </a:t>
            </a:r>
            <a:r>
              <a:rPr lang="en-US" dirty="0" err="1">
                <a:solidFill>
                  <a:schemeClr val="bg1">
                    <a:lumMod val="50000"/>
                  </a:schemeClr>
                </a:solidFill>
              </a:rPr>
              <a:t>olmayan</a:t>
            </a:r>
            <a:r>
              <a:rPr lang="en-US" dirty="0">
                <a:solidFill>
                  <a:schemeClr val="bg1">
                    <a:lumMod val="50000"/>
                  </a:schemeClr>
                </a:solidFill>
              </a:rPr>
              <a:t> </a:t>
            </a:r>
            <a:r>
              <a:rPr lang="en-US" dirty="0" err="1">
                <a:solidFill>
                  <a:schemeClr val="bg1">
                    <a:lumMod val="50000"/>
                  </a:schemeClr>
                </a:solidFill>
              </a:rPr>
              <a:t>yetişkinleri</a:t>
            </a:r>
            <a:r>
              <a:rPr lang="en-US" dirty="0">
                <a:solidFill>
                  <a:schemeClr val="bg1">
                    <a:lumMod val="50000"/>
                  </a:schemeClr>
                </a:solidFill>
              </a:rPr>
              <a:t> </a:t>
            </a:r>
            <a:r>
              <a:rPr lang="en-US" dirty="0" err="1">
                <a:solidFill>
                  <a:schemeClr val="bg1">
                    <a:lumMod val="50000"/>
                  </a:schemeClr>
                </a:solidFill>
              </a:rPr>
              <a:t>içeriyordu</a:t>
            </a:r>
            <a:r>
              <a:rPr lang="en-US" dirty="0">
                <a:solidFill>
                  <a:schemeClr val="bg1">
                    <a:lumMod val="50000"/>
                  </a:schemeClr>
                </a:solidFill>
              </a:rPr>
              <a:t>. ‡Yüksek risk, </a:t>
            </a:r>
            <a:r>
              <a:rPr lang="en-US" dirty="0" err="1">
                <a:solidFill>
                  <a:schemeClr val="bg1">
                    <a:lumMod val="50000"/>
                  </a:schemeClr>
                </a:solidFill>
              </a:rPr>
              <a:t>kronik</a:t>
            </a:r>
            <a:r>
              <a:rPr lang="en-US" dirty="0">
                <a:solidFill>
                  <a:schemeClr val="bg1">
                    <a:lumMod val="50000"/>
                  </a:schemeClr>
                </a:solidFill>
              </a:rPr>
              <a:t> </a:t>
            </a:r>
            <a:r>
              <a:rPr lang="en-US" dirty="0" err="1">
                <a:solidFill>
                  <a:schemeClr val="bg1">
                    <a:lumMod val="50000"/>
                  </a:schemeClr>
                </a:solidFill>
              </a:rPr>
              <a:t>böbrek</a:t>
            </a:r>
            <a:r>
              <a:rPr lang="en-US" dirty="0">
                <a:solidFill>
                  <a:schemeClr val="bg1">
                    <a:lumMod val="50000"/>
                  </a:schemeClr>
                </a:solidFill>
              </a:rPr>
              <a:t> </a:t>
            </a:r>
            <a:r>
              <a:rPr lang="en-US" dirty="0" err="1">
                <a:solidFill>
                  <a:schemeClr val="bg1">
                    <a:lumMod val="50000"/>
                  </a:schemeClr>
                </a:solidFill>
              </a:rPr>
              <a:t>hastalığı</a:t>
            </a:r>
            <a:r>
              <a:rPr lang="en-US" dirty="0">
                <a:solidFill>
                  <a:schemeClr val="bg1">
                    <a:lumMod val="50000"/>
                  </a:schemeClr>
                </a:solidFill>
              </a:rPr>
              <a:t>, organ </a:t>
            </a:r>
            <a:r>
              <a:rPr lang="en-US" dirty="0" err="1">
                <a:solidFill>
                  <a:schemeClr val="bg1">
                    <a:lumMod val="50000"/>
                  </a:schemeClr>
                </a:solidFill>
              </a:rPr>
              <a:t>nakli</a:t>
            </a:r>
            <a:r>
              <a:rPr lang="en-US" dirty="0">
                <a:solidFill>
                  <a:schemeClr val="bg1">
                    <a:lumMod val="50000"/>
                  </a:schemeClr>
                </a:solidFill>
              </a:rPr>
              <a:t>, </a:t>
            </a:r>
            <a:r>
              <a:rPr lang="en-US" dirty="0" err="1">
                <a:solidFill>
                  <a:schemeClr val="bg1">
                    <a:lumMod val="50000"/>
                  </a:schemeClr>
                </a:solidFill>
              </a:rPr>
              <a:t>immün</a:t>
            </a:r>
            <a:r>
              <a:rPr lang="en-US" dirty="0">
                <a:solidFill>
                  <a:schemeClr val="bg1">
                    <a:lumMod val="50000"/>
                  </a:schemeClr>
                </a:solidFill>
              </a:rPr>
              <a:t> </a:t>
            </a:r>
            <a:r>
              <a:rPr lang="en-US" dirty="0" err="1">
                <a:solidFill>
                  <a:schemeClr val="bg1">
                    <a:lumMod val="50000"/>
                  </a:schemeClr>
                </a:solidFill>
              </a:rPr>
              <a:t>yetmezlik</a:t>
            </a:r>
            <a:r>
              <a:rPr lang="en-US" dirty="0">
                <a:solidFill>
                  <a:schemeClr val="bg1">
                    <a:lumMod val="50000"/>
                  </a:schemeClr>
                </a:solidFill>
              </a:rPr>
              <a:t>, </a:t>
            </a:r>
            <a:r>
              <a:rPr lang="en-US" dirty="0" err="1">
                <a:solidFill>
                  <a:schemeClr val="bg1">
                    <a:lumMod val="50000"/>
                  </a:schemeClr>
                </a:solidFill>
              </a:rPr>
              <a:t>hematolojik</a:t>
            </a:r>
            <a:r>
              <a:rPr lang="en-US" dirty="0">
                <a:solidFill>
                  <a:schemeClr val="bg1">
                    <a:lumMod val="50000"/>
                  </a:schemeClr>
                </a:solidFill>
              </a:rPr>
              <a:t> </a:t>
            </a:r>
            <a:r>
              <a:rPr lang="en-US" dirty="0" err="1">
                <a:solidFill>
                  <a:schemeClr val="bg1">
                    <a:lumMod val="50000"/>
                  </a:schemeClr>
                </a:solidFill>
              </a:rPr>
              <a:t>veya</a:t>
            </a:r>
            <a:r>
              <a:rPr lang="en-US" dirty="0">
                <a:solidFill>
                  <a:schemeClr val="bg1">
                    <a:lumMod val="50000"/>
                  </a:schemeClr>
                </a:solidFill>
              </a:rPr>
              <a:t> </a:t>
            </a:r>
            <a:r>
              <a:rPr lang="en-US" dirty="0" err="1">
                <a:solidFill>
                  <a:schemeClr val="bg1">
                    <a:lumMod val="50000"/>
                  </a:schemeClr>
                </a:solidFill>
              </a:rPr>
              <a:t>katı</a:t>
            </a:r>
            <a:r>
              <a:rPr lang="en-US" dirty="0">
                <a:solidFill>
                  <a:schemeClr val="bg1">
                    <a:lumMod val="50000"/>
                  </a:schemeClr>
                </a:solidFill>
              </a:rPr>
              <a:t> </a:t>
            </a:r>
            <a:r>
              <a:rPr lang="en-US" dirty="0" err="1">
                <a:solidFill>
                  <a:schemeClr val="bg1">
                    <a:lumMod val="50000"/>
                  </a:schemeClr>
                </a:solidFill>
              </a:rPr>
              <a:t>tümör</a:t>
            </a:r>
            <a:r>
              <a:rPr lang="en-US" dirty="0">
                <a:solidFill>
                  <a:schemeClr val="bg1">
                    <a:lumMod val="50000"/>
                  </a:schemeClr>
                </a:solidFill>
              </a:rPr>
              <a:t> </a:t>
            </a:r>
            <a:r>
              <a:rPr lang="en-US" dirty="0" err="1">
                <a:solidFill>
                  <a:schemeClr val="bg1">
                    <a:lumMod val="50000"/>
                  </a:schemeClr>
                </a:solidFill>
              </a:rPr>
              <a:t>malignitesi</a:t>
            </a:r>
            <a:r>
              <a:rPr lang="en-US" dirty="0">
                <a:solidFill>
                  <a:schemeClr val="bg1">
                    <a:lumMod val="50000"/>
                  </a:schemeClr>
                </a:solidFill>
              </a:rPr>
              <a:t>, AIDS, HIV </a:t>
            </a:r>
            <a:r>
              <a:rPr lang="en-US" dirty="0" err="1">
                <a:solidFill>
                  <a:schemeClr val="bg1">
                    <a:lumMod val="50000"/>
                  </a:schemeClr>
                </a:solidFill>
              </a:rPr>
              <a:t>olan</a:t>
            </a:r>
            <a:r>
              <a:rPr lang="en-US" dirty="0">
                <a:solidFill>
                  <a:schemeClr val="bg1">
                    <a:lumMod val="50000"/>
                  </a:schemeClr>
                </a:solidFill>
              </a:rPr>
              <a:t> </a:t>
            </a:r>
            <a:r>
              <a:rPr lang="en-US" dirty="0" err="1">
                <a:solidFill>
                  <a:schemeClr val="bg1">
                    <a:lumMod val="50000"/>
                  </a:schemeClr>
                </a:solidFill>
              </a:rPr>
              <a:t>veya</a:t>
            </a:r>
            <a:r>
              <a:rPr lang="en-US" dirty="0">
                <a:solidFill>
                  <a:schemeClr val="bg1">
                    <a:lumMod val="50000"/>
                  </a:schemeClr>
                </a:solidFill>
              </a:rPr>
              <a:t> </a:t>
            </a:r>
            <a:r>
              <a:rPr lang="en-US" dirty="0" err="1">
                <a:solidFill>
                  <a:schemeClr val="bg1">
                    <a:lumMod val="50000"/>
                  </a:schemeClr>
                </a:solidFill>
              </a:rPr>
              <a:t>immünosupresif</a:t>
            </a:r>
            <a:r>
              <a:rPr lang="en-US" dirty="0">
                <a:solidFill>
                  <a:schemeClr val="bg1">
                    <a:lumMod val="50000"/>
                  </a:schemeClr>
                </a:solidFill>
              </a:rPr>
              <a:t> </a:t>
            </a:r>
            <a:r>
              <a:rPr lang="en-US" dirty="0" err="1">
                <a:solidFill>
                  <a:schemeClr val="bg1">
                    <a:lumMod val="50000"/>
                  </a:schemeClr>
                </a:solidFill>
              </a:rPr>
              <a:t>ilaç</a:t>
            </a:r>
            <a:r>
              <a:rPr lang="en-US" dirty="0">
                <a:solidFill>
                  <a:schemeClr val="bg1">
                    <a:lumMod val="50000"/>
                  </a:schemeClr>
                </a:solidFill>
              </a:rPr>
              <a:t> </a:t>
            </a:r>
            <a:r>
              <a:rPr lang="en-US" dirty="0" err="1">
                <a:solidFill>
                  <a:schemeClr val="bg1">
                    <a:lumMod val="50000"/>
                  </a:schemeClr>
                </a:solidFill>
              </a:rPr>
              <a:t>tedavisi</a:t>
            </a:r>
            <a:r>
              <a:rPr lang="en-US" dirty="0">
                <a:solidFill>
                  <a:schemeClr val="bg1">
                    <a:lumMod val="50000"/>
                  </a:schemeClr>
                </a:solidFill>
              </a:rPr>
              <a:t> </a:t>
            </a:r>
            <a:r>
              <a:rPr lang="en-US" dirty="0" err="1">
                <a:solidFill>
                  <a:schemeClr val="bg1">
                    <a:lumMod val="50000"/>
                  </a:schemeClr>
                </a:solidFill>
              </a:rPr>
              <a:t>ile</a:t>
            </a:r>
            <a:r>
              <a:rPr lang="en-US" dirty="0">
                <a:solidFill>
                  <a:schemeClr val="bg1">
                    <a:lumMod val="50000"/>
                  </a:schemeClr>
                </a:solidFill>
              </a:rPr>
              <a:t> </a:t>
            </a:r>
            <a:r>
              <a:rPr lang="en-US" dirty="0" err="1">
                <a:solidFill>
                  <a:schemeClr val="bg1">
                    <a:lumMod val="50000"/>
                  </a:schemeClr>
                </a:solidFill>
              </a:rPr>
              <a:t>tedavi</a:t>
            </a:r>
            <a:r>
              <a:rPr lang="en-US" dirty="0">
                <a:solidFill>
                  <a:schemeClr val="bg1">
                    <a:lumMod val="50000"/>
                  </a:schemeClr>
                </a:solidFill>
              </a:rPr>
              <a:t> </a:t>
            </a:r>
            <a:r>
              <a:rPr lang="en-US" dirty="0" err="1">
                <a:solidFill>
                  <a:schemeClr val="bg1">
                    <a:lumMod val="50000"/>
                  </a:schemeClr>
                </a:solidFill>
              </a:rPr>
              <a:t>edilen</a:t>
            </a:r>
            <a:r>
              <a:rPr lang="en-US" dirty="0">
                <a:solidFill>
                  <a:schemeClr val="bg1">
                    <a:lumMod val="50000"/>
                  </a:schemeClr>
                </a:solidFill>
              </a:rPr>
              <a:t> </a:t>
            </a:r>
            <a:r>
              <a:rPr lang="en-US" dirty="0" err="1">
                <a:solidFill>
                  <a:schemeClr val="bg1">
                    <a:lumMod val="50000"/>
                  </a:schemeClr>
                </a:solidFill>
              </a:rPr>
              <a:t>yetişkinleri</a:t>
            </a:r>
            <a:r>
              <a:rPr lang="en-US" dirty="0">
                <a:solidFill>
                  <a:schemeClr val="bg1">
                    <a:lumMod val="50000"/>
                  </a:schemeClr>
                </a:solidFill>
              </a:rPr>
              <a:t> </a:t>
            </a:r>
            <a:r>
              <a:rPr lang="en-US" dirty="0" err="1">
                <a:solidFill>
                  <a:schemeClr val="bg1">
                    <a:lumMod val="50000"/>
                  </a:schemeClr>
                </a:solidFill>
              </a:rPr>
              <a:t>içeriyordu</a:t>
            </a:r>
            <a:r>
              <a:rPr lang="en-US" dirty="0">
                <a:solidFill>
                  <a:schemeClr val="bg1">
                    <a:lumMod val="50000"/>
                  </a:schemeClr>
                </a:solidFill>
              </a:rPr>
              <a:t>; </a:t>
            </a:r>
            <a:r>
              <a:rPr lang="en-US" dirty="0" err="1">
                <a:solidFill>
                  <a:schemeClr val="bg1">
                    <a:lumMod val="50000"/>
                  </a:schemeClr>
                </a:solidFill>
              </a:rPr>
              <a:t>Diğer</a:t>
            </a:r>
            <a:r>
              <a:rPr lang="en-US" dirty="0">
                <a:solidFill>
                  <a:schemeClr val="bg1">
                    <a:lumMod val="50000"/>
                  </a:schemeClr>
                </a:solidFill>
              </a:rPr>
              <a:t> </a:t>
            </a:r>
            <a:r>
              <a:rPr lang="en-US" dirty="0" err="1">
                <a:solidFill>
                  <a:schemeClr val="bg1">
                    <a:lumMod val="50000"/>
                  </a:schemeClr>
                </a:solidFill>
              </a:rPr>
              <a:t>tüm</a:t>
            </a:r>
            <a:r>
              <a:rPr lang="en-US" dirty="0">
                <a:solidFill>
                  <a:schemeClr val="bg1">
                    <a:lumMod val="50000"/>
                  </a:schemeClr>
                </a:solidFill>
              </a:rPr>
              <a:t> </a:t>
            </a:r>
            <a:r>
              <a:rPr lang="en-US" dirty="0" err="1">
                <a:solidFill>
                  <a:schemeClr val="bg1">
                    <a:lumMod val="50000"/>
                  </a:schemeClr>
                </a:solidFill>
              </a:rPr>
              <a:t>hastalar</a:t>
            </a:r>
            <a:r>
              <a:rPr lang="en-US" dirty="0">
                <a:solidFill>
                  <a:schemeClr val="bg1">
                    <a:lumMod val="50000"/>
                  </a:schemeClr>
                </a:solidFill>
              </a:rPr>
              <a:t> </a:t>
            </a:r>
            <a:r>
              <a:rPr lang="en-US" dirty="0" err="1">
                <a:solidFill>
                  <a:schemeClr val="bg1">
                    <a:lumMod val="50000"/>
                  </a:schemeClr>
                </a:solidFill>
              </a:rPr>
              <a:t>düşük</a:t>
            </a:r>
            <a:r>
              <a:rPr lang="en-US" dirty="0">
                <a:solidFill>
                  <a:schemeClr val="bg1">
                    <a:lumMod val="50000"/>
                  </a:schemeClr>
                </a:solidFill>
              </a:rPr>
              <a:t> </a:t>
            </a:r>
            <a:r>
              <a:rPr lang="en-US" dirty="0" err="1">
                <a:solidFill>
                  <a:schemeClr val="bg1">
                    <a:lumMod val="50000"/>
                  </a:schemeClr>
                </a:solidFill>
              </a:rPr>
              <a:t>riskli</a:t>
            </a:r>
            <a:r>
              <a:rPr lang="en-US" dirty="0">
                <a:solidFill>
                  <a:schemeClr val="bg1">
                    <a:lumMod val="50000"/>
                  </a:schemeClr>
                </a:solidFill>
              </a:rPr>
              <a:t> </a:t>
            </a:r>
            <a:r>
              <a:rPr lang="en-US" dirty="0" err="1">
                <a:solidFill>
                  <a:schemeClr val="bg1">
                    <a:lumMod val="50000"/>
                  </a:schemeClr>
                </a:solidFill>
              </a:rPr>
              <a:t>olarak</a:t>
            </a:r>
            <a:r>
              <a:rPr lang="en-US" dirty="0">
                <a:solidFill>
                  <a:schemeClr val="bg1">
                    <a:lumMod val="50000"/>
                  </a:schemeClr>
                </a:solidFill>
              </a:rPr>
              <a:t> </a:t>
            </a:r>
            <a:r>
              <a:rPr lang="en-US" dirty="0" err="1">
                <a:solidFill>
                  <a:schemeClr val="bg1">
                    <a:lumMod val="50000"/>
                  </a:schemeClr>
                </a:solidFill>
              </a:rPr>
              <a:t>sınıflandırıldı</a:t>
            </a:r>
            <a:r>
              <a:rPr lang="en-US" dirty="0">
                <a:solidFill>
                  <a:schemeClr val="bg1">
                    <a:lumMod val="50000"/>
                  </a:schemeClr>
                </a:solidFill>
              </a:rPr>
              <a:t>.</a:t>
            </a:r>
          </a:p>
          <a:p>
            <a:pPr>
              <a:lnSpc>
                <a:spcPct val="120000"/>
              </a:lnSpc>
              <a:spcBef>
                <a:spcPts val="0"/>
              </a:spcBef>
            </a:pPr>
            <a:r>
              <a:rPr lang="en-US" dirty="0">
                <a:solidFill>
                  <a:schemeClr val="bg1">
                    <a:lumMod val="50000"/>
                  </a:schemeClr>
                </a:solidFill>
              </a:rPr>
              <a:t>ASYE: Alt </a:t>
            </a:r>
            <a:r>
              <a:rPr lang="en-US" dirty="0" err="1">
                <a:solidFill>
                  <a:schemeClr val="bg1">
                    <a:lumMod val="50000"/>
                  </a:schemeClr>
                </a:solidFill>
              </a:rPr>
              <a:t>Solunum</a:t>
            </a:r>
            <a:r>
              <a:rPr lang="en-US" dirty="0">
                <a:solidFill>
                  <a:schemeClr val="bg1">
                    <a:lumMod val="50000"/>
                  </a:schemeClr>
                </a:solidFill>
              </a:rPr>
              <a:t> </a:t>
            </a:r>
            <a:r>
              <a:rPr lang="en-US" dirty="0" err="1">
                <a:solidFill>
                  <a:schemeClr val="bg1">
                    <a:lumMod val="50000"/>
                  </a:schemeClr>
                </a:solidFill>
              </a:rPr>
              <a:t>Yolu</a:t>
            </a:r>
            <a:r>
              <a:rPr lang="en-US" dirty="0">
                <a:solidFill>
                  <a:schemeClr val="bg1">
                    <a:lumMod val="50000"/>
                  </a:schemeClr>
                </a:solidFill>
              </a:rPr>
              <a:t> </a:t>
            </a:r>
            <a:r>
              <a:rPr lang="en-US" dirty="0" err="1">
                <a:solidFill>
                  <a:schemeClr val="bg1">
                    <a:lumMod val="50000"/>
                  </a:schemeClr>
                </a:solidFill>
              </a:rPr>
              <a:t>Enfeksiyonu</a:t>
            </a:r>
            <a:r>
              <a:rPr lang="en-US" dirty="0">
                <a:solidFill>
                  <a:schemeClr val="bg1">
                    <a:lumMod val="50000"/>
                  </a:schemeClr>
                </a:solidFill>
              </a:rPr>
              <a:t>. </a:t>
            </a:r>
          </a:p>
          <a:p>
            <a:pPr>
              <a:lnSpc>
                <a:spcPct val="120000"/>
              </a:lnSpc>
              <a:spcBef>
                <a:spcPts val="0"/>
              </a:spcBef>
            </a:pPr>
            <a:r>
              <a:rPr lang="en-US" dirty="0">
                <a:solidFill>
                  <a:schemeClr val="bg1">
                    <a:lumMod val="50000"/>
                  </a:schemeClr>
                </a:solidFill>
              </a:rPr>
              <a:t>Hyams C, et al. </a:t>
            </a:r>
            <a:r>
              <a:rPr lang="en-US" i="1" dirty="0">
                <a:solidFill>
                  <a:schemeClr val="bg1">
                    <a:lumMod val="50000"/>
                  </a:schemeClr>
                </a:solidFill>
              </a:rPr>
              <a:t>Vaccine.</a:t>
            </a:r>
            <a:r>
              <a:rPr lang="en-US" dirty="0">
                <a:solidFill>
                  <a:schemeClr val="bg1">
                    <a:lumMod val="50000"/>
                  </a:schemeClr>
                </a:solidFill>
              </a:rPr>
              <a:t> 2024;42(7):1599-1607. </a:t>
            </a:r>
          </a:p>
        </p:txBody>
      </p:sp>
      <p:grpSp>
        <p:nvGrpSpPr>
          <p:cNvPr id="23" name="Group 22">
            <a:extLst>
              <a:ext uri="{FF2B5EF4-FFF2-40B4-BE49-F238E27FC236}">
                <a16:creationId xmlns:a16="http://schemas.microsoft.com/office/drawing/2014/main" id="{67F7B191-AC3A-8085-29F6-820683056614}"/>
              </a:ext>
            </a:extLst>
          </p:cNvPr>
          <p:cNvGrpSpPr/>
          <p:nvPr/>
        </p:nvGrpSpPr>
        <p:grpSpPr>
          <a:xfrm flipH="1" flipV="1">
            <a:off x="18" y="1333500"/>
            <a:ext cx="9632932" cy="668197"/>
            <a:chOff x="1230996" y="1257299"/>
            <a:chExt cx="10495034" cy="726100"/>
          </a:xfrm>
          <a:solidFill>
            <a:schemeClr val="accent1">
              <a:lumMod val="75000"/>
            </a:schemeClr>
          </a:solidFill>
        </p:grpSpPr>
        <p:sp>
          <p:nvSpPr>
            <p:cNvPr id="24" name="Rectangle 23">
              <a:extLst>
                <a:ext uri="{FF2B5EF4-FFF2-40B4-BE49-F238E27FC236}">
                  <a16:creationId xmlns:a16="http://schemas.microsoft.com/office/drawing/2014/main" id="{C16542B4-F57F-F4DD-8B2C-8F8615FF70B9}"/>
                </a:ext>
              </a:extLst>
            </p:cNvPr>
            <p:cNvSpPr/>
            <p:nvPr/>
          </p:nvSpPr>
          <p:spPr>
            <a:xfrm>
              <a:off x="2678966" y="1257300"/>
              <a:ext cx="9047064" cy="726099"/>
            </a:xfrm>
            <a:prstGeom prst="rect">
              <a:avLst/>
            </a:pr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Freeform: Shape 24">
              <a:extLst>
                <a:ext uri="{FF2B5EF4-FFF2-40B4-BE49-F238E27FC236}">
                  <a16:creationId xmlns:a16="http://schemas.microsoft.com/office/drawing/2014/main" id="{A2F01D9A-3771-C004-4BDE-28CF1A7B1349}"/>
                </a:ext>
              </a:extLst>
            </p:cNvPr>
            <p:cNvSpPr/>
            <p:nvPr/>
          </p:nvSpPr>
          <p:spPr>
            <a:xfrm>
              <a:off x="1230996" y="1257299"/>
              <a:ext cx="5242204" cy="726099"/>
            </a:xfrm>
            <a:custGeom>
              <a:avLst/>
              <a:gdLst>
                <a:gd name="connsiteX0" fmla="*/ 230034 w 6198097"/>
                <a:gd name="connsiteY0" fmla="*/ 0 h 858500"/>
                <a:gd name="connsiteX1" fmla="*/ 680921 w 6198097"/>
                <a:gd name="connsiteY1" fmla="*/ 0 h 858500"/>
                <a:gd name="connsiteX2" fmla="*/ 750962 w 6198097"/>
                <a:gd name="connsiteY2" fmla="*/ 0 h 858500"/>
                <a:gd name="connsiteX3" fmla="*/ 1201848 w 6198097"/>
                <a:gd name="connsiteY3" fmla="*/ 0 h 858500"/>
                <a:gd name="connsiteX4" fmla="*/ 2313018 w 6198097"/>
                <a:gd name="connsiteY4" fmla="*/ 0 h 858500"/>
                <a:gd name="connsiteX5" fmla="*/ 2468314 w 6198097"/>
                <a:gd name="connsiteY5" fmla="*/ 0 h 858500"/>
                <a:gd name="connsiteX6" fmla="*/ 2763903 w 6198097"/>
                <a:gd name="connsiteY6" fmla="*/ 0 h 858500"/>
                <a:gd name="connsiteX7" fmla="*/ 2833945 w 6198097"/>
                <a:gd name="connsiteY7" fmla="*/ 0 h 858500"/>
                <a:gd name="connsiteX8" fmla="*/ 2989242 w 6198097"/>
                <a:gd name="connsiteY8" fmla="*/ 0 h 858500"/>
                <a:gd name="connsiteX9" fmla="*/ 3284831 w 6198097"/>
                <a:gd name="connsiteY9" fmla="*/ 0 h 858500"/>
                <a:gd name="connsiteX10" fmla="*/ 6198097 w 6198097"/>
                <a:gd name="connsiteY10" fmla="*/ 0 h 858500"/>
                <a:gd name="connsiteX11" fmla="*/ 6198097 w 6198097"/>
                <a:gd name="connsiteY11" fmla="*/ 858500 h 858500"/>
                <a:gd name="connsiteX12" fmla="*/ 3284831 w 6198097"/>
                <a:gd name="connsiteY12" fmla="*/ 858500 h 858500"/>
                <a:gd name="connsiteX13" fmla="*/ 2989242 w 6198097"/>
                <a:gd name="connsiteY13" fmla="*/ 858500 h 858500"/>
                <a:gd name="connsiteX14" fmla="*/ 2833945 w 6198097"/>
                <a:gd name="connsiteY14" fmla="*/ 858500 h 858500"/>
                <a:gd name="connsiteX15" fmla="*/ 2763903 w 6198097"/>
                <a:gd name="connsiteY15" fmla="*/ 858500 h 858500"/>
                <a:gd name="connsiteX16" fmla="*/ 2468314 w 6198097"/>
                <a:gd name="connsiteY16" fmla="*/ 858500 h 858500"/>
                <a:gd name="connsiteX17" fmla="*/ 2313018 w 6198097"/>
                <a:gd name="connsiteY17" fmla="*/ 858500 h 858500"/>
                <a:gd name="connsiteX18" fmla="*/ 971813 w 6198097"/>
                <a:gd name="connsiteY18" fmla="*/ 858500 h 858500"/>
                <a:gd name="connsiteX19" fmla="*/ 520928 w 6198097"/>
                <a:gd name="connsiteY19" fmla="*/ 858500 h 858500"/>
                <a:gd name="connsiteX20" fmla="*/ 450886 w 6198097"/>
                <a:gd name="connsiteY20" fmla="*/ 858500 h 858500"/>
                <a:gd name="connsiteX21" fmla="*/ 0 w 6198097"/>
                <a:gd name="connsiteY21" fmla="*/ 858500 h 85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98097" h="858500">
                  <a:moveTo>
                    <a:pt x="230034" y="0"/>
                  </a:moveTo>
                  <a:lnTo>
                    <a:pt x="680921" y="0"/>
                  </a:lnTo>
                  <a:lnTo>
                    <a:pt x="750962" y="0"/>
                  </a:lnTo>
                  <a:lnTo>
                    <a:pt x="1201848" y="0"/>
                  </a:lnTo>
                  <a:lnTo>
                    <a:pt x="2313018" y="0"/>
                  </a:lnTo>
                  <a:lnTo>
                    <a:pt x="2468314" y="0"/>
                  </a:lnTo>
                  <a:lnTo>
                    <a:pt x="2763903" y="0"/>
                  </a:lnTo>
                  <a:lnTo>
                    <a:pt x="2833945" y="0"/>
                  </a:lnTo>
                  <a:lnTo>
                    <a:pt x="2989242" y="0"/>
                  </a:lnTo>
                  <a:lnTo>
                    <a:pt x="3284831" y="0"/>
                  </a:lnTo>
                  <a:lnTo>
                    <a:pt x="6198097" y="0"/>
                  </a:lnTo>
                  <a:lnTo>
                    <a:pt x="6198097" y="858500"/>
                  </a:lnTo>
                  <a:lnTo>
                    <a:pt x="3284831" y="858500"/>
                  </a:lnTo>
                  <a:lnTo>
                    <a:pt x="2989242" y="858500"/>
                  </a:lnTo>
                  <a:lnTo>
                    <a:pt x="2833945" y="858500"/>
                  </a:lnTo>
                  <a:lnTo>
                    <a:pt x="2763903" y="858500"/>
                  </a:lnTo>
                  <a:lnTo>
                    <a:pt x="2468314" y="858500"/>
                  </a:lnTo>
                  <a:lnTo>
                    <a:pt x="2313018" y="858500"/>
                  </a:lnTo>
                  <a:lnTo>
                    <a:pt x="971813" y="858500"/>
                  </a:lnTo>
                  <a:lnTo>
                    <a:pt x="520928" y="858500"/>
                  </a:lnTo>
                  <a:lnTo>
                    <a:pt x="450886" y="858500"/>
                  </a:lnTo>
                  <a:lnTo>
                    <a:pt x="0" y="858500"/>
                  </a:lnTo>
                  <a:close/>
                </a:path>
              </a:pathLst>
            </a:cu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6" name="TextBox 25">
            <a:extLst>
              <a:ext uri="{FF2B5EF4-FFF2-40B4-BE49-F238E27FC236}">
                <a16:creationId xmlns:a16="http://schemas.microsoft.com/office/drawing/2014/main" id="{196E7B55-DAC3-65FC-DBD0-699D0F727F7A}"/>
              </a:ext>
            </a:extLst>
          </p:cNvPr>
          <p:cNvSpPr txBox="1"/>
          <p:nvPr/>
        </p:nvSpPr>
        <p:spPr>
          <a:xfrm>
            <a:off x="380999" y="1344434"/>
            <a:ext cx="9105901" cy="646331"/>
          </a:xfrm>
          <a:prstGeom prst="rect">
            <a:avLst/>
          </a:prstGeom>
          <a:noFill/>
        </p:spPr>
        <p:txBody>
          <a:bodyPr wrap="square" anchor="ctr">
            <a:spAutoFit/>
          </a:bodyPr>
          <a:lstStyle/>
          <a:p>
            <a:pPr lvl="0"/>
            <a:r>
              <a:rPr lang="tr-TR" sz="1800" b="1" dirty="0">
                <a:solidFill>
                  <a:schemeClr val="bg1"/>
                </a:solidFill>
              </a:rPr>
              <a:t>Birleşik Krallık'ta </a:t>
            </a:r>
            <a:r>
              <a:rPr lang="tr-TR" sz="1800" b="1" dirty="0" err="1">
                <a:solidFill>
                  <a:schemeClr val="bg1"/>
                </a:solidFill>
              </a:rPr>
              <a:t>pnömokok</a:t>
            </a:r>
            <a:r>
              <a:rPr lang="en-US" sz="1800" b="1" dirty="0">
                <a:solidFill>
                  <a:schemeClr val="bg1"/>
                </a:solidFill>
              </a:rPr>
              <a:t> </a:t>
            </a:r>
            <a:r>
              <a:rPr lang="en-US" sz="1800" b="1" dirty="0" err="1">
                <a:solidFill>
                  <a:schemeClr val="bg1"/>
                </a:solidFill>
              </a:rPr>
              <a:t>kaynaklı</a:t>
            </a:r>
            <a:r>
              <a:rPr lang="en-US" sz="1800" b="1" dirty="0">
                <a:solidFill>
                  <a:schemeClr val="bg1"/>
                </a:solidFill>
              </a:rPr>
              <a:t> ASYE </a:t>
            </a:r>
            <a:r>
              <a:rPr lang="tr-TR" sz="1800" b="1" dirty="0">
                <a:solidFill>
                  <a:schemeClr val="bg1"/>
                </a:solidFill>
              </a:rPr>
              <a:t>nedeniyle hastaneye yatırılan 18 yaş ve üzeri yetişkinler arasında</a:t>
            </a:r>
            <a:r>
              <a:rPr lang="en-US" sz="1800" b="1" dirty="0">
                <a:solidFill>
                  <a:schemeClr val="bg1"/>
                </a:solidFill>
              </a:rPr>
              <a:t> </a:t>
            </a:r>
            <a:endParaRPr kumimoji="0" lang="en-US" sz="4800" b="1" i="0" u="none" strike="noStrike" kern="1200" cap="none" spc="0" normalizeH="0" baseline="-25000" noProof="0" dirty="0">
              <a:ln>
                <a:noFill/>
              </a:ln>
              <a:solidFill>
                <a:schemeClr val="bg1"/>
              </a:solidFill>
              <a:effectLst/>
              <a:uLnTx/>
              <a:uFillTx/>
              <a:latin typeface="Arial" panose="020B0604020202020204"/>
              <a:ea typeface="+mn-ea"/>
              <a:cs typeface="+mn-cs"/>
            </a:endParaRPr>
          </a:p>
        </p:txBody>
      </p:sp>
      <p:grpSp>
        <p:nvGrpSpPr>
          <p:cNvPr id="68" name="Group 67">
            <a:extLst>
              <a:ext uri="{FF2B5EF4-FFF2-40B4-BE49-F238E27FC236}">
                <a16:creationId xmlns:a16="http://schemas.microsoft.com/office/drawing/2014/main" id="{8CECE606-E54F-42EF-3D81-07F373548E7B}"/>
              </a:ext>
            </a:extLst>
          </p:cNvPr>
          <p:cNvGrpSpPr/>
          <p:nvPr/>
        </p:nvGrpSpPr>
        <p:grpSpPr>
          <a:xfrm flipV="1">
            <a:off x="5339885" y="2326696"/>
            <a:ext cx="6852112" cy="868680"/>
            <a:chOff x="4392446" y="3511115"/>
            <a:chExt cx="5619645" cy="868680"/>
          </a:xfrm>
        </p:grpSpPr>
        <p:sp>
          <p:nvSpPr>
            <p:cNvPr id="57" name="Parallelogram 56">
              <a:extLst>
                <a:ext uri="{FF2B5EF4-FFF2-40B4-BE49-F238E27FC236}">
                  <a16:creationId xmlns:a16="http://schemas.microsoft.com/office/drawing/2014/main" id="{739B23E2-E494-6F41-EC80-6531C892D045}"/>
                </a:ext>
              </a:extLst>
            </p:cNvPr>
            <p:cNvSpPr/>
            <p:nvPr/>
          </p:nvSpPr>
          <p:spPr>
            <a:xfrm>
              <a:off x="4392446" y="3511115"/>
              <a:ext cx="1722966" cy="868680"/>
            </a:xfrm>
            <a:prstGeom prst="parallelogram">
              <a:avLst>
                <a:gd name="adj" fmla="val 26218"/>
              </a:avLst>
            </a:prstGeom>
            <a:solidFill>
              <a:schemeClr val="accent1"/>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1005840" tIns="0" rIns="0" bIns="0" rtlCol="0" anchor="ctr"/>
            <a:lstStyle/>
            <a:p>
              <a:pPr marL="284163" marR="0" lvl="0" indent="0" algn="l"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65" name="Rectangle 64">
              <a:extLst>
                <a:ext uri="{FF2B5EF4-FFF2-40B4-BE49-F238E27FC236}">
                  <a16:creationId xmlns:a16="http://schemas.microsoft.com/office/drawing/2014/main" id="{590261B2-B233-0FE8-0FC0-120BB201A6EC}"/>
                </a:ext>
              </a:extLst>
            </p:cNvPr>
            <p:cNvSpPr/>
            <p:nvPr/>
          </p:nvSpPr>
          <p:spPr>
            <a:xfrm>
              <a:off x="5853851" y="3511115"/>
              <a:ext cx="4158240" cy="868680"/>
            </a:xfrm>
            <a:prstGeom prst="rect">
              <a:avLst/>
            </a:prstGeom>
            <a:solidFill>
              <a:schemeClr val="accent1"/>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457200" tIns="0" rIns="0" bIns="0" rtlCol="0" anchor="ctr"/>
            <a:lstStyle/>
            <a:p>
              <a:pPr marL="284163" marR="0" lvl="0" indent="0" algn="l"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1200" cap="none" spc="0" normalizeH="0" baseline="30000" noProof="0">
                <a:ln>
                  <a:noFill/>
                </a:ln>
                <a:solidFill>
                  <a:srgbClr val="FFFFFF"/>
                </a:solidFill>
                <a:effectLst/>
                <a:uLnTx/>
                <a:uFillTx/>
                <a:latin typeface="Arial" panose="020B0604020202020204"/>
                <a:ea typeface="+mn-ea"/>
                <a:cs typeface="+mn-cs"/>
              </a:endParaRPr>
            </a:p>
          </p:txBody>
        </p:sp>
      </p:grpSp>
      <p:grpSp>
        <p:nvGrpSpPr>
          <p:cNvPr id="7" name="Group 6">
            <a:extLst>
              <a:ext uri="{FF2B5EF4-FFF2-40B4-BE49-F238E27FC236}">
                <a16:creationId xmlns:a16="http://schemas.microsoft.com/office/drawing/2014/main" id="{E17BC185-CD1A-8724-9B4A-E625E25C1D72}"/>
              </a:ext>
            </a:extLst>
          </p:cNvPr>
          <p:cNvGrpSpPr/>
          <p:nvPr/>
        </p:nvGrpSpPr>
        <p:grpSpPr>
          <a:xfrm flipH="1">
            <a:off x="5344865" y="2329053"/>
            <a:ext cx="1574800" cy="863664"/>
            <a:chOff x="4813301" y="2319117"/>
            <a:chExt cx="1574800" cy="863664"/>
          </a:xfrm>
        </p:grpSpPr>
        <p:sp>
          <p:nvSpPr>
            <p:cNvPr id="8" name="Parallelogram 7">
              <a:extLst>
                <a:ext uri="{FF2B5EF4-FFF2-40B4-BE49-F238E27FC236}">
                  <a16:creationId xmlns:a16="http://schemas.microsoft.com/office/drawing/2014/main" id="{1F8C71DD-A5D1-C18F-13B0-30D715A360CC}"/>
                </a:ext>
              </a:extLst>
            </p:cNvPr>
            <p:cNvSpPr/>
            <p:nvPr/>
          </p:nvSpPr>
          <p:spPr>
            <a:xfrm>
              <a:off x="4813301" y="2319117"/>
              <a:ext cx="1574800" cy="863664"/>
            </a:xfrm>
            <a:prstGeom prst="parallelogram">
              <a:avLst>
                <a:gd name="adj" fmla="val 26317"/>
              </a:avLst>
            </a:prstGeom>
            <a:gradFill flip="none" rotWithShape="1">
              <a:gsLst>
                <a:gs pos="100000">
                  <a:schemeClr val="accent2"/>
                </a:gs>
                <a:gs pos="2000">
                  <a:schemeClr val="accent2">
                    <a:lumMod val="60000"/>
                    <a:lumOff val="40000"/>
                  </a:schemeClr>
                </a:gs>
              </a:gsLst>
              <a:lin ang="16200000" scaled="1"/>
              <a:tileRect/>
            </a:gradFill>
            <a:ln w="38100">
              <a:noFill/>
            </a:ln>
            <a:effectLst>
              <a:innerShdw blurRad="215900" dist="88900" dir="16200000">
                <a:schemeClr val="accent1">
                  <a:alpha val="72000"/>
                </a:scheme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25000" noProof="0">
                <a:ln w="19050">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00765444-C332-6A20-8EFD-EA4E7A475F47}"/>
                </a:ext>
              </a:extLst>
            </p:cNvPr>
            <p:cNvSpPr txBox="1"/>
            <p:nvPr/>
          </p:nvSpPr>
          <p:spPr>
            <a:xfrm>
              <a:off x="5351061" y="2502772"/>
              <a:ext cx="499754" cy="4822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a:t>
              </a:r>
              <a:r>
                <a:rPr kumimoji="0" lang="tr-TR" sz="2800" b="1" i="0" u="none" strike="noStrike" kern="1200" cap="none" spc="0" normalizeH="0" baseline="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95</a:t>
              </a:r>
            </a:p>
          </p:txBody>
        </p:sp>
      </p:grpSp>
      <p:grpSp>
        <p:nvGrpSpPr>
          <p:cNvPr id="3" name="Group 2">
            <a:extLst>
              <a:ext uri="{FF2B5EF4-FFF2-40B4-BE49-F238E27FC236}">
                <a16:creationId xmlns:a16="http://schemas.microsoft.com/office/drawing/2014/main" id="{3C274652-CFE0-E485-3963-25119E0A1B16}"/>
              </a:ext>
            </a:extLst>
          </p:cNvPr>
          <p:cNvGrpSpPr/>
          <p:nvPr/>
        </p:nvGrpSpPr>
        <p:grpSpPr>
          <a:xfrm>
            <a:off x="557422" y="3355219"/>
            <a:ext cx="451061" cy="794448"/>
            <a:chOff x="3395285" y="1471176"/>
            <a:chExt cx="778701" cy="1371516"/>
          </a:xfrm>
          <a:gradFill flip="none" rotWithShape="1">
            <a:gsLst>
              <a:gs pos="0">
                <a:schemeClr val="accent3"/>
              </a:gs>
              <a:gs pos="33000">
                <a:schemeClr val="accent2"/>
              </a:gs>
              <a:gs pos="100000">
                <a:schemeClr val="accent1"/>
              </a:gs>
            </a:gsLst>
            <a:lin ang="16200000" scaled="1"/>
            <a:tileRect/>
          </a:gradFill>
        </p:grpSpPr>
        <p:sp>
          <p:nvSpPr>
            <p:cNvPr id="5" name="Freeform: Shape 4">
              <a:extLst>
                <a:ext uri="{FF2B5EF4-FFF2-40B4-BE49-F238E27FC236}">
                  <a16:creationId xmlns:a16="http://schemas.microsoft.com/office/drawing/2014/main" id="{EFE3B6FC-918E-A35D-7570-8E87C82BAFCF}"/>
                </a:ext>
              </a:extLst>
            </p:cNvPr>
            <p:cNvSpPr/>
            <p:nvPr/>
          </p:nvSpPr>
          <p:spPr>
            <a:xfrm>
              <a:off x="3524056" y="2116253"/>
              <a:ext cx="470212" cy="726439"/>
            </a:xfrm>
            <a:custGeom>
              <a:avLst/>
              <a:gdLst>
                <a:gd name="connsiteX0" fmla="*/ 235128 w 470212"/>
                <a:gd name="connsiteY0" fmla="*/ 37270 h 726439"/>
                <a:gd name="connsiteX1" fmla="*/ 65872 w 470212"/>
                <a:gd name="connsiteY1" fmla="*/ 5 h 726439"/>
                <a:gd name="connsiteX2" fmla="*/ 65926 w 470212"/>
                <a:gd name="connsiteY2" fmla="*/ 3361 h 726439"/>
                <a:gd name="connsiteX3" fmla="*/ 54117 w 470212"/>
                <a:gd name="connsiteY3" fmla="*/ 31658 h 726439"/>
                <a:gd name="connsiteX4" fmla="*/ 88 w 470212"/>
                <a:gd name="connsiteY4" fmla="*/ 658276 h 726439"/>
                <a:gd name="connsiteX5" fmla="*/ 61480 w 470212"/>
                <a:gd name="connsiteY5" fmla="*/ 726349 h 726439"/>
                <a:gd name="connsiteX6" fmla="*/ 64873 w 470212"/>
                <a:gd name="connsiteY6" fmla="*/ 726440 h 726439"/>
                <a:gd name="connsiteX7" fmla="*/ 129547 w 470212"/>
                <a:gd name="connsiteY7" fmla="*/ 664276 h 726439"/>
                <a:gd name="connsiteX8" fmla="*/ 168116 w 470212"/>
                <a:gd name="connsiteY8" fmla="*/ 175832 h 726439"/>
                <a:gd name="connsiteX9" fmla="*/ 302089 w 470212"/>
                <a:gd name="connsiteY9" fmla="*/ 175832 h 726439"/>
                <a:gd name="connsiteX10" fmla="*/ 340667 w 470212"/>
                <a:gd name="connsiteY10" fmla="*/ 664276 h 726439"/>
                <a:gd name="connsiteX11" fmla="*/ 405341 w 470212"/>
                <a:gd name="connsiteY11" fmla="*/ 726108 h 726439"/>
                <a:gd name="connsiteX12" fmla="*/ 408733 w 470212"/>
                <a:gd name="connsiteY12" fmla="*/ 726188 h 726439"/>
                <a:gd name="connsiteX13" fmla="*/ 470125 w 470212"/>
                <a:gd name="connsiteY13" fmla="*/ 658196 h 726439"/>
                <a:gd name="connsiteX14" fmla="*/ 416086 w 470212"/>
                <a:gd name="connsiteY14" fmla="*/ 31618 h 726439"/>
                <a:gd name="connsiteX15" fmla="*/ 404282 w 470212"/>
                <a:gd name="connsiteY15" fmla="*/ 3349 h 726439"/>
                <a:gd name="connsiteX16" fmla="*/ 404336 w 470212"/>
                <a:gd name="connsiteY16" fmla="*/ 0 h 726439"/>
                <a:gd name="connsiteX17" fmla="*/ 235126 w 470212"/>
                <a:gd name="connsiteY17" fmla="*/ 37265 h 72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0212" h="726439">
                  <a:moveTo>
                    <a:pt x="235128" y="37270"/>
                  </a:moveTo>
                  <a:cubicBezTo>
                    <a:pt x="157065" y="37270"/>
                    <a:pt x="93885" y="12920"/>
                    <a:pt x="65872" y="5"/>
                  </a:cubicBezTo>
                  <a:cubicBezTo>
                    <a:pt x="65886" y="1049"/>
                    <a:pt x="65908" y="2174"/>
                    <a:pt x="65926" y="3361"/>
                  </a:cubicBezTo>
                  <a:cubicBezTo>
                    <a:pt x="59975" y="11460"/>
                    <a:pt x="55778" y="21041"/>
                    <a:pt x="54117" y="31658"/>
                  </a:cubicBezTo>
                  <a:cubicBezTo>
                    <a:pt x="39393" y="125374"/>
                    <a:pt x="6213" y="539424"/>
                    <a:pt x="88" y="658276"/>
                  </a:cubicBezTo>
                  <a:cubicBezTo>
                    <a:pt x="-1760" y="694027"/>
                    <a:pt x="25736" y="724508"/>
                    <a:pt x="61480" y="726349"/>
                  </a:cubicBezTo>
                  <a:cubicBezTo>
                    <a:pt x="62618" y="726406"/>
                    <a:pt x="63743" y="726440"/>
                    <a:pt x="64873" y="726440"/>
                  </a:cubicBezTo>
                  <a:cubicBezTo>
                    <a:pt x="99138" y="726440"/>
                    <a:pt x="127765" y="698896"/>
                    <a:pt x="129547" y="664276"/>
                  </a:cubicBezTo>
                  <a:cubicBezTo>
                    <a:pt x="133873" y="580363"/>
                    <a:pt x="152860" y="332755"/>
                    <a:pt x="168116" y="175832"/>
                  </a:cubicBezTo>
                  <a:lnTo>
                    <a:pt x="302089" y="175832"/>
                  </a:lnTo>
                  <a:cubicBezTo>
                    <a:pt x="317345" y="332755"/>
                    <a:pt x="336341" y="580363"/>
                    <a:pt x="340667" y="664276"/>
                  </a:cubicBezTo>
                  <a:cubicBezTo>
                    <a:pt x="342452" y="698896"/>
                    <a:pt x="371075" y="726108"/>
                    <a:pt x="405341" y="726108"/>
                  </a:cubicBezTo>
                  <a:cubicBezTo>
                    <a:pt x="406461" y="726108"/>
                    <a:pt x="407599" y="726246"/>
                    <a:pt x="408733" y="726188"/>
                  </a:cubicBezTo>
                  <a:cubicBezTo>
                    <a:pt x="444480" y="724348"/>
                    <a:pt x="471973" y="693958"/>
                    <a:pt x="470125" y="658196"/>
                  </a:cubicBezTo>
                  <a:cubicBezTo>
                    <a:pt x="464000" y="539355"/>
                    <a:pt x="430811" y="125372"/>
                    <a:pt x="416086" y="31618"/>
                  </a:cubicBezTo>
                  <a:cubicBezTo>
                    <a:pt x="414422" y="21010"/>
                    <a:pt x="410233" y="11447"/>
                    <a:pt x="404282" y="3349"/>
                  </a:cubicBezTo>
                  <a:cubicBezTo>
                    <a:pt x="404305" y="2161"/>
                    <a:pt x="404323" y="1040"/>
                    <a:pt x="404336" y="0"/>
                  </a:cubicBezTo>
                  <a:cubicBezTo>
                    <a:pt x="376334" y="12907"/>
                    <a:pt x="313174" y="37265"/>
                    <a:pt x="235126" y="37265"/>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0" name="Freeform: Shape 9">
              <a:extLst>
                <a:ext uri="{FF2B5EF4-FFF2-40B4-BE49-F238E27FC236}">
                  <a16:creationId xmlns:a16="http://schemas.microsoft.com/office/drawing/2014/main" id="{FF538BE5-8B2B-D8B0-CC3C-FA16B4610B62}"/>
                </a:ext>
              </a:extLst>
            </p:cNvPr>
            <p:cNvSpPr/>
            <p:nvPr/>
          </p:nvSpPr>
          <p:spPr>
            <a:xfrm>
              <a:off x="3630376" y="1471176"/>
              <a:ext cx="257591" cy="288119"/>
            </a:xfrm>
            <a:custGeom>
              <a:avLst/>
              <a:gdLst>
                <a:gd name="connsiteX0" fmla="*/ 128796 w 257591"/>
                <a:gd name="connsiteY0" fmla="*/ 288119 h 288119"/>
                <a:gd name="connsiteX1" fmla="*/ 257592 w 257591"/>
                <a:gd name="connsiteY1" fmla="*/ 128807 h 288119"/>
                <a:gd name="connsiteX2" fmla="*/ 128796 w 257591"/>
                <a:gd name="connsiteY2" fmla="*/ 0 h 288119"/>
                <a:gd name="connsiteX3" fmla="*/ 0 w 257591"/>
                <a:gd name="connsiteY3" fmla="*/ 128807 h 288119"/>
                <a:gd name="connsiteX4" fmla="*/ 128796 w 257591"/>
                <a:gd name="connsiteY4" fmla="*/ 288119 h 288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1" h="288119">
                  <a:moveTo>
                    <a:pt x="128796" y="288119"/>
                  </a:moveTo>
                  <a:cubicBezTo>
                    <a:pt x="199924" y="288119"/>
                    <a:pt x="257592" y="199931"/>
                    <a:pt x="257592" y="128807"/>
                  </a:cubicBezTo>
                  <a:cubicBezTo>
                    <a:pt x="257592" y="57674"/>
                    <a:pt x="199928" y="0"/>
                    <a:pt x="128796" y="0"/>
                  </a:cubicBezTo>
                  <a:cubicBezTo>
                    <a:pt x="57680" y="0"/>
                    <a:pt x="0" y="57668"/>
                    <a:pt x="0" y="128807"/>
                  </a:cubicBezTo>
                  <a:cubicBezTo>
                    <a:pt x="0" y="199940"/>
                    <a:pt x="57682" y="288119"/>
                    <a:pt x="128796" y="288119"/>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1" name="Freeform: Shape 10">
              <a:extLst>
                <a:ext uri="{FF2B5EF4-FFF2-40B4-BE49-F238E27FC236}">
                  <a16:creationId xmlns:a16="http://schemas.microsoft.com/office/drawing/2014/main" id="{441D0DD8-6461-166E-A988-61E31857E973}"/>
                </a:ext>
              </a:extLst>
            </p:cNvPr>
            <p:cNvSpPr/>
            <p:nvPr/>
          </p:nvSpPr>
          <p:spPr>
            <a:xfrm>
              <a:off x="3395285" y="1701098"/>
              <a:ext cx="778701" cy="1136726"/>
            </a:xfrm>
            <a:custGeom>
              <a:avLst/>
              <a:gdLst>
                <a:gd name="connsiteX0" fmla="*/ 778138 w 778701"/>
                <a:gd name="connsiteY0" fmla="*/ 551733 h 1136726"/>
                <a:gd name="connsiteX1" fmla="*/ 724912 w 778701"/>
                <a:gd name="connsiteY1" fmla="*/ 471166 h 1136726"/>
                <a:gd name="connsiteX2" fmla="*/ 526273 w 778701"/>
                <a:gd name="connsiteY2" fmla="*/ 2706 h 1136726"/>
                <a:gd name="connsiteX3" fmla="*/ 473373 w 778701"/>
                <a:gd name="connsiteY3" fmla="*/ 4862 h 1136726"/>
                <a:gd name="connsiteX4" fmla="*/ 363875 w 778701"/>
                <a:gd name="connsiteY4" fmla="*/ 73210 h 1136726"/>
                <a:gd name="connsiteX5" fmla="*/ 254373 w 778701"/>
                <a:gd name="connsiteY5" fmla="*/ 4858 h 1136726"/>
                <a:gd name="connsiteX6" fmla="*/ 201482 w 778701"/>
                <a:gd name="connsiteY6" fmla="*/ 2710 h 1136726"/>
                <a:gd name="connsiteX7" fmla="*/ 419 w 778701"/>
                <a:gd name="connsiteY7" fmla="*/ 487595 h 1136726"/>
                <a:gd name="connsiteX8" fmla="*/ 35135 w 778701"/>
                <a:gd name="connsiteY8" fmla="*/ 533928 h 1136726"/>
                <a:gd name="connsiteX9" fmla="*/ 40997 w 778701"/>
                <a:gd name="connsiteY9" fmla="*/ 534352 h 1136726"/>
                <a:gd name="connsiteX10" fmla="*/ 81473 w 778701"/>
                <a:gd name="connsiteY10" fmla="*/ 499221 h 1136726"/>
                <a:gd name="connsiteX11" fmla="*/ 208611 w 778701"/>
                <a:gd name="connsiteY11" fmla="*/ 88706 h 1136726"/>
                <a:gd name="connsiteX12" fmla="*/ 194793 w 778701"/>
                <a:gd name="connsiteY12" fmla="*/ 392483 h 1136726"/>
                <a:gd name="connsiteX13" fmla="*/ 363889 w 778701"/>
                <a:gd name="connsiteY13" fmla="*/ 431954 h 1136726"/>
                <a:gd name="connsiteX14" fmla="*/ 532961 w 778701"/>
                <a:gd name="connsiteY14" fmla="*/ 392483 h 1136726"/>
                <a:gd name="connsiteX15" fmla="*/ 519201 w 778701"/>
                <a:gd name="connsiteY15" fmla="*/ 89197 h 1136726"/>
                <a:gd name="connsiteX16" fmla="*/ 643186 w 778701"/>
                <a:gd name="connsiteY16" fmla="*/ 478179 h 1136726"/>
                <a:gd name="connsiteX17" fmla="*/ 603027 w 778701"/>
                <a:gd name="connsiteY17" fmla="*/ 551732 h 1136726"/>
                <a:gd name="connsiteX18" fmla="*/ 625466 w 778701"/>
                <a:gd name="connsiteY18" fmla="*/ 574171 h 1136726"/>
                <a:gd name="connsiteX19" fmla="*/ 647922 w 778701"/>
                <a:gd name="connsiteY19" fmla="*/ 551732 h 1136726"/>
                <a:gd name="connsiteX20" fmla="*/ 658936 w 778701"/>
                <a:gd name="connsiteY20" fmla="*/ 523230 h 1136726"/>
                <a:gd name="connsiteX21" fmla="*/ 686755 w 778701"/>
                <a:gd name="connsiteY21" fmla="*/ 534338 h 1136726"/>
                <a:gd name="connsiteX22" fmla="*/ 692617 w 778701"/>
                <a:gd name="connsiteY22" fmla="*/ 533914 h 1136726"/>
                <a:gd name="connsiteX23" fmla="*/ 719466 w 778701"/>
                <a:gd name="connsiteY23" fmla="*/ 519409 h 1136726"/>
                <a:gd name="connsiteX24" fmla="*/ 735471 w 778701"/>
                <a:gd name="connsiteY24" fmla="*/ 551715 h 1136726"/>
                <a:gd name="connsiteX25" fmla="*/ 735471 w 778701"/>
                <a:gd name="connsiteY25" fmla="*/ 1114268 h 1136726"/>
                <a:gd name="connsiteX26" fmla="*/ 756808 w 778701"/>
                <a:gd name="connsiteY26" fmla="*/ 1136726 h 1136726"/>
                <a:gd name="connsiteX27" fmla="*/ 778702 w 778701"/>
                <a:gd name="connsiteY27" fmla="*/ 1114268 h 113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8701" h="1136726">
                  <a:moveTo>
                    <a:pt x="778138" y="551733"/>
                  </a:moveTo>
                  <a:cubicBezTo>
                    <a:pt x="778129" y="515544"/>
                    <a:pt x="756204" y="484519"/>
                    <a:pt x="724912" y="471166"/>
                  </a:cubicBezTo>
                  <a:cubicBezTo>
                    <a:pt x="680793" y="173824"/>
                    <a:pt x="617558" y="24753"/>
                    <a:pt x="526273" y="2706"/>
                  </a:cubicBezTo>
                  <a:cubicBezTo>
                    <a:pt x="507147" y="-1915"/>
                    <a:pt x="489320" y="-236"/>
                    <a:pt x="473373" y="4862"/>
                  </a:cubicBezTo>
                  <a:cubicBezTo>
                    <a:pt x="447036" y="44155"/>
                    <a:pt x="407833" y="73210"/>
                    <a:pt x="363875" y="73210"/>
                  </a:cubicBezTo>
                  <a:cubicBezTo>
                    <a:pt x="319922" y="73210"/>
                    <a:pt x="280718" y="44150"/>
                    <a:pt x="254373" y="4858"/>
                  </a:cubicBezTo>
                  <a:cubicBezTo>
                    <a:pt x="238435" y="-232"/>
                    <a:pt x="220612" y="-1911"/>
                    <a:pt x="201482" y="2710"/>
                  </a:cubicBezTo>
                  <a:cubicBezTo>
                    <a:pt x="108516" y="25158"/>
                    <a:pt x="44639" y="179235"/>
                    <a:pt x="419" y="487595"/>
                  </a:cubicBezTo>
                  <a:cubicBezTo>
                    <a:pt x="-2787" y="509976"/>
                    <a:pt x="12754" y="530717"/>
                    <a:pt x="35135" y="533928"/>
                  </a:cubicBezTo>
                  <a:cubicBezTo>
                    <a:pt x="37109" y="534209"/>
                    <a:pt x="39060" y="534352"/>
                    <a:pt x="40997" y="534352"/>
                  </a:cubicBezTo>
                  <a:cubicBezTo>
                    <a:pt x="61029" y="534352"/>
                    <a:pt x="78544" y="519627"/>
                    <a:pt x="81473" y="499221"/>
                  </a:cubicBezTo>
                  <a:cubicBezTo>
                    <a:pt x="126171" y="187477"/>
                    <a:pt x="182630" y="108627"/>
                    <a:pt x="208611" y="88706"/>
                  </a:cubicBezTo>
                  <a:cubicBezTo>
                    <a:pt x="198602" y="185265"/>
                    <a:pt x="195543" y="342035"/>
                    <a:pt x="194793" y="392483"/>
                  </a:cubicBezTo>
                  <a:cubicBezTo>
                    <a:pt x="214062" y="402064"/>
                    <a:pt x="280866" y="431954"/>
                    <a:pt x="363889" y="431954"/>
                  </a:cubicBezTo>
                  <a:cubicBezTo>
                    <a:pt x="446898" y="431954"/>
                    <a:pt x="513691" y="402069"/>
                    <a:pt x="532961" y="392483"/>
                  </a:cubicBezTo>
                  <a:cubicBezTo>
                    <a:pt x="532211" y="342124"/>
                    <a:pt x="529162" y="185797"/>
                    <a:pt x="519201" y="89197"/>
                  </a:cubicBezTo>
                  <a:cubicBezTo>
                    <a:pt x="543894" y="109203"/>
                    <a:pt x="599232" y="185833"/>
                    <a:pt x="643186" y="478179"/>
                  </a:cubicBezTo>
                  <a:cubicBezTo>
                    <a:pt x="619055" y="493770"/>
                    <a:pt x="603031" y="520852"/>
                    <a:pt x="603027" y="551732"/>
                  </a:cubicBezTo>
                  <a:cubicBezTo>
                    <a:pt x="603027" y="564121"/>
                    <a:pt x="613076" y="574171"/>
                    <a:pt x="625466" y="574171"/>
                  </a:cubicBezTo>
                  <a:cubicBezTo>
                    <a:pt x="637869" y="574171"/>
                    <a:pt x="647922" y="564121"/>
                    <a:pt x="647922" y="551732"/>
                  </a:cubicBezTo>
                  <a:cubicBezTo>
                    <a:pt x="647943" y="540753"/>
                    <a:pt x="652123" y="530794"/>
                    <a:pt x="658936" y="523230"/>
                  </a:cubicBezTo>
                  <a:cubicBezTo>
                    <a:pt x="666338" y="530137"/>
                    <a:pt x="676155" y="534338"/>
                    <a:pt x="686755" y="534338"/>
                  </a:cubicBezTo>
                  <a:cubicBezTo>
                    <a:pt x="688683" y="534338"/>
                    <a:pt x="690643" y="534195"/>
                    <a:pt x="692617" y="533914"/>
                  </a:cubicBezTo>
                  <a:cubicBezTo>
                    <a:pt x="703126" y="532404"/>
                    <a:pt x="713208" y="527003"/>
                    <a:pt x="719466" y="519409"/>
                  </a:cubicBezTo>
                  <a:cubicBezTo>
                    <a:pt x="728556" y="527226"/>
                    <a:pt x="735471" y="538781"/>
                    <a:pt x="735471" y="551715"/>
                  </a:cubicBezTo>
                  <a:lnTo>
                    <a:pt x="735471" y="1114268"/>
                  </a:lnTo>
                  <a:cubicBezTo>
                    <a:pt x="735471" y="1126657"/>
                    <a:pt x="744400" y="1136726"/>
                    <a:pt x="756808" y="1136726"/>
                  </a:cubicBezTo>
                  <a:cubicBezTo>
                    <a:pt x="769205" y="1136726"/>
                    <a:pt x="778702" y="1126669"/>
                    <a:pt x="778702" y="1114268"/>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8" name="Group 27">
            <a:extLst>
              <a:ext uri="{FF2B5EF4-FFF2-40B4-BE49-F238E27FC236}">
                <a16:creationId xmlns:a16="http://schemas.microsoft.com/office/drawing/2014/main" id="{50F51461-BD1E-0DBC-B4FB-DB03977CB6E6}"/>
              </a:ext>
            </a:extLst>
          </p:cNvPr>
          <p:cNvGrpSpPr/>
          <p:nvPr/>
        </p:nvGrpSpPr>
        <p:grpSpPr>
          <a:xfrm>
            <a:off x="1380708" y="3355219"/>
            <a:ext cx="451061" cy="794448"/>
            <a:chOff x="3395285" y="1471176"/>
            <a:chExt cx="778701" cy="1371516"/>
          </a:xfrm>
          <a:gradFill flip="none" rotWithShape="1">
            <a:gsLst>
              <a:gs pos="0">
                <a:schemeClr val="accent3"/>
              </a:gs>
              <a:gs pos="33000">
                <a:schemeClr val="accent2"/>
              </a:gs>
              <a:gs pos="100000">
                <a:schemeClr val="accent1"/>
              </a:gs>
            </a:gsLst>
            <a:lin ang="16200000" scaled="1"/>
            <a:tileRect/>
          </a:gradFill>
        </p:grpSpPr>
        <p:sp>
          <p:nvSpPr>
            <p:cNvPr id="29" name="Freeform: Shape 28">
              <a:extLst>
                <a:ext uri="{FF2B5EF4-FFF2-40B4-BE49-F238E27FC236}">
                  <a16:creationId xmlns:a16="http://schemas.microsoft.com/office/drawing/2014/main" id="{1E409F81-CA40-4E99-34D7-5D4D198CE8F3}"/>
                </a:ext>
              </a:extLst>
            </p:cNvPr>
            <p:cNvSpPr/>
            <p:nvPr/>
          </p:nvSpPr>
          <p:spPr>
            <a:xfrm>
              <a:off x="3524056" y="2116253"/>
              <a:ext cx="470212" cy="726439"/>
            </a:xfrm>
            <a:custGeom>
              <a:avLst/>
              <a:gdLst>
                <a:gd name="connsiteX0" fmla="*/ 235128 w 470212"/>
                <a:gd name="connsiteY0" fmla="*/ 37270 h 726439"/>
                <a:gd name="connsiteX1" fmla="*/ 65872 w 470212"/>
                <a:gd name="connsiteY1" fmla="*/ 5 h 726439"/>
                <a:gd name="connsiteX2" fmla="*/ 65926 w 470212"/>
                <a:gd name="connsiteY2" fmla="*/ 3361 h 726439"/>
                <a:gd name="connsiteX3" fmla="*/ 54117 w 470212"/>
                <a:gd name="connsiteY3" fmla="*/ 31658 h 726439"/>
                <a:gd name="connsiteX4" fmla="*/ 88 w 470212"/>
                <a:gd name="connsiteY4" fmla="*/ 658276 h 726439"/>
                <a:gd name="connsiteX5" fmla="*/ 61480 w 470212"/>
                <a:gd name="connsiteY5" fmla="*/ 726349 h 726439"/>
                <a:gd name="connsiteX6" fmla="*/ 64873 w 470212"/>
                <a:gd name="connsiteY6" fmla="*/ 726440 h 726439"/>
                <a:gd name="connsiteX7" fmla="*/ 129547 w 470212"/>
                <a:gd name="connsiteY7" fmla="*/ 664276 h 726439"/>
                <a:gd name="connsiteX8" fmla="*/ 168116 w 470212"/>
                <a:gd name="connsiteY8" fmla="*/ 175832 h 726439"/>
                <a:gd name="connsiteX9" fmla="*/ 302089 w 470212"/>
                <a:gd name="connsiteY9" fmla="*/ 175832 h 726439"/>
                <a:gd name="connsiteX10" fmla="*/ 340667 w 470212"/>
                <a:gd name="connsiteY10" fmla="*/ 664276 h 726439"/>
                <a:gd name="connsiteX11" fmla="*/ 405341 w 470212"/>
                <a:gd name="connsiteY11" fmla="*/ 726108 h 726439"/>
                <a:gd name="connsiteX12" fmla="*/ 408733 w 470212"/>
                <a:gd name="connsiteY12" fmla="*/ 726188 h 726439"/>
                <a:gd name="connsiteX13" fmla="*/ 470125 w 470212"/>
                <a:gd name="connsiteY13" fmla="*/ 658196 h 726439"/>
                <a:gd name="connsiteX14" fmla="*/ 416086 w 470212"/>
                <a:gd name="connsiteY14" fmla="*/ 31618 h 726439"/>
                <a:gd name="connsiteX15" fmla="*/ 404282 w 470212"/>
                <a:gd name="connsiteY15" fmla="*/ 3349 h 726439"/>
                <a:gd name="connsiteX16" fmla="*/ 404336 w 470212"/>
                <a:gd name="connsiteY16" fmla="*/ 0 h 726439"/>
                <a:gd name="connsiteX17" fmla="*/ 235126 w 470212"/>
                <a:gd name="connsiteY17" fmla="*/ 37265 h 72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0212" h="726439">
                  <a:moveTo>
                    <a:pt x="235128" y="37270"/>
                  </a:moveTo>
                  <a:cubicBezTo>
                    <a:pt x="157065" y="37270"/>
                    <a:pt x="93885" y="12920"/>
                    <a:pt x="65872" y="5"/>
                  </a:cubicBezTo>
                  <a:cubicBezTo>
                    <a:pt x="65886" y="1049"/>
                    <a:pt x="65908" y="2174"/>
                    <a:pt x="65926" y="3361"/>
                  </a:cubicBezTo>
                  <a:cubicBezTo>
                    <a:pt x="59975" y="11460"/>
                    <a:pt x="55778" y="21041"/>
                    <a:pt x="54117" y="31658"/>
                  </a:cubicBezTo>
                  <a:cubicBezTo>
                    <a:pt x="39393" y="125374"/>
                    <a:pt x="6213" y="539424"/>
                    <a:pt x="88" y="658276"/>
                  </a:cubicBezTo>
                  <a:cubicBezTo>
                    <a:pt x="-1760" y="694027"/>
                    <a:pt x="25736" y="724508"/>
                    <a:pt x="61480" y="726349"/>
                  </a:cubicBezTo>
                  <a:cubicBezTo>
                    <a:pt x="62618" y="726406"/>
                    <a:pt x="63743" y="726440"/>
                    <a:pt x="64873" y="726440"/>
                  </a:cubicBezTo>
                  <a:cubicBezTo>
                    <a:pt x="99138" y="726440"/>
                    <a:pt x="127765" y="698896"/>
                    <a:pt x="129547" y="664276"/>
                  </a:cubicBezTo>
                  <a:cubicBezTo>
                    <a:pt x="133873" y="580363"/>
                    <a:pt x="152860" y="332755"/>
                    <a:pt x="168116" y="175832"/>
                  </a:cubicBezTo>
                  <a:lnTo>
                    <a:pt x="302089" y="175832"/>
                  </a:lnTo>
                  <a:cubicBezTo>
                    <a:pt x="317345" y="332755"/>
                    <a:pt x="336341" y="580363"/>
                    <a:pt x="340667" y="664276"/>
                  </a:cubicBezTo>
                  <a:cubicBezTo>
                    <a:pt x="342452" y="698896"/>
                    <a:pt x="371075" y="726108"/>
                    <a:pt x="405341" y="726108"/>
                  </a:cubicBezTo>
                  <a:cubicBezTo>
                    <a:pt x="406461" y="726108"/>
                    <a:pt x="407599" y="726246"/>
                    <a:pt x="408733" y="726188"/>
                  </a:cubicBezTo>
                  <a:cubicBezTo>
                    <a:pt x="444480" y="724348"/>
                    <a:pt x="471973" y="693958"/>
                    <a:pt x="470125" y="658196"/>
                  </a:cubicBezTo>
                  <a:cubicBezTo>
                    <a:pt x="464000" y="539355"/>
                    <a:pt x="430811" y="125372"/>
                    <a:pt x="416086" y="31618"/>
                  </a:cubicBezTo>
                  <a:cubicBezTo>
                    <a:pt x="414422" y="21010"/>
                    <a:pt x="410233" y="11447"/>
                    <a:pt x="404282" y="3349"/>
                  </a:cubicBezTo>
                  <a:cubicBezTo>
                    <a:pt x="404305" y="2161"/>
                    <a:pt x="404323" y="1040"/>
                    <a:pt x="404336" y="0"/>
                  </a:cubicBezTo>
                  <a:cubicBezTo>
                    <a:pt x="376334" y="12907"/>
                    <a:pt x="313174" y="37265"/>
                    <a:pt x="235126" y="37265"/>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30" name="Freeform: Shape 29">
              <a:extLst>
                <a:ext uri="{FF2B5EF4-FFF2-40B4-BE49-F238E27FC236}">
                  <a16:creationId xmlns:a16="http://schemas.microsoft.com/office/drawing/2014/main" id="{78F5757E-6FAA-C332-8455-55FA0E2D4076}"/>
                </a:ext>
              </a:extLst>
            </p:cNvPr>
            <p:cNvSpPr/>
            <p:nvPr/>
          </p:nvSpPr>
          <p:spPr>
            <a:xfrm>
              <a:off x="3630376" y="1471176"/>
              <a:ext cx="257591" cy="288119"/>
            </a:xfrm>
            <a:custGeom>
              <a:avLst/>
              <a:gdLst>
                <a:gd name="connsiteX0" fmla="*/ 128796 w 257591"/>
                <a:gd name="connsiteY0" fmla="*/ 288119 h 288119"/>
                <a:gd name="connsiteX1" fmla="*/ 257592 w 257591"/>
                <a:gd name="connsiteY1" fmla="*/ 128807 h 288119"/>
                <a:gd name="connsiteX2" fmla="*/ 128796 w 257591"/>
                <a:gd name="connsiteY2" fmla="*/ 0 h 288119"/>
                <a:gd name="connsiteX3" fmla="*/ 0 w 257591"/>
                <a:gd name="connsiteY3" fmla="*/ 128807 h 288119"/>
                <a:gd name="connsiteX4" fmla="*/ 128796 w 257591"/>
                <a:gd name="connsiteY4" fmla="*/ 288119 h 288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1" h="288119">
                  <a:moveTo>
                    <a:pt x="128796" y="288119"/>
                  </a:moveTo>
                  <a:cubicBezTo>
                    <a:pt x="199924" y="288119"/>
                    <a:pt x="257592" y="199931"/>
                    <a:pt x="257592" y="128807"/>
                  </a:cubicBezTo>
                  <a:cubicBezTo>
                    <a:pt x="257592" y="57674"/>
                    <a:pt x="199928" y="0"/>
                    <a:pt x="128796" y="0"/>
                  </a:cubicBezTo>
                  <a:cubicBezTo>
                    <a:pt x="57680" y="0"/>
                    <a:pt x="0" y="57668"/>
                    <a:pt x="0" y="128807"/>
                  </a:cubicBezTo>
                  <a:cubicBezTo>
                    <a:pt x="0" y="199940"/>
                    <a:pt x="57682" y="288119"/>
                    <a:pt x="128796" y="288119"/>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32" name="Freeform: Shape 31">
              <a:extLst>
                <a:ext uri="{FF2B5EF4-FFF2-40B4-BE49-F238E27FC236}">
                  <a16:creationId xmlns:a16="http://schemas.microsoft.com/office/drawing/2014/main" id="{544A1E91-F6C5-3249-B9C7-6084FD2AE2F4}"/>
                </a:ext>
              </a:extLst>
            </p:cNvPr>
            <p:cNvSpPr/>
            <p:nvPr/>
          </p:nvSpPr>
          <p:spPr>
            <a:xfrm>
              <a:off x="3395285" y="1701098"/>
              <a:ext cx="778701" cy="1136726"/>
            </a:xfrm>
            <a:custGeom>
              <a:avLst/>
              <a:gdLst>
                <a:gd name="connsiteX0" fmla="*/ 778138 w 778701"/>
                <a:gd name="connsiteY0" fmla="*/ 551733 h 1136726"/>
                <a:gd name="connsiteX1" fmla="*/ 724912 w 778701"/>
                <a:gd name="connsiteY1" fmla="*/ 471166 h 1136726"/>
                <a:gd name="connsiteX2" fmla="*/ 526273 w 778701"/>
                <a:gd name="connsiteY2" fmla="*/ 2706 h 1136726"/>
                <a:gd name="connsiteX3" fmla="*/ 473373 w 778701"/>
                <a:gd name="connsiteY3" fmla="*/ 4862 h 1136726"/>
                <a:gd name="connsiteX4" fmla="*/ 363875 w 778701"/>
                <a:gd name="connsiteY4" fmla="*/ 73210 h 1136726"/>
                <a:gd name="connsiteX5" fmla="*/ 254373 w 778701"/>
                <a:gd name="connsiteY5" fmla="*/ 4858 h 1136726"/>
                <a:gd name="connsiteX6" fmla="*/ 201482 w 778701"/>
                <a:gd name="connsiteY6" fmla="*/ 2710 h 1136726"/>
                <a:gd name="connsiteX7" fmla="*/ 419 w 778701"/>
                <a:gd name="connsiteY7" fmla="*/ 487595 h 1136726"/>
                <a:gd name="connsiteX8" fmla="*/ 35135 w 778701"/>
                <a:gd name="connsiteY8" fmla="*/ 533928 h 1136726"/>
                <a:gd name="connsiteX9" fmla="*/ 40997 w 778701"/>
                <a:gd name="connsiteY9" fmla="*/ 534352 h 1136726"/>
                <a:gd name="connsiteX10" fmla="*/ 81473 w 778701"/>
                <a:gd name="connsiteY10" fmla="*/ 499221 h 1136726"/>
                <a:gd name="connsiteX11" fmla="*/ 208611 w 778701"/>
                <a:gd name="connsiteY11" fmla="*/ 88706 h 1136726"/>
                <a:gd name="connsiteX12" fmla="*/ 194793 w 778701"/>
                <a:gd name="connsiteY12" fmla="*/ 392483 h 1136726"/>
                <a:gd name="connsiteX13" fmla="*/ 363889 w 778701"/>
                <a:gd name="connsiteY13" fmla="*/ 431954 h 1136726"/>
                <a:gd name="connsiteX14" fmla="*/ 532961 w 778701"/>
                <a:gd name="connsiteY14" fmla="*/ 392483 h 1136726"/>
                <a:gd name="connsiteX15" fmla="*/ 519201 w 778701"/>
                <a:gd name="connsiteY15" fmla="*/ 89197 h 1136726"/>
                <a:gd name="connsiteX16" fmla="*/ 643186 w 778701"/>
                <a:gd name="connsiteY16" fmla="*/ 478179 h 1136726"/>
                <a:gd name="connsiteX17" fmla="*/ 603027 w 778701"/>
                <a:gd name="connsiteY17" fmla="*/ 551732 h 1136726"/>
                <a:gd name="connsiteX18" fmla="*/ 625466 w 778701"/>
                <a:gd name="connsiteY18" fmla="*/ 574171 h 1136726"/>
                <a:gd name="connsiteX19" fmla="*/ 647922 w 778701"/>
                <a:gd name="connsiteY19" fmla="*/ 551732 h 1136726"/>
                <a:gd name="connsiteX20" fmla="*/ 658936 w 778701"/>
                <a:gd name="connsiteY20" fmla="*/ 523230 h 1136726"/>
                <a:gd name="connsiteX21" fmla="*/ 686755 w 778701"/>
                <a:gd name="connsiteY21" fmla="*/ 534338 h 1136726"/>
                <a:gd name="connsiteX22" fmla="*/ 692617 w 778701"/>
                <a:gd name="connsiteY22" fmla="*/ 533914 h 1136726"/>
                <a:gd name="connsiteX23" fmla="*/ 719466 w 778701"/>
                <a:gd name="connsiteY23" fmla="*/ 519409 h 1136726"/>
                <a:gd name="connsiteX24" fmla="*/ 735471 w 778701"/>
                <a:gd name="connsiteY24" fmla="*/ 551715 h 1136726"/>
                <a:gd name="connsiteX25" fmla="*/ 735471 w 778701"/>
                <a:gd name="connsiteY25" fmla="*/ 1114268 h 1136726"/>
                <a:gd name="connsiteX26" fmla="*/ 756808 w 778701"/>
                <a:gd name="connsiteY26" fmla="*/ 1136726 h 1136726"/>
                <a:gd name="connsiteX27" fmla="*/ 778702 w 778701"/>
                <a:gd name="connsiteY27" fmla="*/ 1114268 h 113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8701" h="1136726">
                  <a:moveTo>
                    <a:pt x="778138" y="551733"/>
                  </a:moveTo>
                  <a:cubicBezTo>
                    <a:pt x="778129" y="515544"/>
                    <a:pt x="756204" y="484519"/>
                    <a:pt x="724912" y="471166"/>
                  </a:cubicBezTo>
                  <a:cubicBezTo>
                    <a:pt x="680793" y="173824"/>
                    <a:pt x="617558" y="24753"/>
                    <a:pt x="526273" y="2706"/>
                  </a:cubicBezTo>
                  <a:cubicBezTo>
                    <a:pt x="507147" y="-1915"/>
                    <a:pt x="489320" y="-236"/>
                    <a:pt x="473373" y="4862"/>
                  </a:cubicBezTo>
                  <a:cubicBezTo>
                    <a:pt x="447036" y="44155"/>
                    <a:pt x="407833" y="73210"/>
                    <a:pt x="363875" y="73210"/>
                  </a:cubicBezTo>
                  <a:cubicBezTo>
                    <a:pt x="319922" y="73210"/>
                    <a:pt x="280718" y="44150"/>
                    <a:pt x="254373" y="4858"/>
                  </a:cubicBezTo>
                  <a:cubicBezTo>
                    <a:pt x="238435" y="-232"/>
                    <a:pt x="220612" y="-1911"/>
                    <a:pt x="201482" y="2710"/>
                  </a:cubicBezTo>
                  <a:cubicBezTo>
                    <a:pt x="108516" y="25158"/>
                    <a:pt x="44639" y="179235"/>
                    <a:pt x="419" y="487595"/>
                  </a:cubicBezTo>
                  <a:cubicBezTo>
                    <a:pt x="-2787" y="509976"/>
                    <a:pt x="12754" y="530717"/>
                    <a:pt x="35135" y="533928"/>
                  </a:cubicBezTo>
                  <a:cubicBezTo>
                    <a:pt x="37109" y="534209"/>
                    <a:pt x="39060" y="534352"/>
                    <a:pt x="40997" y="534352"/>
                  </a:cubicBezTo>
                  <a:cubicBezTo>
                    <a:pt x="61029" y="534352"/>
                    <a:pt x="78544" y="519627"/>
                    <a:pt x="81473" y="499221"/>
                  </a:cubicBezTo>
                  <a:cubicBezTo>
                    <a:pt x="126171" y="187477"/>
                    <a:pt x="182630" y="108627"/>
                    <a:pt x="208611" y="88706"/>
                  </a:cubicBezTo>
                  <a:cubicBezTo>
                    <a:pt x="198602" y="185265"/>
                    <a:pt x="195543" y="342035"/>
                    <a:pt x="194793" y="392483"/>
                  </a:cubicBezTo>
                  <a:cubicBezTo>
                    <a:pt x="214062" y="402064"/>
                    <a:pt x="280866" y="431954"/>
                    <a:pt x="363889" y="431954"/>
                  </a:cubicBezTo>
                  <a:cubicBezTo>
                    <a:pt x="446898" y="431954"/>
                    <a:pt x="513691" y="402069"/>
                    <a:pt x="532961" y="392483"/>
                  </a:cubicBezTo>
                  <a:cubicBezTo>
                    <a:pt x="532211" y="342124"/>
                    <a:pt x="529162" y="185797"/>
                    <a:pt x="519201" y="89197"/>
                  </a:cubicBezTo>
                  <a:cubicBezTo>
                    <a:pt x="543894" y="109203"/>
                    <a:pt x="599232" y="185833"/>
                    <a:pt x="643186" y="478179"/>
                  </a:cubicBezTo>
                  <a:cubicBezTo>
                    <a:pt x="619055" y="493770"/>
                    <a:pt x="603031" y="520852"/>
                    <a:pt x="603027" y="551732"/>
                  </a:cubicBezTo>
                  <a:cubicBezTo>
                    <a:pt x="603027" y="564121"/>
                    <a:pt x="613076" y="574171"/>
                    <a:pt x="625466" y="574171"/>
                  </a:cubicBezTo>
                  <a:cubicBezTo>
                    <a:pt x="637869" y="574171"/>
                    <a:pt x="647922" y="564121"/>
                    <a:pt x="647922" y="551732"/>
                  </a:cubicBezTo>
                  <a:cubicBezTo>
                    <a:pt x="647943" y="540753"/>
                    <a:pt x="652123" y="530794"/>
                    <a:pt x="658936" y="523230"/>
                  </a:cubicBezTo>
                  <a:cubicBezTo>
                    <a:pt x="666338" y="530137"/>
                    <a:pt x="676155" y="534338"/>
                    <a:pt x="686755" y="534338"/>
                  </a:cubicBezTo>
                  <a:cubicBezTo>
                    <a:pt x="688683" y="534338"/>
                    <a:pt x="690643" y="534195"/>
                    <a:pt x="692617" y="533914"/>
                  </a:cubicBezTo>
                  <a:cubicBezTo>
                    <a:pt x="703126" y="532404"/>
                    <a:pt x="713208" y="527003"/>
                    <a:pt x="719466" y="519409"/>
                  </a:cubicBezTo>
                  <a:cubicBezTo>
                    <a:pt x="728556" y="527226"/>
                    <a:pt x="735471" y="538781"/>
                    <a:pt x="735471" y="551715"/>
                  </a:cubicBezTo>
                  <a:lnTo>
                    <a:pt x="735471" y="1114268"/>
                  </a:lnTo>
                  <a:cubicBezTo>
                    <a:pt x="735471" y="1126657"/>
                    <a:pt x="744400" y="1136726"/>
                    <a:pt x="756808" y="1136726"/>
                  </a:cubicBezTo>
                  <a:cubicBezTo>
                    <a:pt x="769205" y="1136726"/>
                    <a:pt x="778702" y="1126669"/>
                    <a:pt x="778702" y="1114268"/>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33" name="Group 32">
            <a:extLst>
              <a:ext uri="{FF2B5EF4-FFF2-40B4-BE49-F238E27FC236}">
                <a16:creationId xmlns:a16="http://schemas.microsoft.com/office/drawing/2014/main" id="{9E25C2D3-1566-36B0-326E-96261D2F6AB9}"/>
              </a:ext>
            </a:extLst>
          </p:cNvPr>
          <p:cNvGrpSpPr/>
          <p:nvPr/>
        </p:nvGrpSpPr>
        <p:grpSpPr>
          <a:xfrm>
            <a:off x="2153977" y="3355219"/>
            <a:ext cx="451061" cy="794448"/>
            <a:chOff x="3395285" y="1471176"/>
            <a:chExt cx="778701" cy="1371516"/>
          </a:xfrm>
          <a:gradFill flip="none" rotWithShape="1">
            <a:gsLst>
              <a:gs pos="0">
                <a:schemeClr val="accent3"/>
              </a:gs>
              <a:gs pos="33000">
                <a:schemeClr val="accent2"/>
              </a:gs>
              <a:gs pos="100000">
                <a:schemeClr val="accent1"/>
              </a:gs>
            </a:gsLst>
            <a:lin ang="16200000" scaled="1"/>
            <a:tileRect/>
          </a:gradFill>
        </p:grpSpPr>
        <p:sp>
          <p:nvSpPr>
            <p:cNvPr id="34" name="Freeform: Shape 33">
              <a:extLst>
                <a:ext uri="{FF2B5EF4-FFF2-40B4-BE49-F238E27FC236}">
                  <a16:creationId xmlns:a16="http://schemas.microsoft.com/office/drawing/2014/main" id="{9CDFD9E4-27C8-F43D-3BB9-B3EBA128D139}"/>
                </a:ext>
              </a:extLst>
            </p:cNvPr>
            <p:cNvSpPr/>
            <p:nvPr/>
          </p:nvSpPr>
          <p:spPr>
            <a:xfrm>
              <a:off x="3524056" y="2116253"/>
              <a:ext cx="470212" cy="726439"/>
            </a:xfrm>
            <a:custGeom>
              <a:avLst/>
              <a:gdLst>
                <a:gd name="connsiteX0" fmla="*/ 235128 w 470212"/>
                <a:gd name="connsiteY0" fmla="*/ 37270 h 726439"/>
                <a:gd name="connsiteX1" fmla="*/ 65872 w 470212"/>
                <a:gd name="connsiteY1" fmla="*/ 5 h 726439"/>
                <a:gd name="connsiteX2" fmla="*/ 65926 w 470212"/>
                <a:gd name="connsiteY2" fmla="*/ 3361 h 726439"/>
                <a:gd name="connsiteX3" fmla="*/ 54117 w 470212"/>
                <a:gd name="connsiteY3" fmla="*/ 31658 h 726439"/>
                <a:gd name="connsiteX4" fmla="*/ 88 w 470212"/>
                <a:gd name="connsiteY4" fmla="*/ 658276 h 726439"/>
                <a:gd name="connsiteX5" fmla="*/ 61480 w 470212"/>
                <a:gd name="connsiteY5" fmla="*/ 726349 h 726439"/>
                <a:gd name="connsiteX6" fmla="*/ 64873 w 470212"/>
                <a:gd name="connsiteY6" fmla="*/ 726440 h 726439"/>
                <a:gd name="connsiteX7" fmla="*/ 129547 w 470212"/>
                <a:gd name="connsiteY7" fmla="*/ 664276 h 726439"/>
                <a:gd name="connsiteX8" fmla="*/ 168116 w 470212"/>
                <a:gd name="connsiteY8" fmla="*/ 175832 h 726439"/>
                <a:gd name="connsiteX9" fmla="*/ 302089 w 470212"/>
                <a:gd name="connsiteY9" fmla="*/ 175832 h 726439"/>
                <a:gd name="connsiteX10" fmla="*/ 340667 w 470212"/>
                <a:gd name="connsiteY10" fmla="*/ 664276 h 726439"/>
                <a:gd name="connsiteX11" fmla="*/ 405341 w 470212"/>
                <a:gd name="connsiteY11" fmla="*/ 726108 h 726439"/>
                <a:gd name="connsiteX12" fmla="*/ 408733 w 470212"/>
                <a:gd name="connsiteY12" fmla="*/ 726188 h 726439"/>
                <a:gd name="connsiteX13" fmla="*/ 470125 w 470212"/>
                <a:gd name="connsiteY13" fmla="*/ 658196 h 726439"/>
                <a:gd name="connsiteX14" fmla="*/ 416086 w 470212"/>
                <a:gd name="connsiteY14" fmla="*/ 31618 h 726439"/>
                <a:gd name="connsiteX15" fmla="*/ 404282 w 470212"/>
                <a:gd name="connsiteY15" fmla="*/ 3349 h 726439"/>
                <a:gd name="connsiteX16" fmla="*/ 404336 w 470212"/>
                <a:gd name="connsiteY16" fmla="*/ 0 h 726439"/>
                <a:gd name="connsiteX17" fmla="*/ 235126 w 470212"/>
                <a:gd name="connsiteY17" fmla="*/ 37265 h 72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0212" h="726439">
                  <a:moveTo>
                    <a:pt x="235128" y="37270"/>
                  </a:moveTo>
                  <a:cubicBezTo>
                    <a:pt x="157065" y="37270"/>
                    <a:pt x="93885" y="12920"/>
                    <a:pt x="65872" y="5"/>
                  </a:cubicBezTo>
                  <a:cubicBezTo>
                    <a:pt x="65886" y="1049"/>
                    <a:pt x="65908" y="2174"/>
                    <a:pt x="65926" y="3361"/>
                  </a:cubicBezTo>
                  <a:cubicBezTo>
                    <a:pt x="59975" y="11460"/>
                    <a:pt x="55778" y="21041"/>
                    <a:pt x="54117" y="31658"/>
                  </a:cubicBezTo>
                  <a:cubicBezTo>
                    <a:pt x="39393" y="125374"/>
                    <a:pt x="6213" y="539424"/>
                    <a:pt x="88" y="658276"/>
                  </a:cubicBezTo>
                  <a:cubicBezTo>
                    <a:pt x="-1760" y="694027"/>
                    <a:pt x="25736" y="724508"/>
                    <a:pt x="61480" y="726349"/>
                  </a:cubicBezTo>
                  <a:cubicBezTo>
                    <a:pt x="62618" y="726406"/>
                    <a:pt x="63743" y="726440"/>
                    <a:pt x="64873" y="726440"/>
                  </a:cubicBezTo>
                  <a:cubicBezTo>
                    <a:pt x="99138" y="726440"/>
                    <a:pt x="127765" y="698896"/>
                    <a:pt x="129547" y="664276"/>
                  </a:cubicBezTo>
                  <a:cubicBezTo>
                    <a:pt x="133873" y="580363"/>
                    <a:pt x="152860" y="332755"/>
                    <a:pt x="168116" y="175832"/>
                  </a:cubicBezTo>
                  <a:lnTo>
                    <a:pt x="302089" y="175832"/>
                  </a:lnTo>
                  <a:cubicBezTo>
                    <a:pt x="317345" y="332755"/>
                    <a:pt x="336341" y="580363"/>
                    <a:pt x="340667" y="664276"/>
                  </a:cubicBezTo>
                  <a:cubicBezTo>
                    <a:pt x="342452" y="698896"/>
                    <a:pt x="371075" y="726108"/>
                    <a:pt x="405341" y="726108"/>
                  </a:cubicBezTo>
                  <a:cubicBezTo>
                    <a:pt x="406461" y="726108"/>
                    <a:pt x="407599" y="726246"/>
                    <a:pt x="408733" y="726188"/>
                  </a:cubicBezTo>
                  <a:cubicBezTo>
                    <a:pt x="444480" y="724348"/>
                    <a:pt x="471973" y="693958"/>
                    <a:pt x="470125" y="658196"/>
                  </a:cubicBezTo>
                  <a:cubicBezTo>
                    <a:pt x="464000" y="539355"/>
                    <a:pt x="430811" y="125372"/>
                    <a:pt x="416086" y="31618"/>
                  </a:cubicBezTo>
                  <a:cubicBezTo>
                    <a:pt x="414422" y="21010"/>
                    <a:pt x="410233" y="11447"/>
                    <a:pt x="404282" y="3349"/>
                  </a:cubicBezTo>
                  <a:cubicBezTo>
                    <a:pt x="404305" y="2161"/>
                    <a:pt x="404323" y="1040"/>
                    <a:pt x="404336" y="0"/>
                  </a:cubicBezTo>
                  <a:cubicBezTo>
                    <a:pt x="376334" y="12907"/>
                    <a:pt x="313174" y="37265"/>
                    <a:pt x="235126" y="37265"/>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36" name="Freeform: Shape 35">
              <a:extLst>
                <a:ext uri="{FF2B5EF4-FFF2-40B4-BE49-F238E27FC236}">
                  <a16:creationId xmlns:a16="http://schemas.microsoft.com/office/drawing/2014/main" id="{ABB340B5-DD49-6C79-8E5A-7E06BBED615A}"/>
                </a:ext>
              </a:extLst>
            </p:cNvPr>
            <p:cNvSpPr/>
            <p:nvPr/>
          </p:nvSpPr>
          <p:spPr>
            <a:xfrm>
              <a:off x="3630376" y="1471176"/>
              <a:ext cx="257591" cy="288119"/>
            </a:xfrm>
            <a:custGeom>
              <a:avLst/>
              <a:gdLst>
                <a:gd name="connsiteX0" fmla="*/ 128796 w 257591"/>
                <a:gd name="connsiteY0" fmla="*/ 288119 h 288119"/>
                <a:gd name="connsiteX1" fmla="*/ 257592 w 257591"/>
                <a:gd name="connsiteY1" fmla="*/ 128807 h 288119"/>
                <a:gd name="connsiteX2" fmla="*/ 128796 w 257591"/>
                <a:gd name="connsiteY2" fmla="*/ 0 h 288119"/>
                <a:gd name="connsiteX3" fmla="*/ 0 w 257591"/>
                <a:gd name="connsiteY3" fmla="*/ 128807 h 288119"/>
                <a:gd name="connsiteX4" fmla="*/ 128796 w 257591"/>
                <a:gd name="connsiteY4" fmla="*/ 288119 h 288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1" h="288119">
                  <a:moveTo>
                    <a:pt x="128796" y="288119"/>
                  </a:moveTo>
                  <a:cubicBezTo>
                    <a:pt x="199924" y="288119"/>
                    <a:pt x="257592" y="199931"/>
                    <a:pt x="257592" y="128807"/>
                  </a:cubicBezTo>
                  <a:cubicBezTo>
                    <a:pt x="257592" y="57674"/>
                    <a:pt x="199928" y="0"/>
                    <a:pt x="128796" y="0"/>
                  </a:cubicBezTo>
                  <a:cubicBezTo>
                    <a:pt x="57680" y="0"/>
                    <a:pt x="0" y="57668"/>
                    <a:pt x="0" y="128807"/>
                  </a:cubicBezTo>
                  <a:cubicBezTo>
                    <a:pt x="0" y="199940"/>
                    <a:pt x="57682" y="288119"/>
                    <a:pt x="128796" y="288119"/>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37" name="Freeform: Shape 36">
              <a:extLst>
                <a:ext uri="{FF2B5EF4-FFF2-40B4-BE49-F238E27FC236}">
                  <a16:creationId xmlns:a16="http://schemas.microsoft.com/office/drawing/2014/main" id="{B3043D56-AB4D-E6BE-9AC2-A7ADCBAA4E96}"/>
                </a:ext>
              </a:extLst>
            </p:cNvPr>
            <p:cNvSpPr/>
            <p:nvPr/>
          </p:nvSpPr>
          <p:spPr>
            <a:xfrm>
              <a:off x="3395285" y="1701098"/>
              <a:ext cx="778701" cy="1136726"/>
            </a:xfrm>
            <a:custGeom>
              <a:avLst/>
              <a:gdLst>
                <a:gd name="connsiteX0" fmla="*/ 778138 w 778701"/>
                <a:gd name="connsiteY0" fmla="*/ 551733 h 1136726"/>
                <a:gd name="connsiteX1" fmla="*/ 724912 w 778701"/>
                <a:gd name="connsiteY1" fmla="*/ 471166 h 1136726"/>
                <a:gd name="connsiteX2" fmla="*/ 526273 w 778701"/>
                <a:gd name="connsiteY2" fmla="*/ 2706 h 1136726"/>
                <a:gd name="connsiteX3" fmla="*/ 473373 w 778701"/>
                <a:gd name="connsiteY3" fmla="*/ 4862 h 1136726"/>
                <a:gd name="connsiteX4" fmla="*/ 363875 w 778701"/>
                <a:gd name="connsiteY4" fmla="*/ 73210 h 1136726"/>
                <a:gd name="connsiteX5" fmla="*/ 254373 w 778701"/>
                <a:gd name="connsiteY5" fmla="*/ 4858 h 1136726"/>
                <a:gd name="connsiteX6" fmla="*/ 201482 w 778701"/>
                <a:gd name="connsiteY6" fmla="*/ 2710 h 1136726"/>
                <a:gd name="connsiteX7" fmla="*/ 419 w 778701"/>
                <a:gd name="connsiteY7" fmla="*/ 487595 h 1136726"/>
                <a:gd name="connsiteX8" fmla="*/ 35135 w 778701"/>
                <a:gd name="connsiteY8" fmla="*/ 533928 h 1136726"/>
                <a:gd name="connsiteX9" fmla="*/ 40997 w 778701"/>
                <a:gd name="connsiteY9" fmla="*/ 534352 h 1136726"/>
                <a:gd name="connsiteX10" fmla="*/ 81473 w 778701"/>
                <a:gd name="connsiteY10" fmla="*/ 499221 h 1136726"/>
                <a:gd name="connsiteX11" fmla="*/ 208611 w 778701"/>
                <a:gd name="connsiteY11" fmla="*/ 88706 h 1136726"/>
                <a:gd name="connsiteX12" fmla="*/ 194793 w 778701"/>
                <a:gd name="connsiteY12" fmla="*/ 392483 h 1136726"/>
                <a:gd name="connsiteX13" fmla="*/ 363889 w 778701"/>
                <a:gd name="connsiteY13" fmla="*/ 431954 h 1136726"/>
                <a:gd name="connsiteX14" fmla="*/ 532961 w 778701"/>
                <a:gd name="connsiteY14" fmla="*/ 392483 h 1136726"/>
                <a:gd name="connsiteX15" fmla="*/ 519201 w 778701"/>
                <a:gd name="connsiteY15" fmla="*/ 89197 h 1136726"/>
                <a:gd name="connsiteX16" fmla="*/ 643186 w 778701"/>
                <a:gd name="connsiteY16" fmla="*/ 478179 h 1136726"/>
                <a:gd name="connsiteX17" fmla="*/ 603027 w 778701"/>
                <a:gd name="connsiteY17" fmla="*/ 551732 h 1136726"/>
                <a:gd name="connsiteX18" fmla="*/ 625466 w 778701"/>
                <a:gd name="connsiteY18" fmla="*/ 574171 h 1136726"/>
                <a:gd name="connsiteX19" fmla="*/ 647922 w 778701"/>
                <a:gd name="connsiteY19" fmla="*/ 551732 h 1136726"/>
                <a:gd name="connsiteX20" fmla="*/ 658936 w 778701"/>
                <a:gd name="connsiteY20" fmla="*/ 523230 h 1136726"/>
                <a:gd name="connsiteX21" fmla="*/ 686755 w 778701"/>
                <a:gd name="connsiteY21" fmla="*/ 534338 h 1136726"/>
                <a:gd name="connsiteX22" fmla="*/ 692617 w 778701"/>
                <a:gd name="connsiteY22" fmla="*/ 533914 h 1136726"/>
                <a:gd name="connsiteX23" fmla="*/ 719466 w 778701"/>
                <a:gd name="connsiteY23" fmla="*/ 519409 h 1136726"/>
                <a:gd name="connsiteX24" fmla="*/ 735471 w 778701"/>
                <a:gd name="connsiteY24" fmla="*/ 551715 h 1136726"/>
                <a:gd name="connsiteX25" fmla="*/ 735471 w 778701"/>
                <a:gd name="connsiteY25" fmla="*/ 1114268 h 1136726"/>
                <a:gd name="connsiteX26" fmla="*/ 756808 w 778701"/>
                <a:gd name="connsiteY26" fmla="*/ 1136726 h 1136726"/>
                <a:gd name="connsiteX27" fmla="*/ 778702 w 778701"/>
                <a:gd name="connsiteY27" fmla="*/ 1114268 h 113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8701" h="1136726">
                  <a:moveTo>
                    <a:pt x="778138" y="551733"/>
                  </a:moveTo>
                  <a:cubicBezTo>
                    <a:pt x="778129" y="515544"/>
                    <a:pt x="756204" y="484519"/>
                    <a:pt x="724912" y="471166"/>
                  </a:cubicBezTo>
                  <a:cubicBezTo>
                    <a:pt x="680793" y="173824"/>
                    <a:pt x="617558" y="24753"/>
                    <a:pt x="526273" y="2706"/>
                  </a:cubicBezTo>
                  <a:cubicBezTo>
                    <a:pt x="507147" y="-1915"/>
                    <a:pt x="489320" y="-236"/>
                    <a:pt x="473373" y="4862"/>
                  </a:cubicBezTo>
                  <a:cubicBezTo>
                    <a:pt x="447036" y="44155"/>
                    <a:pt x="407833" y="73210"/>
                    <a:pt x="363875" y="73210"/>
                  </a:cubicBezTo>
                  <a:cubicBezTo>
                    <a:pt x="319922" y="73210"/>
                    <a:pt x="280718" y="44150"/>
                    <a:pt x="254373" y="4858"/>
                  </a:cubicBezTo>
                  <a:cubicBezTo>
                    <a:pt x="238435" y="-232"/>
                    <a:pt x="220612" y="-1911"/>
                    <a:pt x="201482" y="2710"/>
                  </a:cubicBezTo>
                  <a:cubicBezTo>
                    <a:pt x="108516" y="25158"/>
                    <a:pt x="44639" y="179235"/>
                    <a:pt x="419" y="487595"/>
                  </a:cubicBezTo>
                  <a:cubicBezTo>
                    <a:pt x="-2787" y="509976"/>
                    <a:pt x="12754" y="530717"/>
                    <a:pt x="35135" y="533928"/>
                  </a:cubicBezTo>
                  <a:cubicBezTo>
                    <a:pt x="37109" y="534209"/>
                    <a:pt x="39060" y="534352"/>
                    <a:pt x="40997" y="534352"/>
                  </a:cubicBezTo>
                  <a:cubicBezTo>
                    <a:pt x="61029" y="534352"/>
                    <a:pt x="78544" y="519627"/>
                    <a:pt x="81473" y="499221"/>
                  </a:cubicBezTo>
                  <a:cubicBezTo>
                    <a:pt x="126171" y="187477"/>
                    <a:pt x="182630" y="108627"/>
                    <a:pt x="208611" y="88706"/>
                  </a:cubicBezTo>
                  <a:cubicBezTo>
                    <a:pt x="198602" y="185265"/>
                    <a:pt x="195543" y="342035"/>
                    <a:pt x="194793" y="392483"/>
                  </a:cubicBezTo>
                  <a:cubicBezTo>
                    <a:pt x="214062" y="402064"/>
                    <a:pt x="280866" y="431954"/>
                    <a:pt x="363889" y="431954"/>
                  </a:cubicBezTo>
                  <a:cubicBezTo>
                    <a:pt x="446898" y="431954"/>
                    <a:pt x="513691" y="402069"/>
                    <a:pt x="532961" y="392483"/>
                  </a:cubicBezTo>
                  <a:cubicBezTo>
                    <a:pt x="532211" y="342124"/>
                    <a:pt x="529162" y="185797"/>
                    <a:pt x="519201" y="89197"/>
                  </a:cubicBezTo>
                  <a:cubicBezTo>
                    <a:pt x="543894" y="109203"/>
                    <a:pt x="599232" y="185833"/>
                    <a:pt x="643186" y="478179"/>
                  </a:cubicBezTo>
                  <a:cubicBezTo>
                    <a:pt x="619055" y="493770"/>
                    <a:pt x="603031" y="520852"/>
                    <a:pt x="603027" y="551732"/>
                  </a:cubicBezTo>
                  <a:cubicBezTo>
                    <a:pt x="603027" y="564121"/>
                    <a:pt x="613076" y="574171"/>
                    <a:pt x="625466" y="574171"/>
                  </a:cubicBezTo>
                  <a:cubicBezTo>
                    <a:pt x="637869" y="574171"/>
                    <a:pt x="647922" y="564121"/>
                    <a:pt x="647922" y="551732"/>
                  </a:cubicBezTo>
                  <a:cubicBezTo>
                    <a:pt x="647943" y="540753"/>
                    <a:pt x="652123" y="530794"/>
                    <a:pt x="658936" y="523230"/>
                  </a:cubicBezTo>
                  <a:cubicBezTo>
                    <a:pt x="666338" y="530137"/>
                    <a:pt x="676155" y="534338"/>
                    <a:pt x="686755" y="534338"/>
                  </a:cubicBezTo>
                  <a:cubicBezTo>
                    <a:pt x="688683" y="534338"/>
                    <a:pt x="690643" y="534195"/>
                    <a:pt x="692617" y="533914"/>
                  </a:cubicBezTo>
                  <a:cubicBezTo>
                    <a:pt x="703126" y="532404"/>
                    <a:pt x="713208" y="527003"/>
                    <a:pt x="719466" y="519409"/>
                  </a:cubicBezTo>
                  <a:cubicBezTo>
                    <a:pt x="728556" y="527226"/>
                    <a:pt x="735471" y="538781"/>
                    <a:pt x="735471" y="551715"/>
                  </a:cubicBezTo>
                  <a:lnTo>
                    <a:pt x="735471" y="1114268"/>
                  </a:lnTo>
                  <a:cubicBezTo>
                    <a:pt x="735471" y="1126657"/>
                    <a:pt x="744400" y="1136726"/>
                    <a:pt x="756808" y="1136726"/>
                  </a:cubicBezTo>
                  <a:cubicBezTo>
                    <a:pt x="769205" y="1136726"/>
                    <a:pt x="778702" y="1126669"/>
                    <a:pt x="778702" y="1114268"/>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122" name="Group 121">
            <a:extLst>
              <a:ext uri="{FF2B5EF4-FFF2-40B4-BE49-F238E27FC236}">
                <a16:creationId xmlns:a16="http://schemas.microsoft.com/office/drawing/2014/main" id="{8997777C-A9AD-46F5-80D2-2858C884D2C2}"/>
              </a:ext>
            </a:extLst>
          </p:cNvPr>
          <p:cNvGrpSpPr/>
          <p:nvPr/>
        </p:nvGrpSpPr>
        <p:grpSpPr>
          <a:xfrm>
            <a:off x="557422" y="4634822"/>
            <a:ext cx="451061" cy="794448"/>
            <a:chOff x="3395285" y="1471176"/>
            <a:chExt cx="778701" cy="1371516"/>
          </a:xfrm>
          <a:gradFill flip="none" rotWithShape="1">
            <a:gsLst>
              <a:gs pos="0">
                <a:schemeClr val="accent3"/>
              </a:gs>
              <a:gs pos="33000">
                <a:schemeClr val="accent2"/>
              </a:gs>
              <a:gs pos="100000">
                <a:schemeClr val="accent1"/>
              </a:gs>
            </a:gsLst>
            <a:lin ang="16200000" scaled="1"/>
            <a:tileRect/>
          </a:gradFill>
        </p:grpSpPr>
        <p:sp>
          <p:nvSpPr>
            <p:cNvPr id="143" name="Freeform: Shape 142">
              <a:extLst>
                <a:ext uri="{FF2B5EF4-FFF2-40B4-BE49-F238E27FC236}">
                  <a16:creationId xmlns:a16="http://schemas.microsoft.com/office/drawing/2014/main" id="{BA95C232-D769-21AC-73A7-15466419FA17}"/>
                </a:ext>
              </a:extLst>
            </p:cNvPr>
            <p:cNvSpPr/>
            <p:nvPr/>
          </p:nvSpPr>
          <p:spPr>
            <a:xfrm>
              <a:off x="3524056" y="2116253"/>
              <a:ext cx="470212" cy="726439"/>
            </a:xfrm>
            <a:custGeom>
              <a:avLst/>
              <a:gdLst>
                <a:gd name="connsiteX0" fmla="*/ 235128 w 470212"/>
                <a:gd name="connsiteY0" fmla="*/ 37270 h 726439"/>
                <a:gd name="connsiteX1" fmla="*/ 65872 w 470212"/>
                <a:gd name="connsiteY1" fmla="*/ 5 h 726439"/>
                <a:gd name="connsiteX2" fmla="*/ 65926 w 470212"/>
                <a:gd name="connsiteY2" fmla="*/ 3361 h 726439"/>
                <a:gd name="connsiteX3" fmla="*/ 54117 w 470212"/>
                <a:gd name="connsiteY3" fmla="*/ 31658 h 726439"/>
                <a:gd name="connsiteX4" fmla="*/ 88 w 470212"/>
                <a:gd name="connsiteY4" fmla="*/ 658276 h 726439"/>
                <a:gd name="connsiteX5" fmla="*/ 61480 w 470212"/>
                <a:gd name="connsiteY5" fmla="*/ 726349 h 726439"/>
                <a:gd name="connsiteX6" fmla="*/ 64873 w 470212"/>
                <a:gd name="connsiteY6" fmla="*/ 726440 h 726439"/>
                <a:gd name="connsiteX7" fmla="*/ 129547 w 470212"/>
                <a:gd name="connsiteY7" fmla="*/ 664276 h 726439"/>
                <a:gd name="connsiteX8" fmla="*/ 168116 w 470212"/>
                <a:gd name="connsiteY8" fmla="*/ 175832 h 726439"/>
                <a:gd name="connsiteX9" fmla="*/ 302089 w 470212"/>
                <a:gd name="connsiteY9" fmla="*/ 175832 h 726439"/>
                <a:gd name="connsiteX10" fmla="*/ 340667 w 470212"/>
                <a:gd name="connsiteY10" fmla="*/ 664276 h 726439"/>
                <a:gd name="connsiteX11" fmla="*/ 405341 w 470212"/>
                <a:gd name="connsiteY11" fmla="*/ 726108 h 726439"/>
                <a:gd name="connsiteX12" fmla="*/ 408733 w 470212"/>
                <a:gd name="connsiteY12" fmla="*/ 726188 h 726439"/>
                <a:gd name="connsiteX13" fmla="*/ 470125 w 470212"/>
                <a:gd name="connsiteY13" fmla="*/ 658196 h 726439"/>
                <a:gd name="connsiteX14" fmla="*/ 416086 w 470212"/>
                <a:gd name="connsiteY14" fmla="*/ 31618 h 726439"/>
                <a:gd name="connsiteX15" fmla="*/ 404282 w 470212"/>
                <a:gd name="connsiteY15" fmla="*/ 3349 h 726439"/>
                <a:gd name="connsiteX16" fmla="*/ 404336 w 470212"/>
                <a:gd name="connsiteY16" fmla="*/ 0 h 726439"/>
                <a:gd name="connsiteX17" fmla="*/ 235126 w 470212"/>
                <a:gd name="connsiteY17" fmla="*/ 37265 h 72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0212" h="726439">
                  <a:moveTo>
                    <a:pt x="235128" y="37270"/>
                  </a:moveTo>
                  <a:cubicBezTo>
                    <a:pt x="157065" y="37270"/>
                    <a:pt x="93885" y="12920"/>
                    <a:pt x="65872" y="5"/>
                  </a:cubicBezTo>
                  <a:cubicBezTo>
                    <a:pt x="65886" y="1049"/>
                    <a:pt x="65908" y="2174"/>
                    <a:pt x="65926" y="3361"/>
                  </a:cubicBezTo>
                  <a:cubicBezTo>
                    <a:pt x="59975" y="11460"/>
                    <a:pt x="55778" y="21041"/>
                    <a:pt x="54117" y="31658"/>
                  </a:cubicBezTo>
                  <a:cubicBezTo>
                    <a:pt x="39393" y="125374"/>
                    <a:pt x="6213" y="539424"/>
                    <a:pt x="88" y="658276"/>
                  </a:cubicBezTo>
                  <a:cubicBezTo>
                    <a:pt x="-1760" y="694027"/>
                    <a:pt x="25736" y="724508"/>
                    <a:pt x="61480" y="726349"/>
                  </a:cubicBezTo>
                  <a:cubicBezTo>
                    <a:pt x="62618" y="726406"/>
                    <a:pt x="63743" y="726440"/>
                    <a:pt x="64873" y="726440"/>
                  </a:cubicBezTo>
                  <a:cubicBezTo>
                    <a:pt x="99138" y="726440"/>
                    <a:pt x="127765" y="698896"/>
                    <a:pt x="129547" y="664276"/>
                  </a:cubicBezTo>
                  <a:cubicBezTo>
                    <a:pt x="133873" y="580363"/>
                    <a:pt x="152860" y="332755"/>
                    <a:pt x="168116" y="175832"/>
                  </a:cubicBezTo>
                  <a:lnTo>
                    <a:pt x="302089" y="175832"/>
                  </a:lnTo>
                  <a:cubicBezTo>
                    <a:pt x="317345" y="332755"/>
                    <a:pt x="336341" y="580363"/>
                    <a:pt x="340667" y="664276"/>
                  </a:cubicBezTo>
                  <a:cubicBezTo>
                    <a:pt x="342452" y="698896"/>
                    <a:pt x="371075" y="726108"/>
                    <a:pt x="405341" y="726108"/>
                  </a:cubicBezTo>
                  <a:cubicBezTo>
                    <a:pt x="406461" y="726108"/>
                    <a:pt x="407599" y="726246"/>
                    <a:pt x="408733" y="726188"/>
                  </a:cubicBezTo>
                  <a:cubicBezTo>
                    <a:pt x="444480" y="724348"/>
                    <a:pt x="471973" y="693958"/>
                    <a:pt x="470125" y="658196"/>
                  </a:cubicBezTo>
                  <a:cubicBezTo>
                    <a:pt x="464000" y="539355"/>
                    <a:pt x="430811" y="125372"/>
                    <a:pt x="416086" y="31618"/>
                  </a:cubicBezTo>
                  <a:cubicBezTo>
                    <a:pt x="414422" y="21010"/>
                    <a:pt x="410233" y="11447"/>
                    <a:pt x="404282" y="3349"/>
                  </a:cubicBezTo>
                  <a:cubicBezTo>
                    <a:pt x="404305" y="2161"/>
                    <a:pt x="404323" y="1040"/>
                    <a:pt x="404336" y="0"/>
                  </a:cubicBezTo>
                  <a:cubicBezTo>
                    <a:pt x="376334" y="12907"/>
                    <a:pt x="313174" y="37265"/>
                    <a:pt x="235126" y="37265"/>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44" name="Freeform: Shape 143">
              <a:extLst>
                <a:ext uri="{FF2B5EF4-FFF2-40B4-BE49-F238E27FC236}">
                  <a16:creationId xmlns:a16="http://schemas.microsoft.com/office/drawing/2014/main" id="{BFB76620-A140-5AD9-10B4-98FFBF952D35}"/>
                </a:ext>
              </a:extLst>
            </p:cNvPr>
            <p:cNvSpPr/>
            <p:nvPr/>
          </p:nvSpPr>
          <p:spPr>
            <a:xfrm>
              <a:off x="3630376" y="1471176"/>
              <a:ext cx="257591" cy="288119"/>
            </a:xfrm>
            <a:custGeom>
              <a:avLst/>
              <a:gdLst>
                <a:gd name="connsiteX0" fmla="*/ 128796 w 257591"/>
                <a:gd name="connsiteY0" fmla="*/ 288119 h 288119"/>
                <a:gd name="connsiteX1" fmla="*/ 257592 w 257591"/>
                <a:gd name="connsiteY1" fmla="*/ 128807 h 288119"/>
                <a:gd name="connsiteX2" fmla="*/ 128796 w 257591"/>
                <a:gd name="connsiteY2" fmla="*/ 0 h 288119"/>
                <a:gd name="connsiteX3" fmla="*/ 0 w 257591"/>
                <a:gd name="connsiteY3" fmla="*/ 128807 h 288119"/>
                <a:gd name="connsiteX4" fmla="*/ 128796 w 257591"/>
                <a:gd name="connsiteY4" fmla="*/ 288119 h 288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1" h="288119">
                  <a:moveTo>
                    <a:pt x="128796" y="288119"/>
                  </a:moveTo>
                  <a:cubicBezTo>
                    <a:pt x="199924" y="288119"/>
                    <a:pt x="257592" y="199931"/>
                    <a:pt x="257592" y="128807"/>
                  </a:cubicBezTo>
                  <a:cubicBezTo>
                    <a:pt x="257592" y="57674"/>
                    <a:pt x="199928" y="0"/>
                    <a:pt x="128796" y="0"/>
                  </a:cubicBezTo>
                  <a:cubicBezTo>
                    <a:pt x="57680" y="0"/>
                    <a:pt x="0" y="57668"/>
                    <a:pt x="0" y="128807"/>
                  </a:cubicBezTo>
                  <a:cubicBezTo>
                    <a:pt x="0" y="199940"/>
                    <a:pt x="57682" y="288119"/>
                    <a:pt x="128796" y="288119"/>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45" name="Freeform: Shape 144">
              <a:extLst>
                <a:ext uri="{FF2B5EF4-FFF2-40B4-BE49-F238E27FC236}">
                  <a16:creationId xmlns:a16="http://schemas.microsoft.com/office/drawing/2014/main" id="{2ACE81D7-93AB-9DA7-2F9B-A04C3DCD4B77}"/>
                </a:ext>
              </a:extLst>
            </p:cNvPr>
            <p:cNvSpPr/>
            <p:nvPr/>
          </p:nvSpPr>
          <p:spPr>
            <a:xfrm>
              <a:off x="3395285" y="1701098"/>
              <a:ext cx="778701" cy="1136726"/>
            </a:xfrm>
            <a:custGeom>
              <a:avLst/>
              <a:gdLst>
                <a:gd name="connsiteX0" fmla="*/ 778138 w 778701"/>
                <a:gd name="connsiteY0" fmla="*/ 551733 h 1136726"/>
                <a:gd name="connsiteX1" fmla="*/ 724912 w 778701"/>
                <a:gd name="connsiteY1" fmla="*/ 471166 h 1136726"/>
                <a:gd name="connsiteX2" fmla="*/ 526273 w 778701"/>
                <a:gd name="connsiteY2" fmla="*/ 2706 h 1136726"/>
                <a:gd name="connsiteX3" fmla="*/ 473373 w 778701"/>
                <a:gd name="connsiteY3" fmla="*/ 4862 h 1136726"/>
                <a:gd name="connsiteX4" fmla="*/ 363875 w 778701"/>
                <a:gd name="connsiteY4" fmla="*/ 73210 h 1136726"/>
                <a:gd name="connsiteX5" fmla="*/ 254373 w 778701"/>
                <a:gd name="connsiteY5" fmla="*/ 4858 h 1136726"/>
                <a:gd name="connsiteX6" fmla="*/ 201482 w 778701"/>
                <a:gd name="connsiteY6" fmla="*/ 2710 h 1136726"/>
                <a:gd name="connsiteX7" fmla="*/ 419 w 778701"/>
                <a:gd name="connsiteY7" fmla="*/ 487595 h 1136726"/>
                <a:gd name="connsiteX8" fmla="*/ 35135 w 778701"/>
                <a:gd name="connsiteY8" fmla="*/ 533928 h 1136726"/>
                <a:gd name="connsiteX9" fmla="*/ 40997 w 778701"/>
                <a:gd name="connsiteY9" fmla="*/ 534352 h 1136726"/>
                <a:gd name="connsiteX10" fmla="*/ 81473 w 778701"/>
                <a:gd name="connsiteY10" fmla="*/ 499221 h 1136726"/>
                <a:gd name="connsiteX11" fmla="*/ 208611 w 778701"/>
                <a:gd name="connsiteY11" fmla="*/ 88706 h 1136726"/>
                <a:gd name="connsiteX12" fmla="*/ 194793 w 778701"/>
                <a:gd name="connsiteY12" fmla="*/ 392483 h 1136726"/>
                <a:gd name="connsiteX13" fmla="*/ 363889 w 778701"/>
                <a:gd name="connsiteY13" fmla="*/ 431954 h 1136726"/>
                <a:gd name="connsiteX14" fmla="*/ 532961 w 778701"/>
                <a:gd name="connsiteY14" fmla="*/ 392483 h 1136726"/>
                <a:gd name="connsiteX15" fmla="*/ 519201 w 778701"/>
                <a:gd name="connsiteY15" fmla="*/ 89197 h 1136726"/>
                <a:gd name="connsiteX16" fmla="*/ 643186 w 778701"/>
                <a:gd name="connsiteY16" fmla="*/ 478179 h 1136726"/>
                <a:gd name="connsiteX17" fmla="*/ 603027 w 778701"/>
                <a:gd name="connsiteY17" fmla="*/ 551732 h 1136726"/>
                <a:gd name="connsiteX18" fmla="*/ 625466 w 778701"/>
                <a:gd name="connsiteY18" fmla="*/ 574171 h 1136726"/>
                <a:gd name="connsiteX19" fmla="*/ 647922 w 778701"/>
                <a:gd name="connsiteY19" fmla="*/ 551732 h 1136726"/>
                <a:gd name="connsiteX20" fmla="*/ 658936 w 778701"/>
                <a:gd name="connsiteY20" fmla="*/ 523230 h 1136726"/>
                <a:gd name="connsiteX21" fmla="*/ 686755 w 778701"/>
                <a:gd name="connsiteY21" fmla="*/ 534338 h 1136726"/>
                <a:gd name="connsiteX22" fmla="*/ 692617 w 778701"/>
                <a:gd name="connsiteY22" fmla="*/ 533914 h 1136726"/>
                <a:gd name="connsiteX23" fmla="*/ 719466 w 778701"/>
                <a:gd name="connsiteY23" fmla="*/ 519409 h 1136726"/>
                <a:gd name="connsiteX24" fmla="*/ 735471 w 778701"/>
                <a:gd name="connsiteY24" fmla="*/ 551715 h 1136726"/>
                <a:gd name="connsiteX25" fmla="*/ 735471 w 778701"/>
                <a:gd name="connsiteY25" fmla="*/ 1114268 h 1136726"/>
                <a:gd name="connsiteX26" fmla="*/ 756808 w 778701"/>
                <a:gd name="connsiteY26" fmla="*/ 1136726 h 1136726"/>
                <a:gd name="connsiteX27" fmla="*/ 778702 w 778701"/>
                <a:gd name="connsiteY27" fmla="*/ 1114268 h 113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8701" h="1136726">
                  <a:moveTo>
                    <a:pt x="778138" y="551733"/>
                  </a:moveTo>
                  <a:cubicBezTo>
                    <a:pt x="778129" y="515544"/>
                    <a:pt x="756204" y="484519"/>
                    <a:pt x="724912" y="471166"/>
                  </a:cubicBezTo>
                  <a:cubicBezTo>
                    <a:pt x="680793" y="173824"/>
                    <a:pt x="617558" y="24753"/>
                    <a:pt x="526273" y="2706"/>
                  </a:cubicBezTo>
                  <a:cubicBezTo>
                    <a:pt x="507147" y="-1915"/>
                    <a:pt x="489320" y="-236"/>
                    <a:pt x="473373" y="4862"/>
                  </a:cubicBezTo>
                  <a:cubicBezTo>
                    <a:pt x="447036" y="44155"/>
                    <a:pt x="407833" y="73210"/>
                    <a:pt x="363875" y="73210"/>
                  </a:cubicBezTo>
                  <a:cubicBezTo>
                    <a:pt x="319922" y="73210"/>
                    <a:pt x="280718" y="44150"/>
                    <a:pt x="254373" y="4858"/>
                  </a:cubicBezTo>
                  <a:cubicBezTo>
                    <a:pt x="238435" y="-232"/>
                    <a:pt x="220612" y="-1911"/>
                    <a:pt x="201482" y="2710"/>
                  </a:cubicBezTo>
                  <a:cubicBezTo>
                    <a:pt x="108516" y="25158"/>
                    <a:pt x="44639" y="179235"/>
                    <a:pt x="419" y="487595"/>
                  </a:cubicBezTo>
                  <a:cubicBezTo>
                    <a:pt x="-2787" y="509976"/>
                    <a:pt x="12754" y="530717"/>
                    <a:pt x="35135" y="533928"/>
                  </a:cubicBezTo>
                  <a:cubicBezTo>
                    <a:pt x="37109" y="534209"/>
                    <a:pt x="39060" y="534352"/>
                    <a:pt x="40997" y="534352"/>
                  </a:cubicBezTo>
                  <a:cubicBezTo>
                    <a:pt x="61029" y="534352"/>
                    <a:pt x="78544" y="519627"/>
                    <a:pt x="81473" y="499221"/>
                  </a:cubicBezTo>
                  <a:cubicBezTo>
                    <a:pt x="126171" y="187477"/>
                    <a:pt x="182630" y="108627"/>
                    <a:pt x="208611" y="88706"/>
                  </a:cubicBezTo>
                  <a:cubicBezTo>
                    <a:pt x="198602" y="185265"/>
                    <a:pt x="195543" y="342035"/>
                    <a:pt x="194793" y="392483"/>
                  </a:cubicBezTo>
                  <a:cubicBezTo>
                    <a:pt x="214062" y="402064"/>
                    <a:pt x="280866" y="431954"/>
                    <a:pt x="363889" y="431954"/>
                  </a:cubicBezTo>
                  <a:cubicBezTo>
                    <a:pt x="446898" y="431954"/>
                    <a:pt x="513691" y="402069"/>
                    <a:pt x="532961" y="392483"/>
                  </a:cubicBezTo>
                  <a:cubicBezTo>
                    <a:pt x="532211" y="342124"/>
                    <a:pt x="529162" y="185797"/>
                    <a:pt x="519201" y="89197"/>
                  </a:cubicBezTo>
                  <a:cubicBezTo>
                    <a:pt x="543894" y="109203"/>
                    <a:pt x="599232" y="185833"/>
                    <a:pt x="643186" y="478179"/>
                  </a:cubicBezTo>
                  <a:cubicBezTo>
                    <a:pt x="619055" y="493770"/>
                    <a:pt x="603031" y="520852"/>
                    <a:pt x="603027" y="551732"/>
                  </a:cubicBezTo>
                  <a:cubicBezTo>
                    <a:pt x="603027" y="564121"/>
                    <a:pt x="613076" y="574171"/>
                    <a:pt x="625466" y="574171"/>
                  </a:cubicBezTo>
                  <a:cubicBezTo>
                    <a:pt x="637869" y="574171"/>
                    <a:pt x="647922" y="564121"/>
                    <a:pt x="647922" y="551732"/>
                  </a:cubicBezTo>
                  <a:cubicBezTo>
                    <a:pt x="647943" y="540753"/>
                    <a:pt x="652123" y="530794"/>
                    <a:pt x="658936" y="523230"/>
                  </a:cubicBezTo>
                  <a:cubicBezTo>
                    <a:pt x="666338" y="530137"/>
                    <a:pt x="676155" y="534338"/>
                    <a:pt x="686755" y="534338"/>
                  </a:cubicBezTo>
                  <a:cubicBezTo>
                    <a:pt x="688683" y="534338"/>
                    <a:pt x="690643" y="534195"/>
                    <a:pt x="692617" y="533914"/>
                  </a:cubicBezTo>
                  <a:cubicBezTo>
                    <a:pt x="703126" y="532404"/>
                    <a:pt x="713208" y="527003"/>
                    <a:pt x="719466" y="519409"/>
                  </a:cubicBezTo>
                  <a:cubicBezTo>
                    <a:pt x="728556" y="527226"/>
                    <a:pt x="735471" y="538781"/>
                    <a:pt x="735471" y="551715"/>
                  </a:cubicBezTo>
                  <a:lnTo>
                    <a:pt x="735471" y="1114268"/>
                  </a:lnTo>
                  <a:cubicBezTo>
                    <a:pt x="735471" y="1126657"/>
                    <a:pt x="744400" y="1136726"/>
                    <a:pt x="756808" y="1136726"/>
                  </a:cubicBezTo>
                  <a:cubicBezTo>
                    <a:pt x="769205" y="1136726"/>
                    <a:pt x="778702" y="1126669"/>
                    <a:pt x="778702" y="1114268"/>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123" name="Group 122">
            <a:extLst>
              <a:ext uri="{FF2B5EF4-FFF2-40B4-BE49-F238E27FC236}">
                <a16:creationId xmlns:a16="http://schemas.microsoft.com/office/drawing/2014/main" id="{07EAB0CA-A350-164E-9139-55B33C0EF692}"/>
              </a:ext>
            </a:extLst>
          </p:cNvPr>
          <p:cNvGrpSpPr/>
          <p:nvPr/>
        </p:nvGrpSpPr>
        <p:grpSpPr>
          <a:xfrm>
            <a:off x="1380708" y="4634822"/>
            <a:ext cx="451061" cy="794448"/>
            <a:chOff x="3395285" y="1471176"/>
            <a:chExt cx="778701" cy="1371516"/>
          </a:xfrm>
          <a:gradFill flip="none" rotWithShape="1">
            <a:gsLst>
              <a:gs pos="0">
                <a:schemeClr val="accent3"/>
              </a:gs>
              <a:gs pos="33000">
                <a:schemeClr val="accent2"/>
              </a:gs>
              <a:gs pos="100000">
                <a:schemeClr val="accent1"/>
              </a:gs>
            </a:gsLst>
            <a:lin ang="16200000" scaled="1"/>
            <a:tileRect/>
          </a:gradFill>
        </p:grpSpPr>
        <p:sp>
          <p:nvSpPr>
            <p:cNvPr id="140" name="Freeform: Shape 139">
              <a:extLst>
                <a:ext uri="{FF2B5EF4-FFF2-40B4-BE49-F238E27FC236}">
                  <a16:creationId xmlns:a16="http://schemas.microsoft.com/office/drawing/2014/main" id="{B24A171E-4DD7-9296-CEC4-3E37D3C82EF3}"/>
                </a:ext>
              </a:extLst>
            </p:cNvPr>
            <p:cNvSpPr/>
            <p:nvPr/>
          </p:nvSpPr>
          <p:spPr>
            <a:xfrm>
              <a:off x="3524056" y="2116253"/>
              <a:ext cx="470212" cy="726439"/>
            </a:xfrm>
            <a:custGeom>
              <a:avLst/>
              <a:gdLst>
                <a:gd name="connsiteX0" fmla="*/ 235128 w 470212"/>
                <a:gd name="connsiteY0" fmla="*/ 37270 h 726439"/>
                <a:gd name="connsiteX1" fmla="*/ 65872 w 470212"/>
                <a:gd name="connsiteY1" fmla="*/ 5 h 726439"/>
                <a:gd name="connsiteX2" fmla="*/ 65926 w 470212"/>
                <a:gd name="connsiteY2" fmla="*/ 3361 h 726439"/>
                <a:gd name="connsiteX3" fmla="*/ 54117 w 470212"/>
                <a:gd name="connsiteY3" fmla="*/ 31658 h 726439"/>
                <a:gd name="connsiteX4" fmla="*/ 88 w 470212"/>
                <a:gd name="connsiteY4" fmla="*/ 658276 h 726439"/>
                <a:gd name="connsiteX5" fmla="*/ 61480 w 470212"/>
                <a:gd name="connsiteY5" fmla="*/ 726349 h 726439"/>
                <a:gd name="connsiteX6" fmla="*/ 64873 w 470212"/>
                <a:gd name="connsiteY6" fmla="*/ 726440 h 726439"/>
                <a:gd name="connsiteX7" fmla="*/ 129547 w 470212"/>
                <a:gd name="connsiteY7" fmla="*/ 664276 h 726439"/>
                <a:gd name="connsiteX8" fmla="*/ 168116 w 470212"/>
                <a:gd name="connsiteY8" fmla="*/ 175832 h 726439"/>
                <a:gd name="connsiteX9" fmla="*/ 302089 w 470212"/>
                <a:gd name="connsiteY9" fmla="*/ 175832 h 726439"/>
                <a:gd name="connsiteX10" fmla="*/ 340667 w 470212"/>
                <a:gd name="connsiteY10" fmla="*/ 664276 h 726439"/>
                <a:gd name="connsiteX11" fmla="*/ 405341 w 470212"/>
                <a:gd name="connsiteY11" fmla="*/ 726108 h 726439"/>
                <a:gd name="connsiteX12" fmla="*/ 408733 w 470212"/>
                <a:gd name="connsiteY12" fmla="*/ 726188 h 726439"/>
                <a:gd name="connsiteX13" fmla="*/ 470125 w 470212"/>
                <a:gd name="connsiteY13" fmla="*/ 658196 h 726439"/>
                <a:gd name="connsiteX14" fmla="*/ 416086 w 470212"/>
                <a:gd name="connsiteY14" fmla="*/ 31618 h 726439"/>
                <a:gd name="connsiteX15" fmla="*/ 404282 w 470212"/>
                <a:gd name="connsiteY15" fmla="*/ 3349 h 726439"/>
                <a:gd name="connsiteX16" fmla="*/ 404336 w 470212"/>
                <a:gd name="connsiteY16" fmla="*/ 0 h 726439"/>
                <a:gd name="connsiteX17" fmla="*/ 235126 w 470212"/>
                <a:gd name="connsiteY17" fmla="*/ 37265 h 72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0212" h="726439">
                  <a:moveTo>
                    <a:pt x="235128" y="37270"/>
                  </a:moveTo>
                  <a:cubicBezTo>
                    <a:pt x="157065" y="37270"/>
                    <a:pt x="93885" y="12920"/>
                    <a:pt x="65872" y="5"/>
                  </a:cubicBezTo>
                  <a:cubicBezTo>
                    <a:pt x="65886" y="1049"/>
                    <a:pt x="65908" y="2174"/>
                    <a:pt x="65926" y="3361"/>
                  </a:cubicBezTo>
                  <a:cubicBezTo>
                    <a:pt x="59975" y="11460"/>
                    <a:pt x="55778" y="21041"/>
                    <a:pt x="54117" y="31658"/>
                  </a:cubicBezTo>
                  <a:cubicBezTo>
                    <a:pt x="39393" y="125374"/>
                    <a:pt x="6213" y="539424"/>
                    <a:pt x="88" y="658276"/>
                  </a:cubicBezTo>
                  <a:cubicBezTo>
                    <a:pt x="-1760" y="694027"/>
                    <a:pt x="25736" y="724508"/>
                    <a:pt x="61480" y="726349"/>
                  </a:cubicBezTo>
                  <a:cubicBezTo>
                    <a:pt x="62618" y="726406"/>
                    <a:pt x="63743" y="726440"/>
                    <a:pt x="64873" y="726440"/>
                  </a:cubicBezTo>
                  <a:cubicBezTo>
                    <a:pt x="99138" y="726440"/>
                    <a:pt x="127765" y="698896"/>
                    <a:pt x="129547" y="664276"/>
                  </a:cubicBezTo>
                  <a:cubicBezTo>
                    <a:pt x="133873" y="580363"/>
                    <a:pt x="152860" y="332755"/>
                    <a:pt x="168116" y="175832"/>
                  </a:cubicBezTo>
                  <a:lnTo>
                    <a:pt x="302089" y="175832"/>
                  </a:lnTo>
                  <a:cubicBezTo>
                    <a:pt x="317345" y="332755"/>
                    <a:pt x="336341" y="580363"/>
                    <a:pt x="340667" y="664276"/>
                  </a:cubicBezTo>
                  <a:cubicBezTo>
                    <a:pt x="342452" y="698896"/>
                    <a:pt x="371075" y="726108"/>
                    <a:pt x="405341" y="726108"/>
                  </a:cubicBezTo>
                  <a:cubicBezTo>
                    <a:pt x="406461" y="726108"/>
                    <a:pt x="407599" y="726246"/>
                    <a:pt x="408733" y="726188"/>
                  </a:cubicBezTo>
                  <a:cubicBezTo>
                    <a:pt x="444480" y="724348"/>
                    <a:pt x="471973" y="693958"/>
                    <a:pt x="470125" y="658196"/>
                  </a:cubicBezTo>
                  <a:cubicBezTo>
                    <a:pt x="464000" y="539355"/>
                    <a:pt x="430811" y="125372"/>
                    <a:pt x="416086" y="31618"/>
                  </a:cubicBezTo>
                  <a:cubicBezTo>
                    <a:pt x="414422" y="21010"/>
                    <a:pt x="410233" y="11447"/>
                    <a:pt x="404282" y="3349"/>
                  </a:cubicBezTo>
                  <a:cubicBezTo>
                    <a:pt x="404305" y="2161"/>
                    <a:pt x="404323" y="1040"/>
                    <a:pt x="404336" y="0"/>
                  </a:cubicBezTo>
                  <a:cubicBezTo>
                    <a:pt x="376334" y="12907"/>
                    <a:pt x="313174" y="37265"/>
                    <a:pt x="235126" y="37265"/>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41" name="Freeform: Shape 140">
              <a:extLst>
                <a:ext uri="{FF2B5EF4-FFF2-40B4-BE49-F238E27FC236}">
                  <a16:creationId xmlns:a16="http://schemas.microsoft.com/office/drawing/2014/main" id="{DEE9AA98-67F0-4148-FB08-DA87B4C5554B}"/>
                </a:ext>
              </a:extLst>
            </p:cNvPr>
            <p:cNvSpPr/>
            <p:nvPr/>
          </p:nvSpPr>
          <p:spPr>
            <a:xfrm>
              <a:off x="3630376" y="1471176"/>
              <a:ext cx="257591" cy="288119"/>
            </a:xfrm>
            <a:custGeom>
              <a:avLst/>
              <a:gdLst>
                <a:gd name="connsiteX0" fmla="*/ 128796 w 257591"/>
                <a:gd name="connsiteY0" fmla="*/ 288119 h 288119"/>
                <a:gd name="connsiteX1" fmla="*/ 257592 w 257591"/>
                <a:gd name="connsiteY1" fmla="*/ 128807 h 288119"/>
                <a:gd name="connsiteX2" fmla="*/ 128796 w 257591"/>
                <a:gd name="connsiteY2" fmla="*/ 0 h 288119"/>
                <a:gd name="connsiteX3" fmla="*/ 0 w 257591"/>
                <a:gd name="connsiteY3" fmla="*/ 128807 h 288119"/>
                <a:gd name="connsiteX4" fmla="*/ 128796 w 257591"/>
                <a:gd name="connsiteY4" fmla="*/ 288119 h 288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1" h="288119">
                  <a:moveTo>
                    <a:pt x="128796" y="288119"/>
                  </a:moveTo>
                  <a:cubicBezTo>
                    <a:pt x="199924" y="288119"/>
                    <a:pt x="257592" y="199931"/>
                    <a:pt x="257592" y="128807"/>
                  </a:cubicBezTo>
                  <a:cubicBezTo>
                    <a:pt x="257592" y="57674"/>
                    <a:pt x="199928" y="0"/>
                    <a:pt x="128796" y="0"/>
                  </a:cubicBezTo>
                  <a:cubicBezTo>
                    <a:pt x="57680" y="0"/>
                    <a:pt x="0" y="57668"/>
                    <a:pt x="0" y="128807"/>
                  </a:cubicBezTo>
                  <a:cubicBezTo>
                    <a:pt x="0" y="199940"/>
                    <a:pt x="57682" y="288119"/>
                    <a:pt x="128796" y="288119"/>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42" name="Freeform: Shape 141">
              <a:extLst>
                <a:ext uri="{FF2B5EF4-FFF2-40B4-BE49-F238E27FC236}">
                  <a16:creationId xmlns:a16="http://schemas.microsoft.com/office/drawing/2014/main" id="{3EBEB132-A638-05C7-93DE-D64E26A3B8EC}"/>
                </a:ext>
              </a:extLst>
            </p:cNvPr>
            <p:cNvSpPr/>
            <p:nvPr/>
          </p:nvSpPr>
          <p:spPr>
            <a:xfrm>
              <a:off x="3395285" y="1701098"/>
              <a:ext cx="778701" cy="1136726"/>
            </a:xfrm>
            <a:custGeom>
              <a:avLst/>
              <a:gdLst>
                <a:gd name="connsiteX0" fmla="*/ 778138 w 778701"/>
                <a:gd name="connsiteY0" fmla="*/ 551733 h 1136726"/>
                <a:gd name="connsiteX1" fmla="*/ 724912 w 778701"/>
                <a:gd name="connsiteY1" fmla="*/ 471166 h 1136726"/>
                <a:gd name="connsiteX2" fmla="*/ 526273 w 778701"/>
                <a:gd name="connsiteY2" fmla="*/ 2706 h 1136726"/>
                <a:gd name="connsiteX3" fmla="*/ 473373 w 778701"/>
                <a:gd name="connsiteY3" fmla="*/ 4862 h 1136726"/>
                <a:gd name="connsiteX4" fmla="*/ 363875 w 778701"/>
                <a:gd name="connsiteY4" fmla="*/ 73210 h 1136726"/>
                <a:gd name="connsiteX5" fmla="*/ 254373 w 778701"/>
                <a:gd name="connsiteY5" fmla="*/ 4858 h 1136726"/>
                <a:gd name="connsiteX6" fmla="*/ 201482 w 778701"/>
                <a:gd name="connsiteY6" fmla="*/ 2710 h 1136726"/>
                <a:gd name="connsiteX7" fmla="*/ 419 w 778701"/>
                <a:gd name="connsiteY7" fmla="*/ 487595 h 1136726"/>
                <a:gd name="connsiteX8" fmla="*/ 35135 w 778701"/>
                <a:gd name="connsiteY8" fmla="*/ 533928 h 1136726"/>
                <a:gd name="connsiteX9" fmla="*/ 40997 w 778701"/>
                <a:gd name="connsiteY9" fmla="*/ 534352 h 1136726"/>
                <a:gd name="connsiteX10" fmla="*/ 81473 w 778701"/>
                <a:gd name="connsiteY10" fmla="*/ 499221 h 1136726"/>
                <a:gd name="connsiteX11" fmla="*/ 208611 w 778701"/>
                <a:gd name="connsiteY11" fmla="*/ 88706 h 1136726"/>
                <a:gd name="connsiteX12" fmla="*/ 194793 w 778701"/>
                <a:gd name="connsiteY12" fmla="*/ 392483 h 1136726"/>
                <a:gd name="connsiteX13" fmla="*/ 363889 w 778701"/>
                <a:gd name="connsiteY13" fmla="*/ 431954 h 1136726"/>
                <a:gd name="connsiteX14" fmla="*/ 532961 w 778701"/>
                <a:gd name="connsiteY14" fmla="*/ 392483 h 1136726"/>
                <a:gd name="connsiteX15" fmla="*/ 519201 w 778701"/>
                <a:gd name="connsiteY15" fmla="*/ 89197 h 1136726"/>
                <a:gd name="connsiteX16" fmla="*/ 643186 w 778701"/>
                <a:gd name="connsiteY16" fmla="*/ 478179 h 1136726"/>
                <a:gd name="connsiteX17" fmla="*/ 603027 w 778701"/>
                <a:gd name="connsiteY17" fmla="*/ 551732 h 1136726"/>
                <a:gd name="connsiteX18" fmla="*/ 625466 w 778701"/>
                <a:gd name="connsiteY18" fmla="*/ 574171 h 1136726"/>
                <a:gd name="connsiteX19" fmla="*/ 647922 w 778701"/>
                <a:gd name="connsiteY19" fmla="*/ 551732 h 1136726"/>
                <a:gd name="connsiteX20" fmla="*/ 658936 w 778701"/>
                <a:gd name="connsiteY20" fmla="*/ 523230 h 1136726"/>
                <a:gd name="connsiteX21" fmla="*/ 686755 w 778701"/>
                <a:gd name="connsiteY21" fmla="*/ 534338 h 1136726"/>
                <a:gd name="connsiteX22" fmla="*/ 692617 w 778701"/>
                <a:gd name="connsiteY22" fmla="*/ 533914 h 1136726"/>
                <a:gd name="connsiteX23" fmla="*/ 719466 w 778701"/>
                <a:gd name="connsiteY23" fmla="*/ 519409 h 1136726"/>
                <a:gd name="connsiteX24" fmla="*/ 735471 w 778701"/>
                <a:gd name="connsiteY24" fmla="*/ 551715 h 1136726"/>
                <a:gd name="connsiteX25" fmla="*/ 735471 w 778701"/>
                <a:gd name="connsiteY25" fmla="*/ 1114268 h 1136726"/>
                <a:gd name="connsiteX26" fmla="*/ 756808 w 778701"/>
                <a:gd name="connsiteY26" fmla="*/ 1136726 h 1136726"/>
                <a:gd name="connsiteX27" fmla="*/ 778702 w 778701"/>
                <a:gd name="connsiteY27" fmla="*/ 1114268 h 113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8701" h="1136726">
                  <a:moveTo>
                    <a:pt x="778138" y="551733"/>
                  </a:moveTo>
                  <a:cubicBezTo>
                    <a:pt x="778129" y="515544"/>
                    <a:pt x="756204" y="484519"/>
                    <a:pt x="724912" y="471166"/>
                  </a:cubicBezTo>
                  <a:cubicBezTo>
                    <a:pt x="680793" y="173824"/>
                    <a:pt x="617558" y="24753"/>
                    <a:pt x="526273" y="2706"/>
                  </a:cubicBezTo>
                  <a:cubicBezTo>
                    <a:pt x="507147" y="-1915"/>
                    <a:pt x="489320" y="-236"/>
                    <a:pt x="473373" y="4862"/>
                  </a:cubicBezTo>
                  <a:cubicBezTo>
                    <a:pt x="447036" y="44155"/>
                    <a:pt x="407833" y="73210"/>
                    <a:pt x="363875" y="73210"/>
                  </a:cubicBezTo>
                  <a:cubicBezTo>
                    <a:pt x="319922" y="73210"/>
                    <a:pt x="280718" y="44150"/>
                    <a:pt x="254373" y="4858"/>
                  </a:cubicBezTo>
                  <a:cubicBezTo>
                    <a:pt x="238435" y="-232"/>
                    <a:pt x="220612" y="-1911"/>
                    <a:pt x="201482" y="2710"/>
                  </a:cubicBezTo>
                  <a:cubicBezTo>
                    <a:pt x="108516" y="25158"/>
                    <a:pt x="44639" y="179235"/>
                    <a:pt x="419" y="487595"/>
                  </a:cubicBezTo>
                  <a:cubicBezTo>
                    <a:pt x="-2787" y="509976"/>
                    <a:pt x="12754" y="530717"/>
                    <a:pt x="35135" y="533928"/>
                  </a:cubicBezTo>
                  <a:cubicBezTo>
                    <a:pt x="37109" y="534209"/>
                    <a:pt x="39060" y="534352"/>
                    <a:pt x="40997" y="534352"/>
                  </a:cubicBezTo>
                  <a:cubicBezTo>
                    <a:pt x="61029" y="534352"/>
                    <a:pt x="78544" y="519627"/>
                    <a:pt x="81473" y="499221"/>
                  </a:cubicBezTo>
                  <a:cubicBezTo>
                    <a:pt x="126171" y="187477"/>
                    <a:pt x="182630" y="108627"/>
                    <a:pt x="208611" y="88706"/>
                  </a:cubicBezTo>
                  <a:cubicBezTo>
                    <a:pt x="198602" y="185265"/>
                    <a:pt x="195543" y="342035"/>
                    <a:pt x="194793" y="392483"/>
                  </a:cubicBezTo>
                  <a:cubicBezTo>
                    <a:pt x="214062" y="402064"/>
                    <a:pt x="280866" y="431954"/>
                    <a:pt x="363889" y="431954"/>
                  </a:cubicBezTo>
                  <a:cubicBezTo>
                    <a:pt x="446898" y="431954"/>
                    <a:pt x="513691" y="402069"/>
                    <a:pt x="532961" y="392483"/>
                  </a:cubicBezTo>
                  <a:cubicBezTo>
                    <a:pt x="532211" y="342124"/>
                    <a:pt x="529162" y="185797"/>
                    <a:pt x="519201" y="89197"/>
                  </a:cubicBezTo>
                  <a:cubicBezTo>
                    <a:pt x="543894" y="109203"/>
                    <a:pt x="599232" y="185833"/>
                    <a:pt x="643186" y="478179"/>
                  </a:cubicBezTo>
                  <a:cubicBezTo>
                    <a:pt x="619055" y="493770"/>
                    <a:pt x="603031" y="520852"/>
                    <a:pt x="603027" y="551732"/>
                  </a:cubicBezTo>
                  <a:cubicBezTo>
                    <a:pt x="603027" y="564121"/>
                    <a:pt x="613076" y="574171"/>
                    <a:pt x="625466" y="574171"/>
                  </a:cubicBezTo>
                  <a:cubicBezTo>
                    <a:pt x="637869" y="574171"/>
                    <a:pt x="647922" y="564121"/>
                    <a:pt x="647922" y="551732"/>
                  </a:cubicBezTo>
                  <a:cubicBezTo>
                    <a:pt x="647943" y="540753"/>
                    <a:pt x="652123" y="530794"/>
                    <a:pt x="658936" y="523230"/>
                  </a:cubicBezTo>
                  <a:cubicBezTo>
                    <a:pt x="666338" y="530137"/>
                    <a:pt x="676155" y="534338"/>
                    <a:pt x="686755" y="534338"/>
                  </a:cubicBezTo>
                  <a:cubicBezTo>
                    <a:pt x="688683" y="534338"/>
                    <a:pt x="690643" y="534195"/>
                    <a:pt x="692617" y="533914"/>
                  </a:cubicBezTo>
                  <a:cubicBezTo>
                    <a:pt x="703126" y="532404"/>
                    <a:pt x="713208" y="527003"/>
                    <a:pt x="719466" y="519409"/>
                  </a:cubicBezTo>
                  <a:cubicBezTo>
                    <a:pt x="728556" y="527226"/>
                    <a:pt x="735471" y="538781"/>
                    <a:pt x="735471" y="551715"/>
                  </a:cubicBezTo>
                  <a:lnTo>
                    <a:pt x="735471" y="1114268"/>
                  </a:lnTo>
                  <a:cubicBezTo>
                    <a:pt x="735471" y="1126657"/>
                    <a:pt x="744400" y="1136726"/>
                    <a:pt x="756808" y="1136726"/>
                  </a:cubicBezTo>
                  <a:cubicBezTo>
                    <a:pt x="769205" y="1136726"/>
                    <a:pt x="778702" y="1126669"/>
                    <a:pt x="778702" y="1114268"/>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125" name="Group 124">
            <a:extLst>
              <a:ext uri="{FF2B5EF4-FFF2-40B4-BE49-F238E27FC236}">
                <a16:creationId xmlns:a16="http://schemas.microsoft.com/office/drawing/2014/main" id="{7C34093F-FA54-42B4-592C-5C1AF39DCC35}"/>
              </a:ext>
            </a:extLst>
          </p:cNvPr>
          <p:cNvGrpSpPr/>
          <p:nvPr/>
        </p:nvGrpSpPr>
        <p:grpSpPr>
          <a:xfrm>
            <a:off x="2983514" y="4597291"/>
            <a:ext cx="351026" cy="831979"/>
            <a:chOff x="2671426" y="1333502"/>
            <a:chExt cx="636749" cy="1509182"/>
          </a:xfrm>
          <a:solidFill>
            <a:schemeClr val="bg2"/>
          </a:solidFill>
        </p:grpSpPr>
        <p:sp>
          <p:nvSpPr>
            <p:cNvPr id="134" name="Freeform: Shape 133">
              <a:extLst>
                <a:ext uri="{FF2B5EF4-FFF2-40B4-BE49-F238E27FC236}">
                  <a16:creationId xmlns:a16="http://schemas.microsoft.com/office/drawing/2014/main" id="{EE2F7E78-39DC-1DA4-7FD6-7766486352D1}"/>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35" name="Freeform: Shape 134">
              <a:extLst>
                <a:ext uri="{FF2B5EF4-FFF2-40B4-BE49-F238E27FC236}">
                  <a16:creationId xmlns:a16="http://schemas.microsoft.com/office/drawing/2014/main" id="{7F9C3E7D-679C-F095-F203-90923EF51470}"/>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36" name="Freeform: Shape 135">
              <a:extLst>
                <a:ext uri="{FF2B5EF4-FFF2-40B4-BE49-F238E27FC236}">
                  <a16:creationId xmlns:a16="http://schemas.microsoft.com/office/drawing/2014/main" id="{99D1D758-E184-4E15-2DBF-CAA63E69AFFB}"/>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126" name="Group 125">
            <a:extLst>
              <a:ext uri="{FF2B5EF4-FFF2-40B4-BE49-F238E27FC236}">
                <a16:creationId xmlns:a16="http://schemas.microsoft.com/office/drawing/2014/main" id="{602FC9FE-A721-74EB-DE6F-BD8D3F60904F}"/>
              </a:ext>
            </a:extLst>
          </p:cNvPr>
          <p:cNvGrpSpPr/>
          <p:nvPr/>
        </p:nvGrpSpPr>
        <p:grpSpPr>
          <a:xfrm>
            <a:off x="3775540" y="4597291"/>
            <a:ext cx="351026" cy="831979"/>
            <a:chOff x="2671426" y="1333502"/>
            <a:chExt cx="636749" cy="1509182"/>
          </a:xfrm>
          <a:solidFill>
            <a:schemeClr val="bg2"/>
          </a:solidFill>
        </p:grpSpPr>
        <p:sp>
          <p:nvSpPr>
            <p:cNvPr id="131" name="Freeform: Shape 130">
              <a:extLst>
                <a:ext uri="{FF2B5EF4-FFF2-40B4-BE49-F238E27FC236}">
                  <a16:creationId xmlns:a16="http://schemas.microsoft.com/office/drawing/2014/main" id="{AFDA804D-B2AD-7EF4-3CC8-71D0F614E89C}"/>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32" name="Freeform: Shape 131">
              <a:extLst>
                <a:ext uri="{FF2B5EF4-FFF2-40B4-BE49-F238E27FC236}">
                  <a16:creationId xmlns:a16="http://schemas.microsoft.com/office/drawing/2014/main" id="{1BC440BA-CD11-042C-E020-A3B2ADA44CE4}"/>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33" name="Freeform: Shape 132">
              <a:extLst>
                <a:ext uri="{FF2B5EF4-FFF2-40B4-BE49-F238E27FC236}">
                  <a16:creationId xmlns:a16="http://schemas.microsoft.com/office/drawing/2014/main" id="{EA69FF60-0AED-E66E-093E-2D75704FD8C8}"/>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146" name="Group 145">
            <a:extLst>
              <a:ext uri="{FF2B5EF4-FFF2-40B4-BE49-F238E27FC236}">
                <a16:creationId xmlns:a16="http://schemas.microsoft.com/office/drawing/2014/main" id="{E747A9C2-17B0-14F3-E72B-F5A5AFB82C0A}"/>
              </a:ext>
            </a:extLst>
          </p:cNvPr>
          <p:cNvGrpSpPr/>
          <p:nvPr/>
        </p:nvGrpSpPr>
        <p:grpSpPr>
          <a:xfrm>
            <a:off x="2933497" y="3355219"/>
            <a:ext cx="451061" cy="794448"/>
            <a:chOff x="3395285" y="1471176"/>
            <a:chExt cx="778701" cy="1371516"/>
          </a:xfrm>
          <a:gradFill flip="none" rotWithShape="1">
            <a:gsLst>
              <a:gs pos="0">
                <a:schemeClr val="accent3"/>
              </a:gs>
              <a:gs pos="33000">
                <a:schemeClr val="accent2"/>
              </a:gs>
              <a:gs pos="100000">
                <a:schemeClr val="accent1"/>
              </a:gs>
            </a:gsLst>
            <a:lin ang="16200000" scaled="1"/>
            <a:tileRect/>
          </a:gradFill>
        </p:grpSpPr>
        <p:sp>
          <p:nvSpPr>
            <p:cNvPr id="147" name="Freeform: Shape 146">
              <a:extLst>
                <a:ext uri="{FF2B5EF4-FFF2-40B4-BE49-F238E27FC236}">
                  <a16:creationId xmlns:a16="http://schemas.microsoft.com/office/drawing/2014/main" id="{1FEE2B65-7B03-1883-3E0F-BBF6719CA610}"/>
                </a:ext>
              </a:extLst>
            </p:cNvPr>
            <p:cNvSpPr/>
            <p:nvPr/>
          </p:nvSpPr>
          <p:spPr>
            <a:xfrm>
              <a:off x="3524056" y="2116253"/>
              <a:ext cx="470212" cy="726439"/>
            </a:xfrm>
            <a:custGeom>
              <a:avLst/>
              <a:gdLst>
                <a:gd name="connsiteX0" fmla="*/ 235128 w 470212"/>
                <a:gd name="connsiteY0" fmla="*/ 37270 h 726439"/>
                <a:gd name="connsiteX1" fmla="*/ 65872 w 470212"/>
                <a:gd name="connsiteY1" fmla="*/ 5 h 726439"/>
                <a:gd name="connsiteX2" fmla="*/ 65926 w 470212"/>
                <a:gd name="connsiteY2" fmla="*/ 3361 h 726439"/>
                <a:gd name="connsiteX3" fmla="*/ 54117 w 470212"/>
                <a:gd name="connsiteY3" fmla="*/ 31658 h 726439"/>
                <a:gd name="connsiteX4" fmla="*/ 88 w 470212"/>
                <a:gd name="connsiteY4" fmla="*/ 658276 h 726439"/>
                <a:gd name="connsiteX5" fmla="*/ 61480 w 470212"/>
                <a:gd name="connsiteY5" fmla="*/ 726349 h 726439"/>
                <a:gd name="connsiteX6" fmla="*/ 64873 w 470212"/>
                <a:gd name="connsiteY6" fmla="*/ 726440 h 726439"/>
                <a:gd name="connsiteX7" fmla="*/ 129547 w 470212"/>
                <a:gd name="connsiteY7" fmla="*/ 664276 h 726439"/>
                <a:gd name="connsiteX8" fmla="*/ 168116 w 470212"/>
                <a:gd name="connsiteY8" fmla="*/ 175832 h 726439"/>
                <a:gd name="connsiteX9" fmla="*/ 302089 w 470212"/>
                <a:gd name="connsiteY9" fmla="*/ 175832 h 726439"/>
                <a:gd name="connsiteX10" fmla="*/ 340667 w 470212"/>
                <a:gd name="connsiteY10" fmla="*/ 664276 h 726439"/>
                <a:gd name="connsiteX11" fmla="*/ 405341 w 470212"/>
                <a:gd name="connsiteY11" fmla="*/ 726108 h 726439"/>
                <a:gd name="connsiteX12" fmla="*/ 408733 w 470212"/>
                <a:gd name="connsiteY12" fmla="*/ 726188 h 726439"/>
                <a:gd name="connsiteX13" fmla="*/ 470125 w 470212"/>
                <a:gd name="connsiteY13" fmla="*/ 658196 h 726439"/>
                <a:gd name="connsiteX14" fmla="*/ 416086 w 470212"/>
                <a:gd name="connsiteY14" fmla="*/ 31618 h 726439"/>
                <a:gd name="connsiteX15" fmla="*/ 404282 w 470212"/>
                <a:gd name="connsiteY15" fmla="*/ 3349 h 726439"/>
                <a:gd name="connsiteX16" fmla="*/ 404336 w 470212"/>
                <a:gd name="connsiteY16" fmla="*/ 0 h 726439"/>
                <a:gd name="connsiteX17" fmla="*/ 235126 w 470212"/>
                <a:gd name="connsiteY17" fmla="*/ 37265 h 72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0212" h="726439">
                  <a:moveTo>
                    <a:pt x="235128" y="37270"/>
                  </a:moveTo>
                  <a:cubicBezTo>
                    <a:pt x="157065" y="37270"/>
                    <a:pt x="93885" y="12920"/>
                    <a:pt x="65872" y="5"/>
                  </a:cubicBezTo>
                  <a:cubicBezTo>
                    <a:pt x="65886" y="1049"/>
                    <a:pt x="65908" y="2174"/>
                    <a:pt x="65926" y="3361"/>
                  </a:cubicBezTo>
                  <a:cubicBezTo>
                    <a:pt x="59975" y="11460"/>
                    <a:pt x="55778" y="21041"/>
                    <a:pt x="54117" y="31658"/>
                  </a:cubicBezTo>
                  <a:cubicBezTo>
                    <a:pt x="39393" y="125374"/>
                    <a:pt x="6213" y="539424"/>
                    <a:pt x="88" y="658276"/>
                  </a:cubicBezTo>
                  <a:cubicBezTo>
                    <a:pt x="-1760" y="694027"/>
                    <a:pt x="25736" y="724508"/>
                    <a:pt x="61480" y="726349"/>
                  </a:cubicBezTo>
                  <a:cubicBezTo>
                    <a:pt x="62618" y="726406"/>
                    <a:pt x="63743" y="726440"/>
                    <a:pt x="64873" y="726440"/>
                  </a:cubicBezTo>
                  <a:cubicBezTo>
                    <a:pt x="99138" y="726440"/>
                    <a:pt x="127765" y="698896"/>
                    <a:pt x="129547" y="664276"/>
                  </a:cubicBezTo>
                  <a:cubicBezTo>
                    <a:pt x="133873" y="580363"/>
                    <a:pt x="152860" y="332755"/>
                    <a:pt x="168116" y="175832"/>
                  </a:cubicBezTo>
                  <a:lnTo>
                    <a:pt x="302089" y="175832"/>
                  </a:lnTo>
                  <a:cubicBezTo>
                    <a:pt x="317345" y="332755"/>
                    <a:pt x="336341" y="580363"/>
                    <a:pt x="340667" y="664276"/>
                  </a:cubicBezTo>
                  <a:cubicBezTo>
                    <a:pt x="342452" y="698896"/>
                    <a:pt x="371075" y="726108"/>
                    <a:pt x="405341" y="726108"/>
                  </a:cubicBezTo>
                  <a:cubicBezTo>
                    <a:pt x="406461" y="726108"/>
                    <a:pt x="407599" y="726246"/>
                    <a:pt x="408733" y="726188"/>
                  </a:cubicBezTo>
                  <a:cubicBezTo>
                    <a:pt x="444480" y="724348"/>
                    <a:pt x="471973" y="693958"/>
                    <a:pt x="470125" y="658196"/>
                  </a:cubicBezTo>
                  <a:cubicBezTo>
                    <a:pt x="464000" y="539355"/>
                    <a:pt x="430811" y="125372"/>
                    <a:pt x="416086" y="31618"/>
                  </a:cubicBezTo>
                  <a:cubicBezTo>
                    <a:pt x="414422" y="21010"/>
                    <a:pt x="410233" y="11447"/>
                    <a:pt x="404282" y="3349"/>
                  </a:cubicBezTo>
                  <a:cubicBezTo>
                    <a:pt x="404305" y="2161"/>
                    <a:pt x="404323" y="1040"/>
                    <a:pt x="404336" y="0"/>
                  </a:cubicBezTo>
                  <a:cubicBezTo>
                    <a:pt x="376334" y="12907"/>
                    <a:pt x="313174" y="37265"/>
                    <a:pt x="235126" y="37265"/>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48" name="Freeform: Shape 147">
              <a:extLst>
                <a:ext uri="{FF2B5EF4-FFF2-40B4-BE49-F238E27FC236}">
                  <a16:creationId xmlns:a16="http://schemas.microsoft.com/office/drawing/2014/main" id="{4CC15502-2A60-DF1E-219A-E36E11822135}"/>
                </a:ext>
              </a:extLst>
            </p:cNvPr>
            <p:cNvSpPr/>
            <p:nvPr/>
          </p:nvSpPr>
          <p:spPr>
            <a:xfrm>
              <a:off x="3630376" y="1471176"/>
              <a:ext cx="257591" cy="288119"/>
            </a:xfrm>
            <a:custGeom>
              <a:avLst/>
              <a:gdLst>
                <a:gd name="connsiteX0" fmla="*/ 128796 w 257591"/>
                <a:gd name="connsiteY0" fmla="*/ 288119 h 288119"/>
                <a:gd name="connsiteX1" fmla="*/ 257592 w 257591"/>
                <a:gd name="connsiteY1" fmla="*/ 128807 h 288119"/>
                <a:gd name="connsiteX2" fmla="*/ 128796 w 257591"/>
                <a:gd name="connsiteY2" fmla="*/ 0 h 288119"/>
                <a:gd name="connsiteX3" fmla="*/ 0 w 257591"/>
                <a:gd name="connsiteY3" fmla="*/ 128807 h 288119"/>
                <a:gd name="connsiteX4" fmla="*/ 128796 w 257591"/>
                <a:gd name="connsiteY4" fmla="*/ 288119 h 288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1" h="288119">
                  <a:moveTo>
                    <a:pt x="128796" y="288119"/>
                  </a:moveTo>
                  <a:cubicBezTo>
                    <a:pt x="199924" y="288119"/>
                    <a:pt x="257592" y="199931"/>
                    <a:pt x="257592" y="128807"/>
                  </a:cubicBezTo>
                  <a:cubicBezTo>
                    <a:pt x="257592" y="57674"/>
                    <a:pt x="199928" y="0"/>
                    <a:pt x="128796" y="0"/>
                  </a:cubicBezTo>
                  <a:cubicBezTo>
                    <a:pt x="57680" y="0"/>
                    <a:pt x="0" y="57668"/>
                    <a:pt x="0" y="128807"/>
                  </a:cubicBezTo>
                  <a:cubicBezTo>
                    <a:pt x="0" y="199940"/>
                    <a:pt x="57682" y="288119"/>
                    <a:pt x="128796" y="288119"/>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49" name="Freeform: Shape 148">
              <a:extLst>
                <a:ext uri="{FF2B5EF4-FFF2-40B4-BE49-F238E27FC236}">
                  <a16:creationId xmlns:a16="http://schemas.microsoft.com/office/drawing/2014/main" id="{C09C880D-6B08-064C-A48D-6772C4FB9661}"/>
                </a:ext>
              </a:extLst>
            </p:cNvPr>
            <p:cNvSpPr/>
            <p:nvPr/>
          </p:nvSpPr>
          <p:spPr>
            <a:xfrm>
              <a:off x="3395285" y="1701098"/>
              <a:ext cx="778701" cy="1136726"/>
            </a:xfrm>
            <a:custGeom>
              <a:avLst/>
              <a:gdLst>
                <a:gd name="connsiteX0" fmla="*/ 778138 w 778701"/>
                <a:gd name="connsiteY0" fmla="*/ 551733 h 1136726"/>
                <a:gd name="connsiteX1" fmla="*/ 724912 w 778701"/>
                <a:gd name="connsiteY1" fmla="*/ 471166 h 1136726"/>
                <a:gd name="connsiteX2" fmla="*/ 526273 w 778701"/>
                <a:gd name="connsiteY2" fmla="*/ 2706 h 1136726"/>
                <a:gd name="connsiteX3" fmla="*/ 473373 w 778701"/>
                <a:gd name="connsiteY3" fmla="*/ 4862 h 1136726"/>
                <a:gd name="connsiteX4" fmla="*/ 363875 w 778701"/>
                <a:gd name="connsiteY4" fmla="*/ 73210 h 1136726"/>
                <a:gd name="connsiteX5" fmla="*/ 254373 w 778701"/>
                <a:gd name="connsiteY5" fmla="*/ 4858 h 1136726"/>
                <a:gd name="connsiteX6" fmla="*/ 201482 w 778701"/>
                <a:gd name="connsiteY6" fmla="*/ 2710 h 1136726"/>
                <a:gd name="connsiteX7" fmla="*/ 419 w 778701"/>
                <a:gd name="connsiteY7" fmla="*/ 487595 h 1136726"/>
                <a:gd name="connsiteX8" fmla="*/ 35135 w 778701"/>
                <a:gd name="connsiteY8" fmla="*/ 533928 h 1136726"/>
                <a:gd name="connsiteX9" fmla="*/ 40997 w 778701"/>
                <a:gd name="connsiteY9" fmla="*/ 534352 h 1136726"/>
                <a:gd name="connsiteX10" fmla="*/ 81473 w 778701"/>
                <a:gd name="connsiteY10" fmla="*/ 499221 h 1136726"/>
                <a:gd name="connsiteX11" fmla="*/ 208611 w 778701"/>
                <a:gd name="connsiteY11" fmla="*/ 88706 h 1136726"/>
                <a:gd name="connsiteX12" fmla="*/ 194793 w 778701"/>
                <a:gd name="connsiteY12" fmla="*/ 392483 h 1136726"/>
                <a:gd name="connsiteX13" fmla="*/ 363889 w 778701"/>
                <a:gd name="connsiteY13" fmla="*/ 431954 h 1136726"/>
                <a:gd name="connsiteX14" fmla="*/ 532961 w 778701"/>
                <a:gd name="connsiteY14" fmla="*/ 392483 h 1136726"/>
                <a:gd name="connsiteX15" fmla="*/ 519201 w 778701"/>
                <a:gd name="connsiteY15" fmla="*/ 89197 h 1136726"/>
                <a:gd name="connsiteX16" fmla="*/ 643186 w 778701"/>
                <a:gd name="connsiteY16" fmla="*/ 478179 h 1136726"/>
                <a:gd name="connsiteX17" fmla="*/ 603027 w 778701"/>
                <a:gd name="connsiteY17" fmla="*/ 551732 h 1136726"/>
                <a:gd name="connsiteX18" fmla="*/ 625466 w 778701"/>
                <a:gd name="connsiteY18" fmla="*/ 574171 h 1136726"/>
                <a:gd name="connsiteX19" fmla="*/ 647922 w 778701"/>
                <a:gd name="connsiteY19" fmla="*/ 551732 h 1136726"/>
                <a:gd name="connsiteX20" fmla="*/ 658936 w 778701"/>
                <a:gd name="connsiteY20" fmla="*/ 523230 h 1136726"/>
                <a:gd name="connsiteX21" fmla="*/ 686755 w 778701"/>
                <a:gd name="connsiteY21" fmla="*/ 534338 h 1136726"/>
                <a:gd name="connsiteX22" fmla="*/ 692617 w 778701"/>
                <a:gd name="connsiteY22" fmla="*/ 533914 h 1136726"/>
                <a:gd name="connsiteX23" fmla="*/ 719466 w 778701"/>
                <a:gd name="connsiteY23" fmla="*/ 519409 h 1136726"/>
                <a:gd name="connsiteX24" fmla="*/ 735471 w 778701"/>
                <a:gd name="connsiteY24" fmla="*/ 551715 h 1136726"/>
                <a:gd name="connsiteX25" fmla="*/ 735471 w 778701"/>
                <a:gd name="connsiteY25" fmla="*/ 1114268 h 1136726"/>
                <a:gd name="connsiteX26" fmla="*/ 756808 w 778701"/>
                <a:gd name="connsiteY26" fmla="*/ 1136726 h 1136726"/>
                <a:gd name="connsiteX27" fmla="*/ 778702 w 778701"/>
                <a:gd name="connsiteY27" fmla="*/ 1114268 h 113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8701" h="1136726">
                  <a:moveTo>
                    <a:pt x="778138" y="551733"/>
                  </a:moveTo>
                  <a:cubicBezTo>
                    <a:pt x="778129" y="515544"/>
                    <a:pt x="756204" y="484519"/>
                    <a:pt x="724912" y="471166"/>
                  </a:cubicBezTo>
                  <a:cubicBezTo>
                    <a:pt x="680793" y="173824"/>
                    <a:pt x="617558" y="24753"/>
                    <a:pt x="526273" y="2706"/>
                  </a:cubicBezTo>
                  <a:cubicBezTo>
                    <a:pt x="507147" y="-1915"/>
                    <a:pt x="489320" y="-236"/>
                    <a:pt x="473373" y="4862"/>
                  </a:cubicBezTo>
                  <a:cubicBezTo>
                    <a:pt x="447036" y="44155"/>
                    <a:pt x="407833" y="73210"/>
                    <a:pt x="363875" y="73210"/>
                  </a:cubicBezTo>
                  <a:cubicBezTo>
                    <a:pt x="319922" y="73210"/>
                    <a:pt x="280718" y="44150"/>
                    <a:pt x="254373" y="4858"/>
                  </a:cubicBezTo>
                  <a:cubicBezTo>
                    <a:pt x="238435" y="-232"/>
                    <a:pt x="220612" y="-1911"/>
                    <a:pt x="201482" y="2710"/>
                  </a:cubicBezTo>
                  <a:cubicBezTo>
                    <a:pt x="108516" y="25158"/>
                    <a:pt x="44639" y="179235"/>
                    <a:pt x="419" y="487595"/>
                  </a:cubicBezTo>
                  <a:cubicBezTo>
                    <a:pt x="-2787" y="509976"/>
                    <a:pt x="12754" y="530717"/>
                    <a:pt x="35135" y="533928"/>
                  </a:cubicBezTo>
                  <a:cubicBezTo>
                    <a:pt x="37109" y="534209"/>
                    <a:pt x="39060" y="534352"/>
                    <a:pt x="40997" y="534352"/>
                  </a:cubicBezTo>
                  <a:cubicBezTo>
                    <a:pt x="61029" y="534352"/>
                    <a:pt x="78544" y="519627"/>
                    <a:pt x="81473" y="499221"/>
                  </a:cubicBezTo>
                  <a:cubicBezTo>
                    <a:pt x="126171" y="187477"/>
                    <a:pt x="182630" y="108627"/>
                    <a:pt x="208611" y="88706"/>
                  </a:cubicBezTo>
                  <a:cubicBezTo>
                    <a:pt x="198602" y="185265"/>
                    <a:pt x="195543" y="342035"/>
                    <a:pt x="194793" y="392483"/>
                  </a:cubicBezTo>
                  <a:cubicBezTo>
                    <a:pt x="214062" y="402064"/>
                    <a:pt x="280866" y="431954"/>
                    <a:pt x="363889" y="431954"/>
                  </a:cubicBezTo>
                  <a:cubicBezTo>
                    <a:pt x="446898" y="431954"/>
                    <a:pt x="513691" y="402069"/>
                    <a:pt x="532961" y="392483"/>
                  </a:cubicBezTo>
                  <a:cubicBezTo>
                    <a:pt x="532211" y="342124"/>
                    <a:pt x="529162" y="185797"/>
                    <a:pt x="519201" y="89197"/>
                  </a:cubicBezTo>
                  <a:cubicBezTo>
                    <a:pt x="543894" y="109203"/>
                    <a:pt x="599232" y="185833"/>
                    <a:pt x="643186" y="478179"/>
                  </a:cubicBezTo>
                  <a:cubicBezTo>
                    <a:pt x="619055" y="493770"/>
                    <a:pt x="603031" y="520852"/>
                    <a:pt x="603027" y="551732"/>
                  </a:cubicBezTo>
                  <a:cubicBezTo>
                    <a:pt x="603027" y="564121"/>
                    <a:pt x="613076" y="574171"/>
                    <a:pt x="625466" y="574171"/>
                  </a:cubicBezTo>
                  <a:cubicBezTo>
                    <a:pt x="637869" y="574171"/>
                    <a:pt x="647922" y="564121"/>
                    <a:pt x="647922" y="551732"/>
                  </a:cubicBezTo>
                  <a:cubicBezTo>
                    <a:pt x="647943" y="540753"/>
                    <a:pt x="652123" y="530794"/>
                    <a:pt x="658936" y="523230"/>
                  </a:cubicBezTo>
                  <a:cubicBezTo>
                    <a:pt x="666338" y="530137"/>
                    <a:pt x="676155" y="534338"/>
                    <a:pt x="686755" y="534338"/>
                  </a:cubicBezTo>
                  <a:cubicBezTo>
                    <a:pt x="688683" y="534338"/>
                    <a:pt x="690643" y="534195"/>
                    <a:pt x="692617" y="533914"/>
                  </a:cubicBezTo>
                  <a:cubicBezTo>
                    <a:pt x="703126" y="532404"/>
                    <a:pt x="713208" y="527003"/>
                    <a:pt x="719466" y="519409"/>
                  </a:cubicBezTo>
                  <a:cubicBezTo>
                    <a:pt x="728556" y="527226"/>
                    <a:pt x="735471" y="538781"/>
                    <a:pt x="735471" y="551715"/>
                  </a:cubicBezTo>
                  <a:lnTo>
                    <a:pt x="735471" y="1114268"/>
                  </a:lnTo>
                  <a:cubicBezTo>
                    <a:pt x="735471" y="1126657"/>
                    <a:pt x="744400" y="1136726"/>
                    <a:pt x="756808" y="1136726"/>
                  </a:cubicBezTo>
                  <a:cubicBezTo>
                    <a:pt x="769205" y="1136726"/>
                    <a:pt x="778702" y="1126669"/>
                    <a:pt x="778702" y="1114268"/>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150" name="Group 149">
            <a:extLst>
              <a:ext uri="{FF2B5EF4-FFF2-40B4-BE49-F238E27FC236}">
                <a16:creationId xmlns:a16="http://schemas.microsoft.com/office/drawing/2014/main" id="{40E45924-580B-62BC-0863-1F30C0FBB747}"/>
              </a:ext>
            </a:extLst>
          </p:cNvPr>
          <p:cNvGrpSpPr/>
          <p:nvPr/>
        </p:nvGrpSpPr>
        <p:grpSpPr>
          <a:xfrm>
            <a:off x="3725523" y="3355219"/>
            <a:ext cx="451061" cy="794448"/>
            <a:chOff x="3395285" y="1471176"/>
            <a:chExt cx="778701" cy="1371516"/>
          </a:xfrm>
          <a:gradFill flip="none" rotWithShape="1">
            <a:gsLst>
              <a:gs pos="0">
                <a:schemeClr val="accent3"/>
              </a:gs>
              <a:gs pos="33000">
                <a:schemeClr val="accent2"/>
              </a:gs>
              <a:gs pos="100000">
                <a:schemeClr val="accent1"/>
              </a:gs>
            </a:gsLst>
            <a:lin ang="16200000" scaled="1"/>
            <a:tileRect/>
          </a:gradFill>
        </p:grpSpPr>
        <p:sp>
          <p:nvSpPr>
            <p:cNvPr id="151" name="Freeform: Shape 150">
              <a:extLst>
                <a:ext uri="{FF2B5EF4-FFF2-40B4-BE49-F238E27FC236}">
                  <a16:creationId xmlns:a16="http://schemas.microsoft.com/office/drawing/2014/main" id="{E3B01E48-8042-D1A4-A1A6-A777B0328AD1}"/>
                </a:ext>
              </a:extLst>
            </p:cNvPr>
            <p:cNvSpPr/>
            <p:nvPr/>
          </p:nvSpPr>
          <p:spPr>
            <a:xfrm>
              <a:off x="3524056" y="2116253"/>
              <a:ext cx="470212" cy="726439"/>
            </a:xfrm>
            <a:custGeom>
              <a:avLst/>
              <a:gdLst>
                <a:gd name="connsiteX0" fmla="*/ 235128 w 470212"/>
                <a:gd name="connsiteY0" fmla="*/ 37270 h 726439"/>
                <a:gd name="connsiteX1" fmla="*/ 65872 w 470212"/>
                <a:gd name="connsiteY1" fmla="*/ 5 h 726439"/>
                <a:gd name="connsiteX2" fmla="*/ 65926 w 470212"/>
                <a:gd name="connsiteY2" fmla="*/ 3361 h 726439"/>
                <a:gd name="connsiteX3" fmla="*/ 54117 w 470212"/>
                <a:gd name="connsiteY3" fmla="*/ 31658 h 726439"/>
                <a:gd name="connsiteX4" fmla="*/ 88 w 470212"/>
                <a:gd name="connsiteY4" fmla="*/ 658276 h 726439"/>
                <a:gd name="connsiteX5" fmla="*/ 61480 w 470212"/>
                <a:gd name="connsiteY5" fmla="*/ 726349 h 726439"/>
                <a:gd name="connsiteX6" fmla="*/ 64873 w 470212"/>
                <a:gd name="connsiteY6" fmla="*/ 726440 h 726439"/>
                <a:gd name="connsiteX7" fmla="*/ 129547 w 470212"/>
                <a:gd name="connsiteY7" fmla="*/ 664276 h 726439"/>
                <a:gd name="connsiteX8" fmla="*/ 168116 w 470212"/>
                <a:gd name="connsiteY8" fmla="*/ 175832 h 726439"/>
                <a:gd name="connsiteX9" fmla="*/ 302089 w 470212"/>
                <a:gd name="connsiteY9" fmla="*/ 175832 h 726439"/>
                <a:gd name="connsiteX10" fmla="*/ 340667 w 470212"/>
                <a:gd name="connsiteY10" fmla="*/ 664276 h 726439"/>
                <a:gd name="connsiteX11" fmla="*/ 405341 w 470212"/>
                <a:gd name="connsiteY11" fmla="*/ 726108 h 726439"/>
                <a:gd name="connsiteX12" fmla="*/ 408733 w 470212"/>
                <a:gd name="connsiteY12" fmla="*/ 726188 h 726439"/>
                <a:gd name="connsiteX13" fmla="*/ 470125 w 470212"/>
                <a:gd name="connsiteY13" fmla="*/ 658196 h 726439"/>
                <a:gd name="connsiteX14" fmla="*/ 416086 w 470212"/>
                <a:gd name="connsiteY14" fmla="*/ 31618 h 726439"/>
                <a:gd name="connsiteX15" fmla="*/ 404282 w 470212"/>
                <a:gd name="connsiteY15" fmla="*/ 3349 h 726439"/>
                <a:gd name="connsiteX16" fmla="*/ 404336 w 470212"/>
                <a:gd name="connsiteY16" fmla="*/ 0 h 726439"/>
                <a:gd name="connsiteX17" fmla="*/ 235126 w 470212"/>
                <a:gd name="connsiteY17" fmla="*/ 37265 h 72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0212" h="726439">
                  <a:moveTo>
                    <a:pt x="235128" y="37270"/>
                  </a:moveTo>
                  <a:cubicBezTo>
                    <a:pt x="157065" y="37270"/>
                    <a:pt x="93885" y="12920"/>
                    <a:pt x="65872" y="5"/>
                  </a:cubicBezTo>
                  <a:cubicBezTo>
                    <a:pt x="65886" y="1049"/>
                    <a:pt x="65908" y="2174"/>
                    <a:pt x="65926" y="3361"/>
                  </a:cubicBezTo>
                  <a:cubicBezTo>
                    <a:pt x="59975" y="11460"/>
                    <a:pt x="55778" y="21041"/>
                    <a:pt x="54117" y="31658"/>
                  </a:cubicBezTo>
                  <a:cubicBezTo>
                    <a:pt x="39393" y="125374"/>
                    <a:pt x="6213" y="539424"/>
                    <a:pt x="88" y="658276"/>
                  </a:cubicBezTo>
                  <a:cubicBezTo>
                    <a:pt x="-1760" y="694027"/>
                    <a:pt x="25736" y="724508"/>
                    <a:pt x="61480" y="726349"/>
                  </a:cubicBezTo>
                  <a:cubicBezTo>
                    <a:pt x="62618" y="726406"/>
                    <a:pt x="63743" y="726440"/>
                    <a:pt x="64873" y="726440"/>
                  </a:cubicBezTo>
                  <a:cubicBezTo>
                    <a:pt x="99138" y="726440"/>
                    <a:pt x="127765" y="698896"/>
                    <a:pt x="129547" y="664276"/>
                  </a:cubicBezTo>
                  <a:cubicBezTo>
                    <a:pt x="133873" y="580363"/>
                    <a:pt x="152860" y="332755"/>
                    <a:pt x="168116" y="175832"/>
                  </a:cubicBezTo>
                  <a:lnTo>
                    <a:pt x="302089" y="175832"/>
                  </a:lnTo>
                  <a:cubicBezTo>
                    <a:pt x="317345" y="332755"/>
                    <a:pt x="336341" y="580363"/>
                    <a:pt x="340667" y="664276"/>
                  </a:cubicBezTo>
                  <a:cubicBezTo>
                    <a:pt x="342452" y="698896"/>
                    <a:pt x="371075" y="726108"/>
                    <a:pt x="405341" y="726108"/>
                  </a:cubicBezTo>
                  <a:cubicBezTo>
                    <a:pt x="406461" y="726108"/>
                    <a:pt x="407599" y="726246"/>
                    <a:pt x="408733" y="726188"/>
                  </a:cubicBezTo>
                  <a:cubicBezTo>
                    <a:pt x="444480" y="724348"/>
                    <a:pt x="471973" y="693958"/>
                    <a:pt x="470125" y="658196"/>
                  </a:cubicBezTo>
                  <a:cubicBezTo>
                    <a:pt x="464000" y="539355"/>
                    <a:pt x="430811" y="125372"/>
                    <a:pt x="416086" y="31618"/>
                  </a:cubicBezTo>
                  <a:cubicBezTo>
                    <a:pt x="414422" y="21010"/>
                    <a:pt x="410233" y="11447"/>
                    <a:pt x="404282" y="3349"/>
                  </a:cubicBezTo>
                  <a:cubicBezTo>
                    <a:pt x="404305" y="2161"/>
                    <a:pt x="404323" y="1040"/>
                    <a:pt x="404336" y="0"/>
                  </a:cubicBezTo>
                  <a:cubicBezTo>
                    <a:pt x="376334" y="12907"/>
                    <a:pt x="313174" y="37265"/>
                    <a:pt x="235126" y="37265"/>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52" name="Freeform: Shape 151">
              <a:extLst>
                <a:ext uri="{FF2B5EF4-FFF2-40B4-BE49-F238E27FC236}">
                  <a16:creationId xmlns:a16="http://schemas.microsoft.com/office/drawing/2014/main" id="{1D626E91-E9FD-2D7E-1A8C-F9C0C34737F8}"/>
                </a:ext>
              </a:extLst>
            </p:cNvPr>
            <p:cNvSpPr/>
            <p:nvPr/>
          </p:nvSpPr>
          <p:spPr>
            <a:xfrm>
              <a:off x="3630376" y="1471176"/>
              <a:ext cx="257591" cy="288119"/>
            </a:xfrm>
            <a:custGeom>
              <a:avLst/>
              <a:gdLst>
                <a:gd name="connsiteX0" fmla="*/ 128796 w 257591"/>
                <a:gd name="connsiteY0" fmla="*/ 288119 h 288119"/>
                <a:gd name="connsiteX1" fmla="*/ 257592 w 257591"/>
                <a:gd name="connsiteY1" fmla="*/ 128807 h 288119"/>
                <a:gd name="connsiteX2" fmla="*/ 128796 w 257591"/>
                <a:gd name="connsiteY2" fmla="*/ 0 h 288119"/>
                <a:gd name="connsiteX3" fmla="*/ 0 w 257591"/>
                <a:gd name="connsiteY3" fmla="*/ 128807 h 288119"/>
                <a:gd name="connsiteX4" fmla="*/ 128796 w 257591"/>
                <a:gd name="connsiteY4" fmla="*/ 288119 h 288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1" h="288119">
                  <a:moveTo>
                    <a:pt x="128796" y="288119"/>
                  </a:moveTo>
                  <a:cubicBezTo>
                    <a:pt x="199924" y="288119"/>
                    <a:pt x="257592" y="199931"/>
                    <a:pt x="257592" y="128807"/>
                  </a:cubicBezTo>
                  <a:cubicBezTo>
                    <a:pt x="257592" y="57674"/>
                    <a:pt x="199928" y="0"/>
                    <a:pt x="128796" y="0"/>
                  </a:cubicBezTo>
                  <a:cubicBezTo>
                    <a:pt x="57680" y="0"/>
                    <a:pt x="0" y="57668"/>
                    <a:pt x="0" y="128807"/>
                  </a:cubicBezTo>
                  <a:cubicBezTo>
                    <a:pt x="0" y="199940"/>
                    <a:pt x="57682" y="288119"/>
                    <a:pt x="128796" y="288119"/>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53" name="Freeform: Shape 152">
              <a:extLst>
                <a:ext uri="{FF2B5EF4-FFF2-40B4-BE49-F238E27FC236}">
                  <a16:creationId xmlns:a16="http://schemas.microsoft.com/office/drawing/2014/main" id="{2944D351-B36A-ABE5-7602-576DFABC9C18}"/>
                </a:ext>
              </a:extLst>
            </p:cNvPr>
            <p:cNvSpPr/>
            <p:nvPr/>
          </p:nvSpPr>
          <p:spPr>
            <a:xfrm>
              <a:off x="3395285" y="1701098"/>
              <a:ext cx="778701" cy="1136726"/>
            </a:xfrm>
            <a:custGeom>
              <a:avLst/>
              <a:gdLst>
                <a:gd name="connsiteX0" fmla="*/ 778138 w 778701"/>
                <a:gd name="connsiteY0" fmla="*/ 551733 h 1136726"/>
                <a:gd name="connsiteX1" fmla="*/ 724912 w 778701"/>
                <a:gd name="connsiteY1" fmla="*/ 471166 h 1136726"/>
                <a:gd name="connsiteX2" fmla="*/ 526273 w 778701"/>
                <a:gd name="connsiteY2" fmla="*/ 2706 h 1136726"/>
                <a:gd name="connsiteX3" fmla="*/ 473373 w 778701"/>
                <a:gd name="connsiteY3" fmla="*/ 4862 h 1136726"/>
                <a:gd name="connsiteX4" fmla="*/ 363875 w 778701"/>
                <a:gd name="connsiteY4" fmla="*/ 73210 h 1136726"/>
                <a:gd name="connsiteX5" fmla="*/ 254373 w 778701"/>
                <a:gd name="connsiteY5" fmla="*/ 4858 h 1136726"/>
                <a:gd name="connsiteX6" fmla="*/ 201482 w 778701"/>
                <a:gd name="connsiteY6" fmla="*/ 2710 h 1136726"/>
                <a:gd name="connsiteX7" fmla="*/ 419 w 778701"/>
                <a:gd name="connsiteY7" fmla="*/ 487595 h 1136726"/>
                <a:gd name="connsiteX8" fmla="*/ 35135 w 778701"/>
                <a:gd name="connsiteY8" fmla="*/ 533928 h 1136726"/>
                <a:gd name="connsiteX9" fmla="*/ 40997 w 778701"/>
                <a:gd name="connsiteY9" fmla="*/ 534352 h 1136726"/>
                <a:gd name="connsiteX10" fmla="*/ 81473 w 778701"/>
                <a:gd name="connsiteY10" fmla="*/ 499221 h 1136726"/>
                <a:gd name="connsiteX11" fmla="*/ 208611 w 778701"/>
                <a:gd name="connsiteY11" fmla="*/ 88706 h 1136726"/>
                <a:gd name="connsiteX12" fmla="*/ 194793 w 778701"/>
                <a:gd name="connsiteY12" fmla="*/ 392483 h 1136726"/>
                <a:gd name="connsiteX13" fmla="*/ 363889 w 778701"/>
                <a:gd name="connsiteY13" fmla="*/ 431954 h 1136726"/>
                <a:gd name="connsiteX14" fmla="*/ 532961 w 778701"/>
                <a:gd name="connsiteY14" fmla="*/ 392483 h 1136726"/>
                <a:gd name="connsiteX15" fmla="*/ 519201 w 778701"/>
                <a:gd name="connsiteY15" fmla="*/ 89197 h 1136726"/>
                <a:gd name="connsiteX16" fmla="*/ 643186 w 778701"/>
                <a:gd name="connsiteY16" fmla="*/ 478179 h 1136726"/>
                <a:gd name="connsiteX17" fmla="*/ 603027 w 778701"/>
                <a:gd name="connsiteY17" fmla="*/ 551732 h 1136726"/>
                <a:gd name="connsiteX18" fmla="*/ 625466 w 778701"/>
                <a:gd name="connsiteY18" fmla="*/ 574171 h 1136726"/>
                <a:gd name="connsiteX19" fmla="*/ 647922 w 778701"/>
                <a:gd name="connsiteY19" fmla="*/ 551732 h 1136726"/>
                <a:gd name="connsiteX20" fmla="*/ 658936 w 778701"/>
                <a:gd name="connsiteY20" fmla="*/ 523230 h 1136726"/>
                <a:gd name="connsiteX21" fmla="*/ 686755 w 778701"/>
                <a:gd name="connsiteY21" fmla="*/ 534338 h 1136726"/>
                <a:gd name="connsiteX22" fmla="*/ 692617 w 778701"/>
                <a:gd name="connsiteY22" fmla="*/ 533914 h 1136726"/>
                <a:gd name="connsiteX23" fmla="*/ 719466 w 778701"/>
                <a:gd name="connsiteY23" fmla="*/ 519409 h 1136726"/>
                <a:gd name="connsiteX24" fmla="*/ 735471 w 778701"/>
                <a:gd name="connsiteY24" fmla="*/ 551715 h 1136726"/>
                <a:gd name="connsiteX25" fmla="*/ 735471 w 778701"/>
                <a:gd name="connsiteY25" fmla="*/ 1114268 h 1136726"/>
                <a:gd name="connsiteX26" fmla="*/ 756808 w 778701"/>
                <a:gd name="connsiteY26" fmla="*/ 1136726 h 1136726"/>
                <a:gd name="connsiteX27" fmla="*/ 778702 w 778701"/>
                <a:gd name="connsiteY27" fmla="*/ 1114268 h 113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8701" h="1136726">
                  <a:moveTo>
                    <a:pt x="778138" y="551733"/>
                  </a:moveTo>
                  <a:cubicBezTo>
                    <a:pt x="778129" y="515544"/>
                    <a:pt x="756204" y="484519"/>
                    <a:pt x="724912" y="471166"/>
                  </a:cubicBezTo>
                  <a:cubicBezTo>
                    <a:pt x="680793" y="173824"/>
                    <a:pt x="617558" y="24753"/>
                    <a:pt x="526273" y="2706"/>
                  </a:cubicBezTo>
                  <a:cubicBezTo>
                    <a:pt x="507147" y="-1915"/>
                    <a:pt x="489320" y="-236"/>
                    <a:pt x="473373" y="4862"/>
                  </a:cubicBezTo>
                  <a:cubicBezTo>
                    <a:pt x="447036" y="44155"/>
                    <a:pt x="407833" y="73210"/>
                    <a:pt x="363875" y="73210"/>
                  </a:cubicBezTo>
                  <a:cubicBezTo>
                    <a:pt x="319922" y="73210"/>
                    <a:pt x="280718" y="44150"/>
                    <a:pt x="254373" y="4858"/>
                  </a:cubicBezTo>
                  <a:cubicBezTo>
                    <a:pt x="238435" y="-232"/>
                    <a:pt x="220612" y="-1911"/>
                    <a:pt x="201482" y="2710"/>
                  </a:cubicBezTo>
                  <a:cubicBezTo>
                    <a:pt x="108516" y="25158"/>
                    <a:pt x="44639" y="179235"/>
                    <a:pt x="419" y="487595"/>
                  </a:cubicBezTo>
                  <a:cubicBezTo>
                    <a:pt x="-2787" y="509976"/>
                    <a:pt x="12754" y="530717"/>
                    <a:pt x="35135" y="533928"/>
                  </a:cubicBezTo>
                  <a:cubicBezTo>
                    <a:pt x="37109" y="534209"/>
                    <a:pt x="39060" y="534352"/>
                    <a:pt x="40997" y="534352"/>
                  </a:cubicBezTo>
                  <a:cubicBezTo>
                    <a:pt x="61029" y="534352"/>
                    <a:pt x="78544" y="519627"/>
                    <a:pt x="81473" y="499221"/>
                  </a:cubicBezTo>
                  <a:cubicBezTo>
                    <a:pt x="126171" y="187477"/>
                    <a:pt x="182630" y="108627"/>
                    <a:pt x="208611" y="88706"/>
                  </a:cubicBezTo>
                  <a:cubicBezTo>
                    <a:pt x="198602" y="185265"/>
                    <a:pt x="195543" y="342035"/>
                    <a:pt x="194793" y="392483"/>
                  </a:cubicBezTo>
                  <a:cubicBezTo>
                    <a:pt x="214062" y="402064"/>
                    <a:pt x="280866" y="431954"/>
                    <a:pt x="363889" y="431954"/>
                  </a:cubicBezTo>
                  <a:cubicBezTo>
                    <a:pt x="446898" y="431954"/>
                    <a:pt x="513691" y="402069"/>
                    <a:pt x="532961" y="392483"/>
                  </a:cubicBezTo>
                  <a:cubicBezTo>
                    <a:pt x="532211" y="342124"/>
                    <a:pt x="529162" y="185797"/>
                    <a:pt x="519201" y="89197"/>
                  </a:cubicBezTo>
                  <a:cubicBezTo>
                    <a:pt x="543894" y="109203"/>
                    <a:pt x="599232" y="185833"/>
                    <a:pt x="643186" y="478179"/>
                  </a:cubicBezTo>
                  <a:cubicBezTo>
                    <a:pt x="619055" y="493770"/>
                    <a:pt x="603031" y="520852"/>
                    <a:pt x="603027" y="551732"/>
                  </a:cubicBezTo>
                  <a:cubicBezTo>
                    <a:pt x="603027" y="564121"/>
                    <a:pt x="613076" y="574171"/>
                    <a:pt x="625466" y="574171"/>
                  </a:cubicBezTo>
                  <a:cubicBezTo>
                    <a:pt x="637869" y="574171"/>
                    <a:pt x="647922" y="564121"/>
                    <a:pt x="647922" y="551732"/>
                  </a:cubicBezTo>
                  <a:cubicBezTo>
                    <a:pt x="647943" y="540753"/>
                    <a:pt x="652123" y="530794"/>
                    <a:pt x="658936" y="523230"/>
                  </a:cubicBezTo>
                  <a:cubicBezTo>
                    <a:pt x="666338" y="530137"/>
                    <a:pt x="676155" y="534338"/>
                    <a:pt x="686755" y="534338"/>
                  </a:cubicBezTo>
                  <a:cubicBezTo>
                    <a:pt x="688683" y="534338"/>
                    <a:pt x="690643" y="534195"/>
                    <a:pt x="692617" y="533914"/>
                  </a:cubicBezTo>
                  <a:cubicBezTo>
                    <a:pt x="703126" y="532404"/>
                    <a:pt x="713208" y="527003"/>
                    <a:pt x="719466" y="519409"/>
                  </a:cubicBezTo>
                  <a:cubicBezTo>
                    <a:pt x="728556" y="527226"/>
                    <a:pt x="735471" y="538781"/>
                    <a:pt x="735471" y="551715"/>
                  </a:cubicBezTo>
                  <a:lnTo>
                    <a:pt x="735471" y="1114268"/>
                  </a:lnTo>
                  <a:cubicBezTo>
                    <a:pt x="735471" y="1126657"/>
                    <a:pt x="744400" y="1136726"/>
                    <a:pt x="756808" y="1136726"/>
                  </a:cubicBezTo>
                  <a:cubicBezTo>
                    <a:pt x="769205" y="1136726"/>
                    <a:pt x="778702" y="1126669"/>
                    <a:pt x="778702" y="1114268"/>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154" name="Group 153">
            <a:extLst>
              <a:ext uri="{FF2B5EF4-FFF2-40B4-BE49-F238E27FC236}">
                <a16:creationId xmlns:a16="http://schemas.microsoft.com/office/drawing/2014/main" id="{A435FDF0-051A-4830-0B48-0441ED46EBDD}"/>
              </a:ext>
            </a:extLst>
          </p:cNvPr>
          <p:cNvGrpSpPr/>
          <p:nvPr/>
        </p:nvGrpSpPr>
        <p:grpSpPr>
          <a:xfrm>
            <a:off x="2203994" y="4597291"/>
            <a:ext cx="351026" cy="831979"/>
            <a:chOff x="2671426" y="1333502"/>
            <a:chExt cx="636749" cy="1509182"/>
          </a:xfrm>
          <a:solidFill>
            <a:schemeClr val="bg2"/>
          </a:solidFill>
        </p:grpSpPr>
        <p:sp>
          <p:nvSpPr>
            <p:cNvPr id="155" name="Freeform: Shape 154">
              <a:extLst>
                <a:ext uri="{FF2B5EF4-FFF2-40B4-BE49-F238E27FC236}">
                  <a16:creationId xmlns:a16="http://schemas.microsoft.com/office/drawing/2014/main" id="{98007717-A4D8-3574-CAC5-8DC8D4C3D4A5}"/>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56" name="Freeform: Shape 155">
              <a:extLst>
                <a:ext uri="{FF2B5EF4-FFF2-40B4-BE49-F238E27FC236}">
                  <a16:creationId xmlns:a16="http://schemas.microsoft.com/office/drawing/2014/main" id="{124A3A7D-8F26-49CD-612C-7DD985D7C34D}"/>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57" name="Freeform: Shape 156">
              <a:extLst>
                <a:ext uri="{FF2B5EF4-FFF2-40B4-BE49-F238E27FC236}">
                  <a16:creationId xmlns:a16="http://schemas.microsoft.com/office/drawing/2014/main" id="{6602C75A-EEBF-7C48-F579-F3AB0379B5D7}"/>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61" name="Group 60">
            <a:extLst>
              <a:ext uri="{FF2B5EF4-FFF2-40B4-BE49-F238E27FC236}">
                <a16:creationId xmlns:a16="http://schemas.microsoft.com/office/drawing/2014/main" id="{418BF8E1-6D2D-CE18-7499-6A8DC521FE43}"/>
              </a:ext>
            </a:extLst>
          </p:cNvPr>
          <p:cNvGrpSpPr/>
          <p:nvPr/>
        </p:nvGrpSpPr>
        <p:grpSpPr>
          <a:xfrm flipH="1">
            <a:off x="0" y="2330015"/>
            <a:ext cx="4868228" cy="868680"/>
            <a:chOff x="5774796" y="2330015"/>
            <a:chExt cx="5108256" cy="868680"/>
          </a:xfrm>
        </p:grpSpPr>
        <p:sp>
          <p:nvSpPr>
            <p:cNvPr id="56" name="Parallelogram 55">
              <a:extLst>
                <a:ext uri="{FF2B5EF4-FFF2-40B4-BE49-F238E27FC236}">
                  <a16:creationId xmlns:a16="http://schemas.microsoft.com/office/drawing/2014/main" id="{E0C9D7E5-50C0-8424-A811-E22898311852}"/>
                </a:ext>
              </a:extLst>
            </p:cNvPr>
            <p:cNvSpPr/>
            <p:nvPr/>
          </p:nvSpPr>
          <p:spPr>
            <a:xfrm>
              <a:off x="5774796" y="2330015"/>
              <a:ext cx="1722966" cy="868680"/>
            </a:xfrm>
            <a:prstGeom prst="parallelogram">
              <a:avLst>
                <a:gd name="adj" fmla="val 26218"/>
              </a:avLst>
            </a:prstGeom>
            <a:solidFill>
              <a:schemeClr val="accent1"/>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1005840" tIns="0" rIns="0" bIns="0" rtlCol="0" anchor="ctr"/>
            <a:lstStyle/>
            <a:p>
              <a:pPr marL="574675" marR="0" lvl="0" indent="0" algn="l"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0" name="Rectangle 59">
              <a:extLst>
                <a:ext uri="{FF2B5EF4-FFF2-40B4-BE49-F238E27FC236}">
                  <a16:creationId xmlns:a16="http://schemas.microsoft.com/office/drawing/2014/main" id="{0EF4132B-D6A9-081F-1B70-94811A985D3F}"/>
                </a:ext>
              </a:extLst>
            </p:cNvPr>
            <p:cNvSpPr/>
            <p:nvPr/>
          </p:nvSpPr>
          <p:spPr>
            <a:xfrm>
              <a:off x="6496049" y="2330015"/>
              <a:ext cx="4387003" cy="868680"/>
            </a:xfrm>
            <a:prstGeom prst="rect">
              <a:avLst/>
            </a:prstGeom>
            <a:solidFill>
              <a:schemeClr val="accent1"/>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457200" tIns="0" rIns="0" bIns="0" rtlCol="0" anchor="ctr"/>
            <a:lstStyle/>
            <a:p>
              <a:pPr marL="574675" marR="0" lvl="0" indent="0" algn="l"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1" name="Rectangle 100">
            <a:extLst>
              <a:ext uri="{FF2B5EF4-FFF2-40B4-BE49-F238E27FC236}">
                <a16:creationId xmlns:a16="http://schemas.microsoft.com/office/drawing/2014/main" id="{669C7F15-D1DE-4386-D926-DA8E7026BA60}"/>
              </a:ext>
            </a:extLst>
          </p:cNvPr>
          <p:cNvSpPr/>
          <p:nvPr/>
        </p:nvSpPr>
        <p:spPr>
          <a:xfrm>
            <a:off x="0" y="2332523"/>
            <a:ext cx="1380708" cy="863664"/>
          </a:xfrm>
          <a:prstGeom prst="rect">
            <a:avLst/>
          </a:prstGeom>
          <a:gradFill flip="none" rotWithShape="1">
            <a:gsLst>
              <a:gs pos="100000">
                <a:schemeClr val="accent2"/>
              </a:gs>
              <a:gs pos="2000">
                <a:schemeClr val="accent2">
                  <a:lumMod val="60000"/>
                  <a:lumOff val="40000"/>
                </a:schemeClr>
              </a:gs>
            </a:gsLst>
            <a:lin ang="16200000" scaled="1"/>
            <a:tileRect/>
          </a:gradFill>
          <a:ln w="38100">
            <a:noFill/>
          </a:ln>
          <a:effectLst>
            <a:innerShdw blurRad="215900" dist="88900" dir="16200000">
              <a:schemeClr val="accent1">
                <a:alpha val="72000"/>
              </a:scheme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25000" noProof="0">
              <a:ln w="19050">
                <a:noFill/>
              </a:ln>
              <a:solidFill>
                <a:srgbClr val="FFFFFF"/>
              </a:solidFill>
              <a:effectLst/>
              <a:uLnTx/>
              <a:uFillTx/>
              <a:latin typeface="Arial" panose="020B0604020202020204"/>
              <a:ea typeface="+mn-ea"/>
              <a:cs typeface="+mn-cs"/>
            </a:endParaRPr>
          </a:p>
        </p:txBody>
      </p:sp>
      <p:sp>
        <p:nvSpPr>
          <p:cNvPr id="162" name="TextBox 161">
            <a:extLst>
              <a:ext uri="{FF2B5EF4-FFF2-40B4-BE49-F238E27FC236}">
                <a16:creationId xmlns:a16="http://schemas.microsoft.com/office/drawing/2014/main" id="{44533FE0-74B0-5C49-1AB8-533D153CE1C4}"/>
              </a:ext>
            </a:extLst>
          </p:cNvPr>
          <p:cNvSpPr txBox="1"/>
          <p:nvPr/>
        </p:nvSpPr>
        <p:spPr>
          <a:xfrm>
            <a:off x="1004374" y="2576059"/>
            <a:ext cx="3796222" cy="369332"/>
          </a:xfrm>
          <a:prstGeom prst="rect">
            <a:avLst/>
          </a:prstGeom>
          <a:noFill/>
        </p:spPr>
        <p:txBody>
          <a:bodyPr wrap="square">
            <a:spAutoFit/>
          </a:bodyPr>
          <a:lstStyle/>
          <a:p>
            <a:pPr marL="574675" lvl="0">
              <a:lnSpc>
                <a:spcPct val="90000"/>
              </a:lnSpc>
              <a:defRPr/>
            </a:pPr>
            <a:r>
              <a:rPr lang="en-US" sz="2000" dirty="0">
                <a:solidFill>
                  <a:srgbClr val="FFFFFF"/>
                </a:solidFill>
              </a:rPr>
              <a:t>65 </a:t>
            </a:r>
            <a:r>
              <a:rPr lang="en-US" sz="2000" dirty="0" err="1">
                <a:solidFill>
                  <a:srgbClr val="FFFFFF"/>
                </a:solidFill>
              </a:rPr>
              <a:t>yaş</a:t>
            </a:r>
            <a:r>
              <a:rPr lang="en-US" sz="2000" dirty="0">
                <a:solidFill>
                  <a:srgbClr val="FFFFFF"/>
                </a:solidFill>
              </a:rPr>
              <a:t> </a:t>
            </a:r>
            <a:r>
              <a:rPr lang="en-US" sz="2000" dirty="0" err="1">
                <a:solidFill>
                  <a:srgbClr val="FFFFFF"/>
                </a:solidFill>
              </a:rPr>
              <a:t>ve</a:t>
            </a:r>
            <a:r>
              <a:rPr lang="en-US" sz="2000" dirty="0">
                <a:solidFill>
                  <a:srgbClr val="FFFFFF"/>
                </a:solidFill>
              </a:rPr>
              <a:t> </a:t>
            </a:r>
            <a:r>
              <a:rPr lang="en-US" sz="2000" dirty="0" err="1">
                <a:solidFill>
                  <a:srgbClr val="FFFFFF"/>
                </a:solidFill>
              </a:rPr>
              <a:t>üstü</a:t>
            </a:r>
            <a:endPar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5" name="Rectangle 164">
            <a:extLst>
              <a:ext uri="{FF2B5EF4-FFF2-40B4-BE49-F238E27FC236}">
                <a16:creationId xmlns:a16="http://schemas.microsoft.com/office/drawing/2014/main" id="{C4E0DEE1-B438-E54E-E0CF-F81EA79D906A}"/>
              </a:ext>
            </a:extLst>
          </p:cNvPr>
          <p:cNvSpPr/>
          <p:nvPr/>
        </p:nvSpPr>
        <p:spPr>
          <a:xfrm>
            <a:off x="0" y="4351991"/>
            <a:ext cx="5212080" cy="76201"/>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32" name="Group 231">
            <a:extLst>
              <a:ext uri="{FF2B5EF4-FFF2-40B4-BE49-F238E27FC236}">
                <a16:creationId xmlns:a16="http://schemas.microsoft.com/office/drawing/2014/main" id="{827C5578-71C6-C80E-5758-7456C35C1BE1}"/>
              </a:ext>
            </a:extLst>
          </p:cNvPr>
          <p:cNvGrpSpPr/>
          <p:nvPr/>
        </p:nvGrpSpPr>
        <p:grpSpPr>
          <a:xfrm flipV="1">
            <a:off x="5556561" y="3200822"/>
            <a:ext cx="6635439" cy="2378538"/>
            <a:chOff x="7268409" y="3285884"/>
            <a:chExt cx="6380097" cy="2378538"/>
          </a:xfrm>
        </p:grpSpPr>
        <p:grpSp>
          <p:nvGrpSpPr>
            <p:cNvPr id="194" name="Group 193">
              <a:extLst>
                <a:ext uri="{FF2B5EF4-FFF2-40B4-BE49-F238E27FC236}">
                  <a16:creationId xmlns:a16="http://schemas.microsoft.com/office/drawing/2014/main" id="{CBC3967D-D7E1-6BEA-F891-ACA0EE54CD8F}"/>
                </a:ext>
              </a:extLst>
            </p:cNvPr>
            <p:cNvGrpSpPr/>
            <p:nvPr/>
          </p:nvGrpSpPr>
          <p:grpSpPr>
            <a:xfrm flipV="1">
              <a:off x="7639540" y="3285884"/>
              <a:ext cx="6008966" cy="1057515"/>
              <a:chOff x="5842314" y="1409695"/>
              <a:chExt cx="8178948" cy="4367303"/>
            </a:xfrm>
            <a:solidFill>
              <a:schemeClr val="bg2">
                <a:lumMod val="20000"/>
                <a:lumOff val="80000"/>
              </a:schemeClr>
            </a:solidFill>
          </p:grpSpPr>
          <p:sp>
            <p:nvSpPr>
              <p:cNvPr id="195" name="Parallelogram 194">
                <a:extLst>
                  <a:ext uri="{FF2B5EF4-FFF2-40B4-BE49-F238E27FC236}">
                    <a16:creationId xmlns:a16="http://schemas.microsoft.com/office/drawing/2014/main" id="{832E0BC9-411A-6FA4-0150-AD98571185C6}"/>
                  </a:ext>
                </a:extLst>
              </p:cNvPr>
              <p:cNvSpPr/>
              <p:nvPr/>
            </p:nvSpPr>
            <p:spPr>
              <a:xfrm flipH="1">
                <a:off x="5842314" y="1409699"/>
                <a:ext cx="1808290" cy="4367299"/>
              </a:xfrm>
              <a:prstGeom prst="parallelogram">
                <a:avLst>
                  <a:gd name="adj" fmla="val 26801"/>
                </a:avLst>
              </a:prstGeom>
              <a:grp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sp>
            <p:nvSpPr>
              <p:cNvPr id="196" name="Rectangle 195">
                <a:extLst>
                  <a:ext uri="{FF2B5EF4-FFF2-40B4-BE49-F238E27FC236}">
                    <a16:creationId xmlns:a16="http://schemas.microsoft.com/office/drawing/2014/main" id="{C5E60F17-A607-197B-2258-886A72C18D84}"/>
                  </a:ext>
                </a:extLst>
              </p:cNvPr>
              <p:cNvSpPr/>
              <p:nvPr/>
            </p:nvSpPr>
            <p:spPr>
              <a:xfrm flipH="1" flipV="1">
                <a:off x="6598933" y="1409695"/>
                <a:ext cx="7422329" cy="4367299"/>
              </a:xfrm>
              <a:prstGeom prst="rect">
                <a:avLst/>
              </a:prstGeom>
              <a:grpFill/>
              <a:ln w="571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grpSp>
        <p:grpSp>
          <p:nvGrpSpPr>
            <p:cNvPr id="197" name="Group 196">
              <a:extLst>
                <a:ext uri="{FF2B5EF4-FFF2-40B4-BE49-F238E27FC236}">
                  <a16:creationId xmlns:a16="http://schemas.microsoft.com/office/drawing/2014/main" id="{BBCDCA07-E319-11F5-69D5-E2FA1F6BFD4D}"/>
                </a:ext>
              </a:extLst>
            </p:cNvPr>
            <p:cNvGrpSpPr/>
            <p:nvPr/>
          </p:nvGrpSpPr>
          <p:grpSpPr>
            <a:xfrm flipV="1">
              <a:off x="7359783" y="4314376"/>
              <a:ext cx="6288722" cy="1057515"/>
              <a:chOff x="5856230" y="1409695"/>
              <a:chExt cx="8046062" cy="4367303"/>
            </a:xfrm>
            <a:solidFill>
              <a:schemeClr val="bg2">
                <a:lumMod val="20000"/>
                <a:lumOff val="80000"/>
              </a:schemeClr>
            </a:solidFill>
          </p:grpSpPr>
          <p:sp>
            <p:nvSpPr>
              <p:cNvPr id="198" name="Parallelogram 197">
                <a:extLst>
                  <a:ext uri="{FF2B5EF4-FFF2-40B4-BE49-F238E27FC236}">
                    <a16:creationId xmlns:a16="http://schemas.microsoft.com/office/drawing/2014/main" id="{A2D561EA-5B72-D230-B2BC-648D18117F06}"/>
                  </a:ext>
                </a:extLst>
              </p:cNvPr>
              <p:cNvSpPr/>
              <p:nvPr/>
            </p:nvSpPr>
            <p:spPr>
              <a:xfrm flipH="1">
                <a:off x="5856230" y="1409699"/>
                <a:ext cx="1808290" cy="4367299"/>
              </a:xfrm>
              <a:prstGeom prst="parallelogram">
                <a:avLst>
                  <a:gd name="adj" fmla="val 26801"/>
                </a:avLst>
              </a:prstGeom>
              <a:grp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sp>
            <p:nvSpPr>
              <p:cNvPr id="199" name="Rectangle 198">
                <a:extLst>
                  <a:ext uri="{FF2B5EF4-FFF2-40B4-BE49-F238E27FC236}">
                    <a16:creationId xmlns:a16="http://schemas.microsoft.com/office/drawing/2014/main" id="{3E103A90-5DBF-F75A-38B4-63A25E04BCEE}"/>
                  </a:ext>
                </a:extLst>
              </p:cNvPr>
              <p:cNvSpPr/>
              <p:nvPr/>
            </p:nvSpPr>
            <p:spPr>
              <a:xfrm flipH="1" flipV="1">
                <a:off x="6612847" y="1409695"/>
                <a:ext cx="7289445" cy="4367299"/>
              </a:xfrm>
              <a:prstGeom prst="rect">
                <a:avLst/>
              </a:prstGeom>
              <a:grpFill/>
              <a:ln w="571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grpSp>
        <p:grpSp>
          <p:nvGrpSpPr>
            <p:cNvPr id="200" name="Group 199">
              <a:extLst>
                <a:ext uri="{FF2B5EF4-FFF2-40B4-BE49-F238E27FC236}">
                  <a16:creationId xmlns:a16="http://schemas.microsoft.com/office/drawing/2014/main" id="{F6DFF291-A324-1E28-1CB5-C0DDB2BE6AB3}"/>
                </a:ext>
              </a:extLst>
            </p:cNvPr>
            <p:cNvGrpSpPr/>
            <p:nvPr/>
          </p:nvGrpSpPr>
          <p:grpSpPr>
            <a:xfrm flipV="1">
              <a:off x="7268409" y="4606907"/>
              <a:ext cx="6380096" cy="1057515"/>
              <a:chOff x="5856230" y="1409695"/>
              <a:chExt cx="8063720" cy="4367303"/>
            </a:xfrm>
            <a:solidFill>
              <a:schemeClr val="bg2">
                <a:lumMod val="20000"/>
                <a:lumOff val="80000"/>
              </a:schemeClr>
            </a:solidFill>
          </p:grpSpPr>
          <p:sp>
            <p:nvSpPr>
              <p:cNvPr id="201" name="Parallelogram 200">
                <a:extLst>
                  <a:ext uri="{FF2B5EF4-FFF2-40B4-BE49-F238E27FC236}">
                    <a16:creationId xmlns:a16="http://schemas.microsoft.com/office/drawing/2014/main" id="{40E509BD-E4D5-85BC-52A8-C4A08CC2F4A2}"/>
                  </a:ext>
                </a:extLst>
              </p:cNvPr>
              <p:cNvSpPr/>
              <p:nvPr/>
            </p:nvSpPr>
            <p:spPr>
              <a:xfrm flipH="1">
                <a:off x="5856230" y="1409699"/>
                <a:ext cx="1808290" cy="4367299"/>
              </a:xfrm>
              <a:prstGeom prst="parallelogram">
                <a:avLst>
                  <a:gd name="adj" fmla="val 26801"/>
                </a:avLst>
              </a:prstGeom>
              <a:grp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sp>
            <p:nvSpPr>
              <p:cNvPr id="202" name="Rectangle 201">
                <a:extLst>
                  <a:ext uri="{FF2B5EF4-FFF2-40B4-BE49-F238E27FC236}">
                    <a16:creationId xmlns:a16="http://schemas.microsoft.com/office/drawing/2014/main" id="{B0B9587B-6FBF-ABC4-2AD1-3F5E45152F4A}"/>
                  </a:ext>
                </a:extLst>
              </p:cNvPr>
              <p:cNvSpPr/>
              <p:nvPr/>
            </p:nvSpPr>
            <p:spPr>
              <a:xfrm flipH="1" flipV="1">
                <a:off x="6612846" y="1409695"/>
                <a:ext cx="7307104" cy="4367299"/>
              </a:xfrm>
              <a:prstGeom prst="rect">
                <a:avLst/>
              </a:prstGeom>
              <a:grpFill/>
              <a:ln w="571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grpSp>
      </p:grpSp>
      <p:sp>
        <p:nvSpPr>
          <p:cNvPr id="206" name="Rectangle 205">
            <a:extLst>
              <a:ext uri="{FF2B5EF4-FFF2-40B4-BE49-F238E27FC236}">
                <a16:creationId xmlns:a16="http://schemas.microsoft.com/office/drawing/2014/main" id="{E0E4A16E-1D89-CD96-31ED-802F99FF5326}"/>
              </a:ext>
            </a:extLst>
          </p:cNvPr>
          <p:cNvSpPr/>
          <p:nvPr/>
        </p:nvSpPr>
        <p:spPr>
          <a:xfrm>
            <a:off x="5884054" y="4351991"/>
            <a:ext cx="6309360" cy="76201"/>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2" name="Group 41">
            <a:extLst>
              <a:ext uri="{FF2B5EF4-FFF2-40B4-BE49-F238E27FC236}">
                <a16:creationId xmlns:a16="http://schemas.microsoft.com/office/drawing/2014/main" id="{9EDB7FD7-74E9-736A-1ADD-9430F63E6050}"/>
              </a:ext>
            </a:extLst>
          </p:cNvPr>
          <p:cNvGrpSpPr/>
          <p:nvPr/>
        </p:nvGrpSpPr>
        <p:grpSpPr>
          <a:xfrm>
            <a:off x="6959750" y="3424369"/>
            <a:ext cx="351026" cy="831979"/>
            <a:chOff x="2671426" y="1333502"/>
            <a:chExt cx="636749" cy="1509182"/>
          </a:xfrm>
          <a:solidFill>
            <a:schemeClr val="accent2"/>
          </a:solidFill>
        </p:grpSpPr>
        <p:sp>
          <p:nvSpPr>
            <p:cNvPr id="43" name="Freeform: Shape 42">
              <a:extLst>
                <a:ext uri="{FF2B5EF4-FFF2-40B4-BE49-F238E27FC236}">
                  <a16:creationId xmlns:a16="http://schemas.microsoft.com/office/drawing/2014/main" id="{1EFC23B9-C466-042D-2245-169D25510693}"/>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44" name="Freeform: Shape 43">
              <a:extLst>
                <a:ext uri="{FF2B5EF4-FFF2-40B4-BE49-F238E27FC236}">
                  <a16:creationId xmlns:a16="http://schemas.microsoft.com/office/drawing/2014/main" id="{C2CC29B3-74E1-A6FB-8369-DAD3ADACAD3B}"/>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45" name="Freeform: Shape 44">
              <a:extLst>
                <a:ext uri="{FF2B5EF4-FFF2-40B4-BE49-F238E27FC236}">
                  <a16:creationId xmlns:a16="http://schemas.microsoft.com/office/drawing/2014/main" id="{D6529A76-06D5-BFE1-0FF3-CE8CD8B56355}"/>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46" name="Group 45">
            <a:extLst>
              <a:ext uri="{FF2B5EF4-FFF2-40B4-BE49-F238E27FC236}">
                <a16:creationId xmlns:a16="http://schemas.microsoft.com/office/drawing/2014/main" id="{968C4C77-858E-439B-9D9A-89349B1EC533}"/>
              </a:ext>
            </a:extLst>
          </p:cNvPr>
          <p:cNvGrpSpPr/>
          <p:nvPr/>
        </p:nvGrpSpPr>
        <p:grpSpPr>
          <a:xfrm>
            <a:off x="7521428" y="3424369"/>
            <a:ext cx="351026" cy="831979"/>
            <a:chOff x="2671426" y="1333502"/>
            <a:chExt cx="636749" cy="1509182"/>
          </a:xfrm>
          <a:solidFill>
            <a:schemeClr val="accent2"/>
          </a:solidFill>
        </p:grpSpPr>
        <p:sp>
          <p:nvSpPr>
            <p:cNvPr id="47" name="Freeform: Shape 46">
              <a:extLst>
                <a:ext uri="{FF2B5EF4-FFF2-40B4-BE49-F238E27FC236}">
                  <a16:creationId xmlns:a16="http://schemas.microsoft.com/office/drawing/2014/main" id="{0F8A0E66-0AF9-247C-082C-2EA6870C488C}"/>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48" name="Freeform: Shape 47">
              <a:extLst>
                <a:ext uri="{FF2B5EF4-FFF2-40B4-BE49-F238E27FC236}">
                  <a16:creationId xmlns:a16="http://schemas.microsoft.com/office/drawing/2014/main" id="{17C8B59C-6ECA-ED3A-00BC-6359015FA532}"/>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49" name="Freeform: Shape 48">
              <a:extLst>
                <a:ext uri="{FF2B5EF4-FFF2-40B4-BE49-F238E27FC236}">
                  <a16:creationId xmlns:a16="http://schemas.microsoft.com/office/drawing/2014/main" id="{0B32D1EB-8FCC-764E-3219-4F875F03BC80}"/>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50" name="Group 49">
            <a:extLst>
              <a:ext uri="{FF2B5EF4-FFF2-40B4-BE49-F238E27FC236}">
                <a16:creationId xmlns:a16="http://schemas.microsoft.com/office/drawing/2014/main" id="{E7E69460-5FB1-C292-3569-99445976A669}"/>
              </a:ext>
            </a:extLst>
          </p:cNvPr>
          <p:cNvGrpSpPr/>
          <p:nvPr/>
        </p:nvGrpSpPr>
        <p:grpSpPr>
          <a:xfrm>
            <a:off x="8083106" y="3424369"/>
            <a:ext cx="351026" cy="831979"/>
            <a:chOff x="2671426" y="1333502"/>
            <a:chExt cx="636749" cy="1509182"/>
          </a:xfrm>
          <a:solidFill>
            <a:schemeClr val="accent2"/>
          </a:solidFill>
        </p:grpSpPr>
        <p:sp>
          <p:nvSpPr>
            <p:cNvPr id="54" name="Freeform: Shape 53">
              <a:extLst>
                <a:ext uri="{FF2B5EF4-FFF2-40B4-BE49-F238E27FC236}">
                  <a16:creationId xmlns:a16="http://schemas.microsoft.com/office/drawing/2014/main" id="{4D222A09-6675-3A44-E0D6-C34A37342DC1}"/>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62" name="Freeform: Shape 61">
              <a:extLst>
                <a:ext uri="{FF2B5EF4-FFF2-40B4-BE49-F238E27FC236}">
                  <a16:creationId xmlns:a16="http://schemas.microsoft.com/office/drawing/2014/main" id="{D3860C1A-5B0B-C28D-8F32-CC857F7FA99F}"/>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64" name="Freeform: Shape 63">
              <a:extLst>
                <a:ext uri="{FF2B5EF4-FFF2-40B4-BE49-F238E27FC236}">
                  <a16:creationId xmlns:a16="http://schemas.microsoft.com/office/drawing/2014/main" id="{DF9BEC0A-FDBF-F458-00F3-8C8C00D811A4}"/>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187" name="Group 186">
            <a:extLst>
              <a:ext uri="{FF2B5EF4-FFF2-40B4-BE49-F238E27FC236}">
                <a16:creationId xmlns:a16="http://schemas.microsoft.com/office/drawing/2014/main" id="{C861E7AD-E8E5-0653-30E8-527D52ACB84D}"/>
              </a:ext>
            </a:extLst>
          </p:cNvPr>
          <p:cNvGrpSpPr/>
          <p:nvPr/>
        </p:nvGrpSpPr>
        <p:grpSpPr>
          <a:xfrm>
            <a:off x="6398072" y="3424369"/>
            <a:ext cx="351026" cy="831979"/>
            <a:chOff x="2671426" y="1333502"/>
            <a:chExt cx="636749" cy="1509182"/>
          </a:xfrm>
          <a:solidFill>
            <a:schemeClr val="accent2"/>
          </a:solidFill>
        </p:grpSpPr>
        <p:sp>
          <p:nvSpPr>
            <p:cNvPr id="188" name="Freeform: Shape 187">
              <a:extLst>
                <a:ext uri="{FF2B5EF4-FFF2-40B4-BE49-F238E27FC236}">
                  <a16:creationId xmlns:a16="http://schemas.microsoft.com/office/drawing/2014/main" id="{F4270D24-4371-B426-5DB7-2D33070684DB}"/>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89" name="Freeform: Shape 188">
              <a:extLst>
                <a:ext uri="{FF2B5EF4-FFF2-40B4-BE49-F238E27FC236}">
                  <a16:creationId xmlns:a16="http://schemas.microsoft.com/office/drawing/2014/main" id="{A983EABA-3C56-4C9C-1BC4-F6716C85FDF8}"/>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190" name="Freeform: Shape 189">
              <a:extLst>
                <a:ext uri="{FF2B5EF4-FFF2-40B4-BE49-F238E27FC236}">
                  <a16:creationId xmlns:a16="http://schemas.microsoft.com/office/drawing/2014/main" id="{E381D9EC-15F8-3AA8-3159-63C6FF7684EE}"/>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07" name="Group 206">
            <a:extLst>
              <a:ext uri="{FF2B5EF4-FFF2-40B4-BE49-F238E27FC236}">
                <a16:creationId xmlns:a16="http://schemas.microsoft.com/office/drawing/2014/main" id="{B7E6DF4F-7C29-7941-C8B2-58391FA0D70B}"/>
              </a:ext>
            </a:extLst>
          </p:cNvPr>
          <p:cNvGrpSpPr/>
          <p:nvPr/>
        </p:nvGrpSpPr>
        <p:grpSpPr>
          <a:xfrm>
            <a:off x="8644784" y="3424369"/>
            <a:ext cx="351026" cy="831979"/>
            <a:chOff x="2671426" y="1333502"/>
            <a:chExt cx="636749" cy="1509182"/>
          </a:xfrm>
          <a:solidFill>
            <a:schemeClr val="accent2"/>
          </a:solidFill>
        </p:grpSpPr>
        <p:sp>
          <p:nvSpPr>
            <p:cNvPr id="208" name="Freeform: Shape 207">
              <a:extLst>
                <a:ext uri="{FF2B5EF4-FFF2-40B4-BE49-F238E27FC236}">
                  <a16:creationId xmlns:a16="http://schemas.microsoft.com/office/drawing/2014/main" id="{E59E1978-F495-0B96-8D1A-EDCCFAF5C312}"/>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09" name="Freeform: Shape 208">
              <a:extLst>
                <a:ext uri="{FF2B5EF4-FFF2-40B4-BE49-F238E27FC236}">
                  <a16:creationId xmlns:a16="http://schemas.microsoft.com/office/drawing/2014/main" id="{DF11E033-1012-8640-A38F-F3FA632214ED}"/>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10" name="Freeform: Shape 209">
              <a:extLst>
                <a:ext uri="{FF2B5EF4-FFF2-40B4-BE49-F238E27FC236}">
                  <a16:creationId xmlns:a16="http://schemas.microsoft.com/office/drawing/2014/main" id="{156134B6-478C-5D04-C2F9-B3B012E87D89}"/>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11" name="Group 210">
            <a:extLst>
              <a:ext uri="{FF2B5EF4-FFF2-40B4-BE49-F238E27FC236}">
                <a16:creationId xmlns:a16="http://schemas.microsoft.com/office/drawing/2014/main" id="{15C6F811-F90D-6E06-C7CB-15B9DC3A0685}"/>
              </a:ext>
            </a:extLst>
          </p:cNvPr>
          <p:cNvGrpSpPr/>
          <p:nvPr/>
        </p:nvGrpSpPr>
        <p:grpSpPr>
          <a:xfrm>
            <a:off x="9768140" y="3424369"/>
            <a:ext cx="351026" cy="831979"/>
            <a:chOff x="2671426" y="1333502"/>
            <a:chExt cx="636749" cy="1509182"/>
          </a:xfrm>
          <a:solidFill>
            <a:schemeClr val="accent2"/>
          </a:solidFill>
        </p:grpSpPr>
        <p:sp>
          <p:nvSpPr>
            <p:cNvPr id="212" name="Freeform: Shape 211">
              <a:extLst>
                <a:ext uri="{FF2B5EF4-FFF2-40B4-BE49-F238E27FC236}">
                  <a16:creationId xmlns:a16="http://schemas.microsoft.com/office/drawing/2014/main" id="{3C96ADED-7C56-585E-150B-43D46E1DEBE8}"/>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13" name="Freeform: Shape 212">
              <a:extLst>
                <a:ext uri="{FF2B5EF4-FFF2-40B4-BE49-F238E27FC236}">
                  <a16:creationId xmlns:a16="http://schemas.microsoft.com/office/drawing/2014/main" id="{9C1449B3-20D8-B951-0154-A92937AFE0A6}"/>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14" name="Freeform: Shape 213">
              <a:extLst>
                <a:ext uri="{FF2B5EF4-FFF2-40B4-BE49-F238E27FC236}">
                  <a16:creationId xmlns:a16="http://schemas.microsoft.com/office/drawing/2014/main" id="{7E53E5AB-139E-FF37-CB52-97B24D142EE7}"/>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15" name="Group 214">
            <a:extLst>
              <a:ext uri="{FF2B5EF4-FFF2-40B4-BE49-F238E27FC236}">
                <a16:creationId xmlns:a16="http://schemas.microsoft.com/office/drawing/2014/main" id="{811934EE-5507-2889-4572-A0C406B13A48}"/>
              </a:ext>
            </a:extLst>
          </p:cNvPr>
          <p:cNvGrpSpPr/>
          <p:nvPr/>
        </p:nvGrpSpPr>
        <p:grpSpPr>
          <a:xfrm>
            <a:off x="10329818" y="3424369"/>
            <a:ext cx="351026" cy="831979"/>
            <a:chOff x="2671426" y="1333502"/>
            <a:chExt cx="636749" cy="1509182"/>
          </a:xfrm>
          <a:solidFill>
            <a:schemeClr val="accent2"/>
          </a:solidFill>
        </p:grpSpPr>
        <p:sp>
          <p:nvSpPr>
            <p:cNvPr id="216" name="Freeform: Shape 215">
              <a:extLst>
                <a:ext uri="{FF2B5EF4-FFF2-40B4-BE49-F238E27FC236}">
                  <a16:creationId xmlns:a16="http://schemas.microsoft.com/office/drawing/2014/main" id="{37EC4477-8EF1-4E39-2A56-0F67190F308D}"/>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17" name="Freeform: Shape 216">
              <a:extLst>
                <a:ext uri="{FF2B5EF4-FFF2-40B4-BE49-F238E27FC236}">
                  <a16:creationId xmlns:a16="http://schemas.microsoft.com/office/drawing/2014/main" id="{EA35676D-B07A-FD29-7E85-F72A1B6C73F0}"/>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18" name="Freeform: Shape 217">
              <a:extLst>
                <a:ext uri="{FF2B5EF4-FFF2-40B4-BE49-F238E27FC236}">
                  <a16:creationId xmlns:a16="http://schemas.microsoft.com/office/drawing/2014/main" id="{E6E276A4-1F2F-A7C2-73D8-B8E49293DC71}"/>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19" name="Group 218">
            <a:extLst>
              <a:ext uri="{FF2B5EF4-FFF2-40B4-BE49-F238E27FC236}">
                <a16:creationId xmlns:a16="http://schemas.microsoft.com/office/drawing/2014/main" id="{4D2DBCCC-4B7E-B50B-FFA0-05BF83C1584A}"/>
              </a:ext>
            </a:extLst>
          </p:cNvPr>
          <p:cNvGrpSpPr/>
          <p:nvPr/>
        </p:nvGrpSpPr>
        <p:grpSpPr>
          <a:xfrm>
            <a:off x="10891496" y="3424369"/>
            <a:ext cx="351026" cy="831979"/>
            <a:chOff x="2671426" y="1333502"/>
            <a:chExt cx="636749" cy="1509182"/>
          </a:xfrm>
          <a:solidFill>
            <a:schemeClr val="accent2"/>
          </a:solidFill>
        </p:grpSpPr>
        <p:sp>
          <p:nvSpPr>
            <p:cNvPr id="220" name="Freeform: Shape 219">
              <a:extLst>
                <a:ext uri="{FF2B5EF4-FFF2-40B4-BE49-F238E27FC236}">
                  <a16:creationId xmlns:a16="http://schemas.microsoft.com/office/drawing/2014/main" id="{06F5CA32-A8E4-7851-A82E-19B5ECEB0B6D}"/>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21" name="Freeform: Shape 220">
              <a:extLst>
                <a:ext uri="{FF2B5EF4-FFF2-40B4-BE49-F238E27FC236}">
                  <a16:creationId xmlns:a16="http://schemas.microsoft.com/office/drawing/2014/main" id="{FBE03AE3-1FC4-593C-5E44-39A25CC6BF00}"/>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22" name="Freeform: Shape 221">
              <a:extLst>
                <a:ext uri="{FF2B5EF4-FFF2-40B4-BE49-F238E27FC236}">
                  <a16:creationId xmlns:a16="http://schemas.microsoft.com/office/drawing/2014/main" id="{FD62BC34-1592-B2C7-2134-8868C53C9FBA}"/>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23" name="Group 222">
            <a:extLst>
              <a:ext uri="{FF2B5EF4-FFF2-40B4-BE49-F238E27FC236}">
                <a16:creationId xmlns:a16="http://schemas.microsoft.com/office/drawing/2014/main" id="{49C85516-4E55-CE6B-CC1D-EF5EA967C0C5}"/>
              </a:ext>
            </a:extLst>
          </p:cNvPr>
          <p:cNvGrpSpPr/>
          <p:nvPr/>
        </p:nvGrpSpPr>
        <p:grpSpPr>
          <a:xfrm>
            <a:off x="9206462" y="3424369"/>
            <a:ext cx="351026" cy="831979"/>
            <a:chOff x="2671426" y="1333502"/>
            <a:chExt cx="636749" cy="1509182"/>
          </a:xfrm>
          <a:solidFill>
            <a:schemeClr val="accent2"/>
          </a:solidFill>
        </p:grpSpPr>
        <p:sp>
          <p:nvSpPr>
            <p:cNvPr id="224" name="Freeform: Shape 223">
              <a:extLst>
                <a:ext uri="{FF2B5EF4-FFF2-40B4-BE49-F238E27FC236}">
                  <a16:creationId xmlns:a16="http://schemas.microsoft.com/office/drawing/2014/main" id="{E3CF3132-69C2-35C5-3447-D994926E2C2E}"/>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25" name="Freeform: Shape 224">
              <a:extLst>
                <a:ext uri="{FF2B5EF4-FFF2-40B4-BE49-F238E27FC236}">
                  <a16:creationId xmlns:a16="http://schemas.microsoft.com/office/drawing/2014/main" id="{874B2B7D-52AC-9B8E-CBFE-BC021FE436AA}"/>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26" name="Freeform: Shape 225">
              <a:extLst>
                <a:ext uri="{FF2B5EF4-FFF2-40B4-BE49-F238E27FC236}">
                  <a16:creationId xmlns:a16="http://schemas.microsoft.com/office/drawing/2014/main" id="{D979045B-FF6D-EA52-FD72-73CA6B7CE8AF}"/>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27" name="Group 226">
            <a:extLst>
              <a:ext uri="{FF2B5EF4-FFF2-40B4-BE49-F238E27FC236}">
                <a16:creationId xmlns:a16="http://schemas.microsoft.com/office/drawing/2014/main" id="{8E3E19A8-F9AE-EDBC-899B-28B6FF408FD1}"/>
              </a:ext>
            </a:extLst>
          </p:cNvPr>
          <p:cNvGrpSpPr/>
          <p:nvPr/>
        </p:nvGrpSpPr>
        <p:grpSpPr>
          <a:xfrm>
            <a:off x="11453176" y="3424369"/>
            <a:ext cx="351026" cy="831979"/>
            <a:chOff x="2671426" y="1333502"/>
            <a:chExt cx="636749" cy="1509182"/>
          </a:xfrm>
          <a:solidFill>
            <a:schemeClr val="accent2"/>
          </a:solidFill>
        </p:grpSpPr>
        <p:sp>
          <p:nvSpPr>
            <p:cNvPr id="228" name="Freeform: Shape 227">
              <a:extLst>
                <a:ext uri="{FF2B5EF4-FFF2-40B4-BE49-F238E27FC236}">
                  <a16:creationId xmlns:a16="http://schemas.microsoft.com/office/drawing/2014/main" id="{A6162212-F0AB-57D8-9F66-8C4773E9C820}"/>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29" name="Freeform: Shape 228">
              <a:extLst>
                <a:ext uri="{FF2B5EF4-FFF2-40B4-BE49-F238E27FC236}">
                  <a16:creationId xmlns:a16="http://schemas.microsoft.com/office/drawing/2014/main" id="{DF2A8A45-5CE8-3732-D277-202A8ABD5DC0}"/>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30" name="Freeform: Shape 229">
              <a:extLst>
                <a:ext uri="{FF2B5EF4-FFF2-40B4-BE49-F238E27FC236}">
                  <a16:creationId xmlns:a16="http://schemas.microsoft.com/office/drawing/2014/main" id="{B70BD119-AF2E-D10C-2F2F-A62AF6387168}"/>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34" name="Group 233">
            <a:extLst>
              <a:ext uri="{FF2B5EF4-FFF2-40B4-BE49-F238E27FC236}">
                <a16:creationId xmlns:a16="http://schemas.microsoft.com/office/drawing/2014/main" id="{AD42B99D-CCDB-53FE-3C1D-8EC02C603194}"/>
              </a:ext>
            </a:extLst>
          </p:cNvPr>
          <p:cNvGrpSpPr/>
          <p:nvPr/>
        </p:nvGrpSpPr>
        <p:grpSpPr>
          <a:xfrm>
            <a:off x="6959750" y="4535802"/>
            <a:ext cx="351026" cy="831979"/>
            <a:chOff x="2671426" y="1333502"/>
            <a:chExt cx="636749" cy="1509182"/>
          </a:xfrm>
          <a:solidFill>
            <a:schemeClr val="accent2"/>
          </a:solidFill>
        </p:grpSpPr>
        <p:sp>
          <p:nvSpPr>
            <p:cNvPr id="271" name="Freeform: Shape 270">
              <a:extLst>
                <a:ext uri="{FF2B5EF4-FFF2-40B4-BE49-F238E27FC236}">
                  <a16:creationId xmlns:a16="http://schemas.microsoft.com/office/drawing/2014/main" id="{E7ADC4DC-713B-273D-143B-D5E9CDAB0B26}"/>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72" name="Freeform: Shape 271">
              <a:extLst>
                <a:ext uri="{FF2B5EF4-FFF2-40B4-BE49-F238E27FC236}">
                  <a16:creationId xmlns:a16="http://schemas.microsoft.com/office/drawing/2014/main" id="{67DF4053-D97F-7C9E-B942-F5F8E2AAD10B}"/>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73" name="Freeform: Shape 272">
              <a:extLst>
                <a:ext uri="{FF2B5EF4-FFF2-40B4-BE49-F238E27FC236}">
                  <a16:creationId xmlns:a16="http://schemas.microsoft.com/office/drawing/2014/main" id="{A9477F1F-57F7-67AE-85DB-4CF43C26A8B0}"/>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35" name="Group 234">
            <a:extLst>
              <a:ext uri="{FF2B5EF4-FFF2-40B4-BE49-F238E27FC236}">
                <a16:creationId xmlns:a16="http://schemas.microsoft.com/office/drawing/2014/main" id="{AE76EB15-F001-7D55-B3A9-7FE3F4E0E73E}"/>
              </a:ext>
            </a:extLst>
          </p:cNvPr>
          <p:cNvGrpSpPr/>
          <p:nvPr/>
        </p:nvGrpSpPr>
        <p:grpSpPr>
          <a:xfrm>
            <a:off x="7521428" y="4535802"/>
            <a:ext cx="351026" cy="831979"/>
            <a:chOff x="2671426" y="1333502"/>
            <a:chExt cx="636749" cy="1509182"/>
          </a:xfrm>
          <a:solidFill>
            <a:schemeClr val="accent2"/>
          </a:solidFill>
        </p:grpSpPr>
        <p:sp>
          <p:nvSpPr>
            <p:cNvPr id="268" name="Freeform: Shape 267">
              <a:extLst>
                <a:ext uri="{FF2B5EF4-FFF2-40B4-BE49-F238E27FC236}">
                  <a16:creationId xmlns:a16="http://schemas.microsoft.com/office/drawing/2014/main" id="{CED76536-7B28-966F-B81D-C7CA4E0FCDE2}"/>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69" name="Freeform: Shape 268">
              <a:extLst>
                <a:ext uri="{FF2B5EF4-FFF2-40B4-BE49-F238E27FC236}">
                  <a16:creationId xmlns:a16="http://schemas.microsoft.com/office/drawing/2014/main" id="{7D14DA27-BC1F-07F6-8E46-1EB88343FF50}"/>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70" name="Freeform: Shape 269">
              <a:extLst>
                <a:ext uri="{FF2B5EF4-FFF2-40B4-BE49-F238E27FC236}">
                  <a16:creationId xmlns:a16="http://schemas.microsoft.com/office/drawing/2014/main" id="{2E31C30D-99A7-1A16-1ED1-9DB2CDFD0C9E}"/>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36" name="Group 235">
            <a:extLst>
              <a:ext uri="{FF2B5EF4-FFF2-40B4-BE49-F238E27FC236}">
                <a16:creationId xmlns:a16="http://schemas.microsoft.com/office/drawing/2014/main" id="{2909A998-B3CE-11B6-7722-B6F7F64F9060}"/>
              </a:ext>
            </a:extLst>
          </p:cNvPr>
          <p:cNvGrpSpPr/>
          <p:nvPr/>
        </p:nvGrpSpPr>
        <p:grpSpPr>
          <a:xfrm>
            <a:off x="8083106" y="4535802"/>
            <a:ext cx="351026" cy="831979"/>
            <a:chOff x="2671426" y="1333502"/>
            <a:chExt cx="636749" cy="1509182"/>
          </a:xfrm>
          <a:solidFill>
            <a:schemeClr val="accent1"/>
          </a:solidFill>
        </p:grpSpPr>
        <p:sp>
          <p:nvSpPr>
            <p:cNvPr id="265" name="Freeform: Shape 264">
              <a:extLst>
                <a:ext uri="{FF2B5EF4-FFF2-40B4-BE49-F238E27FC236}">
                  <a16:creationId xmlns:a16="http://schemas.microsoft.com/office/drawing/2014/main" id="{3899948C-EFD7-A4FF-AE77-28ADA3282AAB}"/>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66" name="Freeform: Shape 265">
              <a:extLst>
                <a:ext uri="{FF2B5EF4-FFF2-40B4-BE49-F238E27FC236}">
                  <a16:creationId xmlns:a16="http://schemas.microsoft.com/office/drawing/2014/main" id="{97E2FBC9-FFB2-D568-919B-E7C8C4EFCAF9}"/>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67" name="Freeform: Shape 266">
              <a:extLst>
                <a:ext uri="{FF2B5EF4-FFF2-40B4-BE49-F238E27FC236}">
                  <a16:creationId xmlns:a16="http://schemas.microsoft.com/office/drawing/2014/main" id="{C438E4B4-90DE-99BC-6D8C-EB77A1973E46}"/>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37" name="Group 236">
            <a:extLst>
              <a:ext uri="{FF2B5EF4-FFF2-40B4-BE49-F238E27FC236}">
                <a16:creationId xmlns:a16="http://schemas.microsoft.com/office/drawing/2014/main" id="{A77AB513-4B59-E1B4-CE58-BCAC9E9738DA}"/>
              </a:ext>
            </a:extLst>
          </p:cNvPr>
          <p:cNvGrpSpPr/>
          <p:nvPr/>
        </p:nvGrpSpPr>
        <p:grpSpPr>
          <a:xfrm>
            <a:off x="6398072" y="4535802"/>
            <a:ext cx="351026" cy="831979"/>
            <a:chOff x="2671426" y="1333502"/>
            <a:chExt cx="636749" cy="1509182"/>
          </a:xfrm>
          <a:solidFill>
            <a:schemeClr val="accent2"/>
          </a:solidFill>
        </p:grpSpPr>
        <p:sp>
          <p:nvSpPr>
            <p:cNvPr id="262" name="Freeform: Shape 261">
              <a:extLst>
                <a:ext uri="{FF2B5EF4-FFF2-40B4-BE49-F238E27FC236}">
                  <a16:creationId xmlns:a16="http://schemas.microsoft.com/office/drawing/2014/main" id="{ED66C9CD-6323-58CF-156D-DE59B5B6082D}"/>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63" name="Freeform: Shape 262">
              <a:extLst>
                <a:ext uri="{FF2B5EF4-FFF2-40B4-BE49-F238E27FC236}">
                  <a16:creationId xmlns:a16="http://schemas.microsoft.com/office/drawing/2014/main" id="{0E11DBD8-4B31-6EF2-E0C2-9594A4110E9A}"/>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64" name="Freeform: Shape 263">
              <a:extLst>
                <a:ext uri="{FF2B5EF4-FFF2-40B4-BE49-F238E27FC236}">
                  <a16:creationId xmlns:a16="http://schemas.microsoft.com/office/drawing/2014/main" id="{F51BD120-DC8E-B05E-C503-33075B9B2F99}"/>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38" name="Group 237">
            <a:extLst>
              <a:ext uri="{FF2B5EF4-FFF2-40B4-BE49-F238E27FC236}">
                <a16:creationId xmlns:a16="http://schemas.microsoft.com/office/drawing/2014/main" id="{397436AC-7E79-A5DD-B802-D9F4D5072C1A}"/>
              </a:ext>
            </a:extLst>
          </p:cNvPr>
          <p:cNvGrpSpPr/>
          <p:nvPr/>
        </p:nvGrpSpPr>
        <p:grpSpPr>
          <a:xfrm>
            <a:off x="8644784" y="4535802"/>
            <a:ext cx="351026" cy="831979"/>
            <a:chOff x="2671426" y="1333502"/>
            <a:chExt cx="636749" cy="1509182"/>
          </a:xfrm>
          <a:solidFill>
            <a:schemeClr val="accent1"/>
          </a:solidFill>
        </p:grpSpPr>
        <p:sp>
          <p:nvSpPr>
            <p:cNvPr id="259" name="Freeform: Shape 258">
              <a:extLst>
                <a:ext uri="{FF2B5EF4-FFF2-40B4-BE49-F238E27FC236}">
                  <a16:creationId xmlns:a16="http://schemas.microsoft.com/office/drawing/2014/main" id="{DD08DCFF-9F00-CDC7-DAE1-9657332306C4}"/>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60" name="Freeform: Shape 259">
              <a:extLst>
                <a:ext uri="{FF2B5EF4-FFF2-40B4-BE49-F238E27FC236}">
                  <a16:creationId xmlns:a16="http://schemas.microsoft.com/office/drawing/2014/main" id="{DE1A1DA9-EA5D-E418-109A-CBEEEB12A9B2}"/>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61" name="Freeform: Shape 260">
              <a:extLst>
                <a:ext uri="{FF2B5EF4-FFF2-40B4-BE49-F238E27FC236}">
                  <a16:creationId xmlns:a16="http://schemas.microsoft.com/office/drawing/2014/main" id="{BCA3E13C-343E-3B62-00B0-00A2419F7E84}"/>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39" name="Group 238">
            <a:extLst>
              <a:ext uri="{FF2B5EF4-FFF2-40B4-BE49-F238E27FC236}">
                <a16:creationId xmlns:a16="http://schemas.microsoft.com/office/drawing/2014/main" id="{F5C762B7-0C30-1ED9-2EB7-BB170203D3E2}"/>
              </a:ext>
            </a:extLst>
          </p:cNvPr>
          <p:cNvGrpSpPr/>
          <p:nvPr/>
        </p:nvGrpSpPr>
        <p:grpSpPr>
          <a:xfrm>
            <a:off x="9768140" y="4535802"/>
            <a:ext cx="351026" cy="831979"/>
            <a:chOff x="2671426" y="1333502"/>
            <a:chExt cx="636749" cy="1509182"/>
          </a:xfrm>
          <a:solidFill>
            <a:schemeClr val="accent1"/>
          </a:solidFill>
        </p:grpSpPr>
        <p:sp>
          <p:nvSpPr>
            <p:cNvPr id="256" name="Freeform: Shape 255">
              <a:extLst>
                <a:ext uri="{FF2B5EF4-FFF2-40B4-BE49-F238E27FC236}">
                  <a16:creationId xmlns:a16="http://schemas.microsoft.com/office/drawing/2014/main" id="{76A61DC5-9CD6-A68B-FAE1-29B6B1F0B72E}"/>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57" name="Freeform: Shape 256">
              <a:extLst>
                <a:ext uri="{FF2B5EF4-FFF2-40B4-BE49-F238E27FC236}">
                  <a16:creationId xmlns:a16="http://schemas.microsoft.com/office/drawing/2014/main" id="{DDAA8E0E-5D02-14A1-4790-62264FE9E6DA}"/>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58" name="Freeform: Shape 257">
              <a:extLst>
                <a:ext uri="{FF2B5EF4-FFF2-40B4-BE49-F238E27FC236}">
                  <a16:creationId xmlns:a16="http://schemas.microsoft.com/office/drawing/2014/main" id="{F1C80BAB-9EC1-75B9-98E4-D4A6ED3157B3}"/>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40" name="Group 239">
            <a:extLst>
              <a:ext uri="{FF2B5EF4-FFF2-40B4-BE49-F238E27FC236}">
                <a16:creationId xmlns:a16="http://schemas.microsoft.com/office/drawing/2014/main" id="{49B3FF9D-E171-3754-9867-90496B6D63B3}"/>
              </a:ext>
            </a:extLst>
          </p:cNvPr>
          <p:cNvGrpSpPr/>
          <p:nvPr/>
        </p:nvGrpSpPr>
        <p:grpSpPr>
          <a:xfrm>
            <a:off x="10329818" y="4535802"/>
            <a:ext cx="351026" cy="831979"/>
            <a:chOff x="2671426" y="1333502"/>
            <a:chExt cx="636749" cy="1509182"/>
          </a:xfrm>
          <a:solidFill>
            <a:schemeClr val="accent1"/>
          </a:solidFill>
        </p:grpSpPr>
        <p:sp>
          <p:nvSpPr>
            <p:cNvPr id="253" name="Freeform: Shape 252">
              <a:extLst>
                <a:ext uri="{FF2B5EF4-FFF2-40B4-BE49-F238E27FC236}">
                  <a16:creationId xmlns:a16="http://schemas.microsoft.com/office/drawing/2014/main" id="{A86F6FA6-D6CB-C4C2-FB5C-39F49E0A87BC}"/>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54" name="Freeform: Shape 253">
              <a:extLst>
                <a:ext uri="{FF2B5EF4-FFF2-40B4-BE49-F238E27FC236}">
                  <a16:creationId xmlns:a16="http://schemas.microsoft.com/office/drawing/2014/main" id="{14647D39-FCBE-15B8-B4F2-41BF6590E4F8}"/>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55" name="Freeform: Shape 254">
              <a:extLst>
                <a:ext uri="{FF2B5EF4-FFF2-40B4-BE49-F238E27FC236}">
                  <a16:creationId xmlns:a16="http://schemas.microsoft.com/office/drawing/2014/main" id="{A56CB723-5A00-A9BF-DF40-4C7F9B389734}"/>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41" name="Group 240">
            <a:extLst>
              <a:ext uri="{FF2B5EF4-FFF2-40B4-BE49-F238E27FC236}">
                <a16:creationId xmlns:a16="http://schemas.microsoft.com/office/drawing/2014/main" id="{0BBD441F-521F-D47A-5360-CCFB72B3F04D}"/>
              </a:ext>
            </a:extLst>
          </p:cNvPr>
          <p:cNvGrpSpPr/>
          <p:nvPr/>
        </p:nvGrpSpPr>
        <p:grpSpPr>
          <a:xfrm>
            <a:off x="10891496" y="4535802"/>
            <a:ext cx="351026" cy="831979"/>
            <a:chOff x="2671426" y="1333502"/>
            <a:chExt cx="636749" cy="1509182"/>
          </a:xfrm>
          <a:solidFill>
            <a:schemeClr val="accent1"/>
          </a:solidFill>
        </p:grpSpPr>
        <p:sp>
          <p:nvSpPr>
            <p:cNvPr id="250" name="Freeform: Shape 249">
              <a:extLst>
                <a:ext uri="{FF2B5EF4-FFF2-40B4-BE49-F238E27FC236}">
                  <a16:creationId xmlns:a16="http://schemas.microsoft.com/office/drawing/2014/main" id="{77A10D6F-5164-4909-4B1E-9B70BE960BD2}"/>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51" name="Freeform: Shape 250">
              <a:extLst>
                <a:ext uri="{FF2B5EF4-FFF2-40B4-BE49-F238E27FC236}">
                  <a16:creationId xmlns:a16="http://schemas.microsoft.com/office/drawing/2014/main" id="{39B8480C-900C-0CDB-6DF0-45BF3F59FAF5}"/>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52" name="Freeform: Shape 251">
              <a:extLst>
                <a:ext uri="{FF2B5EF4-FFF2-40B4-BE49-F238E27FC236}">
                  <a16:creationId xmlns:a16="http://schemas.microsoft.com/office/drawing/2014/main" id="{484EA7AA-6E52-62F1-7946-D04FC87B68E9}"/>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42" name="Group 241">
            <a:extLst>
              <a:ext uri="{FF2B5EF4-FFF2-40B4-BE49-F238E27FC236}">
                <a16:creationId xmlns:a16="http://schemas.microsoft.com/office/drawing/2014/main" id="{C1545A17-E8A1-9A78-BBAD-2DF0F3729304}"/>
              </a:ext>
            </a:extLst>
          </p:cNvPr>
          <p:cNvGrpSpPr/>
          <p:nvPr/>
        </p:nvGrpSpPr>
        <p:grpSpPr>
          <a:xfrm>
            <a:off x="9206462" y="4535802"/>
            <a:ext cx="351026" cy="831979"/>
            <a:chOff x="2671426" y="1333502"/>
            <a:chExt cx="636749" cy="1509182"/>
          </a:xfrm>
          <a:solidFill>
            <a:schemeClr val="accent1"/>
          </a:solidFill>
        </p:grpSpPr>
        <p:sp>
          <p:nvSpPr>
            <p:cNvPr id="247" name="Freeform: Shape 246">
              <a:extLst>
                <a:ext uri="{FF2B5EF4-FFF2-40B4-BE49-F238E27FC236}">
                  <a16:creationId xmlns:a16="http://schemas.microsoft.com/office/drawing/2014/main" id="{6093F3FF-56DA-48E0-47FC-3C0A9289618F}"/>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48" name="Freeform: Shape 247">
              <a:extLst>
                <a:ext uri="{FF2B5EF4-FFF2-40B4-BE49-F238E27FC236}">
                  <a16:creationId xmlns:a16="http://schemas.microsoft.com/office/drawing/2014/main" id="{EF79EDF9-647A-BBB9-38BE-601500606FDE}"/>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49" name="Freeform: Shape 248">
              <a:extLst>
                <a:ext uri="{FF2B5EF4-FFF2-40B4-BE49-F238E27FC236}">
                  <a16:creationId xmlns:a16="http://schemas.microsoft.com/office/drawing/2014/main" id="{ADC2560E-12A9-E629-B261-AD4F2B695216}"/>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243" name="Group 242">
            <a:extLst>
              <a:ext uri="{FF2B5EF4-FFF2-40B4-BE49-F238E27FC236}">
                <a16:creationId xmlns:a16="http://schemas.microsoft.com/office/drawing/2014/main" id="{E6DD5F86-F930-4961-9C12-66EC416DDD0F}"/>
              </a:ext>
            </a:extLst>
          </p:cNvPr>
          <p:cNvGrpSpPr/>
          <p:nvPr/>
        </p:nvGrpSpPr>
        <p:grpSpPr>
          <a:xfrm>
            <a:off x="11453176" y="4535802"/>
            <a:ext cx="351026" cy="831979"/>
            <a:chOff x="2671426" y="1333502"/>
            <a:chExt cx="636749" cy="1509182"/>
          </a:xfrm>
          <a:solidFill>
            <a:schemeClr val="bg2"/>
          </a:solidFill>
        </p:grpSpPr>
        <p:sp>
          <p:nvSpPr>
            <p:cNvPr id="244" name="Freeform: Shape 243">
              <a:extLst>
                <a:ext uri="{FF2B5EF4-FFF2-40B4-BE49-F238E27FC236}">
                  <a16:creationId xmlns:a16="http://schemas.microsoft.com/office/drawing/2014/main" id="{9BF5A46A-C275-D53E-8ED1-022F24730655}"/>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45" name="Freeform: Shape 244">
              <a:extLst>
                <a:ext uri="{FF2B5EF4-FFF2-40B4-BE49-F238E27FC236}">
                  <a16:creationId xmlns:a16="http://schemas.microsoft.com/office/drawing/2014/main" id="{60EC6B20-C6DC-889A-6843-2E2E9AF49A04}"/>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46" name="Freeform: Shape 245">
              <a:extLst>
                <a:ext uri="{FF2B5EF4-FFF2-40B4-BE49-F238E27FC236}">
                  <a16:creationId xmlns:a16="http://schemas.microsoft.com/office/drawing/2014/main" id="{1E5E52BC-369D-FB88-06C4-ACDA76DCFDF8}"/>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sp>
        <p:nvSpPr>
          <p:cNvPr id="304" name="TextBox 303">
            <a:extLst>
              <a:ext uri="{FF2B5EF4-FFF2-40B4-BE49-F238E27FC236}">
                <a16:creationId xmlns:a16="http://schemas.microsoft.com/office/drawing/2014/main" id="{C136033A-E056-F4F8-309C-94EA68D369ED}"/>
              </a:ext>
            </a:extLst>
          </p:cNvPr>
          <p:cNvSpPr txBox="1"/>
          <p:nvPr/>
        </p:nvSpPr>
        <p:spPr>
          <a:xfrm>
            <a:off x="6513506" y="2546078"/>
            <a:ext cx="3432090" cy="313932"/>
          </a:xfrm>
          <a:prstGeom prst="rect">
            <a:avLst/>
          </a:prstGeom>
          <a:noFill/>
        </p:spPr>
        <p:txBody>
          <a:bodyPr wrap="square">
            <a:spAutoFit/>
          </a:bodyPr>
          <a:lstStyle/>
          <a:p>
            <a:pPr marL="284163" lvl="0">
              <a:lnSpc>
                <a:spcPct val="90000"/>
              </a:lnSpc>
              <a:defRPr/>
            </a:pPr>
            <a:r>
              <a:rPr lang="en-US" sz="1600">
                <a:solidFill>
                  <a:srgbClr val="FFFFFF"/>
                </a:solidFill>
              </a:rPr>
              <a:t>Artan risk </a:t>
            </a:r>
            <a:r>
              <a:rPr lang="en-US" sz="1600" err="1">
                <a:solidFill>
                  <a:srgbClr val="FFFFFF"/>
                </a:solidFill>
              </a:rPr>
              <a:t>altında</a:t>
            </a:r>
            <a:endParaRPr kumimoji="0" lang="en-US" sz="1600" b="0"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310" name="Rectangle 309">
            <a:extLst>
              <a:ext uri="{FF2B5EF4-FFF2-40B4-BE49-F238E27FC236}">
                <a16:creationId xmlns:a16="http://schemas.microsoft.com/office/drawing/2014/main" id="{8F72D377-9114-21B0-AF2B-91DED559EA38}"/>
              </a:ext>
            </a:extLst>
          </p:cNvPr>
          <p:cNvSpPr/>
          <p:nvPr/>
        </p:nvSpPr>
        <p:spPr>
          <a:xfrm>
            <a:off x="9038734" y="2409311"/>
            <a:ext cx="3074669" cy="654216"/>
          </a:xfrm>
          <a:prstGeom prst="rect">
            <a:avLst/>
          </a:prstGeom>
          <a:solidFill>
            <a:schemeClr val="bg1"/>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13" name="Group 312">
            <a:extLst>
              <a:ext uri="{FF2B5EF4-FFF2-40B4-BE49-F238E27FC236}">
                <a16:creationId xmlns:a16="http://schemas.microsoft.com/office/drawing/2014/main" id="{0DCDFC3A-FEEE-37D4-E427-4A0485A07FC6}"/>
              </a:ext>
            </a:extLst>
          </p:cNvPr>
          <p:cNvGrpSpPr/>
          <p:nvPr/>
        </p:nvGrpSpPr>
        <p:grpSpPr>
          <a:xfrm>
            <a:off x="9038734" y="2457477"/>
            <a:ext cx="1213066" cy="606050"/>
            <a:chOff x="9750849" y="2579019"/>
            <a:chExt cx="1213066" cy="606050"/>
          </a:xfrm>
        </p:grpSpPr>
        <p:grpSp>
          <p:nvGrpSpPr>
            <p:cNvPr id="284" name="Group 283">
              <a:extLst>
                <a:ext uri="{FF2B5EF4-FFF2-40B4-BE49-F238E27FC236}">
                  <a16:creationId xmlns:a16="http://schemas.microsoft.com/office/drawing/2014/main" id="{8CD468AD-F13A-59A9-F6E8-236E808853EB}"/>
                </a:ext>
              </a:extLst>
            </p:cNvPr>
            <p:cNvGrpSpPr>
              <a:grpSpLocks noChangeAspect="1"/>
            </p:cNvGrpSpPr>
            <p:nvPr/>
          </p:nvGrpSpPr>
          <p:grpSpPr>
            <a:xfrm>
              <a:off x="10489124" y="2579019"/>
              <a:ext cx="160259" cy="379835"/>
              <a:chOff x="2671426" y="1333502"/>
              <a:chExt cx="636749" cy="1509182"/>
            </a:xfrm>
            <a:solidFill>
              <a:schemeClr val="accent2"/>
            </a:solidFill>
          </p:grpSpPr>
          <p:sp>
            <p:nvSpPr>
              <p:cNvPr id="285" name="Freeform: Shape 284">
                <a:extLst>
                  <a:ext uri="{FF2B5EF4-FFF2-40B4-BE49-F238E27FC236}">
                    <a16:creationId xmlns:a16="http://schemas.microsoft.com/office/drawing/2014/main" id="{852B7AA1-17B5-D377-D6DF-61390AEC09D6}"/>
                  </a:ext>
                </a:extLst>
              </p:cNvPr>
              <p:cNvSpPr/>
              <p:nvPr/>
            </p:nvSpPr>
            <p:spPr>
              <a:xfrm>
                <a:off x="2671426" y="1656258"/>
                <a:ext cx="636749" cy="609513"/>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86" name="Freeform: Shape 285">
                <a:extLst>
                  <a:ext uri="{FF2B5EF4-FFF2-40B4-BE49-F238E27FC236}">
                    <a16:creationId xmlns:a16="http://schemas.microsoft.com/office/drawing/2014/main" id="{6712EB1F-6B45-6044-039D-01D9CF1F4C2E}"/>
                  </a:ext>
                </a:extLst>
              </p:cNvPr>
              <p:cNvSpPr/>
              <p:nvPr/>
            </p:nvSpPr>
            <p:spPr>
              <a:xfrm>
                <a:off x="2779888" y="2129226"/>
                <a:ext cx="419861" cy="713458"/>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87" name="Freeform: Shape 286">
                <a:extLst>
                  <a:ext uri="{FF2B5EF4-FFF2-40B4-BE49-F238E27FC236}">
                    <a16:creationId xmlns:a16="http://schemas.microsoft.com/office/drawing/2014/main" id="{8BCBD3AB-06F9-B842-92F2-D3C7E3B6A422}"/>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sp>
          <p:nvSpPr>
            <p:cNvPr id="288" name="TextBox 287">
              <a:extLst>
                <a:ext uri="{FF2B5EF4-FFF2-40B4-BE49-F238E27FC236}">
                  <a16:creationId xmlns:a16="http://schemas.microsoft.com/office/drawing/2014/main" id="{764F3E71-270C-DD3B-E66E-F610E606FCC3}"/>
                </a:ext>
              </a:extLst>
            </p:cNvPr>
            <p:cNvSpPr txBox="1"/>
            <p:nvPr/>
          </p:nvSpPr>
          <p:spPr>
            <a:xfrm>
              <a:off x="9750849" y="2908070"/>
              <a:ext cx="1213066" cy="276999"/>
            </a:xfrm>
            <a:prstGeom prst="rect">
              <a:avLst/>
            </a:prstGeom>
            <a:noFill/>
          </p:spPr>
          <p:txBody>
            <a:bodyPr wrap="square" rtlCol="0">
              <a:spAutoFit/>
            </a:bodyPr>
            <a:lstStyle/>
            <a:p>
              <a:pPr lvl="0" algn="ctr"/>
              <a:r>
                <a:rPr lang="en-US" sz="1200">
                  <a:solidFill>
                    <a:srgbClr val="353B3E"/>
                  </a:solidFill>
                </a:rPr>
                <a:t>Risk </a:t>
              </a:r>
              <a:r>
                <a:rPr lang="en-US" sz="1200" err="1">
                  <a:solidFill>
                    <a:srgbClr val="353B3E"/>
                  </a:solidFill>
                </a:rPr>
                <a:t>altında</a:t>
              </a:r>
              <a:r>
                <a:rPr lang="en-US" sz="1200">
                  <a:solidFill>
                    <a:srgbClr val="353B3E"/>
                  </a:solidFill>
                </a:rPr>
                <a:t>†</a:t>
              </a:r>
              <a:endParaRPr kumimoji="0" lang="en-US" sz="1200" b="0" i="0" u="none" strike="noStrike" kern="1200" cap="none" spc="0" normalizeH="0" baseline="30000" noProof="0">
                <a:ln>
                  <a:noFill/>
                </a:ln>
                <a:solidFill>
                  <a:srgbClr val="353B3E"/>
                </a:solidFill>
                <a:effectLst/>
                <a:uLnTx/>
                <a:uFillTx/>
                <a:latin typeface="Arial" panose="020B0604020202020204"/>
                <a:ea typeface="+mn-ea"/>
                <a:cs typeface="+mn-cs"/>
              </a:endParaRPr>
            </a:p>
          </p:txBody>
        </p:sp>
      </p:grpSp>
      <p:grpSp>
        <p:nvGrpSpPr>
          <p:cNvPr id="312" name="Group 311">
            <a:extLst>
              <a:ext uri="{FF2B5EF4-FFF2-40B4-BE49-F238E27FC236}">
                <a16:creationId xmlns:a16="http://schemas.microsoft.com/office/drawing/2014/main" id="{37CA2532-300D-366B-535F-FD757B8FADDC}"/>
              </a:ext>
            </a:extLst>
          </p:cNvPr>
          <p:cNvGrpSpPr/>
          <p:nvPr/>
        </p:nvGrpSpPr>
        <p:grpSpPr>
          <a:xfrm>
            <a:off x="10069640" y="2433666"/>
            <a:ext cx="1132824" cy="790716"/>
            <a:chOff x="10752805" y="2579019"/>
            <a:chExt cx="847821" cy="790716"/>
          </a:xfrm>
        </p:grpSpPr>
        <p:grpSp>
          <p:nvGrpSpPr>
            <p:cNvPr id="289" name="Group 288">
              <a:extLst>
                <a:ext uri="{FF2B5EF4-FFF2-40B4-BE49-F238E27FC236}">
                  <a16:creationId xmlns:a16="http://schemas.microsoft.com/office/drawing/2014/main" id="{DD88D5AC-F469-7B3E-71CE-DB71D969997E}"/>
                </a:ext>
              </a:extLst>
            </p:cNvPr>
            <p:cNvGrpSpPr>
              <a:grpSpLocks noChangeAspect="1"/>
            </p:cNvGrpSpPr>
            <p:nvPr/>
          </p:nvGrpSpPr>
          <p:grpSpPr>
            <a:xfrm>
              <a:off x="11099238" y="2579019"/>
              <a:ext cx="160259" cy="379835"/>
              <a:chOff x="2671426" y="1333502"/>
              <a:chExt cx="636749" cy="1509182"/>
            </a:xfrm>
            <a:solidFill>
              <a:schemeClr val="accent1"/>
            </a:solidFill>
          </p:grpSpPr>
          <p:sp>
            <p:nvSpPr>
              <p:cNvPr id="290" name="Freeform: Shape 289">
                <a:extLst>
                  <a:ext uri="{FF2B5EF4-FFF2-40B4-BE49-F238E27FC236}">
                    <a16:creationId xmlns:a16="http://schemas.microsoft.com/office/drawing/2014/main" id="{C792A933-C7BC-6C27-DE49-1F813F3C13FB}"/>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91" name="Freeform: Shape 290">
                <a:extLst>
                  <a:ext uri="{FF2B5EF4-FFF2-40B4-BE49-F238E27FC236}">
                    <a16:creationId xmlns:a16="http://schemas.microsoft.com/office/drawing/2014/main" id="{A1E07855-575B-D407-EB6F-CC85D7EFC00A}"/>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92" name="Freeform: Shape 291">
                <a:extLst>
                  <a:ext uri="{FF2B5EF4-FFF2-40B4-BE49-F238E27FC236}">
                    <a16:creationId xmlns:a16="http://schemas.microsoft.com/office/drawing/2014/main" id="{F62137A6-42C1-9C7F-EC3C-D8FC90809F9F}"/>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sp>
          <p:nvSpPr>
            <p:cNvPr id="293" name="TextBox 292">
              <a:extLst>
                <a:ext uri="{FF2B5EF4-FFF2-40B4-BE49-F238E27FC236}">
                  <a16:creationId xmlns:a16="http://schemas.microsoft.com/office/drawing/2014/main" id="{B7043EEC-6C34-1918-412A-6A9D7D1F35A3}"/>
                </a:ext>
              </a:extLst>
            </p:cNvPr>
            <p:cNvSpPr txBox="1"/>
            <p:nvPr/>
          </p:nvSpPr>
          <p:spPr>
            <a:xfrm>
              <a:off x="10752805" y="2908070"/>
              <a:ext cx="847821" cy="461665"/>
            </a:xfrm>
            <a:prstGeom prst="rect">
              <a:avLst/>
            </a:prstGeom>
            <a:noFill/>
          </p:spPr>
          <p:txBody>
            <a:bodyPr wrap="square" rtlCol="0">
              <a:spAutoFit/>
            </a:bodyPr>
            <a:lstStyle/>
            <a:p>
              <a:pPr lvl="0"/>
              <a:r>
                <a:rPr lang="en-US" sz="1200">
                  <a:solidFill>
                    <a:srgbClr val="353B3E"/>
                  </a:solidFill>
                </a:rPr>
                <a:t>Yüksek </a:t>
              </a:r>
              <a:r>
                <a:rPr lang="en-US" sz="1200" err="1">
                  <a:solidFill>
                    <a:srgbClr val="353B3E"/>
                  </a:solidFill>
                </a:rPr>
                <a:t>riskli</a:t>
              </a:r>
              <a:r>
                <a:rPr lang="en-US" sz="1200">
                  <a:solidFill>
                    <a:srgbClr val="353B3E"/>
                  </a:solidFill>
                </a:rPr>
                <a:t>‡</a:t>
              </a:r>
              <a:endParaRPr kumimoji="0" lang="en-US" sz="1200" b="0" i="0" u="none" strike="noStrike" kern="1200" cap="none" spc="0" normalizeH="0" baseline="30000" noProof="0">
                <a:ln>
                  <a:noFill/>
                </a:ln>
                <a:solidFill>
                  <a:srgbClr val="353B3E"/>
                </a:solidFill>
                <a:effectLst/>
                <a:uLnTx/>
                <a:uFillTx/>
                <a:latin typeface="Arial" panose="020B0604020202020204"/>
                <a:ea typeface="+mn-ea"/>
                <a:cs typeface="+mn-cs"/>
              </a:endParaRPr>
            </a:p>
          </p:txBody>
        </p:sp>
      </p:grpSp>
      <p:grpSp>
        <p:nvGrpSpPr>
          <p:cNvPr id="311" name="Group 310">
            <a:extLst>
              <a:ext uri="{FF2B5EF4-FFF2-40B4-BE49-F238E27FC236}">
                <a16:creationId xmlns:a16="http://schemas.microsoft.com/office/drawing/2014/main" id="{EA60EB3D-EEA7-8CA5-CDD0-92D24157209A}"/>
              </a:ext>
            </a:extLst>
          </p:cNvPr>
          <p:cNvGrpSpPr/>
          <p:nvPr/>
        </p:nvGrpSpPr>
        <p:grpSpPr>
          <a:xfrm>
            <a:off x="11126453" y="2440346"/>
            <a:ext cx="1065477" cy="790716"/>
            <a:chOff x="11416082" y="2579019"/>
            <a:chExt cx="789324" cy="790716"/>
          </a:xfrm>
        </p:grpSpPr>
        <p:grpSp>
          <p:nvGrpSpPr>
            <p:cNvPr id="294" name="Group 293">
              <a:extLst>
                <a:ext uri="{FF2B5EF4-FFF2-40B4-BE49-F238E27FC236}">
                  <a16:creationId xmlns:a16="http://schemas.microsoft.com/office/drawing/2014/main" id="{D96A4BBC-B3AC-90B3-2EAA-9635082E431F}"/>
                </a:ext>
              </a:extLst>
            </p:cNvPr>
            <p:cNvGrpSpPr>
              <a:grpSpLocks noChangeAspect="1"/>
            </p:cNvGrpSpPr>
            <p:nvPr/>
          </p:nvGrpSpPr>
          <p:grpSpPr>
            <a:xfrm>
              <a:off x="11730615" y="2579019"/>
              <a:ext cx="160259" cy="379835"/>
              <a:chOff x="2671426" y="1333502"/>
              <a:chExt cx="636749" cy="1509182"/>
            </a:xfrm>
            <a:solidFill>
              <a:srgbClr val="A1AAB1"/>
            </a:solidFill>
          </p:grpSpPr>
          <p:sp>
            <p:nvSpPr>
              <p:cNvPr id="295" name="Freeform: Shape 294">
                <a:extLst>
                  <a:ext uri="{FF2B5EF4-FFF2-40B4-BE49-F238E27FC236}">
                    <a16:creationId xmlns:a16="http://schemas.microsoft.com/office/drawing/2014/main" id="{33EE8957-0B66-FA5F-F870-73C5309B834E}"/>
                  </a:ext>
                </a:extLst>
              </p:cNvPr>
              <p:cNvSpPr/>
              <p:nvPr/>
            </p:nvSpPr>
            <p:spPr>
              <a:xfrm>
                <a:off x="2671426" y="1656257"/>
                <a:ext cx="636749" cy="609514"/>
              </a:xfrm>
              <a:custGeom>
                <a:avLst/>
                <a:gdLst>
                  <a:gd name="connsiteX0" fmla="*/ 54583 w 636749"/>
                  <a:gd name="connsiteY0" fmla="*/ 609515 h 609514"/>
                  <a:gd name="connsiteX1" fmla="*/ 57634 w 636749"/>
                  <a:gd name="connsiteY1" fmla="*/ 609411 h 609514"/>
                  <a:gd name="connsiteX2" fmla="*/ 105489 w 636749"/>
                  <a:gd name="connsiteY2" fmla="*/ 555598 h 609514"/>
                  <a:gd name="connsiteX3" fmla="*/ 101879 w 636749"/>
                  <a:gd name="connsiteY3" fmla="*/ 439600 h 609514"/>
                  <a:gd name="connsiteX4" fmla="*/ 146211 w 636749"/>
                  <a:gd name="connsiteY4" fmla="*/ 153622 h 609514"/>
                  <a:gd name="connsiteX5" fmla="*/ 146211 w 636749"/>
                  <a:gd name="connsiteY5" fmla="*/ 447447 h 609514"/>
                  <a:gd name="connsiteX6" fmla="*/ 200349 w 636749"/>
                  <a:gd name="connsiteY6" fmla="*/ 457081 h 609514"/>
                  <a:gd name="connsiteX7" fmla="*/ 318391 w 636749"/>
                  <a:gd name="connsiteY7" fmla="*/ 468336 h 609514"/>
                  <a:gd name="connsiteX8" fmla="*/ 436433 w 636749"/>
                  <a:gd name="connsiteY8" fmla="*/ 457081 h 609514"/>
                  <a:gd name="connsiteX9" fmla="*/ 490571 w 636749"/>
                  <a:gd name="connsiteY9" fmla="*/ 447457 h 609514"/>
                  <a:gd name="connsiteX10" fmla="*/ 490571 w 636749"/>
                  <a:gd name="connsiteY10" fmla="*/ 153896 h 609514"/>
                  <a:gd name="connsiteX11" fmla="*/ 501904 w 636749"/>
                  <a:gd name="connsiteY11" fmla="*/ 180887 h 609514"/>
                  <a:gd name="connsiteX12" fmla="*/ 534883 w 636749"/>
                  <a:gd name="connsiteY12" fmla="*/ 439586 h 609514"/>
                  <a:gd name="connsiteX13" fmla="*/ 531297 w 636749"/>
                  <a:gd name="connsiteY13" fmla="*/ 555609 h 609514"/>
                  <a:gd name="connsiteX14" fmla="*/ 579176 w 636749"/>
                  <a:gd name="connsiteY14" fmla="*/ 609423 h 609514"/>
                  <a:gd name="connsiteX15" fmla="*/ 582182 w 636749"/>
                  <a:gd name="connsiteY15" fmla="*/ 609511 h 609514"/>
                  <a:gd name="connsiteX16" fmla="*/ 632985 w 636749"/>
                  <a:gd name="connsiteY16" fmla="*/ 561543 h 609514"/>
                  <a:gd name="connsiteX17" fmla="*/ 636749 w 636749"/>
                  <a:gd name="connsiteY17" fmla="*/ 439589 h 609514"/>
                  <a:gd name="connsiteX18" fmla="*/ 563957 w 636749"/>
                  <a:gd name="connsiteY18" fmla="*/ 77159 h 609514"/>
                  <a:gd name="connsiteX19" fmla="*/ 495966 w 636749"/>
                  <a:gd name="connsiteY19" fmla="*/ 13790 h 609514"/>
                  <a:gd name="connsiteX20" fmla="*/ 446539 w 636749"/>
                  <a:gd name="connsiteY20" fmla="*/ 275 h 609514"/>
                  <a:gd name="connsiteX21" fmla="*/ 441370 w 636749"/>
                  <a:gd name="connsiteY21" fmla="*/ 0 h 609514"/>
                  <a:gd name="connsiteX22" fmla="*/ 408166 w 636749"/>
                  <a:gd name="connsiteY22" fmla="*/ 0 h 609514"/>
                  <a:gd name="connsiteX23" fmla="*/ 318396 w 636749"/>
                  <a:gd name="connsiteY23" fmla="*/ 78279 h 609514"/>
                  <a:gd name="connsiteX24" fmla="*/ 228626 w 636749"/>
                  <a:gd name="connsiteY24" fmla="*/ 0 h 609514"/>
                  <a:gd name="connsiteX25" fmla="*/ 195406 w 636749"/>
                  <a:gd name="connsiteY25" fmla="*/ 0 h 609514"/>
                  <a:gd name="connsiteX26" fmla="*/ 190288 w 636749"/>
                  <a:gd name="connsiteY26" fmla="*/ 265 h 609514"/>
                  <a:gd name="connsiteX27" fmla="*/ 140783 w 636749"/>
                  <a:gd name="connsiteY27" fmla="*/ 13775 h 609514"/>
                  <a:gd name="connsiteX28" fmla="*/ 43786 w 636749"/>
                  <a:gd name="connsiteY28" fmla="*/ 133729 h 609514"/>
                  <a:gd name="connsiteX29" fmla="*/ 0 w 636749"/>
                  <a:gd name="connsiteY29" fmla="*/ 439602 h 609514"/>
                  <a:gd name="connsiteX30" fmla="*/ 3802 w 636749"/>
                  <a:gd name="connsiteY30" fmla="*/ 561565 h 609514"/>
                  <a:gd name="connsiteX31" fmla="*/ 54585 w 636749"/>
                  <a:gd name="connsiteY31" fmla="*/ 609508 h 6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6749" h="609514">
                    <a:moveTo>
                      <a:pt x="54583" y="609515"/>
                    </a:moveTo>
                    <a:cubicBezTo>
                      <a:pt x="55596" y="609515"/>
                      <a:pt x="56607" y="609476"/>
                      <a:pt x="57634" y="609411"/>
                    </a:cubicBezTo>
                    <a:cubicBezTo>
                      <a:pt x="85715" y="607770"/>
                      <a:pt x="107139" y="583659"/>
                      <a:pt x="105489" y="555598"/>
                    </a:cubicBezTo>
                    <a:cubicBezTo>
                      <a:pt x="102998" y="513260"/>
                      <a:pt x="101869" y="474691"/>
                      <a:pt x="101879" y="439600"/>
                    </a:cubicBezTo>
                    <a:cubicBezTo>
                      <a:pt x="101657" y="285449"/>
                      <a:pt x="124143" y="198822"/>
                      <a:pt x="146211" y="153622"/>
                    </a:cubicBezTo>
                    <a:lnTo>
                      <a:pt x="146211" y="447447"/>
                    </a:lnTo>
                    <a:cubicBezTo>
                      <a:pt x="156630" y="449530"/>
                      <a:pt x="176316" y="453298"/>
                      <a:pt x="200349" y="457081"/>
                    </a:cubicBezTo>
                    <a:cubicBezTo>
                      <a:pt x="236192" y="462740"/>
                      <a:pt x="281532" y="468351"/>
                      <a:pt x="318391" y="468336"/>
                    </a:cubicBezTo>
                    <a:cubicBezTo>
                      <a:pt x="355251" y="468351"/>
                      <a:pt x="400590" y="462740"/>
                      <a:pt x="436433" y="457081"/>
                    </a:cubicBezTo>
                    <a:cubicBezTo>
                      <a:pt x="460460" y="453298"/>
                      <a:pt x="480151" y="449535"/>
                      <a:pt x="490571" y="447457"/>
                    </a:cubicBezTo>
                    <a:lnTo>
                      <a:pt x="490571" y="153896"/>
                    </a:lnTo>
                    <a:cubicBezTo>
                      <a:pt x="494344" y="161643"/>
                      <a:pt x="498151" y="170526"/>
                      <a:pt x="501904" y="180887"/>
                    </a:cubicBezTo>
                    <a:cubicBezTo>
                      <a:pt x="519845" y="230628"/>
                      <a:pt x="534937" y="312223"/>
                      <a:pt x="534883" y="439586"/>
                    </a:cubicBezTo>
                    <a:cubicBezTo>
                      <a:pt x="534883" y="474702"/>
                      <a:pt x="533764" y="513267"/>
                      <a:pt x="531297" y="555609"/>
                    </a:cubicBezTo>
                    <a:cubicBezTo>
                      <a:pt x="529646" y="583695"/>
                      <a:pt x="551090" y="607782"/>
                      <a:pt x="579176" y="609423"/>
                    </a:cubicBezTo>
                    <a:cubicBezTo>
                      <a:pt x="580184" y="609472"/>
                      <a:pt x="581181" y="609511"/>
                      <a:pt x="582182" y="609511"/>
                    </a:cubicBezTo>
                    <a:cubicBezTo>
                      <a:pt x="608956" y="609511"/>
                      <a:pt x="631408" y="588612"/>
                      <a:pt x="632985" y="561543"/>
                    </a:cubicBezTo>
                    <a:cubicBezTo>
                      <a:pt x="635559" y="517397"/>
                      <a:pt x="636749" y="476868"/>
                      <a:pt x="636749" y="439589"/>
                    </a:cubicBezTo>
                    <a:cubicBezTo>
                      <a:pt x="636494" y="247445"/>
                      <a:pt x="605805" y="141098"/>
                      <a:pt x="563957" y="77159"/>
                    </a:cubicBezTo>
                    <a:cubicBezTo>
                      <a:pt x="543049" y="45414"/>
                      <a:pt x="518579" y="25065"/>
                      <a:pt x="495966" y="13790"/>
                    </a:cubicBezTo>
                    <a:cubicBezTo>
                      <a:pt x="475991" y="3705"/>
                      <a:pt x="458203" y="796"/>
                      <a:pt x="446539" y="275"/>
                    </a:cubicBezTo>
                    <a:cubicBezTo>
                      <a:pt x="444839" y="103"/>
                      <a:pt x="443120" y="0"/>
                      <a:pt x="441370" y="0"/>
                    </a:cubicBezTo>
                    <a:lnTo>
                      <a:pt x="408166" y="0"/>
                    </a:lnTo>
                    <a:cubicBezTo>
                      <a:pt x="402084" y="44200"/>
                      <a:pt x="364276" y="78279"/>
                      <a:pt x="318396" y="78279"/>
                    </a:cubicBezTo>
                    <a:cubicBezTo>
                      <a:pt x="272517" y="78279"/>
                      <a:pt x="234708" y="44199"/>
                      <a:pt x="228626" y="0"/>
                    </a:cubicBezTo>
                    <a:lnTo>
                      <a:pt x="195406" y="0"/>
                    </a:lnTo>
                    <a:cubicBezTo>
                      <a:pt x="193682" y="0"/>
                      <a:pt x="191978" y="94"/>
                      <a:pt x="190288" y="265"/>
                    </a:cubicBezTo>
                    <a:cubicBezTo>
                      <a:pt x="178629" y="782"/>
                      <a:pt x="160792" y="3690"/>
                      <a:pt x="140783" y="13775"/>
                    </a:cubicBezTo>
                    <a:cubicBezTo>
                      <a:pt x="106546" y="30758"/>
                      <a:pt x="69612" y="67913"/>
                      <a:pt x="43786" y="133729"/>
                    </a:cubicBezTo>
                    <a:cubicBezTo>
                      <a:pt x="17646" y="199799"/>
                      <a:pt x="93" y="295349"/>
                      <a:pt x="0" y="439602"/>
                    </a:cubicBezTo>
                    <a:cubicBezTo>
                      <a:pt x="20" y="476875"/>
                      <a:pt x="1209" y="517429"/>
                      <a:pt x="3802" y="561565"/>
                    </a:cubicBezTo>
                    <a:cubicBezTo>
                      <a:pt x="5399" y="588625"/>
                      <a:pt x="27829" y="609498"/>
                      <a:pt x="54585" y="609508"/>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96" name="Freeform: Shape 295">
                <a:extLst>
                  <a:ext uri="{FF2B5EF4-FFF2-40B4-BE49-F238E27FC236}">
                    <a16:creationId xmlns:a16="http://schemas.microsoft.com/office/drawing/2014/main" id="{2FDBD955-6346-BC71-FBD8-E1F82CB8EC5C}"/>
                  </a:ext>
                </a:extLst>
              </p:cNvPr>
              <p:cNvSpPr/>
              <p:nvPr/>
            </p:nvSpPr>
            <p:spPr>
              <a:xfrm>
                <a:off x="2779889" y="2129228"/>
                <a:ext cx="419861" cy="713456"/>
              </a:xfrm>
              <a:custGeom>
                <a:avLst/>
                <a:gdLst>
                  <a:gd name="connsiteX0" fmla="*/ 37741 w 419861"/>
                  <a:gd name="connsiteY0" fmla="*/ 0 h 713456"/>
                  <a:gd name="connsiteX1" fmla="*/ 37741 w 419861"/>
                  <a:gd name="connsiteY1" fmla="*/ 49245 h 713456"/>
                  <a:gd name="connsiteX2" fmla="*/ 169 w 419861"/>
                  <a:gd name="connsiteY2" fmla="*/ 629656 h 713456"/>
                  <a:gd name="connsiteX3" fmla="*/ 73613 w 419861"/>
                  <a:gd name="connsiteY3" fmla="*/ 713290 h 713456"/>
                  <a:gd name="connsiteX4" fmla="*/ 157247 w 419861"/>
                  <a:gd name="connsiteY4" fmla="*/ 639830 h 713456"/>
                  <a:gd name="connsiteX5" fmla="*/ 189902 w 419861"/>
                  <a:gd name="connsiteY5" fmla="*/ 135683 h 713456"/>
                  <a:gd name="connsiteX6" fmla="*/ 229950 w 419861"/>
                  <a:gd name="connsiteY6" fmla="*/ 135683 h 713456"/>
                  <a:gd name="connsiteX7" fmla="*/ 262605 w 419861"/>
                  <a:gd name="connsiteY7" fmla="*/ 639830 h 713456"/>
                  <a:gd name="connsiteX8" fmla="*/ 346249 w 419861"/>
                  <a:gd name="connsiteY8" fmla="*/ 713290 h 713456"/>
                  <a:gd name="connsiteX9" fmla="*/ 419693 w 419861"/>
                  <a:gd name="connsiteY9" fmla="*/ 629656 h 713456"/>
                  <a:gd name="connsiteX10" fmla="*/ 382106 w 419861"/>
                  <a:gd name="connsiteY10" fmla="*/ 49194 h 713456"/>
                  <a:gd name="connsiteX11" fmla="*/ 382106 w 419861"/>
                  <a:gd name="connsiteY11" fmla="*/ 431 h 713456"/>
                  <a:gd name="connsiteX12" fmla="*/ 209921 w 419861"/>
                  <a:gd name="connsiteY12" fmla="*/ 20848 h 713456"/>
                  <a:gd name="connsiteX13" fmla="*/ 37736 w 419861"/>
                  <a:gd name="connsiteY13" fmla="*/ 4 h 71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861" h="713456">
                    <a:moveTo>
                      <a:pt x="37741" y="0"/>
                    </a:moveTo>
                    <a:lnTo>
                      <a:pt x="37741" y="49245"/>
                    </a:lnTo>
                    <a:lnTo>
                      <a:pt x="169" y="629656"/>
                    </a:lnTo>
                    <a:cubicBezTo>
                      <a:pt x="-2651" y="673045"/>
                      <a:pt x="30249" y="710473"/>
                      <a:pt x="73613" y="713290"/>
                    </a:cubicBezTo>
                    <a:cubicBezTo>
                      <a:pt x="116992" y="716094"/>
                      <a:pt x="154432" y="683232"/>
                      <a:pt x="157247" y="639830"/>
                    </a:cubicBezTo>
                    <a:lnTo>
                      <a:pt x="189902" y="135683"/>
                    </a:lnTo>
                    <a:lnTo>
                      <a:pt x="229950" y="135683"/>
                    </a:lnTo>
                    <a:lnTo>
                      <a:pt x="262605" y="639830"/>
                    </a:lnTo>
                    <a:cubicBezTo>
                      <a:pt x="265411" y="683232"/>
                      <a:pt x="302865" y="716094"/>
                      <a:pt x="346249" y="713290"/>
                    </a:cubicBezTo>
                    <a:cubicBezTo>
                      <a:pt x="389609" y="710485"/>
                      <a:pt x="422509" y="673045"/>
                      <a:pt x="419693" y="629656"/>
                    </a:cubicBezTo>
                    <a:lnTo>
                      <a:pt x="382106" y="49194"/>
                    </a:lnTo>
                    <a:lnTo>
                      <a:pt x="382106" y="431"/>
                    </a:lnTo>
                    <a:cubicBezTo>
                      <a:pt x="350974" y="6503"/>
                      <a:pt x="271678" y="20780"/>
                      <a:pt x="209921" y="20848"/>
                    </a:cubicBezTo>
                    <a:cubicBezTo>
                      <a:pt x="146714" y="20774"/>
                      <a:pt x="66486" y="5805"/>
                      <a:pt x="37736" y="4"/>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97" name="Freeform: Shape 296">
                <a:extLst>
                  <a:ext uri="{FF2B5EF4-FFF2-40B4-BE49-F238E27FC236}">
                    <a16:creationId xmlns:a16="http://schemas.microsoft.com/office/drawing/2014/main" id="{F1D2398D-8D8F-C97F-22DA-C71C2A96AE64}"/>
                  </a:ext>
                </a:extLst>
              </p:cNvPr>
              <p:cNvSpPr/>
              <p:nvPr/>
            </p:nvSpPr>
            <p:spPr>
              <a:xfrm>
                <a:off x="2846593" y="1333502"/>
                <a:ext cx="286467" cy="286472"/>
              </a:xfrm>
              <a:custGeom>
                <a:avLst/>
                <a:gdLst>
                  <a:gd name="connsiteX0" fmla="*/ 220869 w 286467"/>
                  <a:gd name="connsiteY0" fmla="*/ 263576 h 286472"/>
                  <a:gd name="connsiteX1" fmla="*/ 286468 w 286467"/>
                  <a:gd name="connsiteY1" fmla="*/ 143234 h 286472"/>
                  <a:gd name="connsiteX2" fmla="*/ 143234 w 286467"/>
                  <a:gd name="connsiteY2" fmla="*/ 0 h 286472"/>
                  <a:gd name="connsiteX3" fmla="*/ 0 w 286467"/>
                  <a:gd name="connsiteY3" fmla="*/ 143234 h 286472"/>
                  <a:gd name="connsiteX4" fmla="*/ 65599 w 286467"/>
                  <a:gd name="connsiteY4" fmla="*/ 263580 h 286472"/>
                  <a:gd name="connsiteX5" fmla="*/ 143234 w 286467"/>
                  <a:gd name="connsiteY5" fmla="*/ 286473 h 286472"/>
                  <a:gd name="connsiteX6" fmla="*/ 220879 w 286467"/>
                  <a:gd name="connsiteY6" fmla="*/ 263575 h 2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467" h="286472">
                    <a:moveTo>
                      <a:pt x="220869" y="263576"/>
                    </a:moveTo>
                    <a:cubicBezTo>
                      <a:pt x="260323" y="238065"/>
                      <a:pt x="286468" y="193717"/>
                      <a:pt x="286468" y="143234"/>
                    </a:cubicBezTo>
                    <a:cubicBezTo>
                      <a:pt x="286468" y="64130"/>
                      <a:pt x="222333" y="0"/>
                      <a:pt x="143234" y="0"/>
                    </a:cubicBezTo>
                    <a:cubicBezTo>
                      <a:pt x="64115" y="0"/>
                      <a:pt x="0" y="64135"/>
                      <a:pt x="0" y="143234"/>
                    </a:cubicBezTo>
                    <a:cubicBezTo>
                      <a:pt x="0" y="193726"/>
                      <a:pt x="26140" y="238073"/>
                      <a:pt x="65599" y="263580"/>
                    </a:cubicBezTo>
                    <a:cubicBezTo>
                      <a:pt x="87956" y="278043"/>
                      <a:pt x="114609" y="286473"/>
                      <a:pt x="143234" y="286473"/>
                    </a:cubicBezTo>
                    <a:cubicBezTo>
                      <a:pt x="171866" y="286473"/>
                      <a:pt x="198501" y="278043"/>
                      <a:pt x="220879" y="263575"/>
                    </a:cubicBezTo>
                    <a:close/>
                  </a:path>
                </a:pathLst>
              </a:custGeom>
              <a:grpFill/>
              <a:ln w="12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sp>
          <p:nvSpPr>
            <p:cNvPr id="298" name="TextBox 297">
              <a:extLst>
                <a:ext uri="{FF2B5EF4-FFF2-40B4-BE49-F238E27FC236}">
                  <a16:creationId xmlns:a16="http://schemas.microsoft.com/office/drawing/2014/main" id="{08613B8E-68DC-8399-579F-0D2831885936}"/>
                </a:ext>
              </a:extLst>
            </p:cNvPr>
            <p:cNvSpPr txBox="1"/>
            <p:nvPr/>
          </p:nvSpPr>
          <p:spPr>
            <a:xfrm>
              <a:off x="11416082" y="2908070"/>
              <a:ext cx="789324" cy="461665"/>
            </a:xfrm>
            <a:prstGeom prst="rect">
              <a:avLst/>
            </a:prstGeom>
            <a:noFill/>
          </p:spPr>
          <p:txBody>
            <a:bodyPr wrap="square" rtlCol="0">
              <a:spAutoFit/>
            </a:bodyPr>
            <a:lstStyle/>
            <a:p>
              <a:pPr lvl="0" algn="ctr"/>
              <a:r>
                <a:rPr lang="en-US" sz="1200" err="1">
                  <a:solidFill>
                    <a:srgbClr val="353B3E"/>
                  </a:solidFill>
                </a:rPr>
                <a:t>Düşük</a:t>
              </a:r>
              <a:r>
                <a:rPr lang="en-US" sz="1200">
                  <a:solidFill>
                    <a:srgbClr val="353B3E"/>
                  </a:solidFill>
                </a:rPr>
                <a:t> </a:t>
              </a:r>
              <a:r>
                <a:rPr lang="en-US" sz="1200" err="1">
                  <a:solidFill>
                    <a:srgbClr val="353B3E"/>
                  </a:solidFill>
                </a:rPr>
                <a:t>riskli</a:t>
              </a:r>
              <a:endParaRPr kumimoji="0" lang="en-US" sz="12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sp>
        <p:nvSpPr>
          <p:cNvPr id="314" name="TextBox 313">
            <a:extLst>
              <a:ext uri="{FF2B5EF4-FFF2-40B4-BE49-F238E27FC236}">
                <a16:creationId xmlns:a16="http://schemas.microsoft.com/office/drawing/2014/main" id="{361DB492-A5D3-5CC3-A570-9DEB99ADF922}"/>
              </a:ext>
            </a:extLst>
          </p:cNvPr>
          <p:cNvSpPr txBox="1"/>
          <p:nvPr/>
        </p:nvSpPr>
        <p:spPr>
          <a:xfrm flipH="1">
            <a:off x="440477" y="2523255"/>
            <a:ext cx="499754" cy="4822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a:t>
            </a:r>
            <a:r>
              <a:rPr kumimoji="0" lang="tr-TR" sz="2800" b="1" i="0" u="none" strike="noStrike" kern="1200" cap="none" spc="0" normalizeH="0" baseline="0" noProof="0" dirty="0">
                <a:ln>
                  <a:noFill/>
                </a:ln>
                <a:solidFill>
                  <a:srgbClr val="FFFFFF"/>
                </a:solidFill>
                <a:effectLst/>
                <a:uLnTx/>
                <a:uFillTx/>
                <a:latin typeface="Arial" panose="020B0604020202020204"/>
                <a:ea typeface="+mn-ea"/>
                <a:cs typeface="+mn-cs"/>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71</a:t>
            </a:r>
          </a:p>
        </p:txBody>
      </p:sp>
      <p:pic>
        <p:nvPicPr>
          <p:cNvPr id="4" name="Picture 3" descr="A yellow and blue logo&#10;&#10;Description automatically generated">
            <a:extLst>
              <a:ext uri="{FF2B5EF4-FFF2-40B4-BE49-F238E27FC236}">
                <a16:creationId xmlns:a16="http://schemas.microsoft.com/office/drawing/2014/main" id="{5D51E8F8-2672-3961-511B-927F23F326DD}"/>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12165261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ACF0F-B249-EA6A-6C2D-412FF3472B48}"/>
              </a:ext>
            </a:extLst>
          </p:cNvPr>
          <p:cNvSpPr>
            <a:spLocks noGrp="1"/>
          </p:cNvSpPr>
          <p:nvPr>
            <p:ph type="title"/>
          </p:nvPr>
        </p:nvSpPr>
        <p:spPr/>
        <p:txBody>
          <a:bodyPr/>
          <a:lstStyle/>
          <a:p>
            <a:r>
              <a:rPr lang="en-US"/>
              <a:t>Non-</a:t>
            </a:r>
            <a:r>
              <a:rPr lang="en-US" err="1"/>
              <a:t>invaziv</a:t>
            </a:r>
            <a:r>
              <a:rPr lang="en-US"/>
              <a:t> </a:t>
            </a:r>
            <a:r>
              <a:rPr lang="en-US" err="1"/>
              <a:t>pnömoni</a:t>
            </a:r>
            <a:r>
              <a:rPr lang="en-US"/>
              <a:t>, </a:t>
            </a:r>
            <a:r>
              <a:rPr lang="en-US" err="1"/>
              <a:t>erişkinler</a:t>
            </a:r>
            <a:r>
              <a:rPr lang="en-US"/>
              <a:t> </a:t>
            </a:r>
            <a:r>
              <a:rPr lang="en-US" err="1"/>
              <a:t>arasında</a:t>
            </a:r>
            <a:r>
              <a:rPr lang="en-US"/>
              <a:t> </a:t>
            </a:r>
            <a:r>
              <a:rPr lang="en-US" err="1"/>
              <a:t>pnömokok</a:t>
            </a:r>
            <a:r>
              <a:rPr lang="en-US"/>
              <a:t> </a:t>
            </a:r>
            <a:r>
              <a:rPr lang="en-US" err="1"/>
              <a:t>hastalığının</a:t>
            </a:r>
            <a:r>
              <a:rPr lang="en-US"/>
              <a:t> </a:t>
            </a:r>
            <a:r>
              <a:rPr lang="en-US" err="1"/>
              <a:t>en</a:t>
            </a:r>
            <a:r>
              <a:rPr lang="en-US"/>
              <a:t> </a:t>
            </a:r>
            <a:r>
              <a:rPr lang="en-US" err="1"/>
              <a:t>sık</a:t>
            </a:r>
            <a:r>
              <a:rPr lang="en-US"/>
              <a:t> </a:t>
            </a:r>
            <a:r>
              <a:rPr lang="en-US" err="1"/>
              <a:t>görülen</a:t>
            </a:r>
            <a:r>
              <a:rPr lang="en-US"/>
              <a:t> prezentasyonudur</a:t>
            </a:r>
            <a:r>
              <a:rPr lang="en-US" baseline="30000"/>
              <a:t>1,2</a:t>
            </a:r>
            <a:endParaRPr lang="en-US"/>
          </a:p>
        </p:txBody>
      </p:sp>
      <p:sp>
        <p:nvSpPr>
          <p:cNvPr id="3" name="Slide Number Placeholder 2">
            <a:extLst>
              <a:ext uri="{FF2B5EF4-FFF2-40B4-BE49-F238E27FC236}">
                <a16:creationId xmlns:a16="http://schemas.microsoft.com/office/drawing/2014/main" id="{471EF775-1220-0F16-090A-B34AB1DCC81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074DEF-F175-4420-8EE3-137377F9872B}" type="slidenum">
              <a:rPr kumimoji="0" lang="en-US" sz="1000" b="0" i="0" u="none" strike="noStrike" kern="1200" cap="none" spc="0" normalizeH="0" baseline="0" noProof="0" smtClean="0">
                <a:ln>
                  <a:noFill/>
                </a:ln>
                <a:solidFill>
                  <a:srgbClr val="A1AAB1">
                    <a:lumMod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000" b="0" i="0" u="none" strike="noStrike" kern="1200" cap="none" spc="0" normalizeH="0" baseline="0" noProof="0">
              <a:ln>
                <a:noFill/>
              </a:ln>
              <a:solidFill>
                <a:srgbClr val="A1AAB1">
                  <a:lumMod val="75000"/>
                </a:srgbClr>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83C4F30C-8F8C-6CCF-3C35-22DAE6D1938D}"/>
              </a:ext>
            </a:extLst>
          </p:cNvPr>
          <p:cNvSpPr>
            <a:spLocks noGrp="1"/>
          </p:cNvSpPr>
          <p:nvPr>
            <p:ph type="body" sz="quarter" idx="4294967295"/>
          </p:nvPr>
        </p:nvSpPr>
        <p:spPr>
          <a:xfrm>
            <a:off x="303613" y="5861954"/>
            <a:ext cx="11430000" cy="473075"/>
          </a:xfrm>
        </p:spPr>
        <p:txBody>
          <a:bodyPr>
            <a:normAutofit fontScale="47500" lnSpcReduction="20000"/>
          </a:bodyPr>
          <a:lstStyle/>
          <a:p>
            <a:pPr lvl="0">
              <a:lnSpc>
                <a:spcPct val="120000"/>
              </a:lnSpc>
              <a:spcBef>
                <a:spcPts val="0"/>
              </a:spcBef>
              <a:defRPr/>
            </a:pPr>
            <a:r>
              <a:rPr kumimoji="0" lang="en-US" sz="900" b="0" i="0" u="none" strike="noStrike" kern="1200" cap="none" spc="0" normalizeH="0" baseline="0" noProof="0" dirty="0">
                <a:ln>
                  <a:noFill/>
                </a:ln>
                <a:solidFill>
                  <a:schemeClr val="bg1">
                    <a:lumMod val="50000"/>
                  </a:schemeClr>
                </a:solidFill>
                <a:effectLst/>
                <a:uLnTx/>
                <a:uFillTx/>
                <a:latin typeface="+mn-lt"/>
                <a:ea typeface="+mn-ea"/>
                <a:cs typeface="+mn-cs"/>
              </a:rPr>
              <a:t>*</a:t>
            </a:r>
            <a:r>
              <a:rPr lang="en-US" dirty="0" err="1">
                <a:solidFill>
                  <a:schemeClr val="bg1">
                    <a:lumMod val="50000"/>
                  </a:schemeClr>
                </a:solidFill>
              </a:rPr>
              <a:t>Çalışma</a:t>
            </a:r>
            <a:r>
              <a:rPr lang="en-US" dirty="0">
                <a:solidFill>
                  <a:schemeClr val="bg1">
                    <a:lumMod val="50000"/>
                  </a:schemeClr>
                </a:solidFill>
              </a:rPr>
              <a:t> </a:t>
            </a:r>
            <a:r>
              <a:rPr lang="en-US" dirty="0" err="1">
                <a:solidFill>
                  <a:schemeClr val="bg1">
                    <a:lumMod val="50000"/>
                  </a:schemeClr>
                </a:solidFill>
              </a:rPr>
              <a:t>popülasyonu</a:t>
            </a:r>
            <a:r>
              <a:rPr lang="en-US" dirty="0">
                <a:solidFill>
                  <a:schemeClr val="bg1">
                    <a:lumMod val="50000"/>
                  </a:schemeClr>
                </a:solidFill>
              </a:rPr>
              <a:t>, 2016-2020 </a:t>
            </a:r>
            <a:r>
              <a:rPr lang="en-US" dirty="0" err="1">
                <a:solidFill>
                  <a:schemeClr val="bg1">
                    <a:lumMod val="50000"/>
                  </a:schemeClr>
                </a:solidFill>
              </a:rPr>
              <a:t>yılları</a:t>
            </a:r>
            <a:r>
              <a:rPr lang="en-US" dirty="0">
                <a:solidFill>
                  <a:schemeClr val="bg1">
                    <a:lumMod val="50000"/>
                  </a:schemeClr>
                </a:solidFill>
              </a:rPr>
              <a:t> </a:t>
            </a:r>
            <a:r>
              <a:rPr lang="en-US" dirty="0" err="1">
                <a:solidFill>
                  <a:schemeClr val="bg1">
                    <a:lumMod val="50000"/>
                  </a:schemeClr>
                </a:solidFill>
              </a:rPr>
              <a:t>arasında</a:t>
            </a:r>
            <a:r>
              <a:rPr lang="en-US" dirty="0">
                <a:solidFill>
                  <a:schemeClr val="bg1">
                    <a:lumMod val="50000"/>
                  </a:schemeClr>
                </a:solidFill>
              </a:rPr>
              <a:t> </a:t>
            </a:r>
            <a:r>
              <a:rPr lang="en-US" dirty="0" err="1">
                <a:solidFill>
                  <a:schemeClr val="bg1">
                    <a:lumMod val="50000"/>
                  </a:schemeClr>
                </a:solidFill>
              </a:rPr>
              <a:t>İspanya'da</a:t>
            </a:r>
            <a:r>
              <a:rPr lang="en-US" dirty="0">
                <a:solidFill>
                  <a:schemeClr val="bg1">
                    <a:lumMod val="50000"/>
                  </a:schemeClr>
                </a:solidFill>
              </a:rPr>
              <a:t> </a:t>
            </a:r>
            <a:r>
              <a:rPr lang="en-US" dirty="0" err="1">
                <a:solidFill>
                  <a:schemeClr val="bg1">
                    <a:lumMod val="50000"/>
                  </a:schemeClr>
                </a:solidFill>
              </a:rPr>
              <a:t>toplum</a:t>
            </a:r>
            <a:r>
              <a:rPr lang="en-US" dirty="0">
                <a:solidFill>
                  <a:schemeClr val="bg1">
                    <a:lumMod val="50000"/>
                  </a:schemeClr>
                </a:solidFill>
              </a:rPr>
              <a:t> </a:t>
            </a:r>
            <a:r>
              <a:rPr lang="en-US" dirty="0" err="1">
                <a:solidFill>
                  <a:schemeClr val="bg1">
                    <a:lumMod val="50000"/>
                  </a:schemeClr>
                </a:solidFill>
              </a:rPr>
              <a:t>kökenli</a:t>
            </a:r>
            <a:r>
              <a:rPr lang="en-US" dirty="0">
                <a:solidFill>
                  <a:schemeClr val="bg1">
                    <a:lumMod val="50000"/>
                  </a:schemeClr>
                </a:solidFill>
              </a:rPr>
              <a:t> </a:t>
            </a:r>
            <a:r>
              <a:rPr lang="en-US" dirty="0" err="1">
                <a:solidFill>
                  <a:schemeClr val="bg1">
                    <a:lumMod val="50000"/>
                  </a:schemeClr>
                </a:solidFill>
              </a:rPr>
              <a:t>pnömonisi</a:t>
            </a:r>
            <a:r>
              <a:rPr lang="en-US" dirty="0">
                <a:solidFill>
                  <a:schemeClr val="bg1">
                    <a:lumMod val="50000"/>
                  </a:schemeClr>
                </a:solidFill>
              </a:rPr>
              <a:t> </a:t>
            </a:r>
            <a:r>
              <a:rPr lang="en-US" dirty="0" err="1">
                <a:solidFill>
                  <a:schemeClr val="bg1">
                    <a:lumMod val="50000"/>
                  </a:schemeClr>
                </a:solidFill>
              </a:rPr>
              <a:t>olan</a:t>
            </a:r>
            <a:r>
              <a:rPr lang="en-US" dirty="0">
                <a:solidFill>
                  <a:schemeClr val="bg1">
                    <a:lumMod val="50000"/>
                  </a:schemeClr>
                </a:solidFill>
              </a:rPr>
              <a:t> 18 </a:t>
            </a:r>
            <a:r>
              <a:rPr lang="en-US" dirty="0" err="1">
                <a:solidFill>
                  <a:schemeClr val="bg1">
                    <a:lumMod val="50000"/>
                  </a:schemeClr>
                </a:solidFill>
              </a:rPr>
              <a:t>yaş</a:t>
            </a:r>
            <a:r>
              <a:rPr lang="en-US" dirty="0">
                <a:solidFill>
                  <a:schemeClr val="bg1">
                    <a:lumMod val="50000"/>
                  </a:schemeClr>
                </a:solidFill>
              </a:rPr>
              <a:t> </a:t>
            </a:r>
            <a:r>
              <a:rPr lang="tr-TR" dirty="0">
                <a:solidFill>
                  <a:schemeClr val="bg1">
                    <a:lumMod val="50000"/>
                  </a:schemeClr>
                </a:solidFill>
              </a:rPr>
              <a:t>ve üzeri </a:t>
            </a:r>
            <a:r>
              <a:rPr lang="en-US" dirty="0">
                <a:solidFill>
                  <a:schemeClr val="bg1">
                    <a:lumMod val="50000"/>
                  </a:schemeClr>
                </a:solidFill>
              </a:rPr>
              <a:t>680 </a:t>
            </a:r>
            <a:r>
              <a:rPr lang="en-US" dirty="0" err="1">
                <a:solidFill>
                  <a:schemeClr val="bg1">
                    <a:lumMod val="50000"/>
                  </a:schemeClr>
                </a:solidFill>
              </a:rPr>
              <a:t>yetişkini</a:t>
            </a:r>
            <a:r>
              <a:rPr lang="en-US" dirty="0">
                <a:solidFill>
                  <a:schemeClr val="bg1">
                    <a:lumMod val="50000"/>
                  </a:schemeClr>
                </a:solidFill>
              </a:rPr>
              <a:t> </a:t>
            </a:r>
            <a:r>
              <a:rPr lang="en-US" dirty="0" err="1">
                <a:solidFill>
                  <a:schemeClr val="bg1">
                    <a:lumMod val="50000"/>
                  </a:schemeClr>
                </a:solidFill>
              </a:rPr>
              <a:t>içeriyordu</a:t>
            </a:r>
            <a:r>
              <a:rPr lang="en-US" dirty="0">
                <a:solidFill>
                  <a:schemeClr val="bg1">
                    <a:lumMod val="50000"/>
                  </a:schemeClr>
                </a:solidFill>
              </a:rPr>
              <a:t>.</a:t>
            </a:r>
            <a:endParaRPr lang="tr-TR" dirty="0">
              <a:solidFill>
                <a:schemeClr val="bg1">
                  <a:lumMod val="50000"/>
                </a:schemeClr>
              </a:solidFill>
            </a:endParaRPr>
          </a:p>
          <a:p>
            <a:pPr lvl="0">
              <a:lnSpc>
                <a:spcPct val="120000"/>
              </a:lnSpc>
              <a:spcBef>
                <a:spcPts val="0"/>
              </a:spcBef>
              <a:defRPr/>
            </a:pPr>
            <a:r>
              <a:rPr lang="en-US" b="1" dirty="0">
                <a:solidFill>
                  <a:schemeClr val="bg1">
                    <a:lumMod val="50000"/>
                  </a:schemeClr>
                </a:solidFill>
              </a:rPr>
              <a:t>1. </a:t>
            </a:r>
            <a:r>
              <a:rPr lang="en-US" dirty="0" err="1">
                <a:solidFill>
                  <a:schemeClr val="bg1">
                    <a:lumMod val="50000"/>
                  </a:schemeClr>
                </a:solidFill>
              </a:rPr>
              <a:t>Méroc</a:t>
            </a:r>
            <a:r>
              <a:rPr lang="en-US" dirty="0">
                <a:solidFill>
                  <a:schemeClr val="bg1">
                    <a:lumMod val="50000"/>
                  </a:schemeClr>
                </a:solidFill>
              </a:rPr>
              <a:t> E, et al. </a:t>
            </a:r>
            <a:r>
              <a:rPr lang="en-US" i="1" dirty="0">
                <a:solidFill>
                  <a:schemeClr val="bg1">
                    <a:lumMod val="50000"/>
                  </a:schemeClr>
                </a:solidFill>
              </a:rPr>
              <a:t>Microorganisms</a:t>
            </a:r>
            <a:r>
              <a:rPr lang="en-US" dirty="0">
                <a:solidFill>
                  <a:schemeClr val="bg1">
                    <a:lumMod val="50000"/>
                  </a:schemeClr>
                </a:solidFill>
              </a:rPr>
              <a:t>. 2023;11(7):1816. </a:t>
            </a:r>
            <a:r>
              <a:rPr lang="en-US" b="1" dirty="0">
                <a:solidFill>
                  <a:schemeClr val="bg1">
                    <a:lumMod val="50000"/>
                  </a:schemeClr>
                </a:solidFill>
              </a:rPr>
              <a:t>2. </a:t>
            </a:r>
            <a:r>
              <a:rPr lang="en-US" dirty="0">
                <a:solidFill>
                  <a:schemeClr val="bg1">
                    <a:lumMod val="50000"/>
                  </a:schemeClr>
                </a:solidFill>
              </a:rPr>
              <a:t>Centers for Disease Control and Prevention. Pneumococcal disease. In: Gierke R, et al, eds. </a:t>
            </a:r>
            <a:r>
              <a:rPr lang="en-US" i="1" dirty="0">
                <a:solidFill>
                  <a:schemeClr val="bg1">
                    <a:lumMod val="50000"/>
                  </a:schemeClr>
                </a:solidFill>
              </a:rPr>
              <a:t>Epidemiology and Prevention of Vaccine-Preventable Diseases. </a:t>
            </a:r>
            <a:r>
              <a:rPr lang="en-US" dirty="0">
                <a:solidFill>
                  <a:schemeClr val="bg1">
                    <a:lumMod val="50000"/>
                  </a:schemeClr>
                </a:solidFill>
              </a:rPr>
              <a:t>14th ed. Washington, DC: Public Health Foundation; 2021:255-274. </a:t>
            </a:r>
            <a:r>
              <a:rPr lang="en-US" b="1" dirty="0">
                <a:solidFill>
                  <a:schemeClr val="bg1">
                    <a:lumMod val="50000"/>
                  </a:schemeClr>
                </a:solidFill>
              </a:rPr>
              <a:t>3. </a:t>
            </a:r>
            <a:r>
              <a:rPr lang="en-US" dirty="0">
                <a:solidFill>
                  <a:schemeClr val="bg1">
                    <a:lumMod val="50000"/>
                  </a:schemeClr>
                </a:solidFill>
              </a:rPr>
              <a:t>Menendez R, et al. </a:t>
            </a:r>
            <a:r>
              <a:rPr lang="en-US" i="1" dirty="0">
                <a:solidFill>
                  <a:schemeClr val="bg1">
                    <a:lumMod val="50000"/>
                  </a:schemeClr>
                </a:solidFill>
              </a:rPr>
              <a:t>Microorganisms</a:t>
            </a:r>
            <a:r>
              <a:rPr lang="en-US" dirty="0">
                <a:solidFill>
                  <a:schemeClr val="bg1">
                    <a:lumMod val="50000"/>
                  </a:schemeClr>
                </a:solidFill>
              </a:rPr>
              <a:t>. 2023;11(11):2781.</a:t>
            </a:r>
          </a:p>
        </p:txBody>
      </p:sp>
      <p:grpSp>
        <p:nvGrpSpPr>
          <p:cNvPr id="44" name="Group 43">
            <a:extLst>
              <a:ext uri="{FF2B5EF4-FFF2-40B4-BE49-F238E27FC236}">
                <a16:creationId xmlns:a16="http://schemas.microsoft.com/office/drawing/2014/main" id="{44D83D0F-6332-2B41-7AE8-18F1FD54E169}"/>
              </a:ext>
            </a:extLst>
          </p:cNvPr>
          <p:cNvGrpSpPr/>
          <p:nvPr/>
        </p:nvGrpSpPr>
        <p:grpSpPr>
          <a:xfrm flipH="1" flipV="1">
            <a:off x="-1" y="1849361"/>
            <a:ext cx="4859725" cy="3587447"/>
            <a:chOff x="7179922" y="1849361"/>
            <a:chExt cx="5105774" cy="3587447"/>
          </a:xfrm>
        </p:grpSpPr>
        <p:sp>
          <p:nvSpPr>
            <p:cNvPr id="45" name="Rectangle 44">
              <a:extLst>
                <a:ext uri="{FF2B5EF4-FFF2-40B4-BE49-F238E27FC236}">
                  <a16:creationId xmlns:a16="http://schemas.microsoft.com/office/drawing/2014/main" id="{42E56FA4-C696-4A87-BD2C-6911C5619240}"/>
                </a:ext>
              </a:extLst>
            </p:cNvPr>
            <p:cNvSpPr/>
            <p:nvPr/>
          </p:nvSpPr>
          <p:spPr>
            <a:xfrm>
              <a:off x="8932776" y="1849361"/>
              <a:ext cx="3352920" cy="3496732"/>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Parallelogram 45">
              <a:extLst>
                <a:ext uri="{FF2B5EF4-FFF2-40B4-BE49-F238E27FC236}">
                  <a16:creationId xmlns:a16="http://schemas.microsoft.com/office/drawing/2014/main" id="{B20B7A1A-A887-375C-B355-C20C0EDA5596}"/>
                </a:ext>
              </a:extLst>
            </p:cNvPr>
            <p:cNvSpPr/>
            <p:nvPr/>
          </p:nvSpPr>
          <p:spPr>
            <a:xfrm>
              <a:off x="7179922" y="1849361"/>
              <a:ext cx="4583640" cy="3496732"/>
            </a:xfrm>
            <a:prstGeom prst="parallelogram">
              <a:avLst>
                <a:gd name="adj" fmla="val 28148"/>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Parallelogram 46">
              <a:extLst>
                <a:ext uri="{FF2B5EF4-FFF2-40B4-BE49-F238E27FC236}">
                  <a16:creationId xmlns:a16="http://schemas.microsoft.com/office/drawing/2014/main" id="{0FE77051-BCFC-F1BB-D97C-8089745B6ABA}"/>
                </a:ext>
              </a:extLst>
            </p:cNvPr>
            <p:cNvSpPr/>
            <p:nvPr/>
          </p:nvSpPr>
          <p:spPr>
            <a:xfrm>
              <a:off x="7293548" y="1940076"/>
              <a:ext cx="3754537" cy="3496732"/>
            </a:xfrm>
            <a:prstGeom prst="parallelogram">
              <a:avLst>
                <a:gd name="adj" fmla="val 27422"/>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23EDEEB8-8433-35D9-7412-DD7DBB6B76CF}"/>
                </a:ext>
              </a:extLst>
            </p:cNvPr>
            <p:cNvSpPr/>
            <p:nvPr/>
          </p:nvSpPr>
          <p:spPr>
            <a:xfrm>
              <a:off x="9338947" y="1940076"/>
              <a:ext cx="2946749" cy="349673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50" name="Group 49">
            <a:extLst>
              <a:ext uri="{FF2B5EF4-FFF2-40B4-BE49-F238E27FC236}">
                <a16:creationId xmlns:a16="http://schemas.microsoft.com/office/drawing/2014/main" id="{8BAE5989-66B8-AA51-01CC-C758D62A7855}"/>
              </a:ext>
            </a:extLst>
          </p:cNvPr>
          <p:cNvGrpSpPr/>
          <p:nvPr/>
        </p:nvGrpSpPr>
        <p:grpSpPr>
          <a:xfrm>
            <a:off x="1678172" y="1333500"/>
            <a:ext cx="1092136" cy="1092136"/>
            <a:chOff x="3286392" y="1761200"/>
            <a:chExt cx="1092136" cy="1092136"/>
          </a:xfrm>
        </p:grpSpPr>
        <p:sp>
          <p:nvSpPr>
            <p:cNvPr id="51" name="Flowchart: Connector 50">
              <a:extLst>
                <a:ext uri="{FF2B5EF4-FFF2-40B4-BE49-F238E27FC236}">
                  <a16:creationId xmlns:a16="http://schemas.microsoft.com/office/drawing/2014/main" id="{A16FDB39-B2A9-80C7-0272-9B1BD302CF67}"/>
                </a:ext>
              </a:extLst>
            </p:cNvPr>
            <p:cNvSpPr/>
            <p:nvPr/>
          </p:nvSpPr>
          <p:spPr>
            <a:xfrm>
              <a:off x="3286392" y="1761200"/>
              <a:ext cx="1092136" cy="1092136"/>
            </a:xfrm>
            <a:prstGeom prst="flowChartConnector">
              <a:avLst/>
            </a:prstGeom>
            <a:gradFill flip="none" rotWithShape="1">
              <a:gsLst>
                <a:gs pos="0">
                  <a:schemeClr val="accent2">
                    <a:lumMod val="60000"/>
                    <a:lumOff val="40000"/>
                  </a:schemeClr>
                </a:gs>
                <a:gs pos="100000">
                  <a:schemeClr val="accent1"/>
                </a:gs>
                <a:gs pos="67000">
                  <a:schemeClr val="accent2">
                    <a:lumMod val="95000"/>
                    <a:lumOff val="5000"/>
                  </a:schemeClr>
                </a:gs>
              </a:gsLst>
              <a:path path="circle">
                <a:fillToRect l="50000" t="130000" r="50000" b="-30000"/>
              </a:path>
              <a:tileRect/>
            </a:gradFill>
            <a:ln w="38100">
              <a:solidFill>
                <a:schemeClr val="bg1"/>
              </a:solidFill>
            </a:ln>
            <a:effectLst>
              <a:outerShdw blurRad="279400" dist="1397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59" name="Graphic 58">
              <a:extLst>
                <a:ext uri="{FF2B5EF4-FFF2-40B4-BE49-F238E27FC236}">
                  <a16:creationId xmlns:a16="http://schemas.microsoft.com/office/drawing/2014/main" id="{930826E1-684F-A30D-4727-C4FA4D43B7BF}"/>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3510199" y="1985008"/>
              <a:ext cx="644522" cy="644520"/>
            </a:xfrm>
            <a:prstGeom prst="rect">
              <a:avLst/>
            </a:prstGeom>
          </p:spPr>
        </p:pic>
      </p:grpSp>
      <p:sp>
        <p:nvSpPr>
          <p:cNvPr id="61" name="TextBox 60">
            <a:extLst>
              <a:ext uri="{FF2B5EF4-FFF2-40B4-BE49-F238E27FC236}">
                <a16:creationId xmlns:a16="http://schemas.microsoft.com/office/drawing/2014/main" id="{7C3264BF-68B8-7686-BF18-DD69416E6F67}"/>
              </a:ext>
            </a:extLst>
          </p:cNvPr>
          <p:cNvSpPr txBox="1"/>
          <p:nvPr/>
        </p:nvSpPr>
        <p:spPr>
          <a:xfrm>
            <a:off x="381001" y="2573363"/>
            <a:ext cx="3418366" cy="1934376"/>
          </a:xfrm>
          <a:prstGeom prst="rect">
            <a:avLst/>
          </a:prstGeom>
          <a:noFill/>
        </p:spPr>
        <p:txBody>
          <a:bodyPr wrap="square">
            <a:noAutofit/>
          </a:bodyPr>
          <a:lstStyle/>
          <a:p>
            <a:pPr lvl="0">
              <a:lnSpc>
                <a:spcPct val="110000"/>
              </a:lnSpc>
              <a:spcBef>
                <a:spcPts val="1200"/>
              </a:spcBef>
              <a:defRPr/>
            </a:pPr>
            <a:r>
              <a:rPr lang="en-US" sz="1600" kern="100" dirty="0" err="1">
                <a:solidFill>
                  <a:srgbClr val="FFFFFF"/>
                </a:solidFill>
              </a:rPr>
              <a:t>Pnömokok</a:t>
            </a:r>
            <a:r>
              <a:rPr lang="en-US" sz="1600" kern="100" dirty="0">
                <a:solidFill>
                  <a:srgbClr val="FFFFFF"/>
                </a:solidFill>
              </a:rPr>
              <a:t> </a:t>
            </a:r>
            <a:r>
              <a:rPr lang="en-US" sz="1600" kern="100" dirty="0" err="1">
                <a:solidFill>
                  <a:srgbClr val="FFFFFF"/>
                </a:solidFill>
              </a:rPr>
              <a:t>hastalığı</a:t>
            </a:r>
            <a:r>
              <a:rPr lang="en-US" sz="1600" kern="100" dirty="0">
                <a:solidFill>
                  <a:srgbClr val="FFFFFF"/>
                </a:solidFill>
              </a:rPr>
              <a:t> hem </a:t>
            </a:r>
            <a:r>
              <a:rPr lang="en-US" sz="1600" kern="100" dirty="0" err="1">
                <a:solidFill>
                  <a:srgbClr val="FFFFFF"/>
                </a:solidFill>
              </a:rPr>
              <a:t>invaziv</a:t>
            </a:r>
            <a:r>
              <a:rPr lang="en-US" sz="1600" kern="100" dirty="0">
                <a:solidFill>
                  <a:srgbClr val="FFFFFF"/>
                </a:solidFill>
              </a:rPr>
              <a:t> </a:t>
            </a:r>
            <a:r>
              <a:rPr lang="en-US" sz="1600" kern="100" dirty="0" err="1">
                <a:solidFill>
                  <a:srgbClr val="FFFFFF"/>
                </a:solidFill>
              </a:rPr>
              <a:t>hastalıkları</a:t>
            </a:r>
            <a:r>
              <a:rPr lang="en-US" sz="1600" kern="100" dirty="0">
                <a:solidFill>
                  <a:srgbClr val="FFFFFF"/>
                </a:solidFill>
              </a:rPr>
              <a:t> (</a:t>
            </a:r>
            <a:r>
              <a:rPr lang="en-US" sz="1600" kern="100" dirty="0" err="1">
                <a:solidFill>
                  <a:srgbClr val="FFFFFF"/>
                </a:solidFill>
              </a:rPr>
              <a:t>ör</a:t>
            </a:r>
            <a:r>
              <a:rPr lang="en-US" sz="1600" kern="100" dirty="0">
                <a:solidFill>
                  <a:srgbClr val="FFFFFF"/>
                </a:solidFill>
              </a:rPr>
              <a:t>. </a:t>
            </a:r>
            <a:r>
              <a:rPr lang="en-US" sz="1600" kern="100" dirty="0" err="1">
                <a:solidFill>
                  <a:srgbClr val="FFFFFF"/>
                </a:solidFill>
              </a:rPr>
              <a:t>bakteriyemi</a:t>
            </a:r>
            <a:r>
              <a:rPr lang="en-US" sz="1600" kern="100" dirty="0">
                <a:solidFill>
                  <a:srgbClr val="FFFFFF"/>
                </a:solidFill>
              </a:rPr>
              <a:t>, </a:t>
            </a:r>
            <a:r>
              <a:rPr lang="en-US" sz="1600" kern="100" dirty="0" err="1">
                <a:solidFill>
                  <a:srgbClr val="FFFFFF"/>
                </a:solidFill>
              </a:rPr>
              <a:t>menenjit</a:t>
            </a:r>
            <a:r>
              <a:rPr lang="en-US" sz="1600" kern="100" dirty="0">
                <a:solidFill>
                  <a:srgbClr val="FFFFFF"/>
                </a:solidFill>
              </a:rPr>
              <a:t> </a:t>
            </a:r>
            <a:r>
              <a:rPr lang="en-US" sz="1600" kern="100" dirty="0" err="1">
                <a:solidFill>
                  <a:srgbClr val="FFFFFF"/>
                </a:solidFill>
              </a:rPr>
              <a:t>ve</a:t>
            </a:r>
            <a:r>
              <a:rPr lang="en-US" sz="1600" kern="100" dirty="0">
                <a:solidFill>
                  <a:srgbClr val="FFFFFF"/>
                </a:solidFill>
              </a:rPr>
              <a:t> </a:t>
            </a:r>
            <a:r>
              <a:rPr lang="en-US" sz="1600" kern="100" dirty="0" err="1">
                <a:solidFill>
                  <a:srgbClr val="FFFFFF"/>
                </a:solidFill>
              </a:rPr>
              <a:t>bakteriemik</a:t>
            </a:r>
            <a:r>
              <a:rPr lang="en-US" sz="1600" kern="100" dirty="0">
                <a:solidFill>
                  <a:srgbClr val="FFFFFF"/>
                </a:solidFill>
              </a:rPr>
              <a:t> </a:t>
            </a:r>
            <a:r>
              <a:rPr lang="en-US" sz="1600" kern="100" dirty="0" err="1">
                <a:solidFill>
                  <a:srgbClr val="FFFFFF"/>
                </a:solidFill>
              </a:rPr>
              <a:t>pnömoni</a:t>
            </a:r>
            <a:r>
              <a:rPr lang="en-US" sz="1600" kern="100" dirty="0">
                <a:solidFill>
                  <a:srgbClr val="FFFFFF"/>
                </a:solidFill>
              </a:rPr>
              <a:t>) hem de </a:t>
            </a:r>
            <a:r>
              <a:rPr lang="en-US" sz="1600" kern="100" dirty="0" err="1">
                <a:solidFill>
                  <a:srgbClr val="FFFFFF"/>
                </a:solidFill>
              </a:rPr>
              <a:t>invaziv</a:t>
            </a:r>
            <a:r>
              <a:rPr lang="en-US" sz="1600" kern="100" dirty="0">
                <a:solidFill>
                  <a:srgbClr val="FFFFFF"/>
                </a:solidFill>
              </a:rPr>
              <a:t> </a:t>
            </a:r>
            <a:r>
              <a:rPr lang="en-US" sz="1600" kern="100" dirty="0" err="1">
                <a:solidFill>
                  <a:srgbClr val="FFFFFF"/>
                </a:solidFill>
              </a:rPr>
              <a:t>olmayan</a:t>
            </a:r>
            <a:r>
              <a:rPr lang="en-US" sz="1600" kern="100" dirty="0">
                <a:solidFill>
                  <a:srgbClr val="FFFFFF"/>
                </a:solidFill>
              </a:rPr>
              <a:t> </a:t>
            </a:r>
            <a:r>
              <a:rPr lang="en-US" sz="1600" kern="100" dirty="0" err="1">
                <a:solidFill>
                  <a:srgbClr val="FFFFFF"/>
                </a:solidFill>
              </a:rPr>
              <a:t>hastalıkları</a:t>
            </a:r>
            <a:r>
              <a:rPr lang="en-US" sz="1600" kern="100" dirty="0">
                <a:solidFill>
                  <a:srgbClr val="FFFFFF"/>
                </a:solidFill>
              </a:rPr>
              <a:t> (</a:t>
            </a:r>
            <a:r>
              <a:rPr lang="en-US" sz="1600" kern="100" dirty="0" err="1">
                <a:solidFill>
                  <a:srgbClr val="FFFFFF"/>
                </a:solidFill>
              </a:rPr>
              <a:t>ör</a:t>
            </a:r>
            <a:r>
              <a:rPr lang="en-US" sz="1600" kern="100" dirty="0">
                <a:solidFill>
                  <a:srgbClr val="FFFFFF"/>
                </a:solidFill>
              </a:rPr>
              <a:t>. </a:t>
            </a:r>
            <a:r>
              <a:rPr lang="en-US" sz="1600" kern="100" dirty="0" err="1">
                <a:solidFill>
                  <a:srgbClr val="FFFFFF"/>
                </a:solidFill>
              </a:rPr>
              <a:t>bronşit</a:t>
            </a:r>
            <a:r>
              <a:rPr lang="en-US" sz="1600" kern="100" dirty="0">
                <a:solidFill>
                  <a:srgbClr val="FFFFFF"/>
                </a:solidFill>
              </a:rPr>
              <a:t>, </a:t>
            </a:r>
            <a:r>
              <a:rPr lang="en-US" sz="1600" kern="100" dirty="0" err="1">
                <a:solidFill>
                  <a:srgbClr val="FFFFFF"/>
                </a:solidFill>
              </a:rPr>
              <a:t>sinüzit</a:t>
            </a:r>
            <a:r>
              <a:rPr lang="en-US" sz="1600" kern="100" dirty="0">
                <a:solidFill>
                  <a:srgbClr val="FFFFFF"/>
                </a:solidFill>
              </a:rPr>
              <a:t> </a:t>
            </a:r>
            <a:r>
              <a:rPr lang="en-US" sz="1600" kern="100" dirty="0" err="1">
                <a:solidFill>
                  <a:srgbClr val="FFFFFF"/>
                </a:solidFill>
              </a:rPr>
              <a:t>ve</a:t>
            </a:r>
            <a:r>
              <a:rPr lang="en-US" sz="1600" kern="100" dirty="0">
                <a:solidFill>
                  <a:srgbClr val="FFFFFF"/>
                </a:solidFill>
              </a:rPr>
              <a:t> </a:t>
            </a:r>
            <a:r>
              <a:rPr lang="en-US" sz="1600" kern="100" dirty="0" err="1">
                <a:solidFill>
                  <a:srgbClr val="FFFFFF"/>
                </a:solidFill>
              </a:rPr>
              <a:t>bakteriyemik</a:t>
            </a:r>
            <a:r>
              <a:rPr lang="en-US" sz="1600" kern="100" dirty="0">
                <a:solidFill>
                  <a:srgbClr val="FFFFFF"/>
                </a:solidFill>
              </a:rPr>
              <a:t> </a:t>
            </a:r>
            <a:r>
              <a:rPr lang="en-US" sz="1600" kern="100" dirty="0" err="1">
                <a:solidFill>
                  <a:srgbClr val="FFFFFF"/>
                </a:solidFill>
              </a:rPr>
              <a:t>olmayan</a:t>
            </a:r>
            <a:r>
              <a:rPr lang="en-US" sz="1600" kern="100" dirty="0">
                <a:solidFill>
                  <a:srgbClr val="FFFFFF"/>
                </a:solidFill>
              </a:rPr>
              <a:t> </a:t>
            </a:r>
            <a:r>
              <a:rPr lang="en-US" sz="1600" kern="100" dirty="0" err="1">
                <a:solidFill>
                  <a:srgbClr val="FFFFFF"/>
                </a:solidFill>
              </a:rPr>
              <a:t>pnömoni</a:t>
            </a:r>
            <a:r>
              <a:rPr lang="en-US" sz="1600" kern="100" dirty="0">
                <a:solidFill>
                  <a:srgbClr val="FFFFFF"/>
                </a:solidFill>
              </a:rPr>
              <a:t>) içerebilir</a:t>
            </a:r>
            <a:r>
              <a:rPr lang="en-US" sz="1600" kern="100" baseline="30000" dirty="0">
                <a:solidFill>
                  <a:srgbClr val="FFFFFF"/>
                </a:solidFill>
              </a:rPr>
              <a:t>1</a:t>
            </a:r>
            <a:endParaRPr kumimoji="0" lang="en-US" sz="1600" b="0" i="0" u="none" strike="noStrike" kern="100" cap="none" spc="0" normalizeH="0" baseline="30000" noProof="0" dirty="0">
              <a:ln>
                <a:noFill/>
              </a:ln>
              <a:solidFill>
                <a:srgbClr val="FFFFFF"/>
              </a:solidFill>
              <a:effectLst/>
              <a:uLnTx/>
              <a:uFillTx/>
              <a:latin typeface="Arial" panose="020B0604020202020204"/>
              <a:ea typeface="+mn-ea"/>
              <a:cs typeface="+mn-cs"/>
            </a:endParaRPr>
          </a:p>
        </p:txBody>
      </p:sp>
      <p:grpSp>
        <p:nvGrpSpPr>
          <p:cNvPr id="90" name="Group 89">
            <a:extLst>
              <a:ext uri="{FF2B5EF4-FFF2-40B4-BE49-F238E27FC236}">
                <a16:creationId xmlns:a16="http://schemas.microsoft.com/office/drawing/2014/main" id="{A510B32F-CD62-0D40-5F06-69CEE7A24F4F}"/>
              </a:ext>
            </a:extLst>
          </p:cNvPr>
          <p:cNvGrpSpPr/>
          <p:nvPr/>
        </p:nvGrpSpPr>
        <p:grpSpPr>
          <a:xfrm>
            <a:off x="4607442" y="3880459"/>
            <a:ext cx="6921747" cy="1769551"/>
            <a:chOff x="4747419" y="4183006"/>
            <a:chExt cx="6921747" cy="1769551"/>
          </a:xfrm>
        </p:grpSpPr>
        <p:sp>
          <p:nvSpPr>
            <p:cNvPr id="64" name="Parallelogram 63">
              <a:extLst>
                <a:ext uri="{FF2B5EF4-FFF2-40B4-BE49-F238E27FC236}">
                  <a16:creationId xmlns:a16="http://schemas.microsoft.com/office/drawing/2014/main" id="{46FBC780-A344-4314-1C49-5092F9ED9A6F}"/>
                </a:ext>
              </a:extLst>
            </p:cNvPr>
            <p:cNvSpPr/>
            <p:nvPr/>
          </p:nvSpPr>
          <p:spPr>
            <a:xfrm>
              <a:off x="5652520" y="4381425"/>
              <a:ext cx="4876800" cy="695298"/>
            </a:xfrm>
            <a:prstGeom prst="parallelogram">
              <a:avLst>
                <a:gd name="adj" fmla="val 32971"/>
              </a:avLst>
            </a:prstGeom>
            <a:gradFill flip="none" rotWithShape="1">
              <a:gsLst>
                <a:gs pos="36000">
                  <a:schemeClr val="bg2">
                    <a:shade val="67500"/>
                    <a:satMod val="115000"/>
                    <a:lumMod val="72000"/>
                    <a:lumOff val="28000"/>
                  </a:schemeClr>
                </a:gs>
                <a:gs pos="100000">
                  <a:schemeClr val="bg2">
                    <a:lumMod val="20000"/>
                    <a:lumOff val="80000"/>
                    <a:shade val="100000"/>
                    <a:satMod val="115000"/>
                  </a:schemeClr>
                </a:gs>
              </a:gsLst>
              <a:lin ang="10800000" scaled="1"/>
              <a:tileRect/>
            </a:gra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66" name="Freeform: Shape 65">
              <a:extLst>
                <a:ext uri="{FF2B5EF4-FFF2-40B4-BE49-F238E27FC236}">
                  <a16:creationId xmlns:a16="http://schemas.microsoft.com/office/drawing/2014/main" id="{906E2EB9-4679-6907-1632-C471FCC87AB9}"/>
                </a:ext>
              </a:extLst>
            </p:cNvPr>
            <p:cNvSpPr/>
            <p:nvPr/>
          </p:nvSpPr>
          <p:spPr>
            <a:xfrm>
              <a:off x="6158590" y="4373474"/>
              <a:ext cx="234950" cy="711200"/>
            </a:xfrm>
            <a:custGeom>
              <a:avLst/>
              <a:gdLst>
                <a:gd name="connsiteX0" fmla="*/ 0 w 262467"/>
                <a:gd name="connsiteY0" fmla="*/ 711200 h 711200"/>
                <a:gd name="connsiteX1" fmla="*/ 262467 w 262467"/>
                <a:gd name="connsiteY1" fmla="*/ 0 h 711200"/>
              </a:gdLst>
              <a:ahLst/>
              <a:cxnLst>
                <a:cxn ang="0">
                  <a:pos x="connsiteX0" y="connsiteY0"/>
                </a:cxn>
                <a:cxn ang="0">
                  <a:pos x="connsiteX1" y="connsiteY1"/>
                </a:cxn>
              </a:cxnLst>
              <a:rect l="l" t="t" r="r" b="b"/>
              <a:pathLst>
                <a:path w="262467" h="711200">
                  <a:moveTo>
                    <a:pt x="0" y="711200"/>
                  </a:moveTo>
                  <a:lnTo>
                    <a:pt x="262467" y="0"/>
                  </a:lnTo>
                </a:path>
              </a:pathLst>
            </a:cu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7" name="TextBox 66">
              <a:extLst>
                <a:ext uri="{FF2B5EF4-FFF2-40B4-BE49-F238E27FC236}">
                  <a16:creationId xmlns:a16="http://schemas.microsoft.com/office/drawing/2014/main" id="{A23D1C24-6BC1-AA4A-CCBD-DD8C65F8AC4E}"/>
                </a:ext>
              </a:extLst>
            </p:cNvPr>
            <p:cNvSpPr txBox="1"/>
            <p:nvPr/>
          </p:nvSpPr>
          <p:spPr>
            <a:xfrm>
              <a:off x="4747419" y="5367782"/>
              <a:ext cx="2247014" cy="584775"/>
            </a:xfrm>
            <a:prstGeom prst="rect">
              <a:avLst/>
            </a:prstGeom>
          </p:spPr>
          <p:txBody>
            <a:bodyPr wrap="square">
              <a:spAutoFit/>
            </a:bodyPr>
            <a:lstStyle/>
            <a:p>
              <a:pPr lvl="0" algn="ctr">
                <a:defRPr/>
              </a:pPr>
              <a:r>
                <a:rPr lang="en-US" sz="1600" b="1" dirty="0" err="1">
                  <a:solidFill>
                    <a:srgbClr val="0000C9">
                      <a:lumMod val="75000"/>
                    </a:srgbClr>
                  </a:solidFill>
                </a:rPr>
                <a:t>Bakteri</a:t>
              </a:r>
              <a:r>
                <a:rPr lang="tr-TR" sz="1600" b="1" dirty="0">
                  <a:solidFill>
                    <a:srgbClr val="0000C9">
                      <a:lumMod val="75000"/>
                    </a:srgbClr>
                  </a:solidFill>
                </a:rPr>
                <a:t>y</a:t>
              </a:r>
              <a:r>
                <a:rPr lang="en-US" sz="1600" b="1" dirty="0" err="1">
                  <a:solidFill>
                    <a:srgbClr val="0000C9">
                      <a:lumMod val="75000"/>
                    </a:srgbClr>
                  </a:solidFill>
                </a:rPr>
                <a:t>emik</a:t>
              </a:r>
              <a:r>
                <a:rPr lang="en-US" sz="1600" b="1" dirty="0">
                  <a:solidFill>
                    <a:srgbClr val="0000C9">
                      <a:lumMod val="75000"/>
                    </a:srgbClr>
                  </a:solidFill>
                </a:rPr>
                <a:t> </a:t>
              </a:r>
              <a:r>
                <a:rPr lang="en-US" sz="1600" b="1" dirty="0" err="1">
                  <a:solidFill>
                    <a:srgbClr val="0000C9">
                      <a:lumMod val="75000"/>
                    </a:srgbClr>
                  </a:solidFill>
                </a:rPr>
                <a:t>olmayan</a:t>
              </a:r>
              <a:r>
                <a:rPr lang="en-US" sz="1600" b="1" dirty="0">
                  <a:solidFill>
                    <a:srgbClr val="0000C9">
                      <a:lumMod val="75000"/>
                    </a:srgbClr>
                  </a:solidFill>
                </a:rPr>
                <a:t> pnömoni</a:t>
              </a:r>
              <a:r>
                <a:rPr lang="en-US" sz="1600" b="1" baseline="30000" dirty="0">
                  <a:solidFill>
                    <a:srgbClr val="0000C9">
                      <a:lumMod val="75000"/>
                    </a:srgbClr>
                  </a:solidFill>
                </a:rPr>
                <a:t>3*</a:t>
              </a:r>
              <a:endParaRPr kumimoji="0" lang="en-US" sz="1600" b="1" i="0" u="none" strike="noStrike" kern="1200" cap="none" spc="0" normalizeH="0" baseline="30000" noProof="0" dirty="0">
                <a:ln>
                  <a:noFill/>
                </a:ln>
                <a:solidFill>
                  <a:srgbClr val="0000C9">
                    <a:lumMod val="75000"/>
                  </a:srgbClr>
                </a:solidFill>
                <a:effectLst/>
                <a:uLnTx/>
                <a:uFillTx/>
                <a:latin typeface="Arial" panose="020B0604020202020204"/>
                <a:ea typeface="+mn-ea"/>
                <a:cs typeface="+mn-cs"/>
              </a:endParaRPr>
            </a:p>
          </p:txBody>
        </p:sp>
        <p:sp>
          <p:nvSpPr>
            <p:cNvPr id="68" name="Freeform: Shape 67">
              <a:extLst>
                <a:ext uri="{FF2B5EF4-FFF2-40B4-BE49-F238E27FC236}">
                  <a16:creationId xmlns:a16="http://schemas.microsoft.com/office/drawing/2014/main" id="{C2CD0C8A-C842-7984-0A29-7CAE7FF8D126}"/>
                </a:ext>
              </a:extLst>
            </p:cNvPr>
            <p:cNvSpPr/>
            <p:nvPr/>
          </p:nvSpPr>
          <p:spPr>
            <a:xfrm>
              <a:off x="6558638" y="4373474"/>
              <a:ext cx="234950" cy="711200"/>
            </a:xfrm>
            <a:custGeom>
              <a:avLst/>
              <a:gdLst>
                <a:gd name="connsiteX0" fmla="*/ 0 w 262467"/>
                <a:gd name="connsiteY0" fmla="*/ 711200 h 711200"/>
                <a:gd name="connsiteX1" fmla="*/ 262467 w 262467"/>
                <a:gd name="connsiteY1" fmla="*/ 0 h 711200"/>
              </a:gdLst>
              <a:ahLst/>
              <a:cxnLst>
                <a:cxn ang="0">
                  <a:pos x="connsiteX0" y="connsiteY0"/>
                </a:cxn>
                <a:cxn ang="0">
                  <a:pos x="connsiteX1" y="connsiteY1"/>
                </a:cxn>
              </a:cxnLst>
              <a:rect l="l" t="t" r="r" b="b"/>
              <a:pathLst>
                <a:path w="262467" h="711200">
                  <a:moveTo>
                    <a:pt x="0" y="711200"/>
                  </a:moveTo>
                  <a:lnTo>
                    <a:pt x="262467" y="0"/>
                  </a:lnTo>
                </a:path>
              </a:pathLst>
            </a:cu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9" name="Freeform: Shape 68">
              <a:extLst>
                <a:ext uri="{FF2B5EF4-FFF2-40B4-BE49-F238E27FC236}">
                  <a16:creationId xmlns:a16="http://schemas.microsoft.com/office/drawing/2014/main" id="{EB9DB957-671A-2D4D-AFB2-FAD82CEC36C1}"/>
                </a:ext>
              </a:extLst>
            </p:cNvPr>
            <p:cNvSpPr/>
            <p:nvPr/>
          </p:nvSpPr>
          <p:spPr>
            <a:xfrm>
              <a:off x="6958558" y="4373474"/>
              <a:ext cx="234950" cy="711200"/>
            </a:xfrm>
            <a:custGeom>
              <a:avLst/>
              <a:gdLst>
                <a:gd name="connsiteX0" fmla="*/ 0 w 262467"/>
                <a:gd name="connsiteY0" fmla="*/ 711200 h 711200"/>
                <a:gd name="connsiteX1" fmla="*/ 262467 w 262467"/>
                <a:gd name="connsiteY1" fmla="*/ 0 h 711200"/>
              </a:gdLst>
              <a:ahLst/>
              <a:cxnLst>
                <a:cxn ang="0">
                  <a:pos x="connsiteX0" y="connsiteY0"/>
                </a:cxn>
                <a:cxn ang="0">
                  <a:pos x="connsiteX1" y="connsiteY1"/>
                </a:cxn>
              </a:cxnLst>
              <a:rect l="l" t="t" r="r" b="b"/>
              <a:pathLst>
                <a:path w="262467" h="711200">
                  <a:moveTo>
                    <a:pt x="0" y="711200"/>
                  </a:moveTo>
                  <a:lnTo>
                    <a:pt x="262467" y="0"/>
                  </a:lnTo>
                </a:path>
              </a:pathLst>
            </a:cu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0" name="Freeform: Shape 69">
              <a:extLst>
                <a:ext uri="{FF2B5EF4-FFF2-40B4-BE49-F238E27FC236}">
                  <a16:creationId xmlns:a16="http://schemas.microsoft.com/office/drawing/2014/main" id="{D22D2FAD-230F-7B8B-AC34-F55795967B2F}"/>
                </a:ext>
              </a:extLst>
            </p:cNvPr>
            <p:cNvSpPr/>
            <p:nvPr/>
          </p:nvSpPr>
          <p:spPr>
            <a:xfrm>
              <a:off x="7358478" y="4373474"/>
              <a:ext cx="234950" cy="711200"/>
            </a:xfrm>
            <a:custGeom>
              <a:avLst/>
              <a:gdLst>
                <a:gd name="connsiteX0" fmla="*/ 0 w 262467"/>
                <a:gd name="connsiteY0" fmla="*/ 711200 h 711200"/>
                <a:gd name="connsiteX1" fmla="*/ 262467 w 262467"/>
                <a:gd name="connsiteY1" fmla="*/ 0 h 711200"/>
              </a:gdLst>
              <a:ahLst/>
              <a:cxnLst>
                <a:cxn ang="0">
                  <a:pos x="connsiteX0" y="connsiteY0"/>
                </a:cxn>
                <a:cxn ang="0">
                  <a:pos x="connsiteX1" y="connsiteY1"/>
                </a:cxn>
              </a:cxnLst>
              <a:rect l="l" t="t" r="r" b="b"/>
              <a:pathLst>
                <a:path w="262467" h="711200">
                  <a:moveTo>
                    <a:pt x="0" y="711200"/>
                  </a:moveTo>
                  <a:lnTo>
                    <a:pt x="262467" y="0"/>
                  </a:lnTo>
                </a:path>
              </a:pathLst>
            </a:cu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2" name="Freeform: Shape 71">
              <a:extLst>
                <a:ext uri="{FF2B5EF4-FFF2-40B4-BE49-F238E27FC236}">
                  <a16:creationId xmlns:a16="http://schemas.microsoft.com/office/drawing/2014/main" id="{C906A3AD-44CC-5B04-03B3-1B5F5ECED4CF}"/>
                </a:ext>
              </a:extLst>
            </p:cNvPr>
            <p:cNvSpPr/>
            <p:nvPr/>
          </p:nvSpPr>
          <p:spPr>
            <a:xfrm>
              <a:off x="7758398" y="4373474"/>
              <a:ext cx="234950" cy="711200"/>
            </a:xfrm>
            <a:custGeom>
              <a:avLst/>
              <a:gdLst>
                <a:gd name="connsiteX0" fmla="*/ 0 w 262467"/>
                <a:gd name="connsiteY0" fmla="*/ 711200 h 711200"/>
                <a:gd name="connsiteX1" fmla="*/ 262467 w 262467"/>
                <a:gd name="connsiteY1" fmla="*/ 0 h 711200"/>
              </a:gdLst>
              <a:ahLst/>
              <a:cxnLst>
                <a:cxn ang="0">
                  <a:pos x="connsiteX0" y="connsiteY0"/>
                </a:cxn>
                <a:cxn ang="0">
                  <a:pos x="connsiteX1" y="connsiteY1"/>
                </a:cxn>
              </a:cxnLst>
              <a:rect l="l" t="t" r="r" b="b"/>
              <a:pathLst>
                <a:path w="262467" h="711200">
                  <a:moveTo>
                    <a:pt x="0" y="711200"/>
                  </a:moveTo>
                  <a:lnTo>
                    <a:pt x="262467" y="0"/>
                  </a:lnTo>
                </a:path>
              </a:pathLst>
            </a:cu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3" name="Freeform: Shape 72">
              <a:extLst>
                <a:ext uri="{FF2B5EF4-FFF2-40B4-BE49-F238E27FC236}">
                  <a16:creationId xmlns:a16="http://schemas.microsoft.com/office/drawing/2014/main" id="{793EDFDC-BC50-A50E-99D9-1472C61484ED}"/>
                </a:ext>
              </a:extLst>
            </p:cNvPr>
            <p:cNvSpPr/>
            <p:nvPr/>
          </p:nvSpPr>
          <p:spPr>
            <a:xfrm>
              <a:off x="8158318" y="4373474"/>
              <a:ext cx="234950" cy="711200"/>
            </a:xfrm>
            <a:custGeom>
              <a:avLst/>
              <a:gdLst>
                <a:gd name="connsiteX0" fmla="*/ 0 w 262467"/>
                <a:gd name="connsiteY0" fmla="*/ 711200 h 711200"/>
                <a:gd name="connsiteX1" fmla="*/ 262467 w 262467"/>
                <a:gd name="connsiteY1" fmla="*/ 0 h 711200"/>
              </a:gdLst>
              <a:ahLst/>
              <a:cxnLst>
                <a:cxn ang="0">
                  <a:pos x="connsiteX0" y="connsiteY0"/>
                </a:cxn>
                <a:cxn ang="0">
                  <a:pos x="connsiteX1" y="connsiteY1"/>
                </a:cxn>
              </a:cxnLst>
              <a:rect l="l" t="t" r="r" b="b"/>
              <a:pathLst>
                <a:path w="262467" h="711200">
                  <a:moveTo>
                    <a:pt x="0" y="711200"/>
                  </a:moveTo>
                  <a:lnTo>
                    <a:pt x="262467" y="0"/>
                  </a:lnTo>
                </a:path>
              </a:pathLst>
            </a:cu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4" name="Freeform: Shape 73">
              <a:extLst>
                <a:ext uri="{FF2B5EF4-FFF2-40B4-BE49-F238E27FC236}">
                  <a16:creationId xmlns:a16="http://schemas.microsoft.com/office/drawing/2014/main" id="{32852667-C364-9F43-F791-DCE3B5705867}"/>
                </a:ext>
              </a:extLst>
            </p:cNvPr>
            <p:cNvSpPr/>
            <p:nvPr/>
          </p:nvSpPr>
          <p:spPr>
            <a:xfrm>
              <a:off x="8558238" y="4373474"/>
              <a:ext cx="234950" cy="711200"/>
            </a:xfrm>
            <a:custGeom>
              <a:avLst/>
              <a:gdLst>
                <a:gd name="connsiteX0" fmla="*/ 0 w 262467"/>
                <a:gd name="connsiteY0" fmla="*/ 711200 h 711200"/>
                <a:gd name="connsiteX1" fmla="*/ 262467 w 262467"/>
                <a:gd name="connsiteY1" fmla="*/ 0 h 711200"/>
              </a:gdLst>
              <a:ahLst/>
              <a:cxnLst>
                <a:cxn ang="0">
                  <a:pos x="connsiteX0" y="connsiteY0"/>
                </a:cxn>
                <a:cxn ang="0">
                  <a:pos x="connsiteX1" y="connsiteY1"/>
                </a:cxn>
              </a:cxnLst>
              <a:rect l="l" t="t" r="r" b="b"/>
              <a:pathLst>
                <a:path w="262467" h="711200">
                  <a:moveTo>
                    <a:pt x="0" y="711200"/>
                  </a:moveTo>
                  <a:lnTo>
                    <a:pt x="262467" y="0"/>
                  </a:lnTo>
                </a:path>
              </a:pathLst>
            </a:cu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5" name="Freeform: Shape 74">
              <a:extLst>
                <a:ext uri="{FF2B5EF4-FFF2-40B4-BE49-F238E27FC236}">
                  <a16:creationId xmlns:a16="http://schemas.microsoft.com/office/drawing/2014/main" id="{97835631-C667-1F0E-F85B-6BA9FC2D27AF}"/>
                </a:ext>
              </a:extLst>
            </p:cNvPr>
            <p:cNvSpPr/>
            <p:nvPr/>
          </p:nvSpPr>
          <p:spPr>
            <a:xfrm>
              <a:off x="8958158" y="4373474"/>
              <a:ext cx="234950" cy="711200"/>
            </a:xfrm>
            <a:custGeom>
              <a:avLst/>
              <a:gdLst>
                <a:gd name="connsiteX0" fmla="*/ 0 w 262467"/>
                <a:gd name="connsiteY0" fmla="*/ 711200 h 711200"/>
                <a:gd name="connsiteX1" fmla="*/ 262467 w 262467"/>
                <a:gd name="connsiteY1" fmla="*/ 0 h 711200"/>
              </a:gdLst>
              <a:ahLst/>
              <a:cxnLst>
                <a:cxn ang="0">
                  <a:pos x="connsiteX0" y="connsiteY0"/>
                </a:cxn>
                <a:cxn ang="0">
                  <a:pos x="connsiteX1" y="connsiteY1"/>
                </a:cxn>
              </a:cxnLst>
              <a:rect l="l" t="t" r="r" b="b"/>
              <a:pathLst>
                <a:path w="262467" h="711200">
                  <a:moveTo>
                    <a:pt x="0" y="711200"/>
                  </a:moveTo>
                  <a:lnTo>
                    <a:pt x="262467" y="0"/>
                  </a:lnTo>
                </a:path>
              </a:pathLst>
            </a:cu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6" name="Freeform: Shape 75">
              <a:extLst>
                <a:ext uri="{FF2B5EF4-FFF2-40B4-BE49-F238E27FC236}">
                  <a16:creationId xmlns:a16="http://schemas.microsoft.com/office/drawing/2014/main" id="{957ADB2F-77BD-B30E-6E3F-8C0B9AFED04C}"/>
                </a:ext>
              </a:extLst>
            </p:cNvPr>
            <p:cNvSpPr/>
            <p:nvPr/>
          </p:nvSpPr>
          <p:spPr>
            <a:xfrm>
              <a:off x="9363372" y="4373474"/>
              <a:ext cx="234950" cy="711200"/>
            </a:xfrm>
            <a:custGeom>
              <a:avLst/>
              <a:gdLst>
                <a:gd name="connsiteX0" fmla="*/ 0 w 262467"/>
                <a:gd name="connsiteY0" fmla="*/ 711200 h 711200"/>
                <a:gd name="connsiteX1" fmla="*/ 262467 w 262467"/>
                <a:gd name="connsiteY1" fmla="*/ 0 h 711200"/>
              </a:gdLst>
              <a:ahLst/>
              <a:cxnLst>
                <a:cxn ang="0">
                  <a:pos x="connsiteX0" y="connsiteY0"/>
                </a:cxn>
                <a:cxn ang="0">
                  <a:pos x="connsiteX1" y="connsiteY1"/>
                </a:cxn>
              </a:cxnLst>
              <a:rect l="l" t="t" r="r" b="b"/>
              <a:pathLst>
                <a:path w="262467" h="711200">
                  <a:moveTo>
                    <a:pt x="0" y="711200"/>
                  </a:moveTo>
                  <a:lnTo>
                    <a:pt x="262467" y="0"/>
                  </a:lnTo>
                </a:path>
              </a:pathLst>
            </a:cu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7" name="Freeform: Shape 76">
              <a:extLst>
                <a:ext uri="{FF2B5EF4-FFF2-40B4-BE49-F238E27FC236}">
                  <a16:creationId xmlns:a16="http://schemas.microsoft.com/office/drawing/2014/main" id="{4F5783DA-F68D-3AFD-083B-06334F36103E}"/>
                </a:ext>
              </a:extLst>
            </p:cNvPr>
            <p:cNvSpPr/>
            <p:nvPr/>
          </p:nvSpPr>
          <p:spPr>
            <a:xfrm>
              <a:off x="9763292" y="4373474"/>
              <a:ext cx="234950" cy="711200"/>
            </a:xfrm>
            <a:custGeom>
              <a:avLst/>
              <a:gdLst>
                <a:gd name="connsiteX0" fmla="*/ 0 w 262467"/>
                <a:gd name="connsiteY0" fmla="*/ 711200 h 711200"/>
                <a:gd name="connsiteX1" fmla="*/ 262467 w 262467"/>
                <a:gd name="connsiteY1" fmla="*/ 0 h 711200"/>
              </a:gdLst>
              <a:ahLst/>
              <a:cxnLst>
                <a:cxn ang="0">
                  <a:pos x="connsiteX0" y="connsiteY0"/>
                </a:cxn>
                <a:cxn ang="0">
                  <a:pos x="connsiteX1" y="connsiteY1"/>
                </a:cxn>
              </a:cxnLst>
              <a:rect l="l" t="t" r="r" b="b"/>
              <a:pathLst>
                <a:path w="262467" h="711200">
                  <a:moveTo>
                    <a:pt x="0" y="711200"/>
                  </a:moveTo>
                  <a:lnTo>
                    <a:pt x="262467" y="0"/>
                  </a:lnTo>
                </a:path>
              </a:pathLst>
            </a:cu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9" name="Parallelogram 78">
              <a:extLst>
                <a:ext uri="{FF2B5EF4-FFF2-40B4-BE49-F238E27FC236}">
                  <a16:creationId xmlns:a16="http://schemas.microsoft.com/office/drawing/2014/main" id="{73E8D6B9-4C90-20B3-FC5C-6CFC5FB79FC3}"/>
                </a:ext>
              </a:extLst>
            </p:cNvPr>
            <p:cNvSpPr/>
            <p:nvPr/>
          </p:nvSpPr>
          <p:spPr>
            <a:xfrm>
              <a:off x="5962399" y="4469754"/>
              <a:ext cx="4419269" cy="518640"/>
            </a:xfrm>
            <a:prstGeom prst="parallelogram">
              <a:avLst>
                <a:gd name="adj" fmla="val 32971"/>
              </a:avLst>
            </a:prstGeom>
            <a:solidFill>
              <a:schemeClr val="accent1"/>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80" name="Flowchart: Connector 79">
              <a:extLst>
                <a:ext uri="{FF2B5EF4-FFF2-40B4-BE49-F238E27FC236}">
                  <a16:creationId xmlns:a16="http://schemas.microsoft.com/office/drawing/2014/main" id="{1C93A347-7E64-F1D9-5B16-A91AE58DE32E}"/>
                </a:ext>
              </a:extLst>
            </p:cNvPr>
            <p:cNvSpPr/>
            <p:nvPr/>
          </p:nvSpPr>
          <p:spPr>
            <a:xfrm>
              <a:off x="5246636" y="4183006"/>
              <a:ext cx="1092136" cy="1092136"/>
            </a:xfrm>
            <a:prstGeom prst="flowChartConnector">
              <a:avLst/>
            </a:prstGeom>
            <a:solidFill>
              <a:schemeClr val="accent1"/>
            </a:solidFill>
            <a:ln w="38100">
              <a:solidFill>
                <a:schemeClr val="bg1"/>
              </a:solidFill>
            </a:ln>
            <a:effectLst>
              <a:outerShdw blurRad="279400" dist="1397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lvl="0" algn="ctr">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a:t>
              </a:r>
              <a:r>
                <a:rPr lang="en-US" sz="2800" baseline="12000" dirty="0">
                  <a:solidFill>
                    <a:srgbClr val="FFFFFF"/>
                  </a:solidFill>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85</a:t>
              </a:r>
              <a:endParaRPr kumimoji="0" lang="en-US" sz="2800" b="0" i="0" u="none" strike="noStrike" kern="1200" cap="none" spc="0" normalizeH="0" baseline="12000" noProof="0" dirty="0">
                <a:ln>
                  <a:noFill/>
                </a:ln>
                <a:solidFill>
                  <a:srgbClr val="FFFFFF"/>
                </a:solidFill>
                <a:effectLst/>
                <a:uLnTx/>
                <a:uFillTx/>
                <a:latin typeface="Arial" panose="020B0604020202020204"/>
                <a:ea typeface="+mn-ea"/>
                <a:cs typeface="+mn-cs"/>
              </a:endParaRPr>
            </a:p>
          </p:txBody>
        </p:sp>
        <p:sp>
          <p:nvSpPr>
            <p:cNvPr id="81" name="Parallelogram 80">
              <a:extLst>
                <a:ext uri="{FF2B5EF4-FFF2-40B4-BE49-F238E27FC236}">
                  <a16:creationId xmlns:a16="http://schemas.microsoft.com/office/drawing/2014/main" id="{EDDFB994-90F5-C412-7006-3A43F8DD0C6B}"/>
                </a:ext>
              </a:extLst>
            </p:cNvPr>
            <p:cNvSpPr/>
            <p:nvPr/>
          </p:nvSpPr>
          <p:spPr>
            <a:xfrm>
              <a:off x="9646851" y="4469754"/>
              <a:ext cx="731520" cy="518640"/>
            </a:xfrm>
            <a:prstGeom prst="parallelogram">
              <a:avLst>
                <a:gd name="adj" fmla="val 32971"/>
              </a:avLst>
            </a:prstGeom>
            <a:solidFill>
              <a:schemeClr val="accent2"/>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82" name="Flowchart: Connector 81">
              <a:extLst>
                <a:ext uri="{FF2B5EF4-FFF2-40B4-BE49-F238E27FC236}">
                  <a16:creationId xmlns:a16="http://schemas.microsoft.com/office/drawing/2014/main" id="{9B733777-AA63-C7F1-625C-909EE1933887}"/>
                </a:ext>
              </a:extLst>
            </p:cNvPr>
            <p:cNvSpPr/>
            <p:nvPr/>
          </p:nvSpPr>
          <p:spPr>
            <a:xfrm>
              <a:off x="10200559" y="4183006"/>
              <a:ext cx="1092136" cy="1092136"/>
            </a:xfrm>
            <a:prstGeom prst="flowChartConnector">
              <a:avLst/>
            </a:prstGeom>
            <a:solidFill>
              <a:schemeClr val="accent2"/>
            </a:solidFill>
            <a:ln w="38100">
              <a:solidFill>
                <a:schemeClr val="bg1"/>
              </a:solidFill>
            </a:ln>
            <a:effectLst>
              <a:outerShdw blurRad="279400" dist="1397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lvl="0" algn="ctr">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a:t>
              </a:r>
              <a:r>
                <a:rPr lang="en-US" sz="2800" baseline="12000" dirty="0">
                  <a:solidFill>
                    <a:srgbClr val="FFFFFF"/>
                  </a:solidFill>
                </a:rPr>
                <a:t>%</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5</a:t>
              </a:r>
              <a:endParaRPr kumimoji="0" lang="en-US" sz="2800" b="0" i="0" u="none" strike="noStrike" kern="1200" cap="none" spc="0" normalizeH="0" baseline="12000" noProof="0" dirty="0">
                <a:ln>
                  <a:noFill/>
                </a:ln>
                <a:solidFill>
                  <a:srgbClr val="FFFFFF"/>
                </a:solidFill>
                <a:effectLst/>
                <a:uLnTx/>
                <a:uFillTx/>
                <a:latin typeface="Arial" panose="020B0604020202020204"/>
                <a:ea typeface="+mn-ea"/>
                <a:cs typeface="+mn-cs"/>
              </a:endParaRPr>
            </a:p>
          </p:txBody>
        </p:sp>
        <p:sp>
          <p:nvSpPr>
            <p:cNvPr id="84" name="TextBox 83">
              <a:extLst>
                <a:ext uri="{FF2B5EF4-FFF2-40B4-BE49-F238E27FC236}">
                  <a16:creationId xmlns:a16="http://schemas.microsoft.com/office/drawing/2014/main" id="{84F8C794-9833-C352-3C6B-D2E1E3415617}"/>
                </a:ext>
              </a:extLst>
            </p:cNvPr>
            <p:cNvSpPr txBox="1"/>
            <p:nvPr/>
          </p:nvSpPr>
          <p:spPr>
            <a:xfrm>
              <a:off x="9964462" y="5367782"/>
              <a:ext cx="1704704" cy="584775"/>
            </a:xfrm>
            <a:prstGeom prst="rect">
              <a:avLst/>
            </a:prstGeom>
          </p:spPr>
          <p:txBody>
            <a:bodyPr wrap="square">
              <a:spAutoFit/>
            </a:bodyPr>
            <a:lstStyle/>
            <a:p>
              <a:pPr lvl="0" algn="ctr">
                <a:defRPr/>
              </a:pPr>
              <a:r>
                <a:rPr lang="en-US" sz="1600" b="1" dirty="0" err="1">
                  <a:solidFill>
                    <a:srgbClr val="0095FF"/>
                  </a:solidFill>
                </a:rPr>
                <a:t>Bakteri</a:t>
              </a:r>
              <a:r>
                <a:rPr lang="tr-TR" sz="1600" b="1" dirty="0">
                  <a:solidFill>
                    <a:srgbClr val="0095FF"/>
                  </a:solidFill>
                </a:rPr>
                <a:t>y</a:t>
              </a:r>
              <a:r>
                <a:rPr lang="en-US" sz="1600" b="1" dirty="0" err="1">
                  <a:solidFill>
                    <a:srgbClr val="0095FF"/>
                  </a:solidFill>
                </a:rPr>
                <a:t>emik</a:t>
              </a:r>
              <a:r>
                <a:rPr lang="en-US" sz="1600" b="1" dirty="0">
                  <a:solidFill>
                    <a:srgbClr val="0095FF"/>
                  </a:solidFill>
                </a:rPr>
                <a:t> pnömoni</a:t>
              </a:r>
              <a:r>
                <a:rPr lang="en-US" sz="1600" b="1" baseline="30000" dirty="0">
                  <a:solidFill>
                    <a:srgbClr val="0095FF"/>
                  </a:solidFill>
                </a:rPr>
                <a:t>3*</a:t>
              </a:r>
              <a:endParaRPr kumimoji="0" lang="en-US" sz="1600" b="1" i="0" u="none" strike="noStrike" kern="1200" cap="none" spc="0" normalizeH="0" baseline="30000" noProof="0" dirty="0">
                <a:ln>
                  <a:noFill/>
                </a:ln>
                <a:solidFill>
                  <a:srgbClr val="0095FF"/>
                </a:solidFill>
                <a:effectLst/>
                <a:uLnTx/>
                <a:uFillTx/>
                <a:latin typeface="Arial" panose="020B0604020202020204"/>
                <a:ea typeface="+mn-ea"/>
                <a:cs typeface="+mn-cs"/>
              </a:endParaRPr>
            </a:p>
          </p:txBody>
        </p:sp>
      </p:grpSp>
      <p:grpSp>
        <p:nvGrpSpPr>
          <p:cNvPr id="6" name="Group 5">
            <a:extLst>
              <a:ext uri="{FF2B5EF4-FFF2-40B4-BE49-F238E27FC236}">
                <a16:creationId xmlns:a16="http://schemas.microsoft.com/office/drawing/2014/main" id="{4C1FD522-8DE1-91B8-7BD2-CB78EC9DC771}"/>
              </a:ext>
            </a:extLst>
          </p:cNvPr>
          <p:cNvGrpSpPr/>
          <p:nvPr/>
        </p:nvGrpSpPr>
        <p:grpSpPr>
          <a:xfrm>
            <a:off x="4483198" y="2008301"/>
            <a:ext cx="7708802" cy="791190"/>
            <a:chOff x="4483198" y="2008301"/>
            <a:chExt cx="7708802" cy="791190"/>
          </a:xfrm>
        </p:grpSpPr>
        <p:sp>
          <p:nvSpPr>
            <p:cNvPr id="85" name="TextBox 84">
              <a:extLst>
                <a:ext uri="{FF2B5EF4-FFF2-40B4-BE49-F238E27FC236}">
                  <a16:creationId xmlns:a16="http://schemas.microsoft.com/office/drawing/2014/main" id="{C90A84F0-66E2-5788-8C82-B8173577CB51}"/>
                </a:ext>
              </a:extLst>
            </p:cNvPr>
            <p:cNvSpPr txBox="1"/>
            <p:nvPr/>
          </p:nvSpPr>
          <p:spPr>
            <a:xfrm flipH="1" flipV="1">
              <a:off x="4483198" y="2008301"/>
              <a:ext cx="1135863" cy="791190"/>
            </a:xfrm>
            <a:prstGeom prst="parallelogram">
              <a:avLst>
                <a:gd name="adj" fmla="val 27140"/>
              </a:avLst>
            </a:prstGeom>
            <a:solidFill>
              <a:schemeClr val="accent1"/>
            </a:solidFill>
          </p:spPr>
          <p:txBody>
            <a:bodyPr wrap="square"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87" name="TextBox 86">
              <a:extLst>
                <a:ext uri="{FF2B5EF4-FFF2-40B4-BE49-F238E27FC236}">
                  <a16:creationId xmlns:a16="http://schemas.microsoft.com/office/drawing/2014/main" id="{5DD4C0F2-9AAA-5126-857E-467DE7994C8C}"/>
                </a:ext>
              </a:extLst>
            </p:cNvPr>
            <p:cNvSpPr txBox="1"/>
            <p:nvPr/>
          </p:nvSpPr>
          <p:spPr>
            <a:xfrm flipH="1">
              <a:off x="5004391" y="2008301"/>
              <a:ext cx="7187609" cy="791190"/>
            </a:xfrm>
            <a:prstGeom prst="rect">
              <a:avLst/>
            </a:prstGeom>
            <a:solidFill>
              <a:schemeClr val="accent1"/>
            </a:solidFill>
          </p:spPr>
          <p:txBody>
            <a:bodyPr wrap="square" lIns="91440" rtlCol="0" anchor="ctr">
              <a:noAutofit/>
            </a:bodyPr>
            <a:lstStyle/>
            <a:p>
              <a:pPr lvl="0">
                <a:lnSpc>
                  <a:spcPct val="90000"/>
                </a:lnSpc>
                <a:defRPr/>
              </a:pPr>
              <a:r>
                <a:rPr lang="en-US" sz="1400" dirty="0" err="1">
                  <a:solidFill>
                    <a:srgbClr val="FFFFFF"/>
                  </a:solidFill>
                </a:rPr>
                <a:t>Yetişkinlerde</a:t>
              </a:r>
              <a:r>
                <a:rPr lang="en-US" sz="1400" dirty="0">
                  <a:solidFill>
                    <a:srgbClr val="FFFFFF"/>
                  </a:solidFill>
                </a:rPr>
                <a:t> </a:t>
              </a:r>
              <a:r>
                <a:rPr lang="en-US" sz="1400" dirty="0" err="1">
                  <a:solidFill>
                    <a:srgbClr val="FFFFFF"/>
                  </a:solidFill>
                </a:rPr>
                <a:t>pnömokok</a:t>
              </a:r>
              <a:r>
                <a:rPr lang="en-US" sz="1400" dirty="0">
                  <a:solidFill>
                    <a:srgbClr val="FFFFFF"/>
                  </a:solidFill>
                </a:rPr>
                <a:t> </a:t>
              </a:r>
              <a:r>
                <a:rPr lang="en-US" sz="1400" dirty="0" err="1">
                  <a:solidFill>
                    <a:srgbClr val="FFFFFF"/>
                  </a:solidFill>
                </a:rPr>
                <a:t>pnömonisi</a:t>
              </a:r>
              <a:r>
                <a:rPr lang="en-US" sz="1400" dirty="0">
                  <a:solidFill>
                    <a:srgbClr val="FFFFFF"/>
                  </a:solidFill>
                </a:rPr>
                <a:t>, </a:t>
              </a:r>
              <a:r>
                <a:rPr lang="en-US" sz="1400" dirty="0" err="1">
                  <a:solidFill>
                    <a:srgbClr val="FFFFFF"/>
                  </a:solidFill>
                </a:rPr>
                <a:t>pnömokok</a:t>
              </a:r>
              <a:r>
                <a:rPr lang="en-US" sz="1400" dirty="0">
                  <a:solidFill>
                    <a:srgbClr val="FFFFFF"/>
                  </a:solidFill>
                </a:rPr>
                <a:t> </a:t>
              </a:r>
              <a:r>
                <a:rPr lang="en-US" sz="1400" dirty="0" err="1">
                  <a:solidFill>
                    <a:srgbClr val="FFFFFF"/>
                  </a:solidFill>
                </a:rPr>
                <a:t>hastalığının</a:t>
              </a:r>
              <a:r>
                <a:rPr lang="en-US" sz="1400" dirty="0">
                  <a:solidFill>
                    <a:srgbClr val="FFFFFF"/>
                  </a:solidFill>
                </a:rPr>
                <a:t> </a:t>
              </a:r>
              <a:r>
                <a:rPr lang="en-US" sz="1400" dirty="0" err="1">
                  <a:solidFill>
                    <a:srgbClr val="FFFFFF"/>
                  </a:solidFill>
                </a:rPr>
                <a:t>en</a:t>
              </a:r>
              <a:r>
                <a:rPr lang="en-US" sz="1400" dirty="0">
                  <a:solidFill>
                    <a:srgbClr val="FFFFFF"/>
                  </a:solidFill>
                </a:rPr>
                <a:t> </a:t>
              </a:r>
              <a:r>
                <a:rPr lang="en-US" sz="1400" dirty="0" err="1">
                  <a:solidFill>
                    <a:srgbClr val="FFFFFF"/>
                  </a:solidFill>
                </a:rPr>
                <a:t>yaygın</a:t>
              </a:r>
              <a:r>
                <a:rPr lang="en-US" sz="1400" dirty="0">
                  <a:solidFill>
                    <a:srgbClr val="FFFFFF"/>
                  </a:solidFill>
                </a:rPr>
                <a:t> şeklidir</a:t>
              </a:r>
              <a:r>
                <a:rPr lang="en-US" sz="1400" baseline="30000" dirty="0">
                  <a:solidFill>
                    <a:srgbClr val="FFFFFF"/>
                  </a:solidFill>
                </a:rPr>
                <a:t>2</a:t>
              </a:r>
              <a:endParaRPr kumimoji="0" lang="en-US" sz="1400" b="0"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grpSp>
      <p:grpSp>
        <p:nvGrpSpPr>
          <p:cNvPr id="7" name="Group 6">
            <a:extLst>
              <a:ext uri="{FF2B5EF4-FFF2-40B4-BE49-F238E27FC236}">
                <a16:creationId xmlns:a16="http://schemas.microsoft.com/office/drawing/2014/main" id="{C069CC2F-384A-952C-5624-C427175F6E6B}"/>
              </a:ext>
            </a:extLst>
          </p:cNvPr>
          <p:cNvGrpSpPr/>
          <p:nvPr/>
        </p:nvGrpSpPr>
        <p:grpSpPr>
          <a:xfrm>
            <a:off x="4231969" y="2944378"/>
            <a:ext cx="7960030" cy="791194"/>
            <a:chOff x="4231969" y="2944378"/>
            <a:chExt cx="7960030" cy="791194"/>
          </a:xfrm>
        </p:grpSpPr>
        <p:sp>
          <p:nvSpPr>
            <p:cNvPr id="86" name="TextBox 85">
              <a:extLst>
                <a:ext uri="{FF2B5EF4-FFF2-40B4-BE49-F238E27FC236}">
                  <a16:creationId xmlns:a16="http://schemas.microsoft.com/office/drawing/2014/main" id="{F4608305-7FC2-7509-5B63-8B738DBFD615}"/>
                </a:ext>
              </a:extLst>
            </p:cNvPr>
            <p:cNvSpPr txBox="1"/>
            <p:nvPr/>
          </p:nvSpPr>
          <p:spPr>
            <a:xfrm flipH="1" flipV="1">
              <a:off x="4231969" y="2944378"/>
              <a:ext cx="1474169" cy="791190"/>
            </a:xfrm>
            <a:prstGeom prst="parallelogram">
              <a:avLst>
                <a:gd name="adj" fmla="val 27675"/>
              </a:avLst>
            </a:prstGeom>
            <a:solidFill>
              <a:schemeClr val="accent1"/>
            </a:solidFill>
          </p:spPr>
          <p:txBody>
            <a:bodyPr wrap="square"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88" name="TextBox 87">
              <a:extLst>
                <a:ext uri="{FF2B5EF4-FFF2-40B4-BE49-F238E27FC236}">
                  <a16:creationId xmlns:a16="http://schemas.microsoft.com/office/drawing/2014/main" id="{0D21AC00-D35E-2355-C53B-3975E1CFE3B3}"/>
                </a:ext>
              </a:extLst>
            </p:cNvPr>
            <p:cNvSpPr txBox="1"/>
            <p:nvPr/>
          </p:nvSpPr>
          <p:spPr>
            <a:xfrm flipH="1">
              <a:off x="5004391" y="2944382"/>
              <a:ext cx="7187608" cy="791190"/>
            </a:xfrm>
            <a:prstGeom prst="rect">
              <a:avLst/>
            </a:prstGeom>
            <a:solidFill>
              <a:schemeClr val="accent1"/>
            </a:solidFill>
          </p:spPr>
          <p:txBody>
            <a:bodyPr wrap="square" lIns="91440" rtlCol="0" anchor="ctr">
              <a:noAutofit/>
            </a:bodyPr>
            <a:lstStyle/>
            <a:p>
              <a:pPr lvl="0">
                <a:lnSpc>
                  <a:spcPct val="90000"/>
                </a:lnSpc>
                <a:defRPr/>
              </a:pPr>
              <a:r>
                <a:rPr lang="en-US" sz="1400" dirty="0" err="1">
                  <a:solidFill>
                    <a:srgbClr val="FFFFFF"/>
                  </a:solidFill>
                </a:rPr>
                <a:t>Pnömokok</a:t>
              </a:r>
              <a:r>
                <a:rPr lang="en-US" sz="1400" dirty="0">
                  <a:solidFill>
                    <a:srgbClr val="FFFFFF"/>
                  </a:solidFill>
                </a:rPr>
                <a:t> </a:t>
              </a:r>
              <a:r>
                <a:rPr lang="en-US" sz="1400" dirty="0" err="1">
                  <a:solidFill>
                    <a:srgbClr val="FFFFFF"/>
                  </a:solidFill>
                </a:rPr>
                <a:t>pnömonisi</a:t>
              </a:r>
              <a:r>
                <a:rPr lang="en-US" sz="1400" dirty="0">
                  <a:solidFill>
                    <a:srgbClr val="FFFFFF"/>
                  </a:solidFill>
                </a:rPr>
                <a:t> </a:t>
              </a:r>
              <a:r>
                <a:rPr lang="en-US" sz="1400" dirty="0" err="1">
                  <a:solidFill>
                    <a:srgbClr val="FFFFFF"/>
                  </a:solidFill>
                </a:rPr>
                <a:t>bakteriyemik</a:t>
              </a:r>
              <a:r>
                <a:rPr lang="en-US" sz="1400" dirty="0">
                  <a:solidFill>
                    <a:srgbClr val="FFFFFF"/>
                  </a:solidFill>
                </a:rPr>
                <a:t> (IPD) </a:t>
              </a:r>
              <a:r>
                <a:rPr lang="en-US" sz="1400" dirty="0" err="1">
                  <a:solidFill>
                    <a:srgbClr val="FFFFFF"/>
                  </a:solidFill>
                </a:rPr>
                <a:t>veya</a:t>
              </a:r>
              <a:r>
                <a:rPr lang="en-US" sz="1400" dirty="0">
                  <a:solidFill>
                    <a:srgbClr val="FFFFFF"/>
                  </a:solidFill>
                </a:rPr>
                <a:t> </a:t>
              </a:r>
              <a:r>
                <a:rPr lang="en-US" sz="1400" dirty="0" err="1">
                  <a:solidFill>
                    <a:srgbClr val="FFFFFF"/>
                  </a:solidFill>
                </a:rPr>
                <a:t>bakteriyemik</a:t>
              </a:r>
              <a:r>
                <a:rPr lang="en-US" sz="1400" dirty="0">
                  <a:solidFill>
                    <a:srgbClr val="FFFFFF"/>
                  </a:solidFill>
                </a:rPr>
                <a:t> </a:t>
              </a:r>
              <a:r>
                <a:rPr lang="en-US" sz="1400" dirty="0" err="1">
                  <a:solidFill>
                    <a:srgbClr val="FFFFFF"/>
                  </a:solidFill>
                </a:rPr>
                <a:t>olmayan</a:t>
              </a:r>
              <a:r>
                <a:rPr lang="en-US" sz="1400" dirty="0">
                  <a:solidFill>
                    <a:srgbClr val="FFFFFF"/>
                  </a:solidFill>
                </a:rPr>
                <a:t> </a:t>
              </a:r>
              <a:r>
                <a:rPr lang="en-US" sz="1400" dirty="0" err="1">
                  <a:solidFill>
                    <a:srgbClr val="FFFFFF"/>
                  </a:solidFill>
                </a:rPr>
                <a:t>olarak</a:t>
              </a:r>
              <a:r>
                <a:rPr lang="en-US" sz="1400" dirty="0">
                  <a:solidFill>
                    <a:srgbClr val="FFFFFF"/>
                  </a:solidFill>
                </a:rPr>
                <a:t> sınıflandırılabilir</a:t>
              </a:r>
              <a:r>
                <a:rPr lang="en-US" sz="1400" baseline="30000" dirty="0">
                  <a:solidFill>
                    <a:srgbClr val="FFFFFF"/>
                  </a:solidFill>
                </a:rPr>
                <a:t>3</a:t>
              </a:r>
              <a:endParaRPr kumimoji="0" lang="en-US" sz="1400" b="0"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grpSp>
      <p:pic>
        <p:nvPicPr>
          <p:cNvPr id="5" name="Picture 4" descr="A yellow and blue logo&#10;&#10;Description automatically generated">
            <a:extLst>
              <a:ext uri="{FF2B5EF4-FFF2-40B4-BE49-F238E27FC236}">
                <a16:creationId xmlns:a16="http://schemas.microsoft.com/office/drawing/2014/main" id="{2AB340E6-B61E-AAAB-B53B-16D010A7B78A}"/>
              </a:ext>
            </a:extLst>
          </p:cNvPr>
          <p:cNvPicPr>
            <a:picLocks noChangeAspect="1"/>
          </p:cNvPicPr>
          <p:nvPr/>
        </p:nvPicPr>
        <p:blipFill>
          <a:blip r:embed="rId5">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26749166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b="25394"/>
          <a:stretch>
            <a:fillRect/>
          </a:stretch>
        </p:blipFill>
        <p:spPr>
          <a:xfrm>
            <a:off x="2329877" y="136024"/>
            <a:ext cx="7532247" cy="5573306"/>
          </a:xfrm>
          <a:prstGeom prst="rect">
            <a:avLst/>
          </a:prstGeom>
        </p:spPr>
      </p:pic>
      <p:pic>
        <p:nvPicPr>
          <p:cNvPr id="3" name="Picture 2">
            <a:extLst>
              <a:ext uri="{FF2B5EF4-FFF2-40B4-BE49-F238E27FC236}">
                <a16:creationId xmlns:a16="http://schemas.microsoft.com/office/drawing/2014/main" id="{F538F3A2-EAF5-E2ED-720D-38ACA1437A82}"/>
              </a:ext>
            </a:extLst>
          </p:cNvPr>
          <p:cNvPicPr>
            <a:picLocks noChangeAspect="1"/>
          </p:cNvPicPr>
          <p:nvPr/>
        </p:nvPicPr>
        <p:blipFill>
          <a:blip r:embed="rId2"/>
          <a:srcRect t="76924"/>
          <a:stretch>
            <a:fillRect/>
          </a:stretch>
        </p:blipFill>
        <p:spPr>
          <a:xfrm>
            <a:off x="3970122" y="5748927"/>
            <a:ext cx="4251756" cy="973049"/>
          </a:xfrm>
          <a:prstGeom prst="rect">
            <a:avLst/>
          </a:prstGeom>
        </p:spPr>
      </p:pic>
      <p:pic>
        <p:nvPicPr>
          <p:cNvPr id="4" name="Picture 3" descr="A yellow and blue logo&#10;&#10;Description automatically generated">
            <a:extLst>
              <a:ext uri="{FF2B5EF4-FFF2-40B4-BE49-F238E27FC236}">
                <a16:creationId xmlns:a16="http://schemas.microsoft.com/office/drawing/2014/main" id="{1B3A0E00-43CD-A336-1741-252860E72269}"/>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121070159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b="23341"/>
          <a:stretch>
            <a:fillRect/>
          </a:stretch>
        </p:blipFill>
        <p:spPr>
          <a:xfrm>
            <a:off x="3000374" y="0"/>
            <a:ext cx="6461279" cy="5612666"/>
          </a:xfrm>
          <a:prstGeom prst="rect">
            <a:avLst/>
          </a:prstGeom>
        </p:spPr>
      </p:pic>
      <p:pic>
        <p:nvPicPr>
          <p:cNvPr id="4" name="Picture 2">
            <a:extLst>
              <a:ext uri="{FF2B5EF4-FFF2-40B4-BE49-F238E27FC236}">
                <a16:creationId xmlns:a16="http://schemas.microsoft.com/office/drawing/2014/main" id="{AA8146A3-EF24-7A87-4C7F-CD85883A9939}"/>
              </a:ext>
            </a:extLst>
          </p:cNvPr>
          <p:cNvPicPr>
            <a:picLocks noChangeAspect="1"/>
          </p:cNvPicPr>
          <p:nvPr/>
        </p:nvPicPr>
        <p:blipFill>
          <a:blip r:embed="rId2"/>
          <a:srcRect l="-147" t="78317" r="147" b="1225"/>
          <a:stretch>
            <a:fillRect/>
          </a:stretch>
        </p:blipFill>
        <p:spPr>
          <a:xfrm>
            <a:off x="4607426" y="5745906"/>
            <a:ext cx="3647224" cy="845505"/>
          </a:xfrm>
          <a:prstGeom prst="rect">
            <a:avLst/>
          </a:prstGeom>
        </p:spPr>
      </p:pic>
      <p:pic>
        <p:nvPicPr>
          <p:cNvPr id="5" name="Picture 4" descr="A yellow and blue logo&#10;&#10;Description automatically generated">
            <a:extLst>
              <a:ext uri="{FF2B5EF4-FFF2-40B4-BE49-F238E27FC236}">
                <a16:creationId xmlns:a16="http://schemas.microsoft.com/office/drawing/2014/main" id="{A0003CC9-357D-DA56-42F1-79120176D46D}"/>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36099939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4" name="Group 113">
            <a:extLst>
              <a:ext uri="{FF2B5EF4-FFF2-40B4-BE49-F238E27FC236}">
                <a16:creationId xmlns:a16="http://schemas.microsoft.com/office/drawing/2014/main" id="{3042D905-3DF3-CA2A-B739-4489E851AB24}"/>
              </a:ext>
            </a:extLst>
          </p:cNvPr>
          <p:cNvGrpSpPr/>
          <p:nvPr/>
        </p:nvGrpSpPr>
        <p:grpSpPr>
          <a:xfrm>
            <a:off x="5822953" y="1301601"/>
            <a:ext cx="6369050" cy="899639"/>
            <a:chOff x="5340339" y="1257299"/>
            <a:chExt cx="6385690" cy="726099"/>
          </a:xfrm>
          <a:solidFill>
            <a:schemeClr val="accent1">
              <a:lumMod val="75000"/>
            </a:schemeClr>
          </a:solidFill>
        </p:grpSpPr>
        <p:sp>
          <p:nvSpPr>
            <p:cNvPr id="115" name="Rectangle 114">
              <a:extLst>
                <a:ext uri="{FF2B5EF4-FFF2-40B4-BE49-F238E27FC236}">
                  <a16:creationId xmlns:a16="http://schemas.microsoft.com/office/drawing/2014/main" id="{FFC6CD36-6038-A11C-BFB2-787D203DE7EC}"/>
                </a:ext>
              </a:extLst>
            </p:cNvPr>
            <p:cNvSpPr/>
            <p:nvPr/>
          </p:nvSpPr>
          <p:spPr>
            <a:xfrm>
              <a:off x="5983363" y="1257299"/>
              <a:ext cx="5742666" cy="726099"/>
            </a:xfrm>
            <a:prstGeom prst="rect">
              <a:avLst/>
            </a:pr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 name="Parallelogram 115">
              <a:extLst>
                <a:ext uri="{FF2B5EF4-FFF2-40B4-BE49-F238E27FC236}">
                  <a16:creationId xmlns:a16="http://schemas.microsoft.com/office/drawing/2014/main" id="{CE02AEE5-CA37-C34E-64EA-FE4CAF2FD24D}"/>
                </a:ext>
              </a:extLst>
            </p:cNvPr>
            <p:cNvSpPr/>
            <p:nvPr/>
          </p:nvSpPr>
          <p:spPr>
            <a:xfrm>
              <a:off x="5340339" y="1257299"/>
              <a:ext cx="978329" cy="726099"/>
            </a:xfrm>
            <a:prstGeom prst="parallelogram">
              <a:avLst>
                <a:gd name="adj" fmla="val 26412"/>
              </a:avLst>
            </a:pr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17" name="Group 116">
            <a:extLst>
              <a:ext uri="{FF2B5EF4-FFF2-40B4-BE49-F238E27FC236}">
                <a16:creationId xmlns:a16="http://schemas.microsoft.com/office/drawing/2014/main" id="{0FE23CDD-00EF-BB43-7775-5458FA5D2EFB}"/>
              </a:ext>
            </a:extLst>
          </p:cNvPr>
          <p:cNvGrpSpPr/>
          <p:nvPr/>
        </p:nvGrpSpPr>
        <p:grpSpPr>
          <a:xfrm flipH="1" flipV="1">
            <a:off x="6" y="1301598"/>
            <a:ext cx="5659967" cy="899639"/>
            <a:chOff x="6051271" y="1257300"/>
            <a:chExt cx="5674757" cy="726099"/>
          </a:xfrm>
          <a:solidFill>
            <a:schemeClr val="accent1">
              <a:lumMod val="75000"/>
            </a:schemeClr>
          </a:solidFill>
        </p:grpSpPr>
        <p:sp>
          <p:nvSpPr>
            <p:cNvPr id="118" name="Rectangle 117">
              <a:extLst>
                <a:ext uri="{FF2B5EF4-FFF2-40B4-BE49-F238E27FC236}">
                  <a16:creationId xmlns:a16="http://schemas.microsoft.com/office/drawing/2014/main" id="{E8FA837A-9A2E-6985-0991-9EED7869B63D}"/>
                </a:ext>
              </a:extLst>
            </p:cNvPr>
            <p:cNvSpPr/>
            <p:nvPr/>
          </p:nvSpPr>
          <p:spPr>
            <a:xfrm>
              <a:off x="6383189" y="1257300"/>
              <a:ext cx="5342839" cy="726099"/>
            </a:xfrm>
            <a:prstGeom prst="rect">
              <a:avLst/>
            </a:pr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9" name="Parallelogram 118">
              <a:extLst>
                <a:ext uri="{FF2B5EF4-FFF2-40B4-BE49-F238E27FC236}">
                  <a16:creationId xmlns:a16="http://schemas.microsoft.com/office/drawing/2014/main" id="{437CCC8F-1353-C048-604A-E5BB6EA8CEC9}"/>
                </a:ext>
              </a:extLst>
            </p:cNvPr>
            <p:cNvSpPr/>
            <p:nvPr/>
          </p:nvSpPr>
          <p:spPr>
            <a:xfrm>
              <a:off x="6051271" y="1257300"/>
              <a:ext cx="1095910" cy="726099"/>
            </a:xfrm>
            <a:prstGeom prst="parallelogram">
              <a:avLst>
                <a:gd name="adj" fmla="val 26176"/>
              </a:avLst>
            </a:pr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4" name="Rectangle: Rounded Corners 3">
            <a:extLst>
              <a:ext uri="{FF2B5EF4-FFF2-40B4-BE49-F238E27FC236}">
                <a16:creationId xmlns:a16="http://schemas.microsoft.com/office/drawing/2014/main" id="{F62C9786-5F4A-57CB-B97A-57A83F5BEB42}"/>
              </a:ext>
            </a:extLst>
          </p:cNvPr>
          <p:cNvSpPr/>
          <p:nvPr/>
        </p:nvSpPr>
        <p:spPr>
          <a:xfrm>
            <a:off x="650240" y="2498287"/>
            <a:ext cx="4455160" cy="1544320"/>
          </a:xfrm>
          <a:prstGeom prst="roundRect">
            <a:avLst>
              <a:gd name="adj" fmla="val 2851"/>
            </a:avLst>
          </a:prstGeom>
          <a:solidFill>
            <a:srgbClr val="E0F2FF"/>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53BA7DF1-1729-26A0-F0C0-F35ED4E9CEFA}"/>
              </a:ext>
            </a:extLst>
          </p:cNvPr>
          <p:cNvSpPr>
            <a:spLocks noGrp="1"/>
          </p:cNvSpPr>
          <p:nvPr>
            <p:ph type="title"/>
          </p:nvPr>
        </p:nvSpPr>
        <p:spPr/>
        <p:txBody>
          <a:bodyPr>
            <a:normAutofit/>
          </a:bodyPr>
          <a:lstStyle/>
          <a:p>
            <a:r>
              <a:rPr lang="en-US"/>
              <a:t>Yaşa ek </a:t>
            </a:r>
            <a:r>
              <a:rPr lang="en-US" err="1"/>
              <a:t>olarak</a:t>
            </a:r>
            <a:r>
              <a:rPr lang="en-US"/>
              <a:t>, </a:t>
            </a:r>
            <a:r>
              <a:rPr lang="en-US" err="1"/>
              <a:t>bazı</a:t>
            </a:r>
            <a:r>
              <a:rPr lang="en-US"/>
              <a:t> ek </a:t>
            </a:r>
            <a:r>
              <a:rPr lang="en-US" err="1"/>
              <a:t>hastalıkları</a:t>
            </a:r>
            <a:r>
              <a:rPr lang="en-US"/>
              <a:t> </a:t>
            </a:r>
            <a:r>
              <a:rPr lang="en-US" err="1"/>
              <a:t>yetişkinlerde</a:t>
            </a:r>
            <a:r>
              <a:rPr lang="en-US"/>
              <a:t> </a:t>
            </a:r>
            <a:r>
              <a:rPr lang="en-US" err="1"/>
              <a:t>pnömokok</a:t>
            </a:r>
            <a:r>
              <a:rPr lang="en-US"/>
              <a:t> </a:t>
            </a:r>
            <a:r>
              <a:rPr lang="en-US" err="1"/>
              <a:t>pnömonisi</a:t>
            </a:r>
            <a:r>
              <a:rPr lang="en-US"/>
              <a:t> </a:t>
            </a:r>
            <a:r>
              <a:rPr lang="en-US" err="1"/>
              <a:t>riskini</a:t>
            </a:r>
            <a:r>
              <a:rPr lang="en-US"/>
              <a:t> </a:t>
            </a:r>
            <a:r>
              <a:rPr lang="en-US" err="1"/>
              <a:t>artırabilir</a:t>
            </a:r>
            <a:endParaRPr lang="en-US"/>
          </a:p>
        </p:txBody>
      </p:sp>
      <p:sp>
        <p:nvSpPr>
          <p:cNvPr id="3" name="Slide Number Placeholder 2">
            <a:extLst>
              <a:ext uri="{FF2B5EF4-FFF2-40B4-BE49-F238E27FC236}">
                <a16:creationId xmlns:a16="http://schemas.microsoft.com/office/drawing/2014/main" id="{1719274D-B7E0-4BE0-2DD1-6C9F4ED49E05}"/>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074DEF-F175-4420-8EE3-137377F9872B}" type="slidenum">
              <a:rPr kumimoji="0" lang="en-US" sz="1000" b="0" i="0" u="none" strike="noStrike" kern="1200" cap="none" spc="0" normalizeH="0" baseline="0" noProof="0" smtClean="0">
                <a:ln>
                  <a:noFill/>
                </a:ln>
                <a:solidFill>
                  <a:srgbClr val="A1AAB1">
                    <a:lumMod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000" b="0" i="0" u="none" strike="noStrike" kern="1200" cap="none" spc="0" normalizeH="0" baseline="0" noProof="0">
              <a:ln>
                <a:noFill/>
              </a:ln>
              <a:solidFill>
                <a:srgbClr val="A1AAB1">
                  <a:lumMod val="75000"/>
                </a:srgbClr>
              </a:solidFill>
              <a:effectLst/>
              <a:uLnTx/>
              <a:uFillTx/>
              <a:latin typeface="Arial" panose="020B0604020202020204"/>
              <a:ea typeface="+mn-ea"/>
              <a:cs typeface="+mn-cs"/>
            </a:endParaRPr>
          </a:p>
        </p:txBody>
      </p:sp>
      <p:sp>
        <p:nvSpPr>
          <p:cNvPr id="14" name="Text Placeholder 13">
            <a:extLst>
              <a:ext uri="{FF2B5EF4-FFF2-40B4-BE49-F238E27FC236}">
                <a16:creationId xmlns:a16="http://schemas.microsoft.com/office/drawing/2014/main" id="{8C85C1C4-F357-8B75-F03D-8C73085BA991}"/>
              </a:ext>
            </a:extLst>
          </p:cNvPr>
          <p:cNvSpPr>
            <a:spLocks noGrp="1"/>
          </p:cNvSpPr>
          <p:nvPr>
            <p:ph type="body" sz="quarter" idx="4294967295"/>
          </p:nvPr>
        </p:nvSpPr>
        <p:spPr>
          <a:xfrm>
            <a:off x="657123" y="5833778"/>
            <a:ext cx="11430000" cy="358775"/>
          </a:xfrm>
        </p:spPr>
        <p:txBody>
          <a:bodyPr>
            <a:normAutofit fontScale="25000" lnSpcReduction="20000"/>
          </a:bodyPr>
          <a:lstStyle/>
          <a:p>
            <a:pPr>
              <a:defRPr/>
            </a:pPr>
            <a:r>
              <a:rPr lang="en-US" dirty="0"/>
              <a:t>*Yatan hasta </a:t>
            </a:r>
            <a:r>
              <a:rPr lang="en-US" dirty="0" err="1"/>
              <a:t>hastaneye</a:t>
            </a:r>
            <a:r>
              <a:rPr lang="en-US" dirty="0"/>
              <a:t> </a:t>
            </a:r>
            <a:r>
              <a:rPr lang="en-US" dirty="0" err="1"/>
              <a:t>yatışları</a:t>
            </a:r>
            <a:r>
              <a:rPr lang="en-US" dirty="0"/>
              <a:t>, </a:t>
            </a:r>
            <a:r>
              <a:rPr lang="en-US" dirty="0" err="1"/>
              <a:t>acil</a:t>
            </a:r>
            <a:r>
              <a:rPr lang="en-US" dirty="0"/>
              <a:t> </a:t>
            </a:r>
            <a:r>
              <a:rPr lang="en-US" dirty="0" err="1"/>
              <a:t>servis</a:t>
            </a:r>
            <a:r>
              <a:rPr lang="en-US" dirty="0"/>
              <a:t> </a:t>
            </a:r>
            <a:r>
              <a:rPr lang="en-US" dirty="0" err="1"/>
              <a:t>ziyaretleri</a:t>
            </a:r>
            <a:r>
              <a:rPr lang="en-US" dirty="0"/>
              <a:t> (</a:t>
            </a:r>
            <a:r>
              <a:rPr lang="en-US" dirty="0" err="1"/>
              <a:t>ancak</a:t>
            </a:r>
            <a:r>
              <a:rPr lang="en-US" dirty="0"/>
              <a:t> </a:t>
            </a:r>
            <a:r>
              <a:rPr lang="en-US" dirty="0" err="1"/>
              <a:t>kabul</a:t>
            </a:r>
            <a:r>
              <a:rPr lang="en-US" dirty="0"/>
              <a:t> </a:t>
            </a:r>
            <a:r>
              <a:rPr lang="en-US" dirty="0" err="1"/>
              <a:t>edilmedi</a:t>
            </a:r>
            <a:r>
              <a:rPr lang="en-US" dirty="0"/>
              <a:t>), </a:t>
            </a:r>
            <a:r>
              <a:rPr lang="en-US" dirty="0" err="1"/>
              <a:t>ayaktan</a:t>
            </a:r>
            <a:r>
              <a:rPr lang="en-US" dirty="0"/>
              <a:t> </a:t>
            </a:r>
            <a:r>
              <a:rPr lang="en-US" dirty="0" err="1"/>
              <a:t>hastalar</a:t>
            </a:r>
            <a:r>
              <a:rPr lang="en-US" dirty="0"/>
              <a:t> vb. † </a:t>
            </a:r>
            <a:r>
              <a:rPr lang="en-US" dirty="0" err="1"/>
              <a:t>İnsidans</a:t>
            </a:r>
            <a:r>
              <a:rPr lang="en-US" dirty="0"/>
              <a:t> </a:t>
            </a:r>
            <a:r>
              <a:rPr lang="en-US" dirty="0" err="1"/>
              <a:t>oranı</a:t>
            </a:r>
            <a:r>
              <a:rPr lang="en-US" dirty="0"/>
              <a:t>, </a:t>
            </a:r>
            <a:r>
              <a:rPr lang="en-US" dirty="0" err="1"/>
              <a:t>pnömokok</a:t>
            </a:r>
            <a:r>
              <a:rPr lang="en-US" dirty="0"/>
              <a:t> </a:t>
            </a:r>
            <a:r>
              <a:rPr lang="en-US" dirty="0" err="1"/>
              <a:t>hastalığının</a:t>
            </a:r>
            <a:r>
              <a:rPr lang="en-US" dirty="0"/>
              <a:t> her </a:t>
            </a:r>
            <a:r>
              <a:rPr lang="en-US" dirty="0" err="1"/>
              <a:t>bir</a:t>
            </a:r>
            <a:r>
              <a:rPr lang="en-US" dirty="0"/>
              <a:t> </a:t>
            </a:r>
            <a:r>
              <a:rPr lang="en-US" dirty="0" err="1"/>
              <a:t>belirtisi</a:t>
            </a:r>
            <a:r>
              <a:rPr lang="en-US" dirty="0"/>
              <a:t> </a:t>
            </a:r>
            <a:r>
              <a:rPr lang="en-US" dirty="0" err="1"/>
              <a:t>için</a:t>
            </a:r>
            <a:r>
              <a:rPr lang="en-US" dirty="0"/>
              <a:t> </a:t>
            </a:r>
            <a:r>
              <a:rPr lang="en-US" dirty="0" err="1"/>
              <a:t>büyük</a:t>
            </a:r>
            <a:r>
              <a:rPr lang="en-US" dirty="0"/>
              <a:t> </a:t>
            </a:r>
            <a:r>
              <a:rPr lang="en-US" dirty="0" err="1"/>
              <a:t>ölçüde</a:t>
            </a:r>
            <a:r>
              <a:rPr lang="en-US" dirty="0"/>
              <a:t> </a:t>
            </a:r>
            <a:r>
              <a:rPr lang="en-US" dirty="0" err="1"/>
              <a:t>değişmiştir</a:t>
            </a:r>
            <a:r>
              <a:rPr lang="en-US" dirty="0"/>
              <a:t>. ‡</a:t>
            </a:r>
            <a:r>
              <a:rPr lang="en-US" dirty="0" err="1"/>
              <a:t>İmmün</a:t>
            </a:r>
            <a:r>
              <a:rPr lang="en-US" dirty="0"/>
              <a:t> </a:t>
            </a:r>
            <a:r>
              <a:rPr lang="en-US" dirty="0" err="1"/>
              <a:t>kompozizasyon</a:t>
            </a:r>
            <a:r>
              <a:rPr lang="en-US" dirty="0"/>
              <a:t>, </a:t>
            </a:r>
            <a:r>
              <a:rPr lang="en-US" dirty="0" err="1"/>
              <a:t>kronik</a:t>
            </a:r>
            <a:r>
              <a:rPr lang="en-US" dirty="0"/>
              <a:t> </a:t>
            </a:r>
            <a:r>
              <a:rPr lang="en-US" dirty="0" err="1"/>
              <a:t>ve</a:t>
            </a:r>
            <a:r>
              <a:rPr lang="en-US" dirty="0"/>
              <a:t> </a:t>
            </a:r>
            <a:r>
              <a:rPr lang="en-US" dirty="0" err="1"/>
              <a:t>diğer</a:t>
            </a:r>
            <a:r>
              <a:rPr lang="en-US" dirty="0"/>
              <a:t> </a:t>
            </a:r>
            <a:r>
              <a:rPr lang="en-US" dirty="0" err="1"/>
              <a:t>tıbbi</a:t>
            </a:r>
            <a:r>
              <a:rPr lang="en-US" dirty="0"/>
              <a:t> </a:t>
            </a:r>
            <a:r>
              <a:rPr lang="en-US" dirty="0" err="1"/>
              <a:t>durumları</a:t>
            </a:r>
            <a:r>
              <a:rPr lang="en-US" dirty="0"/>
              <a:t> </a:t>
            </a:r>
            <a:r>
              <a:rPr lang="en-US" dirty="0" err="1"/>
              <a:t>içermez</a:t>
            </a:r>
            <a:r>
              <a:rPr lang="en-US" dirty="0"/>
              <a:t>. </a:t>
            </a:r>
            <a:r>
              <a:rPr lang="en-US" dirty="0" err="1"/>
              <a:t>Bağışıklık</a:t>
            </a:r>
            <a:r>
              <a:rPr lang="en-US" dirty="0"/>
              <a:t> </a:t>
            </a:r>
            <a:r>
              <a:rPr lang="en-US" dirty="0" err="1"/>
              <a:t>sistemini</a:t>
            </a:r>
            <a:r>
              <a:rPr lang="en-US" dirty="0"/>
              <a:t> </a:t>
            </a:r>
            <a:r>
              <a:rPr lang="en-US" dirty="0" err="1"/>
              <a:t>baskılayan</a:t>
            </a:r>
            <a:r>
              <a:rPr lang="en-US" dirty="0"/>
              <a:t> </a:t>
            </a:r>
            <a:r>
              <a:rPr lang="en-US" dirty="0" err="1"/>
              <a:t>durumlar</a:t>
            </a:r>
            <a:r>
              <a:rPr lang="en-US" dirty="0"/>
              <a:t> </a:t>
            </a:r>
            <a:r>
              <a:rPr lang="en-US" dirty="0" err="1"/>
              <a:t>arasında</a:t>
            </a:r>
            <a:r>
              <a:rPr lang="en-US" dirty="0"/>
              <a:t> </a:t>
            </a:r>
            <a:r>
              <a:rPr lang="en-US" dirty="0" err="1"/>
              <a:t>koklear</a:t>
            </a:r>
            <a:r>
              <a:rPr lang="en-US" dirty="0"/>
              <a:t> </a:t>
            </a:r>
            <a:r>
              <a:rPr lang="en-US" dirty="0" err="1"/>
              <a:t>implantlar</a:t>
            </a:r>
            <a:r>
              <a:rPr lang="en-US" dirty="0"/>
              <a:t>, </a:t>
            </a:r>
            <a:r>
              <a:rPr lang="en-US" dirty="0" err="1"/>
              <a:t>konjenital</a:t>
            </a:r>
            <a:r>
              <a:rPr lang="en-US" dirty="0"/>
              <a:t> </a:t>
            </a:r>
            <a:r>
              <a:rPr lang="en-US" dirty="0" err="1"/>
              <a:t>veya</a:t>
            </a:r>
            <a:r>
              <a:rPr lang="en-US" dirty="0"/>
              <a:t> </a:t>
            </a:r>
            <a:r>
              <a:rPr lang="en-US" dirty="0" err="1"/>
              <a:t>edinilmiş</a:t>
            </a:r>
            <a:r>
              <a:rPr lang="en-US" dirty="0"/>
              <a:t> </a:t>
            </a:r>
            <a:r>
              <a:rPr lang="en-US" dirty="0" err="1"/>
              <a:t>aspleni</a:t>
            </a:r>
            <a:r>
              <a:rPr lang="en-US" dirty="0"/>
              <a:t>, </a:t>
            </a:r>
            <a:r>
              <a:rPr lang="en-US" dirty="0" err="1"/>
              <a:t>orak</a:t>
            </a:r>
            <a:r>
              <a:rPr lang="en-US" dirty="0"/>
              <a:t> </a:t>
            </a:r>
            <a:r>
              <a:rPr lang="en-US" dirty="0" err="1"/>
              <a:t>hücre</a:t>
            </a:r>
            <a:r>
              <a:rPr lang="en-US" dirty="0"/>
              <a:t> </a:t>
            </a:r>
            <a:r>
              <a:rPr lang="en-US" dirty="0" err="1"/>
              <a:t>hastalığı</a:t>
            </a:r>
            <a:r>
              <a:rPr lang="en-US" dirty="0"/>
              <a:t> / </a:t>
            </a:r>
            <a:r>
              <a:rPr lang="en-US" dirty="0" err="1"/>
              <a:t>diğer</a:t>
            </a:r>
            <a:r>
              <a:rPr lang="en-US" dirty="0"/>
              <a:t> </a:t>
            </a:r>
            <a:r>
              <a:rPr lang="en-US" dirty="0" err="1"/>
              <a:t>hemoglobinopatiler</a:t>
            </a:r>
            <a:r>
              <a:rPr lang="en-US" dirty="0"/>
              <a:t>, HIV </a:t>
            </a:r>
            <a:r>
              <a:rPr lang="en-US" dirty="0" err="1"/>
              <a:t>enfeksiyonu</a:t>
            </a:r>
            <a:r>
              <a:rPr lang="en-US" dirty="0"/>
              <a:t>, </a:t>
            </a:r>
            <a:r>
              <a:rPr lang="en-US" dirty="0" err="1"/>
              <a:t>lösemi</a:t>
            </a:r>
            <a:r>
              <a:rPr lang="en-US" dirty="0"/>
              <a:t>, </a:t>
            </a:r>
            <a:r>
              <a:rPr lang="en-US" dirty="0" err="1"/>
              <a:t>lenfoma</a:t>
            </a:r>
            <a:r>
              <a:rPr lang="en-US" dirty="0"/>
              <a:t>, </a:t>
            </a:r>
            <a:r>
              <a:rPr lang="en-US" dirty="0" err="1"/>
              <a:t>iyatrojenik</a:t>
            </a:r>
            <a:r>
              <a:rPr lang="en-US" dirty="0"/>
              <a:t> </a:t>
            </a:r>
            <a:r>
              <a:rPr lang="en-US" dirty="0" err="1"/>
              <a:t>immünosupresyon</a:t>
            </a:r>
            <a:r>
              <a:rPr lang="en-US" dirty="0"/>
              <a:t>, </a:t>
            </a:r>
            <a:r>
              <a:rPr lang="en-US" dirty="0" err="1"/>
              <a:t>nefrotik</a:t>
            </a:r>
            <a:r>
              <a:rPr lang="en-US" dirty="0"/>
              <a:t> </a:t>
            </a:r>
            <a:r>
              <a:rPr lang="en-US" dirty="0" err="1"/>
              <a:t>sendrom</a:t>
            </a:r>
            <a:r>
              <a:rPr lang="en-US" dirty="0"/>
              <a:t>, Hodgkin </a:t>
            </a:r>
            <a:r>
              <a:rPr lang="en-US" dirty="0" err="1"/>
              <a:t>hastalığı</a:t>
            </a:r>
            <a:r>
              <a:rPr lang="en-US" dirty="0"/>
              <a:t>, </a:t>
            </a:r>
            <a:r>
              <a:rPr lang="en-US" dirty="0" err="1"/>
              <a:t>multipl</a:t>
            </a:r>
            <a:r>
              <a:rPr lang="en-US" dirty="0"/>
              <a:t> </a:t>
            </a:r>
            <a:r>
              <a:rPr lang="en-US" dirty="0" err="1"/>
              <a:t>miyelom</a:t>
            </a:r>
            <a:r>
              <a:rPr lang="en-US" dirty="0"/>
              <a:t>, </a:t>
            </a:r>
            <a:r>
              <a:rPr lang="en-US" dirty="0" err="1"/>
              <a:t>kronik</a:t>
            </a:r>
            <a:r>
              <a:rPr lang="en-US" dirty="0"/>
              <a:t> </a:t>
            </a:r>
            <a:r>
              <a:rPr lang="en-US" dirty="0" err="1"/>
              <a:t>böbrek</a:t>
            </a:r>
            <a:r>
              <a:rPr lang="en-US" dirty="0"/>
              <a:t> </a:t>
            </a:r>
            <a:r>
              <a:rPr lang="en-US" dirty="0" err="1"/>
              <a:t>yetmezliği</a:t>
            </a:r>
            <a:r>
              <a:rPr lang="en-US" dirty="0"/>
              <a:t>, </a:t>
            </a:r>
            <a:r>
              <a:rPr lang="en-US" dirty="0" err="1"/>
              <a:t>beyin</a:t>
            </a:r>
            <a:r>
              <a:rPr lang="en-US" dirty="0"/>
              <a:t> </a:t>
            </a:r>
            <a:r>
              <a:rPr lang="en-US" dirty="0" err="1"/>
              <a:t>omurilik</a:t>
            </a:r>
            <a:r>
              <a:rPr lang="en-US" dirty="0"/>
              <a:t> </a:t>
            </a:r>
            <a:r>
              <a:rPr lang="en-US" dirty="0" err="1"/>
              <a:t>sıvısı</a:t>
            </a:r>
            <a:r>
              <a:rPr lang="en-US" dirty="0"/>
              <a:t> </a:t>
            </a:r>
            <a:r>
              <a:rPr lang="en-US" dirty="0" err="1"/>
              <a:t>sızıntısı</a:t>
            </a:r>
            <a:r>
              <a:rPr lang="en-US" dirty="0"/>
              <a:t>, </a:t>
            </a:r>
            <a:r>
              <a:rPr lang="en-US" dirty="0" err="1"/>
              <a:t>yaygın</a:t>
            </a:r>
            <a:r>
              <a:rPr lang="en-US" dirty="0"/>
              <a:t> </a:t>
            </a:r>
            <a:r>
              <a:rPr lang="en-US" dirty="0" err="1"/>
              <a:t>malignite</a:t>
            </a:r>
            <a:r>
              <a:rPr lang="en-US" dirty="0"/>
              <a:t>, </a:t>
            </a:r>
            <a:r>
              <a:rPr lang="en-US" dirty="0" err="1"/>
              <a:t>katı</a:t>
            </a:r>
            <a:r>
              <a:rPr lang="en-US" dirty="0"/>
              <a:t> organ </a:t>
            </a:r>
            <a:r>
              <a:rPr lang="en-US" dirty="0" err="1"/>
              <a:t>nakli</a:t>
            </a:r>
            <a:r>
              <a:rPr lang="en-US" dirty="0"/>
              <a:t>, </a:t>
            </a:r>
            <a:r>
              <a:rPr lang="en-US" dirty="0" err="1"/>
              <a:t>konjenital</a:t>
            </a:r>
            <a:r>
              <a:rPr lang="en-US" dirty="0"/>
              <a:t> </a:t>
            </a:r>
            <a:r>
              <a:rPr lang="en-US" dirty="0" err="1"/>
              <a:t>veya</a:t>
            </a:r>
            <a:r>
              <a:rPr lang="en-US" dirty="0"/>
              <a:t> </a:t>
            </a:r>
            <a:r>
              <a:rPr lang="en-US" dirty="0" err="1"/>
              <a:t>edinilmiş</a:t>
            </a:r>
            <a:r>
              <a:rPr lang="en-US" dirty="0"/>
              <a:t> </a:t>
            </a:r>
            <a:r>
              <a:rPr lang="en-US" dirty="0" err="1"/>
              <a:t>immün</a:t>
            </a:r>
            <a:r>
              <a:rPr lang="en-US" dirty="0"/>
              <a:t> </a:t>
            </a:r>
            <a:r>
              <a:rPr lang="en-US" dirty="0" err="1"/>
              <a:t>yetmezlikler</a:t>
            </a:r>
            <a:r>
              <a:rPr lang="en-US" dirty="0"/>
              <a:t>, </a:t>
            </a:r>
            <a:r>
              <a:rPr lang="en-US" dirty="0" err="1"/>
              <a:t>lenfatik</a:t>
            </a:r>
            <a:r>
              <a:rPr lang="en-US" dirty="0"/>
              <a:t> </a:t>
            </a:r>
            <a:r>
              <a:rPr lang="en-US" dirty="0" err="1"/>
              <a:t>ve</a:t>
            </a:r>
            <a:r>
              <a:rPr lang="en-US" dirty="0"/>
              <a:t> </a:t>
            </a:r>
            <a:r>
              <a:rPr lang="en-US" dirty="0" err="1"/>
              <a:t>hematopoetik</a:t>
            </a:r>
            <a:r>
              <a:rPr lang="en-US" dirty="0"/>
              <a:t> </a:t>
            </a:r>
            <a:r>
              <a:rPr lang="en-US" dirty="0" err="1"/>
              <a:t>doku</a:t>
            </a:r>
            <a:r>
              <a:rPr lang="en-US" dirty="0"/>
              <a:t> </a:t>
            </a:r>
            <a:r>
              <a:rPr lang="en-US" dirty="0" err="1"/>
              <a:t>malignitesi</a:t>
            </a:r>
            <a:r>
              <a:rPr lang="en-US" dirty="0"/>
              <a:t>.</a:t>
            </a:r>
          </a:p>
          <a:p>
            <a:pPr>
              <a:defRPr/>
            </a:pPr>
            <a:r>
              <a:rPr kumimoji="0" lang="en-US" sz="900" b="0" i="0" u="none" strike="noStrike" kern="1200" cap="none" spc="0" normalizeH="0" baseline="0" noProof="0" dirty="0">
                <a:ln>
                  <a:noFill/>
                </a:ln>
                <a:effectLst/>
                <a:uLnTx/>
                <a:uFillTx/>
                <a:ea typeface="+mn-ea"/>
                <a:cs typeface="+mn-cs"/>
              </a:rPr>
              <a:t>KKH=</a:t>
            </a:r>
            <a:r>
              <a:rPr kumimoji="0" lang="en-US" sz="900" b="0" i="0" u="none" strike="noStrike" kern="1200" cap="none" spc="0" normalizeH="0" baseline="0" noProof="0" dirty="0" err="1">
                <a:ln>
                  <a:noFill/>
                </a:ln>
                <a:effectLst/>
                <a:uLnTx/>
                <a:uFillTx/>
                <a:ea typeface="+mn-ea"/>
                <a:cs typeface="+mn-cs"/>
              </a:rPr>
              <a:t>Kronik</a:t>
            </a:r>
            <a:r>
              <a:rPr kumimoji="0" lang="en-US" sz="900" b="0" i="0" u="none" strike="noStrike" kern="1200" cap="none" spc="0" normalizeH="0" baseline="0" noProof="0" dirty="0">
                <a:ln>
                  <a:noFill/>
                </a:ln>
                <a:effectLst/>
                <a:uLnTx/>
                <a:uFillTx/>
                <a:ea typeface="+mn-ea"/>
                <a:cs typeface="+mn-cs"/>
              </a:rPr>
              <a:t> Kalp </a:t>
            </a:r>
            <a:r>
              <a:rPr kumimoji="0" lang="en-US" sz="900" b="0" i="0" u="none" strike="noStrike" kern="1200" cap="none" spc="0" normalizeH="0" baseline="0" noProof="0" dirty="0" err="1">
                <a:ln>
                  <a:noFill/>
                </a:ln>
                <a:effectLst/>
                <a:uLnTx/>
                <a:uFillTx/>
                <a:ea typeface="+mn-ea"/>
                <a:cs typeface="+mn-cs"/>
              </a:rPr>
              <a:t>Hastalığı</a:t>
            </a:r>
            <a:r>
              <a:rPr kumimoji="0" lang="en-US" sz="900" b="0" i="0" u="none" strike="noStrike" kern="1200" cap="none" spc="0" normalizeH="0" baseline="0" noProof="0" dirty="0">
                <a:ln>
                  <a:noFill/>
                </a:ln>
                <a:effectLst/>
                <a:uLnTx/>
                <a:uFillTx/>
                <a:ea typeface="+mn-ea"/>
                <a:cs typeface="+mn-cs"/>
              </a:rPr>
              <a:t>; KOAH=</a:t>
            </a:r>
            <a:r>
              <a:rPr kumimoji="0" lang="en-US" sz="900" b="0" i="0" u="none" strike="noStrike" kern="1200" cap="none" spc="0" normalizeH="0" baseline="0" noProof="0" dirty="0" err="1">
                <a:ln>
                  <a:noFill/>
                </a:ln>
                <a:effectLst/>
                <a:uLnTx/>
                <a:uFillTx/>
                <a:ea typeface="+mn-ea"/>
                <a:cs typeface="+mn-cs"/>
              </a:rPr>
              <a:t>Kronik</a:t>
            </a:r>
            <a:r>
              <a:rPr kumimoji="0" lang="en-US" sz="900" b="0" i="0" u="none" strike="noStrike" kern="1200" cap="none" spc="0" normalizeH="0" baseline="0" noProof="0" dirty="0">
                <a:ln>
                  <a:noFill/>
                </a:ln>
                <a:effectLst/>
                <a:uLnTx/>
                <a:uFillTx/>
                <a:ea typeface="+mn-ea"/>
                <a:cs typeface="+mn-cs"/>
              </a:rPr>
              <a:t> </a:t>
            </a:r>
            <a:r>
              <a:rPr kumimoji="0" lang="en-US" sz="900" b="0" i="0" u="none" strike="noStrike" kern="1200" cap="none" spc="0" normalizeH="0" baseline="0" noProof="0" dirty="0" err="1">
                <a:ln>
                  <a:noFill/>
                </a:ln>
                <a:effectLst/>
                <a:uLnTx/>
                <a:uFillTx/>
                <a:ea typeface="+mn-ea"/>
                <a:cs typeface="+mn-cs"/>
              </a:rPr>
              <a:t>Akciğer</a:t>
            </a:r>
            <a:r>
              <a:rPr kumimoji="0" lang="en-US" sz="900" b="0" i="0" u="none" strike="noStrike" kern="1200" cap="none" spc="0" normalizeH="0" baseline="0" noProof="0" dirty="0">
                <a:ln>
                  <a:noFill/>
                </a:ln>
                <a:effectLst/>
                <a:uLnTx/>
                <a:uFillTx/>
                <a:ea typeface="+mn-ea"/>
                <a:cs typeface="+mn-cs"/>
              </a:rPr>
              <a:t> </a:t>
            </a:r>
            <a:r>
              <a:rPr kumimoji="0" lang="en-US" sz="900" b="0" i="0" u="none" strike="noStrike" kern="1200" cap="none" spc="0" normalizeH="0" baseline="0" noProof="0" dirty="0" err="1">
                <a:ln>
                  <a:noFill/>
                </a:ln>
                <a:effectLst/>
                <a:uLnTx/>
                <a:uFillTx/>
                <a:ea typeface="+mn-ea"/>
                <a:cs typeface="+mn-cs"/>
              </a:rPr>
              <a:t>Hastalığı</a:t>
            </a:r>
            <a:r>
              <a:rPr kumimoji="0" lang="en-US" sz="900" b="0" i="0" u="none" strike="noStrike" kern="1200" cap="none" spc="0" normalizeH="0" baseline="0" noProof="0" dirty="0">
                <a:ln>
                  <a:noFill/>
                </a:ln>
                <a:effectLst/>
                <a:uLnTx/>
                <a:uFillTx/>
                <a:ea typeface="+mn-ea"/>
                <a:cs typeface="+mn-cs"/>
              </a:rPr>
              <a:t>; IK=</a:t>
            </a:r>
            <a:r>
              <a:rPr lang="en-US" dirty="0" err="1"/>
              <a:t>bağışıklığı</a:t>
            </a:r>
            <a:r>
              <a:rPr lang="en-US" dirty="0"/>
              <a:t> </a:t>
            </a:r>
            <a:r>
              <a:rPr lang="en-US" dirty="0" err="1"/>
              <a:t>baskılayan</a:t>
            </a:r>
            <a:r>
              <a:rPr lang="en-US" dirty="0"/>
              <a:t> durum</a:t>
            </a:r>
            <a:r>
              <a:rPr lang="tr-TR" dirty="0"/>
              <a:t>; IPD=İnvaziv </a:t>
            </a:r>
            <a:r>
              <a:rPr lang="tr-TR" dirty="0" err="1"/>
              <a:t>Pnömokok</a:t>
            </a:r>
            <a:r>
              <a:rPr lang="tr-TR" dirty="0"/>
              <a:t> Hastalığı</a:t>
            </a:r>
          </a:p>
          <a:p>
            <a:pPr>
              <a:defRPr/>
            </a:pPr>
            <a:r>
              <a:rPr kumimoji="0" lang="en-US" sz="900" b="0" i="0" u="none" strike="noStrike" kern="1200" cap="none" spc="0" normalizeH="0" baseline="0" noProof="0" dirty="0">
                <a:ln>
                  <a:noFill/>
                </a:ln>
                <a:effectLst/>
                <a:uLnTx/>
                <a:uFillTx/>
                <a:ea typeface="+mn-ea"/>
                <a:cs typeface="+mn-cs"/>
              </a:rPr>
              <a:t>Grant LR, et al. </a:t>
            </a:r>
            <a:r>
              <a:rPr kumimoji="0" lang="en-US" sz="900" b="0" i="1" u="none" strike="noStrike" kern="1200" cap="none" spc="0" normalizeH="0" baseline="0" noProof="0" dirty="0">
                <a:ln>
                  <a:noFill/>
                </a:ln>
                <a:effectLst/>
                <a:uLnTx/>
                <a:uFillTx/>
                <a:ea typeface="+mn-ea"/>
                <a:cs typeface="+mn-cs"/>
              </a:rPr>
              <a:t>Open Forum Infect Dis</a:t>
            </a:r>
            <a:r>
              <a:rPr kumimoji="0" lang="en-US" sz="900" b="0" i="0" u="none" strike="noStrike" kern="1200" cap="none" spc="0" normalizeH="0" baseline="0" noProof="0" dirty="0">
                <a:ln>
                  <a:noFill/>
                </a:ln>
                <a:effectLst/>
                <a:uLnTx/>
                <a:uFillTx/>
                <a:ea typeface="+mn-ea"/>
                <a:cs typeface="+mn-cs"/>
              </a:rPr>
              <a:t>. 2023;10(5):ofad192.</a:t>
            </a:r>
          </a:p>
        </p:txBody>
      </p:sp>
      <p:sp>
        <p:nvSpPr>
          <p:cNvPr id="6" name="TextBox 5">
            <a:extLst>
              <a:ext uri="{FF2B5EF4-FFF2-40B4-BE49-F238E27FC236}">
                <a16:creationId xmlns:a16="http://schemas.microsoft.com/office/drawing/2014/main" id="{F4D737B2-FE45-C8BF-988C-3CAA66015F19}"/>
              </a:ext>
            </a:extLst>
          </p:cNvPr>
          <p:cNvSpPr txBox="1"/>
          <p:nvPr/>
        </p:nvSpPr>
        <p:spPr>
          <a:xfrm>
            <a:off x="1014812" y="1317454"/>
            <a:ext cx="4400468" cy="784830"/>
          </a:xfrm>
          <a:prstGeom prst="rect">
            <a:avLst/>
          </a:prstGeom>
          <a:noFill/>
        </p:spPr>
        <p:txBody>
          <a:bodyPr wrap="square" rtlCol="0">
            <a:spAutoFit/>
          </a:bodyPr>
          <a:lstStyle/>
          <a:p>
            <a:pPr lvl="0" algn="ctr">
              <a:lnSpc>
                <a:spcPct val="90000"/>
              </a:lnSpc>
              <a:defRPr/>
            </a:pPr>
            <a:r>
              <a:rPr lang="en-US" sz="1600" b="1" err="1">
                <a:solidFill>
                  <a:srgbClr val="FFFFFF"/>
                </a:solidFill>
              </a:rPr>
              <a:t>Yaşlı</a:t>
            </a:r>
            <a:r>
              <a:rPr lang="en-US" sz="1600" b="1">
                <a:solidFill>
                  <a:srgbClr val="FFFFFF"/>
                </a:solidFill>
              </a:rPr>
              <a:t> </a:t>
            </a:r>
            <a:r>
              <a:rPr lang="en-US" sz="1600" b="1" err="1">
                <a:solidFill>
                  <a:srgbClr val="FFFFFF"/>
                </a:solidFill>
              </a:rPr>
              <a:t>yetişkinler</a:t>
            </a:r>
            <a:r>
              <a:rPr lang="en-US" sz="1600" b="1">
                <a:solidFill>
                  <a:srgbClr val="FFFFFF"/>
                </a:solidFill>
              </a:rPr>
              <a:t>, 18-49 </a:t>
            </a:r>
            <a:r>
              <a:rPr lang="en-US" sz="1600" b="1" err="1">
                <a:solidFill>
                  <a:srgbClr val="FFFFFF"/>
                </a:solidFill>
              </a:rPr>
              <a:t>yaş</a:t>
            </a:r>
            <a:r>
              <a:rPr lang="en-US" sz="1600" b="1">
                <a:solidFill>
                  <a:srgbClr val="FFFFFF"/>
                </a:solidFill>
              </a:rPr>
              <a:t> </a:t>
            </a:r>
            <a:r>
              <a:rPr lang="en-US" sz="1600" b="1" err="1">
                <a:solidFill>
                  <a:srgbClr val="FFFFFF"/>
                </a:solidFill>
              </a:rPr>
              <a:t>arası</a:t>
            </a:r>
            <a:r>
              <a:rPr lang="en-US" sz="1600" b="1">
                <a:solidFill>
                  <a:srgbClr val="FFFFFF"/>
                </a:solidFill>
              </a:rPr>
              <a:t> </a:t>
            </a:r>
            <a:r>
              <a:rPr lang="en-US" sz="1600" b="1" err="1">
                <a:solidFill>
                  <a:srgbClr val="FFFFFF"/>
                </a:solidFill>
              </a:rPr>
              <a:t>yetişkinlere</a:t>
            </a:r>
            <a:r>
              <a:rPr lang="en-US" sz="1600" b="1">
                <a:solidFill>
                  <a:srgbClr val="FFFFFF"/>
                </a:solidFill>
              </a:rPr>
              <a:t> </a:t>
            </a:r>
            <a:r>
              <a:rPr lang="en-US" sz="1600" b="1" err="1">
                <a:solidFill>
                  <a:srgbClr val="FFFFFF"/>
                </a:solidFill>
              </a:rPr>
              <a:t>kıyasla</a:t>
            </a:r>
            <a:r>
              <a:rPr lang="en-US" sz="1600" b="1">
                <a:solidFill>
                  <a:srgbClr val="FFFFFF"/>
                </a:solidFill>
              </a:rPr>
              <a:t> </a:t>
            </a:r>
            <a:r>
              <a:rPr lang="en-US" b="1">
                <a:solidFill>
                  <a:srgbClr val="FF0000"/>
                </a:solidFill>
              </a:rPr>
              <a:t>×2-×8 </a:t>
            </a:r>
            <a:r>
              <a:rPr lang="en-US" sz="1600" b="1" err="1">
                <a:solidFill>
                  <a:srgbClr val="FFFFFF"/>
                </a:solidFill>
              </a:rPr>
              <a:t>daha</a:t>
            </a:r>
            <a:r>
              <a:rPr lang="en-US" sz="1600" b="1">
                <a:solidFill>
                  <a:srgbClr val="FFFFFF"/>
                </a:solidFill>
              </a:rPr>
              <a:t> </a:t>
            </a:r>
            <a:r>
              <a:rPr lang="en-US" sz="1600" b="1" err="1">
                <a:solidFill>
                  <a:srgbClr val="FFFFFF"/>
                </a:solidFill>
              </a:rPr>
              <a:t>yüksek</a:t>
            </a:r>
            <a:r>
              <a:rPr lang="en-US" sz="1600" b="1">
                <a:solidFill>
                  <a:srgbClr val="FFFFFF"/>
                </a:solidFill>
              </a:rPr>
              <a:t> </a:t>
            </a:r>
            <a:r>
              <a:rPr lang="en-US" sz="1600" b="1" err="1">
                <a:solidFill>
                  <a:srgbClr val="FFFFFF"/>
                </a:solidFill>
              </a:rPr>
              <a:t>pnömokok</a:t>
            </a:r>
            <a:r>
              <a:rPr lang="en-US" sz="1600" b="1">
                <a:solidFill>
                  <a:srgbClr val="FFFFFF"/>
                </a:solidFill>
              </a:rPr>
              <a:t> </a:t>
            </a:r>
            <a:r>
              <a:rPr lang="en-US" sz="1600" b="1" err="1">
                <a:solidFill>
                  <a:srgbClr val="FFFFFF"/>
                </a:solidFill>
              </a:rPr>
              <a:t>hastalığı</a:t>
            </a:r>
            <a:r>
              <a:rPr lang="en-US" sz="1600" b="1">
                <a:solidFill>
                  <a:srgbClr val="FFFFFF"/>
                </a:solidFill>
              </a:rPr>
              <a:t> </a:t>
            </a:r>
            <a:r>
              <a:rPr lang="en-US" sz="1600" b="1" err="1">
                <a:solidFill>
                  <a:srgbClr val="FFFFFF"/>
                </a:solidFill>
              </a:rPr>
              <a:t>riskine</a:t>
            </a:r>
            <a:r>
              <a:rPr lang="en-US" sz="1600" b="1">
                <a:solidFill>
                  <a:srgbClr val="FFFFFF"/>
                </a:solidFill>
              </a:rPr>
              <a:t> </a:t>
            </a:r>
            <a:r>
              <a:rPr lang="en-US" sz="1600" b="1" err="1">
                <a:solidFill>
                  <a:srgbClr val="FFFFFF"/>
                </a:solidFill>
              </a:rPr>
              <a:t>sahiptir</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TextBox 43">
            <a:extLst>
              <a:ext uri="{FF2B5EF4-FFF2-40B4-BE49-F238E27FC236}">
                <a16:creationId xmlns:a16="http://schemas.microsoft.com/office/drawing/2014/main" id="{FA61C816-6FA9-2AD2-74A2-26360A566E0A}"/>
              </a:ext>
            </a:extLst>
          </p:cNvPr>
          <p:cNvSpPr txBox="1"/>
          <p:nvPr/>
        </p:nvSpPr>
        <p:spPr>
          <a:xfrm>
            <a:off x="803061" y="2620731"/>
            <a:ext cx="4286679" cy="1426031"/>
          </a:xfrm>
          <a:prstGeom prst="rect">
            <a:avLst/>
          </a:prstGeom>
          <a:noFill/>
        </p:spPr>
        <p:txBody>
          <a:bodyPr wrap="square" lIns="0" tIns="0" rIns="0" bIns="0" rtlCol="0">
            <a:noAutofit/>
          </a:bodyPr>
          <a:lstStyle/>
          <a:p>
            <a:pPr lvl="0" algn="ctr">
              <a:spcAft>
                <a:spcPts val="600"/>
              </a:spcAft>
              <a:defRPr/>
            </a:pPr>
            <a:r>
              <a:rPr lang="en-US" sz="1600" b="1">
                <a:solidFill>
                  <a:srgbClr val="0000C9">
                    <a:lumMod val="75000"/>
                  </a:srgbClr>
                </a:solidFill>
              </a:rPr>
              <a:t>50-64 </a:t>
            </a:r>
            <a:r>
              <a:rPr lang="en-US" sz="1600" b="1" err="1">
                <a:solidFill>
                  <a:srgbClr val="0000C9">
                    <a:lumMod val="75000"/>
                  </a:srgbClr>
                </a:solidFill>
              </a:rPr>
              <a:t>yaş</a:t>
            </a:r>
            <a:r>
              <a:rPr lang="en-US" sz="1600" b="1">
                <a:solidFill>
                  <a:srgbClr val="0000C9">
                    <a:lumMod val="75000"/>
                  </a:srgbClr>
                </a:solidFill>
              </a:rPr>
              <a:t> </a:t>
            </a:r>
            <a:r>
              <a:rPr lang="en-US" sz="1600" b="1" err="1">
                <a:solidFill>
                  <a:srgbClr val="0000C9">
                    <a:lumMod val="75000"/>
                  </a:srgbClr>
                </a:solidFill>
              </a:rPr>
              <a:t>arası</a:t>
            </a:r>
            <a:r>
              <a:rPr lang="en-US" sz="1600" b="1">
                <a:solidFill>
                  <a:srgbClr val="0000C9">
                    <a:lumMod val="75000"/>
                  </a:srgbClr>
                </a:solidFill>
              </a:rPr>
              <a:t> </a:t>
            </a:r>
            <a:r>
              <a:rPr lang="en-US" sz="1600" b="1" err="1">
                <a:solidFill>
                  <a:srgbClr val="0000C9">
                    <a:lumMod val="75000"/>
                  </a:srgbClr>
                </a:solidFill>
              </a:rPr>
              <a:t>yetişkinlerin</a:t>
            </a:r>
            <a:endParaRPr lang="en-US" sz="1600" b="1">
              <a:solidFill>
                <a:srgbClr val="0000C9">
                  <a:lumMod val="75000"/>
                </a:srgbClr>
              </a:solidFill>
            </a:endParaRPr>
          </a:p>
          <a:p>
            <a:pPr lvl="0" algn="ctr">
              <a:spcAft>
                <a:spcPts val="600"/>
              </a:spcAft>
              <a:defRPr/>
            </a:pPr>
            <a:r>
              <a:rPr kumimoji="0" lang="en-US" sz="2400" b="1" i="0" u="none" strike="noStrike" kern="1200" cap="none" spc="0" normalizeH="0" baseline="0" noProof="0">
                <a:ln>
                  <a:noFill/>
                </a:ln>
                <a:solidFill>
                  <a:srgbClr val="0095FF"/>
                </a:solidFill>
                <a:effectLst/>
                <a:uLnTx/>
                <a:uFillTx/>
                <a:latin typeface="Arial" panose="020B0604020202020204"/>
                <a:ea typeface="+mn-ea"/>
                <a:cs typeface="+mn-cs"/>
              </a:rPr>
              <a:t>3× </a:t>
            </a:r>
            <a:r>
              <a:rPr lang="en-US" sz="1600" err="1">
                <a:solidFill>
                  <a:prstClr val="black"/>
                </a:solidFill>
              </a:rPr>
              <a:t>daha</a:t>
            </a:r>
            <a:r>
              <a:rPr lang="en-US" sz="1600">
                <a:solidFill>
                  <a:prstClr val="black"/>
                </a:solidFill>
              </a:rPr>
              <a:t> </a:t>
            </a:r>
            <a:r>
              <a:rPr lang="en-US" sz="1600" err="1">
                <a:solidFill>
                  <a:prstClr val="black"/>
                </a:solidFill>
              </a:rPr>
              <a:t>yüksek</a:t>
            </a:r>
            <a:r>
              <a:rPr lang="en-US" sz="1600">
                <a:solidFill>
                  <a:prstClr val="black"/>
                </a:solidFill>
              </a:rPr>
              <a:t> IPD </a:t>
            </a:r>
            <a:r>
              <a:rPr lang="en-US" sz="1600" err="1">
                <a:solidFill>
                  <a:prstClr val="black"/>
                </a:solidFill>
              </a:rPr>
              <a:t>riski</a:t>
            </a:r>
            <a:r>
              <a:rPr kumimoji="0" lang="en-US" sz="1600" b="0" i="0" u="none" strike="noStrike" kern="1200" cap="none" spc="0" normalizeH="0" baseline="0" noProof="0">
                <a:ln>
                  <a:noFill/>
                </a:ln>
                <a:solidFill>
                  <a:prstClr val="black"/>
                </a:solidFill>
                <a:effectLst/>
                <a:uLnTx/>
                <a:uFillTx/>
                <a:latin typeface="Arial" panose="020B0604020202020204"/>
                <a:ea typeface="+mn-ea"/>
                <a:cs typeface="+mn-cs"/>
              </a:rPr>
              <a:t>	 </a:t>
            </a:r>
          </a:p>
          <a:p>
            <a:pPr lvl="0">
              <a:spcAft>
                <a:spcPts val="600"/>
              </a:spcAft>
              <a:defRPr/>
            </a:pPr>
            <a:r>
              <a:rPr kumimoji="0" lang="en-US" sz="2400" b="1" i="0" u="none" strike="noStrike" kern="1200" cap="none" spc="0" normalizeH="0" baseline="0" noProof="0">
                <a:ln>
                  <a:noFill/>
                </a:ln>
                <a:solidFill>
                  <a:srgbClr val="0095FF"/>
                </a:solidFill>
                <a:effectLst/>
                <a:uLnTx/>
                <a:uFillTx/>
                <a:latin typeface="Arial" panose="020B0604020202020204"/>
                <a:ea typeface="+mn-ea"/>
                <a:cs typeface="+mn-cs"/>
              </a:rPr>
              <a:t>2× </a:t>
            </a:r>
            <a:r>
              <a:rPr lang="fi-FI" sz="1600">
                <a:solidFill>
                  <a:prstClr val="black"/>
                </a:solidFill>
              </a:rPr>
              <a:t>daha yüksek Pnömokok Pnömonisi riski</a:t>
            </a:r>
            <a:endParaRPr kumimoji="0" lang="en-US" sz="16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Rectangle: Rounded Corners 10">
            <a:extLst>
              <a:ext uri="{FF2B5EF4-FFF2-40B4-BE49-F238E27FC236}">
                <a16:creationId xmlns:a16="http://schemas.microsoft.com/office/drawing/2014/main" id="{625B5B7A-1BD5-AE48-490D-EDF4B10A1499}"/>
              </a:ext>
            </a:extLst>
          </p:cNvPr>
          <p:cNvSpPr/>
          <p:nvPr/>
        </p:nvSpPr>
        <p:spPr>
          <a:xfrm>
            <a:off x="650240" y="4121777"/>
            <a:ext cx="4455160" cy="1544320"/>
          </a:xfrm>
          <a:prstGeom prst="roundRect">
            <a:avLst>
              <a:gd name="adj" fmla="val 2851"/>
            </a:avLst>
          </a:prstGeom>
          <a:solidFill>
            <a:srgbClr val="E0F2FF"/>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E7A00CC6-0762-FAD6-7AC5-511B0E08FB8C}"/>
              </a:ext>
            </a:extLst>
          </p:cNvPr>
          <p:cNvSpPr txBox="1"/>
          <p:nvPr/>
        </p:nvSpPr>
        <p:spPr>
          <a:xfrm>
            <a:off x="803061" y="4209852"/>
            <a:ext cx="4286679" cy="1426031"/>
          </a:xfrm>
          <a:prstGeom prst="rect">
            <a:avLst/>
          </a:prstGeom>
          <a:noFill/>
        </p:spPr>
        <p:txBody>
          <a:bodyPr wrap="square" lIns="0" tIns="0" rIns="0" bIns="0" rtlCol="0">
            <a:noAutofit/>
          </a:bodyPr>
          <a:lstStyle/>
          <a:p>
            <a:pPr lvl="0" algn="ctr">
              <a:spcAft>
                <a:spcPts val="600"/>
              </a:spcAft>
              <a:defRPr/>
            </a:pPr>
            <a:r>
              <a:rPr lang="en-US" sz="1600" b="1">
                <a:solidFill>
                  <a:srgbClr val="0000C9">
                    <a:lumMod val="75000"/>
                  </a:srgbClr>
                </a:solidFill>
              </a:rPr>
              <a:t>≥65 </a:t>
            </a:r>
            <a:r>
              <a:rPr lang="en-US" sz="1600" b="1" err="1">
                <a:solidFill>
                  <a:srgbClr val="0000C9">
                    <a:lumMod val="75000"/>
                  </a:srgbClr>
                </a:solidFill>
              </a:rPr>
              <a:t>yaş</a:t>
            </a:r>
            <a:r>
              <a:rPr lang="en-US" sz="1600" b="1">
                <a:solidFill>
                  <a:srgbClr val="0000C9">
                    <a:lumMod val="75000"/>
                  </a:srgbClr>
                </a:solidFill>
              </a:rPr>
              <a:t> </a:t>
            </a:r>
            <a:r>
              <a:rPr lang="en-US" sz="1600" b="1" err="1">
                <a:solidFill>
                  <a:srgbClr val="0000C9">
                    <a:lumMod val="75000"/>
                  </a:srgbClr>
                </a:solidFill>
              </a:rPr>
              <a:t>yetişkinlerde</a:t>
            </a:r>
            <a:endParaRPr lang="en-US" sz="1600" b="1">
              <a:solidFill>
                <a:srgbClr val="0000C9">
                  <a:lumMod val="75000"/>
                </a:srgbClr>
              </a:solidFill>
            </a:endParaRPr>
          </a:p>
          <a:p>
            <a:pPr lvl="0" algn="ctr">
              <a:spcAft>
                <a:spcPts val="600"/>
              </a:spcAft>
              <a:defRPr/>
            </a:pPr>
            <a:r>
              <a:rPr kumimoji="0" lang="en-US" sz="2400" b="1" i="0" u="none" strike="noStrike" kern="1200" cap="none" spc="0" normalizeH="0" baseline="0" noProof="0">
                <a:ln>
                  <a:noFill/>
                </a:ln>
                <a:solidFill>
                  <a:srgbClr val="0095FF"/>
                </a:solidFill>
                <a:effectLst/>
                <a:uLnTx/>
                <a:uFillTx/>
                <a:latin typeface="Arial" panose="020B0604020202020204"/>
                <a:ea typeface="+mn-ea"/>
                <a:cs typeface="+mn-cs"/>
              </a:rPr>
              <a:t>8× </a:t>
            </a:r>
            <a:r>
              <a:rPr lang="en-US" sz="1600" err="1">
                <a:solidFill>
                  <a:prstClr val="black"/>
                </a:solidFill>
              </a:rPr>
              <a:t>daha</a:t>
            </a:r>
            <a:r>
              <a:rPr lang="en-US" sz="1600">
                <a:solidFill>
                  <a:prstClr val="black"/>
                </a:solidFill>
              </a:rPr>
              <a:t> </a:t>
            </a:r>
            <a:r>
              <a:rPr lang="en-US" sz="1600" err="1">
                <a:solidFill>
                  <a:prstClr val="black"/>
                </a:solidFill>
              </a:rPr>
              <a:t>yüksek</a:t>
            </a:r>
            <a:r>
              <a:rPr lang="en-US" sz="1600">
                <a:solidFill>
                  <a:prstClr val="black"/>
                </a:solidFill>
              </a:rPr>
              <a:t> IPD </a:t>
            </a:r>
            <a:r>
              <a:rPr lang="en-US" sz="1600" err="1">
                <a:solidFill>
                  <a:prstClr val="black"/>
                </a:solidFill>
              </a:rPr>
              <a:t>riski</a:t>
            </a:r>
            <a:r>
              <a:rPr kumimoji="0" lang="en-US" sz="1600" b="0" i="0" u="none" strike="noStrike" kern="1200" cap="none" spc="0" normalizeH="0" baseline="0" noProof="0">
                <a:ln>
                  <a:noFill/>
                </a:ln>
                <a:solidFill>
                  <a:prstClr val="black"/>
                </a:solidFill>
                <a:effectLst/>
                <a:uLnTx/>
                <a:uFillTx/>
                <a:latin typeface="Arial" panose="020B0604020202020204"/>
                <a:ea typeface="+mn-ea"/>
                <a:cs typeface="+mn-cs"/>
              </a:rPr>
              <a:t>	 </a:t>
            </a:r>
          </a:p>
          <a:p>
            <a:pPr lvl="0">
              <a:spcAft>
                <a:spcPts val="600"/>
              </a:spcAft>
              <a:defRPr/>
            </a:pPr>
            <a:r>
              <a:rPr kumimoji="0" lang="en-US" sz="2400" b="1" i="0" u="none" strike="noStrike" kern="1200" cap="none" spc="0" normalizeH="0" baseline="0" noProof="0">
                <a:ln>
                  <a:noFill/>
                </a:ln>
                <a:solidFill>
                  <a:srgbClr val="0095FF"/>
                </a:solidFill>
                <a:effectLst/>
                <a:uLnTx/>
                <a:uFillTx/>
                <a:latin typeface="Arial" panose="020B0604020202020204"/>
                <a:ea typeface="+mn-ea"/>
                <a:cs typeface="+mn-cs"/>
              </a:rPr>
              <a:t>4× </a:t>
            </a:r>
            <a:r>
              <a:rPr lang="fi-FI" sz="1600">
                <a:solidFill>
                  <a:prstClr val="black"/>
                </a:solidFill>
              </a:rPr>
              <a:t>daha yüksek Pnömokok Pnömonisi riski</a:t>
            </a:r>
            <a:endParaRPr kumimoji="0" lang="en-US" sz="16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a:ea typeface="+mn-ea"/>
                <a:cs typeface="+mn-cs"/>
              </a:rPr>
              <a:t> </a:t>
            </a:r>
          </a:p>
        </p:txBody>
      </p:sp>
      <p:sp>
        <p:nvSpPr>
          <p:cNvPr id="47" name="TextBox 46">
            <a:extLst>
              <a:ext uri="{FF2B5EF4-FFF2-40B4-BE49-F238E27FC236}">
                <a16:creationId xmlns:a16="http://schemas.microsoft.com/office/drawing/2014/main" id="{FE567FFA-C555-1E0B-67AF-C74BD008DE0A}"/>
              </a:ext>
            </a:extLst>
          </p:cNvPr>
          <p:cNvSpPr txBox="1"/>
          <p:nvPr/>
        </p:nvSpPr>
        <p:spPr>
          <a:xfrm>
            <a:off x="6003843" y="1345154"/>
            <a:ext cx="6155448" cy="784830"/>
          </a:xfrm>
          <a:prstGeom prst="rect">
            <a:avLst/>
          </a:prstGeom>
          <a:noFill/>
          <a:effectLst/>
        </p:spPr>
        <p:txBody>
          <a:bodyPr wrap="square" rtlCol="0">
            <a:spAutoFit/>
          </a:bodyPr>
          <a:lstStyle/>
          <a:p>
            <a:pPr lvl="0" algn="ctr">
              <a:lnSpc>
                <a:spcPct val="90000"/>
              </a:lnSpc>
              <a:defRPr/>
            </a:pPr>
            <a:r>
              <a:rPr lang="en-US" sz="1600" b="1">
                <a:solidFill>
                  <a:srgbClr val="FFFFFF"/>
                </a:solidFill>
              </a:rPr>
              <a:t>Ek </a:t>
            </a:r>
            <a:r>
              <a:rPr lang="en-US" sz="1600" b="1" err="1">
                <a:solidFill>
                  <a:srgbClr val="FFFFFF"/>
                </a:solidFill>
              </a:rPr>
              <a:t>hastalığı</a:t>
            </a:r>
            <a:r>
              <a:rPr lang="en-US" sz="1600" b="1">
                <a:solidFill>
                  <a:srgbClr val="FFFFFF"/>
                </a:solidFill>
              </a:rPr>
              <a:t> </a:t>
            </a:r>
            <a:r>
              <a:rPr lang="en-US" sz="1600" b="1" err="1">
                <a:solidFill>
                  <a:srgbClr val="FFFFFF"/>
                </a:solidFill>
              </a:rPr>
              <a:t>olan</a:t>
            </a:r>
            <a:r>
              <a:rPr lang="en-US" sz="1600" b="1">
                <a:solidFill>
                  <a:srgbClr val="FFFFFF"/>
                </a:solidFill>
              </a:rPr>
              <a:t> </a:t>
            </a:r>
            <a:r>
              <a:rPr lang="en-US" sz="1600" b="1" err="1">
                <a:solidFill>
                  <a:srgbClr val="FFFFFF"/>
                </a:solidFill>
              </a:rPr>
              <a:t>yetişkinler</a:t>
            </a:r>
            <a:r>
              <a:rPr lang="en-US" sz="1600" b="1">
                <a:solidFill>
                  <a:srgbClr val="FFFFFF"/>
                </a:solidFill>
              </a:rPr>
              <a:t>
</a:t>
            </a:r>
            <a:r>
              <a:rPr lang="en-US" sz="1600" b="1" err="1">
                <a:solidFill>
                  <a:srgbClr val="FFFFFF"/>
                </a:solidFill>
              </a:rPr>
              <a:t>aynı</a:t>
            </a:r>
            <a:r>
              <a:rPr lang="en-US" sz="1600" b="1">
                <a:solidFill>
                  <a:srgbClr val="FFFFFF"/>
                </a:solidFill>
              </a:rPr>
              <a:t> </a:t>
            </a:r>
            <a:r>
              <a:rPr lang="en-US" sz="1600" b="1" err="1">
                <a:solidFill>
                  <a:srgbClr val="FFFFFF"/>
                </a:solidFill>
              </a:rPr>
              <a:t>yaştaki</a:t>
            </a:r>
            <a:r>
              <a:rPr lang="en-US" sz="1600" b="1">
                <a:solidFill>
                  <a:srgbClr val="FFFFFF"/>
                </a:solidFill>
              </a:rPr>
              <a:t> </a:t>
            </a:r>
            <a:r>
              <a:rPr lang="en-US" sz="1600" b="1" err="1">
                <a:solidFill>
                  <a:srgbClr val="FFFFFF"/>
                </a:solidFill>
              </a:rPr>
              <a:t>sağlıklı</a:t>
            </a:r>
            <a:r>
              <a:rPr lang="en-US" sz="1600" b="1">
                <a:solidFill>
                  <a:srgbClr val="FFFFFF"/>
                </a:solidFill>
              </a:rPr>
              <a:t> </a:t>
            </a:r>
            <a:r>
              <a:rPr lang="en-US" sz="1600" b="1" err="1">
                <a:solidFill>
                  <a:srgbClr val="FFFFFF"/>
                </a:solidFill>
              </a:rPr>
              <a:t>yetişkinlere</a:t>
            </a:r>
            <a:r>
              <a:rPr lang="en-US" sz="1600" b="1">
                <a:solidFill>
                  <a:srgbClr val="FFFFFF"/>
                </a:solidFill>
              </a:rPr>
              <a:t> </a:t>
            </a:r>
            <a:r>
              <a:rPr lang="en-US" sz="1600" b="1" err="1">
                <a:solidFill>
                  <a:srgbClr val="FFFFFF"/>
                </a:solidFill>
              </a:rPr>
              <a:t>kıyasla</a:t>
            </a:r>
            <a:r>
              <a:rPr lang="en-US" sz="1600" b="1">
                <a:solidFill>
                  <a:srgbClr val="FFFFFF"/>
                </a:solidFill>
              </a:rPr>
              <a:t> </a:t>
            </a:r>
            <a:r>
              <a:rPr lang="en-US" b="1">
                <a:solidFill>
                  <a:srgbClr val="FF0000"/>
                </a:solidFill>
              </a:rPr>
              <a:t>x3-x8</a:t>
            </a:r>
            <a:r>
              <a:rPr lang="en-US" sz="1600" b="1">
                <a:solidFill>
                  <a:srgbClr val="FFFFFF"/>
                </a:solidFill>
              </a:rPr>
              <a:t> </a:t>
            </a:r>
            <a:r>
              <a:rPr lang="en-US" sz="1600" b="1" err="1">
                <a:solidFill>
                  <a:srgbClr val="FFFFFF"/>
                </a:solidFill>
              </a:rPr>
              <a:t>daha</a:t>
            </a:r>
            <a:r>
              <a:rPr lang="en-US" sz="1600" b="1">
                <a:solidFill>
                  <a:srgbClr val="FFFFFF"/>
                </a:solidFill>
              </a:rPr>
              <a:t> </a:t>
            </a:r>
            <a:r>
              <a:rPr lang="en-US" sz="1600" b="1" err="1">
                <a:solidFill>
                  <a:srgbClr val="FFFFFF"/>
                </a:solidFill>
              </a:rPr>
              <a:t>fazla</a:t>
            </a:r>
            <a:r>
              <a:rPr lang="en-US" sz="1600" b="1">
                <a:solidFill>
                  <a:srgbClr val="FFFFFF"/>
                </a:solidFill>
              </a:rPr>
              <a:t> </a:t>
            </a:r>
            <a:r>
              <a:rPr lang="en-US" sz="1600" b="1" err="1">
                <a:solidFill>
                  <a:srgbClr val="FFFFFF"/>
                </a:solidFill>
              </a:rPr>
              <a:t>pnömokok</a:t>
            </a:r>
            <a:r>
              <a:rPr lang="en-US" sz="1600" b="1">
                <a:solidFill>
                  <a:srgbClr val="FFFFFF"/>
                </a:solidFill>
              </a:rPr>
              <a:t> </a:t>
            </a:r>
            <a:r>
              <a:rPr lang="en-US" sz="1600" b="1" err="1">
                <a:solidFill>
                  <a:srgbClr val="FFFFFF"/>
                </a:solidFill>
              </a:rPr>
              <a:t>pnömonisi</a:t>
            </a:r>
            <a:r>
              <a:rPr lang="en-US" sz="1600" b="1">
                <a:solidFill>
                  <a:srgbClr val="FFFFFF"/>
                </a:solidFill>
              </a:rPr>
              <a:t> </a:t>
            </a:r>
            <a:r>
              <a:rPr lang="en-US" sz="1600" b="1" err="1">
                <a:solidFill>
                  <a:srgbClr val="FFFFFF"/>
                </a:solidFill>
              </a:rPr>
              <a:t>atağı</a:t>
            </a:r>
            <a:r>
              <a:rPr lang="en-US" sz="1600" b="1">
                <a:solidFill>
                  <a:srgbClr val="FFFFFF"/>
                </a:solidFill>
              </a:rPr>
              <a:t>* </a:t>
            </a:r>
            <a:r>
              <a:rPr lang="en-US" sz="1600" b="1" err="1">
                <a:solidFill>
                  <a:srgbClr val="FFFFFF"/>
                </a:solidFill>
              </a:rPr>
              <a:t>yaşama</a:t>
            </a:r>
            <a:r>
              <a:rPr lang="en-US" sz="1600" b="1">
                <a:solidFill>
                  <a:srgbClr val="FFFFFF"/>
                </a:solidFill>
              </a:rPr>
              <a:t> </a:t>
            </a:r>
            <a:r>
              <a:rPr lang="en-US" sz="1600" b="1" err="1">
                <a:solidFill>
                  <a:srgbClr val="FFFFFF"/>
                </a:solidFill>
              </a:rPr>
              <a:t>olasılığı</a:t>
            </a:r>
            <a:r>
              <a:rPr lang="en-US" sz="1600" b="1">
                <a:solidFill>
                  <a:srgbClr val="FFFFFF"/>
                </a:solidFill>
              </a:rPr>
              <a:t> </a:t>
            </a:r>
            <a:r>
              <a:rPr lang="en-US" sz="1600" b="1" err="1">
                <a:solidFill>
                  <a:srgbClr val="FFFFFF"/>
                </a:solidFill>
              </a:rPr>
              <a:t>vardır</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61" name="Group 60">
            <a:extLst>
              <a:ext uri="{FF2B5EF4-FFF2-40B4-BE49-F238E27FC236}">
                <a16:creationId xmlns:a16="http://schemas.microsoft.com/office/drawing/2014/main" id="{7CD2FBFD-759B-51DF-D78D-5AB46501FC98}"/>
              </a:ext>
            </a:extLst>
          </p:cNvPr>
          <p:cNvGrpSpPr/>
          <p:nvPr/>
        </p:nvGrpSpPr>
        <p:grpSpPr>
          <a:xfrm>
            <a:off x="208492" y="1340288"/>
            <a:ext cx="1064683" cy="822262"/>
            <a:chOff x="-935178" y="4896450"/>
            <a:chExt cx="1414120" cy="1092136"/>
          </a:xfrm>
        </p:grpSpPr>
        <p:sp>
          <p:nvSpPr>
            <p:cNvPr id="30" name="Parallelogram 29">
              <a:extLst>
                <a:ext uri="{FF2B5EF4-FFF2-40B4-BE49-F238E27FC236}">
                  <a16:creationId xmlns:a16="http://schemas.microsoft.com/office/drawing/2014/main" id="{09FD47E3-5C66-EB30-CB23-6D12E9C8CA91}"/>
                </a:ext>
              </a:extLst>
            </p:cNvPr>
            <p:cNvSpPr/>
            <p:nvPr/>
          </p:nvSpPr>
          <p:spPr>
            <a:xfrm>
              <a:off x="-935178" y="4896450"/>
              <a:ext cx="1414120" cy="1092136"/>
            </a:xfrm>
            <a:prstGeom prst="parallelogram">
              <a:avLst/>
            </a:prstGeom>
            <a:gradFill flip="none" rotWithShape="1">
              <a:gsLst>
                <a:gs pos="0">
                  <a:schemeClr val="accent2">
                    <a:lumMod val="60000"/>
                    <a:lumOff val="40000"/>
                  </a:schemeClr>
                </a:gs>
                <a:gs pos="100000">
                  <a:schemeClr val="accent1"/>
                </a:gs>
                <a:gs pos="37000">
                  <a:schemeClr val="accent2">
                    <a:lumMod val="95000"/>
                    <a:lumOff val="5000"/>
                  </a:schemeClr>
                </a:gs>
              </a:gsLst>
              <a:lin ang="18900000" scaled="1"/>
              <a:tileRect/>
            </a:gradFill>
            <a:ln w="9525">
              <a:noFill/>
            </a:ln>
            <a:effectLst>
              <a:outerShdw blurRad="279400" dist="1397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58" name="Group 57">
              <a:extLst>
                <a:ext uri="{FF2B5EF4-FFF2-40B4-BE49-F238E27FC236}">
                  <a16:creationId xmlns:a16="http://schemas.microsoft.com/office/drawing/2014/main" id="{1F84350B-DFC6-1154-1F63-51368B74E079}"/>
                </a:ext>
              </a:extLst>
            </p:cNvPr>
            <p:cNvGrpSpPr/>
            <p:nvPr/>
          </p:nvGrpSpPr>
          <p:grpSpPr>
            <a:xfrm>
              <a:off x="-541604" y="5064060"/>
              <a:ext cx="580183" cy="786363"/>
              <a:chOff x="-506044" y="5068823"/>
              <a:chExt cx="580183" cy="786363"/>
            </a:xfrm>
          </p:grpSpPr>
          <p:sp>
            <p:nvSpPr>
              <p:cNvPr id="17" name="Freeform: Shape 16">
                <a:extLst>
                  <a:ext uri="{FF2B5EF4-FFF2-40B4-BE49-F238E27FC236}">
                    <a16:creationId xmlns:a16="http://schemas.microsoft.com/office/drawing/2014/main" id="{6EDDA4EC-05F6-9065-A4DA-E705A7761E46}"/>
                  </a:ext>
                </a:extLst>
              </p:cNvPr>
              <p:cNvSpPr/>
              <p:nvPr/>
            </p:nvSpPr>
            <p:spPr>
              <a:xfrm>
                <a:off x="-506044" y="5068823"/>
                <a:ext cx="442544" cy="245738"/>
              </a:xfrm>
              <a:custGeom>
                <a:avLst/>
                <a:gdLst>
                  <a:gd name="connsiteX0" fmla="*/ 15626 w 384235"/>
                  <a:gd name="connsiteY0" fmla="*/ 213360 h 213360"/>
                  <a:gd name="connsiteX1" fmla="*/ 4958 w 384235"/>
                  <a:gd name="connsiteY1" fmla="*/ 209110 h 213360"/>
                  <a:gd name="connsiteX2" fmla="*/ 3874 w 384235"/>
                  <a:gd name="connsiteY2" fmla="*/ 186690 h 213360"/>
                  <a:gd name="connsiteX3" fmla="*/ 174562 w 384235"/>
                  <a:gd name="connsiteY3" fmla="*/ 5334 h 213360"/>
                  <a:gd name="connsiteX4" fmla="*/ 186314 w 384235"/>
                  <a:gd name="connsiteY4" fmla="*/ 0 h 213360"/>
                  <a:gd name="connsiteX5" fmla="*/ 198066 w 384235"/>
                  <a:gd name="connsiteY5" fmla="*/ 4250 h 213360"/>
                  <a:gd name="connsiteX6" fmla="*/ 379422 w 384235"/>
                  <a:gd name="connsiteY6" fmla="*/ 185606 h 213360"/>
                  <a:gd name="connsiteX7" fmla="*/ 379422 w 384235"/>
                  <a:gd name="connsiteY7" fmla="*/ 208026 h 213360"/>
                  <a:gd name="connsiteX8" fmla="*/ 357002 w 384235"/>
                  <a:gd name="connsiteY8" fmla="*/ 208026 h 213360"/>
                  <a:gd name="connsiteX9" fmla="*/ 186314 w 384235"/>
                  <a:gd name="connsiteY9" fmla="*/ 39461 h 213360"/>
                  <a:gd name="connsiteX10" fmla="*/ 27382 w 384235"/>
                  <a:gd name="connsiteY10" fmla="*/ 208026 h 213360"/>
                  <a:gd name="connsiteX11" fmla="*/ 15631 w 384235"/>
                  <a:gd name="connsiteY11" fmla="*/ 213360 h 21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4235" h="213360">
                    <a:moveTo>
                      <a:pt x="15626" y="213360"/>
                    </a:moveTo>
                    <a:cubicBezTo>
                      <a:pt x="11376" y="213360"/>
                      <a:pt x="8167" y="212276"/>
                      <a:pt x="4958" y="209110"/>
                    </a:cubicBezTo>
                    <a:cubicBezTo>
                      <a:pt x="-1460" y="202692"/>
                      <a:pt x="-1460" y="193108"/>
                      <a:pt x="3874" y="186690"/>
                    </a:cubicBezTo>
                    <a:lnTo>
                      <a:pt x="174562" y="5334"/>
                    </a:lnTo>
                    <a:cubicBezTo>
                      <a:pt x="177771" y="2125"/>
                      <a:pt x="182023" y="0"/>
                      <a:pt x="186314" y="0"/>
                    </a:cubicBezTo>
                    <a:cubicBezTo>
                      <a:pt x="190565" y="0"/>
                      <a:pt x="194857" y="2125"/>
                      <a:pt x="198066" y="4250"/>
                    </a:cubicBezTo>
                    <a:lnTo>
                      <a:pt x="379422" y="185606"/>
                    </a:lnTo>
                    <a:cubicBezTo>
                      <a:pt x="385840" y="192024"/>
                      <a:pt x="385840" y="201608"/>
                      <a:pt x="379422" y="208026"/>
                    </a:cubicBezTo>
                    <a:cubicBezTo>
                      <a:pt x="373005" y="214444"/>
                      <a:pt x="363420" y="214444"/>
                      <a:pt x="357002" y="208026"/>
                    </a:cubicBezTo>
                    <a:lnTo>
                      <a:pt x="186314" y="39461"/>
                    </a:lnTo>
                    <a:lnTo>
                      <a:pt x="27382" y="208026"/>
                    </a:lnTo>
                    <a:cubicBezTo>
                      <a:pt x="24175" y="211235"/>
                      <a:pt x="19882" y="213360"/>
                      <a:pt x="15631" y="213360"/>
                    </a:cubicBezTo>
                    <a:close/>
                  </a:path>
                </a:pathLst>
              </a:custGeom>
              <a:solidFill>
                <a:schemeClr val="bg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55" name="Freeform: Shape 54">
                <a:extLst>
                  <a:ext uri="{FF2B5EF4-FFF2-40B4-BE49-F238E27FC236}">
                    <a16:creationId xmlns:a16="http://schemas.microsoft.com/office/drawing/2014/main" id="{C26909A2-1EAC-126A-1101-8EB7EACE14AE}"/>
                  </a:ext>
                </a:extLst>
              </p:cNvPr>
              <p:cNvSpPr/>
              <p:nvPr/>
            </p:nvSpPr>
            <p:spPr>
              <a:xfrm>
                <a:off x="-303743" y="5265414"/>
                <a:ext cx="36861" cy="589772"/>
              </a:xfrm>
              <a:custGeom>
                <a:avLst/>
                <a:gdLst>
                  <a:gd name="connsiteX0" fmla="*/ 0 w 36861"/>
                  <a:gd name="connsiteY0" fmla="*/ 515791 h 589772"/>
                  <a:gd name="connsiteX1" fmla="*/ 7395 w 36861"/>
                  <a:gd name="connsiteY1" fmla="*/ 520780 h 589772"/>
                  <a:gd name="connsiteX2" fmla="*/ 33676 w 36861"/>
                  <a:gd name="connsiteY2" fmla="*/ 526104 h 589772"/>
                  <a:gd name="connsiteX3" fmla="*/ 36861 w 36861"/>
                  <a:gd name="connsiteY3" fmla="*/ 526104 h 589772"/>
                  <a:gd name="connsiteX4" fmla="*/ 36861 w 36861"/>
                  <a:gd name="connsiteY4" fmla="*/ 571342 h 589772"/>
                  <a:gd name="connsiteX5" fmla="*/ 18431 w 36861"/>
                  <a:gd name="connsiteY5" fmla="*/ 589772 h 589772"/>
                  <a:gd name="connsiteX6" fmla="*/ 0 w 36861"/>
                  <a:gd name="connsiteY6" fmla="*/ 571342 h 589772"/>
                  <a:gd name="connsiteX7" fmla="*/ 18431 w 36861"/>
                  <a:gd name="connsiteY7" fmla="*/ 0 h 589772"/>
                  <a:gd name="connsiteX8" fmla="*/ 36861 w 36861"/>
                  <a:gd name="connsiteY8" fmla="*/ 18431 h 589772"/>
                  <a:gd name="connsiteX9" fmla="*/ 36861 w 36861"/>
                  <a:gd name="connsiteY9" fmla="*/ 316813 h 589772"/>
                  <a:gd name="connsiteX10" fmla="*/ 0 w 36861"/>
                  <a:gd name="connsiteY10" fmla="*/ 381327 h 589772"/>
                  <a:gd name="connsiteX11" fmla="*/ 0 w 36861"/>
                  <a:gd name="connsiteY11" fmla="*/ 18431 h 589772"/>
                  <a:gd name="connsiteX12" fmla="*/ 18431 w 36861"/>
                  <a:gd name="connsiteY12" fmla="*/ 0 h 58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861" h="589772">
                    <a:moveTo>
                      <a:pt x="0" y="515791"/>
                    </a:moveTo>
                    <a:lnTo>
                      <a:pt x="7395" y="520780"/>
                    </a:lnTo>
                    <a:cubicBezTo>
                      <a:pt x="15474" y="524202"/>
                      <a:pt x="24356" y="526098"/>
                      <a:pt x="33676" y="526104"/>
                    </a:cubicBezTo>
                    <a:lnTo>
                      <a:pt x="36861" y="526104"/>
                    </a:lnTo>
                    <a:lnTo>
                      <a:pt x="36861" y="571342"/>
                    </a:lnTo>
                    <a:cubicBezTo>
                      <a:pt x="36861" y="581181"/>
                      <a:pt x="28270" y="589772"/>
                      <a:pt x="18431" y="589772"/>
                    </a:cubicBezTo>
                    <a:cubicBezTo>
                      <a:pt x="8591" y="589772"/>
                      <a:pt x="0" y="581181"/>
                      <a:pt x="0" y="571342"/>
                    </a:cubicBezTo>
                    <a:close/>
                    <a:moveTo>
                      <a:pt x="18431" y="0"/>
                    </a:moveTo>
                    <a:cubicBezTo>
                      <a:pt x="28270" y="0"/>
                      <a:pt x="36861" y="8591"/>
                      <a:pt x="36861" y="18431"/>
                    </a:cubicBezTo>
                    <a:lnTo>
                      <a:pt x="36861" y="316813"/>
                    </a:lnTo>
                    <a:lnTo>
                      <a:pt x="0" y="381327"/>
                    </a:lnTo>
                    <a:lnTo>
                      <a:pt x="0" y="18431"/>
                    </a:lnTo>
                    <a:cubicBezTo>
                      <a:pt x="0" y="8591"/>
                      <a:pt x="8591" y="0"/>
                      <a:pt x="18431" y="0"/>
                    </a:cubicBezTo>
                    <a:close/>
                  </a:path>
                </a:pathLst>
              </a:custGeom>
              <a:solidFill>
                <a:schemeClr val="bg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nvGrpSpPr>
              <p:cNvPr id="56" name="Group 55">
                <a:extLst>
                  <a:ext uri="{FF2B5EF4-FFF2-40B4-BE49-F238E27FC236}">
                    <a16:creationId xmlns:a16="http://schemas.microsoft.com/office/drawing/2014/main" id="{E78B5168-90B9-2ADF-41AB-DF0D20D6510D}"/>
                  </a:ext>
                </a:extLst>
              </p:cNvPr>
              <p:cNvGrpSpPr/>
              <p:nvPr/>
            </p:nvGrpSpPr>
            <p:grpSpPr>
              <a:xfrm>
                <a:off x="-305886" y="5419451"/>
                <a:ext cx="380025" cy="356191"/>
                <a:chOff x="-296361" y="5408338"/>
                <a:chExt cx="380025" cy="356191"/>
              </a:xfrm>
            </p:grpSpPr>
            <p:sp>
              <p:nvSpPr>
                <p:cNvPr id="36" name="Freeform: Shape 35">
                  <a:extLst>
                    <a:ext uri="{FF2B5EF4-FFF2-40B4-BE49-F238E27FC236}">
                      <a16:creationId xmlns:a16="http://schemas.microsoft.com/office/drawing/2014/main" id="{BD673BE6-47BD-4B4F-27ED-5C711263A5D4}"/>
                    </a:ext>
                  </a:extLst>
                </p:cNvPr>
                <p:cNvSpPr/>
                <p:nvPr/>
              </p:nvSpPr>
              <p:spPr>
                <a:xfrm>
                  <a:off x="-296361" y="5408338"/>
                  <a:ext cx="380025" cy="356191"/>
                </a:xfrm>
                <a:custGeom>
                  <a:avLst/>
                  <a:gdLst>
                    <a:gd name="connsiteX0" fmla="*/ 7 w 380025"/>
                    <a:gd name="connsiteY0" fmla="*/ 292437 h 356191"/>
                    <a:gd name="connsiteX1" fmla="*/ 63761 w 380025"/>
                    <a:gd name="connsiteY1" fmla="*/ 356192 h 356191"/>
                    <a:gd name="connsiteX2" fmla="*/ 316231 w 380025"/>
                    <a:gd name="connsiteY2" fmla="*/ 356192 h 356191"/>
                    <a:gd name="connsiteX3" fmla="*/ 371406 w 380025"/>
                    <a:gd name="connsiteY3" fmla="*/ 324441 h 356191"/>
                    <a:gd name="connsiteX4" fmla="*/ 371615 w 380025"/>
                    <a:gd name="connsiteY4" fmla="*/ 260776 h 356191"/>
                    <a:gd name="connsiteX5" fmla="*/ 238674 w 380025"/>
                    <a:gd name="connsiteY5" fmla="*/ 28225 h 356191"/>
                    <a:gd name="connsiteX6" fmla="*/ 189993 w 380025"/>
                    <a:gd name="connsiteY6" fmla="*/ 0 h 356191"/>
                    <a:gd name="connsiteX7" fmla="*/ 141312 w 380025"/>
                    <a:gd name="connsiteY7" fmla="*/ 28225 h 356191"/>
                    <a:gd name="connsiteX8" fmla="*/ 8442 w 380025"/>
                    <a:gd name="connsiteY8" fmla="*/ 260776 h 356191"/>
                    <a:gd name="connsiteX9" fmla="*/ 0 w 380025"/>
                    <a:gd name="connsiteY9" fmla="*/ 292433 h 356191"/>
                    <a:gd name="connsiteX10" fmla="*/ 39318 w 380025"/>
                    <a:gd name="connsiteY10" fmla="*/ 278475 h 356191"/>
                    <a:gd name="connsiteX11" fmla="*/ 172188 w 380025"/>
                    <a:gd name="connsiteY11" fmla="*/ 45901 h 356191"/>
                    <a:gd name="connsiteX12" fmla="*/ 189999 w 380025"/>
                    <a:gd name="connsiteY12" fmla="*/ 35534 h 356191"/>
                    <a:gd name="connsiteX13" fmla="*/ 207811 w 380025"/>
                    <a:gd name="connsiteY13" fmla="*/ 45901 h 356191"/>
                    <a:gd name="connsiteX14" fmla="*/ 340681 w 380025"/>
                    <a:gd name="connsiteY14" fmla="*/ 278475 h 356191"/>
                    <a:gd name="connsiteX15" fmla="*/ 340589 w 380025"/>
                    <a:gd name="connsiteY15" fmla="*/ 306562 h 356191"/>
                    <a:gd name="connsiteX16" fmla="*/ 316236 w 380025"/>
                    <a:gd name="connsiteY16" fmla="*/ 320570 h 356191"/>
                    <a:gd name="connsiteX17" fmla="*/ 63766 w 380025"/>
                    <a:gd name="connsiteY17" fmla="*/ 320570 h 356191"/>
                    <a:gd name="connsiteX18" fmla="*/ 39414 w 380025"/>
                    <a:gd name="connsiteY18" fmla="*/ 306562 h 356191"/>
                    <a:gd name="connsiteX19" fmla="*/ 39321 w 380025"/>
                    <a:gd name="connsiteY19" fmla="*/ 278475 h 356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0025" h="356191">
                      <a:moveTo>
                        <a:pt x="7" y="292437"/>
                      </a:moveTo>
                      <a:cubicBezTo>
                        <a:pt x="30" y="327620"/>
                        <a:pt x="28580" y="356168"/>
                        <a:pt x="63761" y="356192"/>
                      </a:cubicBezTo>
                      <a:lnTo>
                        <a:pt x="316231" y="356192"/>
                      </a:lnTo>
                      <a:cubicBezTo>
                        <a:pt x="338959" y="356215"/>
                        <a:pt x="359995" y="344108"/>
                        <a:pt x="371406" y="324441"/>
                      </a:cubicBezTo>
                      <a:cubicBezTo>
                        <a:pt x="382817" y="304774"/>
                        <a:pt x="382909" y="280515"/>
                        <a:pt x="371615" y="260776"/>
                      </a:cubicBezTo>
                      <a:lnTo>
                        <a:pt x="238674" y="28225"/>
                      </a:lnTo>
                      <a:cubicBezTo>
                        <a:pt x="228678" y="10761"/>
                        <a:pt x="210101" y="0"/>
                        <a:pt x="189993" y="0"/>
                      </a:cubicBezTo>
                      <a:cubicBezTo>
                        <a:pt x="169885" y="0"/>
                        <a:pt x="151308" y="10761"/>
                        <a:pt x="141312" y="28225"/>
                      </a:cubicBezTo>
                      <a:lnTo>
                        <a:pt x="8442" y="260776"/>
                      </a:lnTo>
                      <a:cubicBezTo>
                        <a:pt x="2922" y="270424"/>
                        <a:pt x="23" y="281324"/>
                        <a:pt x="0" y="292433"/>
                      </a:cubicBezTo>
                      <a:close/>
                      <a:moveTo>
                        <a:pt x="39318" y="278475"/>
                      </a:moveTo>
                      <a:lnTo>
                        <a:pt x="172188" y="45901"/>
                      </a:lnTo>
                      <a:cubicBezTo>
                        <a:pt x="175829" y="39500"/>
                        <a:pt x="182624" y="35534"/>
                        <a:pt x="189999" y="35534"/>
                      </a:cubicBezTo>
                      <a:cubicBezTo>
                        <a:pt x="197375" y="35534"/>
                        <a:pt x="204170" y="39500"/>
                        <a:pt x="207811" y="45901"/>
                      </a:cubicBezTo>
                      <a:lnTo>
                        <a:pt x="340681" y="278475"/>
                      </a:lnTo>
                      <a:cubicBezTo>
                        <a:pt x="345667" y="287196"/>
                        <a:pt x="345621" y="297887"/>
                        <a:pt x="340589" y="306562"/>
                      </a:cubicBezTo>
                      <a:cubicBezTo>
                        <a:pt x="335532" y="315235"/>
                        <a:pt x="326255" y="320570"/>
                        <a:pt x="316236" y="320570"/>
                      </a:cubicBezTo>
                      <a:lnTo>
                        <a:pt x="63766" y="320570"/>
                      </a:lnTo>
                      <a:cubicBezTo>
                        <a:pt x="53747" y="320570"/>
                        <a:pt x="44470" y="315236"/>
                        <a:pt x="39414" y="306562"/>
                      </a:cubicBezTo>
                      <a:cubicBezTo>
                        <a:pt x="34381" y="297888"/>
                        <a:pt x="34335" y="287196"/>
                        <a:pt x="39321" y="278475"/>
                      </a:cubicBezTo>
                      <a:close/>
                    </a:path>
                  </a:pathLst>
                </a:custGeom>
                <a:solidFill>
                  <a:schemeClr val="bg1"/>
                </a:solidFill>
                <a:ln w="59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41" name="Freeform: Shape 40">
                  <a:extLst>
                    <a:ext uri="{FF2B5EF4-FFF2-40B4-BE49-F238E27FC236}">
                      <a16:creationId xmlns:a16="http://schemas.microsoft.com/office/drawing/2014/main" id="{ED785415-B24A-AA9B-7D4D-C552D7FF76DB}"/>
                    </a:ext>
                  </a:extLst>
                </p:cNvPr>
                <p:cNvSpPr/>
                <p:nvPr/>
              </p:nvSpPr>
              <p:spPr>
                <a:xfrm>
                  <a:off x="-124174" y="5532976"/>
                  <a:ext cx="35623" cy="94996"/>
                </a:xfrm>
                <a:custGeom>
                  <a:avLst/>
                  <a:gdLst>
                    <a:gd name="connsiteX0" fmla="*/ 0 w 35623"/>
                    <a:gd name="connsiteY0" fmla="*/ 0 h 94996"/>
                    <a:gd name="connsiteX1" fmla="*/ 35624 w 35623"/>
                    <a:gd name="connsiteY1" fmla="*/ 0 h 94996"/>
                    <a:gd name="connsiteX2" fmla="*/ 35624 w 35623"/>
                    <a:gd name="connsiteY2" fmla="*/ 94996 h 94996"/>
                    <a:gd name="connsiteX3" fmla="*/ 0 w 35623"/>
                    <a:gd name="connsiteY3" fmla="*/ 94996 h 94996"/>
                  </a:gdLst>
                  <a:ahLst/>
                  <a:cxnLst>
                    <a:cxn ang="0">
                      <a:pos x="connsiteX0" y="connsiteY0"/>
                    </a:cxn>
                    <a:cxn ang="0">
                      <a:pos x="connsiteX1" y="connsiteY1"/>
                    </a:cxn>
                    <a:cxn ang="0">
                      <a:pos x="connsiteX2" y="connsiteY2"/>
                    </a:cxn>
                    <a:cxn ang="0">
                      <a:pos x="connsiteX3" y="connsiteY3"/>
                    </a:cxn>
                  </a:cxnLst>
                  <a:rect l="l" t="t" r="r" b="b"/>
                  <a:pathLst>
                    <a:path w="35623" h="94996">
                      <a:moveTo>
                        <a:pt x="0" y="0"/>
                      </a:moveTo>
                      <a:lnTo>
                        <a:pt x="35624" y="0"/>
                      </a:lnTo>
                      <a:lnTo>
                        <a:pt x="35624" y="94996"/>
                      </a:lnTo>
                      <a:lnTo>
                        <a:pt x="0" y="94996"/>
                      </a:lnTo>
                      <a:close/>
                    </a:path>
                  </a:pathLst>
                </a:custGeom>
                <a:solidFill>
                  <a:schemeClr val="bg1"/>
                </a:solidFill>
                <a:ln w="59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42" name="Freeform: Shape 41">
                  <a:extLst>
                    <a:ext uri="{FF2B5EF4-FFF2-40B4-BE49-F238E27FC236}">
                      <a16:creationId xmlns:a16="http://schemas.microsoft.com/office/drawing/2014/main" id="{165B0538-0638-7C96-C0F1-DF0DB4F28B1F}"/>
                    </a:ext>
                  </a:extLst>
                </p:cNvPr>
                <p:cNvSpPr/>
                <p:nvPr/>
              </p:nvSpPr>
              <p:spPr>
                <a:xfrm>
                  <a:off x="-124174" y="5657659"/>
                  <a:ext cx="35623" cy="35623"/>
                </a:xfrm>
                <a:custGeom>
                  <a:avLst/>
                  <a:gdLst>
                    <a:gd name="connsiteX0" fmla="*/ 35624 w 35623"/>
                    <a:gd name="connsiteY0" fmla="*/ 17812 h 35623"/>
                    <a:gd name="connsiteX1" fmla="*/ 0 w 35623"/>
                    <a:gd name="connsiteY1" fmla="*/ 17812 h 35623"/>
                    <a:gd name="connsiteX2" fmla="*/ 35624 w 35623"/>
                    <a:gd name="connsiteY2" fmla="*/ 17812 h 35623"/>
                  </a:gdLst>
                  <a:ahLst/>
                  <a:cxnLst>
                    <a:cxn ang="0">
                      <a:pos x="connsiteX0" y="connsiteY0"/>
                    </a:cxn>
                    <a:cxn ang="0">
                      <a:pos x="connsiteX1" y="connsiteY1"/>
                    </a:cxn>
                    <a:cxn ang="0">
                      <a:pos x="connsiteX2" y="connsiteY2"/>
                    </a:cxn>
                  </a:cxnLst>
                  <a:rect l="l" t="t" r="r" b="b"/>
                  <a:pathLst>
                    <a:path w="35623" h="35623">
                      <a:moveTo>
                        <a:pt x="35624" y="17812"/>
                      </a:moveTo>
                      <a:cubicBezTo>
                        <a:pt x="35624" y="41561"/>
                        <a:pt x="0" y="41561"/>
                        <a:pt x="0" y="17812"/>
                      </a:cubicBezTo>
                      <a:cubicBezTo>
                        <a:pt x="0" y="-5937"/>
                        <a:pt x="35624" y="-5937"/>
                        <a:pt x="35624" y="17812"/>
                      </a:cubicBezTo>
                    </a:path>
                  </a:pathLst>
                </a:custGeom>
                <a:solidFill>
                  <a:schemeClr val="bg1"/>
                </a:solidFill>
                <a:ln w="59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grpSp>
      <p:grpSp>
        <p:nvGrpSpPr>
          <p:cNvPr id="81" name="Group 80">
            <a:extLst>
              <a:ext uri="{FF2B5EF4-FFF2-40B4-BE49-F238E27FC236}">
                <a16:creationId xmlns:a16="http://schemas.microsoft.com/office/drawing/2014/main" id="{B17D79E3-3825-9A4A-FD2A-C2BB69514D5C}"/>
              </a:ext>
            </a:extLst>
          </p:cNvPr>
          <p:cNvGrpSpPr/>
          <p:nvPr/>
        </p:nvGrpSpPr>
        <p:grpSpPr>
          <a:xfrm>
            <a:off x="5728245" y="2515008"/>
            <a:ext cx="6169840" cy="3093167"/>
            <a:chOff x="5728245" y="2128936"/>
            <a:chExt cx="6169840" cy="3093167"/>
          </a:xfrm>
        </p:grpSpPr>
        <p:sp>
          <p:nvSpPr>
            <p:cNvPr id="12" name="TextBox 11">
              <a:extLst>
                <a:ext uri="{FF2B5EF4-FFF2-40B4-BE49-F238E27FC236}">
                  <a16:creationId xmlns:a16="http://schemas.microsoft.com/office/drawing/2014/main" id="{3CA952CC-ADD3-18A9-C0CC-0005703B40CB}"/>
                </a:ext>
              </a:extLst>
            </p:cNvPr>
            <p:cNvSpPr txBox="1"/>
            <p:nvPr/>
          </p:nvSpPr>
          <p:spPr>
            <a:xfrm>
              <a:off x="5728245" y="2128936"/>
              <a:ext cx="3196348" cy="201628"/>
            </a:xfrm>
            <a:prstGeom prst="rect">
              <a:avLst/>
            </a:prstGeom>
            <a:noFill/>
          </p:spPr>
          <p:txBody>
            <a:bodyPr wrap="square" lIns="0" tIns="0" rIns="0" bIns="0">
              <a:noAutofit/>
            </a:bodyPr>
            <a:lstStyle/>
            <a:p>
              <a:pPr lvl="0" algn="ctr" defTabSz="1219170" fontAlgn="base">
                <a:spcBef>
                  <a:spcPct val="0"/>
                </a:spcBef>
                <a:spcAft>
                  <a:spcPct val="0"/>
                </a:spcAft>
                <a:defRPr sz="1200" b="0" i="0" u="none" strike="noStrike" kern="1200" baseline="0">
                  <a:solidFill>
                    <a:prstClr val="black"/>
                  </a:solidFill>
                  <a:latin typeface="+mn-lt"/>
                  <a:ea typeface="+mn-ea"/>
                  <a:cs typeface="+mn-cs"/>
                </a:defRPr>
              </a:pPr>
              <a:r>
                <a:rPr lang="en-US" sz="1400" err="1">
                  <a:solidFill>
                    <a:prstClr val="black"/>
                  </a:solidFill>
                </a:rPr>
                <a:t>İnsidans</a:t>
              </a:r>
              <a:r>
                <a:rPr lang="en-US" sz="1400">
                  <a:solidFill>
                    <a:prstClr val="black"/>
                  </a:solidFill>
                </a:rPr>
                <a:t>† (100.000 </a:t>
              </a:r>
              <a:r>
                <a:rPr lang="en-US" sz="1400" err="1">
                  <a:solidFill>
                    <a:prstClr val="black"/>
                  </a:solidFill>
                </a:rPr>
                <a:t>kişi-yıl</a:t>
              </a:r>
              <a:r>
                <a:rPr lang="en-US" sz="1400">
                  <a:solidFill>
                    <a:prstClr val="black"/>
                  </a:solidFill>
                </a:rPr>
                <a:t> </a:t>
              </a:r>
              <a:r>
                <a:rPr lang="en-US" sz="1400" err="1">
                  <a:solidFill>
                    <a:prstClr val="black"/>
                  </a:solidFill>
                </a:rPr>
                <a:t>başına</a:t>
              </a:r>
              <a:r>
                <a:rPr lang="en-US" sz="1400">
                  <a:solidFill>
                    <a:prstClr val="black"/>
                  </a:solidFill>
                </a:rPr>
                <a:t>)</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64" name="Group 63">
              <a:extLst>
                <a:ext uri="{FF2B5EF4-FFF2-40B4-BE49-F238E27FC236}">
                  <a16:creationId xmlns:a16="http://schemas.microsoft.com/office/drawing/2014/main" id="{C1141315-F65C-1241-DBFF-076FF7EB7F7B}"/>
                </a:ext>
              </a:extLst>
            </p:cNvPr>
            <p:cNvGrpSpPr/>
            <p:nvPr/>
          </p:nvGrpSpPr>
          <p:grpSpPr>
            <a:xfrm>
              <a:off x="5833847" y="2412822"/>
              <a:ext cx="719548" cy="251974"/>
              <a:chOff x="6235289" y="2406049"/>
              <a:chExt cx="719548" cy="251974"/>
            </a:xfrm>
          </p:grpSpPr>
          <p:sp>
            <p:nvSpPr>
              <p:cNvPr id="112" name="Rectangle: Rounded Corners 111">
                <a:extLst>
                  <a:ext uri="{FF2B5EF4-FFF2-40B4-BE49-F238E27FC236}">
                    <a16:creationId xmlns:a16="http://schemas.microsoft.com/office/drawing/2014/main" id="{9E338E3A-73ED-BC2C-49BE-4F4C39CAD865}"/>
                  </a:ext>
                </a:extLst>
              </p:cNvPr>
              <p:cNvSpPr>
                <a:spLocks/>
              </p:cNvSpPr>
              <p:nvPr/>
            </p:nvSpPr>
            <p:spPr>
              <a:xfrm>
                <a:off x="6235289" y="2406049"/>
                <a:ext cx="91440" cy="90264"/>
              </a:xfrm>
              <a:prstGeom prst="roundRect">
                <a:avLst/>
              </a:prstGeom>
              <a:solidFill>
                <a:srgbClr val="0095FF"/>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82296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 name="Rectangle: Rounded Corners 112">
                <a:extLst>
                  <a:ext uri="{FF2B5EF4-FFF2-40B4-BE49-F238E27FC236}">
                    <a16:creationId xmlns:a16="http://schemas.microsoft.com/office/drawing/2014/main" id="{4ED4A6FB-7140-5057-EB78-03CD62140B3E}"/>
                  </a:ext>
                </a:extLst>
              </p:cNvPr>
              <p:cNvSpPr>
                <a:spLocks/>
              </p:cNvSpPr>
              <p:nvPr/>
            </p:nvSpPr>
            <p:spPr>
              <a:xfrm>
                <a:off x="6235289" y="2567759"/>
                <a:ext cx="91440" cy="90264"/>
              </a:xfrm>
              <a:prstGeom prst="roundRect">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73152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 name="Rectangle: Rounded Corners 61">
                <a:extLst>
                  <a:ext uri="{FF2B5EF4-FFF2-40B4-BE49-F238E27FC236}">
                    <a16:creationId xmlns:a16="http://schemas.microsoft.com/office/drawing/2014/main" id="{A9F99912-085C-8291-C032-CFB17054F4F8}"/>
                  </a:ext>
                </a:extLst>
              </p:cNvPr>
              <p:cNvSpPr>
                <a:spLocks/>
              </p:cNvSpPr>
              <p:nvPr/>
            </p:nvSpPr>
            <p:spPr>
              <a:xfrm>
                <a:off x="6367051" y="2406049"/>
                <a:ext cx="587786" cy="9026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50–64 y</a:t>
                </a:r>
              </a:p>
            </p:txBody>
          </p:sp>
          <p:sp>
            <p:nvSpPr>
              <p:cNvPr id="63" name="Rectangle: Rounded Corners 62">
                <a:extLst>
                  <a:ext uri="{FF2B5EF4-FFF2-40B4-BE49-F238E27FC236}">
                    <a16:creationId xmlns:a16="http://schemas.microsoft.com/office/drawing/2014/main" id="{3ED8DDF7-D33C-D1A7-15D6-AC73EE5D5AC5}"/>
                  </a:ext>
                </a:extLst>
              </p:cNvPr>
              <p:cNvSpPr>
                <a:spLocks/>
              </p:cNvSpPr>
              <p:nvPr/>
            </p:nvSpPr>
            <p:spPr>
              <a:xfrm>
                <a:off x="6367051" y="2567759"/>
                <a:ext cx="587786" cy="9026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65 y</a:t>
                </a:r>
              </a:p>
            </p:txBody>
          </p:sp>
        </p:grpSp>
        <p:grpSp>
          <p:nvGrpSpPr>
            <p:cNvPr id="52" name="Group 51">
              <a:extLst>
                <a:ext uri="{FF2B5EF4-FFF2-40B4-BE49-F238E27FC236}">
                  <a16:creationId xmlns:a16="http://schemas.microsoft.com/office/drawing/2014/main" id="{1D5783CF-5CD6-9B83-7A14-DE1FC0144CCC}"/>
                </a:ext>
              </a:extLst>
            </p:cNvPr>
            <p:cNvGrpSpPr/>
            <p:nvPr/>
          </p:nvGrpSpPr>
          <p:grpSpPr>
            <a:xfrm>
              <a:off x="10951728" y="2489546"/>
              <a:ext cx="760561" cy="2712243"/>
              <a:chOff x="10864643" y="2489546"/>
              <a:chExt cx="760561" cy="2712243"/>
            </a:xfrm>
          </p:grpSpPr>
          <p:sp>
            <p:nvSpPr>
              <p:cNvPr id="88" name="TextBox 87">
                <a:extLst>
                  <a:ext uri="{FF2B5EF4-FFF2-40B4-BE49-F238E27FC236}">
                    <a16:creationId xmlns:a16="http://schemas.microsoft.com/office/drawing/2014/main" id="{BC6DA78E-12BA-755D-270B-EF67F63910D9}"/>
                  </a:ext>
                </a:extLst>
              </p:cNvPr>
              <p:cNvSpPr txBox="1"/>
              <p:nvPr/>
            </p:nvSpPr>
            <p:spPr>
              <a:xfrm>
                <a:off x="10864643" y="4601903"/>
                <a:ext cx="760561" cy="204788"/>
              </a:xfrm>
              <a:prstGeom prst="rect">
                <a:avLst/>
              </a:prstGeom>
              <a:noFill/>
            </p:spPr>
            <p:txBody>
              <a:bodyPr wrap="non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353B3E"/>
                    </a:solidFill>
                    <a:effectLst/>
                    <a:uLnTx/>
                    <a:uFillTx/>
                    <a:latin typeface="Arial" panose="020B0604020202020204"/>
                    <a:ea typeface="+mn-ea"/>
                    <a:cs typeface="+mn-cs"/>
                  </a:rPr>
                  <a:t>≥1 IK</a:t>
                </a:r>
                <a:r>
                  <a:rPr kumimoji="0" lang="en-US" sz="1300" b="1" i="0" u="none" strike="noStrike" kern="1200" cap="none" spc="0" normalizeH="0" baseline="30000" noProof="0">
                    <a:ln>
                      <a:noFill/>
                    </a:ln>
                    <a:solidFill>
                      <a:srgbClr val="353B3E"/>
                    </a:solidFill>
                    <a:effectLst/>
                    <a:uLnTx/>
                    <a:uFillTx/>
                    <a:latin typeface="Arial" panose="020B0604020202020204"/>
                    <a:ea typeface="+mn-ea"/>
                    <a:cs typeface="+mn-cs"/>
                  </a:rPr>
                  <a:t>§</a:t>
                </a:r>
              </a:p>
            </p:txBody>
          </p:sp>
          <p:sp>
            <p:nvSpPr>
              <p:cNvPr id="73" name="Rectangle 72">
                <a:extLst>
                  <a:ext uri="{FF2B5EF4-FFF2-40B4-BE49-F238E27FC236}">
                    <a16:creationId xmlns:a16="http://schemas.microsoft.com/office/drawing/2014/main" id="{8448BD25-D106-5EB3-8021-3B985A6F936A}"/>
                  </a:ext>
                </a:extLst>
              </p:cNvPr>
              <p:cNvSpPr/>
              <p:nvPr/>
            </p:nvSpPr>
            <p:spPr>
              <a:xfrm>
                <a:off x="11266288" y="2672630"/>
                <a:ext cx="284362" cy="1891996"/>
              </a:xfrm>
              <a:prstGeom prst="rect">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0" name="Rectangle 79">
                <a:extLst>
                  <a:ext uri="{FF2B5EF4-FFF2-40B4-BE49-F238E27FC236}">
                    <a16:creationId xmlns:a16="http://schemas.microsoft.com/office/drawing/2014/main" id="{53E37803-2AEA-8FCA-B01D-64DE82E81D6A}"/>
                  </a:ext>
                </a:extLst>
              </p:cNvPr>
              <p:cNvSpPr/>
              <p:nvPr/>
            </p:nvSpPr>
            <p:spPr>
              <a:xfrm>
                <a:off x="10944768" y="3677659"/>
                <a:ext cx="284362" cy="886967"/>
              </a:xfrm>
              <a:prstGeom prst="rect">
                <a:avLst/>
              </a:prstGeom>
              <a:solidFill>
                <a:srgbClr val="009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4" name="TextBox 93">
                <a:extLst>
                  <a:ext uri="{FF2B5EF4-FFF2-40B4-BE49-F238E27FC236}">
                    <a16:creationId xmlns:a16="http://schemas.microsoft.com/office/drawing/2014/main" id="{6358CDE9-7721-779C-4D8E-A3B3EEBC14CB}"/>
                  </a:ext>
                </a:extLst>
              </p:cNvPr>
              <p:cNvSpPr txBox="1"/>
              <p:nvPr/>
            </p:nvSpPr>
            <p:spPr>
              <a:xfrm>
                <a:off x="10949789" y="4314276"/>
                <a:ext cx="274320" cy="222800"/>
              </a:xfrm>
              <a:prstGeom prst="rect">
                <a:avLst/>
              </a:prstGeom>
              <a:noFill/>
            </p:spPr>
            <p:txBody>
              <a:bodyPr wrap="square" lIns="0" tIns="0" rIns="0" bIns="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a:ea typeface="+mn-ea"/>
                    <a:cs typeface="+mn-cs"/>
                  </a:rPr>
                  <a:t>6×</a:t>
                </a:r>
              </a:p>
            </p:txBody>
          </p:sp>
          <p:sp>
            <p:nvSpPr>
              <p:cNvPr id="95" name="TextBox 94">
                <a:extLst>
                  <a:ext uri="{FF2B5EF4-FFF2-40B4-BE49-F238E27FC236}">
                    <a16:creationId xmlns:a16="http://schemas.microsoft.com/office/drawing/2014/main" id="{46EF1174-D185-F283-B2E6-6C8C99293D4C}"/>
                  </a:ext>
                </a:extLst>
              </p:cNvPr>
              <p:cNvSpPr txBox="1"/>
              <p:nvPr/>
            </p:nvSpPr>
            <p:spPr>
              <a:xfrm>
                <a:off x="11271309" y="4314276"/>
                <a:ext cx="274320" cy="222800"/>
              </a:xfrm>
              <a:prstGeom prst="rect">
                <a:avLst/>
              </a:prstGeom>
              <a:noFill/>
            </p:spPr>
            <p:txBody>
              <a:bodyPr wrap="square" lIns="0" tIns="0" rIns="0" bIns="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a:ea typeface="+mn-ea"/>
                    <a:cs typeface="+mn-cs"/>
                  </a:rPr>
                  <a:t>5×</a:t>
                </a:r>
              </a:p>
            </p:txBody>
          </p:sp>
          <p:sp>
            <p:nvSpPr>
              <p:cNvPr id="110" name="TextBox 109">
                <a:extLst>
                  <a:ext uri="{FF2B5EF4-FFF2-40B4-BE49-F238E27FC236}">
                    <a16:creationId xmlns:a16="http://schemas.microsoft.com/office/drawing/2014/main" id="{9809B1C5-2B07-DD9D-5B38-953EDB246F39}"/>
                  </a:ext>
                </a:extLst>
              </p:cNvPr>
              <p:cNvSpPr txBox="1"/>
              <p:nvPr/>
            </p:nvSpPr>
            <p:spPr>
              <a:xfrm>
                <a:off x="10951816" y="3500450"/>
                <a:ext cx="270266" cy="150662"/>
              </a:xfrm>
              <a:prstGeom prst="rect">
                <a:avLst/>
              </a:prstGeom>
              <a:no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104</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 name="TextBox 110">
                <a:extLst>
                  <a:ext uri="{FF2B5EF4-FFF2-40B4-BE49-F238E27FC236}">
                    <a16:creationId xmlns:a16="http://schemas.microsoft.com/office/drawing/2014/main" id="{E88C005E-2805-4670-C34F-F5276D0F748B}"/>
                  </a:ext>
                </a:extLst>
              </p:cNvPr>
              <p:cNvSpPr txBox="1"/>
              <p:nvPr/>
            </p:nvSpPr>
            <p:spPr>
              <a:xfrm>
                <a:off x="11273336" y="2489546"/>
                <a:ext cx="270266" cy="150662"/>
              </a:xfrm>
              <a:prstGeom prst="rect">
                <a:avLst/>
              </a:prstGeom>
              <a:no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368</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31" name="Group 30">
                <a:extLst>
                  <a:ext uri="{FF2B5EF4-FFF2-40B4-BE49-F238E27FC236}">
                    <a16:creationId xmlns:a16="http://schemas.microsoft.com/office/drawing/2014/main" id="{36A3F7FA-7B7E-3EDA-8FA0-3A99C77BC44E}"/>
                  </a:ext>
                </a:extLst>
              </p:cNvPr>
              <p:cNvGrpSpPr/>
              <p:nvPr/>
            </p:nvGrpSpPr>
            <p:grpSpPr>
              <a:xfrm>
                <a:off x="11113733" y="4885129"/>
                <a:ext cx="266334" cy="316660"/>
                <a:chOff x="10830602" y="1636141"/>
                <a:chExt cx="659244" cy="783819"/>
              </a:xfrm>
              <a:solidFill>
                <a:schemeClr val="bg2">
                  <a:lumMod val="50000"/>
                </a:schemeClr>
              </a:solidFill>
            </p:grpSpPr>
            <p:sp>
              <p:nvSpPr>
                <p:cNvPr id="16" name="Freeform: Shape 15">
                  <a:extLst>
                    <a:ext uri="{FF2B5EF4-FFF2-40B4-BE49-F238E27FC236}">
                      <a16:creationId xmlns:a16="http://schemas.microsoft.com/office/drawing/2014/main" id="{3A2FC36E-FF9B-A6AF-9296-903BFC472758}"/>
                    </a:ext>
                  </a:extLst>
                </p:cNvPr>
                <p:cNvSpPr/>
                <p:nvPr/>
              </p:nvSpPr>
              <p:spPr>
                <a:xfrm rot="647983">
                  <a:off x="11185235" y="1704471"/>
                  <a:ext cx="206072" cy="425132"/>
                </a:xfrm>
                <a:custGeom>
                  <a:avLst/>
                  <a:gdLst>
                    <a:gd name="connsiteX0" fmla="*/ 29970 w 338654"/>
                    <a:gd name="connsiteY0" fmla="*/ 0 h 698653"/>
                    <a:gd name="connsiteX1" fmla="*/ 264513 w 338654"/>
                    <a:gd name="connsiteY1" fmla="*/ 0 h 698653"/>
                    <a:gd name="connsiteX2" fmla="*/ 208309 w 338654"/>
                    <a:gd name="connsiteY2" fmla="*/ 112452 h 698653"/>
                    <a:gd name="connsiteX3" fmla="*/ 212560 w 338654"/>
                    <a:gd name="connsiteY3" fmla="*/ 128454 h 698653"/>
                    <a:gd name="connsiteX4" fmla="*/ 333119 w 338654"/>
                    <a:gd name="connsiteY4" fmla="*/ 212714 h 698653"/>
                    <a:gd name="connsiteX5" fmla="*/ 335244 w 338654"/>
                    <a:gd name="connsiteY5" fmla="*/ 231925 h 698653"/>
                    <a:gd name="connsiteX6" fmla="*/ 195472 w 338654"/>
                    <a:gd name="connsiteY6" fmla="*/ 387699 h 698653"/>
                    <a:gd name="connsiteX7" fmla="*/ 195472 w 338654"/>
                    <a:gd name="connsiteY7" fmla="*/ 404785 h 698653"/>
                    <a:gd name="connsiteX8" fmla="*/ 273357 w 338654"/>
                    <a:gd name="connsiteY8" fmla="*/ 489045 h 698653"/>
                    <a:gd name="connsiteX9" fmla="*/ 274440 w 338654"/>
                    <a:gd name="connsiteY9" fmla="*/ 505047 h 698653"/>
                    <a:gd name="connsiteX10" fmla="*/ 148547 w 338654"/>
                    <a:gd name="connsiteY10" fmla="*/ 692825 h 698653"/>
                    <a:gd name="connsiteX11" fmla="*/ 125086 w 338654"/>
                    <a:gd name="connsiteY11" fmla="*/ 683241 h 698653"/>
                    <a:gd name="connsiteX12" fmla="*/ 158174 w 338654"/>
                    <a:gd name="connsiteY12" fmla="*/ 521098 h 698653"/>
                    <a:gd name="connsiteX13" fmla="*/ 154965 w 338654"/>
                    <a:gd name="connsiteY13" fmla="*/ 509346 h 698653"/>
                    <a:gd name="connsiteX14" fmla="*/ 45074 w 338654"/>
                    <a:gd name="connsiteY14" fmla="*/ 404791 h 698653"/>
                    <a:gd name="connsiteX15" fmla="*/ 42949 w 338654"/>
                    <a:gd name="connsiteY15" fmla="*/ 388789 h 698653"/>
                    <a:gd name="connsiteX16" fmla="*/ 136836 w 338654"/>
                    <a:gd name="connsiteY16" fmla="*/ 244771 h 698653"/>
                    <a:gd name="connsiteX17" fmla="*/ 133627 w 338654"/>
                    <a:gd name="connsiteY17" fmla="*/ 227685 h 698653"/>
                    <a:gd name="connsiteX18" fmla="*/ 5611 w 338654"/>
                    <a:gd name="connsiteY18" fmla="*/ 143425 h 698653"/>
                    <a:gd name="connsiteX19" fmla="*/ 277 w 338654"/>
                    <a:gd name="connsiteY19" fmla="*/ 129548 h 698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8654" h="698653">
                      <a:moveTo>
                        <a:pt x="29970" y="0"/>
                      </a:moveTo>
                      <a:lnTo>
                        <a:pt x="264513" y="0"/>
                      </a:lnTo>
                      <a:lnTo>
                        <a:pt x="208309" y="112452"/>
                      </a:lnTo>
                      <a:cubicBezTo>
                        <a:pt x="206142" y="117786"/>
                        <a:pt x="207226" y="125245"/>
                        <a:pt x="212560" y="128454"/>
                      </a:cubicBezTo>
                      <a:lnTo>
                        <a:pt x="333119" y="212714"/>
                      </a:lnTo>
                      <a:cubicBezTo>
                        <a:pt x="339495" y="217007"/>
                        <a:pt x="340578" y="226591"/>
                        <a:pt x="335244" y="231925"/>
                      </a:cubicBezTo>
                      <a:lnTo>
                        <a:pt x="195472" y="387699"/>
                      </a:lnTo>
                      <a:cubicBezTo>
                        <a:pt x="191221" y="393033"/>
                        <a:pt x="191221" y="399451"/>
                        <a:pt x="195472" y="404785"/>
                      </a:cubicBezTo>
                      <a:lnTo>
                        <a:pt x="273357" y="489045"/>
                      </a:lnTo>
                      <a:cubicBezTo>
                        <a:pt x="277649" y="493295"/>
                        <a:pt x="277649" y="499713"/>
                        <a:pt x="274440" y="505047"/>
                      </a:cubicBezTo>
                      <a:lnTo>
                        <a:pt x="148547" y="692825"/>
                      </a:lnTo>
                      <a:cubicBezTo>
                        <a:pt x="140004" y="704577"/>
                        <a:pt x="121877" y="697118"/>
                        <a:pt x="125086" y="683241"/>
                      </a:cubicBezTo>
                      <a:lnTo>
                        <a:pt x="158174" y="521098"/>
                      </a:lnTo>
                      <a:cubicBezTo>
                        <a:pt x="159216" y="516805"/>
                        <a:pt x="158174" y="512555"/>
                        <a:pt x="154965" y="509346"/>
                      </a:cubicBezTo>
                      <a:lnTo>
                        <a:pt x="45074" y="404791"/>
                      </a:lnTo>
                      <a:cubicBezTo>
                        <a:pt x="40824" y="400541"/>
                        <a:pt x="39740" y="394123"/>
                        <a:pt x="42949" y="388789"/>
                      </a:cubicBezTo>
                      <a:lnTo>
                        <a:pt x="136836" y="244771"/>
                      </a:lnTo>
                      <a:cubicBezTo>
                        <a:pt x="141086" y="239437"/>
                        <a:pt x="138961" y="231936"/>
                        <a:pt x="133627" y="227685"/>
                      </a:cubicBezTo>
                      <a:lnTo>
                        <a:pt x="5611" y="143425"/>
                      </a:lnTo>
                      <a:cubicBezTo>
                        <a:pt x="1361" y="140216"/>
                        <a:pt x="-806" y="134882"/>
                        <a:pt x="277" y="129548"/>
                      </a:cubicBezTo>
                      <a:close/>
                    </a:path>
                  </a:pathLst>
                </a:custGeom>
                <a:noFill/>
                <a:ln w="12700" cap="flat">
                  <a:solidFill>
                    <a:schemeClr val="bg2">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7FC6A035-2F2D-045C-737E-C7F55BFFC5CB}"/>
                    </a:ext>
                  </a:extLst>
                </p:cNvPr>
                <p:cNvSpPr/>
                <p:nvPr/>
              </p:nvSpPr>
              <p:spPr>
                <a:xfrm>
                  <a:off x="10830602" y="1636141"/>
                  <a:ext cx="659244" cy="783819"/>
                </a:xfrm>
                <a:custGeom>
                  <a:avLst/>
                  <a:gdLst>
                    <a:gd name="connsiteX0" fmla="*/ 641117 w 659244"/>
                    <a:gd name="connsiteY0" fmla="*/ 49902 h 783819"/>
                    <a:gd name="connsiteX1" fmla="*/ 558982 w 659244"/>
                    <a:gd name="connsiteY1" fmla="*/ 54152 h 783819"/>
                    <a:gd name="connsiteX2" fmla="*/ 359501 w 659244"/>
                    <a:gd name="connsiteY2" fmla="*/ 9355 h 783819"/>
                    <a:gd name="connsiteX3" fmla="*/ 336040 w 659244"/>
                    <a:gd name="connsiteY3" fmla="*/ 813 h 783819"/>
                    <a:gd name="connsiteX4" fmla="*/ 324288 w 659244"/>
                    <a:gd name="connsiteY4" fmla="*/ 813 h 783819"/>
                    <a:gd name="connsiteX5" fmla="*/ 300827 w 659244"/>
                    <a:gd name="connsiteY5" fmla="*/ 9355 h 783819"/>
                    <a:gd name="connsiteX6" fmla="*/ 101346 w 659244"/>
                    <a:gd name="connsiteY6" fmla="*/ 54152 h 783819"/>
                    <a:gd name="connsiteX7" fmla="*/ 19211 w 659244"/>
                    <a:gd name="connsiteY7" fmla="*/ 49902 h 783819"/>
                    <a:gd name="connsiteX8" fmla="*/ 5334 w 659244"/>
                    <a:gd name="connsiteY8" fmla="*/ 54152 h 783819"/>
                    <a:gd name="connsiteX9" fmla="*/ 0 w 659244"/>
                    <a:gd name="connsiteY9" fmla="*/ 66945 h 783819"/>
                    <a:gd name="connsiteX10" fmla="*/ 0 w 659244"/>
                    <a:gd name="connsiteY10" fmla="*/ 455239 h 783819"/>
                    <a:gd name="connsiteX11" fmla="*/ 322163 w 659244"/>
                    <a:gd name="connsiteY11" fmla="*/ 782736 h 783819"/>
                    <a:gd name="connsiteX12" fmla="*/ 329622 w 659244"/>
                    <a:gd name="connsiteY12" fmla="*/ 783820 h 783819"/>
                    <a:gd name="connsiteX13" fmla="*/ 337082 w 659244"/>
                    <a:gd name="connsiteY13" fmla="*/ 782736 h 783819"/>
                    <a:gd name="connsiteX14" fmla="*/ 659244 w 659244"/>
                    <a:gd name="connsiteY14" fmla="*/ 455239 h 783819"/>
                    <a:gd name="connsiteX15" fmla="*/ 659244 w 659244"/>
                    <a:gd name="connsiteY15" fmla="*/ 66977 h 783819"/>
                    <a:gd name="connsiteX16" fmla="*/ 653910 w 659244"/>
                    <a:gd name="connsiteY16" fmla="*/ 54184 h 783819"/>
                    <a:gd name="connsiteX17" fmla="*/ 641117 w 659244"/>
                    <a:gd name="connsiteY17" fmla="*/ 49892 h 783819"/>
                    <a:gd name="connsiteX18" fmla="*/ 625115 w 659244"/>
                    <a:gd name="connsiteY18" fmla="*/ 455286 h 783819"/>
                    <a:gd name="connsiteX19" fmla="*/ 331745 w 659244"/>
                    <a:gd name="connsiteY19" fmla="*/ 747568 h 783819"/>
                    <a:gd name="connsiteX20" fmla="*/ 186639 w 659244"/>
                    <a:gd name="connsiteY20" fmla="*/ 661140 h 783819"/>
                    <a:gd name="connsiteX21" fmla="*/ 38375 w 659244"/>
                    <a:gd name="connsiteY21" fmla="*/ 455279 h 783819"/>
                    <a:gd name="connsiteX22" fmla="*/ 38375 w 659244"/>
                    <a:gd name="connsiteY22" fmla="*/ 86188 h 783819"/>
                    <a:gd name="connsiteX23" fmla="*/ 104508 w 659244"/>
                    <a:gd name="connsiteY23" fmla="*/ 89397 h 783819"/>
                    <a:gd name="connsiteX24" fmla="*/ 315745 w 659244"/>
                    <a:gd name="connsiteY24" fmla="*/ 42475 h 783819"/>
                    <a:gd name="connsiteX25" fmla="*/ 332831 w 659244"/>
                    <a:gd name="connsiteY25" fmla="*/ 36057 h 783819"/>
                    <a:gd name="connsiteX26" fmla="*/ 349917 w 659244"/>
                    <a:gd name="connsiteY26" fmla="*/ 42475 h 783819"/>
                    <a:gd name="connsiteX27" fmla="*/ 561154 w 659244"/>
                    <a:gd name="connsiteY27" fmla="*/ 89397 h 783819"/>
                    <a:gd name="connsiteX28" fmla="*/ 627287 w 659244"/>
                    <a:gd name="connsiteY28" fmla="*/ 86188 h 783819"/>
                    <a:gd name="connsiteX29" fmla="*/ 627245 w 659244"/>
                    <a:gd name="connsiteY29" fmla="*/ 455279 h 7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59244" h="783819">
                      <a:moveTo>
                        <a:pt x="641117" y="49902"/>
                      </a:moveTo>
                      <a:cubicBezTo>
                        <a:pt x="614447" y="53111"/>
                        <a:pt x="586693" y="54152"/>
                        <a:pt x="558982" y="54152"/>
                      </a:cubicBezTo>
                      <a:cubicBezTo>
                        <a:pt x="487515" y="54152"/>
                        <a:pt x="419210" y="30691"/>
                        <a:pt x="359501" y="9355"/>
                      </a:cubicBezTo>
                      <a:cubicBezTo>
                        <a:pt x="352042" y="6147"/>
                        <a:pt x="343499" y="4021"/>
                        <a:pt x="336040" y="813"/>
                      </a:cubicBezTo>
                      <a:cubicBezTo>
                        <a:pt x="332831" y="-271"/>
                        <a:pt x="328581" y="-271"/>
                        <a:pt x="324288" y="813"/>
                      </a:cubicBezTo>
                      <a:cubicBezTo>
                        <a:pt x="316829" y="2938"/>
                        <a:pt x="309370" y="6147"/>
                        <a:pt x="300827" y="9355"/>
                      </a:cubicBezTo>
                      <a:cubicBezTo>
                        <a:pt x="241069" y="30691"/>
                        <a:pt x="172811" y="54152"/>
                        <a:pt x="101346" y="54152"/>
                      </a:cubicBezTo>
                      <a:cubicBezTo>
                        <a:pt x="73592" y="54152"/>
                        <a:pt x="46922" y="53069"/>
                        <a:pt x="19211" y="49902"/>
                      </a:cubicBezTo>
                      <a:cubicBezTo>
                        <a:pt x="13877" y="49902"/>
                        <a:pt x="9626" y="50985"/>
                        <a:pt x="5334" y="54152"/>
                      </a:cubicBezTo>
                      <a:cubicBezTo>
                        <a:pt x="2125" y="57361"/>
                        <a:pt x="0" y="62695"/>
                        <a:pt x="0" y="66945"/>
                      </a:cubicBezTo>
                      <a:lnTo>
                        <a:pt x="0" y="455239"/>
                      </a:lnTo>
                      <a:cubicBezTo>
                        <a:pt x="0" y="636595"/>
                        <a:pt x="308284" y="777402"/>
                        <a:pt x="322163" y="782736"/>
                      </a:cubicBezTo>
                      <a:cubicBezTo>
                        <a:pt x="324288" y="783820"/>
                        <a:pt x="326414" y="783820"/>
                        <a:pt x="329622" y="783820"/>
                      </a:cubicBezTo>
                      <a:cubicBezTo>
                        <a:pt x="332831" y="783820"/>
                        <a:pt x="334956" y="783820"/>
                        <a:pt x="337082" y="782736"/>
                      </a:cubicBezTo>
                      <a:cubicBezTo>
                        <a:pt x="349875" y="776319"/>
                        <a:pt x="659244" y="636595"/>
                        <a:pt x="659244" y="455239"/>
                      </a:cubicBezTo>
                      <a:lnTo>
                        <a:pt x="659244" y="66977"/>
                      </a:lnTo>
                      <a:cubicBezTo>
                        <a:pt x="659244" y="61643"/>
                        <a:pt x="657119" y="57393"/>
                        <a:pt x="653910" y="54184"/>
                      </a:cubicBezTo>
                      <a:cubicBezTo>
                        <a:pt x="651785" y="50976"/>
                        <a:pt x="646451" y="48850"/>
                        <a:pt x="641117" y="49892"/>
                      </a:cubicBezTo>
                      <a:close/>
                      <a:moveTo>
                        <a:pt x="625115" y="455286"/>
                      </a:moveTo>
                      <a:cubicBezTo>
                        <a:pt x="625115" y="600392"/>
                        <a:pt x="376540" y="725197"/>
                        <a:pt x="331745" y="747568"/>
                      </a:cubicBezTo>
                      <a:cubicBezTo>
                        <a:pt x="311493" y="737983"/>
                        <a:pt x="248526" y="705980"/>
                        <a:pt x="186639" y="661140"/>
                      </a:cubicBezTo>
                      <a:cubicBezTo>
                        <a:pt x="118381" y="612133"/>
                        <a:pt x="38375" y="537455"/>
                        <a:pt x="38375" y="455279"/>
                      </a:cubicBezTo>
                      <a:lnTo>
                        <a:pt x="38375" y="86188"/>
                      </a:lnTo>
                      <a:cubicBezTo>
                        <a:pt x="59711" y="88313"/>
                        <a:pt x="82131" y="89397"/>
                        <a:pt x="104508" y="89397"/>
                      </a:cubicBezTo>
                      <a:cubicBezTo>
                        <a:pt x="182393" y="89397"/>
                        <a:pt x="252772" y="64852"/>
                        <a:pt x="315745" y="42475"/>
                      </a:cubicBezTo>
                      <a:cubicBezTo>
                        <a:pt x="321079" y="40349"/>
                        <a:pt x="327497" y="38224"/>
                        <a:pt x="332831" y="36057"/>
                      </a:cubicBezTo>
                      <a:cubicBezTo>
                        <a:pt x="338165" y="38182"/>
                        <a:pt x="344583" y="40308"/>
                        <a:pt x="349917" y="42475"/>
                      </a:cubicBezTo>
                      <a:cubicBezTo>
                        <a:pt x="412841" y="64894"/>
                        <a:pt x="483267" y="89397"/>
                        <a:pt x="561154" y="89397"/>
                      </a:cubicBezTo>
                      <a:cubicBezTo>
                        <a:pt x="583574" y="89397"/>
                        <a:pt x="604910" y="88313"/>
                        <a:pt x="627287" y="86188"/>
                      </a:cubicBezTo>
                      <a:lnTo>
                        <a:pt x="627245" y="455279"/>
                      </a:lnTo>
                      <a:close/>
                    </a:path>
                  </a:pathLst>
                </a:custGeom>
                <a:grp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grpSp>
          <p:nvGrpSpPr>
            <p:cNvPr id="53" name="Group 52">
              <a:extLst>
                <a:ext uri="{FF2B5EF4-FFF2-40B4-BE49-F238E27FC236}">
                  <a16:creationId xmlns:a16="http://schemas.microsoft.com/office/drawing/2014/main" id="{E829CD34-D9CA-48CE-FF90-4A3C6D887B15}"/>
                </a:ext>
              </a:extLst>
            </p:cNvPr>
            <p:cNvGrpSpPr/>
            <p:nvPr/>
          </p:nvGrpSpPr>
          <p:grpSpPr>
            <a:xfrm>
              <a:off x="10032505" y="2174284"/>
              <a:ext cx="760561" cy="2997507"/>
              <a:chOff x="9945420" y="2174284"/>
              <a:chExt cx="760561" cy="2997507"/>
            </a:xfrm>
          </p:grpSpPr>
          <p:sp>
            <p:nvSpPr>
              <p:cNvPr id="87" name="TextBox 86">
                <a:extLst>
                  <a:ext uri="{FF2B5EF4-FFF2-40B4-BE49-F238E27FC236}">
                    <a16:creationId xmlns:a16="http://schemas.microsoft.com/office/drawing/2014/main" id="{4AF971F1-241D-97E5-3D74-59812CA08AB8}"/>
                  </a:ext>
                </a:extLst>
              </p:cNvPr>
              <p:cNvSpPr txBox="1"/>
              <p:nvPr/>
            </p:nvSpPr>
            <p:spPr>
              <a:xfrm>
                <a:off x="9945420" y="4601903"/>
                <a:ext cx="760561" cy="204788"/>
              </a:xfrm>
              <a:prstGeom prst="rect">
                <a:avLst/>
              </a:prstGeom>
              <a:noFill/>
            </p:spPr>
            <p:txBody>
              <a:bodyPr wrap="non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353B3E"/>
                    </a:solidFill>
                    <a:effectLst/>
                    <a:uLnTx/>
                    <a:uFillTx/>
                    <a:latin typeface="Arial" panose="020B0604020202020204"/>
                    <a:ea typeface="+mn-ea"/>
                    <a:cs typeface="+mn-cs"/>
                  </a:rPr>
                  <a:t>KOAH</a:t>
                </a:r>
              </a:p>
            </p:txBody>
          </p:sp>
          <p:sp>
            <p:nvSpPr>
              <p:cNvPr id="72" name="Rectangle 71">
                <a:extLst>
                  <a:ext uri="{FF2B5EF4-FFF2-40B4-BE49-F238E27FC236}">
                    <a16:creationId xmlns:a16="http://schemas.microsoft.com/office/drawing/2014/main" id="{86618921-75A1-0CD5-AE59-528F583D2A37}"/>
                  </a:ext>
                </a:extLst>
              </p:cNvPr>
              <p:cNvSpPr/>
              <p:nvPr/>
            </p:nvSpPr>
            <p:spPr>
              <a:xfrm>
                <a:off x="10381820" y="2370066"/>
                <a:ext cx="284362" cy="2194559"/>
              </a:xfrm>
              <a:prstGeom prst="rect">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9" name="Rectangle 78">
                <a:extLst>
                  <a:ext uri="{FF2B5EF4-FFF2-40B4-BE49-F238E27FC236}">
                    <a16:creationId xmlns:a16="http://schemas.microsoft.com/office/drawing/2014/main" id="{D0C5D730-12E1-B34D-AAFB-BD3085A1661D}"/>
                  </a:ext>
                </a:extLst>
              </p:cNvPr>
              <p:cNvSpPr/>
              <p:nvPr/>
            </p:nvSpPr>
            <p:spPr>
              <a:xfrm>
                <a:off x="10060306" y="3410277"/>
                <a:ext cx="284362" cy="1154349"/>
              </a:xfrm>
              <a:prstGeom prst="rect">
                <a:avLst/>
              </a:prstGeom>
              <a:solidFill>
                <a:srgbClr val="009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1" name="TextBox 90">
                <a:extLst>
                  <a:ext uri="{FF2B5EF4-FFF2-40B4-BE49-F238E27FC236}">
                    <a16:creationId xmlns:a16="http://schemas.microsoft.com/office/drawing/2014/main" id="{9A6308D6-C6B8-70DD-47B4-1FCEACF2DA74}"/>
                  </a:ext>
                </a:extLst>
              </p:cNvPr>
              <p:cNvSpPr txBox="1"/>
              <p:nvPr/>
            </p:nvSpPr>
            <p:spPr>
              <a:xfrm>
                <a:off x="10065309" y="4314276"/>
                <a:ext cx="274320" cy="222800"/>
              </a:xfrm>
              <a:prstGeom prst="rect">
                <a:avLst/>
              </a:prstGeom>
              <a:noFill/>
            </p:spPr>
            <p:txBody>
              <a:bodyPr wrap="square" lIns="0" tIns="0" rIns="0" bIns="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a:ea typeface="+mn-ea"/>
                    <a:cs typeface="+mn-cs"/>
                  </a:rPr>
                  <a:t>8×</a:t>
                </a:r>
              </a:p>
            </p:txBody>
          </p:sp>
          <p:sp>
            <p:nvSpPr>
              <p:cNvPr id="93" name="TextBox 92">
                <a:extLst>
                  <a:ext uri="{FF2B5EF4-FFF2-40B4-BE49-F238E27FC236}">
                    <a16:creationId xmlns:a16="http://schemas.microsoft.com/office/drawing/2014/main" id="{F446FDFC-E102-99FE-5D56-EEA3E8A3501C}"/>
                  </a:ext>
                </a:extLst>
              </p:cNvPr>
              <p:cNvSpPr txBox="1"/>
              <p:nvPr/>
            </p:nvSpPr>
            <p:spPr>
              <a:xfrm>
                <a:off x="10386845" y="4314276"/>
                <a:ext cx="274320" cy="222800"/>
              </a:xfrm>
              <a:prstGeom prst="rect">
                <a:avLst/>
              </a:prstGeom>
              <a:noFill/>
            </p:spPr>
            <p:txBody>
              <a:bodyPr wrap="square" lIns="0" tIns="0" rIns="0" bIns="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a:ea typeface="+mn-ea"/>
                    <a:cs typeface="+mn-cs"/>
                  </a:rPr>
                  <a:t>6×</a:t>
                </a:r>
              </a:p>
            </p:txBody>
          </p:sp>
          <p:sp>
            <p:nvSpPr>
              <p:cNvPr id="108" name="TextBox 107">
                <a:extLst>
                  <a:ext uri="{FF2B5EF4-FFF2-40B4-BE49-F238E27FC236}">
                    <a16:creationId xmlns:a16="http://schemas.microsoft.com/office/drawing/2014/main" id="{D77B4276-598A-D205-2487-3DF7833BE1A9}"/>
                  </a:ext>
                </a:extLst>
              </p:cNvPr>
              <p:cNvSpPr txBox="1"/>
              <p:nvPr/>
            </p:nvSpPr>
            <p:spPr>
              <a:xfrm>
                <a:off x="10066865" y="3225565"/>
                <a:ext cx="270266" cy="150662"/>
              </a:xfrm>
              <a:prstGeom prst="rect">
                <a:avLst/>
              </a:prstGeom>
              <a:no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449</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 name="TextBox 108">
                <a:extLst>
                  <a:ext uri="{FF2B5EF4-FFF2-40B4-BE49-F238E27FC236}">
                    <a16:creationId xmlns:a16="http://schemas.microsoft.com/office/drawing/2014/main" id="{2629015A-2533-E991-3C55-ACFBAC30B11F}"/>
                  </a:ext>
                </a:extLst>
              </p:cNvPr>
              <p:cNvSpPr txBox="1"/>
              <p:nvPr/>
            </p:nvSpPr>
            <p:spPr>
              <a:xfrm>
                <a:off x="10388873" y="2174284"/>
                <a:ext cx="270266" cy="150662"/>
              </a:xfrm>
              <a:prstGeom prst="rect">
                <a:avLst/>
              </a:prstGeom>
              <a:no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738</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 name="Freeform: Shape 122">
                <a:extLst>
                  <a:ext uri="{FF2B5EF4-FFF2-40B4-BE49-F238E27FC236}">
                    <a16:creationId xmlns:a16="http://schemas.microsoft.com/office/drawing/2014/main" id="{AC2FADC9-7E3F-FB63-C405-7A726ECF8CE1}"/>
                  </a:ext>
                </a:extLst>
              </p:cNvPr>
              <p:cNvSpPr/>
              <p:nvPr/>
            </p:nvSpPr>
            <p:spPr>
              <a:xfrm>
                <a:off x="10204221" y="4840067"/>
                <a:ext cx="352472" cy="331724"/>
              </a:xfrm>
              <a:custGeom>
                <a:avLst/>
                <a:gdLst>
                  <a:gd name="connsiteX0" fmla="*/ 141460 w 457590"/>
                  <a:gd name="connsiteY0" fmla="*/ 105064 h 430654"/>
                  <a:gd name="connsiteX1" fmla="*/ 71126 w 457590"/>
                  <a:gd name="connsiteY1" fmla="*/ 155642 h 430654"/>
                  <a:gd name="connsiteX2" fmla="*/ 16598 w 457590"/>
                  <a:gd name="connsiteY2" fmla="*/ 358743 h 430654"/>
                  <a:gd name="connsiteX3" fmla="*/ 33984 w 457590"/>
                  <a:gd name="connsiteY3" fmla="*/ 413271 h 430654"/>
                  <a:gd name="connsiteX4" fmla="*/ 41097 w 457590"/>
                  <a:gd name="connsiteY4" fmla="*/ 412481 h 430654"/>
                  <a:gd name="connsiteX5" fmla="*/ 86142 w 457590"/>
                  <a:gd name="connsiteY5" fmla="*/ 380869 h 430654"/>
                  <a:gd name="connsiteX6" fmla="*/ 87723 w 457590"/>
                  <a:gd name="connsiteY6" fmla="*/ 380869 h 430654"/>
                  <a:gd name="connsiteX7" fmla="*/ 126446 w 457590"/>
                  <a:gd name="connsiteY7" fmla="*/ 365064 h 430654"/>
                  <a:gd name="connsiteX8" fmla="*/ 159638 w 457590"/>
                  <a:gd name="connsiteY8" fmla="*/ 350839 h 430654"/>
                  <a:gd name="connsiteX9" fmla="*/ 159634 w 457590"/>
                  <a:gd name="connsiteY9" fmla="*/ 350848 h 430654"/>
                  <a:gd name="connsiteX10" fmla="*/ 188084 w 457590"/>
                  <a:gd name="connsiteY10" fmla="*/ 295526 h 430654"/>
                  <a:gd name="connsiteX11" fmla="*/ 177811 w 457590"/>
                  <a:gd name="connsiteY11" fmla="*/ 202270 h 430654"/>
                  <a:gd name="connsiteX12" fmla="*/ 101944 w 457590"/>
                  <a:gd name="connsiteY12" fmla="*/ 271815 h 430654"/>
                  <a:gd name="connsiteX13" fmla="*/ 101154 w 457590"/>
                  <a:gd name="connsiteY13" fmla="*/ 272605 h 430654"/>
                  <a:gd name="connsiteX14" fmla="*/ 90090 w 457590"/>
                  <a:gd name="connsiteY14" fmla="*/ 271024 h 430654"/>
                  <a:gd name="connsiteX15" fmla="*/ 91670 w 457590"/>
                  <a:gd name="connsiteY15" fmla="*/ 259960 h 430654"/>
                  <a:gd name="connsiteX16" fmla="*/ 173071 w 457590"/>
                  <a:gd name="connsiteY16" fmla="*/ 184883 h 430654"/>
                  <a:gd name="connsiteX17" fmla="*/ 172280 w 457590"/>
                  <a:gd name="connsiteY17" fmla="*/ 182512 h 430654"/>
                  <a:gd name="connsiteX18" fmla="*/ 165168 w 457590"/>
                  <a:gd name="connsiteY18" fmla="*/ 165126 h 430654"/>
                  <a:gd name="connsiteX19" fmla="*/ 157265 w 457590"/>
                  <a:gd name="connsiteY19" fmla="*/ 144579 h 430654"/>
                  <a:gd name="connsiteX20" fmla="*/ 153314 w 457590"/>
                  <a:gd name="connsiteY20" fmla="*/ 129563 h 430654"/>
                  <a:gd name="connsiteX21" fmla="*/ 146201 w 457590"/>
                  <a:gd name="connsiteY21" fmla="*/ 107435 h 430654"/>
                  <a:gd name="connsiteX22" fmla="*/ 141460 w 457590"/>
                  <a:gd name="connsiteY22" fmla="*/ 105064 h 430654"/>
                  <a:gd name="connsiteX23" fmla="*/ 317694 w 457590"/>
                  <a:gd name="connsiteY23" fmla="*/ 103478 h 430654"/>
                  <a:gd name="connsiteX24" fmla="*/ 312953 w 457590"/>
                  <a:gd name="connsiteY24" fmla="*/ 105850 h 430654"/>
                  <a:gd name="connsiteX25" fmla="*/ 305840 w 457590"/>
                  <a:gd name="connsiteY25" fmla="*/ 127977 h 430654"/>
                  <a:gd name="connsiteX26" fmla="*/ 301889 w 457590"/>
                  <a:gd name="connsiteY26" fmla="*/ 142992 h 430654"/>
                  <a:gd name="connsiteX27" fmla="*/ 293986 w 457590"/>
                  <a:gd name="connsiteY27" fmla="*/ 163540 h 430654"/>
                  <a:gd name="connsiteX28" fmla="*/ 286874 w 457590"/>
                  <a:gd name="connsiteY28" fmla="*/ 180926 h 430654"/>
                  <a:gd name="connsiteX29" fmla="*/ 285293 w 457590"/>
                  <a:gd name="connsiteY29" fmla="*/ 185667 h 430654"/>
                  <a:gd name="connsiteX30" fmla="*/ 362738 w 457590"/>
                  <a:gd name="connsiteY30" fmla="*/ 258373 h 430654"/>
                  <a:gd name="connsiteX31" fmla="*/ 362738 w 457590"/>
                  <a:gd name="connsiteY31" fmla="*/ 269437 h 430654"/>
                  <a:gd name="connsiteX32" fmla="*/ 351674 w 457590"/>
                  <a:gd name="connsiteY32" fmla="*/ 269437 h 430654"/>
                  <a:gd name="connsiteX33" fmla="*/ 280552 w 457590"/>
                  <a:gd name="connsiteY33" fmla="*/ 202265 h 430654"/>
                  <a:gd name="connsiteX34" fmla="*/ 271068 w 457590"/>
                  <a:gd name="connsiteY34" fmla="*/ 293149 h 430654"/>
                  <a:gd name="connsiteX35" fmla="*/ 299518 w 457590"/>
                  <a:gd name="connsiteY35" fmla="*/ 350049 h 430654"/>
                  <a:gd name="connsiteX36" fmla="*/ 332710 w 457590"/>
                  <a:gd name="connsiteY36" fmla="*/ 364274 h 430654"/>
                  <a:gd name="connsiteX37" fmla="*/ 371433 w 457590"/>
                  <a:gd name="connsiteY37" fmla="*/ 380079 h 430654"/>
                  <a:gd name="connsiteX38" fmla="*/ 373014 w 457590"/>
                  <a:gd name="connsiteY38" fmla="*/ 381660 h 430654"/>
                  <a:gd name="connsiteX39" fmla="*/ 418060 w 457590"/>
                  <a:gd name="connsiteY39" fmla="*/ 413271 h 430654"/>
                  <a:gd name="connsiteX40" fmla="*/ 425172 w 457590"/>
                  <a:gd name="connsiteY40" fmla="*/ 414061 h 430654"/>
                  <a:gd name="connsiteX41" fmla="*/ 425171 w 457590"/>
                  <a:gd name="connsiteY41" fmla="*/ 414057 h 430654"/>
                  <a:gd name="connsiteX42" fmla="*/ 443347 w 457590"/>
                  <a:gd name="connsiteY42" fmla="*/ 357946 h 430654"/>
                  <a:gd name="connsiteX43" fmla="*/ 388820 w 457590"/>
                  <a:gd name="connsiteY43" fmla="*/ 154056 h 430654"/>
                  <a:gd name="connsiteX44" fmla="*/ 319275 w 457590"/>
                  <a:gd name="connsiteY44" fmla="*/ 103478 h 430654"/>
                  <a:gd name="connsiteX45" fmla="*/ 219111 w 457590"/>
                  <a:gd name="connsiteY45" fmla="*/ 0 h 430654"/>
                  <a:gd name="connsiteX46" fmla="*/ 234916 w 457590"/>
                  <a:gd name="connsiteY46" fmla="*/ 0 h 430654"/>
                  <a:gd name="connsiteX47" fmla="*/ 236293 w 457590"/>
                  <a:gd name="connsiteY47" fmla="*/ 139043 h 430654"/>
                  <a:gd name="connsiteX48" fmla="*/ 272646 w 457590"/>
                  <a:gd name="connsiteY48" fmla="*/ 173815 h 430654"/>
                  <a:gd name="connsiteX49" fmla="*/ 278968 w 457590"/>
                  <a:gd name="connsiteY49" fmla="*/ 157219 h 430654"/>
                  <a:gd name="connsiteX50" fmla="*/ 286080 w 457590"/>
                  <a:gd name="connsiteY50" fmla="*/ 138253 h 430654"/>
                  <a:gd name="connsiteX51" fmla="*/ 290031 w 457590"/>
                  <a:gd name="connsiteY51" fmla="*/ 124818 h 430654"/>
                  <a:gd name="connsiteX52" fmla="*/ 298725 w 457590"/>
                  <a:gd name="connsiteY52" fmla="*/ 98739 h 430654"/>
                  <a:gd name="connsiteX53" fmla="*/ 316111 w 457590"/>
                  <a:gd name="connsiteY53" fmla="*/ 88466 h 430654"/>
                  <a:gd name="connsiteX54" fmla="*/ 401461 w 457590"/>
                  <a:gd name="connsiteY54" fmla="*/ 146155 h 430654"/>
                  <a:gd name="connsiteX55" fmla="*/ 401460 w 457590"/>
                  <a:gd name="connsiteY55" fmla="*/ 146152 h 430654"/>
                  <a:gd name="connsiteX56" fmla="*/ 457571 w 457590"/>
                  <a:gd name="connsiteY56" fmla="*/ 357947 h 430654"/>
                  <a:gd name="connsiteX57" fmla="*/ 429911 w 457590"/>
                  <a:gd name="connsiteY57" fmla="*/ 427492 h 430654"/>
                  <a:gd name="connsiteX58" fmla="*/ 420427 w 457590"/>
                  <a:gd name="connsiteY58" fmla="*/ 429862 h 430654"/>
                  <a:gd name="connsiteX59" fmla="*/ 405412 w 457590"/>
                  <a:gd name="connsiteY59" fmla="*/ 423540 h 430654"/>
                  <a:gd name="connsiteX60" fmla="*/ 363527 w 457590"/>
                  <a:gd name="connsiteY60" fmla="*/ 394300 h 430654"/>
                  <a:gd name="connsiteX61" fmla="*/ 324804 w 457590"/>
                  <a:gd name="connsiteY61" fmla="*/ 378495 h 430654"/>
                  <a:gd name="connsiteX62" fmla="*/ 293193 w 457590"/>
                  <a:gd name="connsiteY62" fmla="*/ 365060 h 430654"/>
                  <a:gd name="connsiteX63" fmla="*/ 254469 w 457590"/>
                  <a:gd name="connsiteY63" fmla="*/ 293144 h 430654"/>
                  <a:gd name="connsiteX64" fmla="*/ 266324 w 457590"/>
                  <a:gd name="connsiteY64" fmla="*/ 190409 h 430654"/>
                  <a:gd name="connsiteX65" fmla="*/ 227600 w 457590"/>
                  <a:gd name="connsiteY65" fmla="*/ 154056 h 430654"/>
                  <a:gd name="connsiteX66" fmla="*/ 189667 w 457590"/>
                  <a:gd name="connsiteY66" fmla="*/ 188829 h 430654"/>
                  <a:gd name="connsiteX67" fmla="*/ 202311 w 457590"/>
                  <a:gd name="connsiteY67" fmla="*/ 293935 h 430654"/>
                  <a:gd name="connsiteX68" fmla="*/ 163588 w 457590"/>
                  <a:gd name="connsiteY68" fmla="*/ 365851 h 430654"/>
                  <a:gd name="connsiteX69" fmla="*/ 131976 w 457590"/>
                  <a:gd name="connsiteY69" fmla="*/ 379286 h 430654"/>
                  <a:gd name="connsiteX70" fmla="*/ 93253 w 457590"/>
                  <a:gd name="connsiteY70" fmla="*/ 395092 h 430654"/>
                  <a:gd name="connsiteX71" fmla="*/ 51368 w 457590"/>
                  <a:gd name="connsiteY71" fmla="*/ 424331 h 430654"/>
                  <a:gd name="connsiteX72" fmla="*/ 36353 w 457590"/>
                  <a:gd name="connsiteY72" fmla="*/ 430654 h 430654"/>
                  <a:gd name="connsiteX73" fmla="*/ 26870 w 457590"/>
                  <a:gd name="connsiteY73" fmla="*/ 428283 h 430654"/>
                  <a:gd name="connsiteX74" fmla="*/ 0 w 457590"/>
                  <a:gd name="connsiteY74" fmla="*/ 358739 h 430654"/>
                  <a:gd name="connsiteX75" fmla="*/ 57689 w 457590"/>
                  <a:gd name="connsiteY75" fmla="*/ 146155 h 430654"/>
                  <a:gd name="connsiteX76" fmla="*/ 143039 w 457590"/>
                  <a:gd name="connsiteY76" fmla="*/ 88465 h 430654"/>
                  <a:gd name="connsiteX77" fmla="*/ 160426 w 457590"/>
                  <a:gd name="connsiteY77" fmla="*/ 98739 h 430654"/>
                  <a:gd name="connsiteX78" fmla="*/ 169119 w 457590"/>
                  <a:gd name="connsiteY78" fmla="*/ 124818 h 430654"/>
                  <a:gd name="connsiteX79" fmla="*/ 173071 w 457590"/>
                  <a:gd name="connsiteY79" fmla="*/ 138252 h 430654"/>
                  <a:gd name="connsiteX80" fmla="*/ 180182 w 457590"/>
                  <a:gd name="connsiteY80" fmla="*/ 157219 h 430654"/>
                  <a:gd name="connsiteX81" fmla="*/ 185715 w 457590"/>
                  <a:gd name="connsiteY81" fmla="*/ 171444 h 430654"/>
                  <a:gd name="connsiteX82" fmla="*/ 220487 w 457590"/>
                  <a:gd name="connsiteY82" fmla="*/ 139043 h 430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57590" h="430654">
                    <a:moveTo>
                      <a:pt x="141460" y="105064"/>
                    </a:moveTo>
                    <a:cubicBezTo>
                      <a:pt x="126448" y="105064"/>
                      <a:pt x="94835" y="121660"/>
                      <a:pt x="71126" y="155642"/>
                    </a:cubicBezTo>
                    <a:cubicBezTo>
                      <a:pt x="39516" y="202265"/>
                      <a:pt x="16598" y="300264"/>
                      <a:pt x="16598" y="358743"/>
                    </a:cubicBezTo>
                    <a:cubicBezTo>
                      <a:pt x="16598" y="393514"/>
                      <a:pt x="25291" y="409319"/>
                      <a:pt x="33984" y="413271"/>
                    </a:cubicBezTo>
                    <a:cubicBezTo>
                      <a:pt x="36355" y="414852"/>
                      <a:pt x="38725" y="414061"/>
                      <a:pt x="41097" y="412481"/>
                    </a:cubicBezTo>
                    <a:cubicBezTo>
                      <a:pt x="55321" y="400626"/>
                      <a:pt x="70337" y="390353"/>
                      <a:pt x="86142" y="380869"/>
                    </a:cubicBezTo>
                    <a:lnTo>
                      <a:pt x="87723" y="380869"/>
                    </a:lnTo>
                    <a:cubicBezTo>
                      <a:pt x="101157" y="376128"/>
                      <a:pt x="113802" y="371386"/>
                      <a:pt x="126446" y="365064"/>
                    </a:cubicBezTo>
                    <a:cubicBezTo>
                      <a:pt x="137510" y="359532"/>
                      <a:pt x="148574" y="354790"/>
                      <a:pt x="159638" y="350839"/>
                    </a:cubicBezTo>
                    <a:lnTo>
                      <a:pt x="159634" y="350848"/>
                    </a:lnTo>
                    <a:cubicBezTo>
                      <a:pt x="178601" y="343733"/>
                      <a:pt x="188084" y="324766"/>
                      <a:pt x="188084" y="295526"/>
                    </a:cubicBezTo>
                    <a:cubicBezTo>
                      <a:pt x="188084" y="263915"/>
                      <a:pt x="184923" y="233091"/>
                      <a:pt x="177811" y="202270"/>
                    </a:cubicBezTo>
                    <a:lnTo>
                      <a:pt x="101944" y="271815"/>
                    </a:lnTo>
                    <a:lnTo>
                      <a:pt x="101154" y="272605"/>
                    </a:lnTo>
                    <a:cubicBezTo>
                      <a:pt x="97993" y="274976"/>
                      <a:pt x="92460" y="274185"/>
                      <a:pt x="90090" y="271024"/>
                    </a:cubicBezTo>
                    <a:cubicBezTo>
                      <a:pt x="87719" y="267863"/>
                      <a:pt x="88509" y="262331"/>
                      <a:pt x="91670" y="259960"/>
                    </a:cubicBezTo>
                    <a:lnTo>
                      <a:pt x="173071" y="184883"/>
                    </a:lnTo>
                    <a:lnTo>
                      <a:pt x="172280" y="182512"/>
                    </a:lnTo>
                    <a:cubicBezTo>
                      <a:pt x="169910" y="176980"/>
                      <a:pt x="168329" y="172239"/>
                      <a:pt x="165168" y="165126"/>
                    </a:cubicBezTo>
                    <a:cubicBezTo>
                      <a:pt x="162007" y="158013"/>
                      <a:pt x="159636" y="151691"/>
                      <a:pt x="157265" y="144579"/>
                    </a:cubicBezTo>
                    <a:cubicBezTo>
                      <a:pt x="155685" y="139046"/>
                      <a:pt x="154104" y="134305"/>
                      <a:pt x="153314" y="129563"/>
                    </a:cubicBezTo>
                    <a:cubicBezTo>
                      <a:pt x="151734" y="121660"/>
                      <a:pt x="149363" y="114547"/>
                      <a:pt x="146201" y="107435"/>
                    </a:cubicBezTo>
                    <a:cubicBezTo>
                      <a:pt x="145411" y="105855"/>
                      <a:pt x="143040" y="105064"/>
                      <a:pt x="141460" y="105064"/>
                    </a:cubicBezTo>
                    <a:close/>
                    <a:moveTo>
                      <a:pt x="317694" y="103478"/>
                    </a:moveTo>
                    <a:cubicBezTo>
                      <a:pt x="316114" y="104269"/>
                      <a:pt x="313743" y="104269"/>
                      <a:pt x="312953" y="105850"/>
                    </a:cubicBezTo>
                    <a:cubicBezTo>
                      <a:pt x="309792" y="112961"/>
                      <a:pt x="307421" y="120074"/>
                      <a:pt x="305840" y="127977"/>
                    </a:cubicBezTo>
                    <a:cubicBezTo>
                      <a:pt x="304259" y="132720"/>
                      <a:pt x="303469" y="138251"/>
                      <a:pt x="301889" y="142992"/>
                    </a:cubicBezTo>
                    <a:cubicBezTo>
                      <a:pt x="299518" y="150106"/>
                      <a:pt x="296357" y="158008"/>
                      <a:pt x="293986" y="163540"/>
                    </a:cubicBezTo>
                    <a:cubicBezTo>
                      <a:pt x="291615" y="169071"/>
                      <a:pt x="289245" y="175394"/>
                      <a:pt x="286874" y="180926"/>
                    </a:cubicBezTo>
                    <a:cubicBezTo>
                      <a:pt x="286084" y="182506"/>
                      <a:pt x="286084" y="184087"/>
                      <a:pt x="285293" y="185667"/>
                    </a:cubicBezTo>
                    <a:lnTo>
                      <a:pt x="362738" y="258373"/>
                    </a:lnTo>
                    <a:cubicBezTo>
                      <a:pt x="365899" y="261534"/>
                      <a:pt x="365899" y="266276"/>
                      <a:pt x="362738" y="269437"/>
                    </a:cubicBezTo>
                    <a:cubicBezTo>
                      <a:pt x="359577" y="272598"/>
                      <a:pt x="354835" y="272598"/>
                      <a:pt x="351674" y="269437"/>
                    </a:cubicBezTo>
                    <a:lnTo>
                      <a:pt x="280552" y="202265"/>
                    </a:lnTo>
                    <a:cubicBezTo>
                      <a:pt x="274229" y="232298"/>
                      <a:pt x="271068" y="262327"/>
                      <a:pt x="271068" y="293149"/>
                    </a:cubicBezTo>
                    <a:cubicBezTo>
                      <a:pt x="271068" y="323969"/>
                      <a:pt x="280552" y="342936"/>
                      <a:pt x="299518" y="350049"/>
                    </a:cubicBezTo>
                    <a:cubicBezTo>
                      <a:pt x="310582" y="354790"/>
                      <a:pt x="321646" y="358741"/>
                      <a:pt x="332710" y="364274"/>
                    </a:cubicBezTo>
                    <a:cubicBezTo>
                      <a:pt x="345355" y="370596"/>
                      <a:pt x="357999" y="375338"/>
                      <a:pt x="371433" y="380079"/>
                    </a:cubicBezTo>
                    <a:lnTo>
                      <a:pt x="373014" y="381660"/>
                    </a:lnTo>
                    <a:cubicBezTo>
                      <a:pt x="388820" y="391143"/>
                      <a:pt x="403835" y="401416"/>
                      <a:pt x="418060" y="413271"/>
                    </a:cubicBezTo>
                    <a:cubicBezTo>
                      <a:pt x="419640" y="414852"/>
                      <a:pt x="422801" y="415642"/>
                      <a:pt x="425172" y="414061"/>
                    </a:cubicBezTo>
                    <a:lnTo>
                      <a:pt x="425171" y="414057"/>
                    </a:lnTo>
                    <a:cubicBezTo>
                      <a:pt x="433864" y="410102"/>
                      <a:pt x="442557" y="393508"/>
                      <a:pt x="443347" y="357946"/>
                    </a:cubicBezTo>
                    <a:cubicBezTo>
                      <a:pt x="443347" y="298679"/>
                      <a:pt x="421220" y="200683"/>
                      <a:pt x="388820" y="154056"/>
                    </a:cubicBezTo>
                    <a:cubicBezTo>
                      <a:pt x="365901" y="120865"/>
                      <a:pt x="334290" y="103478"/>
                      <a:pt x="319275" y="103478"/>
                    </a:cubicBezTo>
                    <a:close/>
                    <a:moveTo>
                      <a:pt x="219111" y="0"/>
                    </a:moveTo>
                    <a:lnTo>
                      <a:pt x="234916" y="0"/>
                    </a:lnTo>
                    <a:lnTo>
                      <a:pt x="236293" y="139043"/>
                    </a:lnTo>
                    <a:lnTo>
                      <a:pt x="272646" y="173815"/>
                    </a:lnTo>
                    <a:cubicBezTo>
                      <a:pt x="274226" y="168283"/>
                      <a:pt x="276597" y="163542"/>
                      <a:pt x="278968" y="157219"/>
                    </a:cubicBezTo>
                    <a:lnTo>
                      <a:pt x="286080" y="138253"/>
                    </a:lnTo>
                    <a:cubicBezTo>
                      <a:pt x="287660" y="134302"/>
                      <a:pt x="289241" y="129560"/>
                      <a:pt x="290031" y="124818"/>
                    </a:cubicBezTo>
                    <a:cubicBezTo>
                      <a:pt x="292402" y="115335"/>
                      <a:pt x="294774" y="106642"/>
                      <a:pt x="298725" y="98739"/>
                    </a:cubicBezTo>
                    <a:cubicBezTo>
                      <a:pt x="301886" y="92417"/>
                      <a:pt x="308999" y="88466"/>
                      <a:pt x="316111" y="88466"/>
                    </a:cubicBezTo>
                    <a:cubicBezTo>
                      <a:pt x="337450" y="86883"/>
                      <a:pt x="374592" y="106641"/>
                      <a:pt x="401461" y="146155"/>
                    </a:cubicBezTo>
                    <a:lnTo>
                      <a:pt x="401460" y="146152"/>
                    </a:lnTo>
                    <a:cubicBezTo>
                      <a:pt x="435443" y="195147"/>
                      <a:pt x="458361" y="297097"/>
                      <a:pt x="457571" y="357947"/>
                    </a:cubicBezTo>
                    <a:cubicBezTo>
                      <a:pt x="457571" y="408525"/>
                      <a:pt x="440184" y="423540"/>
                      <a:pt x="429911" y="427492"/>
                    </a:cubicBezTo>
                    <a:cubicBezTo>
                      <a:pt x="426750" y="429072"/>
                      <a:pt x="423588" y="429862"/>
                      <a:pt x="420427" y="429862"/>
                    </a:cubicBezTo>
                    <a:cubicBezTo>
                      <a:pt x="414895" y="429862"/>
                      <a:pt x="409363" y="427492"/>
                      <a:pt x="405412" y="423540"/>
                    </a:cubicBezTo>
                    <a:cubicBezTo>
                      <a:pt x="391977" y="412477"/>
                      <a:pt x="377752" y="402993"/>
                      <a:pt x="363527" y="394300"/>
                    </a:cubicBezTo>
                    <a:cubicBezTo>
                      <a:pt x="350883" y="389559"/>
                      <a:pt x="337448" y="384817"/>
                      <a:pt x="324804" y="378495"/>
                    </a:cubicBezTo>
                    <a:cubicBezTo>
                      <a:pt x="314530" y="373753"/>
                      <a:pt x="304256" y="369011"/>
                      <a:pt x="293193" y="365060"/>
                    </a:cubicBezTo>
                    <a:cubicBezTo>
                      <a:pt x="275016" y="358738"/>
                      <a:pt x="253679" y="340560"/>
                      <a:pt x="254469" y="293144"/>
                    </a:cubicBezTo>
                    <a:cubicBezTo>
                      <a:pt x="254469" y="258376"/>
                      <a:pt x="258421" y="224392"/>
                      <a:pt x="266324" y="190409"/>
                    </a:cubicBezTo>
                    <a:lnTo>
                      <a:pt x="227600" y="154056"/>
                    </a:lnTo>
                    <a:lnTo>
                      <a:pt x="189667" y="188829"/>
                    </a:lnTo>
                    <a:cubicBezTo>
                      <a:pt x="198360" y="222812"/>
                      <a:pt x="202311" y="258372"/>
                      <a:pt x="202311" y="293935"/>
                    </a:cubicBezTo>
                    <a:cubicBezTo>
                      <a:pt x="203102" y="341353"/>
                      <a:pt x="181764" y="359529"/>
                      <a:pt x="163588" y="365851"/>
                    </a:cubicBezTo>
                    <a:cubicBezTo>
                      <a:pt x="152524" y="369803"/>
                      <a:pt x="142250" y="374545"/>
                      <a:pt x="131976" y="379286"/>
                    </a:cubicBezTo>
                    <a:cubicBezTo>
                      <a:pt x="119332" y="385609"/>
                      <a:pt x="106688" y="390350"/>
                      <a:pt x="93253" y="395092"/>
                    </a:cubicBezTo>
                    <a:cubicBezTo>
                      <a:pt x="79028" y="403784"/>
                      <a:pt x="64803" y="413268"/>
                      <a:pt x="51368" y="424331"/>
                    </a:cubicBezTo>
                    <a:cubicBezTo>
                      <a:pt x="47417" y="428283"/>
                      <a:pt x="41885" y="430654"/>
                      <a:pt x="36353" y="430654"/>
                    </a:cubicBezTo>
                    <a:cubicBezTo>
                      <a:pt x="33192" y="429864"/>
                      <a:pt x="30031" y="429864"/>
                      <a:pt x="26870" y="428283"/>
                    </a:cubicBezTo>
                    <a:cubicBezTo>
                      <a:pt x="17386" y="424333"/>
                      <a:pt x="0" y="409316"/>
                      <a:pt x="0" y="358739"/>
                    </a:cubicBezTo>
                    <a:cubicBezTo>
                      <a:pt x="0" y="297099"/>
                      <a:pt x="23707" y="195152"/>
                      <a:pt x="57689" y="146155"/>
                    </a:cubicBezTo>
                    <a:cubicBezTo>
                      <a:pt x="84561" y="106642"/>
                      <a:pt x="121702" y="86885"/>
                      <a:pt x="143039" y="88465"/>
                    </a:cubicBezTo>
                    <a:cubicBezTo>
                      <a:pt x="150152" y="88465"/>
                      <a:pt x="157264" y="92417"/>
                      <a:pt x="160426" y="98739"/>
                    </a:cubicBezTo>
                    <a:cubicBezTo>
                      <a:pt x="164377" y="107432"/>
                      <a:pt x="167538" y="116124"/>
                      <a:pt x="169119" y="124818"/>
                    </a:cubicBezTo>
                    <a:cubicBezTo>
                      <a:pt x="170699" y="129559"/>
                      <a:pt x="171490" y="134301"/>
                      <a:pt x="173071" y="138252"/>
                    </a:cubicBezTo>
                    <a:cubicBezTo>
                      <a:pt x="174650" y="144574"/>
                      <a:pt x="177021" y="150897"/>
                      <a:pt x="180182" y="157219"/>
                    </a:cubicBezTo>
                    <a:cubicBezTo>
                      <a:pt x="181763" y="161961"/>
                      <a:pt x="184134" y="166702"/>
                      <a:pt x="185715" y="171444"/>
                    </a:cubicBezTo>
                    <a:lnTo>
                      <a:pt x="220487" y="139043"/>
                    </a:lnTo>
                    <a:close/>
                  </a:path>
                </a:pathLst>
              </a:custGeom>
              <a:solidFill>
                <a:schemeClr val="bg2">
                  <a:lumMod val="50000"/>
                </a:schemeClr>
              </a:solidFill>
              <a:ln w="50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57" name="Group 56">
              <a:extLst>
                <a:ext uri="{FF2B5EF4-FFF2-40B4-BE49-F238E27FC236}">
                  <a16:creationId xmlns:a16="http://schemas.microsoft.com/office/drawing/2014/main" id="{DD2ADFA5-9E42-82EA-E441-E78D4CE16FEA}"/>
                </a:ext>
              </a:extLst>
            </p:cNvPr>
            <p:cNvGrpSpPr/>
            <p:nvPr/>
          </p:nvGrpSpPr>
          <p:grpSpPr>
            <a:xfrm>
              <a:off x="8299924" y="2889269"/>
              <a:ext cx="760561" cy="1917422"/>
              <a:chOff x="8212839" y="2889269"/>
              <a:chExt cx="760561" cy="1917422"/>
            </a:xfrm>
          </p:grpSpPr>
          <p:sp>
            <p:nvSpPr>
              <p:cNvPr id="85" name="TextBox 84">
                <a:extLst>
                  <a:ext uri="{FF2B5EF4-FFF2-40B4-BE49-F238E27FC236}">
                    <a16:creationId xmlns:a16="http://schemas.microsoft.com/office/drawing/2014/main" id="{81563428-385C-73EE-7C55-776ACF8FA0FE}"/>
                  </a:ext>
                </a:extLst>
              </p:cNvPr>
              <p:cNvSpPr txBox="1"/>
              <p:nvPr/>
            </p:nvSpPr>
            <p:spPr>
              <a:xfrm>
                <a:off x="8212839" y="4601903"/>
                <a:ext cx="760561" cy="204788"/>
              </a:xfrm>
              <a:prstGeom prst="rect">
                <a:avLst/>
              </a:prstGeom>
              <a:noFill/>
            </p:spPr>
            <p:txBody>
              <a:bodyPr wrap="none" lIns="0" tIns="0" rIns="0" bIns="0">
                <a:noAutofit/>
              </a:bodyPr>
              <a:lstStyle/>
              <a:p>
                <a:pPr lvl="0" algn="ctr">
                  <a:defRPr/>
                </a:pPr>
                <a:r>
                  <a:rPr lang="en-US" sz="1300" b="1" err="1">
                    <a:solidFill>
                      <a:srgbClr val="353B3E"/>
                    </a:solidFill>
                  </a:rPr>
                  <a:t>Astım</a:t>
                </a:r>
                <a:endParaRPr kumimoji="0" lang="en-US" sz="1300" b="1"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68" name="Rectangle 67">
                <a:extLst>
                  <a:ext uri="{FF2B5EF4-FFF2-40B4-BE49-F238E27FC236}">
                    <a16:creationId xmlns:a16="http://schemas.microsoft.com/office/drawing/2014/main" id="{AE0C0089-B742-97D3-DF5F-A5D526DEE36C}"/>
                  </a:ext>
                </a:extLst>
              </p:cNvPr>
              <p:cNvSpPr/>
              <p:nvPr/>
            </p:nvSpPr>
            <p:spPr>
              <a:xfrm>
                <a:off x="8612888" y="3073703"/>
                <a:ext cx="284362" cy="1490923"/>
              </a:xfrm>
              <a:prstGeom prst="rect">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5" name="Rectangle 74">
                <a:extLst>
                  <a:ext uri="{FF2B5EF4-FFF2-40B4-BE49-F238E27FC236}">
                    <a16:creationId xmlns:a16="http://schemas.microsoft.com/office/drawing/2014/main" id="{F9ABCDD1-111D-DC71-5516-D5C969E6F17D}"/>
                  </a:ext>
                </a:extLst>
              </p:cNvPr>
              <p:cNvSpPr/>
              <p:nvPr/>
            </p:nvSpPr>
            <p:spPr>
              <a:xfrm>
                <a:off x="8291374" y="3938004"/>
                <a:ext cx="284362" cy="626622"/>
              </a:xfrm>
              <a:prstGeom prst="rect">
                <a:avLst/>
              </a:prstGeom>
              <a:solidFill>
                <a:srgbClr val="009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0" name="TextBox 89">
                <a:extLst>
                  <a:ext uri="{FF2B5EF4-FFF2-40B4-BE49-F238E27FC236}">
                    <a16:creationId xmlns:a16="http://schemas.microsoft.com/office/drawing/2014/main" id="{D20A12EF-ED16-2E32-75D6-1052EE480193}"/>
                  </a:ext>
                </a:extLst>
              </p:cNvPr>
              <p:cNvSpPr txBox="1"/>
              <p:nvPr/>
            </p:nvSpPr>
            <p:spPr>
              <a:xfrm>
                <a:off x="8296339" y="4314276"/>
                <a:ext cx="274320" cy="222800"/>
              </a:xfrm>
              <a:prstGeom prst="rect">
                <a:avLst/>
              </a:prstGeom>
              <a:noFill/>
            </p:spPr>
            <p:txBody>
              <a:bodyPr wrap="square" lIns="0" tIns="0" rIns="0" bIns="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a:ea typeface="+mn-ea"/>
                    <a:cs typeface="+mn-cs"/>
                  </a:rPr>
                  <a:t>4×</a:t>
                </a:r>
              </a:p>
            </p:txBody>
          </p:sp>
          <p:sp>
            <p:nvSpPr>
              <p:cNvPr id="92" name="TextBox 91">
                <a:extLst>
                  <a:ext uri="{FF2B5EF4-FFF2-40B4-BE49-F238E27FC236}">
                    <a16:creationId xmlns:a16="http://schemas.microsoft.com/office/drawing/2014/main" id="{54CE64ED-123A-D171-E204-540041740348}"/>
                  </a:ext>
                </a:extLst>
              </p:cNvPr>
              <p:cNvSpPr txBox="1"/>
              <p:nvPr/>
            </p:nvSpPr>
            <p:spPr>
              <a:xfrm>
                <a:off x="8617911" y="4314276"/>
                <a:ext cx="274320" cy="222800"/>
              </a:xfrm>
              <a:prstGeom prst="rect">
                <a:avLst/>
              </a:prstGeom>
              <a:noFill/>
            </p:spPr>
            <p:txBody>
              <a:bodyPr wrap="square" lIns="0" tIns="0" rIns="0" bIns="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a:ea typeface="+mn-ea"/>
                    <a:cs typeface="+mn-cs"/>
                  </a:rPr>
                  <a:t>4×</a:t>
                </a:r>
              </a:p>
            </p:txBody>
          </p:sp>
          <p:sp>
            <p:nvSpPr>
              <p:cNvPr id="104" name="TextBox 103">
                <a:extLst>
                  <a:ext uri="{FF2B5EF4-FFF2-40B4-BE49-F238E27FC236}">
                    <a16:creationId xmlns:a16="http://schemas.microsoft.com/office/drawing/2014/main" id="{61FF51AE-266C-457D-D107-BF2750223187}"/>
                  </a:ext>
                </a:extLst>
              </p:cNvPr>
              <p:cNvSpPr txBox="1"/>
              <p:nvPr/>
            </p:nvSpPr>
            <p:spPr>
              <a:xfrm>
                <a:off x="8296953" y="3757118"/>
                <a:ext cx="270266" cy="150662"/>
              </a:xfrm>
              <a:prstGeom prst="rect">
                <a:avLst/>
              </a:prstGeom>
              <a:no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796</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 name="TextBox 104">
                <a:extLst>
                  <a:ext uri="{FF2B5EF4-FFF2-40B4-BE49-F238E27FC236}">
                    <a16:creationId xmlns:a16="http://schemas.microsoft.com/office/drawing/2014/main" id="{1FAE3347-3ABF-A60F-DB6A-6891FC4FC999}"/>
                  </a:ext>
                </a:extLst>
              </p:cNvPr>
              <p:cNvSpPr txBox="1"/>
              <p:nvPr/>
            </p:nvSpPr>
            <p:spPr>
              <a:xfrm>
                <a:off x="8619939" y="2889269"/>
                <a:ext cx="270266" cy="150662"/>
              </a:xfrm>
              <a:prstGeom prst="rect">
                <a:avLst/>
              </a:prstGeom>
              <a:no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854</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4" name="Graphic 21">
              <a:extLst>
                <a:ext uri="{FF2B5EF4-FFF2-40B4-BE49-F238E27FC236}">
                  <a16:creationId xmlns:a16="http://schemas.microsoft.com/office/drawing/2014/main" id="{31648D7D-5B75-38EB-C303-9A5286ECBB35}"/>
                </a:ext>
              </a:extLst>
            </p:cNvPr>
            <p:cNvGrpSpPr/>
            <p:nvPr/>
          </p:nvGrpSpPr>
          <p:grpSpPr>
            <a:xfrm>
              <a:off x="8543649" y="4842866"/>
              <a:ext cx="302868" cy="330796"/>
              <a:chOff x="8411401" y="4842752"/>
              <a:chExt cx="393194" cy="429450"/>
            </a:xfrm>
            <a:solidFill>
              <a:schemeClr val="bg2">
                <a:lumMod val="50000"/>
              </a:schemeClr>
            </a:solidFill>
          </p:grpSpPr>
          <p:sp>
            <p:nvSpPr>
              <p:cNvPr id="35" name="Freeform: Shape 34">
                <a:extLst>
                  <a:ext uri="{FF2B5EF4-FFF2-40B4-BE49-F238E27FC236}">
                    <a16:creationId xmlns:a16="http://schemas.microsoft.com/office/drawing/2014/main" id="{063FCF84-B673-486F-77FC-D3FAB7AF4F86}"/>
                  </a:ext>
                </a:extLst>
              </p:cNvPr>
              <p:cNvSpPr/>
              <p:nvPr/>
            </p:nvSpPr>
            <p:spPr>
              <a:xfrm>
                <a:off x="8488451" y="4913469"/>
                <a:ext cx="302666" cy="358714"/>
              </a:xfrm>
              <a:custGeom>
                <a:avLst/>
                <a:gdLst>
                  <a:gd name="connsiteX0" fmla="*/ 7320 w 302666"/>
                  <a:gd name="connsiteY0" fmla="*/ 358711 h 358714"/>
                  <a:gd name="connsiteX1" fmla="*/ 224441 w 302666"/>
                  <a:gd name="connsiteY1" fmla="*/ 358711 h 358714"/>
                  <a:gd name="connsiteX2" fmla="*/ 224574 w 302666"/>
                  <a:gd name="connsiteY2" fmla="*/ 358711 h 358714"/>
                  <a:gd name="connsiteX3" fmla="*/ 224555 w 302666"/>
                  <a:gd name="connsiteY3" fmla="*/ 358711 h 358714"/>
                  <a:gd name="connsiteX4" fmla="*/ 226614 w 302666"/>
                  <a:gd name="connsiteY4" fmla="*/ 358368 h 358714"/>
                  <a:gd name="connsiteX5" fmla="*/ 227281 w 302666"/>
                  <a:gd name="connsiteY5" fmla="*/ 358063 h 358714"/>
                  <a:gd name="connsiteX6" fmla="*/ 227281 w 302666"/>
                  <a:gd name="connsiteY6" fmla="*/ 358082 h 358714"/>
                  <a:gd name="connsiteX7" fmla="*/ 229244 w 302666"/>
                  <a:gd name="connsiteY7" fmla="*/ 356862 h 358714"/>
                  <a:gd name="connsiteX8" fmla="*/ 230178 w 302666"/>
                  <a:gd name="connsiteY8" fmla="*/ 355890 h 358714"/>
                  <a:gd name="connsiteX9" fmla="*/ 230674 w 302666"/>
                  <a:gd name="connsiteY9" fmla="*/ 355166 h 358714"/>
                  <a:gd name="connsiteX10" fmla="*/ 231017 w 302666"/>
                  <a:gd name="connsiteY10" fmla="*/ 354670 h 358714"/>
                  <a:gd name="connsiteX11" fmla="*/ 231284 w 302666"/>
                  <a:gd name="connsiteY11" fmla="*/ 353831 h 358714"/>
                  <a:gd name="connsiteX12" fmla="*/ 231513 w 302666"/>
                  <a:gd name="connsiteY12" fmla="*/ 353336 h 358714"/>
                  <a:gd name="connsiteX13" fmla="*/ 302404 w 302666"/>
                  <a:gd name="connsiteY13" fmla="*/ 91534 h 358714"/>
                  <a:gd name="connsiteX14" fmla="*/ 299411 w 302666"/>
                  <a:gd name="connsiteY14" fmla="*/ 83528 h 358714"/>
                  <a:gd name="connsiteX15" fmla="*/ 175943 w 302666"/>
                  <a:gd name="connsiteY15" fmla="*/ 1237 h 358714"/>
                  <a:gd name="connsiteX16" fmla="*/ 169233 w 302666"/>
                  <a:gd name="connsiteY16" fmla="*/ 494 h 358714"/>
                  <a:gd name="connsiteX17" fmla="*/ 164773 w 302666"/>
                  <a:gd name="connsiteY17" fmla="*/ 5565 h 358714"/>
                  <a:gd name="connsiteX18" fmla="*/ 103812 w 302666"/>
                  <a:gd name="connsiteY18" fmla="*/ 250384 h 358714"/>
                  <a:gd name="connsiteX19" fmla="*/ 7320 w 302666"/>
                  <a:gd name="connsiteY19" fmla="*/ 250384 h 358714"/>
                  <a:gd name="connsiteX20" fmla="*/ 0 w 302666"/>
                  <a:gd name="connsiteY20" fmla="*/ 257704 h 358714"/>
                  <a:gd name="connsiteX21" fmla="*/ 0 w 302666"/>
                  <a:gd name="connsiteY21" fmla="*/ 351394 h 358714"/>
                  <a:gd name="connsiteX22" fmla="*/ 7320 w 302666"/>
                  <a:gd name="connsiteY22" fmla="*/ 358714 h 358714"/>
                  <a:gd name="connsiteX23" fmla="*/ 82062 w 302666"/>
                  <a:gd name="connsiteY23" fmla="*/ 344071 h 358714"/>
                  <a:gd name="connsiteX24" fmla="*/ 82062 w 302666"/>
                  <a:gd name="connsiteY24" fmla="*/ 265021 h 358714"/>
                  <a:gd name="connsiteX25" fmla="*/ 109550 w 302666"/>
                  <a:gd name="connsiteY25" fmla="*/ 265021 h 358714"/>
                  <a:gd name="connsiteX26" fmla="*/ 173068 w 302666"/>
                  <a:gd name="connsiteY26" fmla="*/ 296359 h 358714"/>
                  <a:gd name="connsiteX27" fmla="*/ 209592 w 302666"/>
                  <a:gd name="connsiteY27" fmla="*/ 344072 h 358714"/>
                  <a:gd name="connsiteX28" fmla="*/ 176480 w 302666"/>
                  <a:gd name="connsiteY28" fmla="*/ 19172 h 358714"/>
                  <a:gd name="connsiteX29" fmla="*/ 286909 w 302666"/>
                  <a:gd name="connsiteY29" fmla="*/ 92791 h 358714"/>
                  <a:gd name="connsiteX30" fmla="*/ 221239 w 302666"/>
                  <a:gd name="connsiteY30" fmla="*/ 335190 h 358714"/>
                  <a:gd name="connsiteX31" fmla="*/ 184677 w 302666"/>
                  <a:gd name="connsiteY31" fmla="*/ 287458 h 358714"/>
                  <a:gd name="connsiteX32" fmla="*/ 118798 w 302666"/>
                  <a:gd name="connsiteY32" fmla="*/ 250858 h 358714"/>
                  <a:gd name="connsiteX33" fmla="*/ 14640 w 302666"/>
                  <a:gd name="connsiteY33" fmla="*/ 265021 h 358714"/>
                  <a:gd name="connsiteX34" fmla="*/ 67403 w 302666"/>
                  <a:gd name="connsiteY34" fmla="*/ 265021 h 358714"/>
                  <a:gd name="connsiteX35" fmla="*/ 67403 w 302666"/>
                  <a:gd name="connsiteY35" fmla="*/ 344071 h 358714"/>
                  <a:gd name="connsiteX36" fmla="*/ 14640 w 302666"/>
                  <a:gd name="connsiteY36" fmla="*/ 344071 h 35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02666" h="358714">
                    <a:moveTo>
                      <a:pt x="7320" y="358711"/>
                    </a:moveTo>
                    <a:lnTo>
                      <a:pt x="224441" y="358711"/>
                    </a:lnTo>
                    <a:lnTo>
                      <a:pt x="224574" y="358711"/>
                    </a:lnTo>
                    <a:lnTo>
                      <a:pt x="224555" y="358711"/>
                    </a:lnTo>
                    <a:cubicBezTo>
                      <a:pt x="225260" y="358692"/>
                      <a:pt x="225946" y="358578"/>
                      <a:pt x="226614" y="358368"/>
                    </a:cubicBezTo>
                    <a:cubicBezTo>
                      <a:pt x="226842" y="358292"/>
                      <a:pt x="227052" y="358178"/>
                      <a:pt x="227281" y="358063"/>
                    </a:cubicBezTo>
                    <a:lnTo>
                      <a:pt x="227281" y="358082"/>
                    </a:lnTo>
                    <a:cubicBezTo>
                      <a:pt x="228005" y="357815"/>
                      <a:pt x="228672" y="357396"/>
                      <a:pt x="229244" y="356862"/>
                    </a:cubicBezTo>
                    <a:cubicBezTo>
                      <a:pt x="229587" y="356557"/>
                      <a:pt x="229892" y="356233"/>
                      <a:pt x="230178" y="355890"/>
                    </a:cubicBezTo>
                    <a:cubicBezTo>
                      <a:pt x="230350" y="355661"/>
                      <a:pt x="230521" y="355413"/>
                      <a:pt x="230674" y="355166"/>
                    </a:cubicBezTo>
                    <a:cubicBezTo>
                      <a:pt x="230769" y="354994"/>
                      <a:pt x="230922" y="354861"/>
                      <a:pt x="231017" y="354670"/>
                    </a:cubicBezTo>
                    <a:cubicBezTo>
                      <a:pt x="231112" y="354403"/>
                      <a:pt x="231208" y="354117"/>
                      <a:pt x="231284" y="353831"/>
                    </a:cubicBezTo>
                    <a:cubicBezTo>
                      <a:pt x="231341" y="353660"/>
                      <a:pt x="231455" y="353526"/>
                      <a:pt x="231513" y="353336"/>
                    </a:cubicBezTo>
                    <a:lnTo>
                      <a:pt x="302404" y="91534"/>
                    </a:lnTo>
                    <a:cubicBezTo>
                      <a:pt x="303243" y="88503"/>
                      <a:pt x="302023" y="85263"/>
                      <a:pt x="299411" y="83528"/>
                    </a:cubicBezTo>
                    <a:lnTo>
                      <a:pt x="175943" y="1237"/>
                    </a:lnTo>
                    <a:cubicBezTo>
                      <a:pt x="173961" y="-97"/>
                      <a:pt x="171463" y="-364"/>
                      <a:pt x="169233" y="494"/>
                    </a:cubicBezTo>
                    <a:cubicBezTo>
                      <a:pt x="167022" y="1352"/>
                      <a:pt x="165344" y="3239"/>
                      <a:pt x="164773" y="5565"/>
                    </a:cubicBezTo>
                    <a:lnTo>
                      <a:pt x="103812" y="250384"/>
                    </a:lnTo>
                    <a:lnTo>
                      <a:pt x="7320" y="250384"/>
                    </a:lnTo>
                    <a:cubicBezTo>
                      <a:pt x="3279" y="250384"/>
                      <a:pt x="0" y="253662"/>
                      <a:pt x="0" y="257704"/>
                    </a:cubicBezTo>
                    <a:lnTo>
                      <a:pt x="0" y="351394"/>
                    </a:lnTo>
                    <a:cubicBezTo>
                      <a:pt x="0" y="355435"/>
                      <a:pt x="3279" y="358714"/>
                      <a:pt x="7320" y="358714"/>
                    </a:cubicBezTo>
                    <a:close/>
                    <a:moveTo>
                      <a:pt x="82062" y="344071"/>
                    </a:moveTo>
                    <a:lnTo>
                      <a:pt x="82062" y="265021"/>
                    </a:lnTo>
                    <a:lnTo>
                      <a:pt x="109550" y="265021"/>
                    </a:lnTo>
                    <a:cubicBezTo>
                      <a:pt x="134427" y="265097"/>
                      <a:pt x="157873" y="276668"/>
                      <a:pt x="173068" y="296359"/>
                    </a:cubicBezTo>
                    <a:lnTo>
                      <a:pt x="209592" y="344072"/>
                    </a:lnTo>
                    <a:close/>
                    <a:moveTo>
                      <a:pt x="176480" y="19172"/>
                    </a:moveTo>
                    <a:lnTo>
                      <a:pt x="286909" y="92791"/>
                    </a:lnTo>
                    <a:lnTo>
                      <a:pt x="221239" y="335190"/>
                    </a:lnTo>
                    <a:lnTo>
                      <a:pt x="184677" y="287458"/>
                    </a:lnTo>
                    <a:cubicBezTo>
                      <a:pt x="168665" y="266737"/>
                      <a:pt x="144837" y="253489"/>
                      <a:pt x="118798" y="250858"/>
                    </a:cubicBezTo>
                    <a:close/>
                    <a:moveTo>
                      <a:pt x="14640" y="265021"/>
                    </a:moveTo>
                    <a:lnTo>
                      <a:pt x="67403" y="265021"/>
                    </a:lnTo>
                    <a:lnTo>
                      <a:pt x="67403" y="344071"/>
                    </a:lnTo>
                    <a:lnTo>
                      <a:pt x="14640" y="344071"/>
                    </a:lnTo>
                    <a:close/>
                  </a:path>
                </a:pathLst>
              </a:custGeom>
              <a:grpFill/>
              <a:ln w="48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37" name="Freeform: Shape 36">
                <a:extLst>
                  <a:ext uri="{FF2B5EF4-FFF2-40B4-BE49-F238E27FC236}">
                    <a16:creationId xmlns:a16="http://schemas.microsoft.com/office/drawing/2014/main" id="{F5F23F9A-B44A-DE12-4DA1-05C3BEAEAF9F}"/>
                  </a:ext>
                </a:extLst>
              </p:cNvPr>
              <p:cNvSpPr/>
              <p:nvPr/>
            </p:nvSpPr>
            <p:spPr>
              <a:xfrm>
                <a:off x="8683534" y="4842752"/>
                <a:ext cx="121061" cy="119491"/>
              </a:xfrm>
              <a:custGeom>
                <a:avLst/>
                <a:gdLst>
                  <a:gd name="connsiteX0" fmla="*/ 101508 w 121061"/>
                  <a:gd name="connsiteY0" fmla="*/ 22580 h 119491"/>
                  <a:gd name="connsiteX1" fmla="*/ 48970 w 121061"/>
                  <a:gd name="connsiteY1" fmla="*/ 1764 h 119491"/>
                  <a:gd name="connsiteX2" fmla="*/ 29469 w 121061"/>
                  <a:gd name="connsiteY2" fmla="*/ 2164 h 119491"/>
                  <a:gd name="connsiteX3" fmla="*/ 16106 w 121061"/>
                  <a:gd name="connsiteY3" fmla="*/ 16346 h 119491"/>
                  <a:gd name="connsiteX4" fmla="*/ 494 w 121061"/>
                  <a:gd name="connsiteY4" fmla="*/ 57959 h 119491"/>
                  <a:gd name="connsiteX5" fmla="*/ 475 w 121061"/>
                  <a:gd name="connsiteY5" fmla="*/ 57959 h 119491"/>
                  <a:gd name="connsiteX6" fmla="*/ 647 w 121061"/>
                  <a:gd name="connsiteY6" fmla="*/ 63582 h 119491"/>
                  <a:gd name="connsiteX7" fmla="*/ 4745 w 121061"/>
                  <a:gd name="connsiteY7" fmla="*/ 67433 h 119491"/>
                  <a:gd name="connsiteX8" fmla="*/ 10368 w 121061"/>
                  <a:gd name="connsiteY8" fmla="*/ 67242 h 119491"/>
                  <a:gd name="connsiteX9" fmla="*/ 14199 w 121061"/>
                  <a:gd name="connsiteY9" fmla="*/ 63087 h 119491"/>
                  <a:gd name="connsiteX10" fmla="*/ 29812 w 121061"/>
                  <a:gd name="connsiteY10" fmla="*/ 21474 h 119491"/>
                  <a:gd name="connsiteX11" fmla="*/ 35416 w 121061"/>
                  <a:gd name="connsiteY11" fmla="*/ 15546 h 119491"/>
                  <a:gd name="connsiteX12" fmla="*/ 43575 w 121061"/>
                  <a:gd name="connsiteY12" fmla="*/ 15374 h 119491"/>
                  <a:gd name="connsiteX13" fmla="*/ 96112 w 121061"/>
                  <a:gd name="connsiteY13" fmla="*/ 36190 h 119491"/>
                  <a:gd name="connsiteX14" fmla="*/ 106025 w 121061"/>
                  <a:gd name="connsiteY14" fmla="*/ 55081 h 119491"/>
                  <a:gd name="connsiteX15" fmla="*/ 93138 w 121061"/>
                  <a:gd name="connsiteY15" fmla="*/ 110513 h 119491"/>
                  <a:gd name="connsiteX16" fmla="*/ 98610 w 121061"/>
                  <a:gd name="connsiteY16" fmla="*/ 119300 h 119491"/>
                  <a:gd name="connsiteX17" fmla="*/ 100268 w 121061"/>
                  <a:gd name="connsiteY17" fmla="*/ 119491 h 119491"/>
                  <a:gd name="connsiteX18" fmla="*/ 107397 w 121061"/>
                  <a:gd name="connsiteY18" fmla="*/ 113829 h 119491"/>
                  <a:gd name="connsiteX19" fmla="*/ 120283 w 121061"/>
                  <a:gd name="connsiteY19" fmla="*/ 58398 h 119491"/>
                  <a:gd name="connsiteX20" fmla="*/ 101507 w 121061"/>
                  <a:gd name="connsiteY20" fmla="*/ 22580 h 119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061" h="119491">
                    <a:moveTo>
                      <a:pt x="101508" y="22580"/>
                    </a:moveTo>
                    <a:lnTo>
                      <a:pt x="48970" y="1764"/>
                    </a:lnTo>
                    <a:cubicBezTo>
                      <a:pt x="42679" y="-714"/>
                      <a:pt x="35645" y="-581"/>
                      <a:pt x="29469" y="2164"/>
                    </a:cubicBezTo>
                    <a:cubicBezTo>
                      <a:pt x="23293" y="4909"/>
                      <a:pt x="18470" y="10018"/>
                      <a:pt x="16106" y="16346"/>
                    </a:cubicBezTo>
                    <a:lnTo>
                      <a:pt x="494" y="57959"/>
                    </a:lnTo>
                    <a:lnTo>
                      <a:pt x="475" y="57959"/>
                    </a:lnTo>
                    <a:cubicBezTo>
                      <a:pt x="-211" y="59770"/>
                      <a:pt x="-154" y="61810"/>
                      <a:pt x="647" y="63582"/>
                    </a:cubicBezTo>
                    <a:cubicBezTo>
                      <a:pt x="1447" y="65374"/>
                      <a:pt x="2915" y="66747"/>
                      <a:pt x="4745" y="67433"/>
                    </a:cubicBezTo>
                    <a:cubicBezTo>
                      <a:pt x="6575" y="68119"/>
                      <a:pt x="8595" y="68043"/>
                      <a:pt x="10368" y="67242"/>
                    </a:cubicBezTo>
                    <a:cubicBezTo>
                      <a:pt x="12141" y="66423"/>
                      <a:pt x="13513" y="64936"/>
                      <a:pt x="14199" y="63087"/>
                    </a:cubicBezTo>
                    <a:lnTo>
                      <a:pt x="29812" y="21474"/>
                    </a:lnTo>
                    <a:cubicBezTo>
                      <a:pt x="30803" y="18824"/>
                      <a:pt x="32823" y="16689"/>
                      <a:pt x="35416" y="15546"/>
                    </a:cubicBezTo>
                    <a:cubicBezTo>
                      <a:pt x="38008" y="14402"/>
                      <a:pt x="40944" y="14326"/>
                      <a:pt x="43575" y="15374"/>
                    </a:cubicBezTo>
                    <a:lnTo>
                      <a:pt x="96112" y="36190"/>
                    </a:lnTo>
                    <a:cubicBezTo>
                      <a:pt x="103623" y="39202"/>
                      <a:pt x="107817" y="47208"/>
                      <a:pt x="106025" y="55081"/>
                    </a:cubicBezTo>
                    <a:lnTo>
                      <a:pt x="93138" y="110513"/>
                    </a:lnTo>
                    <a:cubicBezTo>
                      <a:pt x="92223" y="114458"/>
                      <a:pt x="94663" y="118385"/>
                      <a:pt x="98610" y="119300"/>
                    </a:cubicBezTo>
                    <a:cubicBezTo>
                      <a:pt x="99143" y="119434"/>
                      <a:pt x="99715" y="119491"/>
                      <a:pt x="100268" y="119491"/>
                    </a:cubicBezTo>
                    <a:cubicBezTo>
                      <a:pt x="103661" y="119491"/>
                      <a:pt x="106616" y="117146"/>
                      <a:pt x="107397" y="113829"/>
                    </a:cubicBezTo>
                    <a:lnTo>
                      <a:pt x="120283" y="58398"/>
                    </a:lnTo>
                    <a:cubicBezTo>
                      <a:pt x="123676" y="43472"/>
                      <a:pt x="115708" y="28279"/>
                      <a:pt x="101507" y="22580"/>
                    </a:cubicBezTo>
                    <a:close/>
                  </a:path>
                </a:pathLst>
              </a:custGeom>
              <a:grpFill/>
              <a:ln w="48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38" name="Freeform: Shape 37">
                <a:extLst>
                  <a:ext uri="{FF2B5EF4-FFF2-40B4-BE49-F238E27FC236}">
                    <a16:creationId xmlns:a16="http://schemas.microsoft.com/office/drawing/2014/main" id="{8CB3AAD0-1EE5-57A1-FA83-6984683F8DCD}"/>
                  </a:ext>
                </a:extLst>
              </p:cNvPr>
              <p:cNvSpPr/>
              <p:nvPr/>
            </p:nvSpPr>
            <p:spPr>
              <a:xfrm>
                <a:off x="8411401" y="5207233"/>
                <a:ext cx="57530" cy="14639"/>
              </a:xfrm>
              <a:custGeom>
                <a:avLst/>
                <a:gdLst>
                  <a:gd name="connsiteX0" fmla="*/ 7320 w 57530"/>
                  <a:gd name="connsiteY0" fmla="*/ 14640 h 14639"/>
                  <a:gd name="connsiteX1" fmla="*/ 50211 w 57530"/>
                  <a:gd name="connsiteY1" fmla="*/ 14640 h 14639"/>
                  <a:gd name="connsiteX2" fmla="*/ 57531 w 57530"/>
                  <a:gd name="connsiteY2" fmla="*/ 7320 h 14639"/>
                  <a:gd name="connsiteX3" fmla="*/ 50211 w 57530"/>
                  <a:gd name="connsiteY3" fmla="*/ 0 h 14639"/>
                  <a:gd name="connsiteX4" fmla="*/ 7320 w 57530"/>
                  <a:gd name="connsiteY4" fmla="*/ 0 h 14639"/>
                  <a:gd name="connsiteX5" fmla="*/ 0 w 57530"/>
                  <a:gd name="connsiteY5" fmla="*/ 7320 h 14639"/>
                  <a:gd name="connsiteX6" fmla="*/ 7320 w 57530"/>
                  <a:gd name="connsiteY6" fmla="*/ 14640 h 14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30" h="14639">
                    <a:moveTo>
                      <a:pt x="7320" y="14640"/>
                    </a:moveTo>
                    <a:lnTo>
                      <a:pt x="50211" y="14640"/>
                    </a:lnTo>
                    <a:cubicBezTo>
                      <a:pt x="54252" y="14640"/>
                      <a:pt x="57531" y="11361"/>
                      <a:pt x="57531" y="7320"/>
                    </a:cubicBezTo>
                    <a:cubicBezTo>
                      <a:pt x="57531" y="3279"/>
                      <a:pt x="54252" y="0"/>
                      <a:pt x="50211" y="0"/>
                    </a:cubicBezTo>
                    <a:lnTo>
                      <a:pt x="7320" y="0"/>
                    </a:lnTo>
                    <a:cubicBezTo>
                      <a:pt x="3260" y="0"/>
                      <a:pt x="0" y="3279"/>
                      <a:pt x="0" y="7320"/>
                    </a:cubicBezTo>
                    <a:cubicBezTo>
                      <a:pt x="0" y="11361"/>
                      <a:pt x="3260" y="14640"/>
                      <a:pt x="7320" y="14640"/>
                    </a:cubicBezTo>
                    <a:close/>
                  </a:path>
                </a:pathLst>
              </a:custGeom>
              <a:grpFill/>
              <a:ln w="48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39" name="Freeform: Shape 38">
                <a:extLst>
                  <a:ext uri="{FF2B5EF4-FFF2-40B4-BE49-F238E27FC236}">
                    <a16:creationId xmlns:a16="http://schemas.microsoft.com/office/drawing/2014/main" id="{155A6926-2870-F1CE-9840-71DEA5EF40D3}"/>
                  </a:ext>
                </a:extLst>
              </p:cNvPr>
              <p:cNvSpPr/>
              <p:nvPr/>
            </p:nvSpPr>
            <p:spPr>
              <a:xfrm>
                <a:off x="8413913" y="5157077"/>
                <a:ext cx="52829" cy="33385"/>
              </a:xfrm>
              <a:custGeom>
                <a:avLst/>
                <a:gdLst>
                  <a:gd name="connsiteX0" fmla="*/ 3778 w 52829"/>
                  <a:gd name="connsiteY0" fmla="*/ 13732 h 33385"/>
                  <a:gd name="connsiteX1" fmla="*/ 42284 w 52829"/>
                  <a:gd name="connsiteY1" fmla="*/ 32642 h 33385"/>
                  <a:gd name="connsiteX2" fmla="*/ 52082 w 52829"/>
                  <a:gd name="connsiteY2" fmla="*/ 29287 h 33385"/>
                  <a:gd name="connsiteX3" fmla="*/ 48727 w 52829"/>
                  <a:gd name="connsiteY3" fmla="*/ 19489 h 33385"/>
                  <a:gd name="connsiteX4" fmla="*/ 10202 w 52829"/>
                  <a:gd name="connsiteY4" fmla="*/ 617 h 33385"/>
                  <a:gd name="connsiteX5" fmla="*/ 10202 w 52829"/>
                  <a:gd name="connsiteY5" fmla="*/ 598 h 33385"/>
                  <a:gd name="connsiteX6" fmla="*/ 747 w 52829"/>
                  <a:gd name="connsiteY6" fmla="*/ 4105 h 33385"/>
                  <a:gd name="connsiteX7" fmla="*/ 3778 w 52829"/>
                  <a:gd name="connsiteY7" fmla="*/ 13732 h 3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829" h="33385">
                    <a:moveTo>
                      <a:pt x="3778" y="13732"/>
                    </a:moveTo>
                    <a:lnTo>
                      <a:pt x="42284" y="32642"/>
                    </a:lnTo>
                    <a:cubicBezTo>
                      <a:pt x="45925" y="34415"/>
                      <a:pt x="50309" y="32909"/>
                      <a:pt x="52082" y="29287"/>
                    </a:cubicBezTo>
                    <a:cubicBezTo>
                      <a:pt x="53855" y="25646"/>
                      <a:pt x="52368" y="21262"/>
                      <a:pt x="48727" y="19489"/>
                    </a:cubicBezTo>
                    <a:lnTo>
                      <a:pt x="10202" y="617"/>
                    </a:lnTo>
                    <a:lnTo>
                      <a:pt x="10202" y="598"/>
                    </a:lnTo>
                    <a:cubicBezTo>
                      <a:pt x="6618" y="-946"/>
                      <a:pt x="2463" y="598"/>
                      <a:pt x="747" y="4105"/>
                    </a:cubicBezTo>
                    <a:cubicBezTo>
                      <a:pt x="-969" y="7613"/>
                      <a:pt x="366" y="11844"/>
                      <a:pt x="3778" y="13732"/>
                    </a:cubicBezTo>
                    <a:close/>
                  </a:path>
                </a:pathLst>
              </a:custGeom>
              <a:grpFill/>
              <a:ln w="48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40" name="Freeform: Shape 39">
                <a:extLst>
                  <a:ext uri="{FF2B5EF4-FFF2-40B4-BE49-F238E27FC236}">
                    <a16:creationId xmlns:a16="http://schemas.microsoft.com/office/drawing/2014/main" id="{581D0925-6322-8CD9-B46D-C751EB0F6A23}"/>
                  </a:ext>
                </a:extLst>
              </p:cNvPr>
              <p:cNvSpPr/>
              <p:nvPr/>
            </p:nvSpPr>
            <p:spPr>
              <a:xfrm>
                <a:off x="8412479" y="5243645"/>
                <a:ext cx="55309" cy="28557"/>
              </a:xfrm>
              <a:custGeom>
                <a:avLst/>
                <a:gdLst>
                  <a:gd name="connsiteX0" fmla="*/ 9770 w 55309"/>
                  <a:gd name="connsiteY0" fmla="*/ 28135 h 28557"/>
                  <a:gd name="connsiteX1" fmla="*/ 50354 w 55309"/>
                  <a:gd name="connsiteY1" fmla="*/ 14238 h 28557"/>
                  <a:gd name="connsiteX2" fmla="*/ 50354 w 55309"/>
                  <a:gd name="connsiteY2" fmla="*/ 14258 h 28557"/>
                  <a:gd name="connsiteX3" fmla="*/ 54910 w 55309"/>
                  <a:gd name="connsiteY3" fmla="*/ 4955 h 28557"/>
                  <a:gd name="connsiteX4" fmla="*/ 45608 w 55309"/>
                  <a:gd name="connsiteY4" fmla="*/ 399 h 28557"/>
                  <a:gd name="connsiteX5" fmla="*/ 5024 w 55309"/>
                  <a:gd name="connsiteY5" fmla="*/ 14296 h 28557"/>
                  <a:gd name="connsiteX6" fmla="*/ 754 w 55309"/>
                  <a:gd name="connsiteY6" fmla="*/ 17994 h 28557"/>
                  <a:gd name="connsiteX7" fmla="*/ 392 w 55309"/>
                  <a:gd name="connsiteY7" fmla="*/ 23617 h 28557"/>
                  <a:gd name="connsiteX8" fmla="*/ 4128 w 55309"/>
                  <a:gd name="connsiteY8" fmla="*/ 27830 h 28557"/>
                  <a:gd name="connsiteX9" fmla="*/ 9770 w 55309"/>
                  <a:gd name="connsiteY9" fmla="*/ 28135 h 28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309" h="28557">
                    <a:moveTo>
                      <a:pt x="9770" y="28135"/>
                    </a:moveTo>
                    <a:lnTo>
                      <a:pt x="50354" y="14238"/>
                    </a:lnTo>
                    <a:lnTo>
                      <a:pt x="50354" y="14258"/>
                    </a:lnTo>
                    <a:cubicBezTo>
                      <a:pt x="54186" y="12942"/>
                      <a:pt x="56225" y="8787"/>
                      <a:pt x="54910" y="4955"/>
                    </a:cubicBezTo>
                    <a:cubicBezTo>
                      <a:pt x="53595" y="1124"/>
                      <a:pt x="49439" y="-916"/>
                      <a:pt x="45608" y="399"/>
                    </a:cubicBezTo>
                    <a:lnTo>
                      <a:pt x="5024" y="14296"/>
                    </a:lnTo>
                    <a:cubicBezTo>
                      <a:pt x="3156" y="14906"/>
                      <a:pt x="1631" y="16241"/>
                      <a:pt x="754" y="17994"/>
                    </a:cubicBezTo>
                    <a:cubicBezTo>
                      <a:pt x="-104" y="19729"/>
                      <a:pt x="-237" y="21769"/>
                      <a:pt x="392" y="23617"/>
                    </a:cubicBezTo>
                    <a:cubicBezTo>
                      <a:pt x="1021" y="25466"/>
                      <a:pt x="2374" y="26972"/>
                      <a:pt x="4128" y="27830"/>
                    </a:cubicBezTo>
                    <a:cubicBezTo>
                      <a:pt x="5901" y="28688"/>
                      <a:pt x="7921" y="28783"/>
                      <a:pt x="9770" y="28135"/>
                    </a:cubicBezTo>
                    <a:close/>
                  </a:path>
                </a:pathLst>
              </a:custGeom>
              <a:grpFill/>
              <a:ln w="48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60" name="Group 59">
              <a:extLst>
                <a:ext uri="{FF2B5EF4-FFF2-40B4-BE49-F238E27FC236}">
                  <a16:creationId xmlns:a16="http://schemas.microsoft.com/office/drawing/2014/main" id="{B0BC192F-969F-CE90-39A3-3B3EECF1CEEC}"/>
                </a:ext>
              </a:extLst>
            </p:cNvPr>
            <p:cNvGrpSpPr/>
            <p:nvPr/>
          </p:nvGrpSpPr>
          <p:grpSpPr>
            <a:xfrm>
              <a:off x="6686739" y="3429000"/>
              <a:ext cx="760561" cy="1377691"/>
              <a:chOff x="6599654" y="3429000"/>
              <a:chExt cx="760561" cy="1377691"/>
            </a:xfrm>
          </p:grpSpPr>
          <p:sp>
            <p:nvSpPr>
              <p:cNvPr id="82" name="TextBox 81">
                <a:extLst>
                  <a:ext uri="{FF2B5EF4-FFF2-40B4-BE49-F238E27FC236}">
                    <a16:creationId xmlns:a16="http://schemas.microsoft.com/office/drawing/2014/main" id="{966A6F23-A9F1-16C8-5409-DD52F80A94AC}"/>
                  </a:ext>
                </a:extLst>
              </p:cNvPr>
              <p:cNvSpPr txBox="1"/>
              <p:nvPr/>
            </p:nvSpPr>
            <p:spPr>
              <a:xfrm>
                <a:off x="6599654" y="4601903"/>
                <a:ext cx="760561" cy="204788"/>
              </a:xfrm>
              <a:prstGeom prst="rect">
                <a:avLst/>
              </a:prstGeom>
              <a:noFill/>
            </p:spPr>
            <p:txBody>
              <a:bodyPr wrap="none" lIns="0" tIns="0" rIns="0" bIns="0">
                <a:noAutofit/>
              </a:bodyPr>
              <a:lstStyle/>
              <a:p>
                <a:pPr lvl="0" algn="ctr">
                  <a:defRPr/>
                </a:pPr>
                <a:r>
                  <a:rPr lang="en-US" sz="1300" b="1" err="1">
                    <a:solidFill>
                      <a:srgbClr val="353B3E"/>
                    </a:solidFill>
                  </a:rPr>
                  <a:t>Diyabet</a:t>
                </a:r>
                <a:endParaRPr kumimoji="0" lang="en-US" sz="1300" b="1"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67" name="Rectangle 66">
                <a:extLst>
                  <a:ext uri="{FF2B5EF4-FFF2-40B4-BE49-F238E27FC236}">
                    <a16:creationId xmlns:a16="http://schemas.microsoft.com/office/drawing/2014/main" id="{21E7BC67-5AD3-4DC3-5ADE-C8AF52A01F49}"/>
                  </a:ext>
                </a:extLst>
              </p:cNvPr>
              <p:cNvSpPr/>
              <p:nvPr/>
            </p:nvSpPr>
            <p:spPr>
              <a:xfrm>
                <a:off x="6998641" y="3622539"/>
                <a:ext cx="284362" cy="942087"/>
              </a:xfrm>
              <a:prstGeom prst="rect">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4" name="Rectangle 73">
                <a:extLst>
                  <a:ext uri="{FF2B5EF4-FFF2-40B4-BE49-F238E27FC236}">
                    <a16:creationId xmlns:a16="http://schemas.microsoft.com/office/drawing/2014/main" id="{AB340557-CED1-FF2E-0C49-3E66BA8FF428}"/>
                  </a:ext>
                </a:extLst>
              </p:cNvPr>
              <p:cNvSpPr/>
              <p:nvPr/>
            </p:nvSpPr>
            <p:spPr>
              <a:xfrm>
                <a:off x="6677033" y="4092803"/>
                <a:ext cx="284362" cy="471823"/>
              </a:xfrm>
              <a:prstGeom prst="rect">
                <a:avLst/>
              </a:prstGeom>
              <a:solidFill>
                <a:srgbClr val="009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9CC26683-B33B-B569-5882-F200AEE84BD8}"/>
                  </a:ext>
                </a:extLst>
              </p:cNvPr>
              <p:cNvSpPr txBox="1"/>
              <p:nvPr/>
            </p:nvSpPr>
            <p:spPr>
              <a:xfrm>
                <a:off x="6682054" y="4314276"/>
                <a:ext cx="274320" cy="222800"/>
              </a:xfrm>
              <a:prstGeom prst="rect">
                <a:avLst/>
              </a:prstGeom>
              <a:noFill/>
            </p:spPr>
            <p:txBody>
              <a:bodyPr wrap="square" lIns="0" tIns="0" rIns="0" bIns="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a:ea typeface="+mn-ea"/>
                    <a:cs typeface="+mn-cs"/>
                  </a:rPr>
                  <a:t>3×</a:t>
                </a:r>
              </a:p>
            </p:txBody>
          </p:sp>
          <p:sp>
            <p:nvSpPr>
              <p:cNvPr id="9" name="TextBox 8">
                <a:extLst>
                  <a:ext uri="{FF2B5EF4-FFF2-40B4-BE49-F238E27FC236}">
                    <a16:creationId xmlns:a16="http://schemas.microsoft.com/office/drawing/2014/main" id="{E05ECCAB-9AB0-6D98-04DB-2D2DBAF117D8}"/>
                  </a:ext>
                </a:extLst>
              </p:cNvPr>
              <p:cNvSpPr txBox="1"/>
              <p:nvPr/>
            </p:nvSpPr>
            <p:spPr>
              <a:xfrm>
                <a:off x="7003662" y="4314276"/>
                <a:ext cx="274320" cy="222800"/>
              </a:xfrm>
              <a:prstGeom prst="rect">
                <a:avLst/>
              </a:prstGeom>
              <a:noFill/>
            </p:spPr>
            <p:txBody>
              <a:bodyPr wrap="square" lIns="0" tIns="0" rIns="0" bIns="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a:ea typeface="+mn-ea"/>
                    <a:cs typeface="+mn-cs"/>
                  </a:rPr>
                  <a:t>3×</a:t>
                </a:r>
              </a:p>
            </p:txBody>
          </p:sp>
          <p:sp>
            <p:nvSpPr>
              <p:cNvPr id="100" name="TextBox 99">
                <a:extLst>
                  <a:ext uri="{FF2B5EF4-FFF2-40B4-BE49-F238E27FC236}">
                    <a16:creationId xmlns:a16="http://schemas.microsoft.com/office/drawing/2014/main" id="{E3BC1D39-CE00-34DD-6D26-3B3CE3E09467}"/>
                  </a:ext>
                </a:extLst>
              </p:cNvPr>
              <p:cNvSpPr txBox="1"/>
              <p:nvPr/>
            </p:nvSpPr>
            <p:spPr>
              <a:xfrm>
                <a:off x="6681726" y="3920255"/>
                <a:ext cx="270266" cy="150662"/>
              </a:xfrm>
              <a:prstGeom prst="rect">
                <a:avLst/>
              </a:prstGeom>
              <a:no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575</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 name="TextBox 100">
                <a:extLst>
                  <a:ext uri="{FF2B5EF4-FFF2-40B4-BE49-F238E27FC236}">
                    <a16:creationId xmlns:a16="http://schemas.microsoft.com/office/drawing/2014/main" id="{58ACAE12-B5D9-3423-2AF5-F17C67E7ACDB}"/>
                  </a:ext>
                </a:extLst>
              </p:cNvPr>
              <p:cNvSpPr txBox="1"/>
              <p:nvPr/>
            </p:nvSpPr>
            <p:spPr>
              <a:xfrm>
                <a:off x="7005690" y="3429000"/>
                <a:ext cx="270266" cy="150662"/>
              </a:xfrm>
              <a:prstGeom prst="rect">
                <a:avLst/>
              </a:prstGeom>
              <a:no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180</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48" name="Graphic 23">
              <a:extLst>
                <a:ext uri="{FF2B5EF4-FFF2-40B4-BE49-F238E27FC236}">
                  <a16:creationId xmlns:a16="http://schemas.microsoft.com/office/drawing/2014/main" id="{ADF9A37A-9974-1FDF-5B1E-1B3D28535A2C}"/>
                </a:ext>
              </a:extLst>
            </p:cNvPr>
            <p:cNvSpPr/>
            <p:nvPr/>
          </p:nvSpPr>
          <p:spPr>
            <a:xfrm>
              <a:off x="6969332" y="4844319"/>
              <a:ext cx="247204" cy="377784"/>
            </a:xfrm>
            <a:custGeom>
              <a:avLst/>
              <a:gdLst>
                <a:gd name="connsiteX0" fmla="*/ 319096 w 343237"/>
                <a:gd name="connsiteY0" fmla="*/ 279408 h 524548"/>
                <a:gd name="connsiteX1" fmla="*/ 319096 w 343237"/>
                <a:gd name="connsiteY1" fmla="*/ 345324 h 524548"/>
                <a:gd name="connsiteX2" fmla="*/ 306289 w 343237"/>
                <a:gd name="connsiteY2" fmla="*/ 376229 h 524548"/>
                <a:gd name="connsiteX3" fmla="*/ 275384 w 343237"/>
                <a:gd name="connsiteY3" fmla="*/ 389037 h 524548"/>
                <a:gd name="connsiteX4" fmla="*/ 171566 w 343237"/>
                <a:gd name="connsiteY4" fmla="*/ 389037 h 524548"/>
                <a:gd name="connsiteX5" fmla="*/ 162823 w 343237"/>
                <a:gd name="connsiteY5" fmla="*/ 380294 h 524548"/>
                <a:gd name="connsiteX6" fmla="*/ 171566 w 343237"/>
                <a:gd name="connsiteY6" fmla="*/ 371552 h 524548"/>
                <a:gd name="connsiteX7" fmla="*/ 275384 w 343237"/>
                <a:gd name="connsiteY7" fmla="*/ 371552 h 524548"/>
                <a:gd name="connsiteX8" fmla="*/ 301612 w 343237"/>
                <a:gd name="connsiteY8" fmla="*/ 345324 h 524548"/>
                <a:gd name="connsiteX9" fmla="*/ 301612 w 343237"/>
                <a:gd name="connsiteY9" fmla="*/ 279408 h 524548"/>
                <a:gd name="connsiteX10" fmla="*/ 310354 w 343237"/>
                <a:gd name="connsiteY10" fmla="*/ 270665 h 524548"/>
                <a:gd name="connsiteX11" fmla="*/ 319096 w 343237"/>
                <a:gd name="connsiteY11" fmla="*/ 279408 h 524548"/>
                <a:gd name="connsiteX12" fmla="*/ 196702 w 343237"/>
                <a:gd name="connsiteY12" fmla="*/ 414173 h 524548"/>
                <a:gd name="connsiteX13" fmla="*/ 187960 w 343237"/>
                <a:gd name="connsiteY13" fmla="*/ 422915 h 524548"/>
                <a:gd name="connsiteX14" fmla="*/ 182845 w 343237"/>
                <a:gd name="connsiteY14" fmla="*/ 435286 h 524548"/>
                <a:gd name="connsiteX15" fmla="*/ 170475 w 343237"/>
                <a:gd name="connsiteY15" fmla="*/ 440400 h 524548"/>
                <a:gd name="connsiteX16" fmla="*/ 148619 w 343237"/>
                <a:gd name="connsiteY16" fmla="*/ 440400 h 524548"/>
                <a:gd name="connsiteX17" fmla="*/ 131134 w 343237"/>
                <a:gd name="connsiteY17" fmla="*/ 422915 h 524548"/>
                <a:gd name="connsiteX18" fmla="*/ 131134 w 343237"/>
                <a:gd name="connsiteY18" fmla="*/ 380296 h 524548"/>
                <a:gd name="connsiteX19" fmla="*/ 128577 w 343237"/>
                <a:gd name="connsiteY19" fmla="*/ 374110 h 524548"/>
                <a:gd name="connsiteX20" fmla="*/ 122392 w 343237"/>
                <a:gd name="connsiteY20" fmla="*/ 371553 h 524548"/>
                <a:gd name="connsiteX21" fmla="*/ 43712 w 343237"/>
                <a:gd name="connsiteY21" fmla="*/ 371553 h 524548"/>
                <a:gd name="connsiteX22" fmla="*/ 17485 w 343237"/>
                <a:gd name="connsiteY22" fmla="*/ 345325 h 524548"/>
                <a:gd name="connsiteX23" fmla="*/ 17485 w 343237"/>
                <a:gd name="connsiteY23" fmla="*/ 43712 h 524548"/>
                <a:gd name="connsiteX24" fmla="*/ 43712 w 343237"/>
                <a:gd name="connsiteY24" fmla="*/ 17485 h 524548"/>
                <a:gd name="connsiteX25" fmla="*/ 275386 w 343237"/>
                <a:gd name="connsiteY25" fmla="*/ 17485 h 524548"/>
                <a:gd name="connsiteX26" fmla="*/ 301613 w 343237"/>
                <a:gd name="connsiteY26" fmla="*/ 43712 h 524548"/>
                <a:gd name="connsiteX27" fmla="*/ 301613 w 343237"/>
                <a:gd name="connsiteY27" fmla="*/ 70682 h 524548"/>
                <a:gd name="connsiteX28" fmla="*/ 310356 w 343237"/>
                <a:gd name="connsiteY28" fmla="*/ 79425 h 524548"/>
                <a:gd name="connsiteX29" fmla="*/ 319098 w 343237"/>
                <a:gd name="connsiteY29" fmla="*/ 70682 h 524548"/>
                <a:gd name="connsiteX30" fmla="*/ 319098 w 343237"/>
                <a:gd name="connsiteY30" fmla="*/ 43712 h 524548"/>
                <a:gd name="connsiteX31" fmla="*/ 306290 w 343237"/>
                <a:gd name="connsiteY31" fmla="*/ 12808 h 524548"/>
                <a:gd name="connsiteX32" fmla="*/ 275386 w 343237"/>
                <a:gd name="connsiteY32" fmla="*/ 0 h 524548"/>
                <a:gd name="connsiteX33" fmla="*/ 43712 w 343237"/>
                <a:gd name="connsiteY33" fmla="*/ 0 h 524548"/>
                <a:gd name="connsiteX34" fmla="*/ 0 w 343237"/>
                <a:gd name="connsiteY34" fmla="*/ 43712 h 524548"/>
                <a:gd name="connsiteX35" fmla="*/ 0 w 343237"/>
                <a:gd name="connsiteY35" fmla="*/ 345325 h 524548"/>
                <a:gd name="connsiteX36" fmla="*/ 12808 w 343237"/>
                <a:gd name="connsiteY36" fmla="*/ 376230 h 524548"/>
                <a:gd name="connsiteX37" fmla="*/ 43712 w 343237"/>
                <a:gd name="connsiteY37" fmla="*/ 389038 h 524548"/>
                <a:gd name="connsiteX38" fmla="*/ 113652 w 343237"/>
                <a:gd name="connsiteY38" fmla="*/ 389038 h 524548"/>
                <a:gd name="connsiteX39" fmla="*/ 113652 w 343237"/>
                <a:gd name="connsiteY39" fmla="*/ 422915 h 524548"/>
                <a:gd name="connsiteX40" fmla="*/ 123902 w 343237"/>
                <a:gd name="connsiteY40" fmla="*/ 447634 h 524548"/>
                <a:gd name="connsiteX41" fmla="*/ 148622 w 343237"/>
                <a:gd name="connsiteY41" fmla="*/ 457885 h 524548"/>
                <a:gd name="connsiteX42" fmla="*/ 150807 w 343237"/>
                <a:gd name="connsiteY42" fmla="*/ 457885 h 524548"/>
                <a:gd name="connsiteX43" fmla="*/ 150807 w 343237"/>
                <a:gd name="connsiteY43" fmla="*/ 515806 h 524548"/>
                <a:gd name="connsiteX44" fmla="*/ 159550 w 343237"/>
                <a:gd name="connsiteY44" fmla="*/ 524548 h 524548"/>
                <a:gd name="connsiteX45" fmla="*/ 168292 w 343237"/>
                <a:gd name="connsiteY45" fmla="*/ 515806 h 524548"/>
                <a:gd name="connsiteX46" fmla="*/ 168292 w 343237"/>
                <a:gd name="connsiteY46" fmla="*/ 457885 h 524548"/>
                <a:gd name="connsiteX47" fmla="*/ 170478 w 343237"/>
                <a:gd name="connsiteY47" fmla="*/ 457885 h 524548"/>
                <a:gd name="connsiteX48" fmla="*/ 195198 w 343237"/>
                <a:gd name="connsiteY48" fmla="*/ 447634 h 524548"/>
                <a:gd name="connsiteX49" fmla="*/ 205447 w 343237"/>
                <a:gd name="connsiteY49" fmla="*/ 422915 h 524548"/>
                <a:gd name="connsiteX50" fmla="*/ 202890 w 343237"/>
                <a:gd name="connsiteY50" fmla="*/ 416729 h 524548"/>
                <a:gd name="connsiteX51" fmla="*/ 196705 w 343237"/>
                <a:gd name="connsiteY51" fmla="*/ 414172 h 524548"/>
                <a:gd name="connsiteX52" fmla="*/ 80865 w 343237"/>
                <a:gd name="connsiteY52" fmla="*/ 60105 h 524548"/>
                <a:gd name="connsiteX53" fmla="*/ 238229 w 343237"/>
                <a:gd name="connsiteY53" fmla="*/ 60105 h 524548"/>
                <a:gd name="connsiteX54" fmla="*/ 250600 w 343237"/>
                <a:gd name="connsiteY54" fmla="*/ 65219 h 524548"/>
                <a:gd name="connsiteX55" fmla="*/ 255714 w 343237"/>
                <a:gd name="connsiteY55" fmla="*/ 77590 h 524548"/>
                <a:gd name="connsiteX56" fmla="*/ 264457 w 343237"/>
                <a:gd name="connsiteY56" fmla="*/ 86332 h 524548"/>
                <a:gd name="connsiteX57" fmla="*/ 273199 w 343237"/>
                <a:gd name="connsiteY57" fmla="*/ 77590 h 524548"/>
                <a:gd name="connsiteX58" fmla="*/ 262949 w 343237"/>
                <a:gd name="connsiteY58" fmla="*/ 52870 h 524548"/>
                <a:gd name="connsiteX59" fmla="*/ 238229 w 343237"/>
                <a:gd name="connsiteY59" fmla="*/ 42620 h 524548"/>
                <a:gd name="connsiteX60" fmla="*/ 80865 w 343237"/>
                <a:gd name="connsiteY60" fmla="*/ 42620 h 524548"/>
                <a:gd name="connsiteX61" fmla="*/ 45896 w 343237"/>
                <a:gd name="connsiteY61" fmla="*/ 77590 h 524548"/>
                <a:gd name="connsiteX62" fmla="*/ 45896 w 343237"/>
                <a:gd name="connsiteY62" fmla="*/ 194518 h 524548"/>
                <a:gd name="connsiteX63" fmla="*/ 56146 w 343237"/>
                <a:gd name="connsiteY63" fmla="*/ 219237 h 524548"/>
                <a:gd name="connsiteX64" fmla="*/ 80865 w 343237"/>
                <a:gd name="connsiteY64" fmla="*/ 229487 h 524548"/>
                <a:gd name="connsiteX65" fmla="*/ 195259 w 343237"/>
                <a:gd name="connsiteY65" fmla="*/ 229487 h 524548"/>
                <a:gd name="connsiteX66" fmla="*/ 204001 w 343237"/>
                <a:gd name="connsiteY66" fmla="*/ 220745 h 524548"/>
                <a:gd name="connsiteX67" fmla="*/ 195259 w 343237"/>
                <a:gd name="connsiteY67" fmla="*/ 212003 h 524548"/>
                <a:gd name="connsiteX68" fmla="*/ 80865 w 343237"/>
                <a:gd name="connsiteY68" fmla="*/ 212003 h 524548"/>
                <a:gd name="connsiteX69" fmla="*/ 63380 w 343237"/>
                <a:gd name="connsiteY69" fmla="*/ 194518 h 524548"/>
                <a:gd name="connsiteX70" fmla="*/ 63380 w 343237"/>
                <a:gd name="connsiteY70" fmla="*/ 77590 h 524548"/>
                <a:gd name="connsiteX71" fmla="*/ 80865 w 343237"/>
                <a:gd name="connsiteY71" fmla="*/ 60105 h 524548"/>
                <a:gd name="connsiteX72" fmla="*/ 142065 w 343237"/>
                <a:gd name="connsiteY72" fmla="*/ 281942 h 524548"/>
                <a:gd name="connsiteX73" fmla="*/ 177035 w 343237"/>
                <a:gd name="connsiteY73" fmla="*/ 281942 h 524548"/>
                <a:gd name="connsiteX74" fmla="*/ 189405 w 343237"/>
                <a:gd name="connsiteY74" fmla="*/ 287057 h 524548"/>
                <a:gd name="connsiteX75" fmla="*/ 194520 w 343237"/>
                <a:gd name="connsiteY75" fmla="*/ 299427 h 524548"/>
                <a:gd name="connsiteX76" fmla="*/ 203262 w 343237"/>
                <a:gd name="connsiteY76" fmla="*/ 308169 h 524548"/>
                <a:gd name="connsiteX77" fmla="*/ 212005 w 343237"/>
                <a:gd name="connsiteY77" fmla="*/ 299427 h 524548"/>
                <a:gd name="connsiteX78" fmla="*/ 201755 w 343237"/>
                <a:gd name="connsiteY78" fmla="*/ 274708 h 524548"/>
                <a:gd name="connsiteX79" fmla="*/ 177035 w 343237"/>
                <a:gd name="connsiteY79" fmla="*/ 264457 h 524548"/>
                <a:gd name="connsiteX80" fmla="*/ 142065 w 343237"/>
                <a:gd name="connsiteY80" fmla="*/ 264457 h 524548"/>
                <a:gd name="connsiteX81" fmla="*/ 107095 w 343237"/>
                <a:gd name="connsiteY81" fmla="*/ 299427 h 524548"/>
                <a:gd name="connsiteX82" fmla="*/ 142065 w 343237"/>
                <a:gd name="connsiteY82" fmla="*/ 334397 h 524548"/>
                <a:gd name="connsiteX83" fmla="*/ 177035 w 343237"/>
                <a:gd name="connsiteY83" fmla="*/ 334397 h 524548"/>
                <a:gd name="connsiteX84" fmla="*/ 185778 w 343237"/>
                <a:gd name="connsiteY84" fmla="*/ 325654 h 524548"/>
                <a:gd name="connsiteX85" fmla="*/ 177035 w 343237"/>
                <a:gd name="connsiteY85" fmla="*/ 316912 h 524548"/>
                <a:gd name="connsiteX86" fmla="*/ 142065 w 343237"/>
                <a:gd name="connsiteY86" fmla="*/ 316912 h 524548"/>
                <a:gd name="connsiteX87" fmla="*/ 124580 w 343237"/>
                <a:gd name="connsiteY87" fmla="*/ 299427 h 524548"/>
                <a:gd name="connsiteX88" fmla="*/ 142065 w 343237"/>
                <a:gd name="connsiteY88" fmla="*/ 281942 h 524548"/>
                <a:gd name="connsiteX89" fmla="*/ 280853 w 343237"/>
                <a:gd name="connsiteY89" fmla="*/ 251343 h 524548"/>
                <a:gd name="connsiteX90" fmla="*/ 229688 w 343237"/>
                <a:gd name="connsiteY90" fmla="*/ 153624 h 524548"/>
                <a:gd name="connsiteX91" fmla="*/ 253533 w 343237"/>
                <a:gd name="connsiteY91" fmla="*/ 119266 h 524548"/>
                <a:gd name="connsiteX92" fmla="*/ 280897 w 343237"/>
                <a:gd name="connsiteY92" fmla="*/ 104950 h 524548"/>
                <a:gd name="connsiteX93" fmla="*/ 308261 w 343237"/>
                <a:gd name="connsiteY93" fmla="*/ 119266 h 524548"/>
                <a:gd name="connsiteX94" fmla="*/ 332062 w 343237"/>
                <a:gd name="connsiteY94" fmla="*/ 153580 h 524548"/>
                <a:gd name="connsiteX95" fmla="*/ 280853 w 343237"/>
                <a:gd name="connsiteY95" fmla="*/ 251344 h 524548"/>
                <a:gd name="connsiteX96" fmla="*/ 317659 w 343237"/>
                <a:gd name="connsiteY96" fmla="*/ 163589 h 524548"/>
                <a:gd name="connsiteX97" fmla="*/ 293858 w 343237"/>
                <a:gd name="connsiteY97" fmla="*/ 129275 h 524548"/>
                <a:gd name="connsiteX98" fmla="*/ 293836 w 343237"/>
                <a:gd name="connsiteY98" fmla="*/ 129253 h 524548"/>
                <a:gd name="connsiteX99" fmla="*/ 280853 w 343237"/>
                <a:gd name="connsiteY99" fmla="*/ 122456 h 524548"/>
                <a:gd name="connsiteX100" fmla="*/ 267871 w 343237"/>
                <a:gd name="connsiteY100" fmla="*/ 129253 h 524548"/>
                <a:gd name="connsiteX101" fmla="*/ 244070 w 343237"/>
                <a:gd name="connsiteY101" fmla="*/ 163567 h 524548"/>
                <a:gd name="connsiteX102" fmla="*/ 244070 w 343237"/>
                <a:gd name="connsiteY102" fmla="*/ 163589 h 524548"/>
                <a:gd name="connsiteX103" fmla="*/ 241141 w 343237"/>
                <a:gd name="connsiteY103" fmla="*/ 209923 h 524548"/>
                <a:gd name="connsiteX104" fmla="*/ 280854 w 343237"/>
                <a:gd name="connsiteY104" fmla="*/ 233965 h 524548"/>
                <a:gd name="connsiteX105" fmla="*/ 320567 w 343237"/>
                <a:gd name="connsiteY105" fmla="*/ 209923 h 524548"/>
                <a:gd name="connsiteX106" fmla="*/ 317660 w 343237"/>
                <a:gd name="connsiteY106" fmla="*/ 163589 h 52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343237" h="524548">
                  <a:moveTo>
                    <a:pt x="319096" y="279408"/>
                  </a:moveTo>
                  <a:lnTo>
                    <a:pt x="319096" y="345324"/>
                  </a:lnTo>
                  <a:cubicBezTo>
                    <a:pt x="319096" y="356908"/>
                    <a:pt x="314485" y="368033"/>
                    <a:pt x="306289" y="376229"/>
                  </a:cubicBezTo>
                  <a:cubicBezTo>
                    <a:pt x="298093" y="384424"/>
                    <a:pt x="286968" y="389037"/>
                    <a:pt x="275384" y="389037"/>
                  </a:cubicBezTo>
                  <a:lnTo>
                    <a:pt x="171566" y="389037"/>
                  </a:lnTo>
                  <a:cubicBezTo>
                    <a:pt x="166736" y="389037"/>
                    <a:pt x="162823" y="385124"/>
                    <a:pt x="162823" y="380294"/>
                  </a:cubicBezTo>
                  <a:cubicBezTo>
                    <a:pt x="162823" y="375464"/>
                    <a:pt x="166736" y="371552"/>
                    <a:pt x="171566" y="371552"/>
                  </a:cubicBezTo>
                  <a:lnTo>
                    <a:pt x="275384" y="371552"/>
                  </a:lnTo>
                  <a:cubicBezTo>
                    <a:pt x="289875" y="371552"/>
                    <a:pt x="301612" y="359815"/>
                    <a:pt x="301612" y="345324"/>
                  </a:cubicBezTo>
                  <a:lnTo>
                    <a:pt x="301612" y="279408"/>
                  </a:lnTo>
                  <a:cubicBezTo>
                    <a:pt x="301612" y="274577"/>
                    <a:pt x="305524" y="270665"/>
                    <a:pt x="310354" y="270665"/>
                  </a:cubicBezTo>
                  <a:cubicBezTo>
                    <a:pt x="315184" y="270665"/>
                    <a:pt x="319096" y="274577"/>
                    <a:pt x="319096" y="279408"/>
                  </a:cubicBezTo>
                  <a:close/>
                  <a:moveTo>
                    <a:pt x="196702" y="414173"/>
                  </a:moveTo>
                  <a:cubicBezTo>
                    <a:pt x="191872" y="414173"/>
                    <a:pt x="187960" y="418085"/>
                    <a:pt x="187960" y="422915"/>
                  </a:cubicBezTo>
                  <a:cubicBezTo>
                    <a:pt x="187960" y="427549"/>
                    <a:pt x="186124" y="432007"/>
                    <a:pt x="182845" y="435286"/>
                  </a:cubicBezTo>
                  <a:cubicBezTo>
                    <a:pt x="179567" y="438564"/>
                    <a:pt x="175108" y="440400"/>
                    <a:pt x="170475" y="440400"/>
                  </a:cubicBezTo>
                  <a:lnTo>
                    <a:pt x="148619" y="440400"/>
                  </a:lnTo>
                  <a:cubicBezTo>
                    <a:pt x="138958" y="440400"/>
                    <a:pt x="131134" y="432576"/>
                    <a:pt x="131134" y="422915"/>
                  </a:cubicBezTo>
                  <a:lnTo>
                    <a:pt x="131134" y="380296"/>
                  </a:lnTo>
                  <a:cubicBezTo>
                    <a:pt x="131134" y="377979"/>
                    <a:pt x="130216" y="375750"/>
                    <a:pt x="128577" y="374110"/>
                  </a:cubicBezTo>
                  <a:cubicBezTo>
                    <a:pt x="126938" y="372471"/>
                    <a:pt x="124709" y="371553"/>
                    <a:pt x="122392" y="371553"/>
                  </a:cubicBezTo>
                  <a:lnTo>
                    <a:pt x="43712" y="371553"/>
                  </a:lnTo>
                  <a:cubicBezTo>
                    <a:pt x="29222" y="371553"/>
                    <a:pt x="17485" y="359816"/>
                    <a:pt x="17485" y="345325"/>
                  </a:cubicBezTo>
                  <a:lnTo>
                    <a:pt x="17485" y="43712"/>
                  </a:lnTo>
                  <a:cubicBezTo>
                    <a:pt x="17485" y="29222"/>
                    <a:pt x="29222" y="17485"/>
                    <a:pt x="43712" y="17485"/>
                  </a:cubicBezTo>
                  <a:lnTo>
                    <a:pt x="275386" y="17485"/>
                  </a:lnTo>
                  <a:cubicBezTo>
                    <a:pt x="289876" y="17485"/>
                    <a:pt x="301613" y="29222"/>
                    <a:pt x="301613" y="43712"/>
                  </a:cubicBezTo>
                  <a:lnTo>
                    <a:pt x="301613" y="70682"/>
                  </a:lnTo>
                  <a:cubicBezTo>
                    <a:pt x="301613" y="75491"/>
                    <a:pt x="305525" y="79425"/>
                    <a:pt x="310356" y="79425"/>
                  </a:cubicBezTo>
                  <a:cubicBezTo>
                    <a:pt x="315186" y="79425"/>
                    <a:pt x="319098" y="75491"/>
                    <a:pt x="319098" y="70682"/>
                  </a:cubicBezTo>
                  <a:lnTo>
                    <a:pt x="319098" y="43712"/>
                  </a:lnTo>
                  <a:cubicBezTo>
                    <a:pt x="319098" y="32129"/>
                    <a:pt x="314487" y="21004"/>
                    <a:pt x="306290" y="12808"/>
                  </a:cubicBezTo>
                  <a:cubicBezTo>
                    <a:pt x="298094" y="4612"/>
                    <a:pt x="286970" y="0"/>
                    <a:pt x="275386" y="0"/>
                  </a:cubicBezTo>
                  <a:lnTo>
                    <a:pt x="43712" y="0"/>
                  </a:lnTo>
                  <a:cubicBezTo>
                    <a:pt x="19561" y="0"/>
                    <a:pt x="0" y="19561"/>
                    <a:pt x="0" y="43712"/>
                  </a:cubicBezTo>
                  <a:lnTo>
                    <a:pt x="0" y="345325"/>
                  </a:lnTo>
                  <a:cubicBezTo>
                    <a:pt x="0" y="356909"/>
                    <a:pt x="4612" y="368034"/>
                    <a:pt x="12808" y="376230"/>
                  </a:cubicBezTo>
                  <a:cubicBezTo>
                    <a:pt x="21004" y="384426"/>
                    <a:pt x="32129" y="389038"/>
                    <a:pt x="43712" y="389038"/>
                  </a:cubicBezTo>
                  <a:lnTo>
                    <a:pt x="113652" y="389038"/>
                  </a:lnTo>
                  <a:lnTo>
                    <a:pt x="113652" y="422915"/>
                  </a:lnTo>
                  <a:cubicBezTo>
                    <a:pt x="113652" y="432181"/>
                    <a:pt x="117346" y="441077"/>
                    <a:pt x="123902" y="447634"/>
                  </a:cubicBezTo>
                  <a:cubicBezTo>
                    <a:pt x="130459" y="454191"/>
                    <a:pt x="139354" y="457885"/>
                    <a:pt x="148622" y="457885"/>
                  </a:cubicBezTo>
                  <a:lnTo>
                    <a:pt x="150807" y="457885"/>
                  </a:lnTo>
                  <a:lnTo>
                    <a:pt x="150807" y="515806"/>
                  </a:lnTo>
                  <a:cubicBezTo>
                    <a:pt x="150807" y="520636"/>
                    <a:pt x="154719" y="524548"/>
                    <a:pt x="159550" y="524548"/>
                  </a:cubicBezTo>
                  <a:cubicBezTo>
                    <a:pt x="164380" y="524548"/>
                    <a:pt x="168292" y="520636"/>
                    <a:pt x="168292" y="515806"/>
                  </a:cubicBezTo>
                  <a:lnTo>
                    <a:pt x="168292" y="457885"/>
                  </a:lnTo>
                  <a:lnTo>
                    <a:pt x="170478" y="457885"/>
                  </a:lnTo>
                  <a:cubicBezTo>
                    <a:pt x="179744" y="457885"/>
                    <a:pt x="188640" y="454191"/>
                    <a:pt x="195198" y="447634"/>
                  </a:cubicBezTo>
                  <a:cubicBezTo>
                    <a:pt x="201754" y="441078"/>
                    <a:pt x="205447" y="432182"/>
                    <a:pt x="205447" y="422915"/>
                  </a:cubicBezTo>
                  <a:cubicBezTo>
                    <a:pt x="205447" y="420598"/>
                    <a:pt x="204530" y="418369"/>
                    <a:pt x="202890" y="416729"/>
                  </a:cubicBezTo>
                  <a:cubicBezTo>
                    <a:pt x="201251" y="415090"/>
                    <a:pt x="199022" y="414172"/>
                    <a:pt x="196705" y="414172"/>
                  </a:cubicBezTo>
                  <a:close/>
                  <a:moveTo>
                    <a:pt x="80865" y="60105"/>
                  </a:moveTo>
                  <a:lnTo>
                    <a:pt x="238229" y="60105"/>
                  </a:lnTo>
                  <a:cubicBezTo>
                    <a:pt x="242863" y="60105"/>
                    <a:pt x="247322" y="61941"/>
                    <a:pt x="250600" y="65219"/>
                  </a:cubicBezTo>
                  <a:cubicBezTo>
                    <a:pt x="253878" y="68498"/>
                    <a:pt x="255714" y="72956"/>
                    <a:pt x="255714" y="77590"/>
                  </a:cubicBezTo>
                  <a:cubicBezTo>
                    <a:pt x="255714" y="82419"/>
                    <a:pt x="259627" y="86332"/>
                    <a:pt x="264457" y="86332"/>
                  </a:cubicBezTo>
                  <a:cubicBezTo>
                    <a:pt x="269287" y="86332"/>
                    <a:pt x="273199" y="82419"/>
                    <a:pt x="273199" y="77590"/>
                  </a:cubicBezTo>
                  <a:cubicBezTo>
                    <a:pt x="273199" y="68323"/>
                    <a:pt x="269505" y="59427"/>
                    <a:pt x="262949" y="52870"/>
                  </a:cubicBezTo>
                  <a:cubicBezTo>
                    <a:pt x="256392" y="46313"/>
                    <a:pt x="247497" y="42620"/>
                    <a:pt x="238229" y="42620"/>
                  </a:cubicBezTo>
                  <a:lnTo>
                    <a:pt x="80865" y="42620"/>
                  </a:lnTo>
                  <a:cubicBezTo>
                    <a:pt x="61545" y="42620"/>
                    <a:pt x="45896" y="58269"/>
                    <a:pt x="45896" y="77590"/>
                  </a:cubicBezTo>
                  <a:lnTo>
                    <a:pt x="45896" y="194518"/>
                  </a:lnTo>
                  <a:cubicBezTo>
                    <a:pt x="45896" y="203784"/>
                    <a:pt x="49589" y="212680"/>
                    <a:pt x="56146" y="219237"/>
                  </a:cubicBezTo>
                  <a:cubicBezTo>
                    <a:pt x="62702" y="225794"/>
                    <a:pt x="71598" y="229487"/>
                    <a:pt x="80865" y="229487"/>
                  </a:cubicBezTo>
                  <a:lnTo>
                    <a:pt x="195259" y="229487"/>
                  </a:lnTo>
                  <a:cubicBezTo>
                    <a:pt x="200066" y="229487"/>
                    <a:pt x="204001" y="225575"/>
                    <a:pt x="204001" y="220745"/>
                  </a:cubicBezTo>
                  <a:cubicBezTo>
                    <a:pt x="204001" y="215915"/>
                    <a:pt x="200066" y="212003"/>
                    <a:pt x="195259" y="212003"/>
                  </a:cubicBezTo>
                  <a:lnTo>
                    <a:pt x="80865" y="212003"/>
                  </a:lnTo>
                  <a:cubicBezTo>
                    <a:pt x="71205" y="212003"/>
                    <a:pt x="63380" y="204178"/>
                    <a:pt x="63380" y="194518"/>
                  </a:cubicBezTo>
                  <a:lnTo>
                    <a:pt x="63380" y="77590"/>
                  </a:lnTo>
                  <a:cubicBezTo>
                    <a:pt x="63380" y="67929"/>
                    <a:pt x="71205" y="60105"/>
                    <a:pt x="80865" y="60105"/>
                  </a:cubicBezTo>
                  <a:close/>
                  <a:moveTo>
                    <a:pt x="142065" y="281942"/>
                  </a:moveTo>
                  <a:lnTo>
                    <a:pt x="177035" y="281942"/>
                  </a:lnTo>
                  <a:cubicBezTo>
                    <a:pt x="181668" y="281942"/>
                    <a:pt x="186127" y="283778"/>
                    <a:pt x="189405" y="287057"/>
                  </a:cubicBezTo>
                  <a:cubicBezTo>
                    <a:pt x="192684" y="290335"/>
                    <a:pt x="194520" y="294794"/>
                    <a:pt x="194520" y="299427"/>
                  </a:cubicBezTo>
                  <a:cubicBezTo>
                    <a:pt x="194520" y="304257"/>
                    <a:pt x="198432" y="308169"/>
                    <a:pt x="203262" y="308169"/>
                  </a:cubicBezTo>
                  <a:cubicBezTo>
                    <a:pt x="208092" y="308169"/>
                    <a:pt x="212005" y="304257"/>
                    <a:pt x="212005" y="299427"/>
                  </a:cubicBezTo>
                  <a:cubicBezTo>
                    <a:pt x="212005" y="290160"/>
                    <a:pt x="208311" y="281265"/>
                    <a:pt x="201755" y="274708"/>
                  </a:cubicBezTo>
                  <a:cubicBezTo>
                    <a:pt x="195198" y="268151"/>
                    <a:pt x="186302" y="264457"/>
                    <a:pt x="177035" y="264457"/>
                  </a:cubicBezTo>
                  <a:lnTo>
                    <a:pt x="142065" y="264457"/>
                  </a:lnTo>
                  <a:cubicBezTo>
                    <a:pt x="122745" y="264457"/>
                    <a:pt x="107095" y="280106"/>
                    <a:pt x="107095" y="299427"/>
                  </a:cubicBezTo>
                  <a:cubicBezTo>
                    <a:pt x="107095" y="318748"/>
                    <a:pt x="122745" y="334397"/>
                    <a:pt x="142065" y="334397"/>
                  </a:cubicBezTo>
                  <a:lnTo>
                    <a:pt x="177035" y="334397"/>
                  </a:lnTo>
                  <a:cubicBezTo>
                    <a:pt x="181865" y="334397"/>
                    <a:pt x="185778" y="330484"/>
                    <a:pt x="185778" y="325654"/>
                  </a:cubicBezTo>
                  <a:cubicBezTo>
                    <a:pt x="185778" y="320824"/>
                    <a:pt x="181865" y="316912"/>
                    <a:pt x="177035" y="316912"/>
                  </a:cubicBezTo>
                  <a:lnTo>
                    <a:pt x="142065" y="316912"/>
                  </a:lnTo>
                  <a:cubicBezTo>
                    <a:pt x="132405" y="316912"/>
                    <a:pt x="124580" y="309088"/>
                    <a:pt x="124580" y="299427"/>
                  </a:cubicBezTo>
                  <a:cubicBezTo>
                    <a:pt x="124580" y="289766"/>
                    <a:pt x="132405" y="281942"/>
                    <a:pt x="142065" y="281942"/>
                  </a:cubicBezTo>
                  <a:close/>
                  <a:moveTo>
                    <a:pt x="280853" y="251343"/>
                  </a:moveTo>
                  <a:cubicBezTo>
                    <a:pt x="230738" y="251343"/>
                    <a:pt x="201078" y="194910"/>
                    <a:pt x="229688" y="153624"/>
                  </a:cubicBezTo>
                  <a:lnTo>
                    <a:pt x="253533" y="119266"/>
                  </a:lnTo>
                  <a:cubicBezTo>
                    <a:pt x="259762" y="110305"/>
                    <a:pt x="269991" y="104950"/>
                    <a:pt x="280897" y="104950"/>
                  </a:cubicBezTo>
                  <a:cubicBezTo>
                    <a:pt x="291803" y="104950"/>
                    <a:pt x="302032" y="110305"/>
                    <a:pt x="308261" y="119266"/>
                  </a:cubicBezTo>
                  <a:lnTo>
                    <a:pt x="332062" y="153580"/>
                  </a:lnTo>
                  <a:cubicBezTo>
                    <a:pt x="360716" y="194953"/>
                    <a:pt x="330904" y="251344"/>
                    <a:pt x="280853" y="251344"/>
                  </a:cubicBezTo>
                  <a:close/>
                  <a:moveTo>
                    <a:pt x="317659" y="163589"/>
                  </a:moveTo>
                  <a:lnTo>
                    <a:pt x="293858" y="129275"/>
                  </a:lnTo>
                  <a:lnTo>
                    <a:pt x="293836" y="129253"/>
                  </a:lnTo>
                  <a:cubicBezTo>
                    <a:pt x="290907" y="124991"/>
                    <a:pt x="286033" y="122456"/>
                    <a:pt x="280853" y="122456"/>
                  </a:cubicBezTo>
                  <a:cubicBezTo>
                    <a:pt x="275673" y="122456"/>
                    <a:pt x="270800" y="124991"/>
                    <a:pt x="267871" y="129253"/>
                  </a:cubicBezTo>
                  <a:lnTo>
                    <a:pt x="244070" y="163567"/>
                  </a:lnTo>
                  <a:lnTo>
                    <a:pt x="244070" y="163589"/>
                  </a:lnTo>
                  <a:cubicBezTo>
                    <a:pt x="234541" y="177292"/>
                    <a:pt x="233426" y="195127"/>
                    <a:pt x="241141" y="209923"/>
                  </a:cubicBezTo>
                  <a:cubicBezTo>
                    <a:pt x="248878" y="224698"/>
                    <a:pt x="264178" y="233965"/>
                    <a:pt x="280854" y="233965"/>
                  </a:cubicBezTo>
                  <a:cubicBezTo>
                    <a:pt x="297530" y="233965"/>
                    <a:pt x="312829" y="224699"/>
                    <a:pt x="320567" y="209923"/>
                  </a:cubicBezTo>
                  <a:cubicBezTo>
                    <a:pt x="328282" y="195127"/>
                    <a:pt x="327168" y="177292"/>
                    <a:pt x="317660" y="163589"/>
                  </a:cubicBezTo>
                  <a:close/>
                </a:path>
              </a:pathLst>
            </a:custGeom>
            <a:solidFill>
              <a:schemeClr val="bg2">
                <a:lumMod val="50000"/>
              </a:schemeClr>
            </a:solidFill>
            <a:ln w="5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nvGrpSpPr>
            <p:cNvPr id="65" name="Group 64">
              <a:extLst>
                <a:ext uri="{FF2B5EF4-FFF2-40B4-BE49-F238E27FC236}">
                  <a16:creationId xmlns:a16="http://schemas.microsoft.com/office/drawing/2014/main" id="{D1A9D892-A57E-EE53-961B-01DBB0C8DA86}"/>
                </a:ext>
              </a:extLst>
            </p:cNvPr>
            <p:cNvGrpSpPr/>
            <p:nvPr/>
          </p:nvGrpSpPr>
          <p:grpSpPr>
            <a:xfrm>
              <a:off x="5802804" y="4011535"/>
              <a:ext cx="760561" cy="795156"/>
              <a:chOff x="5715719" y="4011535"/>
              <a:chExt cx="760561" cy="795156"/>
            </a:xfrm>
          </p:grpSpPr>
          <p:sp>
            <p:nvSpPr>
              <p:cNvPr id="83" name="TextBox 82">
                <a:extLst>
                  <a:ext uri="{FF2B5EF4-FFF2-40B4-BE49-F238E27FC236}">
                    <a16:creationId xmlns:a16="http://schemas.microsoft.com/office/drawing/2014/main" id="{4C3FF9B8-4601-D3D7-663C-B0E45EEA0D5C}"/>
                  </a:ext>
                </a:extLst>
              </p:cNvPr>
              <p:cNvSpPr txBox="1"/>
              <p:nvPr/>
            </p:nvSpPr>
            <p:spPr>
              <a:xfrm>
                <a:off x="5715719" y="4601903"/>
                <a:ext cx="760561" cy="204788"/>
              </a:xfrm>
              <a:prstGeom prst="rect">
                <a:avLst/>
              </a:prstGeom>
              <a:noFill/>
            </p:spPr>
            <p:txBody>
              <a:bodyPr wrap="none" lIns="0" tIns="0" rIns="0" bIns="0">
                <a:noAutofit/>
              </a:bodyPr>
              <a:lstStyle/>
              <a:p>
                <a:pPr lvl="0" algn="ctr">
                  <a:defRPr/>
                </a:pPr>
                <a:r>
                  <a:rPr lang="en-US" sz="1300" b="1" err="1">
                    <a:solidFill>
                      <a:srgbClr val="353B3E"/>
                    </a:solidFill>
                  </a:rPr>
                  <a:t>Sağlıklı</a:t>
                </a:r>
                <a:r>
                  <a:rPr lang="en-US" sz="1300" b="1">
                    <a:solidFill>
                      <a:srgbClr val="353B3E"/>
                    </a:solidFill>
                  </a:rPr>
                  <a:t>‡</a:t>
                </a:r>
                <a:endParaRPr kumimoji="0" lang="en-US" sz="1300" b="1" i="0" u="none" strike="noStrike" kern="1200" cap="none" spc="0" normalizeH="0" baseline="30000" noProof="0">
                  <a:ln>
                    <a:noFill/>
                  </a:ln>
                  <a:solidFill>
                    <a:srgbClr val="353B3E"/>
                  </a:solidFill>
                  <a:effectLst/>
                  <a:uLnTx/>
                  <a:uFillTx/>
                  <a:latin typeface="Arial" panose="020B0604020202020204"/>
                  <a:ea typeface="+mn-ea"/>
                  <a:cs typeface="+mn-cs"/>
                </a:endParaRPr>
              </a:p>
            </p:txBody>
          </p:sp>
          <p:sp>
            <p:nvSpPr>
              <p:cNvPr id="69" name="Rectangle 68">
                <a:extLst>
                  <a:ext uri="{FF2B5EF4-FFF2-40B4-BE49-F238E27FC236}">
                    <a16:creationId xmlns:a16="http://schemas.microsoft.com/office/drawing/2014/main" id="{CA324F86-03D2-03BB-5418-EC474A2A3933}"/>
                  </a:ext>
                </a:extLst>
              </p:cNvPr>
              <p:cNvSpPr/>
              <p:nvPr/>
            </p:nvSpPr>
            <p:spPr>
              <a:xfrm>
                <a:off x="6114175" y="4199521"/>
                <a:ext cx="284362" cy="365105"/>
              </a:xfrm>
              <a:prstGeom prst="rect">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3FDA733F-BF62-EE78-1CD0-D3221DCA5308}"/>
                  </a:ext>
                </a:extLst>
              </p:cNvPr>
              <p:cNvSpPr/>
              <p:nvPr/>
            </p:nvSpPr>
            <p:spPr>
              <a:xfrm>
                <a:off x="5789722" y="4388331"/>
                <a:ext cx="284362" cy="176295"/>
              </a:xfrm>
              <a:prstGeom prst="rect">
                <a:avLst/>
              </a:prstGeom>
              <a:solidFill>
                <a:srgbClr val="009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8" name="TextBox 97">
                <a:extLst>
                  <a:ext uri="{FF2B5EF4-FFF2-40B4-BE49-F238E27FC236}">
                    <a16:creationId xmlns:a16="http://schemas.microsoft.com/office/drawing/2014/main" id="{309F2EE2-0F70-3F7C-F471-D78D0A617DD5}"/>
                  </a:ext>
                </a:extLst>
              </p:cNvPr>
              <p:cNvSpPr txBox="1"/>
              <p:nvPr/>
            </p:nvSpPr>
            <p:spPr>
              <a:xfrm>
                <a:off x="5796770" y="4205997"/>
                <a:ext cx="270266" cy="150662"/>
              </a:xfrm>
              <a:prstGeom prst="rect">
                <a:avLst/>
              </a:prstGeom>
              <a:no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92</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 name="TextBox 98">
                <a:extLst>
                  <a:ext uri="{FF2B5EF4-FFF2-40B4-BE49-F238E27FC236}">
                    <a16:creationId xmlns:a16="http://schemas.microsoft.com/office/drawing/2014/main" id="{D88DC3DE-0598-4DD0-62E3-B983C4E0BD55}"/>
                  </a:ext>
                </a:extLst>
              </p:cNvPr>
              <p:cNvSpPr txBox="1"/>
              <p:nvPr/>
            </p:nvSpPr>
            <p:spPr>
              <a:xfrm>
                <a:off x="6121223" y="4011535"/>
                <a:ext cx="270266" cy="150662"/>
              </a:xfrm>
              <a:prstGeom prst="rect">
                <a:avLst/>
              </a:prstGeom>
              <a:no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442</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9" name="Graphic 25">
              <a:extLst>
                <a:ext uri="{FF2B5EF4-FFF2-40B4-BE49-F238E27FC236}">
                  <a16:creationId xmlns:a16="http://schemas.microsoft.com/office/drawing/2014/main" id="{8E6E3485-3EC1-651E-B06C-208A62F3CDEF}"/>
                </a:ext>
              </a:extLst>
            </p:cNvPr>
            <p:cNvGrpSpPr/>
            <p:nvPr/>
          </p:nvGrpSpPr>
          <p:grpSpPr>
            <a:xfrm>
              <a:off x="6002470" y="4858545"/>
              <a:ext cx="361226" cy="335358"/>
              <a:chOff x="5844164" y="4841636"/>
              <a:chExt cx="503667" cy="467601"/>
            </a:xfrm>
            <a:solidFill>
              <a:schemeClr val="bg2">
                <a:lumMod val="50000"/>
              </a:schemeClr>
            </a:solidFill>
          </p:grpSpPr>
          <p:sp>
            <p:nvSpPr>
              <p:cNvPr id="50" name="Freeform: Shape 49">
                <a:extLst>
                  <a:ext uri="{FF2B5EF4-FFF2-40B4-BE49-F238E27FC236}">
                    <a16:creationId xmlns:a16="http://schemas.microsoft.com/office/drawing/2014/main" id="{D194EB3F-028B-DCA2-E012-33A52A75AF0F}"/>
                  </a:ext>
                </a:extLst>
              </p:cNvPr>
              <p:cNvSpPr/>
              <p:nvPr/>
            </p:nvSpPr>
            <p:spPr>
              <a:xfrm>
                <a:off x="5844164" y="4841636"/>
                <a:ext cx="503667" cy="467601"/>
              </a:xfrm>
              <a:custGeom>
                <a:avLst/>
                <a:gdLst>
                  <a:gd name="connsiteX0" fmla="*/ 364942 w 503667"/>
                  <a:gd name="connsiteY0" fmla="*/ 9 h 467601"/>
                  <a:gd name="connsiteX1" fmla="*/ 363849 w 503667"/>
                  <a:gd name="connsiteY1" fmla="*/ 9 h 467601"/>
                  <a:gd name="connsiteX2" fmla="*/ 363827 w 503667"/>
                  <a:gd name="connsiteY2" fmla="*/ 9 h 467601"/>
                  <a:gd name="connsiteX3" fmla="*/ 251834 w 503667"/>
                  <a:gd name="connsiteY3" fmla="*/ 56224 h 467601"/>
                  <a:gd name="connsiteX4" fmla="*/ 138750 w 503667"/>
                  <a:gd name="connsiteY4" fmla="*/ 9 h 467601"/>
                  <a:gd name="connsiteX5" fmla="*/ 38127 w 503667"/>
                  <a:gd name="connsiteY5" fmla="*/ 44399 h 467601"/>
                  <a:gd name="connsiteX6" fmla="*/ 534 w 503667"/>
                  <a:gd name="connsiteY6" fmla="*/ 156213 h 467601"/>
                  <a:gd name="connsiteX7" fmla="*/ 234742 w 503667"/>
                  <a:gd name="connsiteY7" fmla="*/ 462503 h 467601"/>
                  <a:gd name="connsiteX8" fmla="*/ 268904 w 503667"/>
                  <a:gd name="connsiteY8" fmla="*/ 462503 h 467601"/>
                  <a:gd name="connsiteX9" fmla="*/ 503134 w 503667"/>
                  <a:gd name="connsiteY9" fmla="*/ 156213 h 467601"/>
                  <a:gd name="connsiteX10" fmla="*/ 465541 w 503667"/>
                  <a:gd name="connsiteY10" fmla="*/ 44399 h 467601"/>
                  <a:gd name="connsiteX11" fmla="*/ 364940 w 503667"/>
                  <a:gd name="connsiteY11" fmla="*/ 9 h 467601"/>
                  <a:gd name="connsiteX12" fmla="*/ 483073 w 503667"/>
                  <a:gd name="connsiteY12" fmla="*/ 154643 h 467601"/>
                  <a:gd name="connsiteX13" fmla="*/ 257889 w 503667"/>
                  <a:gd name="connsiteY13" fmla="*/ 445659 h 467601"/>
                  <a:gd name="connsiteX14" fmla="*/ 245759 w 503667"/>
                  <a:gd name="connsiteY14" fmla="*/ 445637 h 467601"/>
                  <a:gd name="connsiteX15" fmla="*/ 20598 w 503667"/>
                  <a:gd name="connsiteY15" fmla="*/ 154621 h 467601"/>
                  <a:gd name="connsiteX16" fmla="*/ 20620 w 503667"/>
                  <a:gd name="connsiteY16" fmla="*/ 154643 h 467601"/>
                  <a:gd name="connsiteX17" fmla="*/ 52945 w 503667"/>
                  <a:gd name="connsiteY17" fmla="*/ 58014 h 467601"/>
                  <a:gd name="connsiteX18" fmla="*/ 138881 w 503667"/>
                  <a:gd name="connsiteY18" fmla="*/ 20159 h 467601"/>
                  <a:gd name="connsiteX19" fmla="*/ 139821 w 503667"/>
                  <a:gd name="connsiteY19" fmla="*/ 20159 h 467601"/>
                  <a:gd name="connsiteX20" fmla="*/ 240685 w 503667"/>
                  <a:gd name="connsiteY20" fmla="*/ 75543 h 467601"/>
                  <a:gd name="connsiteX21" fmla="*/ 251745 w 503667"/>
                  <a:gd name="connsiteY21" fmla="*/ 81772 h 467601"/>
                  <a:gd name="connsiteX22" fmla="*/ 262892 w 503667"/>
                  <a:gd name="connsiteY22" fmla="*/ 75674 h 467601"/>
                  <a:gd name="connsiteX23" fmla="*/ 364785 w 503667"/>
                  <a:gd name="connsiteY23" fmla="*/ 20159 h 467601"/>
                  <a:gd name="connsiteX24" fmla="*/ 450699 w 503667"/>
                  <a:gd name="connsiteY24" fmla="*/ 58014 h 467601"/>
                  <a:gd name="connsiteX25" fmla="*/ 483068 w 503667"/>
                  <a:gd name="connsiteY25" fmla="*/ 154643 h 467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03667" h="467601">
                    <a:moveTo>
                      <a:pt x="364942" y="9"/>
                    </a:moveTo>
                    <a:lnTo>
                      <a:pt x="363849" y="9"/>
                    </a:lnTo>
                    <a:lnTo>
                      <a:pt x="363827" y="9"/>
                    </a:lnTo>
                    <a:cubicBezTo>
                      <a:pt x="319678" y="-122"/>
                      <a:pt x="278109" y="20750"/>
                      <a:pt x="251834" y="56224"/>
                    </a:cubicBezTo>
                    <a:cubicBezTo>
                      <a:pt x="225366" y="20423"/>
                      <a:pt x="183271" y="-495"/>
                      <a:pt x="138750" y="9"/>
                    </a:cubicBezTo>
                    <a:cubicBezTo>
                      <a:pt x="100458" y="31"/>
                      <a:pt x="63937" y="16139"/>
                      <a:pt x="38127" y="44399"/>
                    </a:cubicBezTo>
                    <a:cubicBezTo>
                      <a:pt x="10653" y="74866"/>
                      <a:pt x="-2941" y="115345"/>
                      <a:pt x="534" y="156213"/>
                    </a:cubicBezTo>
                    <a:cubicBezTo>
                      <a:pt x="12380" y="306387"/>
                      <a:pt x="182813" y="428630"/>
                      <a:pt x="234742" y="462503"/>
                    </a:cubicBezTo>
                    <a:cubicBezTo>
                      <a:pt x="245124" y="469300"/>
                      <a:pt x="258522" y="469300"/>
                      <a:pt x="268904" y="462503"/>
                    </a:cubicBezTo>
                    <a:cubicBezTo>
                      <a:pt x="320856" y="428605"/>
                      <a:pt x="491289" y="306365"/>
                      <a:pt x="503134" y="156213"/>
                    </a:cubicBezTo>
                    <a:cubicBezTo>
                      <a:pt x="506609" y="115342"/>
                      <a:pt x="492993" y="74864"/>
                      <a:pt x="465541" y="44399"/>
                    </a:cubicBezTo>
                    <a:cubicBezTo>
                      <a:pt x="439729" y="16139"/>
                      <a:pt x="403206" y="31"/>
                      <a:pt x="364940" y="9"/>
                    </a:cubicBezTo>
                    <a:close/>
                    <a:moveTo>
                      <a:pt x="483073" y="154643"/>
                    </a:moveTo>
                    <a:cubicBezTo>
                      <a:pt x="471948" y="295635"/>
                      <a:pt x="307916" y="413028"/>
                      <a:pt x="257889" y="445659"/>
                    </a:cubicBezTo>
                    <a:cubicBezTo>
                      <a:pt x="254196" y="448063"/>
                      <a:pt x="249453" y="448063"/>
                      <a:pt x="245759" y="445637"/>
                    </a:cubicBezTo>
                    <a:cubicBezTo>
                      <a:pt x="195752" y="413028"/>
                      <a:pt x="31721" y="295619"/>
                      <a:pt x="20598" y="154621"/>
                    </a:cubicBezTo>
                    <a:lnTo>
                      <a:pt x="20620" y="154643"/>
                    </a:lnTo>
                    <a:cubicBezTo>
                      <a:pt x="17560" y="119345"/>
                      <a:pt x="29275" y="84373"/>
                      <a:pt x="52945" y="58014"/>
                    </a:cubicBezTo>
                    <a:cubicBezTo>
                      <a:pt x="75020" y="33885"/>
                      <a:pt x="106208" y="20159"/>
                      <a:pt x="138881" y="20159"/>
                    </a:cubicBezTo>
                    <a:lnTo>
                      <a:pt x="139821" y="20159"/>
                    </a:lnTo>
                    <a:cubicBezTo>
                      <a:pt x="180736" y="20007"/>
                      <a:pt x="218853" y="40944"/>
                      <a:pt x="240685" y="75543"/>
                    </a:cubicBezTo>
                    <a:cubicBezTo>
                      <a:pt x="243046" y="79389"/>
                      <a:pt x="247221" y="81750"/>
                      <a:pt x="251745" y="81772"/>
                    </a:cubicBezTo>
                    <a:cubicBezTo>
                      <a:pt x="256269" y="81793"/>
                      <a:pt x="260487" y="79498"/>
                      <a:pt x="262892" y="75674"/>
                    </a:cubicBezTo>
                    <a:cubicBezTo>
                      <a:pt x="284901" y="40726"/>
                      <a:pt x="323476" y="19722"/>
                      <a:pt x="364785" y="20159"/>
                    </a:cubicBezTo>
                    <a:cubicBezTo>
                      <a:pt x="397460" y="20159"/>
                      <a:pt x="428648" y="33885"/>
                      <a:pt x="450699" y="58014"/>
                    </a:cubicBezTo>
                    <a:cubicBezTo>
                      <a:pt x="474391" y="84372"/>
                      <a:pt x="486106" y="119343"/>
                      <a:pt x="483068" y="154643"/>
                    </a:cubicBezTo>
                    <a:close/>
                  </a:path>
                </a:pathLst>
              </a:custGeom>
              <a:grpFill/>
              <a:ln w="5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51" name="Freeform: Shape 50">
                <a:extLst>
                  <a:ext uri="{FF2B5EF4-FFF2-40B4-BE49-F238E27FC236}">
                    <a16:creationId xmlns:a16="http://schemas.microsoft.com/office/drawing/2014/main" id="{375D8A57-0CA0-6A24-D95F-7743A6467429}"/>
                  </a:ext>
                </a:extLst>
              </p:cNvPr>
              <p:cNvSpPr/>
              <p:nvPr/>
            </p:nvSpPr>
            <p:spPr>
              <a:xfrm>
                <a:off x="5977235" y="4956673"/>
                <a:ext cx="237531" cy="237531"/>
              </a:xfrm>
              <a:custGeom>
                <a:avLst/>
                <a:gdLst>
                  <a:gd name="connsiteX0" fmla="*/ 227456 w 237531"/>
                  <a:gd name="connsiteY0" fmla="*/ 68410 h 237531"/>
                  <a:gd name="connsiteX1" fmla="*/ 169121 w 237531"/>
                  <a:gd name="connsiteY1" fmla="*/ 68410 h 237531"/>
                  <a:gd name="connsiteX2" fmla="*/ 169121 w 237531"/>
                  <a:gd name="connsiteY2" fmla="*/ 10075 h 237531"/>
                  <a:gd name="connsiteX3" fmla="*/ 166170 w 237531"/>
                  <a:gd name="connsiteY3" fmla="*/ 2950 h 237531"/>
                  <a:gd name="connsiteX4" fmla="*/ 159046 w 237531"/>
                  <a:gd name="connsiteY4" fmla="*/ 0 h 237531"/>
                  <a:gd name="connsiteX5" fmla="*/ 78486 w 237531"/>
                  <a:gd name="connsiteY5" fmla="*/ 0 h 237531"/>
                  <a:gd name="connsiteX6" fmla="*/ 71361 w 237531"/>
                  <a:gd name="connsiteY6" fmla="*/ 2950 h 237531"/>
                  <a:gd name="connsiteX7" fmla="*/ 68410 w 237531"/>
                  <a:gd name="connsiteY7" fmla="*/ 10075 h 237531"/>
                  <a:gd name="connsiteX8" fmla="*/ 68410 w 237531"/>
                  <a:gd name="connsiteY8" fmla="*/ 68410 h 237531"/>
                  <a:gd name="connsiteX9" fmla="*/ 10075 w 237531"/>
                  <a:gd name="connsiteY9" fmla="*/ 68410 h 237531"/>
                  <a:gd name="connsiteX10" fmla="*/ 2950 w 237531"/>
                  <a:gd name="connsiteY10" fmla="*/ 71361 h 237531"/>
                  <a:gd name="connsiteX11" fmla="*/ 0 w 237531"/>
                  <a:gd name="connsiteY11" fmla="*/ 78486 h 237531"/>
                  <a:gd name="connsiteX12" fmla="*/ 0 w 237531"/>
                  <a:gd name="connsiteY12" fmla="*/ 159045 h 237531"/>
                  <a:gd name="connsiteX13" fmla="*/ 2950 w 237531"/>
                  <a:gd name="connsiteY13" fmla="*/ 166170 h 237531"/>
                  <a:gd name="connsiteX14" fmla="*/ 10075 w 237531"/>
                  <a:gd name="connsiteY14" fmla="*/ 169121 h 237531"/>
                  <a:gd name="connsiteX15" fmla="*/ 68410 w 237531"/>
                  <a:gd name="connsiteY15" fmla="*/ 169121 h 237531"/>
                  <a:gd name="connsiteX16" fmla="*/ 68410 w 237531"/>
                  <a:gd name="connsiteY16" fmla="*/ 227456 h 237531"/>
                  <a:gd name="connsiteX17" fmla="*/ 71361 w 237531"/>
                  <a:gd name="connsiteY17" fmla="*/ 234581 h 237531"/>
                  <a:gd name="connsiteX18" fmla="*/ 78486 w 237531"/>
                  <a:gd name="connsiteY18" fmla="*/ 237531 h 237531"/>
                  <a:gd name="connsiteX19" fmla="*/ 159046 w 237531"/>
                  <a:gd name="connsiteY19" fmla="*/ 237531 h 237531"/>
                  <a:gd name="connsiteX20" fmla="*/ 166170 w 237531"/>
                  <a:gd name="connsiteY20" fmla="*/ 234581 h 237531"/>
                  <a:gd name="connsiteX21" fmla="*/ 169121 w 237531"/>
                  <a:gd name="connsiteY21" fmla="*/ 227456 h 237531"/>
                  <a:gd name="connsiteX22" fmla="*/ 169121 w 237531"/>
                  <a:gd name="connsiteY22" fmla="*/ 169121 h 237531"/>
                  <a:gd name="connsiteX23" fmla="*/ 227456 w 237531"/>
                  <a:gd name="connsiteY23" fmla="*/ 169121 h 237531"/>
                  <a:gd name="connsiteX24" fmla="*/ 234581 w 237531"/>
                  <a:gd name="connsiteY24" fmla="*/ 166170 h 237531"/>
                  <a:gd name="connsiteX25" fmla="*/ 237531 w 237531"/>
                  <a:gd name="connsiteY25" fmla="*/ 159045 h 237531"/>
                  <a:gd name="connsiteX26" fmla="*/ 237531 w 237531"/>
                  <a:gd name="connsiteY26" fmla="*/ 78486 h 237531"/>
                  <a:gd name="connsiteX27" fmla="*/ 234581 w 237531"/>
                  <a:gd name="connsiteY27" fmla="*/ 71361 h 237531"/>
                  <a:gd name="connsiteX28" fmla="*/ 227456 w 237531"/>
                  <a:gd name="connsiteY28" fmla="*/ 68410 h 237531"/>
                  <a:gd name="connsiteX29" fmla="*/ 217380 w 237531"/>
                  <a:gd name="connsiteY29" fmla="*/ 148992 h 237531"/>
                  <a:gd name="connsiteX30" fmla="*/ 159045 w 237531"/>
                  <a:gd name="connsiteY30" fmla="*/ 148992 h 237531"/>
                  <a:gd name="connsiteX31" fmla="*/ 151920 w 237531"/>
                  <a:gd name="connsiteY31" fmla="*/ 151942 h 237531"/>
                  <a:gd name="connsiteX32" fmla="*/ 148970 w 237531"/>
                  <a:gd name="connsiteY32" fmla="*/ 159046 h 237531"/>
                  <a:gd name="connsiteX33" fmla="*/ 148970 w 237531"/>
                  <a:gd name="connsiteY33" fmla="*/ 217381 h 237531"/>
                  <a:gd name="connsiteX34" fmla="*/ 88536 w 237531"/>
                  <a:gd name="connsiteY34" fmla="*/ 217381 h 237531"/>
                  <a:gd name="connsiteX35" fmla="*/ 88536 w 237531"/>
                  <a:gd name="connsiteY35" fmla="*/ 159046 h 237531"/>
                  <a:gd name="connsiteX36" fmla="*/ 85607 w 237531"/>
                  <a:gd name="connsiteY36" fmla="*/ 151942 h 237531"/>
                  <a:gd name="connsiteX37" fmla="*/ 78482 w 237531"/>
                  <a:gd name="connsiteY37" fmla="*/ 148992 h 237531"/>
                  <a:gd name="connsiteX38" fmla="*/ 20147 w 237531"/>
                  <a:gd name="connsiteY38" fmla="*/ 148992 h 237531"/>
                  <a:gd name="connsiteX39" fmla="*/ 20147 w 237531"/>
                  <a:gd name="connsiteY39" fmla="*/ 88536 h 237531"/>
                  <a:gd name="connsiteX40" fmla="*/ 78482 w 237531"/>
                  <a:gd name="connsiteY40" fmla="*/ 88536 h 237531"/>
                  <a:gd name="connsiteX41" fmla="*/ 85607 w 237531"/>
                  <a:gd name="connsiteY41" fmla="*/ 85586 h 237531"/>
                  <a:gd name="connsiteX42" fmla="*/ 88536 w 237531"/>
                  <a:gd name="connsiteY42" fmla="*/ 78483 h 237531"/>
                  <a:gd name="connsiteX43" fmla="*/ 88536 w 237531"/>
                  <a:gd name="connsiteY43" fmla="*/ 20148 h 237531"/>
                  <a:gd name="connsiteX44" fmla="*/ 148970 w 237531"/>
                  <a:gd name="connsiteY44" fmla="*/ 20148 h 237531"/>
                  <a:gd name="connsiteX45" fmla="*/ 148970 w 237531"/>
                  <a:gd name="connsiteY45" fmla="*/ 78483 h 237531"/>
                  <a:gd name="connsiteX46" fmla="*/ 151920 w 237531"/>
                  <a:gd name="connsiteY46" fmla="*/ 85586 h 237531"/>
                  <a:gd name="connsiteX47" fmla="*/ 159045 w 237531"/>
                  <a:gd name="connsiteY47" fmla="*/ 88536 h 237531"/>
                  <a:gd name="connsiteX48" fmla="*/ 217380 w 237531"/>
                  <a:gd name="connsiteY48" fmla="*/ 88536 h 237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37531" h="237531">
                    <a:moveTo>
                      <a:pt x="227456" y="68410"/>
                    </a:moveTo>
                    <a:lnTo>
                      <a:pt x="169121" y="68410"/>
                    </a:lnTo>
                    <a:lnTo>
                      <a:pt x="169121" y="10075"/>
                    </a:lnTo>
                    <a:cubicBezTo>
                      <a:pt x="169121" y="7409"/>
                      <a:pt x="168050" y="4852"/>
                      <a:pt x="166170" y="2950"/>
                    </a:cubicBezTo>
                    <a:cubicBezTo>
                      <a:pt x="164290" y="1071"/>
                      <a:pt x="161712" y="0"/>
                      <a:pt x="159046" y="0"/>
                    </a:cubicBezTo>
                    <a:lnTo>
                      <a:pt x="78486" y="0"/>
                    </a:lnTo>
                    <a:cubicBezTo>
                      <a:pt x="75798" y="0"/>
                      <a:pt x="73241" y="1071"/>
                      <a:pt x="71361" y="2950"/>
                    </a:cubicBezTo>
                    <a:cubicBezTo>
                      <a:pt x="69460" y="4852"/>
                      <a:pt x="68410" y="7409"/>
                      <a:pt x="68410" y="10075"/>
                    </a:cubicBezTo>
                    <a:lnTo>
                      <a:pt x="68410" y="68410"/>
                    </a:lnTo>
                    <a:lnTo>
                      <a:pt x="10075" y="68410"/>
                    </a:lnTo>
                    <a:cubicBezTo>
                      <a:pt x="7409" y="68410"/>
                      <a:pt x="4852" y="69460"/>
                      <a:pt x="2950" y="71361"/>
                    </a:cubicBezTo>
                    <a:cubicBezTo>
                      <a:pt x="1071" y="73241"/>
                      <a:pt x="0" y="75798"/>
                      <a:pt x="0" y="78486"/>
                    </a:cubicBezTo>
                    <a:lnTo>
                      <a:pt x="0" y="159045"/>
                    </a:lnTo>
                    <a:cubicBezTo>
                      <a:pt x="0" y="161733"/>
                      <a:pt x="1071" y="164290"/>
                      <a:pt x="2950" y="166170"/>
                    </a:cubicBezTo>
                    <a:cubicBezTo>
                      <a:pt x="4852" y="168072"/>
                      <a:pt x="7409" y="169121"/>
                      <a:pt x="10075" y="169121"/>
                    </a:cubicBezTo>
                    <a:lnTo>
                      <a:pt x="68410" y="169121"/>
                    </a:lnTo>
                    <a:lnTo>
                      <a:pt x="68410" y="227456"/>
                    </a:lnTo>
                    <a:cubicBezTo>
                      <a:pt x="68410" y="230122"/>
                      <a:pt x="69460" y="232680"/>
                      <a:pt x="71361" y="234581"/>
                    </a:cubicBezTo>
                    <a:cubicBezTo>
                      <a:pt x="73241" y="236460"/>
                      <a:pt x="75798" y="237531"/>
                      <a:pt x="78486" y="237531"/>
                    </a:cubicBezTo>
                    <a:lnTo>
                      <a:pt x="159046" y="237531"/>
                    </a:lnTo>
                    <a:cubicBezTo>
                      <a:pt x="161712" y="237531"/>
                      <a:pt x="164291" y="236460"/>
                      <a:pt x="166170" y="234581"/>
                    </a:cubicBezTo>
                    <a:cubicBezTo>
                      <a:pt x="168050" y="232679"/>
                      <a:pt x="169121" y="230122"/>
                      <a:pt x="169121" y="227456"/>
                    </a:cubicBezTo>
                    <a:lnTo>
                      <a:pt x="169121" y="169121"/>
                    </a:lnTo>
                    <a:lnTo>
                      <a:pt x="227456" y="169121"/>
                    </a:lnTo>
                    <a:cubicBezTo>
                      <a:pt x="230123" y="169121"/>
                      <a:pt x="232680" y="168072"/>
                      <a:pt x="234581" y="166170"/>
                    </a:cubicBezTo>
                    <a:cubicBezTo>
                      <a:pt x="236460" y="164290"/>
                      <a:pt x="237531" y="161733"/>
                      <a:pt x="237531" y="159045"/>
                    </a:cubicBezTo>
                    <a:lnTo>
                      <a:pt x="237531" y="78486"/>
                    </a:lnTo>
                    <a:cubicBezTo>
                      <a:pt x="237531" y="75798"/>
                      <a:pt x="236460" y="73240"/>
                      <a:pt x="234581" y="71361"/>
                    </a:cubicBezTo>
                    <a:cubicBezTo>
                      <a:pt x="232680" y="69460"/>
                      <a:pt x="230122" y="68410"/>
                      <a:pt x="227456" y="68410"/>
                    </a:cubicBezTo>
                    <a:close/>
                    <a:moveTo>
                      <a:pt x="217380" y="148992"/>
                    </a:moveTo>
                    <a:lnTo>
                      <a:pt x="159045" y="148992"/>
                    </a:lnTo>
                    <a:cubicBezTo>
                      <a:pt x="156378" y="148992"/>
                      <a:pt x="153821" y="150041"/>
                      <a:pt x="151920" y="151942"/>
                    </a:cubicBezTo>
                    <a:cubicBezTo>
                      <a:pt x="150041" y="153822"/>
                      <a:pt x="148970" y="156379"/>
                      <a:pt x="148970" y="159046"/>
                    </a:cubicBezTo>
                    <a:lnTo>
                      <a:pt x="148970" y="217381"/>
                    </a:lnTo>
                    <a:lnTo>
                      <a:pt x="88536" y="217381"/>
                    </a:lnTo>
                    <a:lnTo>
                      <a:pt x="88536" y="159046"/>
                    </a:lnTo>
                    <a:cubicBezTo>
                      <a:pt x="88536" y="156379"/>
                      <a:pt x="87487" y="153822"/>
                      <a:pt x="85607" y="151942"/>
                    </a:cubicBezTo>
                    <a:cubicBezTo>
                      <a:pt x="83706" y="150041"/>
                      <a:pt x="81148" y="148992"/>
                      <a:pt x="78482" y="148992"/>
                    </a:cubicBezTo>
                    <a:lnTo>
                      <a:pt x="20147" y="148992"/>
                    </a:lnTo>
                    <a:lnTo>
                      <a:pt x="20147" y="88536"/>
                    </a:lnTo>
                    <a:lnTo>
                      <a:pt x="78482" y="88536"/>
                    </a:lnTo>
                    <a:cubicBezTo>
                      <a:pt x="81149" y="88536"/>
                      <a:pt x="83706" y="87487"/>
                      <a:pt x="85607" y="85586"/>
                    </a:cubicBezTo>
                    <a:cubicBezTo>
                      <a:pt x="87487" y="83706"/>
                      <a:pt x="88536" y="81149"/>
                      <a:pt x="88536" y="78483"/>
                    </a:cubicBezTo>
                    <a:lnTo>
                      <a:pt x="88536" y="20148"/>
                    </a:lnTo>
                    <a:lnTo>
                      <a:pt x="148970" y="20148"/>
                    </a:lnTo>
                    <a:lnTo>
                      <a:pt x="148970" y="78483"/>
                    </a:lnTo>
                    <a:cubicBezTo>
                      <a:pt x="148970" y="81149"/>
                      <a:pt x="150041" y="83706"/>
                      <a:pt x="151920" y="85586"/>
                    </a:cubicBezTo>
                    <a:cubicBezTo>
                      <a:pt x="153821" y="87487"/>
                      <a:pt x="156379" y="88536"/>
                      <a:pt x="159045" y="88536"/>
                    </a:cubicBezTo>
                    <a:lnTo>
                      <a:pt x="217380" y="88536"/>
                    </a:lnTo>
                    <a:close/>
                  </a:path>
                </a:pathLst>
              </a:custGeom>
              <a:grpFill/>
              <a:ln w="5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sp>
          <p:nvSpPr>
            <p:cNvPr id="84" name="TextBox 83">
              <a:extLst>
                <a:ext uri="{FF2B5EF4-FFF2-40B4-BE49-F238E27FC236}">
                  <a16:creationId xmlns:a16="http://schemas.microsoft.com/office/drawing/2014/main" id="{DF6D0844-9293-7D48-1F7E-BCF71FB5A2E7}"/>
                </a:ext>
              </a:extLst>
            </p:cNvPr>
            <p:cNvSpPr txBox="1"/>
            <p:nvPr/>
          </p:nvSpPr>
          <p:spPr>
            <a:xfrm>
              <a:off x="7492737" y="4601903"/>
              <a:ext cx="760561" cy="204788"/>
            </a:xfrm>
            <a:prstGeom prst="rect">
              <a:avLst/>
            </a:prstGeom>
            <a:noFill/>
          </p:spPr>
          <p:txBody>
            <a:bodyPr wrap="none" lIns="0" tIns="0" rIns="0" bIns="0">
              <a:noAutofit/>
            </a:bodyPr>
            <a:lstStyle/>
            <a:p>
              <a:pPr lvl="0" algn="ctr">
                <a:defRPr/>
              </a:pPr>
              <a:r>
                <a:rPr lang="en-US" sz="1300" b="1">
                  <a:solidFill>
                    <a:srgbClr val="353B3E"/>
                  </a:solidFill>
                </a:rPr>
                <a:t>KKH</a:t>
              </a:r>
              <a:endParaRPr kumimoji="0" lang="en-US" sz="1300" b="1" i="0" u="none" strike="noStrike" kern="1200" cap="none" spc="0" normalizeH="0" baseline="0" noProof="0">
                <a:ln>
                  <a:noFill/>
                </a:ln>
                <a:solidFill>
                  <a:srgbClr val="353B3E"/>
                </a:solidFill>
                <a:effectLst/>
                <a:uLnTx/>
                <a:uFillTx/>
                <a:latin typeface="Arial" panose="020B0604020202020204"/>
                <a:ea typeface="+mn-ea"/>
                <a:cs typeface="+mn-cs"/>
              </a:endParaRPr>
            </a:p>
          </p:txBody>
        </p:sp>
        <p:grpSp>
          <p:nvGrpSpPr>
            <p:cNvPr id="59" name="Group 58">
              <a:extLst>
                <a:ext uri="{FF2B5EF4-FFF2-40B4-BE49-F238E27FC236}">
                  <a16:creationId xmlns:a16="http://schemas.microsoft.com/office/drawing/2014/main" id="{E5ACB53B-2A0B-32A7-0F05-BFD27A8D5C22}"/>
                </a:ext>
              </a:extLst>
            </p:cNvPr>
            <p:cNvGrpSpPr/>
            <p:nvPr/>
          </p:nvGrpSpPr>
          <p:grpSpPr>
            <a:xfrm>
              <a:off x="7570079" y="3028951"/>
              <a:ext cx="605876" cy="1535675"/>
              <a:chOff x="7482994" y="3028951"/>
              <a:chExt cx="605876" cy="1535675"/>
            </a:xfrm>
          </p:grpSpPr>
          <p:sp>
            <p:nvSpPr>
              <p:cNvPr id="70" name="Rectangle 69">
                <a:extLst>
                  <a:ext uri="{FF2B5EF4-FFF2-40B4-BE49-F238E27FC236}">
                    <a16:creationId xmlns:a16="http://schemas.microsoft.com/office/drawing/2014/main" id="{5AA30BEA-5BAF-53D4-3285-CFD59D0FDD74}"/>
                  </a:ext>
                </a:extLst>
              </p:cNvPr>
              <p:cNvSpPr/>
              <p:nvPr/>
            </p:nvSpPr>
            <p:spPr>
              <a:xfrm>
                <a:off x="7804508" y="3213645"/>
                <a:ext cx="284362" cy="1350981"/>
              </a:xfrm>
              <a:prstGeom prst="rect">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7" name="Rectangle 76">
                <a:extLst>
                  <a:ext uri="{FF2B5EF4-FFF2-40B4-BE49-F238E27FC236}">
                    <a16:creationId xmlns:a16="http://schemas.microsoft.com/office/drawing/2014/main" id="{B9976834-DE45-65C8-259A-FE4DC294CFFA}"/>
                  </a:ext>
                </a:extLst>
              </p:cNvPr>
              <p:cNvSpPr/>
              <p:nvPr/>
            </p:nvSpPr>
            <p:spPr>
              <a:xfrm>
                <a:off x="7482994" y="3938004"/>
                <a:ext cx="284362" cy="626622"/>
              </a:xfrm>
              <a:prstGeom prst="rect">
                <a:avLst/>
              </a:prstGeom>
              <a:solidFill>
                <a:srgbClr val="009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714A0A29-4D90-651A-518D-3A671E49199D}"/>
                  </a:ext>
                </a:extLst>
              </p:cNvPr>
              <p:cNvSpPr txBox="1"/>
              <p:nvPr/>
            </p:nvSpPr>
            <p:spPr>
              <a:xfrm>
                <a:off x="7487940" y="4314276"/>
                <a:ext cx="274320" cy="222800"/>
              </a:xfrm>
              <a:prstGeom prst="rect">
                <a:avLst/>
              </a:prstGeom>
              <a:noFill/>
            </p:spPr>
            <p:txBody>
              <a:bodyPr wrap="square" lIns="0" tIns="0" rIns="0" bIns="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a:ea typeface="+mn-ea"/>
                    <a:cs typeface="+mn-cs"/>
                  </a:rPr>
                  <a:t>4×</a:t>
                </a:r>
              </a:p>
            </p:txBody>
          </p:sp>
          <p:sp>
            <p:nvSpPr>
              <p:cNvPr id="89" name="TextBox 88">
                <a:extLst>
                  <a:ext uri="{FF2B5EF4-FFF2-40B4-BE49-F238E27FC236}">
                    <a16:creationId xmlns:a16="http://schemas.microsoft.com/office/drawing/2014/main" id="{774D5354-13AA-6896-5B49-EE325D7CB4CE}"/>
                  </a:ext>
                </a:extLst>
              </p:cNvPr>
              <p:cNvSpPr txBox="1"/>
              <p:nvPr/>
            </p:nvSpPr>
            <p:spPr>
              <a:xfrm>
                <a:off x="7809530" y="4314276"/>
                <a:ext cx="274320" cy="222800"/>
              </a:xfrm>
              <a:prstGeom prst="rect">
                <a:avLst/>
              </a:prstGeom>
              <a:noFill/>
            </p:spPr>
            <p:txBody>
              <a:bodyPr wrap="square" lIns="0" tIns="0" rIns="0" bIns="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a:ea typeface="+mn-ea"/>
                    <a:cs typeface="+mn-cs"/>
                  </a:rPr>
                  <a:t>4×</a:t>
                </a:r>
              </a:p>
            </p:txBody>
          </p:sp>
          <p:sp>
            <p:nvSpPr>
              <p:cNvPr id="102" name="TextBox 101">
                <a:extLst>
                  <a:ext uri="{FF2B5EF4-FFF2-40B4-BE49-F238E27FC236}">
                    <a16:creationId xmlns:a16="http://schemas.microsoft.com/office/drawing/2014/main" id="{D9BF10F5-DBA8-A88F-A4E5-A529384AB3E9}"/>
                  </a:ext>
                </a:extLst>
              </p:cNvPr>
              <p:cNvSpPr txBox="1"/>
              <p:nvPr/>
            </p:nvSpPr>
            <p:spPr>
              <a:xfrm>
                <a:off x="7488083" y="3746454"/>
                <a:ext cx="270266" cy="150662"/>
              </a:xfrm>
              <a:prstGeom prst="rect">
                <a:avLst/>
              </a:prstGeom>
              <a:no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775</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 name="TextBox 102">
                <a:extLst>
                  <a:ext uri="{FF2B5EF4-FFF2-40B4-BE49-F238E27FC236}">
                    <a16:creationId xmlns:a16="http://schemas.microsoft.com/office/drawing/2014/main" id="{BA115121-9240-10B2-047A-C1DEA99501B0}"/>
                  </a:ext>
                </a:extLst>
              </p:cNvPr>
              <p:cNvSpPr txBox="1"/>
              <p:nvPr/>
            </p:nvSpPr>
            <p:spPr>
              <a:xfrm>
                <a:off x="7811558" y="3028951"/>
                <a:ext cx="270266" cy="150662"/>
              </a:xfrm>
              <a:prstGeom prst="rect">
                <a:avLst/>
              </a:prstGeom>
              <a:no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665</a:t>
                </a: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46" name="Graphic 31">
              <a:extLst>
                <a:ext uri="{FF2B5EF4-FFF2-40B4-BE49-F238E27FC236}">
                  <a16:creationId xmlns:a16="http://schemas.microsoft.com/office/drawing/2014/main" id="{6787F552-36EA-757E-5F93-88A58B924F46}"/>
                </a:ext>
              </a:extLst>
            </p:cNvPr>
            <p:cNvSpPr/>
            <p:nvPr/>
          </p:nvSpPr>
          <p:spPr>
            <a:xfrm>
              <a:off x="7735815" y="4837509"/>
              <a:ext cx="372318" cy="372606"/>
            </a:xfrm>
            <a:custGeom>
              <a:avLst/>
              <a:gdLst>
                <a:gd name="connsiteX0" fmla="*/ 473283 w 483355"/>
                <a:gd name="connsiteY0" fmla="*/ 301232 h 483731"/>
                <a:gd name="connsiteX1" fmla="*/ 453134 w 483355"/>
                <a:gd name="connsiteY1" fmla="*/ 301232 h 483731"/>
                <a:gd name="connsiteX2" fmla="*/ 430978 w 483355"/>
                <a:gd name="connsiteY2" fmla="*/ 215598 h 483731"/>
                <a:gd name="connsiteX3" fmla="*/ 420904 w 483355"/>
                <a:gd name="connsiteY3" fmla="*/ 208554 h 483731"/>
                <a:gd name="connsiteX4" fmla="*/ 411833 w 483355"/>
                <a:gd name="connsiteY4" fmla="*/ 216621 h 483731"/>
                <a:gd name="connsiteX5" fmla="*/ 391683 w 483355"/>
                <a:gd name="connsiteY5" fmla="*/ 330474 h 483731"/>
                <a:gd name="connsiteX6" fmla="*/ 379602 w 483355"/>
                <a:gd name="connsiteY6" fmla="*/ 288169 h 483731"/>
                <a:gd name="connsiteX7" fmla="*/ 371534 w 483355"/>
                <a:gd name="connsiteY7" fmla="*/ 281125 h 483731"/>
                <a:gd name="connsiteX8" fmla="*/ 361460 w 483355"/>
                <a:gd name="connsiteY8" fmla="*/ 286162 h 483731"/>
                <a:gd name="connsiteX9" fmla="*/ 340307 w 483355"/>
                <a:gd name="connsiteY9" fmla="*/ 320420 h 483731"/>
                <a:gd name="connsiteX10" fmla="*/ 321161 w 483355"/>
                <a:gd name="connsiteY10" fmla="*/ 255937 h 483731"/>
                <a:gd name="connsiteX11" fmla="*/ 312090 w 483355"/>
                <a:gd name="connsiteY11" fmla="*/ 248893 h 483731"/>
                <a:gd name="connsiteX12" fmla="*/ 302016 w 483355"/>
                <a:gd name="connsiteY12" fmla="*/ 254934 h 483731"/>
                <a:gd name="connsiteX13" fmla="*/ 291941 w 483355"/>
                <a:gd name="connsiteY13" fmla="*/ 276087 h 483731"/>
                <a:gd name="connsiteX14" fmla="*/ 290938 w 483355"/>
                <a:gd name="connsiteY14" fmla="*/ 272053 h 483731"/>
                <a:gd name="connsiteX15" fmla="*/ 219413 w 483355"/>
                <a:gd name="connsiteY15" fmla="*/ 165267 h 483731"/>
                <a:gd name="connsiteX16" fmla="*/ 274823 w 483355"/>
                <a:gd name="connsiteY16" fmla="*/ 111862 h 483731"/>
                <a:gd name="connsiteX17" fmla="*/ 284898 w 483355"/>
                <a:gd name="connsiteY17" fmla="*/ 101787 h 483731"/>
                <a:gd name="connsiteX18" fmla="*/ 274823 w 483355"/>
                <a:gd name="connsiteY18" fmla="*/ 91713 h 483731"/>
                <a:gd name="connsiteX19" fmla="*/ 199264 w 483355"/>
                <a:gd name="connsiteY19" fmla="*/ 169277 h 483731"/>
                <a:gd name="connsiteX20" fmla="*/ 199264 w 483355"/>
                <a:gd name="connsiteY20" fmla="*/ 233759 h 483731"/>
                <a:gd name="connsiteX21" fmla="*/ 209339 w 483355"/>
                <a:gd name="connsiteY21" fmla="*/ 243834 h 483731"/>
                <a:gd name="connsiteX22" fmla="*/ 219413 w 483355"/>
                <a:gd name="connsiteY22" fmla="*/ 233759 h 483731"/>
                <a:gd name="connsiteX23" fmla="*/ 219413 w 483355"/>
                <a:gd name="connsiteY23" fmla="*/ 188424 h 483731"/>
                <a:gd name="connsiteX24" fmla="*/ 271791 w 483355"/>
                <a:gd name="connsiteY24" fmla="*/ 275060 h 483731"/>
                <a:gd name="connsiteX25" fmla="*/ 243574 w 483355"/>
                <a:gd name="connsiteY25" fmla="*/ 422144 h 483731"/>
                <a:gd name="connsiteX26" fmla="*/ 223425 w 483355"/>
                <a:gd name="connsiteY26" fmla="*/ 386883 h 483731"/>
                <a:gd name="connsiteX27" fmla="*/ 223425 w 483355"/>
                <a:gd name="connsiteY27" fmla="*/ 352606 h 483731"/>
                <a:gd name="connsiteX28" fmla="*/ 221417 w 483355"/>
                <a:gd name="connsiteY28" fmla="*/ 346565 h 483731"/>
                <a:gd name="connsiteX29" fmla="*/ 188163 w 483355"/>
                <a:gd name="connsiteY29" fmla="*/ 305263 h 483731"/>
                <a:gd name="connsiteX30" fmla="*/ 174055 w 483355"/>
                <a:gd name="connsiteY30" fmla="*/ 303256 h 483731"/>
                <a:gd name="connsiteX31" fmla="*/ 172048 w 483355"/>
                <a:gd name="connsiteY31" fmla="*/ 317365 h 483731"/>
                <a:gd name="connsiteX32" fmla="*/ 203275 w 483355"/>
                <a:gd name="connsiteY32" fmla="*/ 355656 h 483731"/>
                <a:gd name="connsiteX33" fmla="*/ 203275 w 483355"/>
                <a:gd name="connsiteY33" fmla="*/ 387887 h 483731"/>
                <a:gd name="connsiteX34" fmla="*/ 204279 w 483355"/>
                <a:gd name="connsiteY34" fmla="*/ 392924 h 483731"/>
                <a:gd name="connsiteX35" fmla="*/ 229465 w 483355"/>
                <a:gd name="connsiteY35" fmla="*/ 437256 h 483731"/>
                <a:gd name="connsiteX36" fmla="*/ 186136 w 483355"/>
                <a:gd name="connsiteY36" fmla="*/ 462443 h 483731"/>
                <a:gd name="connsiteX37" fmla="*/ 121654 w 483355"/>
                <a:gd name="connsiteY37" fmla="*/ 442294 h 483731"/>
                <a:gd name="connsiteX38" fmla="*/ 99498 w 483355"/>
                <a:gd name="connsiteY38" fmla="*/ 425175 h 483731"/>
                <a:gd name="connsiteX39" fmla="*/ 99498 w 483355"/>
                <a:gd name="connsiteY39" fmla="*/ 379839 h 483731"/>
                <a:gd name="connsiteX40" fmla="*/ 120650 w 483355"/>
                <a:gd name="connsiteY40" fmla="*/ 367758 h 483731"/>
                <a:gd name="connsiteX41" fmla="*/ 125688 w 483355"/>
                <a:gd name="connsiteY41" fmla="*/ 357683 h 483731"/>
                <a:gd name="connsiteX42" fmla="*/ 112583 w 483355"/>
                <a:gd name="connsiteY42" fmla="*/ 287161 h 483731"/>
                <a:gd name="connsiteX43" fmla="*/ 100501 w 483355"/>
                <a:gd name="connsiteY43" fmla="*/ 279093 h 483731"/>
                <a:gd name="connsiteX44" fmla="*/ 92434 w 483355"/>
                <a:gd name="connsiteY44" fmla="*/ 291175 h 483731"/>
                <a:gd name="connsiteX45" fmla="*/ 104515 w 483355"/>
                <a:gd name="connsiteY45" fmla="*/ 354655 h 483731"/>
                <a:gd name="connsiteX46" fmla="*/ 85369 w 483355"/>
                <a:gd name="connsiteY46" fmla="*/ 365733 h 483731"/>
                <a:gd name="connsiteX47" fmla="*/ 80371 w 483355"/>
                <a:gd name="connsiteY47" fmla="*/ 374765 h 483731"/>
                <a:gd name="connsiteX48" fmla="*/ 80371 w 483355"/>
                <a:gd name="connsiteY48" fmla="*/ 404988 h 483731"/>
                <a:gd name="connsiteX49" fmla="*/ 22956 w 483355"/>
                <a:gd name="connsiteY49" fmla="*/ 293166 h 483731"/>
                <a:gd name="connsiteX50" fmla="*/ 125707 w 483355"/>
                <a:gd name="connsiteY50" fmla="*/ 168236 h 483731"/>
                <a:gd name="connsiteX51" fmla="*/ 141822 w 483355"/>
                <a:gd name="connsiteY51" fmla="*/ 166228 h 483731"/>
                <a:gd name="connsiteX52" fmla="*/ 141822 w 483355"/>
                <a:gd name="connsiteY52" fmla="*/ 232716 h 483731"/>
                <a:gd name="connsiteX53" fmla="*/ 151897 w 483355"/>
                <a:gd name="connsiteY53" fmla="*/ 242790 h 483731"/>
                <a:gd name="connsiteX54" fmla="*/ 161971 w 483355"/>
                <a:gd name="connsiteY54" fmla="*/ 232716 h 483731"/>
                <a:gd name="connsiteX55" fmla="*/ 161971 w 483355"/>
                <a:gd name="connsiteY55" fmla="*/ 165226 h 483731"/>
                <a:gd name="connsiteX56" fmla="*/ 274817 w 483355"/>
                <a:gd name="connsiteY56" fmla="*/ 58440 h 483731"/>
                <a:gd name="connsiteX57" fmla="*/ 284891 w 483355"/>
                <a:gd name="connsiteY57" fmla="*/ 48366 h 483731"/>
                <a:gd name="connsiteX58" fmla="*/ 274817 w 483355"/>
                <a:gd name="connsiteY58" fmla="*/ 38291 h 483731"/>
                <a:gd name="connsiteX59" fmla="*/ 156954 w 483355"/>
                <a:gd name="connsiteY59" fmla="*/ 103776 h 483731"/>
                <a:gd name="connsiteX60" fmla="*/ 148887 w 483355"/>
                <a:gd name="connsiteY60" fmla="*/ 95708 h 483731"/>
                <a:gd name="connsiteX61" fmla="*/ 148887 w 483355"/>
                <a:gd name="connsiteY61" fmla="*/ 10075 h 483731"/>
                <a:gd name="connsiteX62" fmla="*/ 138812 w 483355"/>
                <a:gd name="connsiteY62" fmla="*/ 0 h 483731"/>
                <a:gd name="connsiteX63" fmla="*/ 128737 w 483355"/>
                <a:gd name="connsiteY63" fmla="*/ 10075 h 483731"/>
                <a:gd name="connsiteX64" fmla="*/ 128737 w 483355"/>
                <a:gd name="connsiteY64" fmla="*/ 100746 h 483731"/>
                <a:gd name="connsiteX65" fmla="*/ 132771 w 483355"/>
                <a:gd name="connsiteY65" fmla="*/ 108813 h 483731"/>
                <a:gd name="connsiteX66" fmla="*/ 146880 w 483355"/>
                <a:gd name="connsiteY66" fmla="*/ 126956 h 483731"/>
                <a:gd name="connsiteX67" fmla="*/ 142846 w 483355"/>
                <a:gd name="connsiteY67" fmla="*/ 146101 h 483731"/>
                <a:gd name="connsiteX68" fmla="*/ 121693 w 483355"/>
                <a:gd name="connsiteY68" fmla="*/ 148109 h 483731"/>
                <a:gd name="connsiteX69" fmla="*/ 73327 w 483355"/>
                <a:gd name="connsiteY69" fmla="*/ 162217 h 483731"/>
                <a:gd name="connsiteX70" fmla="*/ 73327 w 483355"/>
                <a:gd name="connsiteY70" fmla="*/ 147105 h 483731"/>
                <a:gd name="connsiteX71" fmla="*/ 91469 w 483355"/>
                <a:gd name="connsiteY71" fmla="*/ 108814 h 483731"/>
                <a:gd name="connsiteX72" fmla="*/ 95503 w 483355"/>
                <a:gd name="connsiteY72" fmla="*/ 100746 h 483731"/>
                <a:gd name="connsiteX73" fmla="*/ 95484 w 483355"/>
                <a:gd name="connsiteY73" fmla="*/ 10075 h 483731"/>
                <a:gd name="connsiteX74" fmla="*/ 85409 w 483355"/>
                <a:gd name="connsiteY74" fmla="*/ 0 h 483731"/>
                <a:gd name="connsiteX75" fmla="*/ 75335 w 483355"/>
                <a:gd name="connsiteY75" fmla="*/ 10075 h 483731"/>
                <a:gd name="connsiteX76" fmla="*/ 75335 w 483355"/>
                <a:gd name="connsiteY76" fmla="*/ 95709 h 483731"/>
                <a:gd name="connsiteX77" fmla="*/ 53178 w 483355"/>
                <a:gd name="connsiteY77" fmla="*/ 147084 h 483731"/>
                <a:gd name="connsiteX78" fmla="*/ 53178 w 483355"/>
                <a:gd name="connsiteY78" fmla="*/ 172271 h 483731"/>
                <a:gd name="connsiteX79" fmla="*/ 2806 w 483355"/>
                <a:gd name="connsiteY79" fmla="*/ 297200 h 483731"/>
                <a:gd name="connsiteX80" fmla="*/ 110594 w 483355"/>
                <a:gd name="connsiteY80" fmla="*/ 459396 h 483731"/>
                <a:gd name="connsiteX81" fmla="*/ 190188 w 483355"/>
                <a:gd name="connsiteY81" fmla="*/ 482576 h 483731"/>
                <a:gd name="connsiteX82" fmla="*/ 294968 w 483355"/>
                <a:gd name="connsiteY82" fmla="*/ 313313 h 483731"/>
                <a:gd name="connsiteX83" fmla="*/ 309077 w 483355"/>
                <a:gd name="connsiteY83" fmla="*/ 285096 h 483731"/>
                <a:gd name="connsiteX84" fmla="*/ 328223 w 483355"/>
                <a:gd name="connsiteY84" fmla="*/ 346546 h 483731"/>
                <a:gd name="connsiteX85" fmla="*/ 336290 w 483355"/>
                <a:gd name="connsiteY85" fmla="*/ 353590 h 483731"/>
                <a:gd name="connsiteX86" fmla="*/ 346365 w 483355"/>
                <a:gd name="connsiteY86" fmla="*/ 348553 h 483731"/>
                <a:gd name="connsiteX87" fmla="*/ 366514 w 483355"/>
                <a:gd name="connsiteY87" fmla="*/ 314295 h 483731"/>
                <a:gd name="connsiteX88" fmla="*/ 384656 w 483355"/>
                <a:gd name="connsiteY88" fmla="*/ 376747 h 483731"/>
                <a:gd name="connsiteX89" fmla="*/ 394731 w 483355"/>
                <a:gd name="connsiteY89" fmla="*/ 383791 h 483731"/>
                <a:gd name="connsiteX90" fmla="*/ 395734 w 483355"/>
                <a:gd name="connsiteY90" fmla="*/ 383791 h 483731"/>
                <a:gd name="connsiteX91" fmla="*/ 404806 w 483355"/>
                <a:gd name="connsiteY91" fmla="*/ 375724 h 483731"/>
                <a:gd name="connsiteX92" fmla="*/ 423951 w 483355"/>
                <a:gd name="connsiteY92" fmla="*/ 264903 h 483731"/>
                <a:gd name="connsiteX93" fmla="*/ 436033 w 483355"/>
                <a:gd name="connsiteY93" fmla="*/ 313269 h 483731"/>
                <a:gd name="connsiteX94" fmla="*/ 446107 w 483355"/>
                <a:gd name="connsiteY94" fmla="*/ 320314 h 483731"/>
                <a:gd name="connsiteX95" fmla="*/ 473281 w 483355"/>
                <a:gd name="connsiteY95" fmla="*/ 320372 h 483731"/>
                <a:gd name="connsiteX96" fmla="*/ 483356 w 483355"/>
                <a:gd name="connsiteY96" fmla="*/ 310298 h 483731"/>
                <a:gd name="connsiteX97" fmla="*/ 473281 w 483355"/>
                <a:gd name="connsiteY97" fmla="*/ 301227 h 483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483355" h="483731">
                  <a:moveTo>
                    <a:pt x="473283" y="301232"/>
                  </a:moveTo>
                  <a:lnTo>
                    <a:pt x="453134" y="301232"/>
                  </a:lnTo>
                  <a:lnTo>
                    <a:pt x="430978" y="215598"/>
                  </a:lnTo>
                  <a:cubicBezTo>
                    <a:pt x="429975" y="210561"/>
                    <a:pt x="425941" y="207530"/>
                    <a:pt x="420904" y="208554"/>
                  </a:cubicBezTo>
                  <a:cubicBezTo>
                    <a:pt x="415866" y="208554"/>
                    <a:pt x="411833" y="212588"/>
                    <a:pt x="411833" y="216621"/>
                  </a:cubicBezTo>
                  <a:lnTo>
                    <a:pt x="391683" y="330474"/>
                  </a:lnTo>
                  <a:lnTo>
                    <a:pt x="379602" y="288169"/>
                  </a:lnTo>
                  <a:cubicBezTo>
                    <a:pt x="378599" y="284135"/>
                    <a:pt x="375568" y="281125"/>
                    <a:pt x="371534" y="281125"/>
                  </a:cubicBezTo>
                  <a:cubicBezTo>
                    <a:pt x="367500" y="281125"/>
                    <a:pt x="363467" y="282128"/>
                    <a:pt x="361460" y="286162"/>
                  </a:cubicBezTo>
                  <a:lnTo>
                    <a:pt x="340307" y="320420"/>
                  </a:lnTo>
                  <a:lnTo>
                    <a:pt x="321161" y="255937"/>
                  </a:lnTo>
                  <a:cubicBezTo>
                    <a:pt x="320158" y="251904"/>
                    <a:pt x="316124" y="248893"/>
                    <a:pt x="312090" y="248893"/>
                  </a:cubicBezTo>
                  <a:cubicBezTo>
                    <a:pt x="308056" y="248893"/>
                    <a:pt x="304022" y="250900"/>
                    <a:pt x="302016" y="254934"/>
                  </a:cubicBezTo>
                  <a:lnTo>
                    <a:pt x="291941" y="276087"/>
                  </a:lnTo>
                  <a:cubicBezTo>
                    <a:pt x="291941" y="275083"/>
                    <a:pt x="291941" y="273056"/>
                    <a:pt x="290938" y="272053"/>
                  </a:cubicBezTo>
                  <a:cubicBezTo>
                    <a:pt x="281866" y="223687"/>
                    <a:pt x="256680" y="186419"/>
                    <a:pt x="219413" y="165267"/>
                  </a:cubicBezTo>
                  <a:cubicBezTo>
                    <a:pt x="221420" y="136047"/>
                    <a:pt x="245603" y="111862"/>
                    <a:pt x="274823" y="111862"/>
                  </a:cubicBezTo>
                  <a:cubicBezTo>
                    <a:pt x="280864" y="111862"/>
                    <a:pt x="284898" y="107828"/>
                    <a:pt x="284898" y="101787"/>
                  </a:cubicBezTo>
                  <a:cubicBezTo>
                    <a:pt x="284898" y="95747"/>
                    <a:pt x="280864" y="91713"/>
                    <a:pt x="274823" y="91713"/>
                  </a:cubicBezTo>
                  <a:cubicBezTo>
                    <a:pt x="232518" y="91713"/>
                    <a:pt x="199264" y="125970"/>
                    <a:pt x="199264" y="169277"/>
                  </a:cubicBezTo>
                  <a:lnTo>
                    <a:pt x="199264" y="233759"/>
                  </a:lnTo>
                  <a:cubicBezTo>
                    <a:pt x="199264" y="239800"/>
                    <a:pt x="203298" y="243834"/>
                    <a:pt x="209339" y="243834"/>
                  </a:cubicBezTo>
                  <a:cubicBezTo>
                    <a:pt x="215379" y="243834"/>
                    <a:pt x="219413" y="239800"/>
                    <a:pt x="219413" y="233759"/>
                  </a:cubicBezTo>
                  <a:lnTo>
                    <a:pt x="219413" y="188424"/>
                  </a:lnTo>
                  <a:cubicBezTo>
                    <a:pt x="240566" y="202532"/>
                    <a:pt x="262742" y="228722"/>
                    <a:pt x="271791" y="275060"/>
                  </a:cubicBezTo>
                  <a:cubicBezTo>
                    <a:pt x="281865" y="328465"/>
                    <a:pt x="268760" y="384878"/>
                    <a:pt x="243574" y="422144"/>
                  </a:cubicBezTo>
                  <a:lnTo>
                    <a:pt x="223425" y="386883"/>
                  </a:lnTo>
                  <a:lnTo>
                    <a:pt x="223425" y="352606"/>
                  </a:lnTo>
                  <a:cubicBezTo>
                    <a:pt x="223425" y="350599"/>
                    <a:pt x="222421" y="348572"/>
                    <a:pt x="221417" y="346565"/>
                  </a:cubicBezTo>
                  <a:lnTo>
                    <a:pt x="188163" y="305263"/>
                  </a:lnTo>
                  <a:cubicBezTo>
                    <a:pt x="185133" y="301229"/>
                    <a:pt x="178089" y="300226"/>
                    <a:pt x="174055" y="303256"/>
                  </a:cubicBezTo>
                  <a:cubicBezTo>
                    <a:pt x="170021" y="306286"/>
                    <a:pt x="169018" y="313331"/>
                    <a:pt x="172048" y="317365"/>
                  </a:cubicBezTo>
                  <a:lnTo>
                    <a:pt x="203275" y="355656"/>
                  </a:lnTo>
                  <a:lnTo>
                    <a:pt x="203275" y="387887"/>
                  </a:lnTo>
                  <a:cubicBezTo>
                    <a:pt x="203275" y="389894"/>
                    <a:pt x="203275" y="390917"/>
                    <a:pt x="204279" y="392924"/>
                  </a:cubicBezTo>
                  <a:lnTo>
                    <a:pt x="229465" y="437256"/>
                  </a:lnTo>
                  <a:cubicBezTo>
                    <a:pt x="216360" y="450361"/>
                    <a:pt x="202272" y="459412"/>
                    <a:pt x="186136" y="462443"/>
                  </a:cubicBezTo>
                  <a:cubicBezTo>
                    <a:pt x="167994" y="465473"/>
                    <a:pt x="145838" y="458409"/>
                    <a:pt x="121654" y="442294"/>
                  </a:cubicBezTo>
                  <a:cubicBezTo>
                    <a:pt x="114610" y="437256"/>
                    <a:pt x="106542" y="431216"/>
                    <a:pt x="99498" y="425175"/>
                  </a:cubicBezTo>
                  <a:lnTo>
                    <a:pt x="99498" y="379839"/>
                  </a:lnTo>
                  <a:lnTo>
                    <a:pt x="120650" y="367758"/>
                  </a:lnTo>
                  <a:cubicBezTo>
                    <a:pt x="124684" y="365750"/>
                    <a:pt x="126691" y="361717"/>
                    <a:pt x="125688" y="357683"/>
                  </a:cubicBezTo>
                  <a:lnTo>
                    <a:pt x="112583" y="287161"/>
                  </a:lnTo>
                  <a:cubicBezTo>
                    <a:pt x="111579" y="282124"/>
                    <a:pt x="106542" y="278090"/>
                    <a:pt x="100501" y="279093"/>
                  </a:cubicBezTo>
                  <a:cubicBezTo>
                    <a:pt x="95464" y="280097"/>
                    <a:pt x="91430" y="285134"/>
                    <a:pt x="92434" y="291175"/>
                  </a:cubicBezTo>
                  <a:lnTo>
                    <a:pt x="104515" y="354655"/>
                  </a:lnTo>
                  <a:lnTo>
                    <a:pt x="85369" y="365733"/>
                  </a:lnTo>
                  <a:cubicBezTo>
                    <a:pt x="82379" y="367720"/>
                    <a:pt x="80371" y="370750"/>
                    <a:pt x="80371" y="374765"/>
                  </a:cubicBezTo>
                  <a:lnTo>
                    <a:pt x="80371" y="404988"/>
                  </a:lnTo>
                  <a:cubicBezTo>
                    <a:pt x="51151" y="372758"/>
                    <a:pt x="29999" y="331454"/>
                    <a:pt x="22956" y="293166"/>
                  </a:cubicBezTo>
                  <a:cubicBezTo>
                    <a:pt x="9851" y="224668"/>
                    <a:pt x="43105" y="183348"/>
                    <a:pt x="125707" y="168236"/>
                  </a:cubicBezTo>
                  <a:cubicBezTo>
                    <a:pt x="130744" y="167232"/>
                    <a:pt x="135781" y="166228"/>
                    <a:pt x="141822" y="166228"/>
                  </a:cubicBezTo>
                  <a:lnTo>
                    <a:pt x="141822" y="232716"/>
                  </a:lnTo>
                  <a:cubicBezTo>
                    <a:pt x="141822" y="238756"/>
                    <a:pt x="145856" y="242790"/>
                    <a:pt x="151897" y="242790"/>
                  </a:cubicBezTo>
                  <a:cubicBezTo>
                    <a:pt x="157938" y="242790"/>
                    <a:pt x="161971" y="238757"/>
                    <a:pt x="161971" y="232716"/>
                  </a:cubicBezTo>
                  <a:lnTo>
                    <a:pt x="161971" y="165226"/>
                  </a:lnTo>
                  <a:cubicBezTo>
                    <a:pt x="160968" y="57418"/>
                    <a:pt x="273794" y="59443"/>
                    <a:pt x="274817" y="58440"/>
                  </a:cubicBezTo>
                  <a:cubicBezTo>
                    <a:pt x="280857" y="58440"/>
                    <a:pt x="284891" y="54407"/>
                    <a:pt x="284891" y="48366"/>
                  </a:cubicBezTo>
                  <a:cubicBezTo>
                    <a:pt x="284891" y="42325"/>
                    <a:pt x="280858" y="38291"/>
                    <a:pt x="274817" y="38291"/>
                  </a:cubicBezTo>
                  <a:cubicBezTo>
                    <a:pt x="273813" y="38291"/>
                    <a:pt x="196225" y="31247"/>
                    <a:pt x="156954" y="103776"/>
                  </a:cubicBezTo>
                  <a:cubicBezTo>
                    <a:pt x="154947" y="100746"/>
                    <a:pt x="151917" y="97735"/>
                    <a:pt x="148887" y="95708"/>
                  </a:cubicBezTo>
                  <a:lnTo>
                    <a:pt x="148887" y="10075"/>
                  </a:lnTo>
                  <a:cubicBezTo>
                    <a:pt x="148887" y="4034"/>
                    <a:pt x="144853" y="0"/>
                    <a:pt x="138812" y="0"/>
                  </a:cubicBezTo>
                  <a:cubicBezTo>
                    <a:pt x="132771" y="0"/>
                    <a:pt x="128737" y="4034"/>
                    <a:pt x="128737" y="10075"/>
                  </a:cubicBezTo>
                  <a:lnTo>
                    <a:pt x="128737" y="100746"/>
                  </a:lnTo>
                  <a:cubicBezTo>
                    <a:pt x="128737" y="103776"/>
                    <a:pt x="130745" y="106786"/>
                    <a:pt x="132771" y="108813"/>
                  </a:cubicBezTo>
                  <a:cubicBezTo>
                    <a:pt x="138812" y="112847"/>
                    <a:pt x="143849" y="119891"/>
                    <a:pt x="146880" y="126956"/>
                  </a:cubicBezTo>
                  <a:cubicBezTo>
                    <a:pt x="144873" y="132996"/>
                    <a:pt x="143850" y="139037"/>
                    <a:pt x="142846" y="146101"/>
                  </a:cubicBezTo>
                  <a:cubicBezTo>
                    <a:pt x="135802" y="146101"/>
                    <a:pt x="128737" y="147105"/>
                    <a:pt x="121693" y="148109"/>
                  </a:cubicBezTo>
                  <a:cubicBezTo>
                    <a:pt x="103551" y="152143"/>
                    <a:pt x="87436" y="156176"/>
                    <a:pt x="73327" y="162217"/>
                  </a:cubicBezTo>
                  <a:lnTo>
                    <a:pt x="73327" y="147105"/>
                  </a:lnTo>
                  <a:cubicBezTo>
                    <a:pt x="73327" y="130990"/>
                    <a:pt x="80371" y="115878"/>
                    <a:pt x="91469" y="108814"/>
                  </a:cubicBezTo>
                  <a:cubicBezTo>
                    <a:pt x="94500" y="106806"/>
                    <a:pt x="95503" y="103777"/>
                    <a:pt x="95503" y="100746"/>
                  </a:cubicBezTo>
                  <a:lnTo>
                    <a:pt x="95484" y="10075"/>
                  </a:lnTo>
                  <a:cubicBezTo>
                    <a:pt x="95484" y="4034"/>
                    <a:pt x="91450" y="0"/>
                    <a:pt x="85409" y="0"/>
                  </a:cubicBezTo>
                  <a:cubicBezTo>
                    <a:pt x="79368" y="0"/>
                    <a:pt x="75335" y="4034"/>
                    <a:pt x="75335" y="10075"/>
                  </a:cubicBezTo>
                  <a:lnTo>
                    <a:pt x="75335" y="95709"/>
                  </a:lnTo>
                  <a:cubicBezTo>
                    <a:pt x="61226" y="107790"/>
                    <a:pt x="53178" y="126936"/>
                    <a:pt x="53178" y="147084"/>
                  </a:cubicBezTo>
                  <a:lnTo>
                    <a:pt x="53178" y="172271"/>
                  </a:lnTo>
                  <a:cubicBezTo>
                    <a:pt x="9850" y="198460"/>
                    <a:pt x="-7269" y="239760"/>
                    <a:pt x="2806" y="297200"/>
                  </a:cubicBezTo>
                  <a:cubicBezTo>
                    <a:pt x="13884" y="357648"/>
                    <a:pt x="59218" y="424135"/>
                    <a:pt x="110594" y="459396"/>
                  </a:cubicBezTo>
                  <a:cubicBezTo>
                    <a:pt x="133773" y="475511"/>
                    <a:pt x="161969" y="487613"/>
                    <a:pt x="190188" y="482576"/>
                  </a:cubicBezTo>
                  <a:cubicBezTo>
                    <a:pt x="250635" y="470494"/>
                    <a:pt x="293966" y="395939"/>
                    <a:pt x="294968" y="313313"/>
                  </a:cubicBezTo>
                  <a:lnTo>
                    <a:pt x="309077" y="285096"/>
                  </a:lnTo>
                  <a:lnTo>
                    <a:pt x="328223" y="346546"/>
                  </a:lnTo>
                  <a:cubicBezTo>
                    <a:pt x="329226" y="350580"/>
                    <a:pt x="332256" y="353590"/>
                    <a:pt x="336290" y="353590"/>
                  </a:cubicBezTo>
                  <a:cubicBezTo>
                    <a:pt x="340324" y="353590"/>
                    <a:pt x="344358" y="352586"/>
                    <a:pt x="346365" y="348553"/>
                  </a:cubicBezTo>
                  <a:lnTo>
                    <a:pt x="366514" y="314295"/>
                  </a:lnTo>
                  <a:lnTo>
                    <a:pt x="384656" y="376747"/>
                  </a:lnTo>
                  <a:cubicBezTo>
                    <a:pt x="385660" y="380781"/>
                    <a:pt x="389694" y="383791"/>
                    <a:pt x="394731" y="383791"/>
                  </a:cubicBezTo>
                  <a:lnTo>
                    <a:pt x="395734" y="383791"/>
                  </a:lnTo>
                  <a:cubicBezTo>
                    <a:pt x="400772" y="383791"/>
                    <a:pt x="404806" y="379758"/>
                    <a:pt x="404806" y="375724"/>
                  </a:cubicBezTo>
                  <a:lnTo>
                    <a:pt x="423951" y="264903"/>
                  </a:lnTo>
                  <a:lnTo>
                    <a:pt x="436033" y="313269"/>
                  </a:lnTo>
                  <a:cubicBezTo>
                    <a:pt x="437036" y="317303"/>
                    <a:pt x="441070" y="320314"/>
                    <a:pt x="446107" y="320314"/>
                  </a:cubicBezTo>
                  <a:lnTo>
                    <a:pt x="473281" y="320372"/>
                  </a:lnTo>
                  <a:cubicBezTo>
                    <a:pt x="479322" y="320372"/>
                    <a:pt x="483356" y="316339"/>
                    <a:pt x="483356" y="310298"/>
                  </a:cubicBezTo>
                  <a:cubicBezTo>
                    <a:pt x="483356" y="304238"/>
                    <a:pt x="479322" y="301227"/>
                    <a:pt x="473281" y="301227"/>
                  </a:cubicBezTo>
                  <a:close/>
                </a:path>
              </a:pathLst>
            </a:custGeom>
            <a:solidFill>
              <a:schemeClr val="bg2">
                <a:lumMod val="50000"/>
              </a:schemeClr>
            </a:solidFill>
            <a:ln w="3175" cap="flat">
              <a:solidFill>
                <a:schemeClr val="bg2">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cxnSp>
          <p:nvCxnSpPr>
            <p:cNvPr id="127" name="Straight Connector 126">
              <a:extLst>
                <a:ext uri="{FF2B5EF4-FFF2-40B4-BE49-F238E27FC236}">
                  <a16:creationId xmlns:a16="http://schemas.microsoft.com/office/drawing/2014/main" id="{43DCE763-E09E-2393-0A11-58536DD92E8D}"/>
                </a:ext>
              </a:extLst>
            </p:cNvPr>
            <p:cNvCxnSpPr>
              <a:cxnSpLocks/>
            </p:cNvCxnSpPr>
            <p:nvPr/>
          </p:nvCxnSpPr>
          <p:spPr>
            <a:xfrm flipH="1">
              <a:off x="5783758" y="4564626"/>
              <a:ext cx="6114327" cy="0"/>
            </a:xfrm>
            <a:prstGeom prst="line">
              <a:avLst/>
            </a:prstGeom>
            <a:ln w="9525">
              <a:solidFill>
                <a:schemeClr val="bg2"/>
              </a:solidFill>
            </a:ln>
          </p:spPr>
          <p:style>
            <a:lnRef idx="2">
              <a:schemeClr val="accent1"/>
            </a:lnRef>
            <a:fillRef idx="0">
              <a:schemeClr val="accent1"/>
            </a:fillRef>
            <a:effectRef idx="1">
              <a:schemeClr val="accent1"/>
            </a:effectRef>
            <a:fontRef idx="minor">
              <a:schemeClr val="tx1"/>
            </a:fontRef>
          </p:style>
        </p:cxnSp>
      </p:grpSp>
      <p:pic>
        <p:nvPicPr>
          <p:cNvPr id="5" name="Picture 4" descr="A yellow and blue logo&#10;&#10;Description automatically generated">
            <a:extLst>
              <a:ext uri="{FF2B5EF4-FFF2-40B4-BE49-F238E27FC236}">
                <a16:creationId xmlns:a16="http://schemas.microsoft.com/office/drawing/2014/main" id="{B9A7D26D-2B72-B2C2-E1C3-3245EC24F84F}"/>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12623373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5664CDC0-F612-1F40-37AE-18FD18649916}"/>
              </a:ext>
            </a:extLst>
          </p:cNvPr>
          <p:cNvGrpSpPr/>
          <p:nvPr/>
        </p:nvGrpSpPr>
        <p:grpSpPr>
          <a:xfrm>
            <a:off x="6521191" y="1409699"/>
            <a:ext cx="5670808" cy="4367299"/>
            <a:chOff x="6521191" y="1409699"/>
            <a:chExt cx="5670808" cy="4367299"/>
          </a:xfrm>
        </p:grpSpPr>
        <p:sp>
          <p:nvSpPr>
            <p:cNvPr id="35" name="Parallelogram 34">
              <a:extLst>
                <a:ext uri="{FF2B5EF4-FFF2-40B4-BE49-F238E27FC236}">
                  <a16:creationId xmlns:a16="http://schemas.microsoft.com/office/drawing/2014/main" id="{ACCBF0D7-9ECA-22E1-6BE6-04A586CA5246}"/>
                </a:ext>
              </a:extLst>
            </p:cNvPr>
            <p:cNvSpPr/>
            <p:nvPr/>
          </p:nvSpPr>
          <p:spPr>
            <a:xfrm flipH="1" flipV="1">
              <a:off x="6521191" y="1409699"/>
              <a:ext cx="4823315" cy="4367299"/>
            </a:xfrm>
            <a:prstGeom prst="parallelogram">
              <a:avLst>
                <a:gd name="adj" fmla="val 26977"/>
              </a:avLst>
            </a:prstGeom>
            <a:solidFill>
              <a:srgbClr val="E0F2FF"/>
            </a:solidFill>
            <a:ln w="571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sp>
          <p:nvSpPr>
            <p:cNvPr id="36" name="Rectangle 35">
              <a:extLst>
                <a:ext uri="{FF2B5EF4-FFF2-40B4-BE49-F238E27FC236}">
                  <a16:creationId xmlns:a16="http://schemas.microsoft.com/office/drawing/2014/main" id="{B90135DB-52B0-BD15-6B39-E8B469142BF0}"/>
                </a:ext>
              </a:extLst>
            </p:cNvPr>
            <p:cNvSpPr/>
            <p:nvPr/>
          </p:nvSpPr>
          <p:spPr>
            <a:xfrm flipH="1" flipV="1">
              <a:off x="8631043" y="1409699"/>
              <a:ext cx="3560956" cy="4367299"/>
            </a:xfrm>
            <a:prstGeom prst="rect">
              <a:avLst/>
            </a:prstGeom>
            <a:solidFill>
              <a:srgbClr val="E0F2FF"/>
            </a:solidFill>
            <a:ln w="571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grpSp>
      <p:grpSp>
        <p:nvGrpSpPr>
          <p:cNvPr id="20" name="Group 19">
            <a:extLst>
              <a:ext uri="{FF2B5EF4-FFF2-40B4-BE49-F238E27FC236}">
                <a16:creationId xmlns:a16="http://schemas.microsoft.com/office/drawing/2014/main" id="{544875B3-FBEA-31FC-2ABB-B131F160A6C4}"/>
              </a:ext>
            </a:extLst>
          </p:cNvPr>
          <p:cNvGrpSpPr/>
          <p:nvPr/>
        </p:nvGrpSpPr>
        <p:grpSpPr>
          <a:xfrm>
            <a:off x="0" y="1409700"/>
            <a:ext cx="7493102" cy="4367299"/>
            <a:chOff x="135466" y="1257300"/>
            <a:chExt cx="7493102" cy="4367299"/>
          </a:xfrm>
          <a:solidFill>
            <a:schemeClr val="accent2">
              <a:lumMod val="20000"/>
              <a:lumOff val="80000"/>
            </a:schemeClr>
          </a:solidFill>
        </p:grpSpPr>
        <p:sp>
          <p:nvSpPr>
            <p:cNvPr id="32" name="Parallelogram 31">
              <a:extLst>
                <a:ext uri="{FF2B5EF4-FFF2-40B4-BE49-F238E27FC236}">
                  <a16:creationId xmlns:a16="http://schemas.microsoft.com/office/drawing/2014/main" id="{EA04A50E-A091-CD61-D31D-215DC3EFD229}"/>
                </a:ext>
              </a:extLst>
            </p:cNvPr>
            <p:cNvSpPr/>
            <p:nvPr/>
          </p:nvSpPr>
          <p:spPr>
            <a:xfrm>
              <a:off x="1643875" y="1257300"/>
              <a:ext cx="5984693" cy="4367299"/>
            </a:xfrm>
            <a:prstGeom prst="parallelogram">
              <a:avLst>
                <a:gd name="adj" fmla="val 26280"/>
              </a:avLst>
            </a:prstGeom>
            <a:solidFill>
              <a:srgbClr val="E3E3F9"/>
            </a:solidFill>
            <a:ln w="571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79436AC7-5EE5-F1CC-73BB-2DDF42CE20B7}"/>
                </a:ext>
              </a:extLst>
            </p:cNvPr>
            <p:cNvSpPr/>
            <p:nvPr/>
          </p:nvSpPr>
          <p:spPr>
            <a:xfrm>
              <a:off x="135466" y="1257300"/>
              <a:ext cx="5211337" cy="4367299"/>
            </a:xfrm>
            <a:prstGeom prst="rect">
              <a:avLst/>
            </a:prstGeom>
            <a:solidFill>
              <a:srgbClr val="E3E3F9"/>
            </a:solidFill>
            <a:ln w="571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grpSp>
      <p:sp>
        <p:nvSpPr>
          <p:cNvPr id="28" name="TextBox 27">
            <a:extLst>
              <a:ext uri="{FF2B5EF4-FFF2-40B4-BE49-F238E27FC236}">
                <a16:creationId xmlns:a16="http://schemas.microsoft.com/office/drawing/2014/main" id="{0AD49160-AD37-2AD1-67D8-EED4AD6D516E}"/>
              </a:ext>
            </a:extLst>
          </p:cNvPr>
          <p:cNvSpPr txBox="1"/>
          <p:nvPr/>
        </p:nvSpPr>
        <p:spPr>
          <a:xfrm>
            <a:off x="7870093" y="2755521"/>
            <a:ext cx="4097489" cy="2508379"/>
          </a:xfrm>
          <a:prstGeom prst="rect">
            <a:avLst/>
          </a:prstGeom>
          <a:noFill/>
        </p:spPr>
        <p:txBody>
          <a:bodyPr wrap="square" rtlCol="0">
            <a:spAutoFit/>
          </a:bodyPr>
          <a:lstStyle/>
          <a:p>
            <a:pPr lvl="0">
              <a:lnSpc>
                <a:spcPct val="95000"/>
              </a:lnSpc>
              <a:spcBef>
                <a:spcPts val="800"/>
              </a:spcBef>
              <a:defRPr/>
            </a:pPr>
            <a:r>
              <a:rPr lang="en-US" sz="1600" dirty="0" err="1">
                <a:solidFill>
                  <a:prstClr val="black"/>
                </a:solidFill>
              </a:rPr>
              <a:t>Altta</a:t>
            </a:r>
            <a:r>
              <a:rPr lang="en-US" sz="1600" dirty="0">
                <a:solidFill>
                  <a:prstClr val="black"/>
                </a:solidFill>
              </a:rPr>
              <a:t> </a:t>
            </a:r>
            <a:r>
              <a:rPr lang="en-US" sz="1600" dirty="0" err="1">
                <a:solidFill>
                  <a:prstClr val="black"/>
                </a:solidFill>
              </a:rPr>
              <a:t>yatan</a:t>
            </a:r>
            <a:r>
              <a:rPr lang="en-US" sz="1600" dirty="0">
                <a:solidFill>
                  <a:prstClr val="black"/>
                </a:solidFill>
              </a:rPr>
              <a:t> </a:t>
            </a:r>
            <a:r>
              <a:rPr lang="en-US" sz="1600" dirty="0" err="1">
                <a:solidFill>
                  <a:prstClr val="black"/>
                </a:solidFill>
              </a:rPr>
              <a:t>tıbbi</a:t>
            </a:r>
            <a:r>
              <a:rPr lang="en-US" sz="1600" dirty="0">
                <a:solidFill>
                  <a:prstClr val="black"/>
                </a:solidFill>
              </a:rPr>
              <a:t> </a:t>
            </a:r>
            <a:r>
              <a:rPr lang="en-US" sz="1600" dirty="0" err="1">
                <a:solidFill>
                  <a:prstClr val="black"/>
                </a:solidFill>
              </a:rPr>
              <a:t>durumları</a:t>
            </a:r>
            <a:r>
              <a:rPr lang="en-US" sz="1600" dirty="0">
                <a:solidFill>
                  <a:prstClr val="black"/>
                </a:solidFill>
              </a:rPr>
              <a:t> </a:t>
            </a:r>
            <a:r>
              <a:rPr lang="en-US" sz="1600" dirty="0" err="1">
                <a:solidFill>
                  <a:prstClr val="black"/>
                </a:solidFill>
              </a:rPr>
              <a:t>olan</a:t>
            </a:r>
            <a:r>
              <a:rPr lang="en-US" sz="1600" dirty="0">
                <a:solidFill>
                  <a:prstClr val="black"/>
                </a:solidFill>
              </a:rPr>
              <a:t> </a:t>
            </a:r>
            <a:r>
              <a:rPr lang="en-US" sz="1600" dirty="0" err="1">
                <a:solidFill>
                  <a:prstClr val="black"/>
                </a:solidFill>
              </a:rPr>
              <a:t>yetişkinlerde</a:t>
            </a:r>
            <a:r>
              <a:rPr lang="en-US" sz="1600" dirty="0">
                <a:solidFill>
                  <a:prstClr val="black"/>
                </a:solidFill>
              </a:rPr>
              <a:t>,</a:t>
            </a:r>
            <a:r>
              <a:rPr lang="tr-TR" sz="1600" dirty="0">
                <a:solidFill>
                  <a:prstClr val="black"/>
                </a:solidFill>
              </a:rPr>
              <a:t> </a:t>
            </a:r>
            <a:r>
              <a:rPr lang="en-US" sz="1600" dirty="0">
                <a:solidFill>
                  <a:prstClr val="black"/>
                </a:solidFill>
              </a:rPr>
              <a:t>TGP </a:t>
            </a:r>
            <a:r>
              <a:rPr lang="en-US" sz="1600" dirty="0" err="1">
                <a:solidFill>
                  <a:prstClr val="black"/>
                </a:solidFill>
              </a:rPr>
              <a:t>atağı</a:t>
            </a:r>
            <a:r>
              <a:rPr lang="en-US" sz="1600" dirty="0">
                <a:solidFill>
                  <a:prstClr val="black"/>
                </a:solidFill>
              </a:rPr>
              <a:t> </a:t>
            </a:r>
            <a:r>
              <a:rPr lang="en-US" sz="1600" dirty="0" err="1">
                <a:solidFill>
                  <a:prstClr val="black"/>
                </a:solidFill>
              </a:rPr>
              <a:t>aşağıdakilerle</a:t>
            </a:r>
            <a:r>
              <a:rPr lang="en-US" sz="1600" dirty="0">
                <a:solidFill>
                  <a:prstClr val="black"/>
                </a:solidFill>
              </a:rPr>
              <a:t> </a:t>
            </a:r>
            <a:r>
              <a:rPr lang="en-US" sz="1600" dirty="0" err="1">
                <a:solidFill>
                  <a:prstClr val="black"/>
                </a:solidFill>
              </a:rPr>
              <a:t>ilişkilidir</a:t>
            </a:r>
            <a:r>
              <a:rPr lang="en-US" sz="1600" dirty="0">
                <a:solidFill>
                  <a:prstClr val="black"/>
                </a:solidFill>
              </a:rPr>
              <a:t>:</a:t>
            </a:r>
          </a:p>
          <a:p>
            <a:pPr marL="285750" lvl="0" indent="-285750">
              <a:lnSpc>
                <a:spcPct val="95000"/>
              </a:lnSpc>
              <a:spcBef>
                <a:spcPts val="800"/>
              </a:spcBef>
              <a:buFont typeface="Arial" panose="020B0604020202020204" pitchFamily="34" charset="0"/>
              <a:buChar char="•"/>
              <a:defRPr/>
            </a:pPr>
            <a:r>
              <a:rPr lang="en-US" sz="1600" dirty="0" err="1">
                <a:solidFill>
                  <a:prstClr val="black"/>
                </a:solidFill>
              </a:rPr>
              <a:t>Önceden</a:t>
            </a:r>
            <a:r>
              <a:rPr lang="en-US" sz="1600" dirty="0">
                <a:solidFill>
                  <a:prstClr val="black"/>
                </a:solidFill>
              </a:rPr>
              <a:t> var </a:t>
            </a:r>
            <a:r>
              <a:rPr lang="en-US" sz="1600" dirty="0" err="1">
                <a:solidFill>
                  <a:prstClr val="black"/>
                </a:solidFill>
              </a:rPr>
              <a:t>olan</a:t>
            </a:r>
            <a:r>
              <a:rPr lang="en-US" sz="1600" dirty="0">
                <a:solidFill>
                  <a:prstClr val="black"/>
                </a:solidFill>
              </a:rPr>
              <a:t> </a:t>
            </a:r>
            <a:r>
              <a:rPr lang="en-US" sz="1600" dirty="0" err="1">
                <a:solidFill>
                  <a:prstClr val="black"/>
                </a:solidFill>
              </a:rPr>
              <a:t>sağlık</a:t>
            </a:r>
            <a:r>
              <a:rPr lang="en-US" sz="1600" dirty="0">
                <a:solidFill>
                  <a:prstClr val="black"/>
                </a:solidFill>
              </a:rPr>
              <a:t> </a:t>
            </a:r>
            <a:r>
              <a:rPr lang="en-US" sz="1600" dirty="0" err="1">
                <a:solidFill>
                  <a:prstClr val="black"/>
                </a:solidFill>
              </a:rPr>
              <a:t>koşullarının</a:t>
            </a:r>
            <a:r>
              <a:rPr lang="en-US" sz="1600" dirty="0">
                <a:solidFill>
                  <a:prstClr val="black"/>
                </a:solidFill>
              </a:rPr>
              <a:t> </a:t>
            </a:r>
            <a:r>
              <a:rPr lang="en-US" sz="1600" dirty="0" err="1">
                <a:solidFill>
                  <a:prstClr val="black"/>
                </a:solidFill>
              </a:rPr>
              <a:t>artan</a:t>
            </a:r>
            <a:r>
              <a:rPr lang="en-US" sz="1600" dirty="0">
                <a:solidFill>
                  <a:prstClr val="black"/>
                </a:solidFill>
              </a:rPr>
              <a:t> </a:t>
            </a:r>
            <a:r>
              <a:rPr lang="en-US" sz="1600" dirty="0" err="1">
                <a:solidFill>
                  <a:prstClr val="black"/>
                </a:solidFill>
              </a:rPr>
              <a:t>alevlenmeleri</a:t>
            </a:r>
            <a:r>
              <a:rPr lang="en-US" sz="1600" dirty="0">
                <a:solidFill>
                  <a:prstClr val="black"/>
                </a:solidFill>
              </a:rPr>
              <a:t>*</a:t>
            </a:r>
            <a:r>
              <a:rPr kumimoji="0" lang="en-US" sz="1600" b="0" i="0" u="none" strike="noStrike" kern="1200" cap="none" spc="0" normalizeH="0" baseline="30000" noProof="0" dirty="0">
                <a:ln>
                  <a:noFill/>
                </a:ln>
                <a:solidFill>
                  <a:prstClr val="black"/>
                </a:solidFill>
                <a:effectLst/>
                <a:uLnTx/>
                <a:uFillTx/>
                <a:latin typeface="Arial" panose="020B0604020202020204"/>
                <a:ea typeface="+mn-ea"/>
                <a:cs typeface="+mn-cs"/>
              </a:rPr>
              <a:t>8</a:t>
            </a:r>
            <a:endPar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lvl="0" indent="-285750">
              <a:lnSpc>
                <a:spcPct val="95000"/>
              </a:lnSpc>
              <a:spcBef>
                <a:spcPts val="800"/>
              </a:spcBef>
              <a:buFont typeface="Arial" panose="020B0604020202020204" pitchFamily="34" charset="0"/>
              <a:buChar char="•"/>
              <a:defRPr/>
            </a:pPr>
            <a:r>
              <a:rPr lang="en-US" sz="1600" dirty="0" err="1">
                <a:solidFill>
                  <a:prstClr val="black"/>
                </a:solidFill>
              </a:rPr>
              <a:t>Komorbidite</a:t>
            </a:r>
            <a:r>
              <a:rPr lang="en-US" sz="1600" dirty="0">
                <a:solidFill>
                  <a:prstClr val="black"/>
                </a:solidFill>
              </a:rPr>
              <a:t> </a:t>
            </a:r>
            <a:r>
              <a:rPr lang="en-US" sz="1600" dirty="0" err="1">
                <a:solidFill>
                  <a:prstClr val="black"/>
                </a:solidFill>
              </a:rPr>
              <a:t>semptomlarının</a:t>
            </a:r>
            <a:r>
              <a:rPr lang="en-US" sz="1600" dirty="0">
                <a:solidFill>
                  <a:prstClr val="black"/>
                </a:solidFill>
              </a:rPr>
              <a:t> </a:t>
            </a:r>
            <a:r>
              <a:rPr lang="en-US" sz="1600" dirty="0" err="1">
                <a:solidFill>
                  <a:prstClr val="black"/>
                </a:solidFill>
              </a:rPr>
              <a:t>şiddetinin</a:t>
            </a:r>
            <a:r>
              <a:rPr lang="en-US" sz="1600" dirty="0">
                <a:solidFill>
                  <a:prstClr val="black"/>
                </a:solidFill>
              </a:rPr>
              <a:t> </a:t>
            </a:r>
            <a:r>
              <a:rPr lang="en-US" sz="1600" dirty="0" err="1">
                <a:solidFill>
                  <a:prstClr val="black"/>
                </a:solidFill>
              </a:rPr>
              <a:t>ve</a:t>
            </a:r>
            <a:r>
              <a:rPr lang="en-US" sz="1600" dirty="0">
                <a:solidFill>
                  <a:prstClr val="black"/>
                </a:solidFill>
              </a:rPr>
              <a:t> </a:t>
            </a:r>
            <a:r>
              <a:rPr lang="en-US" sz="1600" dirty="0" err="1">
                <a:solidFill>
                  <a:prstClr val="black"/>
                </a:solidFill>
              </a:rPr>
              <a:t>süresinin</a:t>
            </a:r>
            <a:r>
              <a:rPr lang="en-US" sz="1600" dirty="0">
                <a:solidFill>
                  <a:prstClr val="black"/>
                </a:solidFill>
              </a:rPr>
              <a:t> </a:t>
            </a:r>
            <a:r>
              <a:rPr lang="en-US" sz="1600" dirty="0" err="1">
                <a:solidFill>
                  <a:prstClr val="black"/>
                </a:solidFill>
              </a:rPr>
              <a:t>artması</a:t>
            </a: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a:t>
            </a:r>
            <a:r>
              <a:rPr kumimoji="0" lang="en-US" sz="1600" b="0" i="0" u="none" strike="noStrike" kern="1200" cap="none" spc="0" normalizeH="0" baseline="30000" noProof="0" dirty="0">
                <a:ln>
                  <a:noFill/>
                </a:ln>
                <a:solidFill>
                  <a:prstClr val="black"/>
                </a:solidFill>
                <a:effectLst/>
                <a:uLnTx/>
                <a:uFillTx/>
                <a:latin typeface="Arial" panose="020B0604020202020204"/>
                <a:ea typeface="+mn-ea"/>
                <a:cs typeface="+mn-cs"/>
              </a:rPr>
              <a:t>9</a:t>
            </a:r>
          </a:p>
          <a:p>
            <a:pPr marL="285750" lvl="0" indent="-285750">
              <a:lnSpc>
                <a:spcPct val="95000"/>
              </a:lnSpc>
              <a:spcBef>
                <a:spcPts val="800"/>
              </a:spcBef>
              <a:buFont typeface="Arial" panose="020B0604020202020204" pitchFamily="34" charset="0"/>
              <a:buChar char="•"/>
              <a:defRPr/>
            </a:pPr>
            <a:r>
              <a:rPr lang="en-US" sz="1600" dirty="0" err="1">
                <a:solidFill>
                  <a:prstClr val="black"/>
                </a:solidFill>
              </a:rPr>
              <a:t>Herhangi</a:t>
            </a:r>
            <a:r>
              <a:rPr lang="en-US" sz="1600" dirty="0">
                <a:solidFill>
                  <a:prstClr val="black"/>
                </a:solidFill>
              </a:rPr>
              <a:t> </a:t>
            </a:r>
            <a:r>
              <a:rPr lang="en-US" sz="1600" dirty="0" err="1">
                <a:solidFill>
                  <a:prstClr val="black"/>
                </a:solidFill>
              </a:rPr>
              <a:t>bir</a:t>
            </a:r>
            <a:r>
              <a:rPr lang="en-US" sz="1600" dirty="0">
                <a:solidFill>
                  <a:prstClr val="black"/>
                </a:solidFill>
              </a:rPr>
              <a:t> </a:t>
            </a:r>
            <a:r>
              <a:rPr lang="en-US" sz="1600" dirty="0" err="1">
                <a:solidFill>
                  <a:prstClr val="black"/>
                </a:solidFill>
              </a:rPr>
              <a:t>nedenle</a:t>
            </a:r>
            <a:r>
              <a:rPr lang="en-US" sz="1600" dirty="0">
                <a:solidFill>
                  <a:prstClr val="black"/>
                </a:solidFill>
              </a:rPr>
              <a:t> </a:t>
            </a:r>
            <a:r>
              <a:rPr lang="en-US" sz="1600" dirty="0" err="1">
                <a:solidFill>
                  <a:prstClr val="black"/>
                </a:solidFill>
              </a:rPr>
              <a:t>hastaneye</a:t>
            </a:r>
            <a:r>
              <a:rPr lang="en-US" sz="1600" dirty="0">
                <a:solidFill>
                  <a:prstClr val="black"/>
                </a:solidFill>
              </a:rPr>
              <a:t> </a:t>
            </a:r>
            <a:r>
              <a:rPr lang="en-US" sz="1600" dirty="0" err="1">
                <a:solidFill>
                  <a:prstClr val="black"/>
                </a:solidFill>
              </a:rPr>
              <a:t>yeniden</a:t>
            </a:r>
            <a:r>
              <a:rPr lang="en-US" sz="1600" dirty="0">
                <a:solidFill>
                  <a:prstClr val="black"/>
                </a:solidFill>
              </a:rPr>
              <a:t> </a:t>
            </a:r>
            <a:r>
              <a:rPr lang="en-US" sz="1600" dirty="0" err="1">
                <a:solidFill>
                  <a:prstClr val="black"/>
                </a:solidFill>
              </a:rPr>
              <a:t>yatış</a:t>
            </a:r>
            <a:r>
              <a:rPr lang="en-US" sz="1600" dirty="0">
                <a:solidFill>
                  <a:prstClr val="black"/>
                </a:solidFill>
              </a:rPr>
              <a:t> </a:t>
            </a:r>
            <a:r>
              <a:rPr lang="en-US" sz="1600" dirty="0" err="1">
                <a:solidFill>
                  <a:prstClr val="black"/>
                </a:solidFill>
              </a:rPr>
              <a:t>riskinin</a:t>
            </a:r>
            <a:r>
              <a:rPr lang="en-US" sz="1600" dirty="0">
                <a:solidFill>
                  <a:prstClr val="black"/>
                </a:solidFill>
              </a:rPr>
              <a:t> </a:t>
            </a:r>
            <a:r>
              <a:rPr lang="en-US" sz="1600" dirty="0" err="1">
                <a:solidFill>
                  <a:prstClr val="black"/>
                </a:solidFill>
              </a:rPr>
              <a:t>artması</a:t>
            </a:r>
            <a:r>
              <a:rPr kumimoji="0" lang="en-US" sz="1600" b="0" i="0" u="none" strike="noStrike" kern="1200" cap="none" spc="0" normalizeH="0" baseline="30000" noProof="0" dirty="0">
                <a:ln>
                  <a:noFill/>
                </a:ln>
                <a:solidFill>
                  <a:prstClr val="black"/>
                </a:solidFill>
                <a:effectLst/>
                <a:uLnTx/>
                <a:uFillTx/>
                <a:latin typeface="Arial" panose="020B0604020202020204"/>
                <a:ea typeface="+mn-ea"/>
                <a:cs typeface="+mn-cs"/>
              </a:rPr>
              <a:t>10</a:t>
            </a:r>
            <a:r>
              <a:rPr kumimoji="0" lang="en-US" sz="1800" b="0" i="0" u="none" strike="noStrike" kern="1200" cap="none" spc="0" normalizeH="0" baseline="30000" noProof="0" dirty="0">
                <a:ln>
                  <a:noFill/>
                </a:ln>
                <a:solidFill>
                  <a:prstClr val="black"/>
                </a:solidFill>
                <a:effectLst/>
                <a:uLnTx/>
                <a:uFillTx/>
                <a:latin typeface="Arial" panose="020B0604020202020204"/>
                <a:ea typeface="+mn-ea"/>
                <a:cs typeface="+mn-cs"/>
              </a:rPr>
              <a:t>†</a:t>
            </a:r>
          </a:p>
        </p:txBody>
      </p:sp>
      <p:sp>
        <p:nvSpPr>
          <p:cNvPr id="19" name="Title 18">
            <a:extLst>
              <a:ext uri="{FF2B5EF4-FFF2-40B4-BE49-F238E27FC236}">
                <a16:creationId xmlns:a16="http://schemas.microsoft.com/office/drawing/2014/main" id="{3B622CDF-E273-4454-F1CC-DC0EA79E728D}"/>
              </a:ext>
            </a:extLst>
          </p:cNvPr>
          <p:cNvSpPr>
            <a:spLocks noGrp="1"/>
          </p:cNvSpPr>
          <p:nvPr>
            <p:ph type="title"/>
          </p:nvPr>
        </p:nvSpPr>
        <p:spPr/>
        <p:txBody>
          <a:bodyPr/>
          <a:lstStyle/>
          <a:p>
            <a:r>
              <a:rPr lang="en-US"/>
              <a:t>TGP </a:t>
            </a:r>
            <a:r>
              <a:rPr lang="en-US" err="1"/>
              <a:t>için</a:t>
            </a:r>
            <a:r>
              <a:rPr lang="en-US"/>
              <a:t> </a:t>
            </a:r>
            <a:r>
              <a:rPr lang="en-US" err="1"/>
              <a:t>Hastaneye</a:t>
            </a:r>
            <a:r>
              <a:rPr lang="en-US"/>
              <a:t> </a:t>
            </a:r>
            <a:r>
              <a:rPr lang="en-US" err="1"/>
              <a:t>Yatış</a:t>
            </a:r>
            <a:r>
              <a:rPr lang="en-US"/>
              <a:t> </a:t>
            </a:r>
            <a:r>
              <a:rPr lang="en-US" err="1"/>
              <a:t>Önemli</a:t>
            </a:r>
            <a:r>
              <a:rPr lang="en-US"/>
              <a:t> </a:t>
            </a:r>
            <a:r>
              <a:rPr lang="en-US" err="1"/>
              <a:t>Sonuçlara</a:t>
            </a:r>
            <a:r>
              <a:rPr lang="en-US"/>
              <a:t> Yol </a:t>
            </a:r>
            <a:r>
              <a:rPr lang="en-US" err="1"/>
              <a:t>Açabilir</a:t>
            </a:r>
            <a:endParaRPr lang="en-US"/>
          </a:p>
        </p:txBody>
      </p:sp>
      <p:sp>
        <p:nvSpPr>
          <p:cNvPr id="3" name="Slide Number Placeholder 2">
            <a:extLst>
              <a:ext uri="{FF2B5EF4-FFF2-40B4-BE49-F238E27FC236}">
                <a16:creationId xmlns:a16="http://schemas.microsoft.com/office/drawing/2014/main" id="{B71A0CE8-69EB-C255-5C53-A4D6AD271FD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074DEF-F175-4420-8EE3-137377F9872B}" type="slidenum">
              <a:rPr kumimoji="0" lang="en-US" sz="1000" b="0" i="0" u="none" strike="noStrike" kern="1200" cap="none" spc="0" normalizeH="0" baseline="0" noProof="0" smtClean="0">
                <a:ln>
                  <a:noFill/>
                </a:ln>
                <a:solidFill>
                  <a:srgbClr val="A1AAB1">
                    <a:lumMod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000" b="0" i="0" u="none" strike="noStrike" kern="1200" cap="none" spc="0" normalizeH="0" baseline="0" noProof="0" dirty="0">
              <a:ln>
                <a:noFill/>
              </a:ln>
              <a:solidFill>
                <a:srgbClr val="A1AAB1">
                  <a:lumMod val="75000"/>
                </a:srgbClr>
              </a:solidFill>
              <a:effectLst/>
              <a:uLnTx/>
              <a:uFillTx/>
              <a:latin typeface="Arial" panose="020B0604020202020204"/>
              <a:ea typeface="+mn-ea"/>
              <a:cs typeface="+mn-cs"/>
            </a:endParaRPr>
          </a:p>
        </p:txBody>
      </p:sp>
      <p:sp>
        <p:nvSpPr>
          <p:cNvPr id="31" name="Text Placeholder 30">
            <a:extLst>
              <a:ext uri="{FF2B5EF4-FFF2-40B4-BE49-F238E27FC236}">
                <a16:creationId xmlns:a16="http://schemas.microsoft.com/office/drawing/2014/main" id="{E382FBFB-918B-A490-DCB3-C247E8CFB661}"/>
              </a:ext>
            </a:extLst>
          </p:cNvPr>
          <p:cNvSpPr>
            <a:spLocks noGrp="1"/>
          </p:cNvSpPr>
          <p:nvPr>
            <p:ph type="body" sz="quarter" idx="4294967295"/>
          </p:nvPr>
        </p:nvSpPr>
        <p:spPr>
          <a:xfrm>
            <a:off x="484403" y="5855617"/>
            <a:ext cx="11430000" cy="358775"/>
          </a:xfrm>
        </p:spPr>
        <p:txBody>
          <a:bodyPr>
            <a:normAutofit fontScale="32500" lnSpcReduction="20000"/>
          </a:bodyPr>
          <a:lstStyle/>
          <a:p>
            <a:pPr marL="0" lvl="0" indent="0">
              <a:lnSpc>
                <a:spcPct val="120000"/>
              </a:lnSpc>
              <a:spcBef>
                <a:spcPts val="0"/>
              </a:spcBef>
              <a:buNone/>
              <a:defRPr/>
            </a:pPr>
            <a:r>
              <a:rPr kumimoji="0" lang="en-US" sz="900" i="0" u="none" strike="noStrike" kern="1200" cap="none" spc="0" normalizeH="0" baseline="0" noProof="0" dirty="0">
                <a:ln>
                  <a:noFill/>
                </a:ln>
                <a:solidFill>
                  <a:schemeClr val="bg1">
                    <a:lumMod val="50000"/>
                  </a:schemeClr>
                </a:solidFill>
                <a:effectLst/>
                <a:uLnTx/>
                <a:uFillTx/>
                <a:ea typeface="+mn-ea"/>
                <a:cs typeface="+mn-cs"/>
              </a:rPr>
              <a:t>*</a:t>
            </a:r>
            <a:r>
              <a:rPr lang="en-US" dirty="0" err="1">
                <a:solidFill>
                  <a:schemeClr val="bg1">
                    <a:lumMod val="50000"/>
                  </a:schemeClr>
                </a:solidFill>
              </a:rPr>
              <a:t>Kronik</a:t>
            </a:r>
            <a:r>
              <a:rPr lang="en-US" dirty="0">
                <a:solidFill>
                  <a:schemeClr val="bg1">
                    <a:lumMod val="50000"/>
                  </a:schemeClr>
                </a:solidFill>
              </a:rPr>
              <a:t> </a:t>
            </a:r>
            <a:r>
              <a:rPr lang="en-US" dirty="0" err="1">
                <a:solidFill>
                  <a:schemeClr val="bg1">
                    <a:lumMod val="50000"/>
                  </a:schemeClr>
                </a:solidFill>
              </a:rPr>
              <a:t>kalp</a:t>
            </a:r>
            <a:r>
              <a:rPr lang="en-US" dirty="0">
                <a:solidFill>
                  <a:schemeClr val="bg1">
                    <a:lumMod val="50000"/>
                  </a:schemeClr>
                </a:solidFill>
              </a:rPr>
              <a:t> </a:t>
            </a:r>
            <a:r>
              <a:rPr lang="en-US" dirty="0" err="1">
                <a:solidFill>
                  <a:schemeClr val="bg1">
                    <a:lumMod val="50000"/>
                  </a:schemeClr>
                </a:solidFill>
              </a:rPr>
              <a:t>hastalığı</a:t>
            </a:r>
            <a:r>
              <a:rPr lang="en-US" dirty="0">
                <a:solidFill>
                  <a:schemeClr val="bg1">
                    <a:lumMod val="50000"/>
                  </a:schemeClr>
                </a:solidFill>
              </a:rPr>
              <a:t> </a:t>
            </a:r>
            <a:r>
              <a:rPr lang="en-US" dirty="0" err="1">
                <a:solidFill>
                  <a:schemeClr val="bg1">
                    <a:lumMod val="50000"/>
                  </a:schemeClr>
                </a:solidFill>
              </a:rPr>
              <a:t>veya</a:t>
            </a:r>
            <a:r>
              <a:rPr lang="en-US" dirty="0">
                <a:solidFill>
                  <a:schemeClr val="bg1">
                    <a:lumMod val="50000"/>
                  </a:schemeClr>
                </a:solidFill>
              </a:rPr>
              <a:t> </a:t>
            </a:r>
            <a:r>
              <a:rPr lang="en-US" dirty="0" err="1">
                <a:solidFill>
                  <a:schemeClr val="bg1">
                    <a:lumMod val="50000"/>
                  </a:schemeClr>
                </a:solidFill>
              </a:rPr>
              <a:t>kalp</a:t>
            </a:r>
            <a:r>
              <a:rPr lang="en-US" dirty="0">
                <a:solidFill>
                  <a:schemeClr val="bg1">
                    <a:lumMod val="50000"/>
                  </a:schemeClr>
                </a:solidFill>
              </a:rPr>
              <a:t> </a:t>
            </a:r>
            <a:r>
              <a:rPr lang="en-US" dirty="0" err="1">
                <a:solidFill>
                  <a:schemeClr val="bg1">
                    <a:lumMod val="50000"/>
                  </a:schemeClr>
                </a:solidFill>
              </a:rPr>
              <a:t>yetmezliği</a:t>
            </a:r>
            <a:r>
              <a:rPr lang="en-US" dirty="0">
                <a:solidFill>
                  <a:schemeClr val="bg1">
                    <a:lumMod val="50000"/>
                  </a:schemeClr>
                </a:solidFill>
              </a:rPr>
              <a:t>, </a:t>
            </a:r>
            <a:r>
              <a:rPr lang="en-US" dirty="0" err="1">
                <a:solidFill>
                  <a:schemeClr val="bg1">
                    <a:lumMod val="50000"/>
                  </a:schemeClr>
                </a:solidFill>
              </a:rPr>
              <a:t>kronik</a:t>
            </a:r>
            <a:r>
              <a:rPr lang="en-US" dirty="0">
                <a:solidFill>
                  <a:schemeClr val="bg1">
                    <a:lumMod val="50000"/>
                  </a:schemeClr>
                </a:solidFill>
              </a:rPr>
              <a:t> </a:t>
            </a:r>
            <a:r>
              <a:rPr lang="en-US" dirty="0" err="1">
                <a:solidFill>
                  <a:schemeClr val="bg1">
                    <a:lumMod val="50000"/>
                  </a:schemeClr>
                </a:solidFill>
              </a:rPr>
              <a:t>obstrüktif</a:t>
            </a:r>
            <a:r>
              <a:rPr lang="en-US" dirty="0">
                <a:solidFill>
                  <a:schemeClr val="bg1">
                    <a:lumMod val="50000"/>
                  </a:schemeClr>
                </a:solidFill>
              </a:rPr>
              <a:t> </a:t>
            </a:r>
            <a:r>
              <a:rPr lang="en-US" dirty="0" err="1">
                <a:solidFill>
                  <a:schemeClr val="bg1">
                    <a:lumMod val="50000"/>
                  </a:schemeClr>
                </a:solidFill>
              </a:rPr>
              <a:t>akciğer</a:t>
            </a:r>
            <a:r>
              <a:rPr lang="en-US" dirty="0">
                <a:solidFill>
                  <a:schemeClr val="bg1">
                    <a:lumMod val="50000"/>
                  </a:schemeClr>
                </a:solidFill>
              </a:rPr>
              <a:t> </a:t>
            </a:r>
            <a:r>
              <a:rPr lang="en-US" dirty="0" err="1">
                <a:solidFill>
                  <a:schemeClr val="bg1">
                    <a:lumMod val="50000"/>
                  </a:schemeClr>
                </a:solidFill>
              </a:rPr>
              <a:t>hastalığı</a:t>
            </a:r>
            <a:r>
              <a:rPr lang="en-US" dirty="0">
                <a:solidFill>
                  <a:schemeClr val="bg1">
                    <a:lumMod val="50000"/>
                  </a:schemeClr>
                </a:solidFill>
              </a:rPr>
              <a:t>, </a:t>
            </a:r>
            <a:r>
              <a:rPr lang="en-US" dirty="0" err="1">
                <a:solidFill>
                  <a:schemeClr val="bg1">
                    <a:lumMod val="50000"/>
                  </a:schemeClr>
                </a:solidFill>
              </a:rPr>
              <a:t>kronik</a:t>
            </a:r>
            <a:r>
              <a:rPr lang="en-US" dirty="0">
                <a:solidFill>
                  <a:schemeClr val="bg1">
                    <a:lumMod val="50000"/>
                  </a:schemeClr>
                </a:solidFill>
              </a:rPr>
              <a:t> </a:t>
            </a:r>
            <a:r>
              <a:rPr lang="en-US" dirty="0" err="1">
                <a:solidFill>
                  <a:schemeClr val="bg1">
                    <a:lumMod val="50000"/>
                  </a:schemeClr>
                </a:solidFill>
              </a:rPr>
              <a:t>bronşit</a:t>
            </a:r>
            <a:r>
              <a:rPr lang="en-US" dirty="0">
                <a:solidFill>
                  <a:schemeClr val="bg1">
                    <a:lumMod val="50000"/>
                  </a:schemeClr>
                </a:solidFill>
              </a:rPr>
              <a:t>, </a:t>
            </a:r>
            <a:r>
              <a:rPr lang="en-US" dirty="0" err="1">
                <a:solidFill>
                  <a:schemeClr val="bg1">
                    <a:lumMod val="50000"/>
                  </a:schemeClr>
                </a:solidFill>
              </a:rPr>
              <a:t>astım</a:t>
            </a:r>
            <a:r>
              <a:rPr lang="en-US" dirty="0">
                <a:solidFill>
                  <a:schemeClr val="bg1">
                    <a:lumMod val="50000"/>
                  </a:schemeClr>
                </a:solidFill>
              </a:rPr>
              <a:t>, </a:t>
            </a:r>
            <a:r>
              <a:rPr lang="en-US" dirty="0" err="1">
                <a:solidFill>
                  <a:schemeClr val="bg1">
                    <a:lumMod val="50000"/>
                  </a:schemeClr>
                </a:solidFill>
              </a:rPr>
              <a:t>kronik</a:t>
            </a:r>
            <a:r>
              <a:rPr lang="en-US" dirty="0">
                <a:solidFill>
                  <a:schemeClr val="bg1">
                    <a:lumMod val="50000"/>
                  </a:schemeClr>
                </a:solidFill>
              </a:rPr>
              <a:t> </a:t>
            </a:r>
            <a:r>
              <a:rPr lang="en-US" dirty="0" err="1">
                <a:solidFill>
                  <a:schemeClr val="bg1">
                    <a:lumMod val="50000"/>
                  </a:schemeClr>
                </a:solidFill>
              </a:rPr>
              <a:t>amfizem</a:t>
            </a:r>
            <a:r>
              <a:rPr lang="en-US" dirty="0">
                <a:solidFill>
                  <a:schemeClr val="bg1">
                    <a:lumMod val="50000"/>
                  </a:schemeClr>
                </a:solidFill>
              </a:rPr>
              <a:t>, </a:t>
            </a:r>
            <a:r>
              <a:rPr lang="en-US" dirty="0" err="1">
                <a:solidFill>
                  <a:schemeClr val="bg1">
                    <a:lumMod val="50000"/>
                  </a:schemeClr>
                </a:solidFill>
              </a:rPr>
              <a:t>diyabet</a:t>
            </a:r>
            <a:r>
              <a:rPr lang="en-US" dirty="0">
                <a:solidFill>
                  <a:schemeClr val="bg1">
                    <a:lumMod val="50000"/>
                  </a:schemeClr>
                </a:solidFill>
              </a:rPr>
              <a:t> </a:t>
            </a:r>
            <a:r>
              <a:rPr lang="en-US" dirty="0" err="1">
                <a:solidFill>
                  <a:schemeClr val="bg1">
                    <a:lumMod val="50000"/>
                  </a:schemeClr>
                </a:solidFill>
              </a:rPr>
              <a:t>veya</a:t>
            </a:r>
            <a:r>
              <a:rPr lang="en-US" dirty="0">
                <a:solidFill>
                  <a:schemeClr val="bg1">
                    <a:lumMod val="50000"/>
                  </a:schemeClr>
                </a:solidFill>
              </a:rPr>
              <a:t> </a:t>
            </a:r>
            <a:r>
              <a:rPr lang="en-US" dirty="0" err="1">
                <a:solidFill>
                  <a:schemeClr val="bg1">
                    <a:lumMod val="50000"/>
                  </a:schemeClr>
                </a:solidFill>
              </a:rPr>
              <a:t>diğer</a:t>
            </a:r>
            <a:r>
              <a:rPr lang="en-US" dirty="0">
                <a:solidFill>
                  <a:schemeClr val="bg1">
                    <a:lumMod val="50000"/>
                  </a:schemeClr>
                </a:solidFill>
              </a:rPr>
              <a:t> </a:t>
            </a:r>
            <a:r>
              <a:rPr lang="en-US" dirty="0" err="1">
                <a:solidFill>
                  <a:schemeClr val="bg1">
                    <a:lumMod val="50000"/>
                  </a:schemeClr>
                </a:solidFill>
              </a:rPr>
              <a:t>bağışıklık</a:t>
            </a:r>
            <a:r>
              <a:rPr lang="en-US" dirty="0">
                <a:solidFill>
                  <a:schemeClr val="bg1">
                    <a:lumMod val="50000"/>
                  </a:schemeClr>
                </a:solidFill>
              </a:rPr>
              <a:t> </a:t>
            </a:r>
            <a:r>
              <a:rPr lang="en-US" dirty="0" err="1">
                <a:solidFill>
                  <a:schemeClr val="bg1">
                    <a:lumMod val="50000"/>
                  </a:schemeClr>
                </a:solidFill>
              </a:rPr>
              <a:t>sistemini</a:t>
            </a:r>
            <a:r>
              <a:rPr lang="en-US" dirty="0">
                <a:solidFill>
                  <a:schemeClr val="bg1">
                    <a:lumMod val="50000"/>
                  </a:schemeClr>
                </a:solidFill>
              </a:rPr>
              <a:t> </a:t>
            </a:r>
            <a:r>
              <a:rPr lang="en-US" dirty="0" err="1">
                <a:solidFill>
                  <a:schemeClr val="bg1">
                    <a:lumMod val="50000"/>
                  </a:schemeClr>
                </a:solidFill>
              </a:rPr>
              <a:t>baskılayan</a:t>
            </a:r>
            <a:r>
              <a:rPr lang="en-US" dirty="0">
                <a:solidFill>
                  <a:schemeClr val="bg1">
                    <a:lumMod val="50000"/>
                  </a:schemeClr>
                </a:solidFill>
              </a:rPr>
              <a:t> </a:t>
            </a:r>
            <a:r>
              <a:rPr lang="en-US" dirty="0" err="1">
                <a:solidFill>
                  <a:schemeClr val="bg1">
                    <a:lumMod val="50000"/>
                  </a:schemeClr>
                </a:solidFill>
              </a:rPr>
              <a:t>durumları</a:t>
            </a:r>
            <a:r>
              <a:rPr lang="en-US" dirty="0">
                <a:solidFill>
                  <a:schemeClr val="bg1">
                    <a:lumMod val="50000"/>
                  </a:schemeClr>
                </a:solidFill>
              </a:rPr>
              <a:t> içerir.8,9 †</a:t>
            </a:r>
            <a:r>
              <a:rPr lang="en-US" dirty="0" err="1">
                <a:solidFill>
                  <a:schemeClr val="bg1">
                    <a:lumMod val="50000"/>
                  </a:schemeClr>
                </a:solidFill>
              </a:rPr>
              <a:t>Yeniden</a:t>
            </a:r>
            <a:r>
              <a:rPr lang="en-US" dirty="0">
                <a:solidFill>
                  <a:schemeClr val="bg1">
                    <a:lumMod val="50000"/>
                  </a:schemeClr>
                </a:solidFill>
              </a:rPr>
              <a:t> </a:t>
            </a:r>
            <a:r>
              <a:rPr lang="en-US" dirty="0" err="1">
                <a:solidFill>
                  <a:schemeClr val="bg1">
                    <a:lumMod val="50000"/>
                  </a:schemeClr>
                </a:solidFill>
              </a:rPr>
              <a:t>hastaneye</a:t>
            </a:r>
            <a:r>
              <a:rPr lang="en-US" dirty="0">
                <a:solidFill>
                  <a:schemeClr val="bg1">
                    <a:lumMod val="50000"/>
                  </a:schemeClr>
                </a:solidFill>
              </a:rPr>
              <a:t> </a:t>
            </a:r>
            <a:r>
              <a:rPr lang="en-US" dirty="0" err="1">
                <a:solidFill>
                  <a:schemeClr val="bg1">
                    <a:lumMod val="50000"/>
                  </a:schemeClr>
                </a:solidFill>
              </a:rPr>
              <a:t>yatışların</a:t>
            </a:r>
            <a:r>
              <a:rPr lang="en-US" dirty="0">
                <a:solidFill>
                  <a:schemeClr val="bg1">
                    <a:lumMod val="50000"/>
                  </a:schemeClr>
                </a:solidFill>
              </a:rPr>
              <a:t> </a:t>
            </a:r>
            <a:r>
              <a:rPr lang="en-US" dirty="0" err="1">
                <a:solidFill>
                  <a:schemeClr val="bg1">
                    <a:lumMod val="50000"/>
                  </a:schemeClr>
                </a:solidFill>
              </a:rPr>
              <a:t>birincil</a:t>
            </a:r>
            <a:r>
              <a:rPr lang="en-US" dirty="0">
                <a:solidFill>
                  <a:schemeClr val="bg1">
                    <a:lumMod val="50000"/>
                  </a:schemeClr>
                </a:solidFill>
              </a:rPr>
              <a:t> </a:t>
            </a:r>
            <a:r>
              <a:rPr lang="en-US" dirty="0" err="1">
                <a:solidFill>
                  <a:schemeClr val="bg1">
                    <a:lumMod val="50000"/>
                  </a:schemeClr>
                </a:solidFill>
              </a:rPr>
              <a:t>nedenleri</a:t>
            </a:r>
            <a:r>
              <a:rPr lang="en-US" dirty="0">
                <a:solidFill>
                  <a:schemeClr val="bg1">
                    <a:lumMod val="50000"/>
                  </a:schemeClr>
                </a:solidFill>
              </a:rPr>
              <a:t> </a:t>
            </a:r>
            <a:r>
              <a:rPr lang="en-US" dirty="0" err="1">
                <a:solidFill>
                  <a:schemeClr val="bg1">
                    <a:lumMod val="50000"/>
                  </a:schemeClr>
                </a:solidFill>
              </a:rPr>
              <a:t>arasında</a:t>
            </a:r>
            <a:r>
              <a:rPr lang="en-US" dirty="0">
                <a:solidFill>
                  <a:schemeClr val="bg1">
                    <a:lumMod val="50000"/>
                  </a:schemeClr>
                </a:solidFill>
              </a:rPr>
              <a:t> </a:t>
            </a:r>
            <a:r>
              <a:rPr lang="en-US" dirty="0" err="1">
                <a:solidFill>
                  <a:schemeClr val="bg1">
                    <a:lumMod val="50000"/>
                  </a:schemeClr>
                </a:solidFill>
              </a:rPr>
              <a:t>önceki</a:t>
            </a:r>
            <a:r>
              <a:rPr lang="en-US" dirty="0">
                <a:solidFill>
                  <a:schemeClr val="bg1">
                    <a:lumMod val="50000"/>
                  </a:schemeClr>
                </a:solidFill>
              </a:rPr>
              <a:t> </a:t>
            </a:r>
            <a:r>
              <a:rPr lang="en-US" dirty="0" err="1">
                <a:solidFill>
                  <a:schemeClr val="bg1">
                    <a:lumMod val="50000"/>
                  </a:schemeClr>
                </a:solidFill>
              </a:rPr>
              <a:t>sevginin</a:t>
            </a:r>
            <a:r>
              <a:rPr lang="en-US" dirty="0">
                <a:solidFill>
                  <a:schemeClr val="bg1">
                    <a:lumMod val="50000"/>
                  </a:schemeClr>
                </a:solidFill>
              </a:rPr>
              <a:t> </a:t>
            </a:r>
            <a:r>
              <a:rPr lang="en-US" dirty="0" err="1">
                <a:solidFill>
                  <a:schemeClr val="bg1">
                    <a:lumMod val="50000"/>
                  </a:schemeClr>
                </a:solidFill>
              </a:rPr>
              <a:t>nüksetmesi</a:t>
            </a:r>
            <a:r>
              <a:rPr lang="en-US" dirty="0">
                <a:solidFill>
                  <a:schemeClr val="bg1">
                    <a:lumMod val="50000"/>
                  </a:schemeClr>
                </a:solidFill>
              </a:rPr>
              <a:t> </a:t>
            </a:r>
            <a:r>
              <a:rPr lang="en-US" dirty="0" err="1">
                <a:solidFill>
                  <a:schemeClr val="bg1">
                    <a:lumMod val="50000"/>
                  </a:schemeClr>
                </a:solidFill>
              </a:rPr>
              <a:t>veya</a:t>
            </a:r>
            <a:r>
              <a:rPr lang="en-US" dirty="0">
                <a:solidFill>
                  <a:schemeClr val="bg1">
                    <a:lumMod val="50000"/>
                  </a:schemeClr>
                </a:solidFill>
              </a:rPr>
              <a:t> </a:t>
            </a:r>
            <a:r>
              <a:rPr lang="en-US" dirty="0" err="1">
                <a:solidFill>
                  <a:schemeClr val="bg1">
                    <a:lumMod val="50000"/>
                  </a:schemeClr>
                </a:solidFill>
              </a:rPr>
              <a:t>şiddetlenmesi</a:t>
            </a:r>
            <a:r>
              <a:rPr lang="en-US" dirty="0">
                <a:solidFill>
                  <a:schemeClr val="bg1">
                    <a:lumMod val="50000"/>
                  </a:schemeClr>
                </a:solidFill>
              </a:rPr>
              <a:t> </a:t>
            </a:r>
            <a:r>
              <a:rPr lang="en-US" dirty="0" err="1">
                <a:solidFill>
                  <a:schemeClr val="bg1">
                    <a:lumMod val="50000"/>
                  </a:schemeClr>
                </a:solidFill>
              </a:rPr>
              <a:t>ve</a:t>
            </a:r>
            <a:r>
              <a:rPr lang="en-US" dirty="0">
                <a:solidFill>
                  <a:schemeClr val="bg1">
                    <a:lumMod val="50000"/>
                  </a:schemeClr>
                </a:solidFill>
              </a:rPr>
              <a:t> yeni </a:t>
            </a:r>
            <a:r>
              <a:rPr lang="en-US" dirty="0" err="1">
                <a:solidFill>
                  <a:schemeClr val="bg1">
                    <a:lumMod val="50000"/>
                  </a:schemeClr>
                </a:solidFill>
              </a:rPr>
              <a:t>bir</a:t>
            </a:r>
            <a:r>
              <a:rPr lang="en-US" dirty="0">
                <a:solidFill>
                  <a:schemeClr val="bg1">
                    <a:lumMod val="50000"/>
                  </a:schemeClr>
                </a:solidFill>
              </a:rPr>
              <a:t> </a:t>
            </a:r>
            <a:r>
              <a:rPr lang="en-US" dirty="0" err="1">
                <a:solidFill>
                  <a:schemeClr val="bg1">
                    <a:lumMod val="50000"/>
                  </a:schemeClr>
                </a:solidFill>
              </a:rPr>
              <a:t>sevgi</a:t>
            </a:r>
            <a:r>
              <a:rPr lang="en-US" dirty="0">
                <a:solidFill>
                  <a:schemeClr val="bg1">
                    <a:lumMod val="50000"/>
                  </a:schemeClr>
                </a:solidFill>
              </a:rPr>
              <a:t> </a:t>
            </a:r>
            <a:r>
              <a:rPr lang="en-US" dirty="0" err="1">
                <a:solidFill>
                  <a:schemeClr val="bg1">
                    <a:lumMod val="50000"/>
                  </a:schemeClr>
                </a:solidFill>
              </a:rPr>
              <a:t>için</a:t>
            </a:r>
            <a:r>
              <a:rPr lang="en-US" dirty="0">
                <a:solidFill>
                  <a:schemeClr val="bg1">
                    <a:lumMod val="50000"/>
                  </a:schemeClr>
                </a:solidFill>
              </a:rPr>
              <a:t> </a:t>
            </a:r>
            <a:r>
              <a:rPr lang="en-US" dirty="0" err="1">
                <a:solidFill>
                  <a:schemeClr val="bg1">
                    <a:lumMod val="50000"/>
                  </a:schemeClr>
                </a:solidFill>
              </a:rPr>
              <a:t>öngörülemeyen</a:t>
            </a:r>
            <a:r>
              <a:rPr lang="en-US" dirty="0">
                <a:solidFill>
                  <a:schemeClr val="bg1">
                    <a:lumMod val="50000"/>
                  </a:schemeClr>
                </a:solidFill>
              </a:rPr>
              <a:t> </a:t>
            </a:r>
            <a:r>
              <a:rPr lang="en-US" dirty="0" err="1">
                <a:solidFill>
                  <a:schemeClr val="bg1">
                    <a:lumMod val="50000"/>
                  </a:schemeClr>
                </a:solidFill>
              </a:rPr>
              <a:t>yeniden</a:t>
            </a:r>
            <a:r>
              <a:rPr lang="en-US" dirty="0">
                <a:solidFill>
                  <a:schemeClr val="bg1">
                    <a:lumMod val="50000"/>
                  </a:schemeClr>
                </a:solidFill>
              </a:rPr>
              <a:t> </a:t>
            </a:r>
            <a:r>
              <a:rPr lang="en-US" dirty="0" err="1">
                <a:solidFill>
                  <a:schemeClr val="bg1">
                    <a:lumMod val="50000"/>
                  </a:schemeClr>
                </a:solidFill>
              </a:rPr>
              <a:t>kabul</a:t>
            </a:r>
            <a:r>
              <a:rPr lang="en-US" dirty="0">
                <a:solidFill>
                  <a:schemeClr val="bg1">
                    <a:lumMod val="50000"/>
                  </a:schemeClr>
                </a:solidFill>
              </a:rPr>
              <a:t> </a:t>
            </a:r>
            <a:r>
              <a:rPr lang="en-US" dirty="0" err="1">
                <a:solidFill>
                  <a:schemeClr val="bg1">
                    <a:lumMod val="50000"/>
                  </a:schemeClr>
                </a:solidFill>
              </a:rPr>
              <a:t>yer</a:t>
            </a:r>
            <a:r>
              <a:rPr lang="en-US" dirty="0">
                <a:solidFill>
                  <a:schemeClr val="bg1">
                    <a:lumMod val="50000"/>
                  </a:schemeClr>
                </a:solidFill>
              </a:rPr>
              <a:t> </a:t>
            </a:r>
            <a:r>
              <a:rPr lang="en-US" dirty="0" err="1">
                <a:solidFill>
                  <a:schemeClr val="bg1">
                    <a:lumMod val="50000"/>
                  </a:schemeClr>
                </a:solidFill>
              </a:rPr>
              <a:t>alır</a:t>
            </a:r>
            <a:r>
              <a:rPr lang="tr-TR" dirty="0">
                <a:solidFill>
                  <a:schemeClr val="bg1">
                    <a:lumMod val="50000"/>
                  </a:schemeClr>
                </a:solidFill>
              </a:rPr>
              <a:t>.</a:t>
            </a:r>
            <a:r>
              <a:rPr lang="tr-TR" baseline="30000" dirty="0">
                <a:solidFill>
                  <a:schemeClr val="bg1">
                    <a:lumMod val="50000"/>
                  </a:schemeClr>
                </a:solidFill>
              </a:rPr>
              <a:t>10</a:t>
            </a:r>
            <a:endParaRPr kumimoji="0" lang="en-US" sz="900" i="0" u="none" strike="noStrike" kern="1200" cap="none" spc="0" normalizeH="0" baseline="30000" noProof="0" dirty="0">
              <a:ln>
                <a:noFill/>
              </a:ln>
              <a:solidFill>
                <a:schemeClr val="bg1">
                  <a:lumMod val="50000"/>
                </a:schemeClr>
              </a:solidFill>
              <a:effectLst/>
              <a:uLnTx/>
              <a:uFillTx/>
              <a:ea typeface="+mn-ea"/>
              <a:cs typeface="+mn-cs"/>
            </a:endParaRPr>
          </a:p>
          <a:p>
            <a:pPr marL="0" indent="0">
              <a:lnSpc>
                <a:spcPct val="120000"/>
              </a:lnSpc>
              <a:spcBef>
                <a:spcPts val="0"/>
              </a:spcBef>
              <a:buNone/>
              <a:defRPr/>
            </a:pPr>
            <a:r>
              <a:rPr lang="en-GB" dirty="0">
                <a:solidFill>
                  <a:schemeClr val="bg1">
                    <a:lumMod val="50000"/>
                  </a:schemeClr>
                </a:solidFill>
              </a:rPr>
              <a:t>TGP; </a:t>
            </a:r>
            <a:r>
              <a:rPr lang="en-GB" dirty="0" err="1">
                <a:solidFill>
                  <a:schemeClr val="bg1">
                    <a:lumMod val="50000"/>
                  </a:schemeClr>
                </a:solidFill>
              </a:rPr>
              <a:t>Toplumda</a:t>
            </a:r>
            <a:r>
              <a:rPr lang="en-GB" dirty="0">
                <a:solidFill>
                  <a:schemeClr val="bg1">
                    <a:lumMod val="50000"/>
                  </a:schemeClr>
                </a:solidFill>
              </a:rPr>
              <a:t> g</a:t>
            </a:r>
            <a:r>
              <a:rPr lang="tr-TR" dirty="0" err="1">
                <a:solidFill>
                  <a:schemeClr val="bg1">
                    <a:lumMod val="50000"/>
                  </a:schemeClr>
                </a:solidFill>
              </a:rPr>
              <a:t>elişen</a:t>
            </a:r>
            <a:r>
              <a:rPr lang="en-GB" dirty="0">
                <a:solidFill>
                  <a:schemeClr val="bg1">
                    <a:lumMod val="50000"/>
                  </a:schemeClr>
                </a:solidFill>
              </a:rPr>
              <a:t> </a:t>
            </a:r>
            <a:r>
              <a:rPr lang="en-GB" dirty="0" err="1">
                <a:solidFill>
                  <a:schemeClr val="bg1">
                    <a:lumMod val="50000"/>
                  </a:schemeClr>
                </a:solidFill>
              </a:rPr>
              <a:t>pnömoni</a:t>
            </a:r>
            <a:r>
              <a:rPr lang="en-GB" dirty="0">
                <a:solidFill>
                  <a:schemeClr val="bg1">
                    <a:lumMod val="50000"/>
                  </a:schemeClr>
                </a:solidFill>
              </a:rPr>
              <a:t> ; MACE=</a:t>
            </a:r>
            <a:r>
              <a:rPr lang="en-GB" dirty="0" err="1">
                <a:solidFill>
                  <a:schemeClr val="bg1">
                    <a:lumMod val="50000"/>
                  </a:schemeClr>
                </a:solidFill>
              </a:rPr>
              <a:t>majör</a:t>
            </a:r>
            <a:r>
              <a:rPr lang="en-GB" dirty="0">
                <a:solidFill>
                  <a:schemeClr val="bg1">
                    <a:lumMod val="50000"/>
                  </a:schemeClr>
                </a:solidFill>
              </a:rPr>
              <a:t> </a:t>
            </a:r>
            <a:r>
              <a:rPr lang="en-GB" dirty="0" err="1">
                <a:solidFill>
                  <a:schemeClr val="bg1">
                    <a:lumMod val="50000"/>
                  </a:schemeClr>
                </a:solidFill>
              </a:rPr>
              <a:t>advers</a:t>
            </a:r>
            <a:r>
              <a:rPr lang="en-GB" dirty="0">
                <a:solidFill>
                  <a:schemeClr val="bg1">
                    <a:lumMod val="50000"/>
                  </a:schemeClr>
                </a:solidFill>
              </a:rPr>
              <a:t> </a:t>
            </a:r>
            <a:r>
              <a:rPr lang="en-GB" dirty="0" err="1">
                <a:solidFill>
                  <a:schemeClr val="bg1">
                    <a:lumMod val="50000"/>
                  </a:schemeClr>
                </a:solidFill>
              </a:rPr>
              <a:t>kardiyovasküler</a:t>
            </a:r>
            <a:r>
              <a:rPr lang="en-GB" dirty="0">
                <a:solidFill>
                  <a:schemeClr val="bg1">
                    <a:lumMod val="50000"/>
                  </a:schemeClr>
                </a:solidFill>
              </a:rPr>
              <a:t> </a:t>
            </a:r>
            <a:r>
              <a:rPr lang="en-GB" dirty="0" err="1">
                <a:solidFill>
                  <a:schemeClr val="bg1">
                    <a:lumMod val="50000"/>
                  </a:schemeClr>
                </a:solidFill>
              </a:rPr>
              <a:t>olaylar</a:t>
            </a:r>
            <a:r>
              <a:rPr lang="en-GB" dirty="0">
                <a:solidFill>
                  <a:schemeClr val="bg1">
                    <a:lumMod val="50000"/>
                  </a:schemeClr>
                </a:solidFill>
              </a:rPr>
              <a:t>.</a:t>
            </a:r>
            <a:endParaRPr lang="tr-TR" dirty="0">
              <a:solidFill>
                <a:schemeClr val="bg1">
                  <a:lumMod val="50000"/>
                </a:schemeClr>
              </a:solidFill>
            </a:endParaRPr>
          </a:p>
          <a:p>
            <a:pPr marL="0" indent="0">
              <a:lnSpc>
                <a:spcPct val="120000"/>
              </a:lnSpc>
              <a:spcBef>
                <a:spcPts val="0"/>
              </a:spcBef>
              <a:buNone/>
              <a:defRPr/>
            </a:pPr>
            <a:r>
              <a:rPr kumimoji="0" lang="en-US" sz="900" i="0" u="none" strike="noStrike" kern="1200" cap="none" spc="0" normalizeH="0" baseline="0" noProof="0" dirty="0">
                <a:ln>
                  <a:noFill/>
                </a:ln>
                <a:solidFill>
                  <a:schemeClr val="bg1">
                    <a:lumMod val="50000"/>
                  </a:schemeClr>
                </a:solidFill>
                <a:effectLst/>
                <a:uLnTx/>
                <a:uFillTx/>
                <a:ea typeface="+mn-ea"/>
                <a:cs typeface="+mn-cs"/>
              </a:rPr>
              <a:t>1. Arnold FW, et al. </a:t>
            </a:r>
            <a:r>
              <a:rPr kumimoji="0" lang="en-US" sz="900" i="1" u="none" strike="noStrike" kern="1200" cap="none" spc="0" normalizeH="0" baseline="0" noProof="0" dirty="0">
                <a:ln>
                  <a:noFill/>
                </a:ln>
                <a:solidFill>
                  <a:schemeClr val="bg1">
                    <a:lumMod val="50000"/>
                  </a:schemeClr>
                </a:solidFill>
                <a:effectLst/>
                <a:uLnTx/>
                <a:uFillTx/>
                <a:ea typeface="+mn-ea"/>
                <a:cs typeface="+mn-cs"/>
              </a:rPr>
              <a:t>J Am </a:t>
            </a:r>
            <a:r>
              <a:rPr kumimoji="0" lang="en-US" sz="900" i="1" u="none" strike="noStrike" kern="1200" cap="none" spc="0" normalizeH="0" baseline="0" noProof="0" dirty="0" err="1">
                <a:ln>
                  <a:noFill/>
                </a:ln>
                <a:solidFill>
                  <a:schemeClr val="bg1">
                    <a:lumMod val="50000"/>
                  </a:schemeClr>
                </a:solidFill>
                <a:effectLst/>
                <a:uLnTx/>
                <a:uFillTx/>
                <a:ea typeface="+mn-ea"/>
                <a:cs typeface="+mn-cs"/>
              </a:rPr>
              <a:t>Geriatr</a:t>
            </a:r>
            <a:r>
              <a:rPr kumimoji="0" lang="en-US" sz="900" i="1" u="none" strike="noStrike" kern="1200" cap="none" spc="0" normalizeH="0" baseline="0" noProof="0" dirty="0">
                <a:ln>
                  <a:noFill/>
                </a:ln>
                <a:solidFill>
                  <a:schemeClr val="bg1">
                    <a:lumMod val="50000"/>
                  </a:schemeClr>
                </a:solidFill>
                <a:effectLst/>
                <a:uLnTx/>
                <a:uFillTx/>
                <a:ea typeface="+mn-ea"/>
                <a:cs typeface="+mn-cs"/>
              </a:rPr>
              <a:t> Soc</a:t>
            </a:r>
            <a:r>
              <a:rPr kumimoji="0" lang="en-US" sz="900" i="0" u="none" strike="noStrike" kern="1200" cap="none" spc="0" normalizeH="0" baseline="0" noProof="0" dirty="0">
                <a:ln>
                  <a:noFill/>
                </a:ln>
                <a:solidFill>
                  <a:schemeClr val="bg1">
                    <a:lumMod val="50000"/>
                  </a:schemeClr>
                </a:solidFill>
                <a:effectLst/>
                <a:uLnTx/>
                <a:uFillTx/>
                <a:ea typeface="+mn-ea"/>
                <a:cs typeface="+mn-cs"/>
              </a:rPr>
              <a:t>. 2020;68(5):1007-1014. 2. Torres A, et al. </a:t>
            </a:r>
            <a:r>
              <a:rPr kumimoji="0" lang="en-US" sz="900" i="1" u="none" strike="noStrike" kern="1200" cap="none" spc="0" normalizeH="0" baseline="0" noProof="0" dirty="0">
                <a:ln>
                  <a:noFill/>
                </a:ln>
                <a:solidFill>
                  <a:schemeClr val="bg1">
                    <a:lumMod val="50000"/>
                  </a:schemeClr>
                </a:solidFill>
                <a:effectLst/>
                <a:uLnTx/>
                <a:uFillTx/>
                <a:ea typeface="+mn-ea"/>
                <a:cs typeface="+mn-cs"/>
              </a:rPr>
              <a:t>Clin Infect Dis</a:t>
            </a:r>
            <a:r>
              <a:rPr kumimoji="0" lang="en-US" sz="900" i="0" u="none" strike="noStrike" kern="1200" cap="none" spc="0" normalizeH="0" baseline="0" noProof="0" dirty="0">
                <a:ln>
                  <a:noFill/>
                </a:ln>
                <a:solidFill>
                  <a:schemeClr val="bg1">
                    <a:lumMod val="50000"/>
                  </a:schemeClr>
                </a:solidFill>
                <a:effectLst/>
                <a:uLnTx/>
                <a:uFillTx/>
                <a:ea typeface="+mn-ea"/>
                <a:cs typeface="+mn-cs"/>
              </a:rPr>
              <a:t>. 2021;73(6):1075-1085. 3. </a:t>
            </a:r>
            <a:r>
              <a:rPr kumimoji="0" lang="fr-FR" sz="900" i="0" u="none" strike="noStrike" kern="1200" cap="none" spc="0" normalizeH="0" baseline="0" noProof="0" dirty="0">
                <a:ln>
                  <a:noFill/>
                </a:ln>
                <a:solidFill>
                  <a:schemeClr val="bg1">
                    <a:lumMod val="50000"/>
                  </a:schemeClr>
                </a:solidFill>
                <a:effectLst/>
                <a:uLnTx/>
                <a:uFillTx/>
                <a:ea typeface="+mn-ea"/>
                <a:cs typeface="+mn-cs"/>
              </a:rPr>
              <a:t>Reyes LF, et al</a:t>
            </a:r>
            <a:r>
              <a:rPr kumimoji="0" lang="fr-FR" sz="900" i="1" u="none" strike="noStrike" kern="1200" cap="none" spc="0" normalizeH="0" baseline="0" noProof="0" dirty="0">
                <a:ln>
                  <a:noFill/>
                </a:ln>
                <a:solidFill>
                  <a:schemeClr val="bg1">
                    <a:lumMod val="50000"/>
                  </a:schemeClr>
                </a:solidFill>
                <a:effectLst/>
                <a:uLnTx/>
                <a:uFillTx/>
                <a:ea typeface="+mn-ea"/>
                <a:cs typeface="+mn-cs"/>
              </a:rPr>
              <a:t>. Am J </a:t>
            </a:r>
            <a:r>
              <a:rPr kumimoji="0" lang="fr-FR" sz="900" i="1" u="none" strike="noStrike" kern="1200" cap="none" spc="0" normalizeH="0" baseline="0" noProof="0" dirty="0" err="1">
                <a:ln>
                  <a:noFill/>
                </a:ln>
                <a:solidFill>
                  <a:schemeClr val="bg1">
                    <a:lumMod val="50000"/>
                  </a:schemeClr>
                </a:solidFill>
                <a:effectLst/>
                <a:uLnTx/>
                <a:uFillTx/>
                <a:ea typeface="+mn-ea"/>
                <a:cs typeface="+mn-cs"/>
              </a:rPr>
              <a:t>Respir</a:t>
            </a:r>
            <a:r>
              <a:rPr kumimoji="0" lang="fr-FR" sz="900" i="1" u="none" strike="noStrike" kern="1200" cap="none" spc="0" normalizeH="0" baseline="0" noProof="0" dirty="0">
                <a:ln>
                  <a:noFill/>
                </a:ln>
                <a:solidFill>
                  <a:schemeClr val="bg1">
                    <a:lumMod val="50000"/>
                  </a:schemeClr>
                </a:solidFill>
                <a:effectLst/>
                <a:uLnTx/>
                <a:uFillTx/>
                <a:ea typeface="+mn-ea"/>
                <a:cs typeface="+mn-cs"/>
              </a:rPr>
              <a:t> Crit Care Med</a:t>
            </a:r>
            <a:r>
              <a:rPr kumimoji="0" lang="fr-FR" sz="900" i="0" u="none" strike="noStrike" kern="1200" cap="none" spc="0" normalizeH="0" baseline="0" noProof="0" dirty="0">
                <a:ln>
                  <a:noFill/>
                </a:ln>
                <a:solidFill>
                  <a:schemeClr val="bg1">
                    <a:lumMod val="50000"/>
                  </a:schemeClr>
                </a:solidFill>
                <a:effectLst/>
                <a:uLnTx/>
                <a:uFillTx/>
                <a:ea typeface="+mn-ea"/>
                <a:cs typeface="+mn-cs"/>
              </a:rPr>
              <a:t>. 2017;196(5):609-620. </a:t>
            </a:r>
            <a:r>
              <a:rPr kumimoji="0" lang="en-US" sz="900" i="0" u="none" strike="noStrike" kern="0" cap="none" spc="0" normalizeH="0" baseline="0" noProof="0" dirty="0">
                <a:ln>
                  <a:noFill/>
                </a:ln>
                <a:solidFill>
                  <a:schemeClr val="bg1">
                    <a:lumMod val="50000"/>
                  </a:schemeClr>
                </a:solidFill>
                <a:effectLst/>
                <a:uLnTx/>
                <a:uFillTx/>
                <a:ea typeface="+mn-ea"/>
                <a:cs typeface="+mn-cs"/>
              </a:rPr>
              <a:t>4. </a:t>
            </a:r>
            <a:r>
              <a:rPr kumimoji="0" lang="en-US" sz="900" i="0" u="none" strike="noStrike" kern="1200" cap="none" spc="0" normalizeH="0" baseline="0" noProof="0" dirty="0" err="1">
                <a:ln>
                  <a:noFill/>
                </a:ln>
                <a:solidFill>
                  <a:schemeClr val="bg1">
                    <a:lumMod val="50000"/>
                  </a:schemeClr>
                </a:solidFill>
                <a:effectLst/>
                <a:uLnTx/>
                <a:uFillTx/>
                <a:ea typeface="+mn-ea"/>
                <a:cs typeface="+mn-cs"/>
              </a:rPr>
              <a:t>Tsoumani</a:t>
            </a:r>
            <a:r>
              <a:rPr kumimoji="0" lang="en-US" sz="900" i="0" u="none" strike="noStrike" kern="1200" cap="none" spc="0" normalizeH="0" baseline="0" noProof="0" dirty="0">
                <a:ln>
                  <a:noFill/>
                </a:ln>
                <a:solidFill>
                  <a:schemeClr val="bg1">
                    <a:lumMod val="50000"/>
                  </a:schemeClr>
                </a:solidFill>
                <a:effectLst/>
                <a:uLnTx/>
                <a:uFillTx/>
                <a:ea typeface="+mn-ea"/>
                <a:cs typeface="+mn-cs"/>
              </a:rPr>
              <a:t> E, et al. </a:t>
            </a:r>
            <a:r>
              <a:rPr kumimoji="0" lang="en-US" sz="900" i="1" u="none" strike="noStrike" kern="1200" cap="none" spc="0" normalizeH="0" baseline="0" noProof="0" dirty="0">
                <a:ln>
                  <a:noFill/>
                </a:ln>
                <a:solidFill>
                  <a:schemeClr val="bg1">
                    <a:lumMod val="50000"/>
                  </a:schemeClr>
                </a:solidFill>
                <a:effectLst/>
                <a:uLnTx/>
                <a:uFillTx/>
                <a:ea typeface="+mn-ea"/>
                <a:cs typeface="+mn-cs"/>
              </a:rPr>
              <a:t>Expert Rev Vaccines. </a:t>
            </a:r>
            <a:r>
              <a:rPr kumimoji="0" lang="en-US" sz="900" i="0" u="none" strike="noStrike" kern="1200" cap="none" spc="0" normalizeH="0" baseline="0" noProof="0" dirty="0">
                <a:ln>
                  <a:noFill/>
                </a:ln>
                <a:solidFill>
                  <a:schemeClr val="bg1">
                    <a:lumMod val="50000"/>
                  </a:schemeClr>
                </a:solidFill>
                <a:effectLst/>
                <a:uLnTx/>
                <a:uFillTx/>
                <a:ea typeface="+mn-ea"/>
                <a:cs typeface="+mn-cs"/>
              </a:rPr>
              <a:t>2023;22(1):876-884. 5. </a:t>
            </a:r>
            <a:r>
              <a:rPr kumimoji="0" lang="en-US" sz="900" i="0" u="none" strike="noStrike" kern="1200" cap="none" spc="0" normalizeH="0" baseline="0" noProof="0" dirty="0" err="1">
                <a:ln>
                  <a:noFill/>
                </a:ln>
                <a:solidFill>
                  <a:schemeClr val="bg1">
                    <a:lumMod val="50000"/>
                  </a:schemeClr>
                </a:solidFill>
                <a:effectLst/>
                <a:uLnTx/>
                <a:uFillTx/>
                <a:ea typeface="+mn-ea"/>
                <a:cs typeface="+mn-cs"/>
              </a:rPr>
              <a:t>Lewnard</a:t>
            </a:r>
            <a:r>
              <a:rPr kumimoji="0" lang="en-US" sz="900" i="0" u="none" strike="noStrike" kern="1200" cap="none" spc="0" normalizeH="0" baseline="0" noProof="0" dirty="0">
                <a:ln>
                  <a:noFill/>
                </a:ln>
                <a:solidFill>
                  <a:schemeClr val="bg1">
                    <a:lumMod val="50000"/>
                  </a:schemeClr>
                </a:solidFill>
                <a:effectLst/>
                <a:uLnTx/>
                <a:uFillTx/>
                <a:ea typeface="+mn-ea"/>
                <a:cs typeface="+mn-cs"/>
              </a:rPr>
              <a:t> JA, et al. </a:t>
            </a:r>
            <a:r>
              <a:rPr kumimoji="0" lang="en-US" sz="900" i="1" u="none" strike="noStrike" kern="1200" cap="none" spc="0" normalizeH="0" baseline="0" noProof="0" dirty="0">
                <a:ln>
                  <a:noFill/>
                </a:ln>
                <a:solidFill>
                  <a:schemeClr val="bg1">
                    <a:lumMod val="50000"/>
                  </a:schemeClr>
                </a:solidFill>
                <a:effectLst/>
                <a:uLnTx/>
                <a:uFillTx/>
                <a:ea typeface="+mn-ea"/>
                <a:cs typeface="+mn-cs"/>
              </a:rPr>
              <a:t>Clin Infect Dis</a:t>
            </a:r>
            <a:r>
              <a:rPr kumimoji="0" lang="en-US" sz="900" i="0" u="none" strike="noStrike" kern="1200" cap="none" spc="0" normalizeH="0" baseline="0" noProof="0" dirty="0">
                <a:ln>
                  <a:noFill/>
                </a:ln>
                <a:solidFill>
                  <a:schemeClr val="bg1">
                    <a:lumMod val="50000"/>
                  </a:schemeClr>
                </a:solidFill>
                <a:effectLst/>
                <a:uLnTx/>
                <a:uFillTx/>
                <a:ea typeface="+mn-ea"/>
                <a:cs typeface="+mn-cs"/>
              </a:rPr>
              <a:t>. 2023;77(9):1340-1352. </a:t>
            </a:r>
            <a:r>
              <a:rPr kumimoji="0" lang="fr-FR" sz="900" i="0" u="none" strike="noStrike" kern="1200" cap="none" spc="0" normalizeH="0" baseline="0" noProof="0" dirty="0">
                <a:ln>
                  <a:noFill/>
                </a:ln>
                <a:solidFill>
                  <a:schemeClr val="bg1">
                    <a:lumMod val="50000"/>
                  </a:schemeClr>
                </a:solidFill>
                <a:effectLst/>
                <a:uLnTx/>
                <a:uFillTx/>
                <a:ea typeface="+mn-ea"/>
                <a:cs typeface="+mn-cs"/>
              </a:rPr>
              <a:t>6. </a:t>
            </a:r>
            <a:r>
              <a:rPr kumimoji="0" lang="en-US" sz="900" i="0" u="none" strike="noStrike" kern="0" cap="none" spc="0" normalizeH="0" baseline="0" noProof="0" dirty="0">
                <a:ln>
                  <a:noFill/>
                </a:ln>
                <a:solidFill>
                  <a:schemeClr val="bg1">
                    <a:lumMod val="50000"/>
                  </a:schemeClr>
                </a:solidFill>
                <a:effectLst/>
                <a:uLnTx/>
                <a:uFillTx/>
                <a:latin typeface="+mn-lt"/>
                <a:ea typeface="+mn-ea"/>
                <a:cs typeface="+mn-cs"/>
              </a:rPr>
              <a:t>Ramirez JA, et al. </a:t>
            </a:r>
            <a:r>
              <a:rPr kumimoji="0" lang="en-US" sz="900" i="1" u="none" strike="noStrike" kern="0" cap="none" spc="0" normalizeH="0" baseline="0" noProof="0" dirty="0">
                <a:ln>
                  <a:noFill/>
                </a:ln>
                <a:solidFill>
                  <a:schemeClr val="bg1">
                    <a:lumMod val="50000"/>
                  </a:schemeClr>
                </a:solidFill>
                <a:effectLst/>
                <a:uLnTx/>
                <a:uFillTx/>
                <a:latin typeface="+mn-lt"/>
                <a:ea typeface="+mn-ea"/>
                <a:cs typeface="+mn-cs"/>
              </a:rPr>
              <a:t>Clin Infect Dis</a:t>
            </a:r>
            <a:r>
              <a:rPr kumimoji="0" lang="en-US" sz="900" i="0" u="none" strike="noStrike" kern="0" cap="none" spc="0" normalizeH="0" baseline="0" noProof="0" dirty="0">
                <a:ln>
                  <a:noFill/>
                </a:ln>
                <a:solidFill>
                  <a:schemeClr val="bg1">
                    <a:lumMod val="50000"/>
                  </a:schemeClr>
                </a:solidFill>
                <a:effectLst/>
                <a:uLnTx/>
                <a:uFillTx/>
                <a:latin typeface="+mn-lt"/>
                <a:ea typeface="+mn-ea"/>
                <a:cs typeface="+mn-cs"/>
              </a:rPr>
              <a:t>. 2017;65(11):1806-1812.</a:t>
            </a:r>
            <a:r>
              <a:rPr kumimoji="0" lang="fr-FR" sz="900" i="0" u="none" strike="noStrike" kern="1200" cap="none" spc="0" normalizeH="0" baseline="0" noProof="0" dirty="0">
                <a:ln>
                  <a:noFill/>
                </a:ln>
                <a:solidFill>
                  <a:schemeClr val="bg1">
                    <a:lumMod val="50000"/>
                  </a:schemeClr>
                </a:solidFill>
                <a:effectLst/>
                <a:uLnTx/>
                <a:uFillTx/>
                <a:ea typeface="+mn-ea"/>
                <a:cs typeface="+mn-cs"/>
              </a:rPr>
              <a:t> 7. </a:t>
            </a:r>
            <a:r>
              <a:rPr kumimoji="0" lang="fr-FR" sz="900" i="0" u="none" strike="noStrike" kern="1200" cap="none" spc="0" normalizeH="0" baseline="0" noProof="0" dirty="0" err="1">
                <a:ln>
                  <a:noFill/>
                </a:ln>
                <a:solidFill>
                  <a:schemeClr val="bg1">
                    <a:lumMod val="50000"/>
                  </a:schemeClr>
                </a:solidFill>
                <a:effectLst/>
                <a:uLnTx/>
                <a:uFillTx/>
                <a:latin typeface="+mn-lt"/>
                <a:ea typeface="+mn-ea"/>
                <a:cs typeface="+mn-cs"/>
              </a:rPr>
              <a:t>Sandvall</a:t>
            </a:r>
            <a:r>
              <a:rPr kumimoji="0" lang="fr-FR" sz="900" i="0" u="none" strike="noStrike" kern="1200" cap="none" spc="0" normalizeH="0" baseline="0" noProof="0" dirty="0">
                <a:ln>
                  <a:noFill/>
                </a:ln>
                <a:solidFill>
                  <a:schemeClr val="bg1">
                    <a:lumMod val="50000"/>
                  </a:schemeClr>
                </a:solidFill>
                <a:effectLst/>
                <a:uLnTx/>
                <a:uFillTx/>
                <a:latin typeface="+mn-lt"/>
                <a:ea typeface="+mn-ea"/>
                <a:cs typeface="+mn-cs"/>
              </a:rPr>
              <a:t> B, et al</a:t>
            </a:r>
            <a:r>
              <a:rPr kumimoji="0" lang="en-US" sz="900" i="0" u="none" strike="noStrike" kern="1200" cap="none" spc="0" normalizeH="0" baseline="0" noProof="0" dirty="0">
                <a:ln>
                  <a:noFill/>
                </a:ln>
                <a:solidFill>
                  <a:schemeClr val="bg1">
                    <a:lumMod val="50000"/>
                  </a:schemeClr>
                </a:solidFill>
                <a:effectLst/>
                <a:uLnTx/>
                <a:uFillTx/>
                <a:latin typeface="+mn-lt"/>
                <a:ea typeface="+mn-ea"/>
                <a:cs typeface="+mn-cs"/>
              </a:rPr>
              <a:t>. </a:t>
            </a:r>
            <a:r>
              <a:rPr kumimoji="0" lang="fr-FR" sz="900" i="1" u="none" strike="noStrike" kern="1200" cap="none" spc="0" normalizeH="0" baseline="0" noProof="0" dirty="0">
                <a:ln>
                  <a:noFill/>
                </a:ln>
                <a:solidFill>
                  <a:schemeClr val="bg1">
                    <a:lumMod val="50000"/>
                  </a:schemeClr>
                </a:solidFill>
                <a:effectLst/>
                <a:uLnTx/>
                <a:uFillTx/>
                <a:latin typeface="+mn-lt"/>
                <a:ea typeface="+mn-ea"/>
                <a:cs typeface="+mn-cs"/>
              </a:rPr>
              <a:t>Clin Infect Dis</a:t>
            </a:r>
            <a:r>
              <a:rPr kumimoji="0" lang="fr-FR" sz="900" i="0" u="none" strike="noStrike" kern="1200" cap="none" spc="0" normalizeH="0" baseline="0" noProof="0" dirty="0">
                <a:ln>
                  <a:noFill/>
                </a:ln>
                <a:solidFill>
                  <a:schemeClr val="bg1">
                    <a:lumMod val="50000"/>
                  </a:schemeClr>
                </a:solidFill>
                <a:effectLst/>
                <a:uLnTx/>
                <a:uFillTx/>
                <a:latin typeface="+mn-lt"/>
                <a:ea typeface="+mn-ea"/>
                <a:cs typeface="+mn-cs"/>
              </a:rPr>
              <a:t>. 2013;56(8):1145-1146. </a:t>
            </a:r>
            <a:br>
              <a:rPr kumimoji="0" lang="fr-FR" sz="900" i="0" u="none" strike="noStrike" kern="1200" cap="none" spc="0" normalizeH="0" baseline="0" noProof="0" dirty="0">
                <a:ln>
                  <a:noFill/>
                </a:ln>
                <a:solidFill>
                  <a:schemeClr val="bg1">
                    <a:lumMod val="50000"/>
                  </a:schemeClr>
                </a:solidFill>
                <a:effectLst/>
                <a:uLnTx/>
                <a:uFillTx/>
                <a:latin typeface="+mn-lt"/>
                <a:ea typeface="+mn-ea"/>
                <a:cs typeface="+mn-cs"/>
              </a:rPr>
            </a:br>
            <a:r>
              <a:rPr kumimoji="0" lang="fr-FR" sz="900" i="0" u="none" strike="noStrike" kern="1200" cap="none" spc="0" normalizeH="0" baseline="0" noProof="0" dirty="0">
                <a:ln>
                  <a:noFill/>
                </a:ln>
                <a:solidFill>
                  <a:schemeClr val="bg1">
                    <a:lumMod val="50000"/>
                  </a:schemeClr>
                </a:solidFill>
                <a:effectLst/>
                <a:uLnTx/>
                <a:uFillTx/>
                <a:ea typeface="+mn-ea"/>
                <a:cs typeface="+mn-cs"/>
              </a:rPr>
              <a:t>8. </a:t>
            </a:r>
            <a:r>
              <a:rPr kumimoji="0" lang="en-US" sz="900" i="0" u="none" strike="noStrike" kern="1200" cap="none" spc="0" normalizeH="0" baseline="0" noProof="0" dirty="0">
                <a:ln>
                  <a:noFill/>
                </a:ln>
                <a:solidFill>
                  <a:schemeClr val="bg1">
                    <a:lumMod val="50000"/>
                  </a:schemeClr>
                </a:solidFill>
                <a:effectLst/>
                <a:uLnTx/>
                <a:uFillTx/>
                <a:ea typeface="+mn-ea"/>
                <a:cs typeface="+mn-cs"/>
              </a:rPr>
              <a:t>Bornheimer R, et al. </a:t>
            </a:r>
            <a:r>
              <a:rPr kumimoji="0" lang="en-US" sz="900" i="1" u="none" strike="noStrike" kern="1200" cap="none" spc="0" normalizeH="0" baseline="0" noProof="0" dirty="0" err="1">
                <a:ln>
                  <a:noFill/>
                </a:ln>
                <a:solidFill>
                  <a:schemeClr val="bg1">
                    <a:lumMod val="50000"/>
                  </a:schemeClr>
                </a:solidFill>
                <a:effectLst/>
                <a:uLnTx/>
                <a:uFillTx/>
                <a:ea typeface="+mn-ea"/>
                <a:cs typeface="+mn-cs"/>
              </a:rPr>
              <a:t>PLoS</a:t>
            </a:r>
            <a:r>
              <a:rPr kumimoji="0" lang="en-US" sz="900" i="1" u="none" strike="noStrike" kern="1200" cap="none" spc="0" normalizeH="0" baseline="0" noProof="0" dirty="0">
                <a:ln>
                  <a:noFill/>
                </a:ln>
                <a:solidFill>
                  <a:schemeClr val="bg1">
                    <a:lumMod val="50000"/>
                  </a:schemeClr>
                </a:solidFill>
                <a:effectLst/>
                <a:uLnTx/>
                <a:uFillTx/>
                <a:ea typeface="+mn-ea"/>
                <a:cs typeface="+mn-cs"/>
              </a:rPr>
              <a:t> One. </a:t>
            </a:r>
            <a:r>
              <a:rPr kumimoji="0" lang="en-US" sz="900" i="0" u="none" strike="noStrike" kern="1200" cap="none" spc="0" normalizeH="0" baseline="0" noProof="0" dirty="0">
                <a:ln>
                  <a:noFill/>
                </a:ln>
                <a:solidFill>
                  <a:schemeClr val="bg1">
                    <a:lumMod val="50000"/>
                  </a:schemeClr>
                </a:solidFill>
                <a:effectLst/>
                <a:uLnTx/>
                <a:uFillTx/>
                <a:ea typeface="+mn-ea"/>
                <a:cs typeface="+mn-cs"/>
              </a:rPr>
              <a:t>2017;12(10):e0184877. 9. </a:t>
            </a:r>
            <a:r>
              <a:rPr kumimoji="0" lang="en-US" sz="900" i="0" u="none" strike="noStrike" kern="1200" cap="none" spc="0" normalizeH="0" baseline="0" noProof="0" dirty="0" err="1">
                <a:ln>
                  <a:noFill/>
                </a:ln>
                <a:solidFill>
                  <a:schemeClr val="bg1">
                    <a:lumMod val="50000"/>
                  </a:schemeClr>
                </a:solidFill>
                <a:effectLst/>
                <a:uLnTx/>
                <a:uFillTx/>
                <a:ea typeface="+mn-ea"/>
                <a:cs typeface="+mn-cs"/>
              </a:rPr>
              <a:t>Wyrwich</a:t>
            </a:r>
            <a:r>
              <a:rPr kumimoji="0" lang="en-US" sz="900" i="0" u="none" strike="noStrike" kern="1200" cap="none" spc="0" normalizeH="0" baseline="0" noProof="0" dirty="0">
                <a:ln>
                  <a:noFill/>
                </a:ln>
                <a:solidFill>
                  <a:schemeClr val="bg1">
                    <a:lumMod val="50000"/>
                  </a:schemeClr>
                </a:solidFill>
                <a:effectLst/>
                <a:uLnTx/>
                <a:uFillTx/>
                <a:ea typeface="+mn-ea"/>
                <a:cs typeface="+mn-cs"/>
              </a:rPr>
              <a:t> KW, et al. </a:t>
            </a:r>
            <a:r>
              <a:rPr kumimoji="0" lang="en-US" sz="900" i="1" u="none" strike="noStrike" kern="1200" cap="none" spc="0" normalizeH="0" baseline="0" noProof="0" dirty="0">
                <a:ln>
                  <a:noFill/>
                </a:ln>
                <a:solidFill>
                  <a:schemeClr val="bg1">
                    <a:lumMod val="50000"/>
                  </a:schemeClr>
                </a:solidFill>
                <a:effectLst/>
                <a:uLnTx/>
                <a:uFillTx/>
                <a:ea typeface="+mn-ea"/>
                <a:cs typeface="+mn-cs"/>
              </a:rPr>
              <a:t>Patient </a:t>
            </a:r>
            <a:r>
              <a:rPr kumimoji="0" lang="en-US" sz="900" i="1" u="none" strike="noStrike" kern="1200" cap="none" spc="0" normalizeH="0" baseline="0" noProof="0" dirty="0" err="1">
                <a:ln>
                  <a:noFill/>
                </a:ln>
                <a:solidFill>
                  <a:schemeClr val="bg1">
                    <a:lumMod val="50000"/>
                  </a:schemeClr>
                </a:solidFill>
                <a:effectLst/>
                <a:uLnTx/>
                <a:uFillTx/>
                <a:ea typeface="+mn-ea"/>
                <a:cs typeface="+mn-cs"/>
              </a:rPr>
              <a:t>Relat</a:t>
            </a:r>
            <a:r>
              <a:rPr kumimoji="0" lang="en-US" sz="900" i="1" u="none" strike="noStrike" kern="1200" cap="none" spc="0" normalizeH="0" baseline="0" noProof="0" dirty="0">
                <a:ln>
                  <a:noFill/>
                </a:ln>
                <a:solidFill>
                  <a:schemeClr val="bg1">
                    <a:lumMod val="50000"/>
                  </a:schemeClr>
                </a:solidFill>
                <a:effectLst/>
                <a:uLnTx/>
                <a:uFillTx/>
                <a:ea typeface="+mn-ea"/>
                <a:cs typeface="+mn-cs"/>
              </a:rPr>
              <a:t> Outcome Meas</a:t>
            </a:r>
            <a:r>
              <a:rPr kumimoji="0" lang="en-US" sz="900" i="0" u="none" strike="noStrike" kern="1200" cap="none" spc="0" normalizeH="0" baseline="0" noProof="0" dirty="0">
                <a:ln>
                  <a:noFill/>
                </a:ln>
                <a:solidFill>
                  <a:schemeClr val="bg1">
                    <a:lumMod val="50000"/>
                  </a:schemeClr>
                </a:solidFill>
                <a:effectLst/>
                <a:uLnTx/>
                <a:uFillTx/>
                <a:ea typeface="+mn-ea"/>
                <a:cs typeface="+mn-cs"/>
              </a:rPr>
              <a:t>. 2015;6:215-23. 10. </a:t>
            </a:r>
            <a:r>
              <a:rPr kumimoji="0" lang="en-US" sz="900" i="0" u="none" strike="noStrike" kern="1200" cap="none" spc="0" normalizeH="0" baseline="0" noProof="0" dirty="0" err="1">
                <a:ln>
                  <a:noFill/>
                </a:ln>
                <a:solidFill>
                  <a:schemeClr val="bg1">
                    <a:lumMod val="50000"/>
                  </a:schemeClr>
                </a:solidFill>
                <a:effectLst/>
                <a:uLnTx/>
                <a:uFillTx/>
                <a:ea typeface="+mn-ea"/>
                <a:cs typeface="+mn-cs"/>
              </a:rPr>
              <a:t>Boussat</a:t>
            </a:r>
            <a:r>
              <a:rPr kumimoji="0" lang="en-US" sz="900" i="0" u="none" strike="noStrike" kern="1200" cap="none" spc="0" normalizeH="0" baseline="0" noProof="0" dirty="0">
                <a:ln>
                  <a:noFill/>
                </a:ln>
                <a:solidFill>
                  <a:schemeClr val="bg1">
                    <a:lumMod val="50000"/>
                  </a:schemeClr>
                </a:solidFill>
                <a:effectLst/>
                <a:uLnTx/>
                <a:uFillTx/>
                <a:ea typeface="+mn-ea"/>
                <a:cs typeface="+mn-cs"/>
              </a:rPr>
              <a:t> B, et al. </a:t>
            </a:r>
            <a:r>
              <a:rPr kumimoji="0" lang="en-US" sz="900" i="1" u="none" strike="noStrike" kern="1200" cap="none" spc="0" normalizeH="0" baseline="0" noProof="0" dirty="0">
                <a:ln>
                  <a:noFill/>
                </a:ln>
                <a:solidFill>
                  <a:schemeClr val="bg1">
                    <a:lumMod val="50000"/>
                  </a:schemeClr>
                </a:solidFill>
                <a:effectLst/>
                <a:uLnTx/>
                <a:uFillTx/>
                <a:ea typeface="+mn-ea"/>
                <a:cs typeface="+mn-cs"/>
              </a:rPr>
              <a:t>JAMA </a:t>
            </a:r>
            <a:r>
              <a:rPr kumimoji="0" lang="en-US" sz="900" i="1" u="none" strike="noStrike" kern="1200" cap="none" spc="0" normalizeH="0" baseline="0" noProof="0" dirty="0" err="1">
                <a:ln>
                  <a:noFill/>
                </a:ln>
                <a:solidFill>
                  <a:schemeClr val="bg1">
                    <a:lumMod val="50000"/>
                  </a:schemeClr>
                </a:solidFill>
                <a:effectLst/>
                <a:uLnTx/>
                <a:uFillTx/>
                <a:ea typeface="+mn-ea"/>
                <a:cs typeface="+mn-cs"/>
              </a:rPr>
              <a:t>Netw</a:t>
            </a:r>
            <a:r>
              <a:rPr kumimoji="0" lang="en-US" sz="900" i="1" u="none" strike="noStrike" kern="1200" cap="none" spc="0" normalizeH="0" baseline="0" noProof="0" dirty="0">
                <a:ln>
                  <a:noFill/>
                </a:ln>
                <a:solidFill>
                  <a:schemeClr val="bg1">
                    <a:lumMod val="50000"/>
                  </a:schemeClr>
                </a:solidFill>
                <a:effectLst/>
                <a:uLnTx/>
                <a:uFillTx/>
                <a:ea typeface="+mn-ea"/>
                <a:cs typeface="+mn-cs"/>
              </a:rPr>
              <a:t> Open</a:t>
            </a:r>
            <a:r>
              <a:rPr kumimoji="0" lang="en-US" sz="900" i="0" u="none" strike="noStrike" kern="1200" cap="none" spc="0" normalizeH="0" baseline="0" noProof="0" dirty="0">
                <a:ln>
                  <a:noFill/>
                </a:ln>
                <a:solidFill>
                  <a:schemeClr val="bg1">
                    <a:lumMod val="50000"/>
                  </a:schemeClr>
                </a:solidFill>
                <a:effectLst/>
                <a:uLnTx/>
                <a:uFillTx/>
                <a:ea typeface="+mn-ea"/>
                <a:cs typeface="+mn-cs"/>
              </a:rPr>
              <a:t>. 2022;5(4):e226574.</a:t>
            </a:r>
          </a:p>
        </p:txBody>
      </p:sp>
      <p:grpSp>
        <p:nvGrpSpPr>
          <p:cNvPr id="44" name="Group 43">
            <a:extLst>
              <a:ext uri="{FF2B5EF4-FFF2-40B4-BE49-F238E27FC236}">
                <a16:creationId xmlns:a16="http://schemas.microsoft.com/office/drawing/2014/main" id="{7C196941-0366-CC01-1E5C-9C8E013A8028}"/>
              </a:ext>
            </a:extLst>
          </p:cNvPr>
          <p:cNvGrpSpPr/>
          <p:nvPr/>
        </p:nvGrpSpPr>
        <p:grpSpPr>
          <a:xfrm>
            <a:off x="10303524" y="1541779"/>
            <a:ext cx="1310058" cy="1011767"/>
            <a:chOff x="9399226" y="1257300"/>
            <a:chExt cx="1064683" cy="822262"/>
          </a:xfrm>
        </p:grpSpPr>
        <p:sp>
          <p:nvSpPr>
            <p:cNvPr id="41" name="Parallelogram 40">
              <a:extLst>
                <a:ext uri="{FF2B5EF4-FFF2-40B4-BE49-F238E27FC236}">
                  <a16:creationId xmlns:a16="http://schemas.microsoft.com/office/drawing/2014/main" id="{EEF26FC7-FB5A-C991-786A-8731BDE0E0C7}"/>
                </a:ext>
              </a:extLst>
            </p:cNvPr>
            <p:cNvSpPr/>
            <p:nvPr/>
          </p:nvSpPr>
          <p:spPr>
            <a:xfrm>
              <a:off x="9399226" y="1257300"/>
              <a:ext cx="1064683" cy="822262"/>
            </a:xfrm>
            <a:prstGeom prst="parallelogram">
              <a:avLst>
                <a:gd name="adj" fmla="val 26046"/>
              </a:avLst>
            </a:prstGeom>
            <a:gradFill flip="none" rotWithShape="1">
              <a:gsLst>
                <a:gs pos="100000">
                  <a:schemeClr val="accent2"/>
                </a:gs>
                <a:gs pos="2000">
                  <a:schemeClr val="accent2">
                    <a:lumMod val="60000"/>
                    <a:lumOff val="40000"/>
                  </a:schemeClr>
                </a:gs>
              </a:gsLst>
              <a:lin ang="16200000" scaled="1"/>
              <a:tileRect/>
            </a:gradFill>
            <a:ln w="38100">
              <a:solidFill>
                <a:schemeClr val="bg1"/>
              </a:solidFill>
            </a:ln>
            <a:effectLst>
              <a:innerShdw blurRad="215900" dist="88900" dir="16200000">
                <a:schemeClr val="accent1">
                  <a:alpha val="72000"/>
                </a:scheme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Freeform: Shape 5">
              <a:extLst>
                <a:ext uri="{FF2B5EF4-FFF2-40B4-BE49-F238E27FC236}">
                  <a16:creationId xmlns:a16="http://schemas.microsoft.com/office/drawing/2014/main" id="{B51F4179-59EB-752C-61DA-8E27272D6813}"/>
                </a:ext>
              </a:extLst>
            </p:cNvPr>
            <p:cNvSpPr/>
            <p:nvPr/>
          </p:nvSpPr>
          <p:spPr>
            <a:xfrm>
              <a:off x="9702929" y="1453104"/>
              <a:ext cx="457590" cy="430654"/>
            </a:xfrm>
            <a:custGeom>
              <a:avLst/>
              <a:gdLst>
                <a:gd name="connsiteX0" fmla="*/ 141460 w 457590"/>
                <a:gd name="connsiteY0" fmla="*/ 105064 h 430654"/>
                <a:gd name="connsiteX1" fmla="*/ 71126 w 457590"/>
                <a:gd name="connsiteY1" fmla="*/ 155642 h 430654"/>
                <a:gd name="connsiteX2" fmla="*/ 16598 w 457590"/>
                <a:gd name="connsiteY2" fmla="*/ 358743 h 430654"/>
                <a:gd name="connsiteX3" fmla="*/ 33984 w 457590"/>
                <a:gd name="connsiteY3" fmla="*/ 413271 h 430654"/>
                <a:gd name="connsiteX4" fmla="*/ 41097 w 457590"/>
                <a:gd name="connsiteY4" fmla="*/ 412481 h 430654"/>
                <a:gd name="connsiteX5" fmla="*/ 86142 w 457590"/>
                <a:gd name="connsiteY5" fmla="*/ 380869 h 430654"/>
                <a:gd name="connsiteX6" fmla="*/ 87723 w 457590"/>
                <a:gd name="connsiteY6" fmla="*/ 380869 h 430654"/>
                <a:gd name="connsiteX7" fmla="*/ 126446 w 457590"/>
                <a:gd name="connsiteY7" fmla="*/ 365064 h 430654"/>
                <a:gd name="connsiteX8" fmla="*/ 159638 w 457590"/>
                <a:gd name="connsiteY8" fmla="*/ 350839 h 430654"/>
                <a:gd name="connsiteX9" fmla="*/ 159634 w 457590"/>
                <a:gd name="connsiteY9" fmla="*/ 350848 h 430654"/>
                <a:gd name="connsiteX10" fmla="*/ 188084 w 457590"/>
                <a:gd name="connsiteY10" fmla="*/ 295526 h 430654"/>
                <a:gd name="connsiteX11" fmla="*/ 177811 w 457590"/>
                <a:gd name="connsiteY11" fmla="*/ 202270 h 430654"/>
                <a:gd name="connsiteX12" fmla="*/ 101944 w 457590"/>
                <a:gd name="connsiteY12" fmla="*/ 271815 h 430654"/>
                <a:gd name="connsiteX13" fmla="*/ 101154 w 457590"/>
                <a:gd name="connsiteY13" fmla="*/ 272605 h 430654"/>
                <a:gd name="connsiteX14" fmla="*/ 90090 w 457590"/>
                <a:gd name="connsiteY14" fmla="*/ 271024 h 430654"/>
                <a:gd name="connsiteX15" fmla="*/ 91670 w 457590"/>
                <a:gd name="connsiteY15" fmla="*/ 259960 h 430654"/>
                <a:gd name="connsiteX16" fmla="*/ 173071 w 457590"/>
                <a:gd name="connsiteY16" fmla="*/ 184883 h 430654"/>
                <a:gd name="connsiteX17" fmla="*/ 172280 w 457590"/>
                <a:gd name="connsiteY17" fmla="*/ 182512 h 430654"/>
                <a:gd name="connsiteX18" fmla="*/ 165168 w 457590"/>
                <a:gd name="connsiteY18" fmla="*/ 165126 h 430654"/>
                <a:gd name="connsiteX19" fmla="*/ 157265 w 457590"/>
                <a:gd name="connsiteY19" fmla="*/ 144579 h 430654"/>
                <a:gd name="connsiteX20" fmla="*/ 153314 w 457590"/>
                <a:gd name="connsiteY20" fmla="*/ 129563 h 430654"/>
                <a:gd name="connsiteX21" fmla="*/ 146201 w 457590"/>
                <a:gd name="connsiteY21" fmla="*/ 107435 h 430654"/>
                <a:gd name="connsiteX22" fmla="*/ 141460 w 457590"/>
                <a:gd name="connsiteY22" fmla="*/ 105064 h 430654"/>
                <a:gd name="connsiteX23" fmla="*/ 317694 w 457590"/>
                <a:gd name="connsiteY23" fmla="*/ 103478 h 430654"/>
                <a:gd name="connsiteX24" fmla="*/ 312953 w 457590"/>
                <a:gd name="connsiteY24" fmla="*/ 105850 h 430654"/>
                <a:gd name="connsiteX25" fmla="*/ 305840 w 457590"/>
                <a:gd name="connsiteY25" fmla="*/ 127977 h 430654"/>
                <a:gd name="connsiteX26" fmla="*/ 301889 w 457590"/>
                <a:gd name="connsiteY26" fmla="*/ 142992 h 430654"/>
                <a:gd name="connsiteX27" fmla="*/ 293986 w 457590"/>
                <a:gd name="connsiteY27" fmla="*/ 163540 h 430654"/>
                <a:gd name="connsiteX28" fmla="*/ 286874 w 457590"/>
                <a:gd name="connsiteY28" fmla="*/ 180926 h 430654"/>
                <a:gd name="connsiteX29" fmla="*/ 285293 w 457590"/>
                <a:gd name="connsiteY29" fmla="*/ 185667 h 430654"/>
                <a:gd name="connsiteX30" fmla="*/ 362738 w 457590"/>
                <a:gd name="connsiteY30" fmla="*/ 258373 h 430654"/>
                <a:gd name="connsiteX31" fmla="*/ 362738 w 457590"/>
                <a:gd name="connsiteY31" fmla="*/ 269437 h 430654"/>
                <a:gd name="connsiteX32" fmla="*/ 351674 w 457590"/>
                <a:gd name="connsiteY32" fmla="*/ 269437 h 430654"/>
                <a:gd name="connsiteX33" fmla="*/ 280552 w 457590"/>
                <a:gd name="connsiteY33" fmla="*/ 202265 h 430654"/>
                <a:gd name="connsiteX34" fmla="*/ 271068 w 457590"/>
                <a:gd name="connsiteY34" fmla="*/ 293149 h 430654"/>
                <a:gd name="connsiteX35" fmla="*/ 299518 w 457590"/>
                <a:gd name="connsiteY35" fmla="*/ 350049 h 430654"/>
                <a:gd name="connsiteX36" fmla="*/ 332710 w 457590"/>
                <a:gd name="connsiteY36" fmla="*/ 364274 h 430654"/>
                <a:gd name="connsiteX37" fmla="*/ 371433 w 457590"/>
                <a:gd name="connsiteY37" fmla="*/ 380079 h 430654"/>
                <a:gd name="connsiteX38" fmla="*/ 373014 w 457590"/>
                <a:gd name="connsiteY38" fmla="*/ 381660 h 430654"/>
                <a:gd name="connsiteX39" fmla="*/ 418060 w 457590"/>
                <a:gd name="connsiteY39" fmla="*/ 413271 h 430654"/>
                <a:gd name="connsiteX40" fmla="*/ 425172 w 457590"/>
                <a:gd name="connsiteY40" fmla="*/ 414061 h 430654"/>
                <a:gd name="connsiteX41" fmla="*/ 425171 w 457590"/>
                <a:gd name="connsiteY41" fmla="*/ 414057 h 430654"/>
                <a:gd name="connsiteX42" fmla="*/ 443347 w 457590"/>
                <a:gd name="connsiteY42" fmla="*/ 357946 h 430654"/>
                <a:gd name="connsiteX43" fmla="*/ 388820 w 457590"/>
                <a:gd name="connsiteY43" fmla="*/ 154056 h 430654"/>
                <a:gd name="connsiteX44" fmla="*/ 319275 w 457590"/>
                <a:gd name="connsiteY44" fmla="*/ 103478 h 430654"/>
                <a:gd name="connsiteX45" fmla="*/ 219111 w 457590"/>
                <a:gd name="connsiteY45" fmla="*/ 0 h 430654"/>
                <a:gd name="connsiteX46" fmla="*/ 234916 w 457590"/>
                <a:gd name="connsiteY46" fmla="*/ 0 h 430654"/>
                <a:gd name="connsiteX47" fmla="*/ 236293 w 457590"/>
                <a:gd name="connsiteY47" fmla="*/ 139043 h 430654"/>
                <a:gd name="connsiteX48" fmla="*/ 272646 w 457590"/>
                <a:gd name="connsiteY48" fmla="*/ 173815 h 430654"/>
                <a:gd name="connsiteX49" fmla="*/ 278968 w 457590"/>
                <a:gd name="connsiteY49" fmla="*/ 157219 h 430654"/>
                <a:gd name="connsiteX50" fmla="*/ 286080 w 457590"/>
                <a:gd name="connsiteY50" fmla="*/ 138253 h 430654"/>
                <a:gd name="connsiteX51" fmla="*/ 290031 w 457590"/>
                <a:gd name="connsiteY51" fmla="*/ 124818 h 430654"/>
                <a:gd name="connsiteX52" fmla="*/ 298725 w 457590"/>
                <a:gd name="connsiteY52" fmla="*/ 98739 h 430654"/>
                <a:gd name="connsiteX53" fmla="*/ 316111 w 457590"/>
                <a:gd name="connsiteY53" fmla="*/ 88466 h 430654"/>
                <a:gd name="connsiteX54" fmla="*/ 401461 w 457590"/>
                <a:gd name="connsiteY54" fmla="*/ 146155 h 430654"/>
                <a:gd name="connsiteX55" fmla="*/ 401460 w 457590"/>
                <a:gd name="connsiteY55" fmla="*/ 146152 h 430654"/>
                <a:gd name="connsiteX56" fmla="*/ 457571 w 457590"/>
                <a:gd name="connsiteY56" fmla="*/ 357947 h 430654"/>
                <a:gd name="connsiteX57" fmla="*/ 429911 w 457590"/>
                <a:gd name="connsiteY57" fmla="*/ 427492 h 430654"/>
                <a:gd name="connsiteX58" fmla="*/ 420427 w 457590"/>
                <a:gd name="connsiteY58" fmla="*/ 429862 h 430654"/>
                <a:gd name="connsiteX59" fmla="*/ 405412 w 457590"/>
                <a:gd name="connsiteY59" fmla="*/ 423540 h 430654"/>
                <a:gd name="connsiteX60" fmla="*/ 363527 w 457590"/>
                <a:gd name="connsiteY60" fmla="*/ 394300 h 430654"/>
                <a:gd name="connsiteX61" fmla="*/ 324804 w 457590"/>
                <a:gd name="connsiteY61" fmla="*/ 378495 h 430654"/>
                <a:gd name="connsiteX62" fmla="*/ 293193 w 457590"/>
                <a:gd name="connsiteY62" fmla="*/ 365060 h 430654"/>
                <a:gd name="connsiteX63" fmla="*/ 254469 w 457590"/>
                <a:gd name="connsiteY63" fmla="*/ 293144 h 430654"/>
                <a:gd name="connsiteX64" fmla="*/ 266324 w 457590"/>
                <a:gd name="connsiteY64" fmla="*/ 190409 h 430654"/>
                <a:gd name="connsiteX65" fmla="*/ 227600 w 457590"/>
                <a:gd name="connsiteY65" fmla="*/ 154056 h 430654"/>
                <a:gd name="connsiteX66" fmla="*/ 189667 w 457590"/>
                <a:gd name="connsiteY66" fmla="*/ 188829 h 430654"/>
                <a:gd name="connsiteX67" fmla="*/ 202311 w 457590"/>
                <a:gd name="connsiteY67" fmla="*/ 293935 h 430654"/>
                <a:gd name="connsiteX68" fmla="*/ 163588 w 457590"/>
                <a:gd name="connsiteY68" fmla="*/ 365851 h 430654"/>
                <a:gd name="connsiteX69" fmla="*/ 131976 w 457590"/>
                <a:gd name="connsiteY69" fmla="*/ 379286 h 430654"/>
                <a:gd name="connsiteX70" fmla="*/ 93253 w 457590"/>
                <a:gd name="connsiteY70" fmla="*/ 395092 h 430654"/>
                <a:gd name="connsiteX71" fmla="*/ 51368 w 457590"/>
                <a:gd name="connsiteY71" fmla="*/ 424331 h 430654"/>
                <a:gd name="connsiteX72" fmla="*/ 36353 w 457590"/>
                <a:gd name="connsiteY72" fmla="*/ 430654 h 430654"/>
                <a:gd name="connsiteX73" fmla="*/ 26870 w 457590"/>
                <a:gd name="connsiteY73" fmla="*/ 428283 h 430654"/>
                <a:gd name="connsiteX74" fmla="*/ 0 w 457590"/>
                <a:gd name="connsiteY74" fmla="*/ 358739 h 430654"/>
                <a:gd name="connsiteX75" fmla="*/ 57689 w 457590"/>
                <a:gd name="connsiteY75" fmla="*/ 146155 h 430654"/>
                <a:gd name="connsiteX76" fmla="*/ 143039 w 457590"/>
                <a:gd name="connsiteY76" fmla="*/ 88465 h 430654"/>
                <a:gd name="connsiteX77" fmla="*/ 160426 w 457590"/>
                <a:gd name="connsiteY77" fmla="*/ 98739 h 430654"/>
                <a:gd name="connsiteX78" fmla="*/ 169119 w 457590"/>
                <a:gd name="connsiteY78" fmla="*/ 124818 h 430654"/>
                <a:gd name="connsiteX79" fmla="*/ 173071 w 457590"/>
                <a:gd name="connsiteY79" fmla="*/ 138252 h 430654"/>
                <a:gd name="connsiteX80" fmla="*/ 180182 w 457590"/>
                <a:gd name="connsiteY80" fmla="*/ 157219 h 430654"/>
                <a:gd name="connsiteX81" fmla="*/ 185715 w 457590"/>
                <a:gd name="connsiteY81" fmla="*/ 171444 h 430654"/>
                <a:gd name="connsiteX82" fmla="*/ 220487 w 457590"/>
                <a:gd name="connsiteY82" fmla="*/ 139043 h 430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57590" h="430654">
                  <a:moveTo>
                    <a:pt x="141460" y="105064"/>
                  </a:moveTo>
                  <a:cubicBezTo>
                    <a:pt x="126448" y="105064"/>
                    <a:pt x="94835" y="121660"/>
                    <a:pt x="71126" y="155642"/>
                  </a:cubicBezTo>
                  <a:cubicBezTo>
                    <a:pt x="39516" y="202265"/>
                    <a:pt x="16598" y="300264"/>
                    <a:pt x="16598" y="358743"/>
                  </a:cubicBezTo>
                  <a:cubicBezTo>
                    <a:pt x="16598" y="393514"/>
                    <a:pt x="25291" y="409319"/>
                    <a:pt x="33984" y="413271"/>
                  </a:cubicBezTo>
                  <a:cubicBezTo>
                    <a:pt x="36355" y="414852"/>
                    <a:pt x="38725" y="414061"/>
                    <a:pt x="41097" y="412481"/>
                  </a:cubicBezTo>
                  <a:cubicBezTo>
                    <a:pt x="55321" y="400626"/>
                    <a:pt x="70337" y="390353"/>
                    <a:pt x="86142" y="380869"/>
                  </a:cubicBezTo>
                  <a:lnTo>
                    <a:pt x="87723" y="380869"/>
                  </a:lnTo>
                  <a:cubicBezTo>
                    <a:pt x="101157" y="376128"/>
                    <a:pt x="113802" y="371386"/>
                    <a:pt x="126446" y="365064"/>
                  </a:cubicBezTo>
                  <a:cubicBezTo>
                    <a:pt x="137510" y="359532"/>
                    <a:pt x="148574" y="354790"/>
                    <a:pt x="159638" y="350839"/>
                  </a:cubicBezTo>
                  <a:lnTo>
                    <a:pt x="159634" y="350848"/>
                  </a:lnTo>
                  <a:cubicBezTo>
                    <a:pt x="178601" y="343733"/>
                    <a:pt x="188084" y="324766"/>
                    <a:pt x="188084" y="295526"/>
                  </a:cubicBezTo>
                  <a:cubicBezTo>
                    <a:pt x="188084" y="263915"/>
                    <a:pt x="184923" y="233091"/>
                    <a:pt x="177811" y="202270"/>
                  </a:cubicBezTo>
                  <a:lnTo>
                    <a:pt x="101944" y="271815"/>
                  </a:lnTo>
                  <a:lnTo>
                    <a:pt x="101154" y="272605"/>
                  </a:lnTo>
                  <a:cubicBezTo>
                    <a:pt x="97993" y="274976"/>
                    <a:pt x="92460" y="274185"/>
                    <a:pt x="90090" y="271024"/>
                  </a:cubicBezTo>
                  <a:cubicBezTo>
                    <a:pt x="87719" y="267863"/>
                    <a:pt x="88509" y="262331"/>
                    <a:pt x="91670" y="259960"/>
                  </a:cubicBezTo>
                  <a:lnTo>
                    <a:pt x="173071" y="184883"/>
                  </a:lnTo>
                  <a:lnTo>
                    <a:pt x="172280" y="182512"/>
                  </a:lnTo>
                  <a:cubicBezTo>
                    <a:pt x="169910" y="176980"/>
                    <a:pt x="168329" y="172239"/>
                    <a:pt x="165168" y="165126"/>
                  </a:cubicBezTo>
                  <a:cubicBezTo>
                    <a:pt x="162007" y="158013"/>
                    <a:pt x="159636" y="151691"/>
                    <a:pt x="157265" y="144579"/>
                  </a:cubicBezTo>
                  <a:cubicBezTo>
                    <a:pt x="155685" y="139046"/>
                    <a:pt x="154104" y="134305"/>
                    <a:pt x="153314" y="129563"/>
                  </a:cubicBezTo>
                  <a:cubicBezTo>
                    <a:pt x="151734" y="121660"/>
                    <a:pt x="149363" y="114547"/>
                    <a:pt x="146201" y="107435"/>
                  </a:cubicBezTo>
                  <a:cubicBezTo>
                    <a:pt x="145411" y="105855"/>
                    <a:pt x="143040" y="105064"/>
                    <a:pt x="141460" y="105064"/>
                  </a:cubicBezTo>
                  <a:close/>
                  <a:moveTo>
                    <a:pt x="317694" y="103478"/>
                  </a:moveTo>
                  <a:cubicBezTo>
                    <a:pt x="316114" y="104269"/>
                    <a:pt x="313743" y="104269"/>
                    <a:pt x="312953" y="105850"/>
                  </a:cubicBezTo>
                  <a:cubicBezTo>
                    <a:pt x="309792" y="112961"/>
                    <a:pt x="307421" y="120074"/>
                    <a:pt x="305840" y="127977"/>
                  </a:cubicBezTo>
                  <a:cubicBezTo>
                    <a:pt x="304259" y="132720"/>
                    <a:pt x="303469" y="138251"/>
                    <a:pt x="301889" y="142992"/>
                  </a:cubicBezTo>
                  <a:cubicBezTo>
                    <a:pt x="299518" y="150106"/>
                    <a:pt x="296357" y="158008"/>
                    <a:pt x="293986" y="163540"/>
                  </a:cubicBezTo>
                  <a:cubicBezTo>
                    <a:pt x="291615" y="169071"/>
                    <a:pt x="289245" y="175394"/>
                    <a:pt x="286874" y="180926"/>
                  </a:cubicBezTo>
                  <a:cubicBezTo>
                    <a:pt x="286084" y="182506"/>
                    <a:pt x="286084" y="184087"/>
                    <a:pt x="285293" y="185667"/>
                  </a:cubicBezTo>
                  <a:lnTo>
                    <a:pt x="362738" y="258373"/>
                  </a:lnTo>
                  <a:cubicBezTo>
                    <a:pt x="365899" y="261534"/>
                    <a:pt x="365899" y="266276"/>
                    <a:pt x="362738" y="269437"/>
                  </a:cubicBezTo>
                  <a:cubicBezTo>
                    <a:pt x="359577" y="272598"/>
                    <a:pt x="354835" y="272598"/>
                    <a:pt x="351674" y="269437"/>
                  </a:cubicBezTo>
                  <a:lnTo>
                    <a:pt x="280552" y="202265"/>
                  </a:lnTo>
                  <a:cubicBezTo>
                    <a:pt x="274229" y="232298"/>
                    <a:pt x="271068" y="262327"/>
                    <a:pt x="271068" y="293149"/>
                  </a:cubicBezTo>
                  <a:cubicBezTo>
                    <a:pt x="271068" y="323969"/>
                    <a:pt x="280552" y="342936"/>
                    <a:pt x="299518" y="350049"/>
                  </a:cubicBezTo>
                  <a:cubicBezTo>
                    <a:pt x="310582" y="354790"/>
                    <a:pt x="321646" y="358741"/>
                    <a:pt x="332710" y="364274"/>
                  </a:cubicBezTo>
                  <a:cubicBezTo>
                    <a:pt x="345355" y="370596"/>
                    <a:pt x="357999" y="375338"/>
                    <a:pt x="371433" y="380079"/>
                  </a:cubicBezTo>
                  <a:lnTo>
                    <a:pt x="373014" y="381660"/>
                  </a:lnTo>
                  <a:cubicBezTo>
                    <a:pt x="388820" y="391143"/>
                    <a:pt x="403835" y="401416"/>
                    <a:pt x="418060" y="413271"/>
                  </a:cubicBezTo>
                  <a:cubicBezTo>
                    <a:pt x="419640" y="414852"/>
                    <a:pt x="422801" y="415642"/>
                    <a:pt x="425172" y="414061"/>
                  </a:cubicBezTo>
                  <a:lnTo>
                    <a:pt x="425171" y="414057"/>
                  </a:lnTo>
                  <a:cubicBezTo>
                    <a:pt x="433864" y="410102"/>
                    <a:pt x="442557" y="393508"/>
                    <a:pt x="443347" y="357946"/>
                  </a:cubicBezTo>
                  <a:cubicBezTo>
                    <a:pt x="443347" y="298679"/>
                    <a:pt x="421220" y="200683"/>
                    <a:pt x="388820" y="154056"/>
                  </a:cubicBezTo>
                  <a:cubicBezTo>
                    <a:pt x="365901" y="120865"/>
                    <a:pt x="334290" y="103478"/>
                    <a:pt x="319275" y="103478"/>
                  </a:cubicBezTo>
                  <a:close/>
                  <a:moveTo>
                    <a:pt x="219111" y="0"/>
                  </a:moveTo>
                  <a:lnTo>
                    <a:pt x="234916" y="0"/>
                  </a:lnTo>
                  <a:lnTo>
                    <a:pt x="236293" y="139043"/>
                  </a:lnTo>
                  <a:lnTo>
                    <a:pt x="272646" y="173815"/>
                  </a:lnTo>
                  <a:cubicBezTo>
                    <a:pt x="274226" y="168283"/>
                    <a:pt x="276597" y="163542"/>
                    <a:pt x="278968" y="157219"/>
                  </a:cubicBezTo>
                  <a:lnTo>
                    <a:pt x="286080" y="138253"/>
                  </a:lnTo>
                  <a:cubicBezTo>
                    <a:pt x="287660" y="134302"/>
                    <a:pt x="289241" y="129560"/>
                    <a:pt x="290031" y="124818"/>
                  </a:cubicBezTo>
                  <a:cubicBezTo>
                    <a:pt x="292402" y="115335"/>
                    <a:pt x="294774" y="106642"/>
                    <a:pt x="298725" y="98739"/>
                  </a:cubicBezTo>
                  <a:cubicBezTo>
                    <a:pt x="301886" y="92417"/>
                    <a:pt x="308999" y="88466"/>
                    <a:pt x="316111" y="88466"/>
                  </a:cubicBezTo>
                  <a:cubicBezTo>
                    <a:pt x="337450" y="86883"/>
                    <a:pt x="374592" y="106641"/>
                    <a:pt x="401461" y="146155"/>
                  </a:cubicBezTo>
                  <a:lnTo>
                    <a:pt x="401460" y="146152"/>
                  </a:lnTo>
                  <a:cubicBezTo>
                    <a:pt x="435443" y="195147"/>
                    <a:pt x="458361" y="297097"/>
                    <a:pt x="457571" y="357947"/>
                  </a:cubicBezTo>
                  <a:cubicBezTo>
                    <a:pt x="457571" y="408525"/>
                    <a:pt x="440184" y="423540"/>
                    <a:pt x="429911" y="427492"/>
                  </a:cubicBezTo>
                  <a:cubicBezTo>
                    <a:pt x="426750" y="429072"/>
                    <a:pt x="423588" y="429862"/>
                    <a:pt x="420427" y="429862"/>
                  </a:cubicBezTo>
                  <a:cubicBezTo>
                    <a:pt x="414895" y="429862"/>
                    <a:pt x="409363" y="427492"/>
                    <a:pt x="405412" y="423540"/>
                  </a:cubicBezTo>
                  <a:cubicBezTo>
                    <a:pt x="391977" y="412477"/>
                    <a:pt x="377752" y="402993"/>
                    <a:pt x="363527" y="394300"/>
                  </a:cubicBezTo>
                  <a:cubicBezTo>
                    <a:pt x="350883" y="389559"/>
                    <a:pt x="337448" y="384817"/>
                    <a:pt x="324804" y="378495"/>
                  </a:cubicBezTo>
                  <a:cubicBezTo>
                    <a:pt x="314530" y="373753"/>
                    <a:pt x="304256" y="369011"/>
                    <a:pt x="293193" y="365060"/>
                  </a:cubicBezTo>
                  <a:cubicBezTo>
                    <a:pt x="275016" y="358738"/>
                    <a:pt x="253679" y="340560"/>
                    <a:pt x="254469" y="293144"/>
                  </a:cubicBezTo>
                  <a:cubicBezTo>
                    <a:pt x="254469" y="258376"/>
                    <a:pt x="258421" y="224392"/>
                    <a:pt x="266324" y="190409"/>
                  </a:cubicBezTo>
                  <a:lnTo>
                    <a:pt x="227600" y="154056"/>
                  </a:lnTo>
                  <a:lnTo>
                    <a:pt x="189667" y="188829"/>
                  </a:lnTo>
                  <a:cubicBezTo>
                    <a:pt x="198360" y="222812"/>
                    <a:pt x="202311" y="258372"/>
                    <a:pt x="202311" y="293935"/>
                  </a:cubicBezTo>
                  <a:cubicBezTo>
                    <a:pt x="203102" y="341353"/>
                    <a:pt x="181764" y="359529"/>
                    <a:pt x="163588" y="365851"/>
                  </a:cubicBezTo>
                  <a:cubicBezTo>
                    <a:pt x="152524" y="369803"/>
                    <a:pt x="142250" y="374545"/>
                    <a:pt x="131976" y="379286"/>
                  </a:cubicBezTo>
                  <a:cubicBezTo>
                    <a:pt x="119332" y="385609"/>
                    <a:pt x="106688" y="390350"/>
                    <a:pt x="93253" y="395092"/>
                  </a:cubicBezTo>
                  <a:cubicBezTo>
                    <a:pt x="79028" y="403784"/>
                    <a:pt x="64803" y="413268"/>
                    <a:pt x="51368" y="424331"/>
                  </a:cubicBezTo>
                  <a:cubicBezTo>
                    <a:pt x="47417" y="428283"/>
                    <a:pt x="41885" y="430654"/>
                    <a:pt x="36353" y="430654"/>
                  </a:cubicBezTo>
                  <a:cubicBezTo>
                    <a:pt x="33192" y="429864"/>
                    <a:pt x="30031" y="429864"/>
                    <a:pt x="26870" y="428283"/>
                  </a:cubicBezTo>
                  <a:cubicBezTo>
                    <a:pt x="17386" y="424333"/>
                    <a:pt x="0" y="409316"/>
                    <a:pt x="0" y="358739"/>
                  </a:cubicBezTo>
                  <a:cubicBezTo>
                    <a:pt x="0" y="297099"/>
                    <a:pt x="23707" y="195152"/>
                    <a:pt x="57689" y="146155"/>
                  </a:cubicBezTo>
                  <a:cubicBezTo>
                    <a:pt x="84561" y="106642"/>
                    <a:pt x="121702" y="86885"/>
                    <a:pt x="143039" y="88465"/>
                  </a:cubicBezTo>
                  <a:cubicBezTo>
                    <a:pt x="150152" y="88465"/>
                    <a:pt x="157264" y="92417"/>
                    <a:pt x="160426" y="98739"/>
                  </a:cubicBezTo>
                  <a:cubicBezTo>
                    <a:pt x="164377" y="107432"/>
                    <a:pt x="167538" y="116124"/>
                    <a:pt x="169119" y="124818"/>
                  </a:cubicBezTo>
                  <a:cubicBezTo>
                    <a:pt x="170699" y="129559"/>
                    <a:pt x="171490" y="134301"/>
                    <a:pt x="173071" y="138252"/>
                  </a:cubicBezTo>
                  <a:cubicBezTo>
                    <a:pt x="174650" y="144574"/>
                    <a:pt x="177021" y="150897"/>
                    <a:pt x="180182" y="157219"/>
                  </a:cubicBezTo>
                  <a:cubicBezTo>
                    <a:pt x="181763" y="161961"/>
                    <a:pt x="184134" y="166702"/>
                    <a:pt x="185715" y="171444"/>
                  </a:cubicBezTo>
                  <a:lnTo>
                    <a:pt x="220487" y="139043"/>
                  </a:lnTo>
                  <a:close/>
                </a:path>
              </a:pathLst>
            </a:custGeom>
            <a:solidFill>
              <a:schemeClr val="bg1"/>
            </a:solidFill>
            <a:ln w="50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grpSp>
        <p:nvGrpSpPr>
          <p:cNvPr id="43" name="Group 42">
            <a:extLst>
              <a:ext uri="{FF2B5EF4-FFF2-40B4-BE49-F238E27FC236}">
                <a16:creationId xmlns:a16="http://schemas.microsoft.com/office/drawing/2014/main" id="{F8CC7E89-540F-5529-93E3-1FCCD6652E28}"/>
              </a:ext>
            </a:extLst>
          </p:cNvPr>
          <p:cNvGrpSpPr/>
          <p:nvPr/>
        </p:nvGrpSpPr>
        <p:grpSpPr>
          <a:xfrm>
            <a:off x="7870428" y="1541779"/>
            <a:ext cx="1310058" cy="1011767"/>
            <a:chOff x="7224184" y="1257300"/>
            <a:chExt cx="1064683" cy="822262"/>
          </a:xfrm>
        </p:grpSpPr>
        <p:sp>
          <p:nvSpPr>
            <p:cNvPr id="39" name="Parallelogram 38">
              <a:extLst>
                <a:ext uri="{FF2B5EF4-FFF2-40B4-BE49-F238E27FC236}">
                  <a16:creationId xmlns:a16="http://schemas.microsoft.com/office/drawing/2014/main" id="{8DC106C3-BA41-E618-0F94-8D1082939374}"/>
                </a:ext>
              </a:extLst>
            </p:cNvPr>
            <p:cNvSpPr/>
            <p:nvPr/>
          </p:nvSpPr>
          <p:spPr>
            <a:xfrm>
              <a:off x="7224184" y="1257300"/>
              <a:ext cx="1064683" cy="822262"/>
            </a:xfrm>
            <a:prstGeom prst="parallelogram">
              <a:avLst>
                <a:gd name="adj" fmla="val 26464"/>
              </a:avLst>
            </a:prstGeom>
            <a:gradFill flip="none" rotWithShape="1">
              <a:gsLst>
                <a:gs pos="100000">
                  <a:schemeClr val="accent2"/>
                </a:gs>
                <a:gs pos="2000">
                  <a:schemeClr val="accent2">
                    <a:lumMod val="60000"/>
                    <a:lumOff val="40000"/>
                  </a:schemeClr>
                </a:gs>
              </a:gsLst>
              <a:lin ang="16200000" scaled="1"/>
              <a:tileRect/>
            </a:gradFill>
            <a:ln w="38100">
              <a:solidFill>
                <a:schemeClr val="bg1"/>
              </a:solidFill>
            </a:ln>
            <a:effectLst>
              <a:innerShdw blurRad="215900" dist="88900" dir="16200000">
                <a:schemeClr val="accent1">
                  <a:alpha val="72000"/>
                </a:scheme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8" name="Graphic 7">
              <a:extLst>
                <a:ext uri="{FF2B5EF4-FFF2-40B4-BE49-F238E27FC236}">
                  <a16:creationId xmlns:a16="http://schemas.microsoft.com/office/drawing/2014/main" id="{6EFCFA14-E2D8-B3A8-2BEC-AE17ECBA22F6}"/>
                </a:ext>
              </a:extLst>
            </p:cNvPr>
            <p:cNvPicPr>
              <a:picLocks/>
            </p:cNvPicPr>
            <p:nvPr/>
          </p:nvPicPr>
          <p:blipFill>
            <a:blip r:embed="rId3" cstate="print">
              <a:extLst>
                <a:ext uri="{96DAC541-7B7A-43D3-8B79-37D633B846F1}">
                  <asvg:svgBlip xmlns:asvg="http://schemas.microsoft.com/office/drawing/2016/SVG/main" r:embed="rId4"/>
                </a:ext>
              </a:extLst>
            </a:blip>
            <a:stretch>
              <a:fillRect/>
            </a:stretch>
          </p:blipFill>
          <p:spPr>
            <a:xfrm>
              <a:off x="7540582" y="1416567"/>
              <a:ext cx="503729" cy="503729"/>
            </a:xfrm>
            <a:prstGeom prst="rect">
              <a:avLst/>
            </a:prstGeom>
          </p:spPr>
        </p:pic>
      </p:grpSp>
      <p:grpSp>
        <p:nvGrpSpPr>
          <p:cNvPr id="45" name="Group 44">
            <a:extLst>
              <a:ext uri="{FF2B5EF4-FFF2-40B4-BE49-F238E27FC236}">
                <a16:creationId xmlns:a16="http://schemas.microsoft.com/office/drawing/2014/main" id="{D1093A4D-0839-C851-C3E8-9F339E482BFD}"/>
              </a:ext>
            </a:extLst>
          </p:cNvPr>
          <p:cNvGrpSpPr/>
          <p:nvPr/>
        </p:nvGrpSpPr>
        <p:grpSpPr>
          <a:xfrm>
            <a:off x="9094523" y="1541779"/>
            <a:ext cx="1310058" cy="1011767"/>
            <a:chOff x="8296777" y="1257300"/>
            <a:chExt cx="1064683" cy="822262"/>
          </a:xfrm>
        </p:grpSpPr>
        <p:sp>
          <p:nvSpPr>
            <p:cNvPr id="40" name="Parallelogram 39">
              <a:extLst>
                <a:ext uri="{FF2B5EF4-FFF2-40B4-BE49-F238E27FC236}">
                  <a16:creationId xmlns:a16="http://schemas.microsoft.com/office/drawing/2014/main" id="{E5062285-3AF4-2BC7-BD43-BCE0A218172C}"/>
                </a:ext>
              </a:extLst>
            </p:cNvPr>
            <p:cNvSpPr/>
            <p:nvPr/>
          </p:nvSpPr>
          <p:spPr>
            <a:xfrm>
              <a:off x="8296777" y="1257300"/>
              <a:ext cx="1064683" cy="822262"/>
            </a:xfrm>
            <a:prstGeom prst="parallelogram">
              <a:avLst>
                <a:gd name="adj" fmla="val 26255"/>
              </a:avLst>
            </a:prstGeom>
            <a:gradFill flip="none" rotWithShape="1">
              <a:gsLst>
                <a:gs pos="100000">
                  <a:schemeClr val="accent2"/>
                </a:gs>
                <a:gs pos="2000">
                  <a:schemeClr val="accent2">
                    <a:lumMod val="60000"/>
                    <a:lumOff val="40000"/>
                  </a:schemeClr>
                </a:gs>
              </a:gsLst>
              <a:lin ang="16200000" scaled="1"/>
              <a:tileRect/>
            </a:gradFill>
            <a:ln w="38100">
              <a:solidFill>
                <a:schemeClr val="bg1"/>
              </a:solidFill>
            </a:ln>
            <a:effectLst>
              <a:innerShdw blurRad="215900" dist="88900" dir="16200000">
                <a:schemeClr val="accent1">
                  <a:alpha val="72000"/>
                </a:scheme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8" name="Graphic 36">
              <a:extLst>
                <a:ext uri="{FF2B5EF4-FFF2-40B4-BE49-F238E27FC236}">
                  <a16:creationId xmlns:a16="http://schemas.microsoft.com/office/drawing/2014/main" id="{EDDE6BEB-2F6D-6D35-9608-9AD8BFC2B69C}"/>
                </a:ext>
              </a:extLst>
            </p:cNvPr>
            <p:cNvSpPr/>
            <p:nvPr/>
          </p:nvSpPr>
          <p:spPr>
            <a:xfrm>
              <a:off x="8587724" y="1455788"/>
              <a:ext cx="504844" cy="425287"/>
            </a:xfrm>
            <a:custGeom>
              <a:avLst/>
              <a:gdLst>
                <a:gd name="connsiteX0" fmla="*/ 62978 w 775268"/>
                <a:gd name="connsiteY0" fmla="*/ 222172 h 653095"/>
                <a:gd name="connsiteX1" fmla="*/ 90690 w 775268"/>
                <a:gd name="connsiteY1" fmla="*/ 254093 h 653095"/>
                <a:gd name="connsiteX2" fmla="*/ 131362 w 775268"/>
                <a:gd name="connsiteY2" fmla="*/ 267052 h 653095"/>
                <a:gd name="connsiteX3" fmla="*/ 112651 w 775268"/>
                <a:gd name="connsiteY3" fmla="*/ 407987 h 653095"/>
                <a:gd name="connsiteX4" fmla="*/ 243836 w 775268"/>
                <a:gd name="connsiteY4" fmla="*/ 508625 h 653095"/>
                <a:gd name="connsiteX5" fmla="*/ 339472 w 775268"/>
                <a:gd name="connsiteY5" fmla="*/ 489914 h 653095"/>
                <a:gd name="connsiteX6" fmla="*/ 339764 w 775268"/>
                <a:gd name="connsiteY6" fmla="*/ 489706 h 653095"/>
                <a:gd name="connsiteX7" fmla="*/ 423982 w 775268"/>
                <a:gd name="connsiteY7" fmla="*/ 398236 h 653095"/>
                <a:gd name="connsiteX8" fmla="*/ 497450 w 775268"/>
                <a:gd name="connsiteY8" fmla="*/ 335811 h 653095"/>
                <a:gd name="connsiteX9" fmla="*/ 556082 w 775268"/>
                <a:gd name="connsiteY9" fmla="*/ 348230 h 653095"/>
                <a:gd name="connsiteX10" fmla="*/ 579001 w 775268"/>
                <a:gd name="connsiteY10" fmla="*/ 404987 h 653095"/>
                <a:gd name="connsiteX11" fmla="*/ 579001 w 775268"/>
                <a:gd name="connsiteY11" fmla="*/ 630636 h 653095"/>
                <a:gd name="connsiteX12" fmla="*/ 495699 w 775268"/>
                <a:gd name="connsiteY12" fmla="*/ 630636 h 653095"/>
                <a:gd name="connsiteX13" fmla="*/ 495741 w 775268"/>
                <a:gd name="connsiteY13" fmla="*/ 423314 h 653095"/>
                <a:gd name="connsiteX14" fmla="*/ 484406 w 775268"/>
                <a:gd name="connsiteY14" fmla="*/ 411938 h 653095"/>
                <a:gd name="connsiteX15" fmla="*/ 473363 w 775268"/>
                <a:gd name="connsiteY15" fmla="*/ 423314 h 653095"/>
                <a:gd name="connsiteX16" fmla="*/ 473363 w 775268"/>
                <a:gd name="connsiteY16" fmla="*/ 472154 h 653095"/>
                <a:gd name="connsiteX17" fmla="*/ 406854 w 775268"/>
                <a:gd name="connsiteY17" fmla="*/ 554330 h 653095"/>
                <a:gd name="connsiteX18" fmla="*/ 189910 w 775268"/>
                <a:gd name="connsiteY18" fmla="*/ 598086 h 653095"/>
                <a:gd name="connsiteX19" fmla="*/ 34807 w 775268"/>
                <a:gd name="connsiteY19" fmla="*/ 445982 h 653095"/>
                <a:gd name="connsiteX20" fmla="*/ 46851 w 775268"/>
                <a:gd name="connsiteY20" fmla="*/ 247333 h 653095"/>
                <a:gd name="connsiteX21" fmla="*/ 62977 w 775268"/>
                <a:gd name="connsiteY21" fmla="*/ 222163 h 653095"/>
                <a:gd name="connsiteX22" fmla="*/ 134654 w 775268"/>
                <a:gd name="connsiteY22" fmla="*/ 206295 h 653095"/>
                <a:gd name="connsiteX23" fmla="*/ 151073 w 775268"/>
                <a:gd name="connsiteY23" fmla="*/ 241924 h 653095"/>
                <a:gd name="connsiteX24" fmla="*/ 102609 w 775268"/>
                <a:gd name="connsiteY24" fmla="*/ 235006 h 653095"/>
                <a:gd name="connsiteX25" fmla="*/ 82356 w 775268"/>
                <a:gd name="connsiteY25" fmla="*/ 201710 h 653095"/>
                <a:gd name="connsiteX26" fmla="*/ 134654 w 775268"/>
                <a:gd name="connsiteY26" fmla="*/ 206294 h 653095"/>
                <a:gd name="connsiteX27" fmla="*/ 746901 w 775268"/>
                <a:gd name="connsiteY27" fmla="*/ 28438 h 653095"/>
                <a:gd name="connsiteX28" fmla="*/ 741026 w 775268"/>
                <a:gd name="connsiteY28" fmla="*/ 84903 h 653095"/>
                <a:gd name="connsiteX29" fmla="*/ 642555 w 775268"/>
                <a:gd name="connsiteY29" fmla="*/ 182332 h 653095"/>
                <a:gd name="connsiteX30" fmla="*/ 597174 w 775268"/>
                <a:gd name="connsiteY30" fmla="*/ 219379 h 653095"/>
                <a:gd name="connsiteX31" fmla="*/ 556253 w 775268"/>
                <a:gd name="connsiteY31" fmla="*/ 248633 h 653095"/>
                <a:gd name="connsiteX32" fmla="*/ 509747 w 775268"/>
                <a:gd name="connsiteY32" fmla="*/ 287263 h 653095"/>
                <a:gd name="connsiteX33" fmla="*/ 482160 w 775268"/>
                <a:gd name="connsiteY33" fmla="*/ 317391 h 653095"/>
                <a:gd name="connsiteX34" fmla="*/ 405318 w 775268"/>
                <a:gd name="connsiteY34" fmla="*/ 385983 h 653095"/>
                <a:gd name="connsiteX35" fmla="*/ 328475 w 775268"/>
                <a:gd name="connsiteY35" fmla="*/ 470327 h 653095"/>
                <a:gd name="connsiteX36" fmla="*/ 245798 w 775268"/>
                <a:gd name="connsiteY36" fmla="*/ 486370 h 653095"/>
                <a:gd name="connsiteX37" fmla="*/ 180998 w 775268"/>
                <a:gd name="connsiteY37" fmla="*/ 462367 h 653095"/>
                <a:gd name="connsiteX38" fmla="*/ 233838 w 775268"/>
                <a:gd name="connsiteY38" fmla="*/ 363355 h 653095"/>
                <a:gd name="connsiteX39" fmla="*/ 267676 w 775268"/>
                <a:gd name="connsiteY39" fmla="*/ 356438 h 653095"/>
                <a:gd name="connsiteX40" fmla="*/ 309181 w 775268"/>
                <a:gd name="connsiteY40" fmla="*/ 359396 h 653095"/>
                <a:gd name="connsiteX41" fmla="*/ 307681 w 775268"/>
                <a:gd name="connsiteY41" fmla="*/ 336977 h 653095"/>
                <a:gd name="connsiteX42" fmla="*/ 266425 w 775268"/>
                <a:gd name="connsiteY42" fmla="*/ 334018 h 653095"/>
                <a:gd name="connsiteX43" fmla="*/ 312681 w 775268"/>
                <a:gd name="connsiteY43" fmla="*/ 305056 h 653095"/>
                <a:gd name="connsiteX44" fmla="*/ 509377 w 775268"/>
                <a:gd name="connsiteY44" fmla="*/ 208461 h 653095"/>
                <a:gd name="connsiteX45" fmla="*/ 502710 w 775268"/>
                <a:gd name="connsiteY45" fmla="*/ 187875 h 653095"/>
                <a:gd name="connsiteX46" fmla="*/ 496792 w 775268"/>
                <a:gd name="connsiteY46" fmla="*/ 189917 h 653095"/>
                <a:gd name="connsiteX47" fmla="*/ 333060 w 775268"/>
                <a:gd name="connsiteY47" fmla="*/ 270093 h 653095"/>
                <a:gd name="connsiteX48" fmla="*/ 349479 w 775268"/>
                <a:gd name="connsiteY48" fmla="*/ 223670 h 653095"/>
                <a:gd name="connsiteX49" fmla="*/ 340645 w 775268"/>
                <a:gd name="connsiteY49" fmla="*/ 205209 h 653095"/>
                <a:gd name="connsiteX50" fmla="*/ 332185 w 775268"/>
                <a:gd name="connsiteY50" fmla="*/ 209460 h 653095"/>
                <a:gd name="connsiteX51" fmla="*/ 314642 w 775268"/>
                <a:gd name="connsiteY51" fmla="*/ 245506 h 653095"/>
                <a:gd name="connsiteX52" fmla="*/ 307349 w 775268"/>
                <a:gd name="connsiteY52" fmla="*/ 282636 h 653095"/>
                <a:gd name="connsiteX53" fmla="*/ 302140 w 775268"/>
                <a:gd name="connsiteY53" fmla="*/ 285220 h 653095"/>
                <a:gd name="connsiteX54" fmla="*/ 162368 w 775268"/>
                <a:gd name="connsiteY54" fmla="*/ 446328 h 653095"/>
                <a:gd name="connsiteX55" fmla="*/ 133781 w 775268"/>
                <a:gd name="connsiteY55" fmla="*/ 400280 h 653095"/>
                <a:gd name="connsiteX56" fmla="*/ 164285 w 775268"/>
                <a:gd name="connsiteY56" fmla="*/ 262429 h 653095"/>
                <a:gd name="connsiteX57" fmla="*/ 236211 w 775268"/>
                <a:gd name="connsiteY57" fmla="*/ 188419 h 653095"/>
                <a:gd name="connsiteX58" fmla="*/ 328430 w 775268"/>
                <a:gd name="connsiteY58" fmla="*/ 169333 h 653095"/>
                <a:gd name="connsiteX59" fmla="*/ 378478 w 775268"/>
                <a:gd name="connsiteY59" fmla="*/ 149622 h 653095"/>
                <a:gd name="connsiteX60" fmla="*/ 437027 w 775268"/>
                <a:gd name="connsiteY60" fmla="*/ 141246 h 653095"/>
                <a:gd name="connsiteX61" fmla="*/ 496285 w 775268"/>
                <a:gd name="connsiteY61" fmla="*/ 113409 h 653095"/>
                <a:gd name="connsiteX62" fmla="*/ 572378 w 775268"/>
                <a:gd name="connsiteY62" fmla="*/ 87197 h 653095"/>
                <a:gd name="connsiteX63" fmla="*/ 679932 w 775268"/>
                <a:gd name="connsiteY63" fmla="*/ 42150 h 653095"/>
                <a:gd name="connsiteX64" fmla="*/ 726855 w 775268"/>
                <a:gd name="connsiteY64" fmla="*/ 22523 h 653095"/>
                <a:gd name="connsiteX65" fmla="*/ 746899 w 775268"/>
                <a:gd name="connsiteY65" fmla="*/ 28440 h 653095"/>
                <a:gd name="connsiteX66" fmla="*/ 724732 w 775268"/>
                <a:gd name="connsiteY66" fmla="*/ 143 h 653095"/>
                <a:gd name="connsiteX67" fmla="*/ 667892 w 775268"/>
                <a:gd name="connsiteY67" fmla="*/ 23188 h 653095"/>
                <a:gd name="connsiteX68" fmla="*/ 571714 w 775268"/>
                <a:gd name="connsiteY68" fmla="*/ 64735 h 653095"/>
                <a:gd name="connsiteX69" fmla="*/ 481202 w 775268"/>
                <a:gd name="connsiteY69" fmla="*/ 96947 h 653095"/>
                <a:gd name="connsiteX70" fmla="*/ 438488 w 775268"/>
                <a:gd name="connsiteY70" fmla="*/ 118824 h 653095"/>
                <a:gd name="connsiteX71" fmla="*/ 369980 w 775268"/>
                <a:gd name="connsiteY71" fmla="*/ 128909 h 653095"/>
                <a:gd name="connsiteX72" fmla="*/ 323224 w 775268"/>
                <a:gd name="connsiteY72" fmla="*/ 147536 h 653095"/>
                <a:gd name="connsiteX73" fmla="*/ 226962 w 775268"/>
                <a:gd name="connsiteY73" fmla="*/ 168039 h 653095"/>
                <a:gd name="connsiteX74" fmla="*/ 170496 w 775268"/>
                <a:gd name="connsiteY74" fmla="*/ 217670 h 653095"/>
                <a:gd name="connsiteX75" fmla="*/ 148702 w 775268"/>
                <a:gd name="connsiteY75" fmla="*/ 188917 h 653095"/>
                <a:gd name="connsiteX76" fmla="*/ 108946 w 775268"/>
                <a:gd name="connsiteY76" fmla="*/ 172123 h 653095"/>
                <a:gd name="connsiteX77" fmla="*/ 63732 w 775268"/>
                <a:gd name="connsiteY77" fmla="*/ 188000 h 653095"/>
                <a:gd name="connsiteX78" fmla="*/ 26685 w 775268"/>
                <a:gd name="connsiteY78" fmla="*/ 237589 h 653095"/>
                <a:gd name="connsiteX79" fmla="*/ 13267 w 775268"/>
                <a:gd name="connsiteY79" fmla="*/ 452614 h 653095"/>
                <a:gd name="connsiteX80" fmla="*/ 184041 w 775268"/>
                <a:gd name="connsiteY80" fmla="*/ 619802 h 653095"/>
                <a:gd name="connsiteX81" fmla="*/ 421158 w 775268"/>
                <a:gd name="connsiteY81" fmla="*/ 571547 h 653095"/>
                <a:gd name="connsiteX82" fmla="*/ 473248 w 775268"/>
                <a:gd name="connsiteY82" fmla="*/ 513998 h 653095"/>
                <a:gd name="connsiteX83" fmla="*/ 473248 w 775268"/>
                <a:gd name="connsiteY83" fmla="*/ 641844 h 653095"/>
                <a:gd name="connsiteX84" fmla="*/ 484458 w 775268"/>
                <a:gd name="connsiteY84" fmla="*/ 653095 h 653095"/>
                <a:gd name="connsiteX85" fmla="*/ 590137 w 775268"/>
                <a:gd name="connsiteY85" fmla="*/ 653095 h 653095"/>
                <a:gd name="connsiteX86" fmla="*/ 601306 w 775268"/>
                <a:gd name="connsiteY86" fmla="*/ 641844 h 653095"/>
                <a:gd name="connsiteX87" fmla="*/ 601431 w 775268"/>
                <a:gd name="connsiteY87" fmla="*/ 404982 h 653095"/>
                <a:gd name="connsiteX88" fmla="*/ 571302 w 775268"/>
                <a:gd name="connsiteY88" fmla="*/ 331806 h 653095"/>
                <a:gd name="connsiteX89" fmla="*/ 520795 w 775268"/>
                <a:gd name="connsiteY89" fmla="*/ 311095 h 653095"/>
                <a:gd name="connsiteX90" fmla="*/ 528463 w 775268"/>
                <a:gd name="connsiteY90" fmla="*/ 299552 h 653095"/>
                <a:gd name="connsiteX91" fmla="*/ 563425 w 775268"/>
                <a:gd name="connsiteY91" fmla="*/ 269798 h 653095"/>
                <a:gd name="connsiteX92" fmla="*/ 615515 w 775268"/>
                <a:gd name="connsiteY92" fmla="*/ 232001 h 653095"/>
                <a:gd name="connsiteX93" fmla="*/ 650477 w 775268"/>
                <a:gd name="connsiteY93" fmla="*/ 203248 h 653095"/>
                <a:gd name="connsiteX94" fmla="*/ 760528 w 775268"/>
                <a:gd name="connsiteY94" fmla="*/ 95907 h 653095"/>
                <a:gd name="connsiteX95" fmla="*/ 763862 w 775268"/>
                <a:gd name="connsiteY95" fmla="*/ 13896 h 653095"/>
                <a:gd name="connsiteX96" fmla="*/ 724732 w 775268"/>
                <a:gd name="connsiteY96" fmla="*/ 144 h 6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75268" h="653095">
                  <a:moveTo>
                    <a:pt x="62978" y="222172"/>
                  </a:moveTo>
                  <a:cubicBezTo>
                    <a:pt x="67854" y="235590"/>
                    <a:pt x="80147" y="247508"/>
                    <a:pt x="90690" y="254093"/>
                  </a:cubicBezTo>
                  <a:cubicBezTo>
                    <a:pt x="102609" y="261635"/>
                    <a:pt x="116901" y="266302"/>
                    <a:pt x="131362" y="267052"/>
                  </a:cubicBezTo>
                  <a:cubicBezTo>
                    <a:pt x="102858" y="307724"/>
                    <a:pt x="95316" y="360314"/>
                    <a:pt x="112651" y="407987"/>
                  </a:cubicBezTo>
                  <a:cubicBezTo>
                    <a:pt x="133071" y="464160"/>
                    <a:pt x="184328" y="503416"/>
                    <a:pt x="243836" y="508625"/>
                  </a:cubicBezTo>
                  <a:cubicBezTo>
                    <a:pt x="276048" y="511458"/>
                    <a:pt x="310886" y="505833"/>
                    <a:pt x="339472" y="489914"/>
                  </a:cubicBezTo>
                  <a:cubicBezTo>
                    <a:pt x="339597" y="489872"/>
                    <a:pt x="339722" y="489789"/>
                    <a:pt x="339764" y="489706"/>
                  </a:cubicBezTo>
                  <a:cubicBezTo>
                    <a:pt x="383853" y="463285"/>
                    <a:pt x="404730" y="427656"/>
                    <a:pt x="423982" y="398236"/>
                  </a:cubicBezTo>
                  <a:cubicBezTo>
                    <a:pt x="443277" y="368774"/>
                    <a:pt x="459779" y="345938"/>
                    <a:pt x="497450" y="335811"/>
                  </a:cubicBezTo>
                  <a:cubicBezTo>
                    <a:pt x="522745" y="329019"/>
                    <a:pt x="541956" y="335186"/>
                    <a:pt x="556082" y="348230"/>
                  </a:cubicBezTo>
                  <a:cubicBezTo>
                    <a:pt x="570209" y="361315"/>
                    <a:pt x="579001" y="382193"/>
                    <a:pt x="579001" y="404987"/>
                  </a:cubicBezTo>
                  <a:lnTo>
                    <a:pt x="579001" y="630636"/>
                  </a:lnTo>
                  <a:lnTo>
                    <a:pt x="495699" y="630636"/>
                  </a:lnTo>
                  <a:lnTo>
                    <a:pt x="495741" y="423314"/>
                  </a:lnTo>
                  <a:cubicBezTo>
                    <a:pt x="495866" y="416980"/>
                    <a:pt x="490699" y="411897"/>
                    <a:pt x="484406" y="411938"/>
                  </a:cubicBezTo>
                  <a:cubicBezTo>
                    <a:pt x="478239" y="412063"/>
                    <a:pt x="473279" y="417147"/>
                    <a:pt x="473363" y="423314"/>
                  </a:cubicBezTo>
                  <a:lnTo>
                    <a:pt x="473363" y="472154"/>
                  </a:lnTo>
                  <a:cubicBezTo>
                    <a:pt x="470696" y="477571"/>
                    <a:pt x="450068" y="518076"/>
                    <a:pt x="406854" y="554330"/>
                  </a:cubicBezTo>
                  <a:cubicBezTo>
                    <a:pt x="360557" y="593168"/>
                    <a:pt x="290882" y="625131"/>
                    <a:pt x="189910" y="598086"/>
                  </a:cubicBezTo>
                  <a:cubicBezTo>
                    <a:pt x="103608" y="574958"/>
                    <a:pt x="55727" y="514826"/>
                    <a:pt x="34807" y="445982"/>
                  </a:cubicBezTo>
                  <a:cubicBezTo>
                    <a:pt x="13889" y="377223"/>
                    <a:pt x="21348" y="299841"/>
                    <a:pt x="46851" y="247333"/>
                  </a:cubicBezTo>
                  <a:cubicBezTo>
                    <a:pt x="48684" y="243458"/>
                    <a:pt x="54143" y="233498"/>
                    <a:pt x="62977" y="222163"/>
                  </a:cubicBezTo>
                  <a:close/>
                  <a:moveTo>
                    <a:pt x="134654" y="206295"/>
                  </a:moveTo>
                  <a:cubicBezTo>
                    <a:pt x="146656" y="215462"/>
                    <a:pt x="155032" y="229714"/>
                    <a:pt x="151073" y="241924"/>
                  </a:cubicBezTo>
                  <a:cubicBezTo>
                    <a:pt x="135321" y="247799"/>
                    <a:pt x="117069" y="244341"/>
                    <a:pt x="102609" y="235006"/>
                  </a:cubicBezTo>
                  <a:cubicBezTo>
                    <a:pt x="82273" y="221921"/>
                    <a:pt x="80772" y="208795"/>
                    <a:pt x="82356" y="201710"/>
                  </a:cubicBezTo>
                  <a:cubicBezTo>
                    <a:pt x="96734" y="189125"/>
                    <a:pt x="116695" y="192584"/>
                    <a:pt x="134654" y="206294"/>
                  </a:cubicBezTo>
                  <a:close/>
                  <a:moveTo>
                    <a:pt x="746901" y="28438"/>
                  </a:moveTo>
                  <a:cubicBezTo>
                    <a:pt x="755236" y="36272"/>
                    <a:pt x="754694" y="60817"/>
                    <a:pt x="741026" y="84903"/>
                  </a:cubicBezTo>
                  <a:cubicBezTo>
                    <a:pt x="714106" y="132451"/>
                    <a:pt x="674059" y="170455"/>
                    <a:pt x="642555" y="182332"/>
                  </a:cubicBezTo>
                  <a:cubicBezTo>
                    <a:pt x="615384" y="192583"/>
                    <a:pt x="605050" y="207960"/>
                    <a:pt x="597174" y="219379"/>
                  </a:cubicBezTo>
                  <a:cubicBezTo>
                    <a:pt x="589256" y="230838"/>
                    <a:pt x="583464" y="239506"/>
                    <a:pt x="556253" y="248633"/>
                  </a:cubicBezTo>
                  <a:cubicBezTo>
                    <a:pt x="531666" y="256842"/>
                    <a:pt x="518956" y="273386"/>
                    <a:pt x="509747" y="287263"/>
                  </a:cubicBezTo>
                  <a:cubicBezTo>
                    <a:pt x="500412" y="299098"/>
                    <a:pt x="493036" y="313266"/>
                    <a:pt x="482160" y="317391"/>
                  </a:cubicBezTo>
                  <a:cubicBezTo>
                    <a:pt x="444322" y="331852"/>
                    <a:pt x="423445" y="358146"/>
                    <a:pt x="405318" y="385983"/>
                  </a:cubicBezTo>
                  <a:cubicBezTo>
                    <a:pt x="385691" y="416070"/>
                    <a:pt x="367396" y="446865"/>
                    <a:pt x="328475" y="470327"/>
                  </a:cubicBezTo>
                  <a:cubicBezTo>
                    <a:pt x="304805" y="483454"/>
                    <a:pt x="273968" y="488871"/>
                    <a:pt x="245798" y="486370"/>
                  </a:cubicBezTo>
                  <a:cubicBezTo>
                    <a:pt x="221920" y="484287"/>
                    <a:pt x="199750" y="475744"/>
                    <a:pt x="180998" y="462367"/>
                  </a:cubicBezTo>
                  <a:cubicBezTo>
                    <a:pt x="192958" y="419778"/>
                    <a:pt x="211127" y="388150"/>
                    <a:pt x="233838" y="363355"/>
                  </a:cubicBezTo>
                  <a:cubicBezTo>
                    <a:pt x="247298" y="356354"/>
                    <a:pt x="256883" y="355646"/>
                    <a:pt x="267676" y="356438"/>
                  </a:cubicBezTo>
                  <a:cubicBezTo>
                    <a:pt x="279135" y="357313"/>
                    <a:pt x="292304" y="360522"/>
                    <a:pt x="309181" y="359396"/>
                  </a:cubicBezTo>
                  <a:cubicBezTo>
                    <a:pt x="324099" y="358396"/>
                    <a:pt x="322641" y="336310"/>
                    <a:pt x="307681" y="336977"/>
                  </a:cubicBezTo>
                  <a:cubicBezTo>
                    <a:pt x="292429" y="337727"/>
                    <a:pt x="279218" y="334810"/>
                    <a:pt x="266425" y="334018"/>
                  </a:cubicBezTo>
                  <a:cubicBezTo>
                    <a:pt x="280803" y="323225"/>
                    <a:pt x="296304" y="313766"/>
                    <a:pt x="312681" y="305056"/>
                  </a:cubicBezTo>
                  <a:cubicBezTo>
                    <a:pt x="373188" y="272969"/>
                    <a:pt x="445284" y="252092"/>
                    <a:pt x="509377" y="208461"/>
                  </a:cubicBezTo>
                  <a:cubicBezTo>
                    <a:pt x="518878" y="202252"/>
                    <a:pt x="514086" y="187416"/>
                    <a:pt x="502710" y="187875"/>
                  </a:cubicBezTo>
                  <a:cubicBezTo>
                    <a:pt x="500543" y="188000"/>
                    <a:pt x="498501" y="188667"/>
                    <a:pt x="496792" y="189917"/>
                  </a:cubicBezTo>
                  <a:cubicBezTo>
                    <a:pt x="446119" y="224421"/>
                    <a:pt x="388032" y="244632"/>
                    <a:pt x="333060" y="270093"/>
                  </a:cubicBezTo>
                  <a:cubicBezTo>
                    <a:pt x="335102" y="252758"/>
                    <a:pt x="338436" y="234839"/>
                    <a:pt x="349479" y="223670"/>
                  </a:cubicBezTo>
                  <a:cubicBezTo>
                    <a:pt x="355813" y="216336"/>
                    <a:pt x="350396" y="204876"/>
                    <a:pt x="340645" y="205209"/>
                  </a:cubicBezTo>
                  <a:cubicBezTo>
                    <a:pt x="337311" y="205334"/>
                    <a:pt x="334227" y="206876"/>
                    <a:pt x="332185" y="209460"/>
                  </a:cubicBezTo>
                  <a:cubicBezTo>
                    <a:pt x="321767" y="222128"/>
                    <a:pt x="317184" y="234005"/>
                    <a:pt x="314642" y="245506"/>
                  </a:cubicBezTo>
                  <a:cubicBezTo>
                    <a:pt x="311683" y="259132"/>
                    <a:pt x="310099" y="271926"/>
                    <a:pt x="307349" y="282636"/>
                  </a:cubicBezTo>
                  <a:cubicBezTo>
                    <a:pt x="305599" y="283511"/>
                    <a:pt x="303849" y="284303"/>
                    <a:pt x="302140" y="285220"/>
                  </a:cubicBezTo>
                  <a:cubicBezTo>
                    <a:pt x="232757" y="321974"/>
                    <a:pt x="184579" y="371980"/>
                    <a:pt x="162368" y="446328"/>
                  </a:cubicBezTo>
                  <a:cubicBezTo>
                    <a:pt x="149991" y="433368"/>
                    <a:pt x="140116" y="417782"/>
                    <a:pt x="133781" y="400280"/>
                  </a:cubicBezTo>
                  <a:cubicBezTo>
                    <a:pt x="116321" y="352316"/>
                    <a:pt x="129197" y="299601"/>
                    <a:pt x="164285" y="262429"/>
                  </a:cubicBezTo>
                  <a:cubicBezTo>
                    <a:pt x="188872" y="236425"/>
                    <a:pt x="199164" y="205630"/>
                    <a:pt x="236211" y="188419"/>
                  </a:cubicBezTo>
                  <a:cubicBezTo>
                    <a:pt x="268965" y="173418"/>
                    <a:pt x="295176" y="177293"/>
                    <a:pt x="328430" y="169333"/>
                  </a:cubicBezTo>
                  <a:cubicBezTo>
                    <a:pt x="350225" y="164082"/>
                    <a:pt x="364102" y="155539"/>
                    <a:pt x="378478" y="149622"/>
                  </a:cubicBezTo>
                  <a:cubicBezTo>
                    <a:pt x="392814" y="143705"/>
                    <a:pt x="408232" y="139621"/>
                    <a:pt x="437027" y="141246"/>
                  </a:cubicBezTo>
                  <a:cubicBezTo>
                    <a:pt x="463114" y="142663"/>
                    <a:pt x="479616" y="129161"/>
                    <a:pt x="496285" y="113409"/>
                  </a:cubicBezTo>
                  <a:cubicBezTo>
                    <a:pt x="509995" y="100449"/>
                    <a:pt x="526039" y="88489"/>
                    <a:pt x="572378" y="87197"/>
                  </a:cubicBezTo>
                  <a:cubicBezTo>
                    <a:pt x="609674" y="86156"/>
                    <a:pt x="639261" y="68196"/>
                    <a:pt x="679932" y="42150"/>
                  </a:cubicBezTo>
                  <a:cubicBezTo>
                    <a:pt x="700101" y="29232"/>
                    <a:pt x="716020" y="23981"/>
                    <a:pt x="726855" y="22523"/>
                  </a:cubicBezTo>
                  <a:cubicBezTo>
                    <a:pt x="734897" y="21398"/>
                    <a:pt x="742023" y="23856"/>
                    <a:pt x="746899" y="28440"/>
                  </a:cubicBezTo>
                  <a:close/>
                  <a:moveTo>
                    <a:pt x="724732" y="143"/>
                  </a:moveTo>
                  <a:cubicBezTo>
                    <a:pt x="708481" y="1018"/>
                    <a:pt x="689978" y="9061"/>
                    <a:pt x="667892" y="23188"/>
                  </a:cubicBezTo>
                  <a:cubicBezTo>
                    <a:pt x="627470" y="49066"/>
                    <a:pt x="602092" y="63943"/>
                    <a:pt x="571714" y="64735"/>
                  </a:cubicBezTo>
                  <a:cubicBezTo>
                    <a:pt x="521207" y="66151"/>
                    <a:pt x="496288" y="82070"/>
                    <a:pt x="481202" y="96947"/>
                  </a:cubicBezTo>
                  <a:cubicBezTo>
                    <a:pt x="468075" y="109906"/>
                    <a:pt x="453782" y="119699"/>
                    <a:pt x="438488" y="118824"/>
                  </a:cubicBezTo>
                  <a:cubicBezTo>
                    <a:pt x="406860" y="117033"/>
                    <a:pt x="386399" y="122117"/>
                    <a:pt x="369980" y="128909"/>
                  </a:cubicBezTo>
                  <a:cubicBezTo>
                    <a:pt x="353519" y="135702"/>
                    <a:pt x="341685" y="143077"/>
                    <a:pt x="323224" y="147536"/>
                  </a:cubicBezTo>
                  <a:cubicBezTo>
                    <a:pt x="294637" y="154371"/>
                    <a:pt x="265009" y="150620"/>
                    <a:pt x="226962" y="168039"/>
                  </a:cubicBezTo>
                  <a:cubicBezTo>
                    <a:pt x="201709" y="179582"/>
                    <a:pt x="186582" y="196918"/>
                    <a:pt x="170496" y="217670"/>
                  </a:cubicBezTo>
                  <a:cubicBezTo>
                    <a:pt x="166038" y="206752"/>
                    <a:pt x="158412" y="196793"/>
                    <a:pt x="148702" y="188917"/>
                  </a:cubicBezTo>
                  <a:cubicBezTo>
                    <a:pt x="137575" y="179874"/>
                    <a:pt x="123907" y="172790"/>
                    <a:pt x="108946" y="172123"/>
                  </a:cubicBezTo>
                  <a:cubicBezTo>
                    <a:pt x="87402" y="171123"/>
                    <a:pt x="75609" y="177499"/>
                    <a:pt x="63732" y="188000"/>
                  </a:cubicBezTo>
                  <a:cubicBezTo>
                    <a:pt x="40979" y="208252"/>
                    <a:pt x="29978" y="230922"/>
                    <a:pt x="26685" y="237589"/>
                  </a:cubicBezTo>
                  <a:cubicBezTo>
                    <a:pt x="-1777" y="296222"/>
                    <a:pt x="-9402" y="378023"/>
                    <a:pt x="13267" y="452614"/>
                  </a:cubicBezTo>
                  <a:cubicBezTo>
                    <a:pt x="35937" y="527206"/>
                    <a:pt x="90193" y="594669"/>
                    <a:pt x="184041" y="619802"/>
                  </a:cubicBezTo>
                  <a:cubicBezTo>
                    <a:pt x="291766" y="648681"/>
                    <a:pt x="373440" y="612885"/>
                    <a:pt x="421158" y="571547"/>
                  </a:cubicBezTo>
                  <a:cubicBezTo>
                    <a:pt x="456955" y="540418"/>
                    <a:pt x="463497" y="531041"/>
                    <a:pt x="473248" y="513998"/>
                  </a:cubicBezTo>
                  <a:lnTo>
                    <a:pt x="473248" y="641844"/>
                  </a:lnTo>
                  <a:cubicBezTo>
                    <a:pt x="473248" y="648094"/>
                    <a:pt x="478249" y="653095"/>
                    <a:pt x="484458" y="653095"/>
                  </a:cubicBezTo>
                  <a:lnTo>
                    <a:pt x="590137" y="653095"/>
                  </a:lnTo>
                  <a:cubicBezTo>
                    <a:pt x="596305" y="653095"/>
                    <a:pt x="601306" y="648095"/>
                    <a:pt x="601306" y="641844"/>
                  </a:cubicBezTo>
                  <a:lnTo>
                    <a:pt x="601431" y="404982"/>
                  </a:lnTo>
                  <a:cubicBezTo>
                    <a:pt x="601431" y="376520"/>
                    <a:pt x="590763" y="349725"/>
                    <a:pt x="571302" y="331806"/>
                  </a:cubicBezTo>
                  <a:cubicBezTo>
                    <a:pt x="558092" y="319555"/>
                    <a:pt x="540590" y="312053"/>
                    <a:pt x="520795" y="311095"/>
                  </a:cubicBezTo>
                  <a:cubicBezTo>
                    <a:pt x="523504" y="307136"/>
                    <a:pt x="526046" y="303261"/>
                    <a:pt x="528463" y="299552"/>
                  </a:cubicBezTo>
                  <a:cubicBezTo>
                    <a:pt x="537047" y="286508"/>
                    <a:pt x="544841" y="276008"/>
                    <a:pt x="563425" y="269798"/>
                  </a:cubicBezTo>
                  <a:cubicBezTo>
                    <a:pt x="594513" y="259422"/>
                    <a:pt x="607181" y="244170"/>
                    <a:pt x="615515" y="232001"/>
                  </a:cubicBezTo>
                  <a:cubicBezTo>
                    <a:pt x="623891" y="219833"/>
                    <a:pt x="627683" y="211832"/>
                    <a:pt x="650477" y="203248"/>
                  </a:cubicBezTo>
                  <a:cubicBezTo>
                    <a:pt x="690274" y="188247"/>
                    <a:pt x="731529" y="146991"/>
                    <a:pt x="760528" y="95907"/>
                  </a:cubicBezTo>
                  <a:cubicBezTo>
                    <a:pt x="777155" y="66653"/>
                    <a:pt x="781656" y="33940"/>
                    <a:pt x="763862" y="13896"/>
                  </a:cubicBezTo>
                  <a:cubicBezTo>
                    <a:pt x="752569" y="1228"/>
                    <a:pt x="739359" y="-606"/>
                    <a:pt x="724732" y="144"/>
                  </a:cubicBezTo>
                  <a:close/>
                </a:path>
              </a:pathLst>
            </a:custGeom>
            <a:solidFill>
              <a:schemeClr val="bg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sp>
        <p:nvSpPr>
          <p:cNvPr id="48" name="TextBox 47">
            <a:extLst>
              <a:ext uri="{FF2B5EF4-FFF2-40B4-BE49-F238E27FC236}">
                <a16:creationId xmlns:a16="http://schemas.microsoft.com/office/drawing/2014/main" id="{C3940783-914A-F021-C760-05450EEFDC7F}"/>
              </a:ext>
            </a:extLst>
          </p:cNvPr>
          <p:cNvSpPr txBox="1"/>
          <p:nvPr/>
        </p:nvSpPr>
        <p:spPr>
          <a:xfrm>
            <a:off x="6717262" y="1549400"/>
            <a:ext cx="607122" cy="547890"/>
          </a:xfrm>
          <a:prstGeom prst="parallelogram">
            <a:avLst>
              <a:gd name="adj" fmla="val 26449"/>
            </a:avLst>
          </a:prstGeom>
          <a:solidFill>
            <a:schemeClr val="accent1"/>
          </a:solidFill>
        </p:spPr>
        <p:txBody>
          <a:bodyPr wrap="square"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6F7434FD-D6B2-60BD-D16F-F4917EC5EF78}"/>
              </a:ext>
            </a:extLst>
          </p:cNvPr>
          <p:cNvSpPr txBox="1"/>
          <p:nvPr/>
        </p:nvSpPr>
        <p:spPr>
          <a:xfrm>
            <a:off x="6396247" y="2744054"/>
            <a:ext cx="607122" cy="547890"/>
          </a:xfrm>
          <a:prstGeom prst="parallelogram">
            <a:avLst>
              <a:gd name="adj" fmla="val 27028"/>
            </a:avLst>
          </a:prstGeom>
          <a:solidFill>
            <a:schemeClr val="accent1"/>
          </a:solidFill>
        </p:spPr>
        <p:txBody>
          <a:bodyPr wrap="square"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50" name="TextBox 49">
            <a:extLst>
              <a:ext uri="{FF2B5EF4-FFF2-40B4-BE49-F238E27FC236}">
                <a16:creationId xmlns:a16="http://schemas.microsoft.com/office/drawing/2014/main" id="{5200F673-BB68-A846-154B-B733D428D91F}"/>
              </a:ext>
            </a:extLst>
          </p:cNvPr>
          <p:cNvSpPr txBox="1"/>
          <p:nvPr/>
        </p:nvSpPr>
        <p:spPr>
          <a:xfrm>
            <a:off x="6076822" y="3938708"/>
            <a:ext cx="607122" cy="547890"/>
          </a:xfrm>
          <a:prstGeom prst="parallelogram">
            <a:avLst>
              <a:gd name="adj" fmla="val 26449"/>
            </a:avLst>
          </a:prstGeom>
          <a:solidFill>
            <a:schemeClr val="accent1"/>
          </a:solidFill>
        </p:spPr>
        <p:txBody>
          <a:bodyPr wrap="square"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30000" noProof="0">
              <a:ln>
                <a:noFill/>
              </a:ln>
              <a:solidFill>
                <a:srgbClr val="FFFFFF"/>
              </a:solidFill>
              <a:effectLst/>
              <a:highlight>
                <a:srgbClr val="FFFF00"/>
              </a:highligh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id="{2B4788A9-DCE4-BAE6-E291-DC6F7C8CC5B4}"/>
              </a:ext>
            </a:extLst>
          </p:cNvPr>
          <p:cNvSpPr txBox="1"/>
          <p:nvPr/>
        </p:nvSpPr>
        <p:spPr>
          <a:xfrm>
            <a:off x="6557548" y="2146727"/>
            <a:ext cx="607122" cy="547890"/>
          </a:xfrm>
          <a:prstGeom prst="parallelogram">
            <a:avLst>
              <a:gd name="adj" fmla="val 26739"/>
            </a:avLst>
          </a:prstGeom>
          <a:solidFill>
            <a:schemeClr val="accent1"/>
          </a:solidFill>
        </p:spPr>
        <p:txBody>
          <a:bodyPr wrap="square"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52" name="TextBox 51">
            <a:extLst>
              <a:ext uri="{FF2B5EF4-FFF2-40B4-BE49-F238E27FC236}">
                <a16:creationId xmlns:a16="http://schemas.microsoft.com/office/drawing/2014/main" id="{7EF8B211-9C3E-30C5-D1ED-AD8A0E92B5E7}"/>
              </a:ext>
            </a:extLst>
          </p:cNvPr>
          <p:cNvSpPr txBox="1"/>
          <p:nvPr/>
        </p:nvSpPr>
        <p:spPr>
          <a:xfrm>
            <a:off x="6236535" y="3341381"/>
            <a:ext cx="607122" cy="547890"/>
          </a:xfrm>
          <a:prstGeom prst="parallelogram">
            <a:avLst>
              <a:gd name="adj" fmla="val 27898"/>
            </a:avLst>
          </a:prstGeom>
          <a:solidFill>
            <a:schemeClr val="accent1"/>
          </a:solidFill>
        </p:spPr>
        <p:txBody>
          <a:bodyPr wrap="square"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3" name="TextBox 52">
            <a:extLst>
              <a:ext uri="{FF2B5EF4-FFF2-40B4-BE49-F238E27FC236}">
                <a16:creationId xmlns:a16="http://schemas.microsoft.com/office/drawing/2014/main" id="{E3763C12-1532-8F19-E772-1BB5B755803A}"/>
              </a:ext>
            </a:extLst>
          </p:cNvPr>
          <p:cNvSpPr txBox="1"/>
          <p:nvPr/>
        </p:nvSpPr>
        <p:spPr>
          <a:xfrm>
            <a:off x="5915523" y="4536035"/>
            <a:ext cx="607122" cy="547890"/>
          </a:xfrm>
          <a:prstGeom prst="parallelogram">
            <a:avLst>
              <a:gd name="adj" fmla="val 26739"/>
            </a:avLst>
          </a:prstGeom>
          <a:solidFill>
            <a:schemeClr val="accent1"/>
          </a:solidFill>
        </p:spPr>
        <p:txBody>
          <a:bodyPr wrap="square"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54" name="TextBox 53">
            <a:extLst>
              <a:ext uri="{FF2B5EF4-FFF2-40B4-BE49-F238E27FC236}">
                <a16:creationId xmlns:a16="http://schemas.microsoft.com/office/drawing/2014/main" id="{68AD801D-09A8-5FCA-1E7E-CDCF7AEA2CA6}"/>
              </a:ext>
            </a:extLst>
          </p:cNvPr>
          <p:cNvSpPr txBox="1"/>
          <p:nvPr/>
        </p:nvSpPr>
        <p:spPr>
          <a:xfrm>
            <a:off x="5760572" y="5133364"/>
            <a:ext cx="607122" cy="547890"/>
          </a:xfrm>
          <a:prstGeom prst="parallelogram">
            <a:avLst>
              <a:gd name="adj" fmla="val 27028"/>
            </a:avLst>
          </a:prstGeom>
          <a:solidFill>
            <a:schemeClr val="accent1"/>
          </a:solidFill>
        </p:spPr>
        <p:txBody>
          <a:bodyPr wrap="square"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30000" noProof="0">
              <a:ln>
                <a:noFill/>
              </a:ln>
              <a:solidFill>
                <a:srgbClr val="FFFFFF"/>
              </a:solidFill>
              <a:effectLst/>
              <a:highlight>
                <a:srgbClr val="FFFF00"/>
              </a:highligh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E4E6307E-2869-DD4C-6D93-574D79865DE3}"/>
              </a:ext>
            </a:extLst>
          </p:cNvPr>
          <p:cNvSpPr txBox="1"/>
          <p:nvPr/>
        </p:nvSpPr>
        <p:spPr>
          <a:xfrm>
            <a:off x="894080" y="1549400"/>
            <a:ext cx="5984558" cy="547890"/>
          </a:xfrm>
          <a:prstGeom prst="rect">
            <a:avLst/>
          </a:prstGeom>
          <a:solidFill>
            <a:schemeClr val="accent1"/>
          </a:solidFill>
        </p:spPr>
        <p:txBody>
          <a:bodyPr wrap="square" lIns="1005840" rtlCol="0" anchor="ctr">
            <a:noAutofit/>
          </a:bodyPr>
          <a:lstStyle/>
          <a:p>
            <a:pPr lvl="0">
              <a:lnSpc>
                <a:spcPct val="90000"/>
              </a:lnSpc>
              <a:defRPr/>
            </a:pPr>
            <a:r>
              <a:rPr lang="en-US" sz="1700" err="1">
                <a:solidFill>
                  <a:srgbClr val="FFFFFF"/>
                </a:solidFill>
              </a:rPr>
              <a:t>Yoğun</a:t>
            </a:r>
            <a:r>
              <a:rPr lang="en-US" sz="1700">
                <a:solidFill>
                  <a:srgbClr val="FFFFFF"/>
                </a:solidFill>
              </a:rPr>
              <a:t> </a:t>
            </a:r>
            <a:r>
              <a:rPr lang="en-US" sz="1700" err="1">
                <a:solidFill>
                  <a:srgbClr val="FFFFFF"/>
                </a:solidFill>
              </a:rPr>
              <a:t>bakım</a:t>
            </a:r>
            <a:r>
              <a:rPr lang="en-US" sz="1700">
                <a:solidFill>
                  <a:srgbClr val="FFFFFF"/>
                </a:solidFill>
              </a:rPr>
              <a:t> </a:t>
            </a:r>
            <a:r>
              <a:rPr lang="en-US" sz="1700" err="1">
                <a:solidFill>
                  <a:srgbClr val="FFFFFF"/>
                </a:solidFill>
              </a:rPr>
              <a:t>ünitesine</a:t>
            </a:r>
            <a:r>
              <a:rPr lang="en-US" sz="1700">
                <a:solidFill>
                  <a:srgbClr val="FFFFFF"/>
                </a:solidFill>
              </a:rPr>
              <a:t> </a:t>
            </a:r>
            <a:r>
              <a:rPr lang="en-US" sz="1700" err="1">
                <a:solidFill>
                  <a:srgbClr val="FFFFFF"/>
                </a:solidFill>
              </a:rPr>
              <a:t>kabul</a:t>
            </a:r>
            <a:r>
              <a:rPr kumimoji="0" lang="en-US" sz="1700" b="0" i="0" u="none" strike="noStrike" kern="1200" cap="none" spc="0" normalizeH="0" baseline="30000" noProof="0">
                <a:ln>
                  <a:noFill/>
                </a:ln>
                <a:solidFill>
                  <a:srgbClr val="FFFFFF"/>
                </a:solidFill>
                <a:effectLst/>
                <a:uLnTx/>
                <a:uFillTx/>
                <a:latin typeface="Arial" panose="020B0604020202020204"/>
                <a:ea typeface="+mn-ea"/>
                <a:cs typeface="+mn-cs"/>
              </a:rPr>
              <a:t>1,2</a:t>
            </a:r>
          </a:p>
        </p:txBody>
      </p:sp>
      <p:sp>
        <p:nvSpPr>
          <p:cNvPr id="13" name="TextBox 12">
            <a:extLst>
              <a:ext uri="{FF2B5EF4-FFF2-40B4-BE49-F238E27FC236}">
                <a16:creationId xmlns:a16="http://schemas.microsoft.com/office/drawing/2014/main" id="{4C5F49FD-A41A-8FFD-E497-C515BED6AF90}"/>
              </a:ext>
            </a:extLst>
          </p:cNvPr>
          <p:cNvSpPr txBox="1"/>
          <p:nvPr/>
        </p:nvSpPr>
        <p:spPr>
          <a:xfrm>
            <a:off x="894079" y="2744054"/>
            <a:ext cx="5887721" cy="547890"/>
          </a:xfrm>
          <a:prstGeom prst="rect">
            <a:avLst/>
          </a:prstGeom>
          <a:solidFill>
            <a:schemeClr val="accent1"/>
          </a:solidFill>
        </p:spPr>
        <p:txBody>
          <a:bodyPr wrap="square" lIns="1005840" rtlCol="0" anchor="ctr">
            <a:noAutofit/>
          </a:bodyPr>
          <a:lstStyle/>
          <a:p>
            <a:pPr lvl="0">
              <a:lnSpc>
                <a:spcPct val="90000"/>
              </a:lnSpc>
              <a:defRPr/>
            </a:pPr>
            <a:r>
              <a:rPr lang="en-US" sz="1700" err="1">
                <a:solidFill>
                  <a:srgbClr val="FFFFFF"/>
                </a:solidFill>
              </a:rPr>
              <a:t>Taburcu</a:t>
            </a:r>
            <a:r>
              <a:rPr lang="en-US" sz="1700">
                <a:solidFill>
                  <a:srgbClr val="FFFFFF"/>
                </a:solidFill>
              </a:rPr>
              <a:t> </a:t>
            </a:r>
            <a:r>
              <a:rPr lang="en-US" sz="1700" err="1">
                <a:solidFill>
                  <a:srgbClr val="FFFFFF"/>
                </a:solidFill>
              </a:rPr>
              <a:t>olduktan</a:t>
            </a:r>
            <a:r>
              <a:rPr lang="en-US" sz="1700">
                <a:solidFill>
                  <a:srgbClr val="FFFFFF"/>
                </a:solidFill>
              </a:rPr>
              <a:t> </a:t>
            </a:r>
            <a:r>
              <a:rPr lang="en-US" sz="1700" err="1">
                <a:solidFill>
                  <a:srgbClr val="FFFFFF"/>
                </a:solidFill>
              </a:rPr>
              <a:t>sonra</a:t>
            </a:r>
            <a:r>
              <a:rPr lang="en-US" sz="1700">
                <a:solidFill>
                  <a:srgbClr val="FFFFFF"/>
                </a:solidFill>
              </a:rPr>
              <a:t> </a:t>
            </a:r>
            <a:r>
              <a:rPr lang="en-US" sz="1700" err="1">
                <a:solidFill>
                  <a:srgbClr val="FFFFFF"/>
                </a:solidFill>
              </a:rPr>
              <a:t>devam</a:t>
            </a:r>
            <a:r>
              <a:rPr lang="en-US" sz="1700">
                <a:solidFill>
                  <a:srgbClr val="FFFFFF"/>
                </a:solidFill>
              </a:rPr>
              <a:t> </a:t>
            </a:r>
            <a:r>
              <a:rPr lang="en-US" sz="1700" err="1">
                <a:solidFill>
                  <a:srgbClr val="FFFFFF"/>
                </a:solidFill>
              </a:rPr>
              <a:t>eden</a:t>
            </a:r>
            <a:r>
              <a:rPr lang="en-US" sz="1700">
                <a:solidFill>
                  <a:srgbClr val="FFFFFF"/>
                </a:solidFill>
              </a:rPr>
              <a:t> </a:t>
            </a:r>
            <a:r>
              <a:rPr lang="en-US" sz="1700" err="1">
                <a:solidFill>
                  <a:srgbClr val="FFFFFF"/>
                </a:solidFill>
              </a:rPr>
              <a:t>ve</a:t>
            </a:r>
            <a:r>
              <a:rPr lang="en-US" sz="1700">
                <a:solidFill>
                  <a:srgbClr val="FFFFFF"/>
                </a:solidFill>
              </a:rPr>
              <a:t> </a:t>
            </a:r>
            <a:r>
              <a:rPr lang="en-US" sz="1700" err="1">
                <a:solidFill>
                  <a:srgbClr val="FFFFFF"/>
                </a:solidFill>
              </a:rPr>
              <a:t>yaşam</a:t>
            </a:r>
            <a:r>
              <a:rPr lang="en-US" sz="1700">
                <a:solidFill>
                  <a:srgbClr val="FFFFFF"/>
                </a:solidFill>
              </a:rPr>
              <a:t> </a:t>
            </a:r>
            <a:r>
              <a:rPr lang="en-US" sz="1700" err="1">
                <a:solidFill>
                  <a:srgbClr val="FFFFFF"/>
                </a:solidFill>
              </a:rPr>
              <a:t>kalitesinin</a:t>
            </a:r>
            <a:r>
              <a:rPr lang="en-US" sz="1700">
                <a:solidFill>
                  <a:srgbClr val="FFFFFF"/>
                </a:solidFill>
              </a:rPr>
              <a:t> </a:t>
            </a:r>
            <a:r>
              <a:rPr lang="en-US" sz="1700" err="1">
                <a:solidFill>
                  <a:srgbClr val="FFFFFF"/>
                </a:solidFill>
              </a:rPr>
              <a:t>düşmesine</a:t>
            </a:r>
            <a:r>
              <a:rPr lang="en-US" sz="1700">
                <a:solidFill>
                  <a:srgbClr val="FFFFFF"/>
                </a:solidFill>
              </a:rPr>
              <a:t> </a:t>
            </a:r>
            <a:r>
              <a:rPr lang="en-US" sz="1700" err="1">
                <a:solidFill>
                  <a:srgbClr val="FFFFFF"/>
                </a:solidFill>
              </a:rPr>
              <a:t>yol</a:t>
            </a:r>
            <a:r>
              <a:rPr lang="en-US" sz="1700">
                <a:solidFill>
                  <a:srgbClr val="FFFFFF"/>
                </a:solidFill>
              </a:rPr>
              <a:t> </a:t>
            </a:r>
            <a:r>
              <a:rPr lang="en-US" sz="1700" err="1">
                <a:solidFill>
                  <a:srgbClr val="FFFFFF"/>
                </a:solidFill>
              </a:rPr>
              <a:t>açan</a:t>
            </a:r>
            <a:r>
              <a:rPr lang="en-US" sz="1700">
                <a:solidFill>
                  <a:srgbClr val="FFFFFF"/>
                </a:solidFill>
              </a:rPr>
              <a:t> semptomlar</a:t>
            </a:r>
            <a:r>
              <a:rPr lang="en-US" sz="1700" baseline="30000">
                <a:solidFill>
                  <a:srgbClr val="FFFFFF"/>
                </a:solidFill>
              </a:rPr>
              <a:t>4</a:t>
            </a:r>
            <a:endParaRPr kumimoji="0" lang="en-US" sz="1700" b="0"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08850000-1C00-063C-71AF-5DEE79405B98}"/>
              </a:ext>
            </a:extLst>
          </p:cNvPr>
          <p:cNvSpPr txBox="1"/>
          <p:nvPr/>
        </p:nvSpPr>
        <p:spPr>
          <a:xfrm>
            <a:off x="894079" y="3938708"/>
            <a:ext cx="5612553" cy="547890"/>
          </a:xfrm>
          <a:prstGeom prst="rect">
            <a:avLst/>
          </a:prstGeom>
          <a:solidFill>
            <a:schemeClr val="accent1"/>
          </a:solidFill>
        </p:spPr>
        <p:txBody>
          <a:bodyPr wrap="square" lIns="1005840" rtlCol="0" anchor="ctr">
            <a:noAutofit/>
          </a:bodyPr>
          <a:lstStyle/>
          <a:p>
            <a:pPr lvl="0">
              <a:lnSpc>
                <a:spcPct val="90000"/>
              </a:lnSpc>
              <a:defRPr/>
            </a:pPr>
            <a:r>
              <a:rPr lang="en-US" sz="1700" err="1">
                <a:solidFill>
                  <a:srgbClr val="FFFFFF"/>
                </a:solidFill>
              </a:rPr>
              <a:t>Sonraki</a:t>
            </a:r>
            <a:r>
              <a:rPr lang="en-US" sz="1700">
                <a:solidFill>
                  <a:srgbClr val="FFFFFF"/>
                </a:solidFill>
              </a:rPr>
              <a:t> TGP </a:t>
            </a:r>
            <a:r>
              <a:rPr lang="en-US" sz="1700" err="1">
                <a:solidFill>
                  <a:srgbClr val="FFFFFF"/>
                </a:solidFill>
              </a:rPr>
              <a:t>atakları</a:t>
            </a:r>
            <a:r>
              <a:rPr lang="en-US" sz="1700">
                <a:solidFill>
                  <a:srgbClr val="FFFFFF"/>
                </a:solidFill>
              </a:rPr>
              <a:t> </a:t>
            </a:r>
            <a:r>
              <a:rPr lang="en-US" sz="1700" err="1">
                <a:solidFill>
                  <a:srgbClr val="FFFFFF"/>
                </a:solidFill>
              </a:rPr>
              <a:t>için</a:t>
            </a:r>
            <a:r>
              <a:rPr lang="en-US" sz="1700">
                <a:solidFill>
                  <a:srgbClr val="FFFFFF"/>
                </a:solidFill>
              </a:rPr>
              <a:t> </a:t>
            </a:r>
            <a:r>
              <a:rPr lang="en-US" sz="1700" err="1">
                <a:solidFill>
                  <a:srgbClr val="FFFFFF"/>
                </a:solidFill>
              </a:rPr>
              <a:t>artan</a:t>
            </a:r>
            <a:r>
              <a:rPr lang="en-US" sz="1700">
                <a:solidFill>
                  <a:srgbClr val="FFFFFF"/>
                </a:solidFill>
              </a:rPr>
              <a:t> risk</a:t>
            </a:r>
            <a:r>
              <a:rPr kumimoji="0" lang="en-US" sz="1700" b="0" i="0" u="none" strike="noStrike" kern="1200" cap="none" spc="0" normalizeH="0" baseline="30000" noProof="0">
                <a:ln>
                  <a:noFill/>
                </a:ln>
                <a:solidFill>
                  <a:srgbClr val="FFFFFF"/>
                </a:solidFill>
                <a:effectLst/>
                <a:uLnTx/>
                <a:uFillTx/>
                <a:latin typeface="Arial" panose="020B0604020202020204"/>
                <a:ea typeface="+mn-ea"/>
                <a:cs typeface="+mn-cs"/>
              </a:rPr>
              <a:t>6</a:t>
            </a:r>
            <a:r>
              <a:rPr kumimoji="0" lang="en-US" sz="1700" b="0" i="0" u="none" strike="noStrike" kern="1200" cap="none" spc="0" normalizeH="0" baseline="30000" noProof="0">
                <a:ln>
                  <a:noFill/>
                </a:ln>
                <a:solidFill>
                  <a:srgbClr val="FFFFFF"/>
                </a:solidFill>
                <a:effectLst/>
                <a:highlight>
                  <a:srgbClr val="FFFF00"/>
                </a:highlight>
                <a:uLnTx/>
                <a:uFillTx/>
                <a:latin typeface="Arial" panose="020B0604020202020204"/>
                <a:ea typeface="+mn-ea"/>
                <a:cs typeface="+mn-cs"/>
              </a:rPr>
              <a:t> </a:t>
            </a:r>
          </a:p>
        </p:txBody>
      </p:sp>
      <p:sp>
        <p:nvSpPr>
          <p:cNvPr id="15" name="TextBox 14">
            <a:extLst>
              <a:ext uri="{FF2B5EF4-FFF2-40B4-BE49-F238E27FC236}">
                <a16:creationId xmlns:a16="http://schemas.microsoft.com/office/drawing/2014/main" id="{DD1342A7-C594-6CE7-308C-1342454B143A}"/>
              </a:ext>
            </a:extLst>
          </p:cNvPr>
          <p:cNvSpPr txBox="1"/>
          <p:nvPr/>
        </p:nvSpPr>
        <p:spPr>
          <a:xfrm>
            <a:off x="894080" y="2146727"/>
            <a:ext cx="5914707" cy="547890"/>
          </a:xfrm>
          <a:prstGeom prst="rect">
            <a:avLst/>
          </a:prstGeom>
          <a:solidFill>
            <a:schemeClr val="accent1"/>
          </a:solidFill>
        </p:spPr>
        <p:txBody>
          <a:bodyPr wrap="square" lIns="1005840" rtlCol="0" anchor="ctr">
            <a:noAutofit/>
          </a:bodyPr>
          <a:lstStyle/>
          <a:p>
            <a:pPr lvl="0">
              <a:lnSpc>
                <a:spcPct val="90000"/>
              </a:lnSpc>
              <a:defRPr/>
            </a:pPr>
            <a:r>
              <a:rPr lang="en-US" sz="1700">
                <a:solidFill>
                  <a:srgbClr val="FFFFFF"/>
                </a:solidFill>
              </a:rPr>
              <a:t>MACE </a:t>
            </a:r>
            <a:r>
              <a:rPr lang="en-US" sz="1700" err="1">
                <a:solidFill>
                  <a:srgbClr val="FFFFFF"/>
                </a:solidFill>
              </a:rPr>
              <a:t>riskinde</a:t>
            </a:r>
            <a:r>
              <a:rPr lang="en-US" sz="1700">
                <a:solidFill>
                  <a:srgbClr val="FFFFFF"/>
                </a:solidFill>
              </a:rPr>
              <a:t> </a:t>
            </a:r>
            <a:r>
              <a:rPr lang="en-US" sz="1700" err="1">
                <a:solidFill>
                  <a:srgbClr val="FFFFFF"/>
                </a:solidFill>
              </a:rPr>
              <a:t>artış</a:t>
            </a:r>
            <a:r>
              <a:rPr kumimoji="0" lang="en-US" sz="1700" b="0" i="0" u="none" strike="noStrike" kern="1200" cap="none" spc="0" normalizeH="0" baseline="30000" noProof="0">
                <a:ln>
                  <a:noFill/>
                </a:ln>
                <a:solidFill>
                  <a:srgbClr val="FFFFFF"/>
                </a:solidFill>
                <a:effectLst/>
                <a:uLnTx/>
                <a:uFillTx/>
                <a:latin typeface="Arial" panose="020B0604020202020204"/>
                <a:ea typeface="+mn-ea"/>
                <a:cs typeface="+mn-cs"/>
              </a:rPr>
              <a:t>3</a:t>
            </a:r>
          </a:p>
        </p:txBody>
      </p:sp>
      <p:sp>
        <p:nvSpPr>
          <p:cNvPr id="17" name="TextBox 16">
            <a:extLst>
              <a:ext uri="{FF2B5EF4-FFF2-40B4-BE49-F238E27FC236}">
                <a16:creationId xmlns:a16="http://schemas.microsoft.com/office/drawing/2014/main" id="{0C4231C4-C38E-F106-78CE-46A6A0C94C1E}"/>
              </a:ext>
            </a:extLst>
          </p:cNvPr>
          <p:cNvSpPr txBox="1"/>
          <p:nvPr/>
        </p:nvSpPr>
        <p:spPr>
          <a:xfrm>
            <a:off x="894080" y="3341381"/>
            <a:ext cx="5582919" cy="547890"/>
          </a:xfrm>
          <a:prstGeom prst="rect">
            <a:avLst/>
          </a:prstGeom>
          <a:solidFill>
            <a:schemeClr val="accent1"/>
          </a:solidFill>
        </p:spPr>
        <p:txBody>
          <a:bodyPr wrap="square" lIns="1005840" rtlCol="0" anchor="ctr">
            <a:noAutofit/>
          </a:bodyPr>
          <a:lstStyle/>
          <a:p>
            <a:pPr lvl="0">
              <a:lnSpc>
                <a:spcPct val="90000"/>
              </a:lnSpc>
              <a:defRPr/>
            </a:pPr>
            <a:r>
              <a:rPr lang="en-US" sz="1700" err="1">
                <a:solidFill>
                  <a:srgbClr val="FFFFFF"/>
                </a:solidFill>
              </a:rPr>
              <a:t>Ölümle</a:t>
            </a:r>
            <a:r>
              <a:rPr lang="en-US" sz="1700">
                <a:solidFill>
                  <a:srgbClr val="FFFFFF"/>
                </a:solidFill>
              </a:rPr>
              <a:t> </a:t>
            </a:r>
            <a:r>
              <a:rPr lang="en-US" sz="1700" err="1">
                <a:solidFill>
                  <a:srgbClr val="FFFFFF"/>
                </a:solidFill>
              </a:rPr>
              <a:t>sonuçlanabilir</a:t>
            </a:r>
            <a:r>
              <a:rPr kumimoji="0" lang="en-US" sz="1700" b="0" i="0" u="none" strike="noStrike" kern="1200" cap="none" spc="0" normalizeH="0" baseline="30000" noProof="0">
                <a:ln>
                  <a:noFill/>
                </a:ln>
                <a:solidFill>
                  <a:srgbClr val="FFFFFF"/>
                </a:solidFill>
                <a:effectLst/>
                <a:uLnTx/>
                <a:uFillTx/>
                <a:latin typeface="Arial" panose="020B0604020202020204"/>
                <a:ea typeface="+mn-ea"/>
                <a:cs typeface="+mn-cs"/>
              </a:rPr>
              <a:t>1,5</a:t>
            </a:r>
            <a:endParaRPr kumimoji="0" lang="en-US" sz="17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FDB05135-B82B-E525-AF52-99C5E9AD58B2}"/>
              </a:ext>
            </a:extLst>
          </p:cNvPr>
          <p:cNvSpPr txBox="1"/>
          <p:nvPr/>
        </p:nvSpPr>
        <p:spPr>
          <a:xfrm>
            <a:off x="894079" y="4536035"/>
            <a:ext cx="5359083" cy="547890"/>
          </a:xfrm>
          <a:prstGeom prst="rect">
            <a:avLst/>
          </a:prstGeom>
          <a:solidFill>
            <a:schemeClr val="accent1"/>
          </a:solidFill>
        </p:spPr>
        <p:txBody>
          <a:bodyPr wrap="square" lIns="1005840" rtlCol="0" anchor="ctr">
            <a:noAutofit/>
          </a:bodyPr>
          <a:lstStyle/>
          <a:p>
            <a:pPr lvl="0">
              <a:lnSpc>
                <a:spcPct val="90000"/>
              </a:lnSpc>
              <a:defRPr/>
            </a:pPr>
            <a:r>
              <a:rPr lang="en-US" sz="1700">
                <a:solidFill>
                  <a:srgbClr val="FFFFFF"/>
                </a:solidFill>
              </a:rPr>
              <a:t>TGP </a:t>
            </a:r>
            <a:r>
              <a:rPr lang="en-US" sz="1700" err="1">
                <a:solidFill>
                  <a:srgbClr val="FFFFFF"/>
                </a:solidFill>
              </a:rPr>
              <a:t>için</a:t>
            </a:r>
            <a:r>
              <a:rPr lang="en-US" sz="1700">
                <a:solidFill>
                  <a:srgbClr val="FFFFFF"/>
                </a:solidFill>
              </a:rPr>
              <a:t> </a:t>
            </a:r>
            <a:r>
              <a:rPr lang="en-US" sz="1700" err="1">
                <a:solidFill>
                  <a:srgbClr val="FFFFFF"/>
                </a:solidFill>
              </a:rPr>
              <a:t>yeniden</a:t>
            </a:r>
            <a:r>
              <a:rPr lang="en-US" sz="1700">
                <a:solidFill>
                  <a:srgbClr val="FFFFFF"/>
                </a:solidFill>
              </a:rPr>
              <a:t> </a:t>
            </a:r>
            <a:r>
              <a:rPr lang="en-US" sz="1700" err="1">
                <a:solidFill>
                  <a:srgbClr val="FFFFFF"/>
                </a:solidFill>
              </a:rPr>
              <a:t>hastaneye</a:t>
            </a:r>
            <a:r>
              <a:rPr lang="en-US" sz="1700">
                <a:solidFill>
                  <a:srgbClr val="FFFFFF"/>
                </a:solidFill>
              </a:rPr>
              <a:t> </a:t>
            </a:r>
            <a:r>
              <a:rPr lang="en-US" sz="1700" err="1">
                <a:solidFill>
                  <a:srgbClr val="FFFFFF"/>
                </a:solidFill>
              </a:rPr>
              <a:t>yatış</a:t>
            </a:r>
            <a:r>
              <a:rPr kumimoji="0" lang="en-US" sz="1700" b="0" i="0" u="none" strike="noStrike" kern="1200" cap="none" spc="0" normalizeH="0" baseline="30000" noProof="0">
                <a:ln>
                  <a:noFill/>
                </a:ln>
                <a:solidFill>
                  <a:srgbClr val="FFFFFF"/>
                </a:solidFill>
                <a:effectLst/>
                <a:uLnTx/>
                <a:uFillTx/>
                <a:latin typeface="Arial" panose="020B0604020202020204"/>
                <a:ea typeface="+mn-ea"/>
                <a:cs typeface="+mn-cs"/>
              </a:rPr>
              <a:t>6</a:t>
            </a:r>
          </a:p>
        </p:txBody>
      </p:sp>
      <p:sp>
        <p:nvSpPr>
          <p:cNvPr id="2" name="TextBox 1">
            <a:extLst>
              <a:ext uri="{FF2B5EF4-FFF2-40B4-BE49-F238E27FC236}">
                <a16:creationId xmlns:a16="http://schemas.microsoft.com/office/drawing/2014/main" id="{40DB5D36-137C-7A5B-944F-6A384AFEB022}"/>
              </a:ext>
            </a:extLst>
          </p:cNvPr>
          <p:cNvSpPr txBox="1"/>
          <p:nvPr/>
        </p:nvSpPr>
        <p:spPr>
          <a:xfrm>
            <a:off x="894080" y="5133364"/>
            <a:ext cx="5014457" cy="547890"/>
          </a:xfrm>
          <a:prstGeom prst="rect">
            <a:avLst/>
          </a:prstGeom>
          <a:solidFill>
            <a:schemeClr val="accent1"/>
          </a:solidFill>
        </p:spPr>
        <p:txBody>
          <a:bodyPr wrap="square" lIns="1005840" rtlCol="0" anchor="ctr">
            <a:noAutofit/>
          </a:bodyPr>
          <a:lstStyle/>
          <a:p>
            <a:pPr lvl="0">
              <a:lnSpc>
                <a:spcPct val="90000"/>
              </a:lnSpc>
              <a:defRPr/>
            </a:pPr>
            <a:r>
              <a:rPr lang="en-US" sz="1700">
                <a:solidFill>
                  <a:srgbClr val="FFFFFF"/>
                </a:solidFill>
              </a:rPr>
              <a:t>Uzun </a:t>
            </a:r>
            <a:r>
              <a:rPr lang="en-US" sz="1700" err="1">
                <a:solidFill>
                  <a:srgbClr val="FFFFFF"/>
                </a:solidFill>
              </a:rPr>
              <a:t>süreli</a:t>
            </a:r>
            <a:r>
              <a:rPr lang="en-US" sz="1700">
                <a:solidFill>
                  <a:srgbClr val="FFFFFF"/>
                </a:solidFill>
              </a:rPr>
              <a:t> </a:t>
            </a:r>
            <a:r>
              <a:rPr lang="en-US" sz="1700" err="1">
                <a:solidFill>
                  <a:srgbClr val="FFFFFF"/>
                </a:solidFill>
              </a:rPr>
              <a:t>sağkalımda</a:t>
            </a:r>
            <a:r>
              <a:rPr lang="en-US" sz="1700">
                <a:solidFill>
                  <a:srgbClr val="FFFFFF"/>
                </a:solidFill>
              </a:rPr>
              <a:t> </a:t>
            </a:r>
            <a:r>
              <a:rPr lang="en-US" sz="1700" err="1">
                <a:solidFill>
                  <a:srgbClr val="FFFFFF"/>
                </a:solidFill>
              </a:rPr>
              <a:t>azalma</a:t>
            </a:r>
            <a:r>
              <a:rPr kumimoji="0" lang="en-US" sz="1700" b="0" i="0" u="none" strike="noStrike" kern="1200" cap="none" spc="0" normalizeH="0" baseline="30000" noProof="0">
                <a:ln>
                  <a:noFill/>
                </a:ln>
                <a:solidFill>
                  <a:srgbClr val="FFFFFF"/>
                </a:solidFill>
                <a:effectLst/>
                <a:uLnTx/>
                <a:uFillTx/>
                <a:latin typeface="Arial" panose="020B0604020202020204"/>
                <a:ea typeface="+mn-ea"/>
                <a:cs typeface="+mn-cs"/>
              </a:rPr>
              <a:t>7 </a:t>
            </a:r>
          </a:p>
        </p:txBody>
      </p:sp>
      <p:sp>
        <p:nvSpPr>
          <p:cNvPr id="23" name="Rectangle 22">
            <a:extLst>
              <a:ext uri="{FF2B5EF4-FFF2-40B4-BE49-F238E27FC236}">
                <a16:creationId xmlns:a16="http://schemas.microsoft.com/office/drawing/2014/main" id="{A236CBC8-E2EB-1CDA-4D6A-D5F459FC025B}"/>
              </a:ext>
            </a:extLst>
          </p:cNvPr>
          <p:cNvSpPr/>
          <p:nvPr/>
        </p:nvSpPr>
        <p:spPr>
          <a:xfrm>
            <a:off x="-12861" y="1409699"/>
            <a:ext cx="1671539" cy="4367299"/>
          </a:xfrm>
          <a:prstGeom prst="rect">
            <a:avLst/>
          </a:prstGeom>
          <a:solidFill>
            <a:srgbClr val="E3E3F9"/>
          </a:solidFill>
          <a:ln w="571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F0ABB41E-AD6F-A240-B44C-F49900DBDEA9}"/>
              </a:ext>
            </a:extLst>
          </p:cNvPr>
          <p:cNvGrpSpPr>
            <a:grpSpLocks noChangeAspect="1"/>
          </p:cNvGrpSpPr>
          <p:nvPr/>
        </p:nvGrpSpPr>
        <p:grpSpPr>
          <a:xfrm>
            <a:off x="37175" y="2236989"/>
            <a:ext cx="1481370" cy="2609117"/>
            <a:chOff x="3395285" y="1471176"/>
            <a:chExt cx="778701" cy="1371516"/>
          </a:xfrm>
          <a:gradFill flip="none" rotWithShape="1">
            <a:gsLst>
              <a:gs pos="0">
                <a:schemeClr val="accent3"/>
              </a:gs>
              <a:gs pos="33000">
                <a:schemeClr val="accent2"/>
              </a:gs>
              <a:gs pos="100000">
                <a:schemeClr val="accent1"/>
              </a:gs>
            </a:gsLst>
            <a:lin ang="16200000" scaled="1"/>
            <a:tileRect/>
          </a:gradFill>
        </p:grpSpPr>
        <p:sp>
          <p:nvSpPr>
            <p:cNvPr id="16" name="Freeform: Shape 15">
              <a:extLst>
                <a:ext uri="{FF2B5EF4-FFF2-40B4-BE49-F238E27FC236}">
                  <a16:creationId xmlns:a16="http://schemas.microsoft.com/office/drawing/2014/main" id="{05896BCE-06F9-A6F3-7494-EF27D45EB25C}"/>
                </a:ext>
              </a:extLst>
            </p:cNvPr>
            <p:cNvSpPr/>
            <p:nvPr/>
          </p:nvSpPr>
          <p:spPr>
            <a:xfrm>
              <a:off x="3524056" y="2116253"/>
              <a:ext cx="470212" cy="726439"/>
            </a:xfrm>
            <a:custGeom>
              <a:avLst/>
              <a:gdLst>
                <a:gd name="connsiteX0" fmla="*/ 235128 w 470212"/>
                <a:gd name="connsiteY0" fmla="*/ 37270 h 726439"/>
                <a:gd name="connsiteX1" fmla="*/ 65872 w 470212"/>
                <a:gd name="connsiteY1" fmla="*/ 5 h 726439"/>
                <a:gd name="connsiteX2" fmla="*/ 65926 w 470212"/>
                <a:gd name="connsiteY2" fmla="*/ 3361 h 726439"/>
                <a:gd name="connsiteX3" fmla="*/ 54117 w 470212"/>
                <a:gd name="connsiteY3" fmla="*/ 31658 h 726439"/>
                <a:gd name="connsiteX4" fmla="*/ 88 w 470212"/>
                <a:gd name="connsiteY4" fmla="*/ 658276 h 726439"/>
                <a:gd name="connsiteX5" fmla="*/ 61480 w 470212"/>
                <a:gd name="connsiteY5" fmla="*/ 726349 h 726439"/>
                <a:gd name="connsiteX6" fmla="*/ 64873 w 470212"/>
                <a:gd name="connsiteY6" fmla="*/ 726440 h 726439"/>
                <a:gd name="connsiteX7" fmla="*/ 129547 w 470212"/>
                <a:gd name="connsiteY7" fmla="*/ 664276 h 726439"/>
                <a:gd name="connsiteX8" fmla="*/ 168116 w 470212"/>
                <a:gd name="connsiteY8" fmla="*/ 175832 h 726439"/>
                <a:gd name="connsiteX9" fmla="*/ 302089 w 470212"/>
                <a:gd name="connsiteY9" fmla="*/ 175832 h 726439"/>
                <a:gd name="connsiteX10" fmla="*/ 340667 w 470212"/>
                <a:gd name="connsiteY10" fmla="*/ 664276 h 726439"/>
                <a:gd name="connsiteX11" fmla="*/ 405341 w 470212"/>
                <a:gd name="connsiteY11" fmla="*/ 726108 h 726439"/>
                <a:gd name="connsiteX12" fmla="*/ 408733 w 470212"/>
                <a:gd name="connsiteY12" fmla="*/ 726188 h 726439"/>
                <a:gd name="connsiteX13" fmla="*/ 470125 w 470212"/>
                <a:gd name="connsiteY13" fmla="*/ 658196 h 726439"/>
                <a:gd name="connsiteX14" fmla="*/ 416086 w 470212"/>
                <a:gd name="connsiteY14" fmla="*/ 31618 h 726439"/>
                <a:gd name="connsiteX15" fmla="*/ 404282 w 470212"/>
                <a:gd name="connsiteY15" fmla="*/ 3349 h 726439"/>
                <a:gd name="connsiteX16" fmla="*/ 404336 w 470212"/>
                <a:gd name="connsiteY16" fmla="*/ 0 h 726439"/>
                <a:gd name="connsiteX17" fmla="*/ 235126 w 470212"/>
                <a:gd name="connsiteY17" fmla="*/ 37265 h 72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0212" h="726439">
                  <a:moveTo>
                    <a:pt x="235128" y="37270"/>
                  </a:moveTo>
                  <a:cubicBezTo>
                    <a:pt x="157065" y="37270"/>
                    <a:pt x="93885" y="12920"/>
                    <a:pt x="65872" y="5"/>
                  </a:cubicBezTo>
                  <a:cubicBezTo>
                    <a:pt x="65886" y="1049"/>
                    <a:pt x="65908" y="2174"/>
                    <a:pt x="65926" y="3361"/>
                  </a:cubicBezTo>
                  <a:cubicBezTo>
                    <a:pt x="59975" y="11460"/>
                    <a:pt x="55778" y="21041"/>
                    <a:pt x="54117" y="31658"/>
                  </a:cubicBezTo>
                  <a:cubicBezTo>
                    <a:pt x="39393" y="125374"/>
                    <a:pt x="6213" y="539424"/>
                    <a:pt x="88" y="658276"/>
                  </a:cubicBezTo>
                  <a:cubicBezTo>
                    <a:pt x="-1760" y="694027"/>
                    <a:pt x="25736" y="724508"/>
                    <a:pt x="61480" y="726349"/>
                  </a:cubicBezTo>
                  <a:cubicBezTo>
                    <a:pt x="62618" y="726406"/>
                    <a:pt x="63743" y="726440"/>
                    <a:pt x="64873" y="726440"/>
                  </a:cubicBezTo>
                  <a:cubicBezTo>
                    <a:pt x="99138" y="726440"/>
                    <a:pt x="127765" y="698896"/>
                    <a:pt x="129547" y="664276"/>
                  </a:cubicBezTo>
                  <a:cubicBezTo>
                    <a:pt x="133873" y="580363"/>
                    <a:pt x="152860" y="332755"/>
                    <a:pt x="168116" y="175832"/>
                  </a:cubicBezTo>
                  <a:lnTo>
                    <a:pt x="302089" y="175832"/>
                  </a:lnTo>
                  <a:cubicBezTo>
                    <a:pt x="317345" y="332755"/>
                    <a:pt x="336341" y="580363"/>
                    <a:pt x="340667" y="664276"/>
                  </a:cubicBezTo>
                  <a:cubicBezTo>
                    <a:pt x="342452" y="698896"/>
                    <a:pt x="371075" y="726108"/>
                    <a:pt x="405341" y="726108"/>
                  </a:cubicBezTo>
                  <a:cubicBezTo>
                    <a:pt x="406461" y="726108"/>
                    <a:pt x="407599" y="726246"/>
                    <a:pt x="408733" y="726188"/>
                  </a:cubicBezTo>
                  <a:cubicBezTo>
                    <a:pt x="444480" y="724348"/>
                    <a:pt x="471973" y="693958"/>
                    <a:pt x="470125" y="658196"/>
                  </a:cubicBezTo>
                  <a:cubicBezTo>
                    <a:pt x="464000" y="539355"/>
                    <a:pt x="430811" y="125372"/>
                    <a:pt x="416086" y="31618"/>
                  </a:cubicBezTo>
                  <a:cubicBezTo>
                    <a:pt x="414422" y="21010"/>
                    <a:pt x="410233" y="11447"/>
                    <a:pt x="404282" y="3349"/>
                  </a:cubicBezTo>
                  <a:cubicBezTo>
                    <a:pt x="404305" y="2161"/>
                    <a:pt x="404323" y="1040"/>
                    <a:pt x="404336" y="0"/>
                  </a:cubicBezTo>
                  <a:cubicBezTo>
                    <a:pt x="376334" y="12907"/>
                    <a:pt x="313174" y="37265"/>
                    <a:pt x="235126" y="37265"/>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1" name="Freeform: Shape 20">
              <a:extLst>
                <a:ext uri="{FF2B5EF4-FFF2-40B4-BE49-F238E27FC236}">
                  <a16:creationId xmlns:a16="http://schemas.microsoft.com/office/drawing/2014/main" id="{EBE127D5-83DE-0329-B3AA-F5B08F88361F}"/>
                </a:ext>
              </a:extLst>
            </p:cNvPr>
            <p:cNvSpPr/>
            <p:nvPr/>
          </p:nvSpPr>
          <p:spPr>
            <a:xfrm>
              <a:off x="3630376" y="1471176"/>
              <a:ext cx="257591" cy="288119"/>
            </a:xfrm>
            <a:custGeom>
              <a:avLst/>
              <a:gdLst>
                <a:gd name="connsiteX0" fmla="*/ 128796 w 257591"/>
                <a:gd name="connsiteY0" fmla="*/ 288119 h 288119"/>
                <a:gd name="connsiteX1" fmla="*/ 257592 w 257591"/>
                <a:gd name="connsiteY1" fmla="*/ 128807 h 288119"/>
                <a:gd name="connsiteX2" fmla="*/ 128796 w 257591"/>
                <a:gd name="connsiteY2" fmla="*/ 0 h 288119"/>
                <a:gd name="connsiteX3" fmla="*/ 0 w 257591"/>
                <a:gd name="connsiteY3" fmla="*/ 128807 h 288119"/>
                <a:gd name="connsiteX4" fmla="*/ 128796 w 257591"/>
                <a:gd name="connsiteY4" fmla="*/ 288119 h 288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1" h="288119">
                  <a:moveTo>
                    <a:pt x="128796" y="288119"/>
                  </a:moveTo>
                  <a:cubicBezTo>
                    <a:pt x="199924" y="288119"/>
                    <a:pt x="257592" y="199931"/>
                    <a:pt x="257592" y="128807"/>
                  </a:cubicBezTo>
                  <a:cubicBezTo>
                    <a:pt x="257592" y="57674"/>
                    <a:pt x="199928" y="0"/>
                    <a:pt x="128796" y="0"/>
                  </a:cubicBezTo>
                  <a:cubicBezTo>
                    <a:pt x="57680" y="0"/>
                    <a:pt x="0" y="57668"/>
                    <a:pt x="0" y="128807"/>
                  </a:cubicBezTo>
                  <a:cubicBezTo>
                    <a:pt x="0" y="199940"/>
                    <a:pt x="57682" y="288119"/>
                    <a:pt x="128796" y="288119"/>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sp>
          <p:nvSpPr>
            <p:cNvPr id="22" name="Freeform: Shape 21">
              <a:extLst>
                <a:ext uri="{FF2B5EF4-FFF2-40B4-BE49-F238E27FC236}">
                  <a16:creationId xmlns:a16="http://schemas.microsoft.com/office/drawing/2014/main" id="{BCE265FD-A2EC-27CA-1E6D-9C41D061DC1E}"/>
                </a:ext>
              </a:extLst>
            </p:cNvPr>
            <p:cNvSpPr/>
            <p:nvPr/>
          </p:nvSpPr>
          <p:spPr>
            <a:xfrm>
              <a:off x="3395285" y="1701098"/>
              <a:ext cx="778701" cy="1136726"/>
            </a:xfrm>
            <a:custGeom>
              <a:avLst/>
              <a:gdLst>
                <a:gd name="connsiteX0" fmla="*/ 778138 w 778701"/>
                <a:gd name="connsiteY0" fmla="*/ 551733 h 1136726"/>
                <a:gd name="connsiteX1" fmla="*/ 724912 w 778701"/>
                <a:gd name="connsiteY1" fmla="*/ 471166 h 1136726"/>
                <a:gd name="connsiteX2" fmla="*/ 526273 w 778701"/>
                <a:gd name="connsiteY2" fmla="*/ 2706 h 1136726"/>
                <a:gd name="connsiteX3" fmla="*/ 473373 w 778701"/>
                <a:gd name="connsiteY3" fmla="*/ 4862 h 1136726"/>
                <a:gd name="connsiteX4" fmla="*/ 363875 w 778701"/>
                <a:gd name="connsiteY4" fmla="*/ 73210 h 1136726"/>
                <a:gd name="connsiteX5" fmla="*/ 254373 w 778701"/>
                <a:gd name="connsiteY5" fmla="*/ 4858 h 1136726"/>
                <a:gd name="connsiteX6" fmla="*/ 201482 w 778701"/>
                <a:gd name="connsiteY6" fmla="*/ 2710 h 1136726"/>
                <a:gd name="connsiteX7" fmla="*/ 419 w 778701"/>
                <a:gd name="connsiteY7" fmla="*/ 487595 h 1136726"/>
                <a:gd name="connsiteX8" fmla="*/ 35135 w 778701"/>
                <a:gd name="connsiteY8" fmla="*/ 533928 h 1136726"/>
                <a:gd name="connsiteX9" fmla="*/ 40997 w 778701"/>
                <a:gd name="connsiteY9" fmla="*/ 534352 h 1136726"/>
                <a:gd name="connsiteX10" fmla="*/ 81473 w 778701"/>
                <a:gd name="connsiteY10" fmla="*/ 499221 h 1136726"/>
                <a:gd name="connsiteX11" fmla="*/ 208611 w 778701"/>
                <a:gd name="connsiteY11" fmla="*/ 88706 h 1136726"/>
                <a:gd name="connsiteX12" fmla="*/ 194793 w 778701"/>
                <a:gd name="connsiteY12" fmla="*/ 392483 h 1136726"/>
                <a:gd name="connsiteX13" fmla="*/ 363889 w 778701"/>
                <a:gd name="connsiteY13" fmla="*/ 431954 h 1136726"/>
                <a:gd name="connsiteX14" fmla="*/ 532961 w 778701"/>
                <a:gd name="connsiteY14" fmla="*/ 392483 h 1136726"/>
                <a:gd name="connsiteX15" fmla="*/ 519201 w 778701"/>
                <a:gd name="connsiteY15" fmla="*/ 89197 h 1136726"/>
                <a:gd name="connsiteX16" fmla="*/ 643186 w 778701"/>
                <a:gd name="connsiteY16" fmla="*/ 478179 h 1136726"/>
                <a:gd name="connsiteX17" fmla="*/ 603027 w 778701"/>
                <a:gd name="connsiteY17" fmla="*/ 551732 h 1136726"/>
                <a:gd name="connsiteX18" fmla="*/ 625466 w 778701"/>
                <a:gd name="connsiteY18" fmla="*/ 574171 h 1136726"/>
                <a:gd name="connsiteX19" fmla="*/ 647922 w 778701"/>
                <a:gd name="connsiteY19" fmla="*/ 551732 h 1136726"/>
                <a:gd name="connsiteX20" fmla="*/ 658936 w 778701"/>
                <a:gd name="connsiteY20" fmla="*/ 523230 h 1136726"/>
                <a:gd name="connsiteX21" fmla="*/ 686755 w 778701"/>
                <a:gd name="connsiteY21" fmla="*/ 534338 h 1136726"/>
                <a:gd name="connsiteX22" fmla="*/ 692617 w 778701"/>
                <a:gd name="connsiteY22" fmla="*/ 533914 h 1136726"/>
                <a:gd name="connsiteX23" fmla="*/ 719466 w 778701"/>
                <a:gd name="connsiteY23" fmla="*/ 519409 h 1136726"/>
                <a:gd name="connsiteX24" fmla="*/ 735471 w 778701"/>
                <a:gd name="connsiteY24" fmla="*/ 551715 h 1136726"/>
                <a:gd name="connsiteX25" fmla="*/ 735471 w 778701"/>
                <a:gd name="connsiteY25" fmla="*/ 1114268 h 1136726"/>
                <a:gd name="connsiteX26" fmla="*/ 756808 w 778701"/>
                <a:gd name="connsiteY26" fmla="*/ 1136726 h 1136726"/>
                <a:gd name="connsiteX27" fmla="*/ 778702 w 778701"/>
                <a:gd name="connsiteY27" fmla="*/ 1114268 h 113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8701" h="1136726">
                  <a:moveTo>
                    <a:pt x="778138" y="551733"/>
                  </a:moveTo>
                  <a:cubicBezTo>
                    <a:pt x="778129" y="515544"/>
                    <a:pt x="756204" y="484519"/>
                    <a:pt x="724912" y="471166"/>
                  </a:cubicBezTo>
                  <a:cubicBezTo>
                    <a:pt x="680793" y="173824"/>
                    <a:pt x="617558" y="24753"/>
                    <a:pt x="526273" y="2706"/>
                  </a:cubicBezTo>
                  <a:cubicBezTo>
                    <a:pt x="507147" y="-1915"/>
                    <a:pt x="489320" y="-236"/>
                    <a:pt x="473373" y="4862"/>
                  </a:cubicBezTo>
                  <a:cubicBezTo>
                    <a:pt x="447036" y="44155"/>
                    <a:pt x="407833" y="73210"/>
                    <a:pt x="363875" y="73210"/>
                  </a:cubicBezTo>
                  <a:cubicBezTo>
                    <a:pt x="319922" y="73210"/>
                    <a:pt x="280718" y="44150"/>
                    <a:pt x="254373" y="4858"/>
                  </a:cubicBezTo>
                  <a:cubicBezTo>
                    <a:pt x="238435" y="-232"/>
                    <a:pt x="220612" y="-1911"/>
                    <a:pt x="201482" y="2710"/>
                  </a:cubicBezTo>
                  <a:cubicBezTo>
                    <a:pt x="108516" y="25158"/>
                    <a:pt x="44639" y="179235"/>
                    <a:pt x="419" y="487595"/>
                  </a:cubicBezTo>
                  <a:cubicBezTo>
                    <a:pt x="-2787" y="509976"/>
                    <a:pt x="12754" y="530717"/>
                    <a:pt x="35135" y="533928"/>
                  </a:cubicBezTo>
                  <a:cubicBezTo>
                    <a:pt x="37109" y="534209"/>
                    <a:pt x="39060" y="534352"/>
                    <a:pt x="40997" y="534352"/>
                  </a:cubicBezTo>
                  <a:cubicBezTo>
                    <a:pt x="61029" y="534352"/>
                    <a:pt x="78544" y="519627"/>
                    <a:pt x="81473" y="499221"/>
                  </a:cubicBezTo>
                  <a:cubicBezTo>
                    <a:pt x="126171" y="187477"/>
                    <a:pt x="182630" y="108627"/>
                    <a:pt x="208611" y="88706"/>
                  </a:cubicBezTo>
                  <a:cubicBezTo>
                    <a:pt x="198602" y="185265"/>
                    <a:pt x="195543" y="342035"/>
                    <a:pt x="194793" y="392483"/>
                  </a:cubicBezTo>
                  <a:cubicBezTo>
                    <a:pt x="214062" y="402064"/>
                    <a:pt x="280866" y="431954"/>
                    <a:pt x="363889" y="431954"/>
                  </a:cubicBezTo>
                  <a:cubicBezTo>
                    <a:pt x="446898" y="431954"/>
                    <a:pt x="513691" y="402069"/>
                    <a:pt x="532961" y="392483"/>
                  </a:cubicBezTo>
                  <a:cubicBezTo>
                    <a:pt x="532211" y="342124"/>
                    <a:pt x="529162" y="185797"/>
                    <a:pt x="519201" y="89197"/>
                  </a:cubicBezTo>
                  <a:cubicBezTo>
                    <a:pt x="543894" y="109203"/>
                    <a:pt x="599232" y="185833"/>
                    <a:pt x="643186" y="478179"/>
                  </a:cubicBezTo>
                  <a:cubicBezTo>
                    <a:pt x="619055" y="493770"/>
                    <a:pt x="603031" y="520852"/>
                    <a:pt x="603027" y="551732"/>
                  </a:cubicBezTo>
                  <a:cubicBezTo>
                    <a:pt x="603027" y="564121"/>
                    <a:pt x="613076" y="574171"/>
                    <a:pt x="625466" y="574171"/>
                  </a:cubicBezTo>
                  <a:cubicBezTo>
                    <a:pt x="637869" y="574171"/>
                    <a:pt x="647922" y="564121"/>
                    <a:pt x="647922" y="551732"/>
                  </a:cubicBezTo>
                  <a:cubicBezTo>
                    <a:pt x="647943" y="540753"/>
                    <a:pt x="652123" y="530794"/>
                    <a:pt x="658936" y="523230"/>
                  </a:cubicBezTo>
                  <a:cubicBezTo>
                    <a:pt x="666338" y="530137"/>
                    <a:pt x="676155" y="534338"/>
                    <a:pt x="686755" y="534338"/>
                  </a:cubicBezTo>
                  <a:cubicBezTo>
                    <a:pt x="688683" y="534338"/>
                    <a:pt x="690643" y="534195"/>
                    <a:pt x="692617" y="533914"/>
                  </a:cubicBezTo>
                  <a:cubicBezTo>
                    <a:pt x="703126" y="532404"/>
                    <a:pt x="713208" y="527003"/>
                    <a:pt x="719466" y="519409"/>
                  </a:cubicBezTo>
                  <a:cubicBezTo>
                    <a:pt x="728556" y="527226"/>
                    <a:pt x="735471" y="538781"/>
                    <a:pt x="735471" y="551715"/>
                  </a:cubicBezTo>
                  <a:lnTo>
                    <a:pt x="735471" y="1114268"/>
                  </a:lnTo>
                  <a:cubicBezTo>
                    <a:pt x="735471" y="1126657"/>
                    <a:pt x="744400" y="1136726"/>
                    <a:pt x="756808" y="1136726"/>
                  </a:cubicBezTo>
                  <a:cubicBezTo>
                    <a:pt x="769205" y="1136726"/>
                    <a:pt x="778702" y="1126669"/>
                    <a:pt x="778702" y="1114268"/>
                  </a:cubicBezTo>
                  <a:close/>
                </a:path>
              </a:pathLst>
            </a:custGeom>
            <a:grpFill/>
            <a:ln w="1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B3E"/>
                </a:solidFill>
                <a:effectLst/>
                <a:uLnTx/>
                <a:uFillTx/>
                <a:latin typeface="Arial" panose="020B0604020202020204"/>
                <a:ea typeface="+mn-ea"/>
                <a:cs typeface="+mn-cs"/>
              </a:endParaRPr>
            </a:p>
          </p:txBody>
        </p:sp>
      </p:grpSp>
      <p:pic>
        <p:nvPicPr>
          <p:cNvPr id="4" name="Picture 3" descr="A yellow and blue logo&#10;&#10;Description automatically generated">
            <a:extLst>
              <a:ext uri="{FF2B5EF4-FFF2-40B4-BE49-F238E27FC236}">
                <a16:creationId xmlns:a16="http://schemas.microsoft.com/office/drawing/2014/main" id="{C1E42A94-BF18-D2DA-5CC6-5E05CB073D70}"/>
              </a:ext>
            </a:extLst>
          </p:cNvPr>
          <p:cNvPicPr>
            <a:picLocks noChangeAspect="1"/>
          </p:cNvPicPr>
          <p:nvPr/>
        </p:nvPicPr>
        <p:blipFill>
          <a:blip r:embed="rId5">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30834045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1715D6-7BAE-511D-8265-E8330DB061D6}"/>
            </a:ext>
          </a:extLst>
        </p:cNvPr>
        <p:cNvGrpSpPr/>
        <p:nvPr/>
      </p:nvGrpSpPr>
      <p:grpSpPr>
        <a:xfrm>
          <a:off x="0" y="0"/>
          <a:ext cx="0" cy="0"/>
          <a:chOff x="0" y="0"/>
          <a:chExt cx="0" cy="0"/>
        </a:xfrm>
      </p:grpSpPr>
      <p:grpSp>
        <p:nvGrpSpPr>
          <p:cNvPr id="213" name="Graphic 8">
            <a:extLst>
              <a:ext uri="{FF2B5EF4-FFF2-40B4-BE49-F238E27FC236}">
                <a16:creationId xmlns:a16="http://schemas.microsoft.com/office/drawing/2014/main" id="{F6E9780E-4C21-85FC-C881-D1FD775D58C6}"/>
              </a:ext>
            </a:extLst>
          </p:cNvPr>
          <p:cNvGrpSpPr/>
          <p:nvPr/>
        </p:nvGrpSpPr>
        <p:grpSpPr>
          <a:xfrm>
            <a:off x="924287" y="1920613"/>
            <a:ext cx="9793584" cy="2528790"/>
            <a:chOff x="924287" y="1920613"/>
            <a:chExt cx="9793584" cy="2528790"/>
          </a:xfrm>
        </p:grpSpPr>
        <p:sp>
          <p:nvSpPr>
            <p:cNvPr id="214" name="Freeform: Shape 213">
              <a:extLst>
                <a:ext uri="{FF2B5EF4-FFF2-40B4-BE49-F238E27FC236}">
                  <a16:creationId xmlns:a16="http://schemas.microsoft.com/office/drawing/2014/main" id="{12C4A055-D4EA-80EF-D222-2BCC816E711A}"/>
                </a:ext>
              </a:extLst>
            </p:cNvPr>
            <p:cNvSpPr/>
            <p:nvPr/>
          </p:nvSpPr>
          <p:spPr>
            <a:xfrm>
              <a:off x="924287" y="2194568"/>
              <a:ext cx="9793584" cy="16942"/>
            </a:xfrm>
            <a:custGeom>
              <a:avLst/>
              <a:gdLst>
                <a:gd name="connsiteX0" fmla="*/ 0 w 9793584"/>
                <a:gd name="connsiteY0" fmla="*/ 0 h 16942"/>
                <a:gd name="connsiteX1" fmla="*/ 9793585 w 9793584"/>
                <a:gd name="connsiteY1" fmla="*/ 0 h 16942"/>
              </a:gdLst>
              <a:ahLst/>
              <a:cxnLst>
                <a:cxn ang="0">
                  <a:pos x="connsiteX0" y="connsiteY0"/>
                </a:cxn>
                <a:cxn ang="0">
                  <a:pos x="connsiteX1" y="connsiteY1"/>
                </a:cxn>
              </a:cxnLst>
              <a:rect l="l" t="t" r="r" b="b"/>
              <a:pathLst>
                <a:path w="9793584" h="16942">
                  <a:moveTo>
                    <a:pt x="0" y="0"/>
                  </a:moveTo>
                  <a:lnTo>
                    <a:pt x="9793585" y="0"/>
                  </a:lnTo>
                </a:path>
              </a:pathLst>
            </a:custGeom>
            <a:ln w="4232" cap="sq">
              <a:solidFill>
                <a:srgbClr val="231F20"/>
              </a:solid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B964C2DD-6AC3-6D34-69B0-379ECA470175}"/>
                </a:ext>
              </a:extLst>
            </p:cNvPr>
            <p:cNvSpPr/>
            <p:nvPr/>
          </p:nvSpPr>
          <p:spPr>
            <a:xfrm>
              <a:off x="924287" y="2480722"/>
              <a:ext cx="9793584" cy="16942"/>
            </a:xfrm>
            <a:custGeom>
              <a:avLst/>
              <a:gdLst>
                <a:gd name="connsiteX0" fmla="*/ 0 w 9793584"/>
                <a:gd name="connsiteY0" fmla="*/ 0 h 16942"/>
                <a:gd name="connsiteX1" fmla="*/ 9793585 w 9793584"/>
                <a:gd name="connsiteY1" fmla="*/ 0 h 16942"/>
              </a:gdLst>
              <a:ahLst/>
              <a:cxnLst>
                <a:cxn ang="0">
                  <a:pos x="connsiteX0" y="connsiteY0"/>
                </a:cxn>
                <a:cxn ang="0">
                  <a:pos x="connsiteX1" y="connsiteY1"/>
                </a:cxn>
              </a:cxnLst>
              <a:rect l="l" t="t" r="r" b="b"/>
              <a:pathLst>
                <a:path w="9793584" h="16942">
                  <a:moveTo>
                    <a:pt x="0" y="0"/>
                  </a:moveTo>
                  <a:lnTo>
                    <a:pt x="9793585" y="0"/>
                  </a:lnTo>
                </a:path>
              </a:pathLst>
            </a:custGeom>
            <a:ln w="4232" cap="sq">
              <a:solidFill>
                <a:srgbClr val="231F20"/>
              </a:solid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2B364624-2A8B-745F-701B-11FEAA84E242}"/>
                </a:ext>
              </a:extLst>
            </p:cNvPr>
            <p:cNvSpPr/>
            <p:nvPr/>
          </p:nvSpPr>
          <p:spPr>
            <a:xfrm>
              <a:off x="924287" y="2766706"/>
              <a:ext cx="9793584" cy="16942"/>
            </a:xfrm>
            <a:custGeom>
              <a:avLst/>
              <a:gdLst>
                <a:gd name="connsiteX0" fmla="*/ 0 w 9793584"/>
                <a:gd name="connsiteY0" fmla="*/ 0 h 16942"/>
                <a:gd name="connsiteX1" fmla="*/ 9793585 w 9793584"/>
                <a:gd name="connsiteY1" fmla="*/ 0 h 16942"/>
              </a:gdLst>
              <a:ahLst/>
              <a:cxnLst>
                <a:cxn ang="0">
                  <a:pos x="connsiteX0" y="connsiteY0"/>
                </a:cxn>
                <a:cxn ang="0">
                  <a:pos x="connsiteX1" y="connsiteY1"/>
                </a:cxn>
              </a:cxnLst>
              <a:rect l="l" t="t" r="r" b="b"/>
              <a:pathLst>
                <a:path w="9793584" h="16942">
                  <a:moveTo>
                    <a:pt x="0" y="0"/>
                  </a:moveTo>
                  <a:lnTo>
                    <a:pt x="9793585" y="0"/>
                  </a:lnTo>
                </a:path>
              </a:pathLst>
            </a:custGeom>
            <a:ln w="4232" cap="sq">
              <a:solidFill>
                <a:srgbClr val="231F20"/>
              </a:solid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9D393D12-4F56-4C51-6283-A30C55DECB30}"/>
                </a:ext>
              </a:extLst>
            </p:cNvPr>
            <p:cNvSpPr/>
            <p:nvPr/>
          </p:nvSpPr>
          <p:spPr>
            <a:xfrm>
              <a:off x="924287" y="3052859"/>
              <a:ext cx="9793584" cy="16942"/>
            </a:xfrm>
            <a:custGeom>
              <a:avLst/>
              <a:gdLst>
                <a:gd name="connsiteX0" fmla="*/ 0 w 9793584"/>
                <a:gd name="connsiteY0" fmla="*/ 0 h 16942"/>
                <a:gd name="connsiteX1" fmla="*/ 9793585 w 9793584"/>
                <a:gd name="connsiteY1" fmla="*/ 0 h 16942"/>
              </a:gdLst>
              <a:ahLst/>
              <a:cxnLst>
                <a:cxn ang="0">
                  <a:pos x="connsiteX0" y="connsiteY0"/>
                </a:cxn>
                <a:cxn ang="0">
                  <a:pos x="connsiteX1" y="connsiteY1"/>
                </a:cxn>
              </a:cxnLst>
              <a:rect l="l" t="t" r="r" b="b"/>
              <a:pathLst>
                <a:path w="9793584" h="16942">
                  <a:moveTo>
                    <a:pt x="0" y="0"/>
                  </a:moveTo>
                  <a:lnTo>
                    <a:pt x="9793585" y="0"/>
                  </a:lnTo>
                </a:path>
              </a:pathLst>
            </a:custGeom>
            <a:ln w="4232" cap="sq">
              <a:solidFill>
                <a:srgbClr val="231F20"/>
              </a:solid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A604AEC3-463B-36A3-A491-5674E6C50CC8}"/>
                </a:ext>
              </a:extLst>
            </p:cNvPr>
            <p:cNvSpPr/>
            <p:nvPr/>
          </p:nvSpPr>
          <p:spPr>
            <a:xfrm>
              <a:off x="924287" y="3338843"/>
              <a:ext cx="9793584" cy="16942"/>
            </a:xfrm>
            <a:custGeom>
              <a:avLst/>
              <a:gdLst>
                <a:gd name="connsiteX0" fmla="*/ 0 w 9793584"/>
                <a:gd name="connsiteY0" fmla="*/ 0 h 16942"/>
                <a:gd name="connsiteX1" fmla="*/ 9793585 w 9793584"/>
                <a:gd name="connsiteY1" fmla="*/ 0 h 16942"/>
              </a:gdLst>
              <a:ahLst/>
              <a:cxnLst>
                <a:cxn ang="0">
                  <a:pos x="connsiteX0" y="connsiteY0"/>
                </a:cxn>
                <a:cxn ang="0">
                  <a:pos x="connsiteX1" y="connsiteY1"/>
                </a:cxn>
              </a:cxnLst>
              <a:rect l="l" t="t" r="r" b="b"/>
              <a:pathLst>
                <a:path w="9793584" h="16942">
                  <a:moveTo>
                    <a:pt x="0" y="0"/>
                  </a:moveTo>
                  <a:lnTo>
                    <a:pt x="9793585" y="0"/>
                  </a:lnTo>
                </a:path>
              </a:pathLst>
            </a:custGeom>
            <a:ln w="4232" cap="sq">
              <a:solidFill>
                <a:srgbClr val="231F20"/>
              </a:solid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3D7FCE04-6BFD-D41C-E147-A408EC8B5242}"/>
                </a:ext>
              </a:extLst>
            </p:cNvPr>
            <p:cNvSpPr/>
            <p:nvPr/>
          </p:nvSpPr>
          <p:spPr>
            <a:xfrm>
              <a:off x="924287" y="3608055"/>
              <a:ext cx="9793584" cy="16942"/>
            </a:xfrm>
            <a:custGeom>
              <a:avLst/>
              <a:gdLst>
                <a:gd name="connsiteX0" fmla="*/ 0 w 9793584"/>
                <a:gd name="connsiteY0" fmla="*/ 0 h 16942"/>
                <a:gd name="connsiteX1" fmla="*/ 9793585 w 9793584"/>
                <a:gd name="connsiteY1" fmla="*/ 0 h 16942"/>
              </a:gdLst>
              <a:ahLst/>
              <a:cxnLst>
                <a:cxn ang="0">
                  <a:pos x="connsiteX0" y="connsiteY0"/>
                </a:cxn>
                <a:cxn ang="0">
                  <a:pos x="connsiteX1" y="connsiteY1"/>
                </a:cxn>
              </a:cxnLst>
              <a:rect l="l" t="t" r="r" b="b"/>
              <a:pathLst>
                <a:path w="9793584" h="16942">
                  <a:moveTo>
                    <a:pt x="0" y="0"/>
                  </a:moveTo>
                  <a:lnTo>
                    <a:pt x="9793585" y="0"/>
                  </a:lnTo>
                </a:path>
              </a:pathLst>
            </a:custGeom>
            <a:ln w="4232" cap="sq">
              <a:solidFill>
                <a:srgbClr val="231F20"/>
              </a:solid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92F1F1BD-FD8F-6E41-E349-7841BB481839}"/>
                </a:ext>
              </a:extLst>
            </p:cNvPr>
            <p:cNvSpPr/>
            <p:nvPr/>
          </p:nvSpPr>
          <p:spPr>
            <a:xfrm>
              <a:off x="924287" y="3894208"/>
              <a:ext cx="9793584" cy="16942"/>
            </a:xfrm>
            <a:custGeom>
              <a:avLst/>
              <a:gdLst>
                <a:gd name="connsiteX0" fmla="*/ 0 w 9793584"/>
                <a:gd name="connsiteY0" fmla="*/ 0 h 16942"/>
                <a:gd name="connsiteX1" fmla="*/ 9793585 w 9793584"/>
                <a:gd name="connsiteY1" fmla="*/ 0 h 16942"/>
              </a:gdLst>
              <a:ahLst/>
              <a:cxnLst>
                <a:cxn ang="0">
                  <a:pos x="connsiteX0" y="connsiteY0"/>
                </a:cxn>
                <a:cxn ang="0">
                  <a:pos x="connsiteX1" y="connsiteY1"/>
                </a:cxn>
              </a:cxnLst>
              <a:rect l="l" t="t" r="r" b="b"/>
              <a:pathLst>
                <a:path w="9793584" h="16942">
                  <a:moveTo>
                    <a:pt x="0" y="0"/>
                  </a:moveTo>
                  <a:lnTo>
                    <a:pt x="9793585" y="0"/>
                  </a:lnTo>
                </a:path>
              </a:pathLst>
            </a:custGeom>
            <a:ln w="4232" cap="sq">
              <a:solidFill>
                <a:srgbClr val="231F20"/>
              </a:solid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8D5B7029-8157-127D-B28D-48073032ED7C}"/>
                </a:ext>
              </a:extLst>
            </p:cNvPr>
            <p:cNvSpPr/>
            <p:nvPr/>
          </p:nvSpPr>
          <p:spPr>
            <a:xfrm>
              <a:off x="924287" y="4180192"/>
              <a:ext cx="9793584" cy="16942"/>
            </a:xfrm>
            <a:custGeom>
              <a:avLst/>
              <a:gdLst>
                <a:gd name="connsiteX0" fmla="*/ 0 w 9793584"/>
                <a:gd name="connsiteY0" fmla="*/ 0 h 16942"/>
                <a:gd name="connsiteX1" fmla="*/ 9793585 w 9793584"/>
                <a:gd name="connsiteY1" fmla="*/ 0 h 16942"/>
              </a:gdLst>
              <a:ahLst/>
              <a:cxnLst>
                <a:cxn ang="0">
                  <a:pos x="connsiteX0" y="connsiteY0"/>
                </a:cxn>
                <a:cxn ang="0">
                  <a:pos x="connsiteX1" y="connsiteY1"/>
                </a:cxn>
              </a:cxnLst>
              <a:rect l="l" t="t" r="r" b="b"/>
              <a:pathLst>
                <a:path w="9793584" h="16942">
                  <a:moveTo>
                    <a:pt x="0" y="0"/>
                  </a:moveTo>
                  <a:lnTo>
                    <a:pt x="9793585" y="0"/>
                  </a:lnTo>
                </a:path>
              </a:pathLst>
            </a:custGeom>
            <a:ln w="4232" cap="sq">
              <a:solidFill>
                <a:srgbClr val="231F20"/>
              </a:solid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C9897D67-2A1B-9544-803B-77464D98F814}"/>
                </a:ext>
              </a:extLst>
            </p:cNvPr>
            <p:cNvSpPr/>
            <p:nvPr/>
          </p:nvSpPr>
          <p:spPr>
            <a:xfrm>
              <a:off x="924287" y="4449403"/>
              <a:ext cx="9793584" cy="16942"/>
            </a:xfrm>
            <a:custGeom>
              <a:avLst/>
              <a:gdLst>
                <a:gd name="connsiteX0" fmla="*/ 0 w 9793584"/>
                <a:gd name="connsiteY0" fmla="*/ 0 h 16942"/>
                <a:gd name="connsiteX1" fmla="*/ 9793585 w 9793584"/>
                <a:gd name="connsiteY1" fmla="*/ 0 h 16942"/>
              </a:gdLst>
              <a:ahLst/>
              <a:cxnLst>
                <a:cxn ang="0">
                  <a:pos x="connsiteX0" y="connsiteY0"/>
                </a:cxn>
                <a:cxn ang="0">
                  <a:pos x="connsiteX1" y="connsiteY1"/>
                </a:cxn>
              </a:cxnLst>
              <a:rect l="l" t="t" r="r" b="b"/>
              <a:pathLst>
                <a:path w="9793584" h="16942">
                  <a:moveTo>
                    <a:pt x="0" y="0"/>
                  </a:moveTo>
                  <a:lnTo>
                    <a:pt x="9793585" y="0"/>
                  </a:lnTo>
                </a:path>
              </a:pathLst>
            </a:custGeom>
            <a:ln w="4232" cap="sq">
              <a:solidFill>
                <a:srgbClr val="231F20"/>
              </a:solid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03CA498E-43B4-1D4A-AF0C-09FE30563676}"/>
                </a:ext>
              </a:extLst>
            </p:cNvPr>
            <p:cNvSpPr/>
            <p:nvPr/>
          </p:nvSpPr>
          <p:spPr>
            <a:xfrm>
              <a:off x="1610106" y="1920613"/>
              <a:ext cx="16942" cy="96062"/>
            </a:xfrm>
            <a:custGeom>
              <a:avLst/>
              <a:gdLst>
                <a:gd name="connsiteX0" fmla="*/ 0 w 16942"/>
                <a:gd name="connsiteY0" fmla="*/ 0 h 96062"/>
                <a:gd name="connsiteX1" fmla="*/ 0 w 16942"/>
                <a:gd name="connsiteY1" fmla="*/ 96062 h 96062"/>
              </a:gdLst>
              <a:ahLst/>
              <a:cxnLst>
                <a:cxn ang="0">
                  <a:pos x="connsiteX0" y="connsiteY0"/>
                </a:cxn>
                <a:cxn ang="0">
                  <a:pos x="connsiteX1" y="connsiteY1"/>
                </a:cxn>
              </a:cxnLst>
              <a:rect l="l" t="t" r="r" b="b"/>
              <a:pathLst>
                <a:path w="16942" h="96062">
                  <a:moveTo>
                    <a:pt x="0" y="0"/>
                  </a:moveTo>
                  <a:lnTo>
                    <a:pt x="0" y="96062"/>
                  </a:lnTo>
                </a:path>
              </a:pathLst>
            </a:custGeom>
            <a:ln w="13542" cap="flat">
              <a:solidFill>
                <a:srgbClr val="231F20"/>
              </a:solid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1E27337F-AC42-404F-BF49-8F70F106C1FE}"/>
                </a:ext>
              </a:extLst>
            </p:cNvPr>
            <p:cNvSpPr/>
            <p:nvPr/>
          </p:nvSpPr>
          <p:spPr>
            <a:xfrm>
              <a:off x="2264582" y="1920613"/>
              <a:ext cx="16942" cy="96062"/>
            </a:xfrm>
            <a:custGeom>
              <a:avLst/>
              <a:gdLst>
                <a:gd name="connsiteX0" fmla="*/ 0 w 16942"/>
                <a:gd name="connsiteY0" fmla="*/ 0 h 96062"/>
                <a:gd name="connsiteX1" fmla="*/ 0 w 16942"/>
                <a:gd name="connsiteY1" fmla="*/ 96062 h 96062"/>
              </a:gdLst>
              <a:ahLst/>
              <a:cxnLst>
                <a:cxn ang="0">
                  <a:pos x="connsiteX0" y="connsiteY0"/>
                </a:cxn>
                <a:cxn ang="0">
                  <a:pos x="connsiteX1" y="connsiteY1"/>
                </a:cxn>
              </a:cxnLst>
              <a:rect l="l" t="t" r="r" b="b"/>
              <a:pathLst>
                <a:path w="16942" h="96062">
                  <a:moveTo>
                    <a:pt x="0" y="0"/>
                  </a:moveTo>
                  <a:lnTo>
                    <a:pt x="0" y="96062"/>
                  </a:lnTo>
                </a:path>
              </a:pathLst>
            </a:custGeom>
            <a:ln w="13542" cap="flat">
              <a:solidFill>
                <a:srgbClr val="231F20"/>
              </a:solid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7174C789-6983-B625-8B52-EEB1D3CF0F3E}"/>
                </a:ext>
              </a:extLst>
            </p:cNvPr>
            <p:cNvSpPr/>
            <p:nvPr/>
          </p:nvSpPr>
          <p:spPr>
            <a:xfrm>
              <a:off x="2919057" y="1920613"/>
              <a:ext cx="16942" cy="96062"/>
            </a:xfrm>
            <a:custGeom>
              <a:avLst/>
              <a:gdLst>
                <a:gd name="connsiteX0" fmla="*/ 0 w 16942"/>
                <a:gd name="connsiteY0" fmla="*/ 0 h 96062"/>
                <a:gd name="connsiteX1" fmla="*/ 0 w 16942"/>
                <a:gd name="connsiteY1" fmla="*/ 96062 h 96062"/>
              </a:gdLst>
              <a:ahLst/>
              <a:cxnLst>
                <a:cxn ang="0">
                  <a:pos x="connsiteX0" y="connsiteY0"/>
                </a:cxn>
                <a:cxn ang="0">
                  <a:pos x="connsiteX1" y="connsiteY1"/>
                </a:cxn>
              </a:cxnLst>
              <a:rect l="l" t="t" r="r" b="b"/>
              <a:pathLst>
                <a:path w="16942" h="96062">
                  <a:moveTo>
                    <a:pt x="0" y="0"/>
                  </a:moveTo>
                  <a:lnTo>
                    <a:pt x="0" y="96062"/>
                  </a:lnTo>
                </a:path>
              </a:pathLst>
            </a:custGeom>
            <a:ln w="13542" cap="flat">
              <a:solidFill>
                <a:srgbClr val="231F20"/>
              </a:solid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EC80B848-C040-464C-8CCF-AA191D9130AC}"/>
                </a:ext>
              </a:extLst>
            </p:cNvPr>
            <p:cNvSpPr/>
            <p:nvPr/>
          </p:nvSpPr>
          <p:spPr>
            <a:xfrm>
              <a:off x="3573702" y="1920613"/>
              <a:ext cx="16942" cy="96062"/>
            </a:xfrm>
            <a:custGeom>
              <a:avLst/>
              <a:gdLst>
                <a:gd name="connsiteX0" fmla="*/ 0 w 16942"/>
                <a:gd name="connsiteY0" fmla="*/ 0 h 96062"/>
                <a:gd name="connsiteX1" fmla="*/ 0 w 16942"/>
                <a:gd name="connsiteY1" fmla="*/ 96062 h 96062"/>
              </a:gdLst>
              <a:ahLst/>
              <a:cxnLst>
                <a:cxn ang="0">
                  <a:pos x="connsiteX0" y="connsiteY0"/>
                </a:cxn>
                <a:cxn ang="0">
                  <a:pos x="connsiteX1" y="connsiteY1"/>
                </a:cxn>
              </a:cxnLst>
              <a:rect l="l" t="t" r="r" b="b"/>
              <a:pathLst>
                <a:path w="16942" h="96062">
                  <a:moveTo>
                    <a:pt x="0" y="0"/>
                  </a:moveTo>
                  <a:lnTo>
                    <a:pt x="0" y="96062"/>
                  </a:lnTo>
                </a:path>
              </a:pathLst>
            </a:custGeom>
            <a:ln w="13542" cap="flat">
              <a:solidFill>
                <a:srgbClr val="231F20"/>
              </a:solid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3B76A93A-FD5D-0FB8-89BA-3372540734B4}"/>
                </a:ext>
              </a:extLst>
            </p:cNvPr>
            <p:cNvSpPr/>
            <p:nvPr/>
          </p:nvSpPr>
          <p:spPr>
            <a:xfrm>
              <a:off x="4228178" y="1920613"/>
              <a:ext cx="16942" cy="96062"/>
            </a:xfrm>
            <a:custGeom>
              <a:avLst/>
              <a:gdLst>
                <a:gd name="connsiteX0" fmla="*/ 0 w 16942"/>
                <a:gd name="connsiteY0" fmla="*/ 0 h 96062"/>
                <a:gd name="connsiteX1" fmla="*/ 0 w 16942"/>
                <a:gd name="connsiteY1" fmla="*/ 96062 h 96062"/>
              </a:gdLst>
              <a:ahLst/>
              <a:cxnLst>
                <a:cxn ang="0">
                  <a:pos x="connsiteX0" y="connsiteY0"/>
                </a:cxn>
                <a:cxn ang="0">
                  <a:pos x="connsiteX1" y="connsiteY1"/>
                </a:cxn>
              </a:cxnLst>
              <a:rect l="l" t="t" r="r" b="b"/>
              <a:pathLst>
                <a:path w="16942" h="96062">
                  <a:moveTo>
                    <a:pt x="0" y="0"/>
                  </a:moveTo>
                  <a:lnTo>
                    <a:pt x="0" y="96062"/>
                  </a:lnTo>
                </a:path>
              </a:pathLst>
            </a:custGeom>
            <a:ln w="13542" cap="flat">
              <a:solidFill>
                <a:srgbClr val="231F20"/>
              </a:solid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9FD1AF94-74D2-8217-6700-803E9109148D}"/>
                </a:ext>
              </a:extLst>
            </p:cNvPr>
            <p:cNvSpPr/>
            <p:nvPr/>
          </p:nvSpPr>
          <p:spPr>
            <a:xfrm>
              <a:off x="4882823" y="1920613"/>
              <a:ext cx="16942" cy="96062"/>
            </a:xfrm>
            <a:custGeom>
              <a:avLst/>
              <a:gdLst>
                <a:gd name="connsiteX0" fmla="*/ 0 w 16942"/>
                <a:gd name="connsiteY0" fmla="*/ 0 h 96062"/>
                <a:gd name="connsiteX1" fmla="*/ 0 w 16942"/>
                <a:gd name="connsiteY1" fmla="*/ 96062 h 96062"/>
              </a:gdLst>
              <a:ahLst/>
              <a:cxnLst>
                <a:cxn ang="0">
                  <a:pos x="connsiteX0" y="connsiteY0"/>
                </a:cxn>
                <a:cxn ang="0">
                  <a:pos x="connsiteX1" y="connsiteY1"/>
                </a:cxn>
              </a:cxnLst>
              <a:rect l="l" t="t" r="r" b="b"/>
              <a:pathLst>
                <a:path w="16942" h="96062">
                  <a:moveTo>
                    <a:pt x="0" y="0"/>
                  </a:moveTo>
                  <a:lnTo>
                    <a:pt x="0" y="96062"/>
                  </a:lnTo>
                </a:path>
              </a:pathLst>
            </a:custGeom>
            <a:ln w="13542" cap="flat">
              <a:solidFill>
                <a:srgbClr val="231F20"/>
              </a:solid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E17806EB-C0A2-4E8A-F5C9-4964F47751D0}"/>
                </a:ext>
              </a:extLst>
            </p:cNvPr>
            <p:cNvSpPr/>
            <p:nvPr/>
          </p:nvSpPr>
          <p:spPr>
            <a:xfrm>
              <a:off x="5537298" y="1920613"/>
              <a:ext cx="16942" cy="96062"/>
            </a:xfrm>
            <a:custGeom>
              <a:avLst/>
              <a:gdLst>
                <a:gd name="connsiteX0" fmla="*/ 0 w 16942"/>
                <a:gd name="connsiteY0" fmla="*/ 0 h 96062"/>
                <a:gd name="connsiteX1" fmla="*/ 0 w 16942"/>
                <a:gd name="connsiteY1" fmla="*/ 96062 h 96062"/>
              </a:gdLst>
              <a:ahLst/>
              <a:cxnLst>
                <a:cxn ang="0">
                  <a:pos x="connsiteX0" y="connsiteY0"/>
                </a:cxn>
                <a:cxn ang="0">
                  <a:pos x="connsiteX1" y="connsiteY1"/>
                </a:cxn>
              </a:cxnLst>
              <a:rect l="l" t="t" r="r" b="b"/>
              <a:pathLst>
                <a:path w="16942" h="96062">
                  <a:moveTo>
                    <a:pt x="0" y="0"/>
                  </a:moveTo>
                  <a:lnTo>
                    <a:pt x="0" y="96062"/>
                  </a:lnTo>
                </a:path>
              </a:pathLst>
            </a:custGeom>
            <a:ln w="13542" cap="flat">
              <a:solidFill>
                <a:srgbClr val="231F20"/>
              </a:solid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DE2E55E6-CE91-EDB3-ACF2-F04315CCD815}"/>
                </a:ext>
              </a:extLst>
            </p:cNvPr>
            <p:cNvSpPr/>
            <p:nvPr/>
          </p:nvSpPr>
          <p:spPr>
            <a:xfrm>
              <a:off x="6181948" y="1920613"/>
              <a:ext cx="16942" cy="96062"/>
            </a:xfrm>
            <a:custGeom>
              <a:avLst/>
              <a:gdLst>
                <a:gd name="connsiteX0" fmla="*/ 0 w 16942"/>
                <a:gd name="connsiteY0" fmla="*/ 0 h 96062"/>
                <a:gd name="connsiteX1" fmla="*/ 0 w 16942"/>
                <a:gd name="connsiteY1" fmla="*/ 96062 h 96062"/>
              </a:gdLst>
              <a:ahLst/>
              <a:cxnLst>
                <a:cxn ang="0">
                  <a:pos x="connsiteX0" y="connsiteY0"/>
                </a:cxn>
                <a:cxn ang="0">
                  <a:pos x="connsiteX1" y="connsiteY1"/>
                </a:cxn>
              </a:cxnLst>
              <a:rect l="l" t="t" r="r" b="b"/>
              <a:pathLst>
                <a:path w="16942" h="96062">
                  <a:moveTo>
                    <a:pt x="0" y="0"/>
                  </a:moveTo>
                  <a:lnTo>
                    <a:pt x="0" y="96062"/>
                  </a:lnTo>
                </a:path>
              </a:pathLst>
            </a:custGeom>
            <a:ln w="13542" cap="flat">
              <a:solidFill>
                <a:srgbClr val="231F20"/>
              </a:solid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9FB9DD5B-0289-A748-02BA-824EAD2C42EA}"/>
                </a:ext>
              </a:extLst>
            </p:cNvPr>
            <p:cNvSpPr/>
            <p:nvPr/>
          </p:nvSpPr>
          <p:spPr>
            <a:xfrm>
              <a:off x="6839642" y="1920613"/>
              <a:ext cx="16942" cy="96062"/>
            </a:xfrm>
            <a:custGeom>
              <a:avLst/>
              <a:gdLst>
                <a:gd name="connsiteX0" fmla="*/ 0 w 16942"/>
                <a:gd name="connsiteY0" fmla="*/ 0 h 96062"/>
                <a:gd name="connsiteX1" fmla="*/ 0 w 16942"/>
                <a:gd name="connsiteY1" fmla="*/ 96062 h 96062"/>
              </a:gdLst>
              <a:ahLst/>
              <a:cxnLst>
                <a:cxn ang="0">
                  <a:pos x="connsiteX0" y="connsiteY0"/>
                </a:cxn>
                <a:cxn ang="0">
                  <a:pos x="connsiteX1" y="connsiteY1"/>
                </a:cxn>
              </a:cxnLst>
              <a:rect l="l" t="t" r="r" b="b"/>
              <a:pathLst>
                <a:path w="16942" h="96062">
                  <a:moveTo>
                    <a:pt x="0" y="0"/>
                  </a:moveTo>
                  <a:lnTo>
                    <a:pt x="0" y="96062"/>
                  </a:lnTo>
                </a:path>
              </a:pathLst>
            </a:custGeom>
            <a:ln w="13542" cap="flat">
              <a:solidFill>
                <a:srgbClr val="231F20"/>
              </a:solid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8BFA7E98-60EA-3A57-1238-0F3E9DBA8B25}"/>
                </a:ext>
              </a:extLst>
            </p:cNvPr>
            <p:cNvSpPr/>
            <p:nvPr/>
          </p:nvSpPr>
          <p:spPr>
            <a:xfrm>
              <a:off x="7489543" y="1920613"/>
              <a:ext cx="16942" cy="96062"/>
            </a:xfrm>
            <a:custGeom>
              <a:avLst/>
              <a:gdLst>
                <a:gd name="connsiteX0" fmla="*/ 0 w 16942"/>
                <a:gd name="connsiteY0" fmla="*/ 0 h 96062"/>
                <a:gd name="connsiteX1" fmla="*/ 0 w 16942"/>
                <a:gd name="connsiteY1" fmla="*/ 96062 h 96062"/>
              </a:gdLst>
              <a:ahLst/>
              <a:cxnLst>
                <a:cxn ang="0">
                  <a:pos x="connsiteX0" y="connsiteY0"/>
                </a:cxn>
                <a:cxn ang="0">
                  <a:pos x="connsiteX1" y="connsiteY1"/>
                </a:cxn>
              </a:cxnLst>
              <a:rect l="l" t="t" r="r" b="b"/>
              <a:pathLst>
                <a:path w="16942" h="96062">
                  <a:moveTo>
                    <a:pt x="0" y="0"/>
                  </a:moveTo>
                  <a:lnTo>
                    <a:pt x="0" y="96062"/>
                  </a:lnTo>
                </a:path>
              </a:pathLst>
            </a:custGeom>
            <a:ln w="13542" cap="flat">
              <a:solidFill>
                <a:srgbClr val="231F20"/>
              </a:solid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168C9413-1A11-01A5-A533-23A0736042EB}"/>
                </a:ext>
              </a:extLst>
            </p:cNvPr>
            <p:cNvSpPr/>
            <p:nvPr/>
          </p:nvSpPr>
          <p:spPr>
            <a:xfrm>
              <a:off x="8144188" y="1920613"/>
              <a:ext cx="16942" cy="96062"/>
            </a:xfrm>
            <a:custGeom>
              <a:avLst/>
              <a:gdLst>
                <a:gd name="connsiteX0" fmla="*/ 0 w 16942"/>
                <a:gd name="connsiteY0" fmla="*/ 0 h 96062"/>
                <a:gd name="connsiteX1" fmla="*/ 0 w 16942"/>
                <a:gd name="connsiteY1" fmla="*/ 96062 h 96062"/>
              </a:gdLst>
              <a:ahLst/>
              <a:cxnLst>
                <a:cxn ang="0">
                  <a:pos x="connsiteX0" y="connsiteY0"/>
                </a:cxn>
                <a:cxn ang="0">
                  <a:pos x="connsiteX1" y="connsiteY1"/>
                </a:cxn>
              </a:cxnLst>
              <a:rect l="l" t="t" r="r" b="b"/>
              <a:pathLst>
                <a:path w="16942" h="96062">
                  <a:moveTo>
                    <a:pt x="0" y="0"/>
                  </a:moveTo>
                  <a:lnTo>
                    <a:pt x="0" y="96062"/>
                  </a:lnTo>
                </a:path>
              </a:pathLst>
            </a:custGeom>
            <a:ln w="13542" cap="flat">
              <a:solidFill>
                <a:srgbClr val="231F20"/>
              </a:solid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6BDB9AEB-02A1-E426-814B-7570BFE6A7C2}"/>
                </a:ext>
              </a:extLst>
            </p:cNvPr>
            <p:cNvSpPr/>
            <p:nvPr/>
          </p:nvSpPr>
          <p:spPr>
            <a:xfrm>
              <a:off x="8798664" y="1920613"/>
              <a:ext cx="16942" cy="96062"/>
            </a:xfrm>
            <a:custGeom>
              <a:avLst/>
              <a:gdLst>
                <a:gd name="connsiteX0" fmla="*/ 0 w 16942"/>
                <a:gd name="connsiteY0" fmla="*/ 0 h 96062"/>
                <a:gd name="connsiteX1" fmla="*/ 0 w 16942"/>
                <a:gd name="connsiteY1" fmla="*/ 96062 h 96062"/>
              </a:gdLst>
              <a:ahLst/>
              <a:cxnLst>
                <a:cxn ang="0">
                  <a:pos x="connsiteX0" y="connsiteY0"/>
                </a:cxn>
                <a:cxn ang="0">
                  <a:pos x="connsiteX1" y="connsiteY1"/>
                </a:cxn>
              </a:cxnLst>
              <a:rect l="l" t="t" r="r" b="b"/>
              <a:pathLst>
                <a:path w="16942" h="96062">
                  <a:moveTo>
                    <a:pt x="0" y="0"/>
                  </a:moveTo>
                  <a:lnTo>
                    <a:pt x="0" y="96062"/>
                  </a:lnTo>
                </a:path>
              </a:pathLst>
            </a:custGeom>
            <a:ln w="13542" cap="flat">
              <a:solidFill>
                <a:srgbClr val="231F20"/>
              </a:solid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2F73E4A7-A68A-4FCB-6010-F067CA73E39A}"/>
                </a:ext>
              </a:extLst>
            </p:cNvPr>
            <p:cNvSpPr/>
            <p:nvPr/>
          </p:nvSpPr>
          <p:spPr>
            <a:xfrm>
              <a:off x="9453309" y="1920613"/>
              <a:ext cx="16942" cy="96062"/>
            </a:xfrm>
            <a:custGeom>
              <a:avLst/>
              <a:gdLst>
                <a:gd name="connsiteX0" fmla="*/ 0 w 16942"/>
                <a:gd name="connsiteY0" fmla="*/ 0 h 96062"/>
                <a:gd name="connsiteX1" fmla="*/ 0 w 16942"/>
                <a:gd name="connsiteY1" fmla="*/ 96062 h 96062"/>
              </a:gdLst>
              <a:ahLst/>
              <a:cxnLst>
                <a:cxn ang="0">
                  <a:pos x="connsiteX0" y="connsiteY0"/>
                </a:cxn>
                <a:cxn ang="0">
                  <a:pos x="connsiteX1" y="connsiteY1"/>
                </a:cxn>
              </a:cxnLst>
              <a:rect l="l" t="t" r="r" b="b"/>
              <a:pathLst>
                <a:path w="16942" h="96062">
                  <a:moveTo>
                    <a:pt x="0" y="0"/>
                  </a:moveTo>
                  <a:lnTo>
                    <a:pt x="0" y="96062"/>
                  </a:lnTo>
                </a:path>
              </a:pathLst>
            </a:custGeom>
            <a:ln w="13542" cap="flat">
              <a:solidFill>
                <a:srgbClr val="231F20"/>
              </a:solidFill>
              <a:prstDash val="solid"/>
              <a:miter/>
            </a:ln>
          </p:spPr>
          <p:txBody>
            <a:bodyPr rtlCol="0" anchor="ctr"/>
            <a:lstStyle/>
            <a:p>
              <a:endParaRPr lang="en-US"/>
            </a:p>
          </p:txBody>
        </p:sp>
        <p:sp>
          <p:nvSpPr>
            <p:cNvPr id="236" name="Freeform: Shape 235">
              <a:extLst>
                <a:ext uri="{FF2B5EF4-FFF2-40B4-BE49-F238E27FC236}">
                  <a16:creationId xmlns:a16="http://schemas.microsoft.com/office/drawing/2014/main" id="{A6748759-2B77-A5B6-D1DC-D7E0E9E630F1}"/>
                </a:ext>
              </a:extLst>
            </p:cNvPr>
            <p:cNvSpPr/>
            <p:nvPr/>
          </p:nvSpPr>
          <p:spPr>
            <a:xfrm>
              <a:off x="10107785" y="1920613"/>
              <a:ext cx="16942" cy="96062"/>
            </a:xfrm>
            <a:custGeom>
              <a:avLst/>
              <a:gdLst>
                <a:gd name="connsiteX0" fmla="*/ 0 w 16942"/>
                <a:gd name="connsiteY0" fmla="*/ 0 h 96062"/>
                <a:gd name="connsiteX1" fmla="*/ 0 w 16942"/>
                <a:gd name="connsiteY1" fmla="*/ 96062 h 96062"/>
              </a:gdLst>
              <a:ahLst/>
              <a:cxnLst>
                <a:cxn ang="0">
                  <a:pos x="connsiteX0" y="connsiteY0"/>
                </a:cxn>
                <a:cxn ang="0">
                  <a:pos x="connsiteX1" y="connsiteY1"/>
                </a:cxn>
              </a:cxnLst>
              <a:rect l="l" t="t" r="r" b="b"/>
              <a:pathLst>
                <a:path w="16942" h="96062">
                  <a:moveTo>
                    <a:pt x="0" y="0"/>
                  </a:moveTo>
                  <a:lnTo>
                    <a:pt x="0" y="96062"/>
                  </a:lnTo>
                </a:path>
              </a:pathLst>
            </a:custGeom>
            <a:ln w="13542" cap="flat">
              <a:solidFill>
                <a:srgbClr val="231F20"/>
              </a:solidFill>
              <a:prstDash val="solid"/>
              <a:miter/>
            </a:ln>
          </p:spPr>
          <p:txBody>
            <a:bodyPr rtlCol="0" anchor="ctr"/>
            <a:lstStyle/>
            <a:p>
              <a:endParaRPr lang="en-US"/>
            </a:p>
          </p:txBody>
        </p:sp>
      </p:grpSp>
      <p:grpSp>
        <p:nvGrpSpPr>
          <p:cNvPr id="237" name="Graphic 8">
            <a:extLst>
              <a:ext uri="{FF2B5EF4-FFF2-40B4-BE49-F238E27FC236}">
                <a16:creationId xmlns:a16="http://schemas.microsoft.com/office/drawing/2014/main" id="{B6F5B588-3860-07A1-BC69-50569B8A5957}"/>
              </a:ext>
            </a:extLst>
          </p:cNvPr>
          <p:cNvGrpSpPr/>
          <p:nvPr/>
        </p:nvGrpSpPr>
        <p:grpSpPr>
          <a:xfrm>
            <a:off x="1105738" y="1893845"/>
            <a:ext cx="9200100" cy="2951497"/>
            <a:chOff x="1105738" y="1893845"/>
            <a:chExt cx="9200100" cy="2951497"/>
          </a:xfrm>
        </p:grpSpPr>
        <p:grpSp>
          <p:nvGrpSpPr>
            <p:cNvPr id="238" name="Graphic 8">
              <a:extLst>
                <a:ext uri="{FF2B5EF4-FFF2-40B4-BE49-F238E27FC236}">
                  <a16:creationId xmlns:a16="http://schemas.microsoft.com/office/drawing/2014/main" id="{F21CCCBE-24F0-B02F-7047-325A4AB33DD7}"/>
                </a:ext>
              </a:extLst>
            </p:cNvPr>
            <p:cNvGrpSpPr/>
            <p:nvPr/>
          </p:nvGrpSpPr>
          <p:grpSpPr>
            <a:xfrm>
              <a:off x="1105738" y="1944841"/>
              <a:ext cx="4742110" cy="2856451"/>
              <a:chOff x="1105738" y="1944841"/>
              <a:chExt cx="4742110" cy="2856451"/>
            </a:xfrm>
          </p:grpSpPr>
          <p:sp>
            <p:nvSpPr>
              <p:cNvPr id="240" name="Freeform: Shape 239">
                <a:extLst>
                  <a:ext uri="{FF2B5EF4-FFF2-40B4-BE49-F238E27FC236}">
                    <a16:creationId xmlns:a16="http://schemas.microsoft.com/office/drawing/2014/main" id="{528DAE73-5136-F908-4179-25040D2C2853}"/>
                  </a:ext>
                </a:extLst>
              </p:cNvPr>
              <p:cNvSpPr/>
              <p:nvPr/>
            </p:nvSpPr>
            <p:spPr>
              <a:xfrm>
                <a:off x="1380201" y="4571387"/>
                <a:ext cx="57603" cy="229905"/>
              </a:xfrm>
              <a:custGeom>
                <a:avLst/>
                <a:gdLst>
                  <a:gd name="connsiteX0" fmla="*/ 0 w 57603"/>
                  <a:gd name="connsiteY0" fmla="*/ 48624 h 229905"/>
                  <a:gd name="connsiteX1" fmla="*/ 36426 w 57603"/>
                  <a:gd name="connsiteY1" fmla="*/ 229905 h 229905"/>
                  <a:gd name="connsiteX2" fmla="*/ 57603 w 57603"/>
                  <a:gd name="connsiteY2" fmla="*/ 0 h 229905"/>
                  <a:gd name="connsiteX3" fmla="*/ 0 w 57603"/>
                  <a:gd name="connsiteY3" fmla="*/ 48455 h 229905"/>
                </a:gdLst>
                <a:ahLst/>
                <a:cxnLst>
                  <a:cxn ang="0">
                    <a:pos x="connsiteX0" y="connsiteY0"/>
                  </a:cxn>
                  <a:cxn ang="0">
                    <a:pos x="connsiteX1" y="connsiteY1"/>
                  </a:cxn>
                  <a:cxn ang="0">
                    <a:pos x="connsiteX2" y="connsiteY2"/>
                  </a:cxn>
                  <a:cxn ang="0">
                    <a:pos x="connsiteX3" y="connsiteY3"/>
                  </a:cxn>
                </a:cxnLst>
                <a:rect l="l" t="t" r="r" b="b"/>
                <a:pathLst>
                  <a:path w="57603" h="229905">
                    <a:moveTo>
                      <a:pt x="0" y="48624"/>
                    </a:moveTo>
                    <a:cubicBezTo>
                      <a:pt x="17789" y="138587"/>
                      <a:pt x="36426" y="229905"/>
                      <a:pt x="36426" y="229905"/>
                    </a:cubicBezTo>
                    <a:lnTo>
                      <a:pt x="57603" y="0"/>
                    </a:lnTo>
                    <a:cubicBezTo>
                      <a:pt x="34731" y="18298"/>
                      <a:pt x="14909" y="34901"/>
                      <a:pt x="0" y="48455"/>
                    </a:cubicBezTo>
                    <a:close/>
                  </a:path>
                </a:pathLst>
              </a:custGeom>
              <a:solidFill>
                <a:srgbClr val="B2D461"/>
              </a:solidFill>
              <a:ln w="16928" cap="flat">
                <a:noFill/>
                <a:prstDash val="solid"/>
                <a:miter/>
              </a:ln>
            </p:spPr>
            <p:txBody>
              <a:bodyPr rtlCol="0" anchor="ctr"/>
              <a:lstStyle/>
              <a:p>
                <a:endParaRPr lang="en-US"/>
              </a:p>
            </p:txBody>
          </p:sp>
          <p:sp>
            <p:nvSpPr>
              <p:cNvPr id="243" name="Freeform: Shape 242">
                <a:extLst>
                  <a:ext uri="{FF2B5EF4-FFF2-40B4-BE49-F238E27FC236}">
                    <a16:creationId xmlns:a16="http://schemas.microsoft.com/office/drawing/2014/main" id="{097D30D4-9FCF-233D-7930-608F2430C811}"/>
                  </a:ext>
                </a:extLst>
              </p:cNvPr>
              <p:cNvSpPr/>
              <p:nvPr/>
            </p:nvSpPr>
            <p:spPr>
              <a:xfrm>
                <a:off x="5839377" y="2041072"/>
                <a:ext cx="2541" cy="200595"/>
              </a:xfrm>
              <a:custGeom>
                <a:avLst/>
                <a:gdLst>
                  <a:gd name="connsiteX0" fmla="*/ 0 w 2541"/>
                  <a:gd name="connsiteY0" fmla="*/ 22872 h 200595"/>
                  <a:gd name="connsiteX1" fmla="*/ 0 w 2541"/>
                  <a:gd name="connsiteY1" fmla="*/ 200595 h 200595"/>
                  <a:gd name="connsiteX2" fmla="*/ 2541 w 2541"/>
                  <a:gd name="connsiteY2" fmla="*/ 0 h 200595"/>
                  <a:gd name="connsiteX3" fmla="*/ 0 w 2541"/>
                  <a:gd name="connsiteY3" fmla="*/ 22872 h 200595"/>
                </a:gdLst>
                <a:ahLst/>
                <a:cxnLst>
                  <a:cxn ang="0">
                    <a:pos x="connsiteX0" y="connsiteY0"/>
                  </a:cxn>
                  <a:cxn ang="0">
                    <a:pos x="connsiteX1" y="connsiteY1"/>
                  </a:cxn>
                  <a:cxn ang="0">
                    <a:pos x="connsiteX2" y="connsiteY2"/>
                  </a:cxn>
                  <a:cxn ang="0">
                    <a:pos x="connsiteX3" y="connsiteY3"/>
                  </a:cxn>
                </a:cxnLst>
                <a:rect l="l" t="t" r="r" b="b"/>
                <a:pathLst>
                  <a:path w="2541" h="200595">
                    <a:moveTo>
                      <a:pt x="0" y="22872"/>
                    </a:moveTo>
                    <a:lnTo>
                      <a:pt x="0" y="200595"/>
                    </a:lnTo>
                    <a:lnTo>
                      <a:pt x="2541" y="0"/>
                    </a:lnTo>
                    <a:cubicBezTo>
                      <a:pt x="1694" y="7793"/>
                      <a:pt x="847" y="15417"/>
                      <a:pt x="0" y="22872"/>
                    </a:cubicBezTo>
                    <a:close/>
                  </a:path>
                </a:pathLst>
              </a:custGeom>
              <a:solidFill>
                <a:srgbClr val="005FC6"/>
              </a:solidFill>
              <a:ln w="16928" cap="flat">
                <a:noFill/>
                <a:prstDash val="solid"/>
                <a:miter/>
              </a:ln>
            </p:spPr>
            <p:txBody>
              <a:bodyPr rtlCol="0" anchor="ctr"/>
              <a:lstStyle/>
              <a:p>
                <a:endParaRPr lang="en-US"/>
              </a:p>
            </p:txBody>
          </p:sp>
          <p:sp>
            <p:nvSpPr>
              <p:cNvPr id="244" name="Freeform: Shape 243">
                <a:extLst>
                  <a:ext uri="{FF2B5EF4-FFF2-40B4-BE49-F238E27FC236}">
                    <a16:creationId xmlns:a16="http://schemas.microsoft.com/office/drawing/2014/main" id="{7ADC60D1-7106-12B0-0CB0-2A00F5866D18}"/>
                  </a:ext>
                </a:extLst>
              </p:cNvPr>
              <p:cNvSpPr/>
              <p:nvPr/>
            </p:nvSpPr>
            <p:spPr>
              <a:xfrm>
                <a:off x="2185631" y="2195416"/>
                <a:ext cx="3633754" cy="2600285"/>
              </a:xfrm>
              <a:custGeom>
                <a:avLst/>
                <a:gdLst>
                  <a:gd name="connsiteX0" fmla="*/ 898273 w 3633754"/>
                  <a:gd name="connsiteY0" fmla="*/ 2434083 h 2600285"/>
                  <a:gd name="connsiteX1" fmla="*/ 1759951 w 3633754"/>
                  <a:gd name="connsiteY1" fmla="*/ 2169616 h 2600285"/>
                  <a:gd name="connsiteX2" fmla="*/ 1981047 w 3633754"/>
                  <a:gd name="connsiteY2" fmla="*/ 2062372 h 2600285"/>
                  <a:gd name="connsiteX3" fmla="*/ 2006121 w 3633754"/>
                  <a:gd name="connsiteY3" fmla="*/ 1928868 h 2600285"/>
                  <a:gd name="connsiteX4" fmla="*/ 2182997 w 3633754"/>
                  <a:gd name="connsiteY4" fmla="*/ 1782318 h 2600285"/>
                  <a:gd name="connsiteX5" fmla="*/ 2349708 w 3633754"/>
                  <a:gd name="connsiteY5" fmla="*/ 1592565 h 2600285"/>
                  <a:gd name="connsiteX6" fmla="*/ 2682283 w 3633754"/>
                  <a:gd name="connsiteY6" fmla="*/ 1343515 h 2600285"/>
                  <a:gd name="connsiteX7" fmla="*/ 2706002 w 3633754"/>
                  <a:gd name="connsiteY7" fmla="*/ 1216279 h 2600285"/>
                  <a:gd name="connsiteX8" fmla="*/ 2957932 w 3633754"/>
                  <a:gd name="connsiteY8" fmla="*/ 955709 h 2600285"/>
                  <a:gd name="connsiteX9" fmla="*/ 3383519 w 3633754"/>
                  <a:gd name="connsiteY9" fmla="*/ 544183 h 2600285"/>
                  <a:gd name="connsiteX10" fmla="*/ 3625791 w 3633754"/>
                  <a:gd name="connsiteY10" fmla="*/ 51843 h 2600285"/>
                  <a:gd name="connsiteX11" fmla="*/ 3633754 w 3633754"/>
                  <a:gd name="connsiteY11" fmla="*/ 0 h 2600285"/>
                  <a:gd name="connsiteX12" fmla="*/ 3465688 w 3633754"/>
                  <a:gd name="connsiteY12" fmla="*/ 394245 h 2600285"/>
                  <a:gd name="connsiteX13" fmla="*/ 2962167 w 3633754"/>
                  <a:gd name="connsiteY13" fmla="*/ 835588 h 2600285"/>
                  <a:gd name="connsiteX14" fmla="*/ 2825275 w 3633754"/>
                  <a:gd name="connsiteY14" fmla="*/ 975700 h 2600285"/>
                  <a:gd name="connsiteX15" fmla="*/ 2803928 w 3633754"/>
                  <a:gd name="connsiteY15" fmla="*/ 1040928 h 2600285"/>
                  <a:gd name="connsiteX16" fmla="*/ 2767332 w 3633754"/>
                  <a:gd name="connsiteY16" fmla="*/ 1093957 h 2600285"/>
                  <a:gd name="connsiteX17" fmla="*/ 2654837 w 3633754"/>
                  <a:gd name="connsiteY17" fmla="*/ 1172738 h 2600285"/>
                  <a:gd name="connsiteX18" fmla="*/ 2359535 w 3633754"/>
                  <a:gd name="connsiteY18" fmla="*/ 1366048 h 2600285"/>
                  <a:gd name="connsiteX19" fmla="*/ 2292105 w 3633754"/>
                  <a:gd name="connsiteY19" fmla="*/ 1459908 h 2600285"/>
                  <a:gd name="connsiteX20" fmla="*/ 2154196 w 3633754"/>
                  <a:gd name="connsiteY20" fmla="*/ 1587483 h 2600285"/>
                  <a:gd name="connsiteX21" fmla="*/ 2079142 w 3633754"/>
                  <a:gd name="connsiteY21" fmla="*/ 1661012 h 2600285"/>
                  <a:gd name="connsiteX22" fmla="*/ 2081175 w 3633754"/>
                  <a:gd name="connsiteY22" fmla="*/ 1766392 h 2600285"/>
                  <a:gd name="connsiteX23" fmla="*/ 2039836 w 3633754"/>
                  <a:gd name="connsiteY23" fmla="*/ 1803834 h 2600285"/>
                  <a:gd name="connsiteX24" fmla="*/ 1729964 w 3633754"/>
                  <a:gd name="connsiteY24" fmla="*/ 1930053 h 2600285"/>
                  <a:gd name="connsiteX25" fmla="*/ 1237455 w 3633754"/>
                  <a:gd name="connsiteY25" fmla="*/ 2059831 h 2600285"/>
                  <a:gd name="connsiteX26" fmla="*/ 1162232 w 3633754"/>
                  <a:gd name="connsiteY26" fmla="*/ 2093546 h 2600285"/>
                  <a:gd name="connsiteX27" fmla="*/ 1003653 w 3633754"/>
                  <a:gd name="connsiteY27" fmla="*/ 2225525 h 2600285"/>
                  <a:gd name="connsiteX28" fmla="*/ 0 w 3633754"/>
                  <a:gd name="connsiteY28" fmla="*/ 2600286 h 2600285"/>
                  <a:gd name="connsiteX29" fmla="*/ 551637 w 3633754"/>
                  <a:gd name="connsiteY29" fmla="*/ 2600286 h 2600285"/>
                  <a:gd name="connsiteX30" fmla="*/ 753248 w 3633754"/>
                  <a:gd name="connsiteY30" fmla="*/ 2583344 h 2600285"/>
                  <a:gd name="connsiteX31" fmla="*/ 898273 w 3633754"/>
                  <a:gd name="connsiteY31" fmla="*/ 2434422 h 260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33754" h="2600285">
                    <a:moveTo>
                      <a:pt x="898273" y="2434083"/>
                    </a:moveTo>
                    <a:cubicBezTo>
                      <a:pt x="1042621" y="2369025"/>
                      <a:pt x="1759951" y="2169616"/>
                      <a:pt x="1759951" y="2169616"/>
                    </a:cubicBezTo>
                    <a:cubicBezTo>
                      <a:pt x="1759951" y="2169616"/>
                      <a:pt x="1948179" y="2107777"/>
                      <a:pt x="1981047" y="2062372"/>
                    </a:cubicBezTo>
                    <a:cubicBezTo>
                      <a:pt x="2013915" y="2016967"/>
                      <a:pt x="1984774" y="1977661"/>
                      <a:pt x="2006121" y="1928868"/>
                    </a:cubicBezTo>
                    <a:cubicBezTo>
                      <a:pt x="2026282" y="1882615"/>
                      <a:pt x="2160972" y="1815694"/>
                      <a:pt x="2182997" y="1782318"/>
                    </a:cubicBezTo>
                    <a:cubicBezTo>
                      <a:pt x="2204853" y="1748942"/>
                      <a:pt x="2234671" y="1668636"/>
                      <a:pt x="2349708" y="1592565"/>
                    </a:cubicBezTo>
                    <a:cubicBezTo>
                      <a:pt x="2464745" y="1516495"/>
                      <a:pt x="2675336" y="1390953"/>
                      <a:pt x="2682283" y="1343515"/>
                    </a:cubicBezTo>
                    <a:cubicBezTo>
                      <a:pt x="2689229" y="1296077"/>
                      <a:pt x="2679572" y="1257449"/>
                      <a:pt x="2706002" y="1216279"/>
                    </a:cubicBezTo>
                    <a:cubicBezTo>
                      <a:pt x="2732262" y="1175110"/>
                      <a:pt x="2911680" y="990948"/>
                      <a:pt x="2957932" y="955709"/>
                    </a:cubicBezTo>
                    <a:cubicBezTo>
                      <a:pt x="3111428" y="838638"/>
                      <a:pt x="3342519" y="589757"/>
                      <a:pt x="3383519" y="544183"/>
                    </a:cubicBezTo>
                    <a:cubicBezTo>
                      <a:pt x="3598853" y="304451"/>
                      <a:pt x="3610883" y="121137"/>
                      <a:pt x="3625791" y="51843"/>
                    </a:cubicBezTo>
                    <a:cubicBezTo>
                      <a:pt x="3628502" y="39136"/>
                      <a:pt x="3631213" y="21008"/>
                      <a:pt x="3633754" y="0"/>
                    </a:cubicBezTo>
                    <a:cubicBezTo>
                      <a:pt x="3592246" y="211269"/>
                      <a:pt x="3526511" y="308348"/>
                      <a:pt x="3465688" y="394245"/>
                    </a:cubicBezTo>
                    <a:cubicBezTo>
                      <a:pt x="3372337" y="526055"/>
                      <a:pt x="3020618" y="787811"/>
                      <a:pt x="2962167" y="835588"/>
                    </a:cubicBezTo>
                    <a:cubicBezTo>
                      <a:pt x="2917270" y="875403"/>
                      <a:pt x="2845097" y="916233"/>
                      <a:pt x="2825275" y="975700"/>
                    </a:cubicBezTo>
                    <a:cubicBezTo>
                      <a:pt x="2817820" y="996539"/>
                      <a:pt x="2811213" y="1019919"/>
                      <a:pt x="2803928" y="1040928"/>
                    </a:cubicBezTo>
                    <a:cubicBezTo>
                      <a:pt x="2793762" y="1070915"/>
                      <a:pt x="2786477" y="1079725"/>
                      <a:pt x="2767332" y="1093957"/>
                    </a:cubicBezTo>
                    <a:cubicBezTo>
                      <a:pt x="2732093" y="1120725"/>
                      <a:pt x="2699394" y="1142581"/>
                      <a:pt x="2654837" y="1172738"/>
                    </a:cubicBezTo>
                    <a:cubicBezTo>
                      <a:pt x="2544035" y="1247114"/>
                      <a:pt x="2400704" y="1338263"/>
                      <a:pt x="2359535" y="1366048"/>
                    </a:cubicBezTo>
                    <a:cubicBezTo>
                      <a:pt x="2329208" y="1387904"/>
                      <a:pt x="2311419" y="1427718"/>
                      <a:pt x="2292105" y="1459908"/>
                    </a:cubicBezTo>
                    <a:cubicBezTo>
                      <a:pt x="2263473" y="1512598"/>
                      <a:pt x="2201973" y="1545635"/>
                      <a:pt x="2154196" y="1587483"/>
                    </a:cubicBezTo>
                    <a:cubicBezTo>
                      <a:pt x="2128444" y="1610354"/>
                      <a:pt x="2093204" y="1630516"/>
                      <a:pt x="2079142" y="1661012"/>
                    </a:cubicBezTo>
                    <a:cubicBezTo>
                      <a:pt x="2067113" y="1693032"/>
                      <a:pt x="2090324" y="1738437"/>
                      <a:pt x="2081175" y="1766392"/>
                    </a:cubicBezTo>
                    <a:cubicBezTo>
                      <a:pt x="2077278" y="1780793"/>
                      <a:pt x="2053051" y="1797227"/>
                      <a:pt x="2039836" y="1803834"/>
                    </a:cubicBezTo>
                    <a:cubicBezTo>
                      <a:pt x="1970712" y="1837719"/>
                      <a:pt x="1818233" y="1900405"/>
                      <a:pt x="1729964" y="1930053"/>
                    </a:cubicBezTo>
                    <a:cubicBezTo>
                      <a:pt x="1653894" y="1950384"/>
                      <a:pt x="1362997" y="2021202"/>
                      <a:pt x="1237455" y="2059831"/>
                    </a:cubicBezTo>
                    <a:cubicBezTo>
                      <a:pt x="1211534" y="2067793"/>
                      <a:pt x="1186629" y="2078297"/>
                      <a:pt x="1162232" y="2093546"/>
                    </a:cubicBezTo>
                    <a:cubicBezTo>
                      <a:pt x="1084129" y="2139120"/>
                      <a:pt x="1066678" y="2200959"/>
                      <a:pt x="1003653" y="2225525"/>
                    </a:cubicBezTo>
                    <a:cubicBezTo>
                      <a:pt x="676331" y="2358352"/>
                      <a:pt x="275141" y="2448484"/>
                      <a:pt x="0" y="2600286"/>
                    </a:cubicBezTo>
                    <a:lnTo>
                      <a:pt x="551637" y="2600286"/>
                    </a:lnTo>
                    <a:lnTo>
                      <a:pt x="753248" y="2583344"/>
                    </a:lnTo>
                    <a:cubicBezTo>
                      <a:pt x="756467" y="2562166"/>
                      <a:pt x="776290" y="2489654"/>
                      <a:pt x="898273" y="2434422"/>
                    </a:cubicBezTo>
                    <a:close/>
                  </a:path>
                </a:pathLst>
              </a:custGeom>
              <a:solidFill>
                <a:srgbClr val="005FC6"/>
              </a:solidFill>
              <a:ln w="16928" cap="flat">
                <a:noFill/>
                <a:prstDash val="solid"/>
                <a:miter/>
              </a:ln>
            </p:spPr>
            <p:txBody>
              <a:bodyPr rtlCol="0" anchor="ctr"/>
              <a:lstStyle/>
              <a:p>
                <a:endParaRPr lang="en-US"/>
              </a:p>
            </p:txBody>
          </p:sp>
          <p:sp>
            <p:nvSpPr>
              <p:cNvPr id="245" name="Freeform: Shape 244">
                <a:extLst>
                  <a:ext uri="{FF2B5EF4-FFF2-40B4-BE49-F238E27FC236}">
                    <a16:creationId xmlns:a16="http://schemas.microsoft.com/office/drawing/2014/main" id="{F21DCE9E-3AFC-75FF-DCCA-C79FDBBF396F}"/>
                  </a:ext>
                </a:extLst>
              </p:cNvPr>
              <p:cNvSpPr/>
              <p:nvPr/>
            </p:nvSpPr>
            <p:spPr>
              <a:xfrm>
                <a:off x="1393077" y="2336375"/>
                <a:ext cx="4360403" cy="2441029"/>
              </a:xfrm>
              <a:custGeom>
                <a:avLst/>
                <a:gdLst>
                  <a:gd name="connsiteX0" fmla="*/ 744777 w 4360403"/>
                  <a:gd name="connsiteY0" fmla="*/ 2438997 h 2441029"/>
                  <a:gd name="connsiteX1" fmla="*/ 958587 w 4360403"/>
                  <a:gd name="connsiteY1" fmla="*/ 2243145 h 2441029"/>
                  <a:gd name="connsiteX2" fmla="*/ 1095480 w 4360403"/>
                  <a:gd name="connsiteY2" fmla="*/ 2113198 h 2441029"/>
                  <a:gd name="connsiteX3" fmla="*/ 1236778 w 4360403"/>
                  <a:gd name="connsiteY3" fmla="*/ 2033570 h 2441029"/>
                  <a:gd name="connsiteX4" fmla="*/ 1803662 w 4360403"/>
                  <a:gd name="connsiteY4" fmla="*/ 1819082 h 2441029"/>
                  <a:gd name="connsiteX5" fmla="*/ 1934625 w 4360403"/>
                  <a:gd name="connsiteY5" fmla="*/ 1751991 h 2441029"/>
                  <a:gd name="connsiteX6" fmla="*/ 2027807 w 4360403"/>
                  <a:gd name="connsiteY6" fmla="*/ 1667111 h 2441029"/>
                  <a:gd name="connsiteX7" fmla="*/ 2212985 w 4360403"/>
                  <a:gd name="connsiteY7" fmla="*/ 1601206 h 2441029"/>
                  <a:gd name="connsiteX8" fmla="*/ 2643316 w 4360403"/>
                  <a:gd name="connsiteY8" fmla="*/ 1470581 h 2441029"/>
                  <a:gd name="connsiteX9" fmla="*/ 2814432 w 4360403"/>
                  <a:gd name="connsiteY9" fmla="*/ 1405185 h 2441029"/>
                  <a:gd name="connsiteX10" fmla="*/ 2912357 w 4360403"/>
                  <a:gd name="connsiteY10" fmla="*/ 1349275 h 2441029"/>
                  <a:gd name="connsiteX11" fmla="*/ 2936923 w 4360403"/>
                  <a:gd name="connsiteY11" fmla="*/ 1231019 h 2441029"/>
                  <a:gd name="connsiteX12" fmla="*/ 3166490 w 4360403"/>
                  <a:gd name="connsiteY12" fmla="*/ 1039572 h 2441029"/>
                  <a:gd name="connsiteX13" fmla="*/ 3293217 w 4360403"/>
                  <a:gd name="connsiteY13" fmla="*/ 912167 h 2441029"/>
                  <a:gd name="connsiteX14" fmla="*/ 3682378 w 4360403"/>
                  <a:gd name="connsiteY14" fmla="*/ 680737 h 2441029"/>
                  <a:gd name="connsiteX15" fmla="*/ 3748792 w 4360403"/>
                  <a:gd name="connsiteY15" fmla="*/ 615509 h 2441029"/>
                  <a:gd name="connsiteX16" fmla="*/ 3826895 w 4360403"/>
                  <a:gd name="connsiteY16" fmla="*/ 525208 h 2441029"/>
                  <a:gd name="connsiteX17" fmla="*/ 4133040 w 4360403"/>
                  <a:gd name="connsiteY17" fmla="*/ 287678 h 2441029"/>
                  <a:gd name="connsiteX18" fmla="*/ 4348036 w 4360403"/>
                  <a:gd name="connsiteY18" fmla="*/ 40661 h 2441029"/>
                  <a:gd name="connsiteX19" fmla="*/ 4360404 w 4360403"/>
                  <a:gd name="connsiteY19" fmla="*/ 0 h 2441029"/>
                  <a:gd name="connsiteX20" fmla="*/ 4260784 w 4360403"/>
                  <a:gd name="connsiteY20" fmla="*/ 113851 h 2441029"/>
                  <a:gd name="connsiteX21" fmla="*/ 4080180 w 4360403"/>
                  <a:gd name="connsiteY21" fmla="*/ 251083 h 2441029"/>
                  <a:gd name="connsiteX22" fmla="*/ 3954639 w 4360403"/>
                  <a:gd name="connsiteY22" fmla="*/ 382216 h 2441029"/>
                  <a:gd name="connsiteX23" fmla="*/ 3487882 w 4360403"/>
                  <a:gd name="connsiteY23" fmla="*/ 623981 h 2441029"/>
                  <a:gd name="connsiteX24" fmla="*/ 3368779 w 4360403"/>
                  <a:gd name="connsiteY24" fmla="*/ 711911 h 2441029"/>
                  <a:gd name="connsiteX25" fmla="*/ 3229006 w 4360403"/>
                  <a:gd name="connsiteY25" fmla="*/ 823051 h 2441029"/>
                  <a:gd name="connsiteX26" fmla="*/ 3051452 w 4360403"/>
                  <a:gd name="connsiteY26" fmla="*/ 943680 h 2441029"/>
                  <a:gd name="connsiteX27" fmla="*/ 2987919 w 4360403"/>
                  <a:gd name="connsiteY27" fmla="*/ 1085994 h 2441029"/>
                  <a:gd name="connsiteX28" fmla="*/ 2905242 w 4360403"/>
                  <a:gd name="connsiteY28" fmla="*/ 1126147 h 2441029"/>
                  <a:gd name="connsiteX29" fmla="*/ 2163853 w 4360403"/>
                  <a:gd name="connsiteY29" fmla="*/ 1358255 h 2441029"/>
                  <a:gd name="connsiteX30" fmla="*/ 2079989 w 4360403"/>
                  <a:gd name="connsiteY30" fmla="*/ 1395019 h 2441029"/>
                  <a:gd name="connsiteX31" fmla="*/ 1905485 w 4360403"/>
                  <a:gd name="connsiteY31" fmla="*/ 1519883 h 2441029"/>
                  <a:gd name="connsiteX32" fmla="*/ 1303530 w 4360403"/>
                  <a:gd name="connsiteY32" fmla="*/ 1750805 h 2441029"/>
                  <a:gd name="connsiteX33" fmla="*/ 1029744 w 4360403"/>
                  <a:gd name="connsiteY33" fmla="*/ 1949537 h 2441029"/>
                  <a:gd name="connsiteX34" fmla="*/ 1003484 w 4360403"/>
                  <a:gd name="connsiteY34" fmla="*/ 2053223 h 2441029"/>
                  <a:gd name="connsiteX35" fmla="*/ 947236 w 4360403"/>
                  <a:gd name="connsiteY35" fmla="*/ 2100831 h 2441029"/>
                  <a:gd name="connsiteX36" fmla="*/ 742914 w 4360403"/>
                  <a:gd name="connsiteY36" fmla="*/ 2177071 h 2441029"/>
                  <a:gd name="connsiteX37" fmla="*/ 0 w 4360403"/>
                  <a:gd name="connsiteY37" fmla="*/ 2415955 h 2441029"/>
                  <a:gd name="connsiteX38" fmla="*/ 744100 w 4360403"/>
                  <a:gd name="connsiteY38" fmla="*/ 2441030 h 2441029"/>
                  <a:gd name="connsiteX39" fmla="*/ 744608 w 4360403"/>
                  <a:gd name="connsiteY39" fmla="*/ 2439335 h 2441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360403" h="2441029">
                    <a:moveTo>
                      <a:pt x="744777" y="2438997"/>
                    </a:moveTo>
                    <a:cubicBezTo>
                      <a:pt x="804244" y="2386137"/>
                      <a:pt x="901831" y="2299732"/>
                      <a:pt x="958587" y="2243145"/>
                    </a:cubicBezTo>
                    <a:cubicBezTo>
                      <a:pt x="1002129" y="2197909"/>
                      <a:pt x="1045162" y="2151996"/>
                      <a:pt x="1095480" y="2113198"/>
                    </a:cubicBezTo>
                    <a:cubicBezTo>
                      <a:pt x="1142749" y="2073892"/>
                      <a:pt x="1180360" y="2057120"/>
                      <a:pt x="1236778" y="2033570"/>
                    </a:cubicBezTo>
                    <a:cubicBezTo>
                      <a:pt x="1435679" y="1948012"/>
                      <a:pt x="1616790" y="1873297"/>
                      <a:pt x="1803662" y="1819082"/>
                    </a:cubicBezTo>
                    <a:cubicBezTo>
                      <a:pt x="1856013" y="1801632"/>
                      <a:pt x="1898708" y="1784690"/>
                      <a:pt x="1934625" y="1751991"/>
                    </a:cubicBezTo>
                    <a:cubicBezTo>
                      <a:pt x="1965629" y="1725731"/>
                      <a:pt x="1996972" y="1692016"/>
                      <a:pt x="2027807" y="1667111"/>
                    </a:cubicBezTo>
                    <a:cubicBezTo>
                      <a:pt x="2077617" y="1630685"/>
                      <a:pt x="2147588" y="1622722"/>
                      <a:pt x="2212985" y="1601206"/>
                    </a:cubicBezTo>
                    <a:cubicBezTo>
                      <a:pt x="2357502" y="1559528"/>
                      <a:pt x="2503882" y="1526660"/>
                      <a:pt x="2643316" y="1470581"/>
                    </a:cubicBezTo>
                    <a:cubicBezTo>
                      <a:pt x="2699394" y="1449234"/>
                      <a:pt x="2758692" y="1427887"/>
                      <a:pt x="2814432" y="1405185"/>
                    </a:cubicBezTo>
                    <a:cubicBezTo>
                      <a:pt x="2852721" y="1387565"/>
                      <a:pt x="2887113" y="1379771"/>
                      <a:pt x="2912357" y="1349275"/>
                    </a:cubicBezTo>
                    <a:cubicBezTo>
                      <a:pt x="2935060" y="1319627"/>
                      <a:pt x="2907613" y="1270494"/>
                      <a:pt x="2936923" y="1231019"/>
                    </a:cubicBezTo>
                    <a:cubicBezTo>
                      <a:pt x="2995204" y="1159184"/>
                      <a:pt x="3116002" y="1118353"/>
                      <a:pt x="3166490" y="1039572"/>
                    </a:cubicBezTo>
                    <a:cubicBezTo>
                      <a:pt x="3203423" y="992473"/>
                      <a:pt x="3239849" y="940461"/>
                      <a:pt x="3293217" y="912167"/>
                    </a:cubicBezTo>
                    <a:cubicBezTo>
                      <a:pt x="3374370" y="865576"/>
                      <a:pt x="3574118" y="750200"/>
                      <a:pt x="3682378" y="680737"/>
                    </a:cubicBezTo>
                    <a:cubicBezTo>
                      <a:pt x="3716940" y="658543"/>
                      <a:pt x="3725920" y="647361"/>
                      <a:pt x="3748792" y="615509"/>
                    </a:cubicBezTo>
                    <a:cubicBezTo>
                      <a:pt x="3771325" y="584166"/>
                      <a:pt x="3798771" y="552654"/>
                      <a:pt x="3826895" y="525208"/>
                    </a:cubicBezTo>
                    <a:cubicBezTo>
                      <a:pt x="3921432" y="434736"/>
                      <a:pt x="4036300" y="364596"/>
                      <a:pt x="4133040" y="287678"/>
                    </a:cubicBezTo>
                    <a:cubicBezTo>
                      <a:pt x="4224189" y="217029"/>
                      <a:pt x="4298226" y="119104"/>
                      <a:pt x="4348036" y="40661"/>
                    </a:cubicBezTo>
                    <a:lnTo>
                      <a:pt x="4360404" y="0"/>
                    </a:lnTo>
                    <a:cubicBezTo>
                      <a:pt x="4333635" y="42186"/>
                      <a:pt x="4300598" y="80814"/>
                      <a:pt x="4260784" y="113851"/>
                    </a:cubicBezTo>
                    <a:cubicBezTo>
                      <a:pt x="4203181" y="162645"/>
                      <a:pt x="4135750" y="200426"/>
                      <a:pt x="4080180" y="251083"/>
                    </a:cubicBezTo>
                    <a:cubicBezTo>
                      <a:pt x="4034775" y="293269"/>
                      <a:pt x="4003432" y="350364"/>
                      <a:pt x="3954639" y="382216"/>
                    </a:cubicBezTo>
                    <a:cubicBezTo>
                      <a:pt x="3827742" y="457778"/>
                      <a:pt x="3586316" y="571121"/>
                      <a:pt x="3487882" y="623981"/>
                    </a:cubicBezTo>
                    <a:cubicBezTo>
                      <a:pt x="3444002" y="646514"/>
                      <a:pt x="3407068" y="679043"/>
                      <a:pt x="3368779" y="711911"/>
                    </a:cubicBezTo>
                    <a:cubicBezTo>
                      <a:pt x="3318969" y="755113"/>
                      <a:pt x="3284407" y="790183"/>
                      <a:pt x="3229006" y="823051"/>
                    </a:cubicBezTo>
                    <a:cubicBezTo>
                      <a:pt x="3172081" y="862696"/>
                      <a:pt x="3097874" y="893531"/>
                      <a:pt x="3051452" y="943680"/>
                    </a:cubicBezTo>
                    <a:cubicBezTo>
                      <a:pt x="3019940" y="983494"/>
                      <a:pt x="3023328" y="1051262"/>
                      <a:pt x="2987919" y="1085994"/>
                    </a:cubicBezTo>
                    <a:cubicBezTo>
                      <a:pt x="2967419" y="1101581"/>
                      <a:pt x="2943023" y="1110391"/>
                      <a:pt x="2905242" y="1126147"/>
                    </a:cubicBezTo>
                    <a:cubicBezTo>
                      <a:pt x="2714134" y="1200693"/>
                      <a:pt x="2370039" y="1296755"/>
                      <a:pt x="2163853" y="1358255"/>
                    </a:cubicBezTo>
                    <a:cubicBezTo>
                      <a:pt x="2125563" y="1370284"/>
                      <a:pt x="2109638" y="1372317"/>
                      <a:pt x="2079989" y="1395019"/>
                    </a:cubicBezTo>
                    <a:cubicBezTo>
                      <a:pt x="2021200" y="1443135"/>
                      <a:pt x="1983588" y="1494470"/>
                      <a:pt x="1905485" y="1519883"/>
                    </a:cubicBezTo>
                    <a:cubicBezTo>
                      <a:pt x="1742501" y="1588160"/>
                      <a:pt x="1417212" y="1707264"/>
                      <a:pt x="1303530" y="1750805"/>
                    </a:cubicBezTo>
                    <a:cubicBezTo>
                      <a:pt x="1242030" y="1772999"/>
                      <a:pt x="1040926" y="1870756"/>
                      <a:pt x="1029744" y="1949537"/>
                    </a:cubicBezTo>
                    <a:cubicBezTo>
                      <a:pt x="1024662" y="1984777"/>
                      <a:pt x="1020087" y="2021711"/>
                      <a:pt x="1003484" y="2053223"/>
                    </a:cubicBezTo>
                    <a:cubicBezTo>
                      <a:pt x="993488" y="2072537"/>
                      <a:pt x="974174" y="2087277"/>
                      <a:pt x="947236" y="2100831"/>
                    </a:cubicBezTo>
                    <a:cubicBezTo>
                      <a:pt x="881670" y="2133699"/>
                      <a:pt x="803567" y="2159959"/>
                      <a:pt x="742914" y="2177071"/>
                    </a:cubicBezTo>
                    <a:cubicBezTo>
                      <a:pt x="591112" y="2220951"/>
                      <a:pt x="128252" y="2374447"/>
                      <a:pt x="0" y="2415955"/>
                    </a:cubicBezTo>
                    <a:lnTo>
                      <a:pt x="744100" y="2441030"/>
                    </a:lnTo>
                    <a:lnTo>
                      <a:pt x="744608" y="2439335"/>
                    </a:lnTo>
                    <a:close/>
                  </a:path>
                </a:pathLst>
              </a:custGeom>
              <a:solidFill>
                <a:srgbClr val="00B7A5"/>
              </a:solidFill>
              <a:ln w="16928" cap="flat">
                <a:noFill/>
                <a:prstDash val="solid"/>
                <a:miter/>
              </a:ln>
            </p:spPr>
            <p:txBody>
              <a:bodyPr rtlCol="0" anchor="ctr"/>
              <a:lstStyle/>
              <a:p>
                <a:endParaRPr lang="en-US"/>
              </a:p>
            </p:txBody>
          </p:sp>
          <p:sp>
            <p:nvSpPr>
              <p:cNvPr id="246" name="Freeform: Shape 245">
                <a:extLst>
                  <a:ext uri="{FF2B5EF4-FFF2-40B4-BE49-F238E27FC236}">
                    <a16:creationId xmlns:a16="http://schemas.microsoft.com/office/drawing/2014/main" id="{C7A4F5FA-E944-4FE4-B31E-11EA4F9571F1}"/>
                  </a:ext>
                </a:extLst>
              </p:cNvPr>
              <p:cNvSpPr/>
              <p:nvPr/>
            </p:nvSpPr>
            <p:spPr>
              <a:xfrm>
                <a:off x="1318362" y="1952465"/>
                <a:ext cx="4522178" cy="2821212"/>
              </a:xfrm>
              <a:custGeom>
                <a:avLst/>
                <a:gdLst>
                  <a:gd name="connsiteX0" fmla="*/ 4521693 w 4522178"/>
                  <a:gd name="connsiteY0" fmla="*/ 0 h 2821212"/>
                  <a:gd name="connsiteX1" fmla="*/ 4482896 w 4522178"/>
                  <a:gd name="connsiteY1" fmla="*/ 145025 h 2821212"/>
                  <a:gd name="connsiteX2" fmla="*/ 4294329 w 4522178"/>
                  <a:gd name="connsiteY2" fmla="*/ 353753 h 2821212"/>
                  <a:gd name="connsiteX3" fmla="*/ 3963449 w 4522178"/>
                  <a:gd name="connsiteY3" fmla="*/ 534865 h 2821212"/>
                  <a:gd name="connsiteX4" fmla="*/ 3772002 w 4522178"/>
                  <a:gd name="connsiteY4" fmla="*/ 651258 h 2821212"/>
                  <a:gd name="connsiteX5" fmla="*/ 3529899 w 4522178"/>
                  <a:gd name="connsiteY5" fmla="*/ 743254 h 2821212"/>
                  <a:gd name="connsiteX6" fmla="*/ 2738700 w 4522178"/>
                  <a:gd name="connsiteY6" fmla="*/ 955709 h 2821212"/>
                  <a:gd name="connsiteX7" fmla="*/ 2482365 w 4522178"/>
                  <a:gd name="connsiteY7" fmla="*/ 1091754 h 2821212"/>
                  <a:gd name="connsiteX8" fmla="*/ 2003241 w 4522178"/>
                  <a:gd name="connsiteY8" fmla="*/ 1225089 h 2821212"/>
                  <a:gd name="connsiteX9" fmla="*/ 1385530 w 4522178"/>
                  <a:gd name="connsiteY9" fmla="*/ 1512598 h 2821212"/>
                  <a:gd name="connsiteX10" fmla="*/ 1334534 w 4522178"/>
                  <a:gd name="connsiteY10" fmla="*/ 1652710 h 2821212"/>
                  <a:gd name="connsiteX11" fmla="*/ 457099 w 4522178"/>
                  <a:gd name="connsiteY11" fmla="*/ 1968343 h 2821212"/>
                  <a:gd name="connsiteX12" fmla="*/ 583149 w 4522178"/>
                  <a:gd name="connsiteY12" fmla="*/ 2117095 h 2821212"/>
                  <a:gd name="connsiteX13" fmla="*/ 616356 w 4522178"/>
                  <a:gd name="connsiteY13" fmla="*/ 2224847 h 2821212"/>
                  <a:gd name="connsiteX14" fmla="*/ 422537 w 4522178"/>
                  <a:gd name="connsiteY14" fmla="*/ 2400877 h 2821212"/>
                  <a:gd name="connsiteX15" fmla="*/ 34901 w 4522178"/>
                  <a:gd name="connsiteY15" fmla="*/ 2696179 h 2821212"/>
                  <a:gd name="connsiteX16" fmla="*/ 0 w 4522178"/>
                  <a:gd name="connsiteY16" fmla="*/ 2815282 h 2821212"/>
                  <a:gd name="connsiteX17" fmla="*/ 716653 w 4522178"/>
                  <a:gd name="connsiteY17" fmla="*/ 2821212 h 2821212"/>
                  <a:gd name="connsiteX18" fmla="*/ 75054 w 4522178"/>
                  <a:gd name="connsiteY18" fmla="*/ 2799696 h 2821212"/>
                  <a:gd name="connsiteX19" fmla="*/ 817968 w 4522178"/>
                  <a:gd name="connsiteY19" fmla="*/ 2560811 h 2821212"/>
                  <a:gd name="connsiteX20" fmla="*/ 1022290 w 4522178"/>
                  <a:gd name="connsiteY20" fmla="*/ 2484571 h 2821212"/>
                  <a:gd name="connsiteX21" fmla="*/ 1078538 w 4522178"/>
                  <a:gd name="connsiteY21" fmla="*/ 2436964 h 2821212"/>
                  <a:gd name="connsiteX22" fmla="*/ 1104798 w 4522178"/>
                  <a:gd name="connsiteY22" fmla="*/ 2333277 h 2821212"/>
                  <a:gd name="connsiteX23" fmla="*/ 1378584 w 4522178"/>
                  <a:gd name="connsiteY23" fmla="*/ 2134546 h 2821212"/>
                  <a:gd name="connsiteX24" fmla="*/ 1980538 w 4522178"/>
                  <a:gd name="connsiteY24" fmla="*/ 1903624 h 2821212"/>
                  <a:gd name="connsiteX25" fmla="*/ 2155043 w 4522178"/>
                  <a:gd name="connsiteY25" fmla="*/ 1778760 h 2821212"/>
                  <a:gd name="connsiteX26" fmla="*/ 2238906 w 4522178"/>
                  <a:gd name="connsiteY26" fmla="*/ 1741995 h 2821212"/>
                  <a:gd name="connsiteX27" fmla="*/ 2980295 w 4522178"/>
                  <a:gd name="connsiteY27" fmla="*/ 1509887 h 2821212"/>
                  <a:gd name="connsiteX28" fmla="*/ 3062973 w 4522178"/>
                  <a:gd name="connsiteY28" fmla="*/ 1469734 h 2821212"/>
                  <a:gd name="connsiteX29" fmla="*/ 3126506 w 4522178"/>
                  <a:gd name="connsiteY29" fmla="*/ 1327420 h 2821212"/>
                  <a:gd name="connsiteX30" fmla="*/ 3304060 w 4522178"/>
                  <a:gd name="connsiteY30" fmla="*/ 1206792 h 2821212"/>
                  <a:gd name="connsiteX31" fmla="*/ 3443833 w 4522178"/>
                  <a:gd name="connsiteY31" fmla="*/ 1095651 h 2821212"/>
                  <a:gd name="connsiteX32" fmla="*/ 3562936 w 4522178"/>
                  <a:gd name="connsiteY32" fmla="*/ 1007721 h 2821212"/>
                  <a:gd name="connsiteX33" fmla="*/ 4029693 w 4522178"/>
                  <a:gd name="connsiteY33" fmla="*/ 765956 h 2821212"/>
                  <a:gd name="connsiteX34" fmla="*/ 4155234 w 4522178"/>
                  <a:gd name="connsiteY34" fmla="*/ 634824 h 2821212"/>
                  <a:gd name="connsiteX35" fmla="*/ 4335837 w 4522178"/>
                  <a:gd name="connsiteY35" fmla="*/ 497592 h 2821212"/>
                  <a:gd name="connsiteX36" fmla="*/ 4435457 w 4522178"/>
                  <a:gd name="connsiteY36" fmla="*/ 383740 h 2821212"/>
                  <a:gd name="connsiteX37" fmla="*/ 4521862 w 4522178"/>
                  <a:gd name="connsiteY37" fmla="*/ 98265 h 2821212"/>
                  <a:gd name="connsiteX38" fmla="*/ 4521862 w 4522178"/>
                  <a:gd name="connsiteY38" fmla="*/ 0 h 282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522178" h="2821212">
                    <a:moveTo>
                      <a:pt x="4521693" y="0"/>
                    </a:moveTo>
                    <a:cubicBezTo>
                      <a:pt x="4525590" y="31004"/>
                      <a:pt x="4505429" y="97756"/>
                      <a:pt x="4482896" y="145025"/>
                    </a:cubicBezTo>
                    <a:cubicBezTo>
                      <a:pt x="4460362" y="192294"/>
                      <a:pt x="4346850" y="305637"/>
                      <a:pt x="4294329" y="353753"/>
                    </a:cubicBezTo>
                    <a:cubicBezTo>
                      <a:pt x="4241809" y="401869"/>
                      <a:pt x="3986829" y="514026"/>
                      <a:pt x="3963449" y="534865"/>
                    </a:cubicBezTo>
                    <a:cubicBezTo>
                      <a:pt x="3939899" y="555704"/>
                      <a:pt x="3816052" y="629233"/>
                      <a:pt x="3772002" y="651258"/>
                    </a:cubicBezTo>
                    <a:cubicBezTo>
                      <a:pt x="3727953" y="673282"/>
                      <a:pt x="3620539" y="706997"/>
                      <a:pt x="3529899" y="743254"/>
                    </a:cubicBezTo>
                    <a:cubicBezTo>
                      <a:pt x="3439258" y="779510"/>
                      <a:pt x="2787832" y="941308"/>
                      <a:pt x="2738700" y="955709"/>
                    </a:cubicBezTo>
                    <a:cubicBezTo>
                      <a:pt x="2689568" y="970109"/>
                      <a:pt x="2523704" y="1064477"/>
                      <a:pt x="2482365" y="1091754"/>
                    </a:cubicBezTo>
                    <a:cubicBezTo>
                      <a:pt x="2441026" y="1119031"/>
                      <a:pt x="2108113" y="1200523"/>
                      <a:pt x="2003241" y="1225089"/>
                    </a:cubicBezTo>
                    <a:cubicBezTo>
                      <a:pt x="1898369" y="1249655"/>
                      <a:pt x="1429579" y="1460755"/>
                      <a:pt x="1385530" y="1512598"/>
                    </a:cubicBezTo>
                    <a:cubicBezTo>
                      <a:pt x="1352493" y="1551396"/>
                      <a:pt x="1364352" y="1633904"/>
                      <a:pt x="1334534" y="1652710"/>
                    </a:cubicBezTo>
                    <a:cubicBezTo>
                      <a:pt x="1080063" y="1812983"/>
                      <a:pt x="480480" y="1889392"/>
                      <a:pt x="457099" y="1968343"/>
                    </a:cubicBezTo>
                    <a:cubicBezTo>
                      <a:pt x="446765" y="2003413"/>
                      <a:pt x="528257" y="2016289"/>
                      <a:pt x="583149" y="2117095"/>
                    </a:cubicBezTo>
                    <a:cubicBezTo>
                      <a:pt x="591112" y="2131665"/>
                      <a:pt x="615000" y="2183339"/>
                      <a:pt x="616356" y="2224847"/>
                    </a:cubicBezTo>
                    <a:cubicBezTo>
                      <a:pt x="617711" y="2266356"/>
                      <a:pt x="515381" y="2342765"/>
                      <a:pt x="422537" y="2400877"/>
                    </a:cubicBezTo>
                    <a:cubicBezTo>
                      <a:pt x="329694" y="2458988"/>
                      <a:pt x="64719" y="2650943"/>
                      <a:pt x="34901" y="2696179"/>
                    </a:cubicBezTo>
                    <a:cubicBezTo>
                      <a:pt x="5083" y="2741584"/>
                      <a:pt x="0" y="2815282"/>
                      <a:pt x="0" y="2815282"/>
                    </a:cubicBezTo>
                    <a:lnTo>
                      <a:pt x="716653" y="2821212"/>
                    </a:lnTo>
                    <a:lnTo>
                      <a:pt x="75054" y="2799696"/>
                    </a:lnTo>
                    <a:cubicBezTo>
                      <a:pt x="203306" y="2758357"/>
                      <a:pt x="666166" y="2604691"/>
                      <a:pt x="817968" y="2560811"/>
                    </a:cubicBezTo>
                    <a:cubicBezTo>
                      <a:pt x="878620" y="2543699"/>
                      <a:pt x="956724" y="2517439"/>
                      <a:pt x="1022290" y="2484571"/>
                    </a:cubicBezTo>
                    <a:cubicBezTo>
                      <a:pt x="1049228" y="2470848"/>
                      <a:pt x="1068542" y="2456278"/>
                      <a:pt x="1078538" y="2436964"/>
                    </a:cubicBezTo>
                    <a:cubicBezTo>
                      <a:pt x="1095141" y="2405451"/>
                      <a:pt x="1099716" y="2368517"/>
                      <a:pt x="1104798" y="2333277"/>
                    </a:cubicBezTo>
                    <a:cubicBezTo>
                      <a:pt x="1115980" y="2254496"/>
                      <a:pt x="1317084" y="2156740"/>
                      <a:pt x="1378584" y="2134546"/>
                    </a:cubicBezTo>
                    <a:cubicBezTo>
                      <a:pt x="1492096" y="2090835"/>
                      <a:pt x="1817385" y="1971901"/>
                      <a:pt x="1980538" y="1903624"/>
                    </a:cubicBezTo>
                    <a:cubicBezTo>
                      <a:pt x="2058642" y="1878041"/>
                      <a:pt x="2096253" y="1826876"/>
                      <a:pt x="2155043" y="1778760"/>
                    </a:cubicBezTo>
                    <a:cubicBezTo>
                      <a:pt x="2184692" y="1756057"/>
                      <a:pt x="2200617" y="1754194"/>
                      <a:pt x="2238906" y="1741995"/>
                    </a:cubicBezTo>
                    <a:cubicBezTo>
                      <a:pt x="2445262" y="1680326"/>
                      <a:pt x="2789188" y="1584433"/>
                      <a:pt x="2980295" y="1509887"/>
                    </a:cubicBezTo>
                    <a:cubicBezTo>
                      <a:pt x="3018076" y="1494131"/>
                      <a:pt x="3042473" y="1485321"/>
                      <a:pt x="3062973" y="1469734"/>
                    </a:cubicBezTo>
                    <a:cubicBezTo>
                      <a:pt x="3098382" y="1435003"/>
                      <a:pt x="3094994" y="1367234"/>
                      <a:pt x="3126506" y="1327420"/>
                    </a:cubicBezTo>
                    <a:cubicBezTo>
                      <a:pt x="3172928" y="1277271"/>
                      <a:pt x="3247134" y="1246436"/>
                      <a:pt x="3304060" y="1206792"/>
                    </a:cubicBezTo>
                    <a:cubicBezTo>
                      <a:pt x="3359461" y="1173924"/>
                      <a:pt x="3394023" y="1138854"/>
                      <a:pt x="3443833" y="1095651"/>
                    </a:cubicBezTo>
                    <a:cubicBezTo>
                      <a:pt x="3482122" y="1062783"/>
                      <a:pt x="3519056" y="1030254"/>
                      <a:pt x="3562936" y="1007721"/>
                    </a:cubicBezTo>
                    <a:cubicBezTo>
                      <a:pt x="3661370" y="954861"/>
                      <a:pt x="3902796" y="841518"/>
                      <a:pt x="4029693" y="765956"/>
                    </a:cubicBezTo>
                    <a:cubicBezTo>
                      <a:pt x="4078486" y="734105"/>
                      <a:pt x="4109829" y="677010"/>
                      <a:pt x="4155234" y="634824"/>
                    </a:cubicBezTo>
                    <a:cubicBezTo>
                      <a:pt x="4210805" y="584166"/>
                      <a:pt x="4278234" y="546385"/>
                      <a:pt x="4335837" y="497592"/>
                    </a:cubicBezTo>
                    <a:cubicBezTo>
                      <a:pt x="4375652" y="464555"/>
                      <a:pt x="4361420" y="498778"/>
                      <a:pt x="4435457" y="383740"/>
                    </a:cubicBezTo>
                    <a:cubicBezTo>
                      <a:pt x="4509494" y="268703"/>
                      <a:pt x="4521862" y="98265"/>
                      <a:pt x="4521862" y="98265"/>
                    </a:cubicBezTo>
                    <a:lnTo>
                      <a:pt x="4521862" y="0"/>
                    </a:lnTo>
                    <a:close/>
                  </a:path>
                </a:pathLst>
              </a:custGeom>
              <a:solidFill>
                <a:srgbClr val="92FF92"/>
              </a:solidFill>
              <a:ln w="16928" cap="flat">
                <a:noFill/>
                <a:prstDash val="solid"/>
                <a:miter/>
              </a:ln>
            </p:spPr>
            <p:txBody>
              <a:bodyPr rtlCol="0" anchor="ctr"/>
              <a:lstStyle/>
              <a:p>
                <a:endParaRPr lang="en-US"/>
              </a:p>
            </p:txBody>
          </p:sp>
          <p:sp>
            <p:nvSpPr>
              <p:cNvPr id="247" name="Freeform: Shape 246">
                <a:extLst>
                  <a:ext uri="{FF2B5EF4-FFF2-40B4-BE49-F238E27FC236}">
                    <a16:creationId xmlns:a16="http://schemas.microsoft.com/office/drawing/2014/main" id="{8A5131F8-51B6-26D0-CF1C-464E1A9F1ABC}"/>
                  </a:ext>
                </a:extLst>
              </p:cNvPr>
              <p:cNvSpPr/>
              <p:nvPr/>
            </p:nvSpPr>
            <p:spPr>
              <a:xfrm>
                <a:off x="5651997" y="2096134"/>
                <a:ext cx="188057" cy="403732"/>
              </a:xfrm>
              <a:custGeom>
                <a:avLst/>
                <a:gdLst>
                  <a:gd name="connsiteX0" fmla="*/ 101822 w 188057"/>
                  <a:gd name="connsiteY0" fmla="*/ 239901 h 403732"/>
                  <a:gd name="connsiteX1" fmla="*/ 89455 w 188057"/>
                  <a:gd name="connsiteY1" fmla="*/ 280563 h 403732"/>
                  <a:gd name="connsiteX2" fmla="*/ 0 w 188057"/>
                  <a:gd name="connsiteY2" fmla="*/ 403732 h 403732"/>
                  <a:gd name="connsiteX3" fmla="*/ 8640 w 188057"/>
                  <a:gd name="connsiteY3" fmla="*/ 397464 h 403732"/>
                  <a:gd name="connsiteX4" fmla="*/ 188058 w 188057"/>
                  <a:gd name="connsiteY4" fmla="*/ 57603 h 403732"/>
                  <a:gd name="connsiteX5" fmla="*/ 188058 w 188057"/>
                  <a:gd name="connsiteY5" fmla="*/ 0 h 403732"/>
                  <a:gd name="connsiteX6" fmla="*/ 101653 w 188057"/>
                  <a:gd name="connsiteY6" fmla="*/ 240071 h 403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057" h="403732">
                    <a:moveTo>
                      <a:pt x="101822" y="239901"/>
                    </a:moveTo>
                    <a:lnTo>
                      <a:pt x="89455" y="280563"/>
                    </a:lnTo>
                    <a:cubicBezTo>
                      <a:pt x="65227" y="318852"/>
                      <a:pt x="35070" y="361716"/>
                      <a:pt x="0" y="403732"/>
                    </a:cubicBezTo>
                    <a:cubicBezTo>
                      <a:pt x="3219" y="401360"/>
                      <a:pt x="6099" y="399327"/>
                      <a:pt x="8640" y="397464"/>
                    </a:cubicBezTo>
                    <a:cubicBezTo>
                      <a:pt x="84372" y="343079"/>
                      <a:pt x="188058" y="57603"/>
                      <a:pt x="188058" y="57603"/>
                    </a:cubicBezTo>
                    <a:lnTo>
                      <a:pt x="188058" y="0"/>
                    </a:lnTo>
                    <a:cubicBezTo>
                      <a:pt x="175012" y="84711"/>
                      <a:pt x="147566" y="167897"/>
                      <a:pt x="101653" y="240071"/>
                    </a:cubicBezTo>
                    <a:close/>
                  </a:path>
                </a:pathLst>
              </a:custGeom>
              <a:solidFill>
                <a:srgbClr val="00B56B"/>
              </a:solidFill>
              <a:ln w="16928" cap="flat">
                <a:noFill/>
                <a:prstDash val="solid"/>
                <a:miter/>
              </a:ln>
            </p:spPr>
            <p:txBody>
              <a:bodyPr rtlCol="0" anchor="ctr"/>
              <a:lstStyle/>
              <a:p>
                <a:endParaRPr lang="en-US"/>
              </a:p>
            </p:txBody>
          </p:sp>
          <p:sp>
            <p:nvSpPr>
              <p:cNvPr id="248" name="Freeform: Shape 247">
                <a:extLst>
                  <a:ext uri="{FF2B5EF4-FFF2-40B4-BE49-F238E27FC236}">
                    <a16:creationId xmlns:a16="http://schemas.microsoft.com/office/drawing/2014/main" id="{55BF5406-E541-ABED-9290-DF725745DF6F}"/>
                  </a:ext>
                </a:extLst>
              </p:cNvPr>
              <p:cNvSpPr/>
              <p:nvPr/>
            </p:nvSpPr>
            <p:spPr>
              <a:xfrm>
                <a:off x="2138362" y="2042767"/>
                <a:ext cx="3705758" cy="2731926"/>
              </a:xfrm>
              <a:custGeom>
                <a:avLst/>
                <a:gdLst>
                  <a:gd name="connsiteX0" fmla="*/ 1050922 w 3705758"/>
                  <a:gd name="connsiteY0" fmla="*/ 2377497 h 2731926"/>
                  <a:gd name="connsiteX1" fmla="*/ 1209501 w 3705758"/>
                  <a:gd name="connsiteY1" fmla="*/ 2245517 h 2731926"/>
                  <a:gd name="connsiteX2" fmla="*/ 1284724 w 3705758"/>
                  <a:gd name="connsiteY2" fmla="*/ 2211802 h 2731926"/>
                  <a:gd name="connsiteX3" fmla="*/ 1777233 w 3705758"/>
                  <a:gd name="connsiteY3" fmla="*/ 2082025 h 2731926"/>
                  <a:gd name="connsiteX4" fmla="*/ 2087105 w 3705758"/>
                  <a:gd name="connsiteY4" fmla="*/ 1955805 h 2731926"/>
                  <a:gd name="connsiteX5" fmla="*/ 2128444 w 3705758"/>
                  <a:gd name="connsiteY5" fmla="*/ 1918363 h 2731926"/>
                  <a:gd name="connsiteX6" fmla="*/ 2126411 w 3705758"/>
                  <a:gd name="connsiteY6" fmla="*/ 1812983 h 2731926"/>
                  <a:gd name="connsiteX7" fmla="*/ 2201464 w 3705758"/>
                  <a:gd name="connsiteY7" fmla="*/ 1739454 h 2731926"/>
                  <a:gd name="connsiteX8" fmla="*/ 2339373 w 3705758"/>
                  <a:gd name="connsiteY8" fmla="*/ 1611879 h 2731926"/>
                  <a:gd name="connsiteX9" fmla="*/ 2406803 w 3705758"/>
                  <a:gd name="connsiteY9" fmla="*/ 1518020 h 2731926"/>
                  <a:gd name="connsiteX10" fmla="*/ 2702105 w 3705758"/>
                  <a:gd name="connsiteY10" fmla="*/ 1324709 h 2731926"/>
                  <a:gd name="connsiteX11" fmla="*/ 2814601 w 3705758"/>
                  <a:gd name="connsiteY11" fmla="*/ 1245928 h 2731926"/>
                  <a:gd name="connsiteX12" fmla="*/ 2851196 w 3705758"/>
                  <a:gd name="connsiteY12" fmla="*/ 1192899 h 2731926"/>
                  <a:gd name="connsiteX13" fmla="*/ 2872543 w 3705758"/>
                  <a:gd name="connsiteY13" fmla="*/ 1127672 h 2731926"/>
                  <a:gd name="connsiteX14" fmla="*/ 3009436 w 3705758"/>
                  <a:gd name="connsiteY14" fmla="*/ 987560 h 2731926"/>
                  <a:gd name="connsiteX15" fmla="*/ 3512957 w 3705758"/>
                  <a:gd name="connsiteY15" fmla="*/ 546216 h 2731926"/>
                  <a:gd name="connsiteX16" fmla="*/ 3681023 w 3705758"/>
                  <a:gd name="connsiteY16" fmla="*/ 151971 h 2731926"/>
                  <a:gd name="connsiteX17" fmla="*/ 3673060 w 3705758"/>
                  <a:gd name="connsiteY17" fmla="*/ 203814 h 2731926"/>
                  <a:gd name="connsiteX18" fmla="*/ 3705759 w 3705758"/>
                  <a:gd name="connsiteY18" fmla="*/ 0 h 2731926"/>
                  <a:gd name="connsiteX19" fmla="*/ 3703218 w 3705758"/>
                  <a:gd name="connsiteY19" fmla="*/ 38628 h 2731926"/>
                  <a:gd name="connsiteX20" fmla="*/ 3701184 w 3705758"/>
                  <a:gd name="connsiteY20" fmla="*/ 198562 h 2731926"/>
                  <a:gd name="connsiteX21" fmla="*/ 3692544 w 3705758"/>
                  <a:gd name="connsiteY21" fmla="*/ 60314 h 2731926"/>
                  <a:gd name="connsiteX22" fmla="*/ 3388262 w 3705758"/>
                  <a:gd name="connsiteY22" fmla="*/ 580609 h 2731926"/>
                  <a:gd name="connsiteX23" fmla="*/ 3082118 w 3705758"/>
                  <a:gd name="connsiteY23" fmla="*/ 818138 h 2731926"/>
                  <a:gd name="connsiteX24" fmla="*/ 3004014 w 3705758"/>
                  <a:gd name="connsiteY24" fmla="*/ 908440 h 2731926"/>
                  <a:gd name="connsiteX25" fmla="*/ 2937601 w 3705758"/>
                  <a:gd name="connsiteY25" fmla="*/ 973667 h 2731926"/>
                  <a:gd name="connsiteX26" fmla="*/ 2548440 w 3705758"/>
                  <a:gd name="connsiteY26" fmla="*/ 1205097 h 2731926"/>
                  <a:gd name="connsiteX27" fmla="*/ 2421712 w 3705758"/>
                  <a:gd name="connsiteY27" fmla="*/ 1332503 h 2731926"/>
                  <a:gd name="connsiteX28" fmla="*/ 2192146 w 3705758"/>
                  <a:gd name="connsiteY28" fmla="*/ 1523949 h 2731926"/>
                  <a:gd name="connsiteX29" fmla="*/ 2167580 w 3705758"/>
                  <a:gd name="connsiteY29" fmla="*/ 1642206 h 2731926"/>
                  <a:gd name="connsiteX30" fmla="*/ 2069654 w 3705758"/>
                  <a:gd name="connsiteY30" fmla="*/ 1698115 h 2731926"/>
                  <a:gd name="connsiteX31" fmla="*/ 1898538 w 3705758"/>
                  <a:gd name="connsiteY31" fmla="*/ 1763512 h 2731926"/>
                  <a:gd name="connsiteX32" fmla="*/ 1468208 w 3705758"/>
                  <a:gd name="connsiteY32" fmla="*/ 1894136 h 2731926"/>
                  <a:gd name="connsiteX33" fmla="*/ 1283030 w 3705758"/>
                  <a:gd name="connsiteY33" fmla="*/ 1960041 h 2731926"/>
                  <a:gd name="connsiteX34" fmla="*/ 1189848 w 3705758"/>
                  <a:gd name="connsiteY34" fmla="*/ 2044921 h 2731926"/>
                  <a:gd name="connsiteX35" fmla="*/ 1058885 w 3705758"/>
                  <a:gd name="connsiteY35" fmla="*/ 2112013 h 2731926"/>
                  <a:gd name="connsiteX36" fmla="*/ 492000 w 3705758"/>
                  <a:gd name="connsiteY36" fmla="*/ 2326500 h 2731926"/>
                  <a:gd name="connsiteX37" fmla="*/ 350703 w 3705758"/>
                  <a:gd name="connsiteY37" fmla="*/ 2406129 h 2731926"/>
                  <a:gd name="connsiteX38" fmla="*/ 213810 w 3705758"/>
                  <a:gd name="connsiteY38" fmla="*/ 2536075 h 2731926"/>
                  <a:gd name="connsiteX39" fmla="*/ 0 w 3705758"/>
                  <a:gd name="connsiteY39" fmla="*/ 2731927 h 2731926"/>
                  <a:gd name="connsiteX40" fmla="*/ 86236 w 3705758"/>
                  <a:gd name="connsiteY40" fmla="*/ 2731588 h 2731926"/>
                  <a:gd name="connsiteX41" fmla="*/ 1051261 w 3705758"/>
                  <a:gd name="connsiteY41" fmla="*/ 2376988 h 273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705758" h="2731926">
                    <a:moveTo>
                      <a:pt x="1050922" y="2377497"/>
                    </a:moveTo>
                    <a:cubicBezTo>
                      <a:pt x="1113947" y="2352930"/>
                      <a:pt x="1131567" y="2291261"/>
                      <a:pt x="1209501" y="2245517"/>
                    </a:cubicBezTo>
                    <a:cubicBezTo>
                      <a:pt x="1233898" y="2230269"/>
                      <a:pt x="1258633" y="2219765"/>
                      <a:pt x="1284724" y="2211802"/>
                    </a:cubicBezTo>
                    <a:cubicBezTo>
                      <a:pt x="1410265" y="2173174"/>
                      <a:pt x="1701162" y="2102355"/>
                      <a:pt x="1777233" y="2082025"/>
                    </a:cubicBezTo>
                    <a:cubicBezTo>
                      <a:pt x="1865501" y="2052376"/>
                      <a:pt x="2017981" y="1989859"/>
                      <a:pt x="2087105" y="1955805"/>
                    </a:cubicBezTo>
                    <a:cubicBezTo>
                      <a:pt x="2100320" y="1949198"/>
                      <a:pt x="2124547" y="1932764"/>
                      <a:pt x="2128444" y="1918363"/>
                    </a:cubicBezTo>
                    <a:cubicBezTo>
                      <a:pt x="2137762" y="1890409"/>
                      <a:pt x="2114382" y="1845004"/>
                      <a:pt x="2126411" y="1812983"/>
                    </a:cubicBezTo>
                    <a:cubicBezTo>
                      <a:pt x="2140642" y="1782487"/>
                      <a:pt x="2175712" y="1762326"/>
                      <a:pt x="2201464" y="1739454"/>
                    </a:cubicBezTo>
                    <a:cubicBezTo>
                      <a:pt x="2249411" y="1697607"/>
                      <a:pt x="2310741" y="1664569"/>
                      <a:pt x="2339373" y="1611879"/>
                    </a:cubicBezTo>
                    <a:cubicBezTo>
                      <a:pt x="2358688" y="1579689"/>
                      <a:pt x="2376477" y="1539875"/>
                      <a:pt x="2406803" y="1518020"/>
                    </a:cubicBezTo>
                    <a:cubicBezTo>
                      <a:pt x="2447973" y="1490234"/>
                      <a:pt x="2591303" y="1399085"/>
                      <a:pt x="2702105" y="1324709"/>
                    </a:cubicBezTo>
                    <a:cubicBezTo>
                      <a:pt x="2746663" y="1294552"/>
                      <a:pt x="2779361" y="1272697"/>
                      <a:pt x="2814601" y="1245928"/>
                    </a:cubicBezTo>
                    <a:cubicBezTo>
                      <a:pt x="2833746" y="1231527"/>
                      <a:pt x="2841200" y="1222887"/>
                      <a:pt x="2851196" y="1192899"/>
                    </a:cubicBezTo>
                    <a:cubicBezTo>
                      <a:pt x="2858481" y="1171891"/>
                      <a:pt x="2865089" y="1148341"/>
                      <a:pt x="2872543" y="1127672"/>
                    </a:cubicBezTo>
                    <a:cubicBezTo>
                      <a:pt x="2892366" y="1068374"/>
                      <a:pt x="2964539" y="1027374"/>
                      <a:pt x="3009436" y="987560"/>
                    </a:cubicBezTo>
                    <a:cubicBezTo>
                      <a:pt x="3067886" y="939783"/>
                      <a:pt x="3419605" y="677857"/>
                      <a:pt x="3512957" y="546216"/>
                    </a:cubicBezTo>
                    <a:cubicBezTo>
                      <a:pt x="3573779" y="460489"/>
                      <a:pt x="3639345" y="363410"/>
                      <a:pt x="3681023" y="151971"/>
                    </a:cubicBezTo>
                    <a:cubicBezTo>
                      <a:pt x="3678482" y="173149"/>
                      <a:pt x="3675771" y="191277"/>
                      <a:pt x="3673060" y="203814"/>
                    </a:cubicBezTo>
                    <a:cubicBezTo>
                      <a:pt x="3665945" y="237191"/>
                      <a:pt x="3705759" y="0"/>
                      <a:pt x="3705759" y="0"/>
                    </a:cubicBezTo>
                    <a:cubicBezTo>
                      <a:pt x="3705420" y="12537"/>
                      <a:pt x="3704573" y="25413"/>
                      <a:pt x="3703218" y="38628"/>
                    </a:cubicBezTo>
                    <a:lnTo>
                      <a:pt x="3701184" y="198562"/>
                    </a:lnTo>
                    <a:lnTo>
                      <a:pt x="3692544" y="60314"/>
                    </a:lnTo>
                    <a:cubicBezTo>
                      <a:pt x="3668655" y="237360"/>
                      <a:pt x="3558192" y="448798"/>
                      <a:pt x="3388262" y="580609"/>
                    </a:cubicBezTo>
                    <a:cubicBezTo>
                      <a:pt x="3291523" y="657526"/>
                      <a:pt x="3176655" y="727667"/>
                      <a:pt x="3082118" y="818138"/>
                    </a:cubicBezTo>
                    <a:cubicBezTo>
                      <a:pt x="3053824" y="845584"/>
                      <a:pt x="3026547" y="877097"/>
                      <a:pt x="3004014" y="908440"/>
                    </a:cubicBezTo>
                    <a:cubicBezTo>
                      <a:pt x="2981312" y="940460"/>
                      <a:pt x="2972333" y="951642"/>
                      <a:pt x="2937601" y="973667"/>
                    </a:cubicBezTo>
                    <a:cubicBezTo>
                      <a:pt x="2829341" y="1043130"/>
                      <a:pt x="2629593" y="1158506"/>
                      <a:pt x="2548440" y="1205097"/>
                    </a:cubicBezTo>
                    <a:cubicBezTo>
                      <a:pt x="2495072" y="1233391"/>
                      <a:pt x="2458477" y="1285403"/>
                      <a:pt x="2421712" y="1332503"/>
                    </a:cubicBezTo>
                    <a:cubicBezTo>
                      <a:pt x="2371225" y="1411284"/>
                      <a:pt x="2250427" y="1452114"/>
                      <a:pt x="2192146" y="1523949"/>
                    </a:cubicBezTo>
                    <a:cubicBezTo>
                      <a:pt x="2162836" y="1563425"/>
                      <a:pt x="2190113" y="1612557"/>
                      <a:pt x="2167580" y="1642206"/>
                    </a:cubicBezTo>
                    <a:cubicBezTo>
                      <a:pt x="2142167" y="1672702"/>
                      <a:pt x="2107774" y="1680495"/>
                      <a:pt x="2069654" y="1698115"/>
                    </a:cubicBezTo>
                    <a:cubicBezTo>
                      <a:pt x="2014084" y="1720818"/>
                      <a:pt x="1954786" y="1742165"/>
                      <a:pt x="1898538" y="1763512"/>
                    </a:cubicBezTo>
                    <a:cubicBezTo>
                      <a:pt x="1759104" y="1819760"/>
                      <a:pt x="1612724" y="1852458"/>
                      <a:pt x="1468208" y="1894136"/>
                    </a:cubicBezTo>
                    <a:cubicBezTo>
                      <a:pt x="1402642" y="1915822"/>
                      <a:pt x="1332840" y="1923615"/>
                      <a:pt x="1283030" y="1960041"/>
                    </a:cubicBezTo>
                    <a:cubicBezTo>
                      <a:pt x="1252195" y="1984946"/>
                      <a:pt x="1220683" y="2018661"/>
                      <a:pt x="1189848" y="2044921"/>
                    </a:cubicBezTo>
                    <a:cubicBezTo>
                      <a:pt x="1153761" y="2077620"/>
                      <a:pt x="1111236" y="2094731"/>
                      <a:pt x="1058885" y="2112013"/>
                    </a:cubicBezTo>
                    <a:cubicBezTo>
                      <a:pt x="871844" y="2166397"/>
                      <a:pt x="690901" y="2240943"/>
                      <a:pt x="492000" y="2326500"/>
                    </a:cubicBezTo>
                    <a:cubicBezTo>
                      <a:pt x="435583" y="2349881"/>
                      <a:pt x="397971" y="2366823"/>
                      <a:pt x="350703" y="2406129"/>
                    </a:cubicBezTo>
                    <a:cubicBezTo>
                      <a:pt x="300385" y="2444926"/>
                      <a:pt x="257351" y="2490840"/>
                      <a:pt x="213810" y="2536075"/>
                    </a:cubicBezTo>
                    <a:cubicBezTo>
                      <a:pt x="156884" y="2592662"/>
                      <a:pt x="59298" y="2679067"/>
                      <a:pt x="0" y="2731927"/>
                    </a:cubicBezTo>
                    <a:lnTo>
                      <a:pt x="86236" y="2731588"/>
                    </a:lnTo>
                    <a:cubicBezTo>
                      <a:pt x="359343" y="2591815"/>
                      <a:pt x="738848" y="2503716"/>
                      <a:pt x="1051261" y="2376988"/>
                    </a:cubicBezTo>
                    <a:close/>
                  </a:path>
                </a:pathLst>
              </a:custGeom>
              <a:solidFill>
                <a:srgbClr val="0095FF"/>
              </a:solidFill>
              <a:ln w="16928" cap="flat">
                <a:noFill/>
                <a:prstDash val="solid"/>
                <a:miter/>
              </a:ln>
            </p:spPr>
            <p:txBody>
              <a:bodyPr rtlCol="0" anchor="ctr"/>
              <a:lstStyle/>
              <a:p>
                <a:endParaRPr lang="en-US"/>
              </a:p>
            </p:txBody>
          </p:sp>
          <p:sp>
            <p:nvSpPr>
              <p:cNvPr id="249" name="Freeform: Shape 248">
                <a:extLst>
                  <a:ext uri="{FF2B5EF4-FFF2-40B4-BE49-F238E27FC236}">
                    <a16:creationId xmlns:a16="http://schemas.microsoft.com/office/drawing/2014/main" id="{6F435CA5-58C6-DCCB-FAB7-068FCD23F46E}"/>
                  </a:ext>
                </a:extLst>
              </p:cNvPr>
              <p:cNvSpPr/>
              <p:nvPr/>
            </p:nvSpPr>
            <p:spPr>
              <a:xfrm>
                <a:off x="2938202" y="1946196"/>
                <a:ext cx="2901514" cy="2838662"/>
              </a:xfrm>
              <a:custGeom>
                <a:avLst/>
                <a:gdLst>
                  <a:gd name="connsiteX0" fmla="*/ 0 w 2901514"/>
                  <a:gd name="connsiteY0" fmla="*/ 2838324 h 2838662"/>
                  <a:gd name="connsiteX1" fmla="*/ 145872 w 2901514"/>
                  <a:gd name="connsiteY1" fmla="*/ 2683303 h 2838662"/>
                  <a:gd name="connsiteX2" fmla="*/ 1007550 w 2901514"/>
                  <a:gd name="connsiteY2" fmla="*/ 2418835 h 2838662"/>
                  <a:gd name="connsiteX3" fmla="*/ 1228645 w 2901514"/>
                  <a:gd name="connsiteY3" fmla="*/ 2311591 h 2838662"/>
                  <a:gd name="connsiteX4" fmla="*/ 1253720 w 2901514"/>
                  <a:gd name="connsiteY4" fmla="*/ 2178087 h 2838662"/>
                  <a:gd name="connsiteX5" fmla="*/ 1430596 w 2901514"/>
                  <a:gd name="connsiteY5" fmla="*/ 2031537 h 2838662"/>
                  <a:gd name="connsiteX6" fmla="*/ 1597307 w 2901514"/>
                  <a:gd name="connsiteY6" fmla="*/ 1841785 h 2838662"/>
                  <a:gd name="connsiteX7" fmla="*/ 1929881 w 2901514"/>
                  <a:gd name="connsiteY7" fmla="*/ 1592735 h 2838662"/>
                  <a:gd name="connsiteX8" fmla="*/ 1953600 w 2901514"/>
                  <a:gd name="connsiteY8" fmla="*/ 1465499 h 2838662"/>
                  <a:gd name="connsiteX9" fmla="*/ 2205530 w 2901514"/>
                  <a:gd name="connsiteY9" fmla="*/ 1204928 h 2838662"/>
                  <a:gd name="connsiteX10" fmla="*/ 2631118 w 2901514"/>
                  <a:gd name="connsiteY10" fmla="*/ 793402 h 2838662"/>
                  <a:gd name="connsiteX11" fmla="*/ 2873390 w 2901514"/>
                  <a:gd name="connsiteY11" fmla="*/ 301063 h 2838662"/>
                  <a:gd name="connsiteX12" fmla="*/ 2901514 w 2901514"/>
                  <a:gd name="connsiteY12" fmla="*/ 0 h 2838662"/>
                  <a:gd name="connsiteX13" fmla="*/ 2901514 w 2901514"/>
                  <a:gd name="connsiteY13" fmla="*/ 472009 h 2838662"/>
                  <a:gd name="connsiteX14" fmla="*/ 2540307 w 2901514"/>
                  <a:gd name="connsiteY14" fmla="*/ 1260668 h 2838662"/>
                  <a:gd name="connsiteX15" fmla="*/ 2035262 w 2901514"/>
                  <a:gd name="connsiteY15" fmla="*/ 1827892 h 2838662"/>
                  <a:gd name="connsiteX16" fmla="*/ 1775030 w 2901514"/>
                  <a:gd name="connsiteY16" fmla="*/ 2362079 h 2838662"/>
                  <a:gd name="connsiteX17" fmla="*/ 1297261 w 2901514"/>
                  <a:gd name="connsiteY17" fmla="*/ 2688386 h 2838662"/>
                  <a:gd name="connsiteX18" fmla="*/ 893191 w 2901514"/>
                  <a:gd name="connsiteY18" fmla="*/ 2791394 h 2838662"/>
                  <a:gd name="connsiteX19" fmla="*/ 339 w 2901514"/>
                  <a:gd name="connsiteY19" fmla="*/ 2838663 h 283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01514" h="2838662">
                    <a:moveTo>
                      <a:pt x="0" y="2838324"/>
                    </a:moveTo>
                    <a:cubicBezTo>
                      <a:pt x="0" y="2838324"/>
                      <a:pt x="1525" y="2748361"/>
                      <a:pt x="145872" y="2683303"/>
                    </a:cubicBezTo>
                    <a:cubicBezTo>
                      <a:pt x="290219" y="2618245"/>
                      <a:pt x="1007550" y="2418835"/>
                      <a:pt x="1007550" y="2418835"/>
                    </a:cubicBezTo>
                    <a:cubicBezTo>
                      <a:pt x="1007550" y="2418835"/>
                      <a:pt x="1195778" y="2356996"/>
                      <a:pt x="1228645" y="2311591"/>
                    </a:cubicBezTo>
                    <a:cubicBezTo>
                      <a:pt x="1261513" y="2266186"/>
                      <a:pt x="1232373" y="2226880"/>
                      <a:pt x="1253720" y="2178087"/>
                    </a:cubicBezTo>
                    <a:cubicBezTo>
                      <a:pt x="1273881" y="2131835"/>
                      <a:pt x="1408571" y="2064913"/>
                      <a:pt x="1430596" y="2031537"/>
                    </a:cubicBezTo>
                    <a:cubicBezTo>
                      <a:pt x="1452621" y="1998161"/>
                      <a:pt x="1482270" y="1917855"/>
                      <a:pt x="1597307" y="1841785"/>
                    </a:cubicBezTo>
                    <a:cubicBezTo>
                      <a:pt x="1712344" y="1765714"/>
                      <a:pt x="1922935" y="1640173"/>
                      <a:pt x="1929881" y="1592735"/>
                    </a:cubicBezTo>
                    <a:cubicBezTo>
                      <a:pt x="1936828" y="1545296"/>
                      <a:pt x="1927171" y="1506668"/>
                      <a:pt x="1953600" y="1465499"/>
                    </a:cubicBezTo>
                    <a:cubicBezTo>
                      <a:pt x="1980030" y="1424329"/>
                      <a:pt x="2159278" y="1240168"/>
                      <a:pt x="2205530" y="1204928"/>
                    </a:cubicBezTo>
                    <a:cubicBezTo>
                      <a:pt x="2359027" y="1087858"/>
                      <a:pt x="2590117" y="838977"/>
                      <a:pt x="2631118" y="793402"/>
                    </a:cubicBezTo>
                    <a:cubicBezTo>
                      <a:pt x="2846452" y="553671"/>
                      <a:pt x="2858481" y="370356"/>
                      <a:pt x="2873390" y="301063"/>
                    </a:cubicBezTo>
                    <a:cubicBezTo>
                      <a:pt x="2888299" y="231769"/>
                      <a:pt x="2901514" y="0"/>
                      <a:pt x="2901514" y="0"/>
                    </a:cubicBezTo>
                    <a:lnTo>
                      <a:pt x="2901514" y="472009"/>
                    </a:lnTo>
                    <a:lnTo>
                      <a:pt x="2540307" y="1260668"/>
                    </a:lnTo>
                    <a:lnTo>
                      <a:pt x="2035262" y="1827892"/>
                    </a:lnTo>
                    <a:lnTo>
                      <a:pt x="1775030" y="2362079"/>
                    </a:lnTo>
                    <a:lnTo>
                      <a:pt x="1297261" y="2688386"/>
                    </a:lnTo>
                    <a:lnTo>
                      <a:pt x="893191" y="2791394"/>
                    </a:lnTo>
                    <a:lnTo>
                      <a:pt x="339" y="2838663"/>
                    </a:lnTo>
                    <a:close/>
                  </a:path>
                </a:pathLst>
              </a:custGeom>
              <a:solidFill>
                <a:srgbClr val="0000C9"/>
              </a:solidFill>
              <a:ln w="16928" cap="flat">
                <a:noFill/>
                <a:prstDash val="solid"/>
                <a:miter/>
              </a:ln>
            </p:spPr>
            <p:txBody>
              <a:bodyPr rtlCol="0" anchor="ctr"/>
              <a:lstStyle/>
              <a:p>
                <a:endParaRPr lang="en-US"/>
              </a:p>
            </p:txBody>
          </p:sp>
          <p:sp>
            <p:nvSpPr>
              <p:cNvPr id="250" name="Freeform: Shape 249">
                <a:extLst>
                  <a:ext uri="{FF2B5EF4-FFF2-40B4-BE49-F238E27FC236}">
                    <a16:creationId xmlns:a16="http://schemas.microsoft.com/office/drawing/2014/main" id="{A41F21A0-EDCD-29C1-6CA7-78C6BAED86DB}"/>
                  </a:ext>
                </a:extLst>
              </p:cNvPr>
              <p:cNvSpPr/>
              <p:nvPr/>
            </p:nvSpPr>
            <p:spPr>
              <a:xfrm>
                <a:off x="2137854" y="2043444"/>
                <a:ext cx="3705758" cy="2731926"/>
              </a:xfrm>
              <a:custGeom>
                <a:avLst/>
                <a:gdLst>
                  <a:gd name="connsiteX0" fmla="*/ 0 w 3705758"/>
                  <a:gd name="connsiteY0" fmla="*/ 2731927 h 2731926"/>
                  <a:gd name="connsiteX1" fmla="*/ 213810 w 3705758"/>
                  <a:gd name="connsiteY1" fmla="*/ 2536075 h 2731926"/>
                  <a:gd name="connsiteX2" fmla="*/ 350703 w 3705758"/>
                  <a:gd name="connsiteY2" fmla="*/ 2406129 h 2731926"/>
                  <a:gd name="connsiteX3" fmla="*/ 492000 w 3705758"/>
                  <a:gd name="connsiteY3" fmla="*/ 2326501 h 2731926"/>
                  <a:gd name="connsiteX4" fmla="*/ 1058885 w 3705758"/>
                  <a:gd name="connsiteY4" fmla="*/ 2112013 h 2731926"/>
                  <a:gd name="connsiteX5" fmla="*/ 1189848 w 3705758"/>
                  <a:gd name="connsiteY5" fmla="*/ 2044921 h 2731926"/>
                  <a:gd name="connsiteX6" fmla="*/ 1283030 w 3705758"/>
                  <a:gd name="connsiteY6" fmla="*/ 1960041 h 2731926"/>
                  <a:gd name="connsiteX7" fmla="*/ 1468208 w 3705758"/>
                  <a:gd name="connsiteY7" fmla="*/ 1894136 h 2731926"/>
                  <a:gd name="connsiteX8" fmla="*/ 1898538 w 3705758"/>
                  <a:gd name="connsiteY8" fmla="*/ 1763512 h 2731926"/>
                  <a:gd name="connsiteX9" fmla="*/ 2069654 w 3705758"/>
                  <a:gd name="connsiteY9" fmla="*/ 1698115 h 2731926"/>
                  <a:gd name="connsiteX10" fmla="*/ 2167580 w 3705758"/>
                  <a:gd name="connsiteY10" fmla="*/ 1642206 h 2731926"/>
                  <a:gd name="connsiteX11" fmla="*/ 2192146 w 3705758"/>
                  <a:gd name="connsiteY11" fmla="*/ 1523949 h 2731926"/>
                  <a:gd name="connsiteX12" fmla="*/ 2421712 w 3705758"/>
                  <a:gd name="connsiteY12" fmla="*/ 1332503 h 2731926"/>
                  <a:gd name="connsiteX13" fmla="*/ 2548440 w 3705758"/>
                  <a:gd name="connsiteY13" fmla="*/ 1205097 h 2731926"/>
                  <a:gd name="connsiteX14" fmla="*/ 2937601 w 3705758"/>
                  <a:gd name="connsiteY14" fmla="*/ 973667 h 2731926"/>
                  <a:gd name="connsiteX15" fmla="*/ 3004014 w 3705758"/>
                  <a:gd name="connsiteY15" fmla="*/ 908440 h 2731926"/>
                  <a:gd name="connsiteX16" fmla="*/ 3082118 w 3705758"/>
                  <a:gd name="connsiteY16" fmla="*/ 818138 h 2731926"/>
                  <a:gd name="connsiteX17" fmla="*/ 3388262 w 3705758"/>
                  <a:gd name="connsiteY17" fmla="*/ 580609 h 2731926"/>
                  <a:gd name="connsiteX18" fmla="*/ 3705759 w 3705758"/>
                  <a:gd name="connsiteY18" fmla="*/ 0 h 273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05758" h="2731926">
                    <a:moveTo>
                      <a:pt x="0" y="2731927"/>
                    </a:moveTo>
                    <a:cubicBezTo>
                      <a:pt x="59467" y="2679067"/>
                      <a:pt x="157054" y="2592662"/>
                      <a:pt x="213810" y="2536075"/>
                    </a:cubicBezTo>
                    <a:cubicBezTo>
                      <a:pt x="257351" y="2490840"/>
                      <a:pt x="300385" y="2444926"/>
                      <a:pt x="350703" y="2406129"/>
                    </a:cubicBezTo>
                    <a:cubicBezTo>
                      <a:pt x="397971" y="2366823"/>
                      <a:pt x="435583" y="2350050"/>
                      <a:pt x="492000" y="2326501"/>
                    </a:cubicBezTo>
                    <a:cubicBezTo>
                      <a:pt x="690901" y="2240943"/>
                      <a:pt x="872013" y="2166227"/>
                      <a:pt x="1058885" y="2112013"/>
                    </a:cubicBezTo>
                    <a:cubicBezTo>
                      <a:pt x="1111236" y="2094562"/>
                      <a:pt x="1153931" y="2077620"/>
                      <a:pt x="1189848" y="2044921"/>
                    </a:cubicBezTo>
                    <a:cubicBezTo>
                      <a:pt x="1220852" y="2018661"/>
                      <a:pt x="1252195" y="1984946"/>
                      <a:pt x="1283030" y="1960041"/>
                    </a:cubicBezTo>
                    <a:cubicBezTo>
                      <a:pt x="1332840" y="1923615"/>
                      <a:pt x="1402811" y="1915653"/>
                      <a:pt x="1468208" y="1894136"/>
                    </a:cubicBezTo>
                    <a:cubicBezTo>
                      <a:pt x="1612724" y="1852458"/>
                      <a:pt x="1759104" y="1819590"/>
                      <a:pt x="1898538" y="1763512"/>
                    </a:cubicBezTo>
                    <a:cubicBezTo>
                      <a:pt x="1954617" y="1742165"/>
                      <a:pt x="2013914" y="1720818"/>
                      <a:pt x="2069654" y="1698115"/>
                    </a:cubicBezTo>
                    <a:cubicBezTo>
                      <a:pt x="2107944" y="1680495"/>
                      <a:pt x="2142336" y="1672702"/>
                      <a:pt x="2167580" y="1642206"/>
                    </a:cubicBezTo>
                    <a:cubicBezTo>
                      <a:pt x="2190282" y="1612557"/>
                      <a:pt x="2162836" y="1563425"/>
                      <a:pt x="2192146" y="1523949"/>
                    </a:cubicBezTo>
                    <a:cubicBezTo>
                      <a:pt x="2250427" y="1452115"/>
                      <a:pt x="2371225" y="1411284"/>
                      <a:pt x="2421712" y="1332503"/>
                    </a:cubicBezTo>
                    <a:cubicBezTo>
                      <a:pt x="2458646" y="1285403"/>
                      <a:pt x="2495072" y="1233391"/>
                      <a:pt x="2548440" y="1205097"/>
                    </a:cubicBezTo>
                    <a:cubicBezTo>
                      <a:pt x="2629593" y="1158506"/>
                      <a:pt x="2829341" y="1043130"/>
                      <a:pt x="2937601" y="973667"/>
                    </a:cubicBezTo>
                    <a:cubicBezTo>
                      <a:pt x="2972163" y="951473"/>
                      <a:pt x="2981143" y="940291"/>
                      <a:pt x="3004014" y="908440"/>
                    </a:cubicBezTo>
                    <a:cubicBezTo>
                      <a:pt x="3026547" y="877097"/>
                      <a:pt x="3053994" y="845584"/>
                      <a:pt x="3082118" y="818138"/>
                    </a:cubicBezTo>
                    <a:cubicBezTo>
                      <a:pt x="3176655" y="727667"/>
                      <a:pt x="3291523" y="657526"/>
                      <a:pt x="3388262" y="580609"/>
                    </a:cubicBezTo>
                    <a:cubicBezTo>
                      <a:pt x="3575982" y="435075"/>
                      <a:pt x="3701862" y="184331"/>
                      <a:pt x="3705759" y="0"/>
                    </a:cubicBezTo>
                  </a:path>
                </a:pathLst>
              </a:custGeom>
              <a:noFill/>
              <a:ln w="16928" cap="flat">
                <a:solidFill>
                  <a:srgbClr val="231F20"/>
                </a:solidFill>
                <a:prstDash val="solid"/>
                <a:miter/>
              </a:ln>
            </p:spPr>
            <p:txBody>
              <a:bodyPr rtlCol="0" anchor="ctr"/>
              <a:lstStyle/>
              <a:p>
                <a:endParaRPr lang="en-US"/>
              </a:p>
            </p:txBody>
          </p:sp>
          <p:sp>
            <p:nvSpPr>
              <p:cNvPr id="251" name="Freeform: Shape 250">
                <a:extLst>
                  <a:ext uri="{FF2B5EF4-FFF2-40B4-BE49-F238E27FC236}">
                    <a16:creationId xmlns:a16="http://schemas.microsoft.com/office/drawing/2014/main" id="{C82D0A7F-CBAA-7CED-C906-3540CC187D4A}"/>
                  </a:ext>
                </a:extLst>
              </p:cNvPr>
              <p:cNvSpPr/>
              <p:nvPr/>
            </p:nvSpPr>
            <p:spPr>
              <a:xfrm>
                <a:off x="1393246" y="2024808"/>
                <a:ext cx="4454602" cy="2727183"/>
              </a:xfrm>
              <a:custGeom>
                <a:avLst/>
                <a:gdLst>
                  <a:gd name="connsiteX0" fmla="*/ 0 w 4454602"/>
                  <a:gd name="connsiteY0" fmla="*/ 2727183 h 2727183"/>
                  <a:gd name="connsiteX1" fmla="*/ 742914 w 4454602"/>
                  <a:gd name="connsiteY1" fmla="*/ 2488298 h 2727183"/>
                  <a:gd name="connsiteX2" fmla="*/ 947236 w 4454602"/>
                  <a:gd name="connsiteY2" fmla="*/ 2412059 h 2727183"/>
                  <a:gd name="connsiteX3" fmla="*/ 1003484 w 4454602"/>
                  <a:gd name="connsiteY3" fmla="*/ 2364451 h 2727183"/>
                  <a:gd name="connsiteX4" fmla="*/ 1029744 w 4454602"/>
                  <a:gd name="connsiteY4" fmla="*/ 2260765 h 2727183"/>
                  <a:gd name="connsiteX5" fmla="*/ 1303530 w 4454602"/>
                  <a:gd name="connsiteY5" fmla="*/ 2062033 h 2727183"/>
                  <a:gd name="connsiteX6" fmla="*/ 1905485 w 4454602"/>
                  <a:gd name="connsiteY6" fmla="*/ 1831111 h 2727183"/>
                  <a:gd name="connsiteX7" fmla="*/ 2079989 w 4454602"/>
                  <a:gd name="connsiteY7" fmla="*/ 1706247 h 2727183"/>
                  <a:gd name="connsiteX8" fmla="*/ 2163853 w 4454602"/>
                  <a:gd name="connsiteY8" fmla="*/ 1669483 h 2727183"/>
                  <a:gd name="connsiteX9" fmla="*/ 2905241 w 4454602"/>
                  <a:gd name="connsiteY9" fmla="*/ 1437375 h 2727183"/>
                  <a:gd name="connsiteX10" fmla="*/ 2987919 w 4454602"/>
                  <a:gd name="connsiteY10" fmla="*/ 1397222 h 2727183"/>
                  <a:gd name="connsiteX11" fmla="*/ 3051452 w 4454602"/>
                  <a:gd name="connsiteY11" fmla="*/ 1254907 h 2727183"/>
                  <a:gd name="connsiteX12" fmla="*/ 3229006 w 4454602"/>
                  <a:gd name="connsiteY12" fmla="*/ 1134279 h 2727183"/>
                  <a:gd name="connsiteX13" fmla="*/ 3368779 w 4454602"/>
                  <a:gd name="connsiteY13" fmla="*/ 1023138 h 2727183"/>
                  <a:gd name="connsiteX14" fmla="*/ 3487882 w 4454602"/>
                  <a:gd name="connsiteY14" fmla="*/ 935209 h 2727183"/>
                  <a:gd name="connsiteX15" fmla="*/ 3954639 w 4454602"/>
                  <a:gd name="connsiteY15" fmla="*/ 693444 h 2727183"/>
                  <a:gd name="connsiteX16" fmla="*/ 4080180 w 4454602"/>
                  <a:gd name="connsiteY16" fmla="*/ 562311 h 2727183"/>
                  <a:gd name="connsiteX17" fmla="*/ 4260784 w 4454602"/>
                  <a:gd name="connsiteY17" fmla="*/ 425079 h 2727183"/>
                  <a:gd name="connsiteX18" fmla="*/ 4454602 w 4454602"/>
                  <a:gd name="connsiteY18" fmla="*/ 0 h 2727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54602" h="2727183">
                    <a:moveTo>
                      <a:pt x="0" y="2727183"/>
                    </a:moveTo>
                    <a:cubicBezTo>
                      <a:pt x="128252" y="2685844"/>
                      <a:pt x="591112" y="2532179"/>
                      <a:pt x="742914" y="2488298"/>
                    </a:cubicBezTo>
                    <a:cubicBezTo>
                      <a:pt x="803567" y="2471187"/>
                      <a:pt x="881670" y="2444926"/>
                      <a:pt x="947236" y="2412059"/>
                    </a:cubicBezTo>
                    <a:cubicBezTo>
                      <a:pt x="974174" y="2398335"/>
                      <a:pt x="993488" y="2383765"/>
                      <a:pt x="1003484" y="2364451"/>
                    </a:cubicBezTo>
                    <a:cubicBezTo>
                      <a:pt x="1020257" y="2332939"/>
                      <a:pt x="1024662" y="2296005"/>
                      <a:pt x="1029744" y="2260765"/>
                    </a:cubicBezTo>
                    <a:cubicBezTo>
                      <a:pt x="1040926" y="2181984"/>
                      <a:pt x="1242030" y="2084227"/>
                      <a:pt x="1303530" y="2062033"/>
                    </a:cubicBezTo>
                    <a:cubicBezTo>
                      <a:pt x="1417042" y="2018322"/>
                      <a:pt x="1742332" y="1899388"/>
                      <a:pt x="1905485" y="1831111"/>
                    </a:cubicBezTo>
                    <a:cubicBezTo>
                      <a:pt x="1983588" y="1805528"/>
                      <a:pt x="2021200" y="1754363"/>
                      <a:pt x="2079989" y="1706247"/>
                    </a:cubicBezTo>
                    <a:cubicBezTo>
                      <a:pt x="2109638" y="1683545"/>
                      <a:pt x="2125563" y="1681681"/>
                      <a:pt x="2163853" y="1669483"/>
                    </a:cubicBezTo>
                    <a:cubicBezTo>
                      <a:pt x="2370208" y="1607813"/>
                      <a:pt x="2714134" y="1511920"/>
                      <a:pt x="2905241" y="1437375"/>
                    </a:cubicBezTo>
                    <a:cubicBezTo>
                      <a:pt x="2943022" y="1421619"/>
                      <a:pt x="2967419" y="1412809"/>
                      <a:pt x="2987919" y="1397222"/>
                    </a:cubicBezTo>
                    <a:cubicBezTo>
                      <a:pt x="3023328" y="1362490"/>
                      <a:pt x="3019940" y="1294722"/>
                      <a:pt x="3051452" y="1254907"/>
                    </a:cubicBezTo>
                    <a:cubicBezTo>
                      <a:pt x="3097874" y="1204759"/>
                      <a:pt x="3172080" y="1173924"/>
                      <a:pt x="3229006" y="1134279"/>
                    </a:cubicBezTo>
                    <a:cubicBezTo>
                      <a:pt x="3284407" y="1101411"/>
                      <a:pt x="3318969" y="1066341"/>
                      <a:pt x="3368779" y="1023138"/>
                    </a:cubicBezTo>
                    <a:cubicBezTo>
                      <a:pt x="3407068" y="990271"/>
                      <a:pt x="3444002" y="957742"/>
                      <a:pt x="3487882" y="935209"/>
                    </a:cubicBezTo>
                    <a:cubicBezTo>
                      <a:pt x="3586316" y="882349"/>
                      <a:pt x="3827742" y="769006"/>
                      <a:pt x="3954639" y="693444"/>
                    </a:cubicBezTo>
                    <a:cubicBezTo>
                      <a:pt x="4003432" y="661592"/>
                      <a:pt x="4034775" y="604497"/>
                      <a:pt x="4080180" y="562311"/>
                    </a:cubicBezTo>
                    <a:cubicBezTo>
                      <a:pt x="4135751" y="511654"/>
                      <a:pt x="4203181" y="473873"/>
                      <a:pt x="4260784" y="425079"/>
                    </a:cubicBezTo>
                    <a:cubicBezTo>
                      <a:pt x="4387681" y="320038"/>
                      <a:pt x="4445115" y="158579"/>
                      <a:pt x="4454602" y="0"/>
                    </a:cubicBezTo>
                  </a:path>
                </a:pathLst>
              </a:custGeom>
              <a:noFill/>
              <a:ln w="16928" cap="flat">
                <a:solidFill>
                  <a:srgbClr val="231F20"/>
                </a:solidFill>
                <a:prstDash val="solid"/>
                <a:miter/>
              </a:ln>
            </p:spPr>
            <p:txBody>
              <a:bodyPr rtlCol="0" anchor="ctr"/>
              <a:lstStyle/>
              <a:p>
                <a:endParaRPr lang="en-US"/>
              </a:p>
            </p:txBody>
          </p:sp>
          <p:sp>
            <p:nvSpPr>
              <p:cNvPr id="253" name="Freeform: Shape 252">
                <a:extLst>
                  <a:ext uri="{FF2B5EF4-FFF2-40B4-BE49-F238E27FC236}">
                    <a16:creationId xmlns:a16="http://schemas.microsoft.com/office/drawing/2014/main" id="{A9AA13A0-6C92-EF4B-BBAB-FF2FF4FD2DB7}"/>
                  </a:ext>
                </a:extLst>
              </p:cNvPr>
              <p:cNvSpPr/>
              <p:nvPr/>
            </p:nvSpPr>
            <p:spPr>
              <a:xfrm>
                <a:off x="3306186" y="1944841"/>
                <a:ext cx="2533191" cy="2796815"/>
              </a:xfrm>
              <a:custGeom>
                <a:avLst/>
                <a:gdLst>
                  <a:gd name="connsiteX0" fmla="*/ 2532006 w 2533191"/>
                  <a:gd name="connsiteY0" fmla="*/ 247864 h 2796815"/>
                  <a:gd name="connsiteX1" fmla="*/ 2532006 w 2533191"/>
                  <a:gd name="connsiteY1" fmla="*/ 132827 h 2796815"/>
                  <a:gd name="connsiteX2" fmla="*/ 2533192 w 2533191"/>
                  <a:gd name="connsiteY2" fmla="*/ 132827 h 2796815"/>
                  <a:gd name="connsiteX3" fmla="*/ 2533192 w 2533191"/>
                  <a:gd name="connsiteY3" fmla="*/ 0 h 2796815"/>
                  <a:gd name="connsiteX4" fmla="*/ 2529295 w 2533191"/>
                  <a:gd name="connsiteY4" fmla="*/ 2541 h 2796815"/>
                  <a:gd name="connsiteX5" fmla="*/ 2526245 w 2533191"/>
                  <a:gd name="connsiteY5" fmla="*/ 49471 h 2796815"/>
                  <a:gd name="connsiteX6" fmla="*/ 2522010 w 2533191"/>
                  <a:gd name="connsiteY6" fmla="*/ 141298 h 2796815"/>
                  <a:gd name="connsiteX7" fmla="*/ 2490159 w 2533191"/>
                  <a:gd name="connsiteY7" fmla="*/ 331050 h 2796815"/>
                  <a:gd name="connsiteX8" fmla="*/ 2485415 w 2533191"/>
                  <a:gd name="connsiteY8" fmla="*/ 356633 h 2796815"/>
                  <a:gd name="connsiteX9" fmla="*/ 2464237 w 2533191"/>
                  <a:gd name="connsiteY9" fmla="*/ 471840 h 2796815"/>
                  <a:gd name="connsiteX10" fmla="*/ 2387489 w 2533191"/>
                  <a:gd name="connsiteY10" fmla="*/ 647022 h 2796815"/>
                  <a:gd name="connsiteX11" fmla="*/ 2387489 w 2533191"/>
                  <a:gd name="connsiteY11" fmla="*/ 647022 h 2796815"/>
                  <a:gd name="connsiteX12" fmla="*/ 2387320 w 2533191"/>
                  <a:gd name="connsiteY12" fmla="*/ 647022 h 2796815"/>
                  <a:gd name="connsiteX13" fmla="*/ 2368175 w 2533191"/>
                  <a:gd name="connsiteY13" fmla="*/ 679043 h 2796815"/>
                  <a:gd name="connsiteX14" fmla="*/ 2367667 w 2533191"/>
                  <a:gd name="connsiteY14" fmla="*/ 680229 h 2796815"/>
                  <a:gd name="connsiteX15" fmla="*/ 2360890 w 2533191"/>
                  <a:gd name="connsiteY15" fmla="*/ 690733 h 2796815"/>
                  <a:gd name="connsiteX16" fmla="*/ 2353266 w 2533191"/>
                  <a:gd name="connsiteY16" fmla="*/ 702762 h 2796815"/>
                  <a:gd name="connsiteX17" fmla="*/ 2353266 w 2533191"/>
                  <a:gd name="connsiteY17" fmla="*/ 702762 h 2796815"/>
                  <a:gd name="connsiteX18" fmla="*/ 2342931 w 2533191"/>
                  <a:gd name="connsiteY18" fmla="*/ 717332 h 2796815"/>
                  <a:gd name="connsiteX19" fmla="*/ 2238229 w 2533191"/>
                  <a:gd name="connsiteY19" fmla="*/ 858630 h 2796815"/>
                  <a:gd name="connsiteX20" fmla="*/ 2103538 w 2533191"/>
                  <a:gd name="connsiteY20" fmla="*/ 1016192 h 2796815"/>
                  <a:gd name="connsiteX21" fmla="*/ 2027299 w 2533191"/>
                  <a:gd name="connsiteY21" fmla="*/ 1121573 h 2796815"/>
                  <a:gd name="connsiteX22" fmla="*/ 1932931 w 2533191"/>
                  <a:gd name="connsiteY22" fmla="*/ 1237965 h 2796815"/>
                  <a:gd name="connsiteX23" fmla="*/ 1740807 w 2533191"/>
                  <a:gd name="connsiteY23" fmla="*/ 1432970 h 2796815"/>
                  <a:gd name="connsiteX24" fmla="*/ 1602389 w 2533191"/>
                  <a:gd name="connsiteY24" fmla="*/ 1589854 h 2796815"/>
                  <a:gd name="connsiteX25" fmla="*/ 1501414 w 2533191"/>
                  <a:gd name="connsiteY25" fmla="*/ 1704892 h 2796815"/>
                  <a:gd name="connsiteX26" fmla="*/ 1464819 w 2533191"/>
                  <a:gd name="connsiteY26" fmla="*/ 1785198 h 2796815"/>
                  <a:gd name="connsiteX27" fmla="*/ 1465666 w 2533191"/>
                  <a:gd name="connsiteY27" fmla="*/ 1849917 h 2796815"/>
                  <a:gd name="connsiteX28" fmla="*/ 1418228 w 2533191"/>
                  <a:gd name="connsiteY28" fmla="*/ 1928020 h 2796815"/>
                  <a:gd name="connsiteX29" fmla="*/ 1201877 w 2533191"/>
                  <a:gd name="connsiteY29" fmla="*/ 2082025 h 2796815"/>
                  <a:gd name="connsiteX30" fmla="*/ 1077013 w 2533191"/>
                  <a:gd name="connsiteY30" fmla="*/ 2164364 h 2796815"/>
                  <a:gd name="connsiteX31" fmla="*/ 1032455 w 2533191"/>
                  <a:gd name="connsiteY31" fmla="*/ 2213665 h 2796815"/>
                  <a:gd name="connsiteX32" fmla="*/ 991794 w 2533191"/>
                  <a:gd name="connsiteY32" fmla="*/ 2283806 h 2796815"/>
                  <a:gd name="connsiteX33" fmla="*/ 927414 w 2533191"/>
                  <a:gd name="connsiteY33" fmla="*/ 2352592 h 2796815"/>
                  <a:gd name="connsiteX34" fmla="*/ 830335 w 2533191"/>
                  <a:gd name="connsiteY34" fmla="*/ 2422054 h 2796815"/>
                  <a:gd name="connsiteX35" fmla="*/ 796451 w 2533191"/>
                  <a:gd name="connsiteY35" fmla="*/ 2501683 h 2796815"/>
                  <a:gd name="connsiteX36" fmla="*/ 759347 w 2533191"/>
                  <a:gd name="connsiteY36" fmla="*/ 2605708 h 2796815"/>
                  <a:gd name="connsiteX37" fmla="*/ 690732 w 2533191"/>
                  <a:gd name="connsiteY37" fmla="*/ 2644336 h 2796815"/>
                  <a:gd name="connsiteX38" fmla="*/ 683277 w 2533191"/>
                  <a:gd name="connsiteY38" fmla="*/ 2647385 h 2796815"/>
                  <a:gd name="connsiteX39" fmla="*/ 680567 w 2533191"/>
                  <a:gd name="connsiteY39" fmla="*/ 2649588 h 2796815"/>
                  <a:gd name="connsiteX40" fmla="*/ 667690 w 2533191"/>
                  <a:gd name="connsiteY40" fmla="*/ 2655009 h 2796815"/>
                  <a:gd name="connsiteX41" fmla="*/ 668876 w 2533191"/>
                  <a:gd name="connsiteY41" fmla="*/ 2655179 h 2796815"/>
                  <a:gd name="connsiteX42" fmla="*/ 582810 w 2533191"/>
                  <a:gd name="connsiteY42" fmla="*/ 2686183 h 2796815"/>
                  <a:gd name="connsiteX43" fmla="*/ 145364 w 2533191"/>
                  <a:gd name="connsiteY43" fmla="*/ 2773096 h 2796815"/>
                  <a:gd name="connsiteX44" fmla="*/ 31682 w 2533191"/>
                  <a:gd name="connsiteY44" fmla="*/ 2788514 h 2796815"/>
                  <a:gd name="connsiteX45" fmla="*/ 0 w 2533191"/>
                  <a:gd name="connsiteY45" fmla="*/ 2796816 h 2796815"/>
                  <a:gd name="connsiteX46" fmla="*/ 24058 w 2533191"/>
                  <a:gd name="connsiteY46" fmla="*/ 2796816 h 2796815"/>
                  <a:gd name="connsiteX47" fmla="*/ 39306 w 2533191"/>
                  <a:gd name="connsiteY47" fmla="*/ 2794105 h 2796815"/>
                  <a:gd name="connsiteX48" fmla="*/ 89963 w 2533191"/>
                  <a:gd name="connsiteY48" fmla="*/ 2793427 h 2796815"/>
                  <a:gd name="connsiteX49" fmla="*/ 2485923 w 2533191"/>
                  <a:gd name="connsiteY49" fmla="*/ 2793427 h 2796815"/>
                  <a:gd name="connsiteX50" fmla="*/ 2532684 w 2533191"/>
                  <a:gd name="connsiteY50" fmla="*/ 2769539 h 2796815"/>
                  <a:gd name="connsiteX51" fmla="*/ 2532684 w 2533191"/>
                  <a:gd name="connsiteY51" fmla="*/ 247864 h 279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533191" h="2796815">
                    <a:moveTo>
                      <a:pt x="2532006" y="247864"/>
                    </a:moveTo>
                    <a:cubicBezTo>
                      <a:pt x="2532006" y="209575"/>
                      <a:pt x="2532006" y="171116"/>
                      <a:pt x="2532006" y="132827"/>
                    </a:cubicBezTo>
                    <a:cubicBezTo>
                      <a:pt x="2532344" y="132827"/>
                      <a:pt x="2532853" y="132827"/>
                      <a:pt x="2533192" y="132827"/>
                    </a:cubicBezTo>
                    <a:lnTo>
                      <a:pt x="2533192" y="0"/>
                    </a:lnTo>
                    <a:cubicBezTo>
                      <a:pt x="2528617" y="0"/>
                      <a:pt x="2533869" y="2541"/>
                      <a:pt x="2529295" y="2541"/>
                    </a:cubicBezTo>
                    <a:cubicBezTo>
                      <a:pt x="2525568" y="27277"/>
                      <a:pt x="2526245" y="49471"/>
                      <a:pt x="2526245" y="49471"/>
                    </a:cubicBezTo>
                    <a:cubicBezTo>
                      <a:pt x="2526245" y="49471"/>
                      <a:pt x="2524212" y="99451"/>
                      <a:pt x="2522010" y="141298"/>
                    </a:cubicBezTo>
                    <a:cubicBezTo>
                      <a:pt x="2520824" y="163661"/>
                      <a:pt x="2490836" y="326815"/>
                      <a:pt x="2490159" y="331050"/>
                    </a:cubicBezTo>
                    <a:cubicBezTo>
                      <a:pt x="2489142" y="339691"/>
                      <a:pt x="2487448" y="348162"/>
                      <a:pt x="2485415" y="356633"/>
                    </a:cubicBezTo>
                    <a:cubicBezTo>
                      <a:pt x="2476944" y="401360"/>
                      <a:pt x="2469150" y="443377"/>
                      <a:pt x="2464237" y="471840"/>
                    </a:cubicBezTo>
                    <a:cubicBezTo>
                      <a:pt x="2455427" y="523344"/>
                      <a:pt x="2416799" y="596873"/>
                      <a:pt x="2387489" y="647022"/>
                    </a:cubicBezTo>
                    <a:cubicBezTo>
                      <a:pt x="2387489" y="647022"/>
                      <a:pt x="2387489" y="647022"/>
                      <a:pt x="2387489" y="647022"/>
                    </a:cubicBezTo>
                    <a:cubicBezTo>
                      <a:pt x="2387489" y="647022"/>
                      <a:pt x="2387489" y="647022"/>
                      <a:pt x="2387320" y="647022"/>
                    </a:cubicBezTo>
                    <a:cubicBezTo>
                      <a:pt x="2380204" y="659220"/>
                      <a:pt x="2373596" y="670233"/>
                      <a:pt x="2368175" y="679043"/>
                    </a:cubicBezTo>
                    <a:cubicBezTo>
                      <a:pt x="2368175" y="679382"/>
                      <a:pt x="2368006" y="679720"/>
                      <a:pt x="2367667" y="680229"/>
                    </a:cubicBezTo>
                    <a:cubicBezTo>
                      <a:pt x="2365464" y="683787"/>
                      <a:pt x="2363092" y="687175"/>
                      <a:pt x="2360890" y="690733"/>
                    </a:cubicBezTo>
                    <a:cubicBezTo>
                      <a:pt x="2356146" y="698187"/>
                      <a:pt x="2353266" y="702762"/>
                      <a:pt x="2353266" y="702762"/>
                    </a:cubicBezTo>
                    <a:lnTo>
                      <a:pt x="2353266" y="702762"/>
                    </a:lnTo>
                    <a:cubicBezTo>
                      <a:pt x="2349878" y="707506"/>
                      <a:pt x="2346489" y="712419"/>
                      <a:pt x="2342931" y="717332"/>
                    </a:cubicBezTo>
                    <a:cubicBezTo>
                      <a:pt x="2308708" y="764601"/>
                      <a:pt x="2274316" y="811700"/>
                      <a:pt x="2238229" y="858630"/>
                    </a:cubicBezTo>
                    <a:cubicBezTo>
                      <a:pt x="2197059" y="911998"/>
                      <a:pt x="2150299" y="964180"/>
                      <a:pt x="2103538" y="1016192"/>
                    </a:cubicBezTo>
                    <a:cubicBezTo>
                      <a:pt x="2072873" y="1050415"/>
                      <a:pt x="2051357" y="1086163"/>
                      <a:pt x="2027299" y="1121573"/>
                    </a:cubicBezTo>
                    <a:cubicBezTo>
                      <a:pt x="2000191" y="1161217"/>
                      <a:pt x="1968171" y="1199845"/>
                      <a:pt x="1932931" y="1237965"/>
                    </a:cubicBezTo>
                    <a:cubicBezTo>
                      <a:pt x="1871939" y="1303701"/>
                      <a:pt x="1807728" y="1368590"/>
                      <a:pt x="1740807" y="1432970"/>
                    </a:cubicBezTo>
                    <a:cubicBezTo>
                      <a:pt x="1687947" y="1483627"/>
                      <a:pt x="1645592" y="1536825"/>
                      <a:pt x="1602389" y="1589854"/>
                    </a:cubicBezTo>
                    <a:cubicBezTo>
                      <a:pt x="1570707" y="1628652"/>
                      <a:pt x="1536993" y="1666941"/>
                      <a:pt x="1501414" y="1704892"/>
                    </a:cubicBezTo>
                    <a:cubicBezTo>
                      <a:pt x="1477526" y="1730305"/>
                      <a:pt x="1462955" y="1756735"/>
                      <a:pt x="1464819" y="1785198"/>
                    </a:cubicBezTo>
                    <a:cubicBezTo>
                      <a:pt x="1466344" y="1806714"/>
                      <a:pt x="1464311" y="1828400"/>
                      <a:pt x="1465666" y="1849917"/>
                    </a:cubicBezTo>
                    <a:cubicBezTo>
                      <a:pt x="1467699" y="1878888"/>
                      <a:pt x="1450588" y="1904471"/>
                      <a:pt x="1418228" y="1928020"/>
                    </a:cubicBezTo>
                    <a:cubicBezTo>
                      <a:pt x="1347071" y="1979694"/>
                      <a:pt x="1278116" y="2032045"/>
                      <a:pt x="1201877" y="2082025"/>
                    </a:cubicBezTo>
                    <a:cubicBezTo>
                      <a:pt x="1160030" y="2109302"/>
                      <a:pt x="1114625" y="2135393"/>
                      <a:pt x="1077013" y="2164364"/>
                    </a:cubicBezTo>
                    <a:cubicBezTo>
                      <a:pt x="1057191" y="2179612"/>
                      <a:pt x="1043298" y="2196215"/>
                      <a:pt x="1032455" y="2213665"/>
                    </a:cubicBezTo>
                    <a:cubicBezTo>
                      <a:pt x="1018054" y="2236876"/>
                      <a:pt x="1004331" y="2260256"/>
                      <a:pt x="991794" y="2283806"/>
                    </a:cubicBezTo>
                    <a:cubicBezTo>
                      <a:pt x="978579" y="2308711"/>
                      <a:pt x="955877" y="2331414"/>
                      <a:pt x="927414" y="2352592"/>
                    </a:cubicBezTo>
                    <a:cubicBezTo>
                      <a:pt x="896071" y="2376141"/>
                      <a:pt x="865744" y="2399860"/>
                      <a:pt x="830335" y="2422054"/>
                    </a:cubicBezTo>
                    <a:cubicBezTo>
                      <a:pt x="793062" y="2445435"/>
                      <a:pt x="780695" y="2471864"/>
                      <a:pt x="796451" y="2501683"/>
                    </a:cubicBezTo>
                    <a:cubicBezTo>
                      <a:pt x="816273" y="2538956"/>
                      <a:pt x="797637" y="2573687"/>
                      <a:pt x="759347" y="2605708"/>
                    </a:cubicBezTo>
                    <a:cubicBezTo>
                      <a:pt x="741558" y="2620447"/>
                      <a:pt x="723430" y="2636034"/>
                      <a:pt x="690732" y="2644336"/>
                    </a:cubicBezTo>
                    <a:cubicBezTo>
                      <a:pt x="689207" y="2646030"/>
                      <a:pt x="687004" y="2647216"/>
                      <a:pt x="683277" y="2647385"/>
                    </a:cubicBezTo>
                    <a:cubicBezTo>
                      <a:pt x="682430" y="2648063"/>
                      <a:pt x="681414" y="2648910"/>
                      <a:pt x="680567" y="2649588"/>
                    </a:cubicBezTo>
                    <a:lnTo>
                      <a:pt x="667690" y="2655009"/>
                    </a:lnTo>
                    <a:cubicBezTo>
                      <a:pt x="667690" y="2655009"/>
                      <a:pt x="668537" y="2655009"/>
                      <a:pt x="668876" y="2655179"/>
                    </a:cubicBezTo>
                    <a:cubicBezTo>
                      <a:pt x="641261" y="2667716"/>
                      <a:pt x="612798" y="2677542"/>
                      <a:pt x="582810" y="2686183"/>
                    </a:cubicBezTo>
                    <a:cubicBezTo>
                      <a:pt x="445240" y="2725828"/>
                      <a:pt x="296488" y="2751072"/>
                      <a:pt x="145364" y="2773096"/>
                    </a:cubicBezTo>
                    <a:cubicBezTo>
                      <a:pt x="107752" y="2778687"/>
                      <a:pt x="69463" y="2783262"/>
                      <a:pt x="31682" y="2788514"/>
                    </a:cubicBezTo>
                    <a:cubicBezTo>
                      <a:pt x="20161" y="2790208"/>
                      <a:pt x="6607" y="2790377"/>
                      <a:pt x="0" y="2796816"/>
                    </a:cubicBezTo>
                    <a:cubicBezTo>
                      <a:pt x="7963" y="2796816"/>
                      <a:pt x="15925" y="2796816"/>
                      <a:pt x="24058" y="2796816"/>
                    </a:cubicBezTo>
                    <a:cubicBezTo>
                      <a:pt x="27954" y="2794274"/>
                      <a:pt x="33715" y="2794105"/>
                      <a:pt x="39306" y="2794105"/>
                    </a:cubicBezTo>
                    <a:cubicBezTo>
                      <a:pt x="56248" y="2793935"/>
                      <a:pt x="73021" y="2793427"/>
                      <a:pt x="89963" y="2793427"/>
                    </a:cubicBezTo>
                    <a:cubicBezTo>
                      <a:pt x="888616" y="2793427"/>
                      <a:pt x="1687270" y="2793427"/>
                      <a:pt x="2485923" y="2793427"/>
                    </a:cubicBezTo>
                    <a:cubicBezTo>
                      <a:pt x="2537596" y="2793427"/>
                      <a:pt x="2532684" y="2796138"/>
                      <a:pt x="2532684" y="2769539"/>
                    </a:cubicBezTo>
                    <a:cubicBezTo>
                      <a:pt x="2532684" y="1929037"/>
                      <a:pt x="2532684" y="1088366"/>
                      <a:pt x="2532684" y="247864"/>
                    </a:cubicBezTo>
                    <a:close/>
                  </a:path>
                </a:pathLst>
              </a:custGeom>
              <a:solidFill>
                <a:srgbClr val="000067"/>
              </a:solidFill>
              <a:ln w="16928" cap="flat">
                <a:noFill/>
                <a:prstDash val="solid"/>
                <a:miter/>
              </a:ln>
            </p:spPr>
            <p:txBody>
              <a:bodyPr rtlCol="0" anchor="ctr"/>
              <a:lstStyle/>
              <a:p>
                <a:endParaRPr lang="en-US"/>
              </a:p>
            </p:txBody>
          </p:sp>
          <p:sp>
            <p:nvSpPr>
              <p:cNvPr id="254" name="Freeform: Shape 253">
                <a:extLst>
                  <a:ext uri="{FF2B5EF4-FFF2-40B4-BE49-F238E27FC236}">
                    <a16:creationId xmlns:a16="http://schemas.microsoft.com/office/drawing/2014/main" id="{ADF91216-F4C1-8691-38F6-961B0D584A7C}"/>
                  </a:ext>
                </a:extLst>
              </p:cNvPr>
              <p:cNvSpPr/>
              <p:nvPr/>
            </p:nvSpPr>
            <p:spPr>
              <a:xfrm>
                <a:off x="2938202" y="1946196"/>
                <a:ext cx="2901514" cy="2838323"/>
              </a:xfrm>
              <a:custGeom>
                <a:avLst/>
                <a:gdLst>
                  <a:gd name="connsiteX0" fmla="*/ 0 w 2901514"/>
                  <a:gd name="connsiteY0" fmla="*/ 2838324 h 2838323"/>
                  <a:gd name="connsiteX1" fmla="*/ 145872 w 2901514"/>
                  <a:gd name="connsiteY1" fmla="*/ 2683303 h 2838323"/>
                  <a:gd name="connsiteX2" fmla="*/ 1007550 w 2901514"/>
                  <a:gd name="connsiteY2" fmla="*/ 2418835 h 2838323"/>
                  <a:gd name="connsiteX3" fmla="*/ 1228645 w 2901514"/>
                  <a:gd name="connsiteY3" fmla="*/ 2311591 h 2838323"/>
                  <a:gd name="connsiteX4" fmla="*/ 1253720 w 2901514"/>
                  <a:gd name="connsiteY4" fmla="*/ 2178087 h 2838323"/>
                  <a:gd name="connsiteX5" fmla="*/ 1430596 w 2901514"/>
                  <a:gd name="connsiteY5" fmla="*/ 2031537 h 2838323"/>
                  <a:gd name="connsiteX6" fmla="*/ 1597307 w 2901514"/>
                  <a:gd name="connsiteY6" fmla="*/ 1841785 h 2838323"/>
                  <a:gd name="connsiteX7" fmla="*/ 1929881 w 2901514"/>
                  <a:gd name="connsiteY7" fmla="*/ 1592735 h 2838323"/>
                  <a:gd name="connsiteX8" fmla="*/ 1953600 w 2901514"/>
                  <a:gd name="connsiteY8" fmla="*/ 1465499 h 2838323"/>
                  <a:gd name="connsiteX9" fmla="*/ 2205530 w 2901514"/>
                  <a:gd name="connsiteY9" fmla="*/ 1204928 h 2838323"/>
                  <a:gd name="connsiteX10" fmla="*/ 2631118 w 2901514"/>
                  <a:gd name="connsiteY10" fmla="*/ 793402 h 2838323"/>
                  <a:gd name="connsiteX11" fmla="*/ 2873390 w 2901514"/>
                  <a:gd name="connsiteY11" fmla="*/ 301063 h 2838323"/>
                  <a:gd name="connsiteX12" fmla="*/ 2901514 w 2901514"/>
                  <a:gd name="connsiteY12" fmla="*/ 0 h 2838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01514" h="2838323">
                    <a:moveTo>
                      <a:pt x="0" y="2838324"/>
                    </a:moveTo>
                    <a:cubicBezTo>
                      <a:pt x="0" y="2838324"/>
                      <a:pt x="1525" y="2748361"/>
                      <a:pt x="145872" y="2683303"/>
                    </a:cubicBezTo>
                    <a:cubicBezTo>
                      <a:pt x="290219" y="2618245"/>
                      <a:pt x="1007550" y="2418835"/>
                      <a:pt x="1007550" y="2418835"/>
                    </a:cubicBezTo>
                    <a:cubicBezTo>
                      <a:pt x="1007550" y="2418835"/>
                      <a:pt x="1195778" y="2356996"/>
                      <a:pt x="1228645" y="2311591"/>
                    </a:cubicBezTo>
                    <a:cubicBezTo>
                      <a:pt x="1261513" y="2266186"/>
                      <a:pt x="1232373" y="2226880"/>
                      <a:pt x="1253720" y="2178087"/>
                    </a:cubicBezTo>
                    <a:cubicBezTo>
                      <a:pt x="1273881" y="2131835"/>
                      <a:pt x="1408571" y="2064913"/>
                      <a:pt x="1430596" y="2031537"/>
                    </a:cubicBezTo>
                    <a:cubicBezTo>
                      <a:pt x="1452621" y="1998161"/>
                      <a:pt x="1482270" y="1917855"/>
                      <a:pt x="1597307" y="1841785"/>
                    </a:cubicBezTo>
                    <a:cubicBezTo>
                      <a:pt x="1712344" y="1765714"/>
                      <a:pt x="1922935" y="1640173"/>
                      <a:pt x="1929881" y="1592735"/>
                    </a:cubicBezTo>
                    <a:cubicBezTo>
                      <a:pt x="1936828" y="1545296"/>
                      <a:pt x="1927171" y="1506668"/>
                      <a:pt x="1953600" y="1465499"/>
                    </a:cubicBezTo>
                    <a:cubicBezTo>
                      <a:pt x="1980030" y="1424329"/>
                      <a:pt x="2159278" y="1240168"/>
                      <a:pt x="2205530" y="1204928"/>
                    </a:cubicBezTo>
                    <a:cubicBezTo>
                      <a:pt x="2359027" y="1087858"/>
                      <a:pt x="2590117" y="838977"/>
                      <a:pt x="2631118" y="793402"/>
                    </a:cubicBezTo>
                    <a:cubicBezTo>
                      <a:pt x="2846452" y="553671"/>
                      <a:pt x="2858481" y="370356"/>
                      <a:pt x="2873390" y="301063"/>
                    </a:cubicBezTo>
                    <a:cubicBezTo>
                      <a:pt x="2888299" y="231769"/>
                      <a:pt x="2901514" y="0"/>
                      <a:pt x="2901514" y="0"/>
                    </a:cubicBezTo>
                  </a:path>
                </a:pathLst>
              </a:custGeom>
              <a:noFill/>
              <a:ln w="16928" cap="flat">
                <a:solidFill>
                  <a:srgbClr val="231F20"/>
                </a:solidFill>
                <a:prstDash val="solid"/>
                <a:miter/>
              </a:ln>
            </p:spPr>
            <p:txBody>
              <a:bodyPr rtlCol="0" anchor="ctr"/>
              <a:lstStyle/>
              <a:p>
                <a:endParaRPr lang="en-US"/>
              </a:p>
            </p:txBody>
          </p:sp>
          <p:sp>
            <p:nvSpPr>
              <p:cNvPr id="255" name="Freeform: Shape 254">
                <a:extLst>
                  <a:ext uri="{FF2B5EF4-FFF2-40B4-BE49-F238E27FC236}">
                    <a16:creationId xmlns:a16="http://schemas.microsoft.com/office/drawing/2014/main" id="{D3BD866F-4D02-9908-349F-1A6A57E12EF9}"/>
                  </a:ext>
                </a:extLst>
              </p:cNvPr>
              <p:cNvSpPr/>
              <p:nvPr/>
            </p:nvSpPr>
            <p:spPr>
              <a:xfrm>
                <a:off x="2181904" y="2037176"/>
                <a:ext cx="3660861" cy="2754968"/>
              </a:xfrm>
              <a:custGeom>
                <a:avLst/>
                <a:gdLst>
                  <a:gd name="connsiteX0" fmla="*/ 0 w 3660861"/>
                  <a:gd name="connsiteY0" fmla="*/ 2754968 h 2754968"/>
                  <a:gd name="connsiteX1" fmla="*/ 1003653 w 3660861"/>
                  <a:gd name="connsiteY1" fmla="*/ 2380207 h 2754968"/>
                  <a:gd name="connsiteX2" fmla="*/ 1162232 w 3660861"/>
                  <a:gd name="connsiteY2" fmla="*/ 2248228 h 2754968"/>
                  <a:gd name="connsiteX3" fmla="*/ 1237455 w 3660861"/>
                  <a:gd name="connsiteY3" fmla="*/ 2214513 h 2754968"/>
                  <a:gd name="connsiteX4" fmla="*/ 1729964 w 3660861"/>
                  <a:gd name="connsiteY4" fmla="*/ 2084736 h 2754968"/>
                  <a:gd name="connsiteX5" fmla="*/ 2039836 w 3660861"/>
                  <a:gd name="connsiteY5" fmla="*/ 1958516 h 2754968"/>
                  <a:gd name="connsiteX6" fmla="*/ 2081175 w 3660861"/>
                  <a:gd name="connsiteY6" fmla="*/ 1921074 h 2754968"/>
                  <a:gd name="connsiteX7" fmla="*/ 2079142 w 3660861"/>
                  <a:gd name="connsiteY7" fmla="*/ 1815694 h 2754968"/>
                  <a:gd name="connsiteX8" fmla="*/ 2154196 w 3660861"/>
                  <a:gd name="connsiteY8" fmla="*/ 1742165 h 2754968"/>
                  <a:gd name="connsiteX9" fmla="*/ 2292105 w 3660861"/>
                  <a:gd name="connsiteY9" fmla="*/ 1614590 h 2754968"/>
                  <a:gd name="connsiteX10" fmla="*/ 2359535 w 3660861"/>
                  <a:gd name="connsiteY10" fmla="*/ 1520730 h 2754968"/>
                  <a:gd name="connsiteX11" fmla="*/ 2654837 w 3660861"/>
                  <a:gd name="connsiteY11" fmla="*/ 1327420 h 2754968"/>
                  <a:gd name="connsiteX12" fmla="*/ 2767332 w 3660861"/>
                  <a:gd name="connsiteY12" fmla="*/ 1248639 h 2754968"/>
                  <a:gd name="connsiteX13" fmla="*/ 2803928 w 3660861"/>
                  <a:gd name="connsiteY13" fmla="*/ 1195610 h 2754968"/>
                  <a:gd name="connsiteX14" fmla="*/ 2825275 w 3660861"/>
                  <a:gd name="connsiteY14" fmla="*/ 1130382 h 2754968"/>
                  <a:gd name="connsiteX15" fmla="*/ 2962167 w 3660861"/>
                  <a:gd name="connsiteY15" fmla="*/ 990271 h 2754968"/>
                  <a:gd name="connsiteX16" fmla="*/ 3469416 w 3660861"/>
                  <a:gd name="connsiteY16" fmla="*/ 551807 h 2754968"/>
                  <a:gd name="connsiteX17" fmla="*/ 3660862 w 3660861"/>
                  <a:gd name="connsiteY17" fmla="*/ 0 h 275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61" h="2754968">
                    <a:moveTo>
                      <a:pt x="0" y="2754968"/>
                    </a:moveTo>
                    <a:cubicBezTo>
                      <a:pt x="275141" y="2603166"/>
                      <a:pt x="676331" y="2513034"/>
                      <a:pt x="1003653" y="2380207"/>
                    </a:cubicBezTo>
                    <a:cubicBezTo>
                      <a:pt x="1066678" y="2355641"/>
                      <a:pt x="1084298" y="2293971"/>
                      <a:pt x="1162232" y="2248228"/>
                    </a:cubicBezTo>
                    <a:cubicBezTo>
                      <a:pt x="1186629" y="2232980"/>
                      <a:pt x="1211365" y="2222475"/>
                      <a:pt x="1237455" y="2214513"/>
                    </a:cubicBezTo>
                    <a:cubicBezTo>
                      <a:pt x="1362997" y="2175884"/>
                      <a:pt x="1653894" y="2105066"/>
                      <a:pt x="1729964" y="2084736"/>
                    </a:cubicBezTo>
                    <a:cubicBezTo>
                      <a:pt x="1818233" y="2055087"/>
                      <a:pt x="1970712" y="1992570"/>
                      <a:pt x="2039836" y="1958516"/>
                    </a:cubicBezTo>
                    <a:cubicBezTo>
                      <a:pt x="2053051" y="1951909"/>
                      <a:pt x="2077278" y="1935475"/>
                      <a:pt x="2081175" y="1921074"/>
                    </a:cubicBezTo>
                    <a:cubicBezTo>
                      <a:pt x="2090493" y="1893119"/>
                      <a:pt x="2067113" y="1847714"/>
                      <a:pt x="2079142" y="1815694"/>
                    </a:cubicBezTo>
                    <a:cubicBezTo>
                      <a:pt x="2093373" y="1785198"/>
                      <a:pt x="2128444" y="1765037"/>
                      <a:pt x="2154196" y="1742165"/>
                    </a:cubicBezTo>
                    <a:cubicBezTo>
                      <a:pt x="2202142" y="1700317"/>
                      <a:pt x="2263473" y="1667280"/>
                      <a:pt x="2292105" y="1614590"/>
                    </a:cubicBezTo>
                    <a:cubicBezTo>
                      <a:pt x="2311419" y="1582400"/>
                      <a:pt x="2329208" y="1542586"/>
                      <a:pt x="2359535" y="1520730"/>
                    </a:cubicBezTo>
                    <a:cubicBezTo>
                      <a:pt x="2400704" y="1492945"/>
                      <a:pt x="2544035" y="1401796"/>
                      <a:pt x="2654837" y="1327420"/>
                    </a:cubicBezTo>
                    <a:cubicBezTo>
                      <a:pt x="2699394" y="1297263"/>
                      <a:pt x="2732093" y="1275408"/>
                      <a:pt x="2767332" y="1248639"/>
                    </a:cubicBezTo>
                    <a:cubicBezTo>
                      <a:pt x="2786477" y="1234238"/>
                      <a:pt x="2793931" y="1225597"/>
                      <a:pt x="2803928" y="1195610"/>
                    </a:cubicBezTo>
                    <a:cubicBezTo>
                      <a:pt x="2811213" y="1174602"/>
                      <a:pt x="2817820" y="1151052"/>
                      <a:pt x="2825275" y="1130382"/>
                    </a:cubicBezTo>
                    <a:cubicBezTo>
                      <a:pt x="2845097" y="1071085"/>
                      <a:pt x="2917271" y="1030085"/>
                      <a:pt x="2962167" y="990271"/>
                    </a:cubicBezTo>
                    <a:cubicBezTo>
                      <a:pt x="3020618" y="942494"/>
                      <a:pt x="3343027" y="693274"/>
                      <a:pt x="3469416" y="551807"/>
                    </a:cubicBezTo>
                    <a:cubicBezTo>
                      <a:pt x="3561920" y="427621"/>
                      <a:pt x="3646630" y="218385"/>
                      <a:pt x="3660862" y="0"/>
                    </a:cubicBezTo>
                  </a:path>
                </a:pathLst>
              </a:custGeom>
              <a:noFill/>
              <a:ln w="16928" cap="flat">
                <a:solidFill>
                  <a:srgbClr val="231F20"/>
                </a:solidFill>
                <a:prstDash val="solid"/>
                <a:miter/>
              </a:ln>
            </p:spPr>
            <p:txBody>
              <a:bodyPr rtlCol="0" anchor="ctr"/>
              <a:lstStyle/>
              <a:p>
                <a:endParaRPr lang="en-US"/>
              </a:p>
            </p:txBody>
          </p:sp>
          <p:sp>
            <p:nvSpPr>
              <p:cNvPr id="259" name="Freeform: Shape 258">
                <a:extLst>
                  <a:ext uri="{FF2B5EF4-FFF2-40B4-BE49-F238E27FC236}">
                    <a16:creationId xmlns:a16="http://schemas.microsoft.com/office/drawing/2014/main" id="{0F9F1031-20EC-D6DD-5E5E-900221D40984}"/>
                  </a:ext>
                </a:extLst>
              </p:cNvPr>
              <p:cNvSpPr/>
              <p:nvPr/>
            </p:nvSpPr>
            <p:spPr>
              <a:xfrm>
                <a:off x="1318193" y="1952295"/>
                <a:ext cx="4522006" cy="2815282"/>
              </a:xfrm>
              <a:custGeom>
                <a:avLst/>
                <a:gdLst>
                  <a:gd name="connsiteX0" fmla="*/ 0 w 4522006"/>
                  <a:gd name="connsiteY0" fmla="*/ 2815283 h 2815282"/>
                  <a:gd name="connsiteX1" fmla="*/ 34901 w 4522006"/>
                  <a:gd name="connsiteY1" fmla="*/ 2696179 h 2815282"/>
                  <a:gd name="connsiteX2" fmla="*/ 422537 w 4522006"/>
                  <a:gd name="connsiteY2" fmla="*/ 2400877 h 2815282"/>
                  <a:gd name="connsiteX3" fmla="*/ 616356 w 4522006"/>
                  <a:gd name="connsiteY3" fmla="*/ 2224847 h 2815282"/>
                  <a:gd name="connsiteX4" fmla="*/ 583149 w 4522006"/>
                  <a:gd name="connsiteY4" fmla="*/ 2117095 h 2815282"/>
                  <a:gd name="connsiteX5" fmla="*/ 457099 w 4522006"/>
                  <a:gd name="connsiteY5" fmla="*/ 1968343 h 2815282"/>
                  <a:gd name="connsiteX6" fmla="*/ 1334534 w 4522006"/>
                  <a:gd name="connsiteY6" fmla="*/ 1652710 h 2815282"/>
                  <a:gd name="connsiteX7" fmla="*/ 1385530 w 4522006"/>
                  <a:gd name="connsiteY7" fmla="*/ 1512598 h 2815282"/>
                  <a:gd name="connsiteX8" fmla="*/ 2003241 w 4522006"/>
                  <a:gd name="connsiteY8" fmla="*/ 1225089 h 2815282"/>
                  <a:gd name="connsiteX9" fmla="*/ 2482365 w 4522006"/>
                  <a:gd name="connsiteY9" fmla="*/ 1091754 h 2815282"/>
                  <a:gd name="connsiteX10" fmla="*/ 2738700 w 4522006"/>
                  <a:gd name="connsiteY10" fmla="*/ 955708 h 2815282"/>
                  <a:gd name="connsiteX11" fmla="*/ 3529899 w 4522006"/>
                  <a:gd name="connsiteY11" fmla="*/ 743254 h 2815282"/>
                  <a:gd name="connsiteX12" fmla="*/ 3772002 w 4522006"/>
                  <a:gd name="connsiteY12" fmla="*/ 651258 h 2815282"/>
                  <a:gd name="connsiteX13" fmla="*/ 3963449 w 4522006"/>
                  <a:gd name="connsiteY13" fmla="*/ 534865 h 2815282"/>
                  <a:gd name="connsiteX14" fmla="*/ 4294329 w 4522006"/>
                  <a:gd name="connsiteY14" fmla="*/ 353753 h 2815282"/>
                  <a:gd name="connsiteX15" fmla="*/ 4482895 w 4522006"/>
                  <a:gd name="connsiteY15" fmla="*/ 145025 h 2815282"/>
                  <a:gd name="connsiteX16" fmla="*/ 4521693 w 4522006"/>
                  <a:gd name="connsiteY16" fmla="*/ 0 h 281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2006" h="2815282">
                    <a:moveTo>
                      <a:pt x="0" y="2815283"/>
                    </a:moveTo>
                    <a:cubicBezTo>
                      <a:pt x="0" y="2815283"/>
                      <a:pt x="5252" y="2741415"/>
                      <a:pt x="34901" y="2696179"/>
                    </a:cubicBezTo>
                    <a:cubicBezTo>
                      <a:pt x="64550" y="2650943"/>
                      <a:pt x="329864" y="2458988"/>
                      <a:pt x="422537" y="2400877"/>
                    </a:cubicBezTo>
                    <a:cubicBezTo>
                      <a:pt x="515211" y="2342765"/>
                      <a:pt x="617542" y="2266356"/>
                      <a:pt x="616356" y="2224847"/>
                    </a:cubicBezTo>
                    <a:cubicBezTo>
                      <a:pt x="615170" y="2183339"/>
                      <a:pt x="591112" y="2131665"/>
                      <a:pt x="583149" y="2117095"/>
                    </a:cubicBezTo>
                    <a:cubicBezTo>
                      <a:pt x="528257" y="2016289"/>
                      <a:pt x="446765" y="2003413"/>
                      <a:pt x="457099" y="1968343"/>
                    </a:cubicBezTo>
                    <a:cubicBezTo>
                      <a:pt x="480480" y="1889392"/>
                      <a:pt x="1079893" y="1812983"/>
                      <a:pt x="1334534" y="1652710"/>
                    </a:cubicBezTo>
                    <a:cubicBezTo>
                      <a:pt x="1364352" y="1633904"/>
                      <a:pt x="1352662" y="1551226"/>
                      <a:pt x="1385530" y="1512598"/>
                    </a:cubicBezTo>
                    <a:cubicBezTo>
                      <a:pt x="1429579" y="1460755"/>
                      <a:pt x="1898369" y="1249655"/>
                      <a:pt x="2003241" y="1225089"/>
                    </a:cubicBezTo>
                    <a:cubicBezTo>
                      <a:pt x="2108113" y="1200523"/>
                      <a:pt x="2440857" y="1118862"/>
                      <a:pt x="2482365" y="1091754"/>
                    </a:cubicBezTo>
                    <a:cubicBezTo>
                      <a:pt x="2523873" y="1064647"/>
                      <a:pt x="2689568" y="970109"/>
                      <a:pt x="2738700" y="955708"/>
                    </a:cubicBezTo>
                    <a:cubicBezTo>
                      <a:pt x="2787832" y="941308"/>
                      <a:pt x="3439258" y="779679"/>
                      <a:pt x="3529899" y="743254"/>
                    </a:cubicBezTo>
                    <a:cubicBezTo>
                      <a:pt x="3620540" y="706828"/>
                      <a:pt x="3727953" y="673282"/>
                      <a:pt x="3772002" y="651258"/>
                    </a:cubicBezTo>
                    <a:cubicBezTo>
                      <a:pt x="3816052" y="629233"/>
                      <a:pt x="3940068" y="555704"/>
                      <a:pt x="3963449" y="534865"/>
                    </a:cubicBezTo>
                    <a:cubicBezTo>
                      <a:pt x="3986829" y="514026"/>
                      <a:pt x="4241808" y="401869"/>
                      <a:pt x="4294329" y="353753"/>
                    </a:cubicBezTo>
                    <a:cubicBezTo>
                      <a:pt x="4346850" y="305637"/>
                      <a:pt x="4473747" y="198054"/>
                      <a:pt x="4482895" y="145025"/>
                    </a:cubicBezTo>
                    <a:cubicBezTo>
                      <a:pt x="4492044" y="91996"/>
                      <a:pt x="4525590" y="31004"/>
                      <a:pt x="4521693" y="0"/>
                    </a:cubicBezTo>
                  </a:path>
                </a:pathLst>
              </a:custGeom>
              <a:noFill/>
              <a:ln w="16928" cap="flat">
                <a:solidFill>
                  <a:srgbClr val="231F20"/>
                </a:solidFill>
                <a:prstDash val="solid"/>
                <a:miter/>
              </a:ln>
            </p:spPr>
            <p:txBody>
              <a:bodyPr rtlCol="0" anchor="ctr"/>
              <a:lstStyle/>
              <a:p>
                <a:endParaRPr lang="en-US"/>
              </a:p>
            </p:txBody>
          </p:sp>
          <p:sp>
            <p:nvSpPr>
              <p:cNvPr id="260" name="Freeform: Shape 259">
                <a:extLst>
                  <a:ext uri="{FF2B5EF4-FFF2-40B4-BE49-F238E27FC236}">
                    <a16:creationId xmlns:a16="http://schemas.microsoft.com/office/drawing/2014/main" id="{F9115DFD-1730-43CA-DBC7-45B4819AD460}"/>
                  </a:ext>
                </a:extLst>
              </p:cNvPr>
              <p:cNvSpPr/>
              <p:nvPr/>
            </p:nvSpPr>
            <p:spPr>
              <a:xfrm>
                <a:off x="1105738" y="1957547"/>
                <a:ext cx="4730420" cy="2777670"/>
              </a:xfrm>
              <a:custGeom>
                <a:avLst/>
                <a:gdLst>
                  <a:gd name="connsiteX0" fmla="*/ 0 w 4730420"/>
                  <a:gd name="connsiteY0" fmla="*/ 0 h 2777670"/>
                  <a:gd name="connsiteX1" fmla="*/ 4730421 w 4730420"/>
                  <a:gd name="connsiteY1" fmla="*/ 0 h 2777670"/>
                  <a:gd name="connsiteX2" fmla="*/ 4730421 w 4730420"/>
                  <a:gd name="connsiteY2" fmla="*/ 2777671 h 2777670"/>
                  <a:gd name="connsiteX3" fmla="*/ 0 w 4730420"/>
                  <a:gd name="connsiteY3" fmla="*/ 2777671 h 2777670"/>
                </a:gdLst>
                <a:ahLst/>
                <a:cxnLst>
                  <a:cxn ang="0">
                    <a:pos x="connsiteX0" y="connsiteY0"/>
                  </a:cxn>
                  <a:cxn ang="0">
                    <a:pos x="connsiteX1" y="connsiteY1"/>
                  </a:cxn>
                  <a:cxn ang="0">
                    <a:pos x="connsiteX2" y="connsiteY2"/>
                  </a:cxn>
                  <a:cxn ang="0">
                    <a:pos x="connsiteX3" y="connsiteY3"/>
                  </a:cxn>
                </a:cxnLst>
                <a:rect l="l" t="t" r="r" b="b"/>
                <a:pathLst>
                  <a:path w="4730420" h="2777670">
                    <a:moveTo>
                      <a:pt x="0" y="0"/>
                    </a:moveTo>
                    <a:lnTo>
                      <a:pt x="4730421" y="0"/>
                    </a:lnTo>
                    <a:lnTo>
                      <a:pt x="4730421" y="2777671"/>
                    </a:lnTo>
                    <a:lnTo>
                      <a:pt x="0" y="2777671"/>
                    </a:lnTo>
                    <a:close/>
                  </a:path>
                </a:pathLst>
              </a:custGeom>
              <a:noFill/>
              <a:ln w="16928" cap="flat">
                <a:noFill/>
                <a:prstDash val="solid"/>
                <a:miter/>
              </a:ln>
            </p:spPr>
            <p:txBody>
              <a:bodyPr rtlCol="0" anchor="ctr"/>
              <a:lstStyle/>
              <a:p>
                <a:endParaRPr lang="en-US"/>
              </a:p>
            </p:txBody>
          </p:sp>
        </p:grpSp>
        <p:grpSp>
          <p:nvGrpSpPr>
            <p:cNvPr id="261" name="Graphic 8">
              <a:extLst>
                <a:ext uri="{FF2B5EF4-FFF2-40B4-BE49-F238E27FC236}">
                  <a16:creationId xmlns:a16="http://schemas.microsoft.com/office/drawing/2014/main" id="{2E260997-D6F1-0372-6AE5-8D93CA011BFA}"/>
                </a:ext>
              </a:extLst>
            </p:cNvPr>
            <p:cNvGrpSpPr/>
            <p:nvPr/>
          </p:nvGrpSpPr>
          <p:grpSpPr>
            <a:xfrm>
              <a:off x="5844629" y="1893845"/>
              <a:ext cx="4461209" cy="2951497"/>
              <a:chOff x="5844629" y="1893845"/>
              <a:chExt cx="4461209" cy="2951497"/>
            </a:xfrm>
          </p:grpSpPr>
          <p:sp>
            <p:nvSpPr>
              <p:cNvPr id="265" name="Freeform: Shape 264">
                <a:extLst>
                  <a:ext uri="{FF2B5EF4-FFF2-40B4-BE49-F238E27FC236}">
                    <a16:creationId xmlns:a16="http://schemas.microsoft.com/office/drawing/2014/main" id="{99E3535A-4434-8F4A-190D-88616FD98DED}"/>
                  </a:ext>
                </a:extLst>
              </p:cNvPr>
              <p:cNvSpPr/>
              <p:nvPr/>
            </p:nvSpPr>
            <p:spPr>
              <a:xfrm>
                <a:off x="5844629" y="2044122"/>
                <a:ext cx="4461209" cy="2741414"/>
              </a:xfrm>
              <a:custGeom>
                <a:avLst/>
                <a:gdLst>
                  <a:gd name="connsiteX0" fmla="*/ 3702878 w 4461209"/>
                  <a:gd name="connsiteY0" fmla="*/ 2741076 h 2741414"/>
                  <a:gd name="connsiteX1" fmla="*/ 3452473 w 4461209"/>
                  <a:gd name="connsiteY1" fmla="*/ 2579447 h 2741414"/>
                  <a:gd name="connsiteX2" fmla="*/ 3322358 w 4461209"/>
                  <a:gd name="connsiteY2" fmla="*/ 2429848 h 2741414"/>
                  <a:gd name="connsiteX3" fmla="*/ 3210708 w 4461209"/>
                  <a:gd name="connsiteY3" fmla="*/ 2338530 h 2741414"/>
                  <a:gd name="connsiteX4" fmla="*/ 2657717 w 4461209"/>
                  <a:gd name="connsiteY4" fmla="*/ 2111335 h 2741414"/>
                  <a:gd name="connsiteX5" fmla="*/ 2507609 w 4461209"/>
                  <a:gd name="connsiteY5" fmla="*/ 2062711 h 2741414"/>
                  <a:gd name="connsiteX6" fmla="*/ 2399857 w 4461209"/>
                  <a:gd name="connsiteY6" fmla="*/ 1949029 h 2741414"/>
                  <a:gd name="connsiteX7" fmla="*/ 2248224 w 4461209"/>
                  <a:gd name="connsiteY7" fmla="*/ 1893289 h 2741414"/>
                  <a:gd name="connsiteX8" fmla="*/ 1817894 w 4461209"/>
                  <a:gd name="connsiteY8" fmla="*/ 1762665 h 2741414"/>
                  <a:gd name="connsiteX9" fmla="*/ 1646778 w 4461209"/>
                  <a:gd name="connsiteY9" fmla="*/ 1697268 h 2741414"/>
                  <a:gd name="connsiteX10" fmla="*/ 1524625 w 4461209"/>
                  <a:gd name="connsiteY10" fmla="*/ 1636276 h 2741414"/>
                  <a:gd name="connsiteX11" fmla="*/ 1492604 w 4461209"/>
                  <a:gd name="connsiteY11" fmla="*/ 1498197 h 2741414"/>
                  <a:gd name="connsiteX12" fmla="*/ 1294550 w 4461209"/>
                  <a:gd name="connsiteY12" fmla="*/ 1331656 h 2741414"/>
                  <a:gd name="connsiteX13" fmla="*/ 1167823 w 4461209"/>
                  <a:gd name="connsiteY13" fmla="*/ 1204250 h 2741414"/>
                  <a:gd name="connsiteX14" fmla="*/ 778662 w 4461209"/>
                  <a:gd name="connsiteY14" fmla="*/ 972820 h 2741414"/>
                  <a:gd name="connsiteX15" fmla="*/ 712248 w 4461209"/>
                  <a:gd name="connsiteY15" fmla="*/ 907593 h 2741414"/>
                  <a:gd name="connsiteX16" fmla="*/ 634145 w 4461209"/>
                  <a:gd name="connsiteY16" fmla="*/ 817291 h 2741414"/>
                  <a:gd name="connsiteX17" fmla="*/ 328000 w 4461209"/>
                  <a:gd name="connsiteY17" fmla="*/ 579761 h 2741414"/>
                  <a:gd name="connsiteX18" fmla="*/ 113004 w 4461209"/>
                  <a:gd name="connsiteY18" fmla="*/ 332744 h 2741414"/>
                  <a:gd name="connsiteX19" fmla="*/ 0 w 4461209"/>
                  <a:gd name="connsiteY19" fmla="*/ 0 h 2741414"/>
                  <a:gd name="connsiteX20" fmla="*/ 239901 w 4461209"/>
                  <a:gd name="connsiteY20" fmla="*/ 335116 h 2741414"/>
                  <a:gd name="connsiteX21" fmla="*/ 465232 w 4461209"/>
                  <a:gd name="connsiteY21" fmla="*/ 472009 h 2741414"/>
                  <a:gd name="connsiteX22" fmla="*/ 585691 w 4461209"/>
                  <a:gd name="connsiteY22" fmla="*/ 621609 h 2741414"/>
                  <a:gd name="connsiteX23" fmla="*/ 991625 w 4461209"/>
                  <a:gd name="connsiteY23" fmla="*/ 841179 h 2741414"/>
                  <a:gd name="connsiteX24" fmla="*/ 1140207 w 4461209"/>
                  <a:gd name="connsiteY24" fmla="*/ 971295 h 2741414"/>
                  <a:gd name="connsiteX25" fmla="*/ 1254736 w 4461209"/>
                  <a:gd name="connsiteY25" fmla="*/ 1096498 h 2741414"/>
                  <a:gd name="connsiteX26" fmla="*/ 1435340 w 4461209"/>
                  <a:gd name="connsiteY26" fmla="*/ 1219837 h 2741414"/>
                  <a:gd name="connsiteX27" fmla="*/ 1482778 w 4461209"/>
                  <a:gd name="connsiteY27" fmla="*/ 1372317 h 2741414"/>
                  <a:gd name="connsiteX28" fmla="*/ 1570877 w 4461209"/>
                  <a:gd name="connsiteY28" fmla="*/ 1410098 h 2741414"/>
                  <a:gd name="connsiteX29" fmla="*/ 2297187 w 4461209"/>
                  <a:gd name="connsiteY29" fmla="*/ 1650507 h 2741414"/>
                  <a:gd name="connsiteX30" fmla="*/ 2369192 w 4461209"/>
                  <a:gd name="connsiteY30" fmla="*/ 1710483 h 2741414"/>
                  <a:gd name="connsiteX31" fmla="*/ 2555725 w 4461209"/>
                  <a:gd name="connsiteY31" fmla="*/ 1812136 h 2741414"/>
                  <a:gd name="connsiteX32" fmla="*/ 3127523 w 4461209"/>
                  <a:gd name="connsiteY32" fmla="*/ 2046954 h 2741414"/>
                  <a:gd name="connsiteX33" fmla="*/ 3340994 w 4461209"/>
                  <a:gd name="connsiteY33" fmla="*/ 2237385 h 2741414"/>
                  <a:gd name="connsiteX34" fmla="*/ 3457725 w 4461209"/>
                  <a:gd name="connsiteY34" fmla="*/ 2345476 h 2741414"/>
                  <a:gd name="connsiteX35" fmla="*/ 3513973 w 4461209"/>
                  <a:gd name="connsiteY35" fmla="*/ 2393083 h 2741414"/>
                  <a:gd name="connsiteX36" fmla="*/ 3718296 w 4461209"/>
                  <a:gd name="connsiteY36" fmla="*/ 2469323 h 2741414"/>
                  <a:gd name="connsiteX37" fmla="*/ 4461210 w 4461209"/>
                  <a:gd name="connsiteY37" fmla="*/ 2708208 h 2741414"/>
                  <a:gd name="connsiteX38" fmla="*/ 3717110 w 4461209"/>
                  <a:gd name="connsiteY38" fmla="*/ 2733282 h 2741414"/>
                  <a:gd name="connsiteX39" fmla="*/ 3703048 w 4461209"/>
                  <a:gd name="connsiteY39" fmla="*/ 2741415 h 274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461209" h="2741414">
                    <a:moveTo>
                      <a:pt x="3702878" y="2741076"/>
                    </a:moveTo>
                    <a:cubicBezTo>
                      <a:pt x="3643411" y="2688216"/>
                      <a:pt x="3509399" y="2636034"/>
                      <a:pt x="3452473" y="2579447"/>
                    </a:cubicBezTo>
                    <a:cubicBezTo>
                      <a:pt x="3408932" y="2534212"/>
                      <a:pt x="3372506" y="2468645"/>
                      <a:pt x="3322358" y="2429848"/>
                    </a:cubicBezTo>
                    <a:cubicBezTo>
                      <a:pt x="3275089" y="2390542"/>
                      <a:pt x="3266956" y="2361910"/>
                      <a:pt x="3210708" y="2338530"/>
                    </a:cubicBezTo>
                    <a:cubicBezTo>
                      <a:pt x="3011808" y="2252971"/>
                      <a:pt x="2844758" y="2165719"/>
                      <a:pt x="2657717" y="2111335"/>
                    </a:cubicBezTo>
                    <a:cubicBezTo>
                      <a:pt x="2605365" y="2093884"/>
                      <a:pt x="2543527" y="2095409"/>
                      <a:pt x="2507609" y="2062711"/>
                    </a:cubicBezTo>
                    <a:cubicBezTo>
                      <a:pt x="2476605" y="2036450"/>
                      <a:pt x="2430692" y="1973934"/>
                      <a:pt x="2399857" y="1949029"/>
                    </a:cubicBezTo>
                    <a:cubicBezTo>
                      <a:pt x="2350047" y="1912603"/>
                      <a:pt x="2313791" y="1914805"/>
                      <a:pt x="2248224" y="1893289"/>
                    </a:cubicBezTo>
                    <a:cubicBezTo>
                      <a:pt x="2103708" y="1851611"/>
                      <a:pt x="1957328" y="1818743"/>
                      <a:pt x="1817894" y="1762665"/>
                    </a:cubicBezTo>
                    <a:cubicBezTo>
                      <a:pt x="1761815" y="1741318"/>
                      <a:pt x="1702517" y="1719970"/>
                      <a:pt x="1646778" y="1697268"/>
                    </a:cubicBezTo>
                    <a:cubicBezTo>
                      <a:pt x="1608489" y="1679648"/>
                      <a:pt x="1550038" y="1666941"/>
                      <a:pt x="1524625" y="1636276"/>
                    </a:cubicBezTo>
                    <a:cubicBezTo>
                      <a:pt x="1501922" y="1606627"/>
                      <a:pt x="1521914" y="1537672"/>
                      <a:pt x="1492604" y="1498197"/>
                    </a:cubicBezTo>
                    <a:cubicBezTo>
                      <a:pt x="1434323" y="1426362"/>
                      <a:pt x="1345038" y="1410267"/>
                      <a:pt x="1294550" y="1331656"/>
                    </a:cubicBezTo>
                    <a:cubicBezTo>
                      <a:pt x="1257616" y="1284556"/>
                      <a:pt x="1221191" y="1232544"/>
                      <a:pt x="1167823" y="1204250"/>
                    </a:cubicBezTo>
                    <a:cubicBezTo>
                      <a:pt x="1086670" y="1157659"/>
                      <a:pt x="886922" y="1042283"/>
                      <a:pt x="778662" y="972820"/>
                    </a:cubicBezTo>
                    <a:cubicBezTo>
                      <a:pt x="744099" y="950626"/>
                      <a:pt x="735120" y="939444"/>
                      <a:pt x="712248" y="907593"/>
                    </a:cubicBezTo>
                    <a:cubicBezTo>
                      <a:pt x="689715" y="876250"/>
                      <a:pt x="662269" y="844737"/>
                      <a:pt x="634145" y="817291"/>
                    </a:cubicBezTo>
                    <a:cubicBezTo>
                      <a:pt x="539608" y="726820"/>
                      <a:pt x="424740" y="656679"/>
                      <a:pt x="328000" y="579761"/>
                    </a:cubicBezTo>
                    <a:cubicBezTo>
                      <a:pt x="236851" y="509113"/>
                      <a:pt x="162814" y="411187"/>
                      <a:pt x="113004" y="332744"/>
                    </a:cubicBezTo>
                    <a:lnTo>
                      <a:pt x="0" y="0"/>
                    </a:lnTo>
                    <a:cubicBezTo>
                      <a:pt x="26768" y="42186"/>
                      <a:pt x="108599" y="222451"/>
                      <a:pt x="239901" y="335116"/>
                    </a:cubicBezTo>
                    <a:cubicBezTo>
                      <a:pt x="297165" y="384249"/>
                      <a:pt x="409661" y="421521"/>
                      <a:pt x="465232" y="472009"/>
                    </a:cubicBezTo>
                    <a:cubicBezTo>
                      <a:pt x="510636" y="514195"/>
                      <a:pt x="558075" y="584505"/>
                      <a:pt x="585691" y="621609"/>
                    </a:cubicBezTo>
                    <a:cubicBezTo>
                      <a:pt x="712587" y="697171"/>
                      <a:pt x="893191" y="788150"/>
                      <a:pt x="991625" y="841179"/>
                    </a:cubicBezTo>
                    <a:cubicBezTo>
                      <a:pt x="1035505" y="863712"/>
                      <a:pt x="1101918" y="938427"/>
                      <a:pt x="1140207" y="971295"/>
                    </a:cubicBezTo>
                    <a:cubicBezTo>
                      <a:pt x="1190017" y="1014498"/>
                      <a:pt x="1199505" y="1063800"/>
                      <a:pt x="1254736" y="1096498"/>
                    </a:cubicBezTo>
                    <a:cubicBezTo>
                      <a:pt x="1311662" y="1136143"/>
                      <a:pt x="1388918" y="1169688"/>
                      <a:pt x="1435340" y="1219837"/>
                    </a:cubicBezTo>
                    <a:cubicBezTo>
                      <a:pt x="1466852" y="1259651"/>
                      <a:pt x="1447369" y="1337416"/>
                      <a:pt x="1482778" y="1372317"/>
                    </a:cubicBezTo>
                    <a:cubicBezTo>
                      <a:pt x="1503277" y="1387904"/>
                      <a:pt x="1533096" y="1394172"/>
                      <a:pt x="1570877" y="1410098"/>
                    </a:cubicBezTo>
                    <a:cubicBezTo>
                      <a:pt x="1761985" y="1484643"/>
                      <a:pt x="2090832" y="1588838"/>
                      <a:pt x="2297187" y="1650507"/>
                    </a:cubicBezTo>
                    <a:cubicBezTo>
                      <a:pt x="2335477" y="1662536"/>
                      <a:pt x="2339543" y="1687780"/>
                      <a:pt x="2369192" y="1710483"/>
                    </a:cubicBezTo>
                    <a:cubicBezTo>
                      <a:pt x="2427981" y="1758599"/>
                      <a:pt x="2477621" y="1786553"/>
                      <a:pt x="2555725" y="1812136"/>
                    </a:cubicBezTo>
                    <a:cubicBezTo>
                      <a:pt x="2718708" y="1880413"/>
                      <a:pt x="3014010" y="2003244"/>
                      <a:pt x="3127523" y="2046954"/>
                    </a:cubicBezTo>
                    <a:cubicBezTo>
                      <a:pt x="3189022" y="2069149"/>
                      <a:pt x="3329643" y="2158603"/>
                      <a:pt x="3340994" y="2237385"/>
                    </a:cubicBezTo>
                    <a:cubicBezTo>
                      <a:pt x="3346077" y="2272624"/>
                      <a:pt x="3441122" y="2313963"/>
                      <a:pt x="3457725" y="2345476"/>
                    </a:cubicBezTo>
                    <a:cubicBezTo>
                      <a:pt x="3467721" y="2364790"/>
                      <a:pt x="3487035" y="2379530"/>
                      <a:pt x="3513973" y="2393083"/>
                    </a:cubicBezTo>
                    <a:cubicBezTo>
                      <a:pt x="3579539" y="2425951"/>
                      <a:pt x="3657643" y="2452211"/>
                      <a:pt x="3718296" y="2469323"/>
                    </a:cubicBezTo>
                    <a:cubicBezTo>
                      <a:pt x="3870097" y="2513203"/>
                      <a:pt x="4332957" y="2666700"/>
                      <a:pt x="4461210" y="2708208"/>
                    </a:cubicBezTo>
                    <a:lnTo>
                      <a:pt x="3717110" y="2733282"/>
                    </a:lnTo>
                    <a:lnTo>
                      <a:pt x="3703048" y="2741415"/>
                    </a:lnTo>
                    <a:close/>
                  </a:path>
                </a:pathLst>
              </a:custGeom>
              <a:solidFill>
                <a:srgbClr val="00B7A5"/>
              </a:solidFill>
              <a:ln w="16928" cap="flat">
                <a:noFill/>
                <a:prstDash val="solid"/>
                <a:miter/>
              </a:ln>
            </p:spPr>
            <p:txBody>
              <a:bodyPr rtlCol="0" anchor="ctr"/>
              <a:lstStyle/>
              <a:p>
                <a:endParaRPr lang="en-US"/>
              </a:p>
            </p:txBody>
          </p:sp>
          <p:sp>
            <p:nvSpPr>
              <p:cNvPr id="266" name="Freeform: Shape 265">
                <a:extLst>
                  <a:ext uri="{FF2B5EF4-FFF2-40B4-BE49-F238E27FC236}">
                    <a16:creationId xmlns:a16="http://schemas.microsoft.com/office/drawing/2014/main" id="{A2BFD96B-EF78-2B81-EDA5-F31E679D1BBA}"/>
                  </a:ext>
                </a:extLst>
              </p:cNvPr>
              <p:cNvSpPr/>
              <p:nvPr/>
            </p:nvSpPr>
            <p:spPr>
              <a:xfrm>
                <a:off x="5851067" y="2042258"/>
                <a:ext cx="3674754" cy="2744802"/>
              </a:xfrm>
              <a:custGeom>
                <a:avLst/>
                <a:gdLst>
                  <a:gd name="connsiteX0" fmla="*/ 2654836 w 3674754"/>
                  <a:gd name="connsiteY0" fmla="*/ 2377497 h 2744802"/>
                  <a:gd name="connsiteX1" fmla="*/ 2519468 w 3674754"/>
                  <a:gd name="connsiteY1" fmla="*/ 2310405 h 2744802"/>
                  <a:gd name="connsiteX2" fmla="*/ 2421035 w 3674754"/>
                  <a:gd name="connsiteY2" fmla="*/ 2211802 h 2744802"/>
                  <a:gd name="connsiteX3" fmla="*/ 1928526 w 3674754"/>
                  <a:gd name="connsiteY3" fmla="*/ 2082025 h 2744802"/>
                  <a:gd name="connsiteX4" fmla="*/ 1618654 w 3674754"/>
                  <a:gd name="connsiteY4" fmla="*/ 1955806 h 2744802"/>
                  <a:gd name="connsiteX5" fmla="*/ 1546649 w 3674754"/>
                  <a:gd name="connsiteY5" fmla="*/ 1915991 h 2744802"/>
                  <a:gd name="connsiteX6" fmla="*/ 1559526 w 3674754"/>
                  <a:gd name="connsiteY6" fmla="*/ 1789095 h 2744802"/>
                  <a:gd name="connsiteX7" fmla="*/ 1504294 w 3674754"/>
                  <a:gd name="connsiteY7" fmla="*/ 1739454 h 2744802"/>
                  <a:gd name="connsiteX8" fmla="*/ 1366385 w 3674754"/>
                  <a:gd name="connsiteY8" fmla="*/ 1611879 h 2744802"/>
                  <a:gd name="connsiteX9" fmla="*/ 1298955 w 3674754"/>
                  <a:gd name="connsiteY9" fmla="*/ 1518020 h 2744802"/>
                  <a:gd name="connsiteX10" fmla="*/ 1003653 w 3674754"/>
                  <a:gd name="connsiteY10" fmla="*/ 1324709 h 2744802"/>
                  <a:gd name="connsiteX11" fmla="*/ 854563 w 3674754"/>
                  <a:gd name="connsiteY11" fmla="*/ 1192899 h 2744802"/>
                  <a:gd name="connsiteX12" fmla="*/ 802719 w 3674754"/>
                  <a:gd name="connsiteY12" fmla="*/ 1129196 h 2744802"/>
                  <a:gd name="connsiteX13" fmla="*/ 665827 w 3674754"/>
                  <a:gd name="connsiteY13" fmla="*/ 998064 h 2744802"/>
                  <a:gd name="connsiteX14" fmla="*/ 192801 w 3674754"/>
                  <a:gd name="connsiteY14" fmla="*/ 546216 h 2744802"/>
                  <a:gd name="connsiteX15" fmla="*/ 24735 w 3674754"/>
                  <a:gd name="connsiteY15" fmla="*/ 151971 h 2744802"/>
                  <a:gd name="connsiteX16" fmla="*/ 32698 w 3674754"/>
                  <a:gd name="connsiteY16" fmla="*/ 203814 h 2744802"/>
                  <a:gd name="connsiteX17" fmla="*/ 0 w 3674754"/>
                  <a:gd name="connsiteY17" fmla="*/ 0 h 2744802"/>
                  <a:gd name="connsiteX18" fmla="*/ 2541 w 3674754"/>
                  <a:gd name="connsiteY18" fmla="*/ 38628 h 2744802"/>
                  <a:gd name="connsiteX19" fmla="*/ 4574 w 3674754"/>
                  <a:gd name="connsiteY19" fmla="*/ 198562 h 2744802"/>
                  <a:gd name="connsiteX20" fmla="*/ 13215 w 3674754"/>
                  <a:gd name="connsiteY20" fmla="*/ 60314 h 2744802"/>
                  <a:gd name="connsiteX21" fmla="*/ 359513 w 3674754"/>
                  <a:gd name="connsiteY21" fmla="*/ 504030 h 2744802"/>
                  <a:gd name="connsiteX22" fmla="*/ 669384 w 3674754"/>
                  <a:gd name="connsiteY22" fmla="*/ 726481 h 2744802"/>
                  <a:gd name="connsiteX23" fmla="*/ 767480 w 3674754"/>
                  <a:gd name="connsiteY23" fmla="*/ 839146 h 2744802"/>
                  <a:gd name="connsiteX24" fmla="*/ 826269 w 3674754"/>
                  <a:gd name="connsiteY24" fmla="*/ 943002 h 2744802"/>
                  <a:gd name="connsiteX25" fmla="*/ 1173075 w 3674754"/>
                  <a:gd name="connsiteY25" fmla="*/ 1205945 h 2744802"/>
                  <a:gd name="connsiteX26" fmla="*/ 1284215 w 3674754"/>
                  <a:gd name="connsiteY26" fmla="*/ 1332672 h 2744802"/>
                  <a:gd name="connsiteX27" fmla="*/ 1489046 w 3674754"/>
                  <a:gd name="connsiteY27" fmla="*/ 1502433 h 2744802"/>
                  <a:gd name="connsiteX28" fmla="*/ 1510393 w 3674754"/>
                  <a:gd name="connsiteY28" fmla="*/ 1637462 h 2744802"/>
                  <a:gd name="connsiteX29" fmla="*/ 1636443 w 3674754"/>
                  <a:gd name="connsiteY29" fmla="*/ 1698454 h 2744802"/>
                  <a:gd name="connsiteX30" fmla="*/ 1807559 w 3674754"/>
                  <a:gd name="connsiteY30" fmla="*/ 1763851 h 2744802"/>
                  <a:gd name="connsiteX31" fmla="*/ 2237890 w 3674754"/>
                  <a:gd name="connsiteY31" fmla="*/ 1894475 h 2744802"/>
                  <a:gd name="connsiteX32" fmla="*/ 2385625 w 3674754"/>
                  <a:gd name="connsiteY32" fmla="*/ 1946318 h 2744802"/>
                  <a:gd name="connsiteX33" fmla="*/ 2492530 w 3674754"/>
                  <a:gd name="connsiteY33" fmla="*/ 2057120 h 2744802"/>
                  <a:gd name="connsiteX34" fmla="*/ 2647551 w 3674754"/>
                  <a:gd name="connsiteY34" fmla="*/ 2112521 h 2744802"/>
                  <a:gd name="connsiteX35" fmla="*/ 3171403 w 3674754"/>
                  <a:gd name="connsiteY35" fmla="*/ 2319385 h 2744802"/>
                  <a:gd name="connsiteX36" fmla="*/ 3291861 w 3674754"/>
                  <a:gd name="connsiteY36" fmla="*/ 2414600 h 2744802"/>
                  <a:gd name="connsiteX37" fmla="*/ 3457217 w 3674754"/>
                  <a:gd name="connsiteY37" fmla="*/ 2586732 h 2744802"/>
                  <a:gd name="connsiteX38" fmla="*/ 3674754 w 3674754"/>
                  <a:gd name="connsiteY38" fmla="*/ 2744803 h 2744802"/>
                  <a:gd name="connsiteX39" fmla="*/ 3620201 w 3674754"/>
                  <a:gd name="connsiteY39" fmla="*/ 2731927 h 2744802"/>
                  <a:gd name="connsiteX40" fmla="*/ 2655175 w 3674754"/>
                  <a:gd name="connsiteY40" fmla="*/ 2377327 h 274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74754" h="2744802">
                    <a:moveTo>
                      <a:pt x="2654836" y="2377497"/>
                    </a:moveTo>
                    <a:cubicBezTo>
                      <a:pt x="2591811" y="2352930"/>
                      <a:pt x="2597402" y="2356149"/>
                      <a:pt x="2519468" y="2310405"/>
                    </a:cubicBezTo>
                    <a:cubicBezTo>
                      <a:pt x="2495072" y="2295158"/>
                      <a:pt x="2445940" y="2222645"/>
                      <a:pt x="2421035" y="2211802"/>
                    </a:cubicBezTo>
                    <a:cubicBezTo>
                      <a:pt x="2299051" y="2158773"/>
                      <a:pt x="2004596" y="2102355"/>
                      <a:pt x="1928526" y="2082025"/>
                    </a:cubicBezTo>
                    <a:cubicBezTo>
                      <a:pt x="1840257" y="2052376"/>
                      <a:pt x="1687778" y="1989859"/>
                      <a:pt x="1618654" y="1955806"/>
                    </a:cubicBezTo>
                    <a:cubicBezTo>
                      <a:pt x="1605439" y="1949198"/>
                      <a:pt x="1550546" y="1930392"/>
                      <a:pt x="1546649" y="1915991"/>
                    </a:cubicBezTo>
                    <a:cubicBezTo>
                      <a:pt x="1537331" y="1888037"/>
                      <a:pt x="1571554" y="1821115"/>
                      <a:pt x="1559526" y="1789095"/>
                    </a:cubicBezTo>
                    <a:cubicBezTo>
                      <a:pt x="1545294" y="1758599"/>
                      <a:pt x="1530046" y="1762326"/>
                      <a:pt x="1504294" y="1739454"/>
                    </a:cubicBezTo>
                    <a:cubicBezTo>
                      <a:pt x="1456348" y="1697607"/>
                      <a:pt x="1395017" y="1664569"/>
                      <a:pt x="1366385" y="1611879"/>
                    </a:cubicBezTo>
                    <a:cubicBezTo>
                      <a:pt x="1347071" y="1579689"/>
                      <a:pt x="1329282" y="1539875"/>
                      <a:pt x="1298955" y="1518020"/>
                    </a:cubicBezTo>
                    <a:cubicBezTo>
                      <a:pt x="1257786" y="1490234"/>
                      <a:pt x="1114455" y="1399085"/>
                      <a:pt x="1003653" y="1324709"/>
                    </a:cubicBezTo>
                    <a:cubicBezTo>
                      <a:pt x="959095" y="1294552"/>
                      <a:pt x="875740" y="1220854"/>
                      <a:pt x="854563" y="1192899"/>
                    </a:cubicBezTo>
                    <a:cubicBezTo>
                      <a:pt x="841178" y="1175110"/>
                      <a:pt x="817290" y="1145800"/>
                      <a:pt x="802719" y="1129196"/>
                    </a:cubicBezTo>
                    <a:cubicBezTo>
                      <a:pt x="755281" y="1074812"/>
                      <a:pt x="710893" y="1037878"/>
                      <a:pt x="665827" y="998064"/>
                    </a:cubicBezTo>
                    <a:cubicBezTo>
                      <a:pt x="607376" y="950287"/>
                      <a:pt x="286153" y="678026"/>
                      <a:pt x="192801" y="546216"/>
                    </a:cubicBezTo>
                    <a:cubicBezTo>
                      <a:pt x="131979" y="460489"/>
                      <a:pt x="66413" y="363410"/>
                      <a:pt x="24735" y="151971"/>
                    </a:cubicBezTo>
                    <a:cubicBezTo>
                      <a:pt x="27277" y="173149"/>
                      <a:pt x="29987" y="191277"/>
                      <a:pt x="32698" y="203814"/>
                    </a:cubicBezTo>
                    <a:cubicBezTo>
                      <a:pt x="39814" y="237191"/>
                      <a:pt x="0" y="0"/>
                      <a:pt x="0" y="0"/>
                    </a:cubicBezTo>
                    <a:cubicBezTo>
                      <a:pt x="339" y="12537"/>
                      <a:pt x="1186" y="25413"/>
                      <a:pt x="2541" y="38628"/>
                    </a:cubicBezTo>
                    <a:lnTo>
                      <a:pt x="4574" y="198562"/>
                    </a:lnTo>
                    <a:lnTo>
                      <a:pt x="13215" y="60314"/>
                    </a:lnTo>
                    <a:cubicBezTo>
                      <a:pt x="37103" y="237360"/>
                      <a:pt x="197376" y="347823"/>
                      <a:pt x="359513" y="504030"/>
                    </a:cubicBezTo>
                    <a:cubicBezTo>
                      <a:pt x="448459" y="589757"/>
                      <a:pt x="574847" y="635840"/>
                      <a:pt x="669384" y="726481"/>
                    </a:cubicBezTo>
                    <a:cubicBezTo>
                      <a:pt x="697678" y="753927"/>
                      <a:pt x="744947" y="807803"/>
                      <a:pt x="767480" y="839146"/>
                    </a:cubicBezTo>
                    <a:cubicBezTo>
                      <a:pt x="790182" y="871167"/>
                      <a:pt x="791538" y="920977"/>
                      <a:pt x="826269" y="943002"/>
                    </a:cubicBezTo>
                    <a:cubicBezTo>
                      <a:pt x="934529" y="1012465"/>
                      <a:pt x="1119199" y="1092262"/>
                      <a:pt x="1173075" y="1205945"/>
                    </a:cubicBezTo>
                    <a:cubicBezTo>
                      <a:pt x="1212381" y="1255416"/>
                      <a:pt x="1247282" y="1285573"/>
                      <a:pt x="1284215" y="1332672"/>
                    </a:cubicBezTo>
                    <a:cubicBezTo>
                      <a:pt x="1334703" y="1411453"/>
                      <a:pt x="1430765" y="1430598"/>
                      <a:pt x="1489046" y="1502433"/>
                    </a:cubicBezTo>
                    <a:cubicBezTo>
                      <a:pt x="1518356" y="1541908"/>
                      <a:pt x="1487860" y="1607813"/>
                      <a:pt x="1510393" y="1637462"/>
                    </a:cubicBezTo>
                    <a:cubicBezTo>
                      <a:pt x="1535807" y="1667958"/>
                      <a:pt x="1598154" y="1680665"/>
                      <a:pt x="1636443" y="1698454"/>
                    </a:cubicBezTo>
                    <a:cubicBezTo>
                      <a:pt x="1692013" y="1721156"/>
                      <a:pt x="1751311" y="1742504"/>
                      <a:pt x="1807559" y="1763851"/>
                    </a:cubicBezTo>
                    <a:cubicBezTo>
                      <a:pt x="1946993" y="1820099"/>
                      <a:pt x="2093373" y="1852797"/>
                      <a:pt x="2237890" y="1894475"/>
                    </a:cubicBezTo>
                    <a:cubicBezTo>
                      <a:pt x="2303456" y="1916161"/>
                      <a:pt x="2335646" y="1909892"/>
                      <a:pt x="2385625" y="1946318"/>
                    </a:cubicBezTo>
                    <a:cubicBezTo>
                      <a:pt x="2416460" y="1971223"/>
                      <a:pt x="2461526" y="2030690"/>
                      <a:pt x="2492530" y="2057120"/>
                    </a:cubicBezTo>
                    <a:cubicBezTo>
                      <a:pt x="2528617" y="2089818"/>
                      <a:pt x="2595200" y="2095240"/>
                      <a:pt x="2647551" y="2112521"/>
                    </a:cubicBezTo>
                    <a:cubicBezTo>
                      <a:pt x="2834593" y="2166905"/>
                      <a:pt x="2972502" y="2233827"/>
                      <a:pt x="3171403" y="2319385"/>
                    </a:cubicBezTo>
                    <a:cubicBezTo>
                      <a:pt x="3227820" y="2342765"/>
                      <a:pt x="3244593" y="2375294"/>
                      <a:pt x="3291861" y="2414600"/>
                    </a:cubicBezTo>
                    <a:cubicBezTo>
                      <a:pt x="3357767" y="2458480"/>
                      <a:pt x="3413676" y="2541666"/>
                      <a:pt x="3457217" y="2586732"/>
                    </a:cubicBezTo>
                    <a:cubicBezTo>
                      <a:pt x="3514142" y="2643319"/>
                      <a:pt x="3615287" y="2691943"/>
                      <a:pt x="3674754" y="2744803"/>
                    </a:cubicBezTo>
                    <a:lnTo>
                      <a:pt x="3620201" y="2731927"/>
                    </a:lnTo>
                    <a:cubicBezTo>
                      <a:pt x="3347093" y="2592154"/>
                      <a:pt x="2967588" y="2504055"/>
                      <a:pt x="2655175" y="2377327"/>
                    </a:cubicBezTo>
                    <a:close/>
                  </a:path>
                </a:pathLst>
              </a:custGeom>
              <a:solidFill>
                <a:srgbClr val="0095FF"/>
              </a:solidFill>
              <a:ln w="16928" cap="flat">
                <a:noFill/>
                <a:prstDash val="solid"/>
                <a:miter/>
              </a:ln>
            </p:spPr>
            <p:txBody>
              <a:bodyPr rtlCol="0" anchor="ctr"/>
              <a:lstStyle/>
              <a:p>
                <a:endParaRPr lang="en-US"/>
              </a:p>
            </p:txBody>
          </p:sp>
          <p:sp>
            <p:nvSpPr>
              <p:cNvPr id="267" name="Freeform: Shape 266">
                <a:extLst>
                  <a:ext uri="{FF2B5EF4-FFF2-40B4-BE49-F238E27FC236}">
                    <a16:creationId xmlns:a16="http://schemas.microsoft.com/office/drawing/2014/main" id="{42329926-FA13-1326-E06D-ADF44DF21B8F}"/>
                  </a:ext>
                </a:extLst>
              </p:cNvPr>
              <p:cNvSpPr/>
              <p:nvPr/>
            </p:nvSpPr>
            <p:spPr>
              <a:xfrm>
                <a:off x="5860555" y="1948229"/>
                <a:ext cx="2839057" cy="2868141"/>
              </a:xfrm>
              <a:custGeom>
                <a:avLst/>
                <a:gdLst>
                  <a:gd name="connsiteX0" fmla="*/ 2829001 w 2839057"/>
                  <a:gd name="connsiteY0" fmla="*/ 2868142 h 2868141"/>
                  <a:gd name="connsiteX1" fmla="*/ 2739208 w 2839057"/>
                  <a:gd name="connsiteY1" fmla="*/ 2685336 h 2868141"/>
                  <a:gd name="connsiteX2" fmla="*/ 1893964 w 2839057"/>
                  <a:gd name="connsiteY2" fmla="*/ 2419174 h 2868141"/>
                  <a:gd name="connsiteX3" fmla="*/ 1617976 w 2839057"/>
                  <a:gd name="connsiteY3" fmla="*/ 2301934 h 2868141"/>
                  <a:gd name="connsiteX4" fmla="*/ 1612724 w 2839057"/>
                  <a:gd name="connsiteY4" fmla="*/ 2159450 h 2868141"/>
                  <a:gd name="connsiteX5" fmla="*/ 1470918 w 2839057"/>
                  <a:gd name="connsiteY5" fmla="*/ 2031706 h 2868141"/>
                  <a:gd name="connsiteX6" fmla="*/ 1304207 w 2839057"/>
                  <a:gd name="connsiteY6" fmla="*/ 1841954 h 2868141"/>
                  <a:gd name="connsiteX7" fmla="*/ 985864 w 2839057"/>
                  <a:gd name="connsiteY7" fmla="*/ 1589177 h 2868141"/>
                  <a:gd name="connsiteX8" fmla="*/ 996199 w 2839057"/>
                  <a:gd name="connsiteY8" fmla="*/ 1453131 h 2868141"/>
                  <a:gd name="connsiteX9" fmla="*/ 739187 w 2839057"/>
                  <a:gd name="connsiteY9" fmla="*/ 1169519 h 2868141"/>
                  <a:gd name="connsiteX10" fmla="*/ 302756 w 2839057"/>
                  <a:gd name="connsiteY10" fmla="*/ 781035 h 2868141"/>
                  <a:gd name="connsiteX11" fmla="*/ 28124 w 2839057"/>
                  <a:gd name="connsiteY11" fmla="*/ 301063 h 2868141"/>
                  <a:gd name="connsiteX12" fmla="*/ 0 w 2839057"/>
                  <a:gd name="connsiteY12" fmla="*/ 0 h 2868141"/>
                  <a:gd name="connsiteX13" fmla="*/ 0 w 2839057"/>
                  <a:gd name="connsiteY13" fmla="*/ 472009 h 2868141"/>
                  <a:gd name="connsiteX14" fmla="*/ 361206 w 2839057"/>
                  <a:gd name="connsiteY14" fmla="*/ 1260668 h 2868141"/>
                  <a:gd name="connsiteX15" fmla="*/ 866253 w 2839057"/>
                  <a:gd name="connsiteY15" fmla="*/ 1827892 h 2868141"/>
                  <a:gd name="connsiteX16" fmla="*/ 1126484 w 2839057"/>
                  <a:gd name="connsiteY16" fmla="*/ 2362079 h 2868141"/>
                  <a:gd name="connsiteX17" fmla="*/ 1604253 w 2839057"/>
                  <a:gd name="connsiteY17" fmla="*/ 2688385 h 2868141"/>
                  <a:gd name="connsiteX18" fmla="*/ 2008323 w 2839057"/>
                  <a:gd name="connsiteY18" fmla="*/ 2791394 h 2868141"/>
                  <a:gd name="connsiteX19" fmla="*/ 2828663 w 2839057"/>
                  <a:gd name="connsiteY19" fmla="*/ 2868142 h 28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39057" h="2868141">
                    <a:moveTo>
                      <a:pt x="2829001" y="2868142"/>
                    </a:moveTo>
                    <a:cubicBezTo>
                      <a:pt x="2829001" y="2868142"/>
                      <a:pt x="2883386" y="2750394"/>
                      <a:pt x="2739208" y="2685336"/>
                    </a:cubicBezTo>
                    <a:cubicBezTo>
                      <a:pt x="2594861" y="2620278"/>
                      <a:pt x="1893964" y="2419174"/>
                      <a:pt x="1893964" y="2419174"/>
                    </a:cubicBezTo>
                    <a:cubicBezTo>
                      <a:pt x="1893964" y="2419174"/>
                      <a:pt x="1650674" y="2347509"/>
                      <a:pt x="1617976" y="2301934"/>
                    </a:cubicBezTo>
                    <a:cubicBezTo>
                      <a:pt x="1585277" y="2256360"/>
                      <a:pt x="1634071" y="2208414"/>
                      <a:pt x="1612724" y="2159450"/>
                    </a:cubicBezTo>
                    <a:cubicBezTo>
                      <a:pt x="1592563" y="2113198"/>
                      <a:pt x="1492943" y="2065083"/>
                      <a:pt x="1470918" y="2031706"/>
                    </a:cubicBezTo>
                    <a:cubicBezTo>
                      <a:pt x="1448893" y="1998330"/>
                      <a:pt x="1372145" y="1962413"/>
                      <a:pt x="1304207" y="1841954"/>
                    </a:cubicBezTo>
                    <a:cubicBezTo>
                      <a:pt x="1218311" y="1689474"/>
                      <a:pt x="992980" y="1636445"/>
                      <a:pt x="985864" y="1589177"/>
                    </a:cubicBezTo>
                    <a:cubicBezTo>
                      <a:pt x="978748" y="1541908"/>
                      <a:pt x="1022628" y="1494470"/>
                      <a:pt x="996199" y="1453131"/>
                    </a:cubicBezTo>
                    <a:cubicBezTo>
                      <a:pt x="969769" y="1411792"/>
                      <a:pt x="785438" y="1204759"/>
                      <a:pt x="739187" y="1169519"/>
                    </a:cubicBezTo>
                    <a:cubicBezTo>
                      <a:pt x="585690" y="1052448"/>
                      <a:pt x="343926" y="826779"/>
                      <a:pt x="302756" y="781035"/>
                    </a:cubicBezTo>
                    <a:cubicBezTo>
                      <a:pt x="87422" y="541303"/>
                      <a:pt x="43033" y="370526"/>
                      <a:pt x="28124" y="301063"/>
                    </a:cubicBezTo>
                    <a:cubicBezTo>
                      <a:pt x="13215" y="231600"/>
                      <a:pt x="0" y="0"/>
                      <a:pt x="0" y="0"/>
                    </a:cubicBezTo>
                    <a:lnTo>
                      <a:pt x="0" y="472009"/>
                    </a:lnTo>
                    <a:cubicBezTo>
                      <a:pt x="0" y="472009"/>
                      <a:pt x="361206" y="1260668"/>
                      <a:pt x="361206" y="1260668"/>
                    </a:cubicBezTo>
                    <a:lnTo>
                      <a:pt x="866253" y="1827892"/>
                    </a:lnTo>
                    <a:lnTo>
                      <a:pt x="1126484" y="2362079"/>
                    </a:lnTo>
                    <a:lnTo>
                      <a:pt x="1604253" y="2688385"/>
                    </a:lnTo>
                    <a:lnTo>
                      <a:pt x="2008323" y="2791394"/>
                    </a:lnTo>
                    <a:lnTo>
                      <a:pt x="2828663" y="2868142"/>
                    </a:lnTo>
                    <a:close/>
                  </a:path>
                </a:pathLst>
              </a:custGeom>
              <a:solidFill>
                <a:srgbClr val="0000C9"/>
              </a:solidFill>
              <a:ln w="16928" cap="flat">
                <a:noFill/>
                <a:prstDash val="solid"/>
                <a:miter/>
              </a:ln>
            </p:spPr>
            <p:txBody>
              <a:bodyPr rtlCol="0" anchor="ctr"/>
              <a:lstStyle/>
              <a:p>
                <a:endParaRPr lang="en-US"/>
              </a:p>
            </p:txBody>
          </p:sp>
          <p:sp>
            <p:nvSpPr>
              <p:cNvPr id="268" name="Freeform: Shape 267">
                <a:extLst>
                  <a:ext uri="{FF2B5EF4-FFF2-40B4-BE49-F238E27FC236}">
                    <a16:creationId xmlns:a16="http://schemas.microsoft.com/office/drawing/2014/main" id="{A2BE7A41-A2CD-AFC4-1A21-153A4820869E}"/>
                  </a:ext>
                </a:extLst>
              </p:cNvPr>
              <p:cNvSpPr/>
              <p:nvPr/>
            </p:nvSpPr>
            <p:spPr>
              <a:xfrm>
                <a:off x="5854964" y="2042936"/>
                <a:ext cx="3690849" cy="2742261"/>
              </a:xfrm>
              <a:custGeom>
                <a:avLst/>
                <a:gdLst>
                  <a:gd name="connsiteX0" fmla="*/ 3690850 w 3690849"/>
                  <a:gd name="connsiteY0" fmla="*/ 2742262 h 2742261"/>
                  <a:gd name="connsiteX1" fmla="*/ 3473143 w 3690849"/>
                  <a:gd name="connsiteY1" fmla="*/ 2610621 h 2742261"/>
                  <a:gd name="connsiteX2" fmla="*/ 3345907 w 3690849"/>
                  <a:gd name="connsiteY2" fmla="*/ 2462038 h 2742261"/>
                  <a:gd name="connsiteX3" fmla="*/ 3181738 w 3690849"/>
                  <a:gd name="connsiteY3" fmla="*/ 2329042 h 2742261"/>
                  <a:gd name="connsiteX4" fmla="*/ 2647212 w 3690849"/>
                  <a:gd name="connsiteY4" fmla="*/ 2112521 h 2742261"/>
                  <a:gd name="connsiteX5" fmla="*/ 2492192 w 3690849"/>
                  <a:gd name="connsiteY5" fmla="*/ 2057120 h 2742261"/>
                  <a:gd name="connsiteX6" fmla="*/ 2387320 w 3690849"/>
                  <a:gd name="connsiteY6" fmla="*/ 1954111 h 2742261"/>
                  <a:gd name="connsiteX7" fmla="*/ 2237721 w 3690849"/>
                  <a:gd name="connsiteY7" fmla="*/ 1894475 h 2742261"/>
                  <a:gd name="connsiteX8" fmla="*/ 1807389 w 3690849"/>
                  <a:gd name="connsiteY8" fmla="*/ 1763851 h 2742261"/>
                  <a:gd name="connsiteX9" fmla="*/ 1636274 w 3690849"/>
                  <a:gd name="connsiteY9" fmla="*/ 1698454 h 2742261"/>
                  <a:gd name="connsiteX10" fmla="*/ 1510224 w 3690849"/>
                  <a:gd name="connsiteY10" fmla="*/ 1637462 h 2742261"/>
                  <a:gd name="connsiteX11" fmla="*/ 1483964 w 3690849"/>
                  <a:gd name="connsiteY11" fmla="*/ 1501416 h 2742261"/>
                  <a:gd name="connsiteX12" fmla="*/ 1284046 w 3690849"/>
                  <a:gd name="connsiteY12" fmla="*/ 1332672 h 2742261"/>
                  <a:gd name="connsiteX13" fmla="*/ 1159691 w 3690849"/>
                  <a:gd name="connsiteY13" fmla="*/ 1187816 h 2742261"/>
                  <a:gd name="connsiteX14" fmla="*/ 818815 w 3690849"/>
                  <a:gd name="connsiteY14" fmla="*/ 942155 h 2742261"/>
                  <a:gd name="connsiteX15" fmla="*/ 764430 w 3690849"/>
                  <a:gd name="connsiteY15" fmla="*/ 829489 h 2742261"/>
                  <a:gd name="connsiteX16" fmla="*/ 669215 w 3690849"/>
                  <a:gd name="connsiteY16" fmla="*/ 726481 h 2742261"/>
                  <a:gd name="connsiteX17" fmla="*/ 376963 w 3690849"/>
                  <a:gd name="connsiteY17" fmla="*/ 514703 h 2742261"/>
                  <a:gd name="connsiteX18" fmla="*/ 0 w 3690849"/>
                  <a:gd name="connsiteY18" fmla="*/ 0 h 2742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90849" h="2742261">
                    <a:moveTo>
                      <a:pt x="3690850" y="2742262"/>
                    </a:moveTo>
                    <a:cubicBezTo>
                      <a:pt x="3631382" y="2689402"/>
                      <a:pt x="3529899" y="2667377"/>
                      <a:pt x="3473143" y="2610621"/>
                    </a:cubicBezTo>
                    <a:cubicBezTo>
                      <a:pt x="3429601" y="2565385"/>
                      <a:pt x="3396226" y="2500836"/>
                      <a:pt x="3345907" y="2462038"/>
                    </a:cubicBezTo>
                    <a:cubicBezTo>
                      <a:pt x="3298639" y="2422732"/>
                      <a:pt x="3238155" y="2352422"/>
                      <a:pt x="3181738" y="2329042"/>
                    </a:cubicBezTo>
                    <a:cubicBezTo>
                      <a:pt x="2982837" y="2243484"/>
                      <a:pt x="2834254" y="2166905"/>
                      <a:pt x="2647212" y="2112521"/>
                    </a:cubicBezTo>
                    <a:cubicBezTo>
                      <a:pt x="2594861" y="2095070"/>
                      <a:pt x="2528279" y="2089818"/>
                      <a:pt x="2492192" y="2057120"/>
                    </a:cubicBezTo>
                    <a:cubicBezTo>
                      <a:pt x="2461188" y="2030859"/>
                      <a:pt x="2418155" y="1979016"/>
                      <a:pt x="2387320" y="1954111"/>
                    </a:cubicBezTo>
                    <a:cubicBezTo>
                      <a:pt x="2337510" y="1917686"/>
                      <a:pt x="2303287" y="1915991"/>
                      <a:pt x="2237721" y="1894475"/>
                    </a:cubicBezTo>
                    <a:cubicBezTo>
                      <a:pt x="2093204" y="1852797"/>
                      <a:pt x="1946824" y="1819929"/>
                      <a:pt x="1807389" y="1763851"/>
                    </a:cubicBezTo>
                    <a:cubicBezTo>
                      <a:pt x="1751311" y="1742504"/>
                      <a:pt x="1692013" y="1721156"/>
                      <a:pt x="1636274" y="1698454"/>
                    </a:cubicBezTo>
                    <a:cubicBezTo>
                      <a:pt x="1597985" y="1680834"/>
                      <a:pt x="1535638" y="1668127"/>
                      <a:pt x="1510224" y="1637462"/>
                    </a:cubicBezTo>
                    <a:cubicBezTo>
                      <a:pt x="1487522" y="1607813"/>
                      <a:pt x="1513274" y="1540892"/>
                      <a:pt x="1483964" y="1501416"/>
                    </a:cubicBezTo>
                    <a:cubicBezTo>
                      <a:pt x="1425683" y="1429581"/>
                      <a:pt x="1334534" y="1411284"/>
                      <a:pt x="1284046" y="1332672"/>
                    </a:cubicBezTo>
                    <a:cubicBezTo>
                      <a:pt x="1247113" y="1285573"/>
                      <a:pt x="1191542" y="1239151"/>
                      <a:pt x="1159691" y="1187816"/>
                    </a:cubicBezTo>
                    <a:cubicBezTo>
                      <a:pt x="1092600" y="1080064"/>
                      <a:pt x="927075" y="1011618"/>
                      <a:pt x="818815" y="942155"/>
                    </a:cubicBezTo>
                    <a:cubicBezTo>
                      <a:pt x="784253" y="919961"/>
                      <a:pt x="787133" y="861510"/>
                      <a:pt x="764430" y="829489"/>
                    </a:cubicBezTo>
                    <a:cubicBezTo>
                      <a:pt x="741897" y="798146"/>
                      <a:pt x="697509" y="754097"/>
                      <a:pt x="669215" y="726481"/>
                    </a:cubicBezTo>
                    <a:cubicBezTo>
                      <a:pt x="574678" y="636010"/>
                      <a:pt x="473703" y="591621"/>
                      <a:pt x="376963" y="514703"/>
                    </a:cubicBezTo>
                    <a:cubicBezTo>
                      <a:pt x="189244" y="369170"/>
                      <a:pt x="3897" y="184331"/>
                      <a:pt x="0" y="0"/>
                    </a:cubicBezTo>
                  </a:path>
                </a:pathLst>
              </a:custGeom>
              <a:noFill/>
              <a:ln w="16928" cap="flat">
                <a:solidFill>
                  <a:srgbClr val="231F20"/>
                </a:solidFill>
                <a:prstDash val="solid"/>
                <a:miter/>
              </a:ln>
            </p:spPr>
            <p:txBody>
              <a:bodyPr rtlCol="0" anchor="ctr"/>
              <a:lstStyle/>
              <a:p>
                <a:endParaRPr lang="en-US"/>
              </a:p>
            </p:txBody>
          </p:sp>
          <p:sp>
            <p:nvSpPr>
              <p:cNvPr id="270" name="Freeform: Shape 269">
                <a:extLst>
                  <a:ext uri="{FF2B5EF4-FFF2-40B4-BE49-F238E27FC236}">
                    <a16:creationId xmlns:a16="http://schemas.microsoft.com/office/drawing/2014/main" id="{97D8B94B-EFEC-0B7A-BEFA-E1BCE57F35BC}"/>
                  </a:ext>
                </a:extLst>
              </p:cNvPr>
              <p:cNvSpPr/>
              <p:nvPr/>
            </p:nvSpPr>
            <p:spPr>
              <a:xfrm>
                <a:off x="5859538" y="1944841"/>
                <a:ext cx="2533191" cy="2796815"/>
              </a:xfrm>
              <a:custGeom>
                <a:avLst/>
                <a:gdLst>
                  <a:gd name="connsiteX0" fmla="*/ 1186 w 2533191"/>
                  <a:gd name="connsiteY0" fmla="*/ 247864 h 2796815"/>
                  <a:gd name="connsiteX1" fmla="*/ 1186 w 2533191"/>
                  <a:gd name="connsiteY1" fmla="*/ 132827 h 2796815"/>
                  <a:gd name="connsiteX2" fmla="*/ 0 w 2533191"/>
                  <a:gd name="connsiteY2" fmla="*/ 132827 h 2796815"/>
                  <a:gd name="connsiteX3" fmla="*/ 0 w 2533191"/>
                  <a:gd name="connsiteY3" fmla="*/ 0 h 2796815"/>
                  <a:gd name="connsiteX4" fmla="*/ 3896 w 2533191"/>
                  <a:gd name="connsiteY4" fmla="*/ 2541 h 2796815"/>
                  <a:gd name="connsiteX5" fmla="*/ 6946 w 2533191"/>
                  <a:gd name="connsiteY5" fmla="*/ 49471 h 2796815"/>
                  <a:gd name="connsiteX6" fmla="*/ 11181 w 2533191"/>
                  <a:gd name="connsiteY6" fmla="*/ 141298 h 2796815"/>
                  <a:gd name="connsiteX7" fmla="*/ 43033 w 2533191"/>
                  <a:gd name="connsiteY7" fmla="*/ 331050 h 2796815"/>
                  <a:gd name="connsiteX8" fmla="*/ 47776 w 2533191"/>
                  <a:gd name="connsiteY8" fmla="*/ 356633 h 2796815"/>
                  <a:gd name="connsiteX9" fmla="*/ 87252 w 2533191"/>
                  <a:gd name="connsiteY9" fmla="*/ 466588 h 2796815"/>
                  <a:gd name="connsiteX10" fmla="*/ 206525 w 2533191"/>
                  <a:gd name="connsiteY10" fmla="*/ 670910 h 2796815"/>
                  <a:gd name="connsiteX11" fmla="*/ 242951 w 2533191"/>
                  <a:gd name="connsiteY11" fmla="*/ 714452 h 2796815"/>
                  <a:gd name="connsiteX12" fmla="*/ 333082 w 2533191"/>
                  <a:gd name="connsiteY12" fmla="*/ 824576 h 2796815"/>
                  <a:gd name="connsiteX13" fmla="*/ 465232 w 2533191"/>
                  <a:gd name="connsiteY13" fmla="*/ 979258 h 2796815"/>
                  <a:gd name="connsiteX14" fmla="*/ 543504 w 2533191"/>
                  <a:gd name="connsiteY14" fmla="*/ 1085486 h 2796815"/>
                  <a:gd name="connsiteX15" fmla="*/ 628893 w 2533191"/>
                  <a:gd name="connsiteY15" fmla="*/ 1216279 h 2796815"/>
                  <a:gd name="connsiteX16" fmla="*/ 809496 w 2533191"/>
                  <a:gd name="connsiteY16" fmla="*/ 1413825 h 2796815"/>
                  <a:gd name="connsiteX17" fmla="*/ 948761 w 2533191"/>
                  <a:gd name="connsiteY17" fmla="*/ 1574437 h 2796815"/>
                  <a:gd name="connsiteX18" fmla="*/ 1052277 w 2533191"/>
                  <a:gd name="connsiteY18" fmla="*/ 1683884 h 2796815"/>
                  <a:gd name="connsiteX19" fmla="*/ 1104120 w 2533191"/>
                  <a:gd name="connsiteY19" fmla="*/ 1763512 h 2796815"/>
                  <a:gd name="connsiteX20" fmla="*/ 1082096 w 2533191"/>
                  <a:gd name="connsiteY20" fmla="*/ 1851611 h 2796815"/>
                  <a:gd name="connsiteX21" fmla="*/ 1114963 w 2533191"/>
                  <a:gd name="connsiteY21" fmla="*/ 1928020 h 2796815"/>
                  <a:gd name="connsiteX22" fmla="*/ 1331315 w 2533191"/>
                  <a:gd name="connsiteY22" fmla="*/ 2082025 h 2796815"/>
                  <a:gd name="connsiteX23" fmla="*/ 1456178 w 2533191"/>
                  <a:gd name="connsiteY23" fmla="*/ 2164364 h 2796815"/>
                  <a:gd name="connsiteX24" fmla="*/ 1500736 w 2533191"/>
                  <a:gd name="connsiteY24" fmla="*/ 2213665 h 2796815"/>
                  <a:gd name="connsiteX25" fmla="*/ 1541397 w 2533191"/>
                  <a:gd name="connsiteY25" fmla="*/ 2283806 h 2796815"/>
                  <a:gd name="connsiteX26" fmla="*/ 1605778 w 2533191"/>
                  <a:gd name="connsiteY26" fmla="*/ 2352592 h 2796815"/>
                  <a:gd name="connsiteX27" fmla="*/ 1702856 w 2533191"/>
                  <a:gd name="connsiteY27" fmla="*/ 2422054 h 2796815"/>
                  <a:gd name="connsiteX28" fmla="*/ 1736740 w 2533191"/>
                  <a:gd name="connsiteY28" fmla="*/ 2501683 h 2796815"/>
                  <a:gd name="connsiteX29" fmla="*/ 1773844 w 2533191"/>
                  <a:gd name="connsiteY29" fmla="*/ 2605708 h 2796815"/>
                  <a:gd name="connsiteX30" fmla="*/ 1842460 w 2533191"/>
                  <a:gd name="connsiteY30" fmla="*/ 2644336 h 2796815"/>
                  <a:gd name="connsiteX31" fmla="*/ 1849914 w 2533191"/>
                  <a:gd name="connsiteY31" fmla="*/ 2647385 h 2796815"/>
                  <a:gd name="connsiteX32" fmla="*/ 1852625 w 2533191"/>
                  <a:gd name="connsiteY32" fmla="*/ 2649588 h 2796815"/>
                  <a:gd name="connsiteX33" fmla="*/ 1865501 w 2533191"/>
                  <a:gd name="connsiteY33" fmla="*/ 2655009 h 2796815"/>
                  <a:gd name="connsiteX34" fmla="*/ 1864315 w 2533191"/>
                  <a:gd name="connsiteY34" fmla="*/ 2655179 h 2796815"/>
                  <a:gd name="connsiteX35" fmla="*/ 1950381 w 2533191"/>
                  <a:gd name="connsiteY35" fmla="*/ 2686183 h 2796815"/>
                  <a:gd name="connsiteX36" fmla="*/ 2387828 w 2533191"/>
                  <a:gd name="connsiteY36" fmla="*/ 2773096 h 2796815"/>
                  <a:gd name="connsiteX37" fmla="*/ 2501510 w 2533191"/>
                  <a:gd name="connsiteY37" fmla="*/ 2788514 h 2796815"/>
                  <a:gd name="connsiteX38" fmla="*/ 2533192 w 2533191"/>
                  <a:gd name="connsiteY38" fmla="*/ 2796816 h 2796815"/>
                  <a:gd name="connsiteX39" fmla="*/ 2509133 w 2533191"/>
                  <a:gd name="connsiteY39" fmla="*/ 2796816 h 2796815"/>
                  <a:gd name="connsiteX40" fmla="*/ 2493886 w 2533191"/>
                  <a:gd name="connsiteY40" fmla="*/ 2794105 h 2796815"/>
                  <a:gd name="connsiteX41" fmla="*/ 2443229 w 2533191"/>
                  <a:gd name="connsiteY41" fmla="*/ 2793427 h 2796815"/>
                  <a:gd name="connsiteX42" fmla="*/ 47268 w 2533191"/>
                  <a:gd name="connsiteY42" fmla="*/ 2793427 h 2796815"/>
                  <a:gd name="connsiteX43" fmla="*/ 508 w 2533191"/>
                  <a:gd name="connsiteY43" fmla="*/ 2769539 h 2796815"/>
                  <a:gd name="connsiteX44" fmla="*/ 508 w 2533191"/>
                  <a:gd name="connsiteY44" fmla="*/ 247864 h 279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533191" h="2796815">
                    <a:moveTo>
                      <a:pt x="1186" y="247864"/>
                    </a:moveTo>
                    <a:cubicBezTo>
                      <a:pt x="1186" y="209575"/>
                      <a:pt x="1186" y="171116"/>
                      <a:pt x="1186" y="132827"/>
                    </a:cubicBezTo>
                    <a:cubicBezTo>
                      <a:pt x="847" y="132827"/>
                      <a:pt x="339" y="132827"/>
                      <a:pt x="0" y="132827"/>
                    </a:cubicBezTo>
                    <a:lnTo>
                      <a:pt x="0" y="0"/>
                    </a:lnTo>
                    <a:cubicBezTo>
                      <a:pt x="4574" y="0"/>
                      <a:pt x="-678" y="2541"/>
                      <a:pt x="3896" y="2541"/>
                    </a:cubicBezTo>
                    <a:cubicBezTo>
                      <a:pt x="7624" y="27277"/>
                      <a:pt x="6946" y="49471"/>
                      <a:pt x="6946" y="49471"/>
                    </a:cubicBezTo>
                    <a:cubicBezTo>
                      <a:pt x="6946" y="49471"/>
                      <a:pt x="8979" y="99451"/>
                      <a:pt x="11181" y="141298"/>
                    </a:cubicBezTo>
                    <a:cubicBezTo>
                      <a:pt x="12367" y="163661"/>
                      <a:pt x="42355" y="326815"/>
                      <a:pt x="43033" y="331050"/>
                    </a:cubicBezTo>
                    <a:cubicBezTo>
                      <a:pt x="44049" y="339691"/>
                      <a:pt x="45744" y="348162"/>
                      <a:pt x="47776" y="356633"/>
                    </a:cubicBezTo>
                    <a:cubicBezTo>
                      <a:pt x="56248" y="401360"/>
                      <a:pt x="82339" y="437955"/>
                      <a:pt x="87252" y="466588"/>
                    </a:cubicBezTo>
                    <a:cubicBezTo>
                      <a:pt x="96062" y="518092"/>
                      <a:pt x="204322" y="667353"/>
                      <a:pt x="206525" y="670910"/>
                    </a:cubicBezTo>
                    <a:cubicBezTo>
                      <a:pt x="211269" y="678365"/>
                      <a:pt x="239392" y="709539"/>
                      <a:pt x="242951" y="714452"/>
                    </a:cubicBezTo>
                    <a:cubicBezTo>
                      <a:pt x="277173" y="761721"/>
                      <a:pt x="296996" y="777646"/>
                      <a:pt x="333082" y="824576"/>
                    </a:cubicBezTo>
                    <a:cubicBezTo>
                      <a:pt x="374252" y="877944"/>
                      <a:pt x="418302" y="927246"/>
                      <a:pt x="465232" y="979258"/>
                    </a:cubicBezTo>
                    <a:cubicBezTo>
                      <a:pt x="495897" y="1013481"/>
                      <a:pt x="519446" y="1050076"/>
                      <a:pt x="543504" y="1085486"/>
                    </a:cubicBezTo>
                    <a:cubicBezTo>
                      <a:pt x="570612" y="1125130"/>
                      <a:pt x="593653" y="1178329"/>
                      <a:pt x="628893" y="1216279"/>
                    </a:cubicBezTo>
                    <a:cubicBezTo>
                      <a:pt x="689885" y="1282015"/>
                      <a:pt x="742575" y="1349445"/>
                      <a:pt x="809496" y="1413825"/>
                    </a:cubicBezTo>
                    <a:cubicBezTo>
                      <a:pt x="862356" y="1464482"/>
                      <a:pt x="905389" y="1521408"/>
                      <a:pt x="948761" y="1574437"/>
                    </a:cubicBezTo>
                    <a:cubicBezTo>
                      <a:pt x="980443" y="1613235"/>
                      <a:pt x="1016868" y="1645933"/>
                      <a:pt x="1052277" y="1683884"/>
                    </a:cubicBezTo>
                    <a:cubicBezTo>
                      <a:pt x="1076166" y="1709297"/>
                      <a:pt x="1105984" y="1735049"/>
                      <a:pt x="1104120" y="1763512"/>
                    </a:cubicBezTo>
                    <a:cubicBezTo>
                      <a:pt x="1102596" y="1785028"/>
                      <a:pt x="1083620" y="1830095"/>
                      <a:pt x="1082096" y="1851611"/>
                    </a:cubicBezTo>
                    <a:cubicBezTo>
                      <a:pt x="1080063" y="1880582"/>
                      <a:pt x="1082604" y="1904471"/>
                      <a:pt x="1114963" y="1928020"/>
                    </a:cubicBezTo>
                    <a:cubicBezTo>
                      <a:pt x="1186120" y="1979694"/>
                      <a:pt x="1255075" y="2032045"/>
                      <a:pt x="1331315" y="2082025"/>
                    </a:cubicBezTo>
                    <a:cubicBezTo>
                      <a:pt x="1373162" y="2109302"/>
                      <a:pt x="1418567" y="2135393"/>
                      <a:pt x="1456178" y="2164364"/>
                    </a:cubicBezTo>
                    <a:cubicBezTo>
                      <a:pt x="1476001" y="2179612"/>
                      <a:pt x="1489894" y="2196215"/>
                      <a:pt x="1500736" y="2213665"/>
                    </a:cubicBezTo>
                    <a:cubicBezTo>
                      <a:pt x="1515137" y="2236876"/>
                      <a:pt x="1528860" y="2260256"/>
                      <a:pt x="1541397" y="2283806"/>
                    </a:cubicBezTo>
                    <a:cubicBezTo>
                      <a:pt x="1554612" y="2308711"/>
                      <a:pt x="1577315" y="2331414"/>
                      <a:pt x="1605778" y="2352592"/>
                    </a:cubicBezTo>
                    <a:cubicBezTo>
                      <a:pt x="1637120" y="2376141"/>
                      <a:pt x="1667447" y="2399860"/>
                      <a:pt x="1702856" y="2422054"/>
                    </a:cubicBezTo>
                    <a:cubicBezTo>
                      <a:pt x="1740129" y="2445435"/>
                      <a:pt x="1752497" y="2471864"/>
                      <a:pt x="1736740" y="2501683"/>
                    </a:cubicBezTo>
                    <a:cubicBezTo>
                      <a:pt x="1716918" y="2538956"/>
                      <a:pt x="1735555" y="2573687"/>
                      <a:pt x="1773844" y="2605708"/>
                    </a:cubicBezTo>
                    <a:cubicBezTo>
                      <a:pt x="1791633" y="2620447"/>
                      <a:pt x="1809761" y="2636034"/>
                      <a:pt x="1842460" y="2644336"/>
                    </a:cubicBezTo>
                    <a:cubicBezTo>
                      <a:pt x="1843985" y="2646030"/>
                      <a:pt x="1846187" y="2647216"/>
                      <a:pt x="1849914" y="2647385"/>
                    </a:cubicBezTo>
                    <a:cubicBezTo>
                      <a:pt x="1850761" y="2648063"/>
                      <a:pt x="1851778" y="2648910"/>
                      <a:pt x="1852625" y="2649588"/>
                    </a:cubicBezTo>
                    <a:lnTo>
                      <a:pt x="1865501" y="2655009"/>
                    </a:lnTo>
                    <a:cubicBezTo>
                      <a:pt x="1865501" y="2655009"/>
                      <a:pt x="1864654" y="2655009"/>
                      <a:pt x="1864315" y="2655179"/>
                    </a:cubicBezTo>
                    <a:cubicBezTo>
                      <a:pt x="1891931" y="2667716"/>
                      <a:pt x="1920393" y="2677542"/>
                      <a:pt x="1950381" y="2686183"/>
                    </a:cubicBezTo>
                    <a:cubicBezTo>
                      <a:pt x="2087952" y="2725828"/>
                      <a:pt x="2236704" y="2751072"/>
                      <a:pt x="2387828" y="2773096"/>
                    </a:cubicBezTo>
                    <a:cubicBezTo>
                      <a:pt x="2425439" y="2778687"/>
                      <a:pt x="2463729" y="2783262"/>
                      <a:pt x="2501510" y="2788514"/>
                    </a:cubicBezTo>
                    <a:cubicBezTo>
                      <a:pt x="2513030" y="2790208"/>
                      <a:pt x="2526584" y="2790377"/>
                      <a:pt x="2533192" y="2796816"/>
                    </a:cubicBezTo>
                    <a:cubicBezTo>
                      <a:pt x="2525229" y="2796816"/>
                      <a:pt x="2517266" y="2796816"/>
                      <a:pt x="2509133" y="2796816"/>
                    </a:cubicBezTo>
                    <a:cubicBezTo>
                      <a:pt x="2505237" y="2794274"/>
                      <a:pt x="2499477" y="2794105"/>
                      <a:pt x="2493886" y="2794105"/>
                    </a:cubicBezTo>
                    <a:cubicBezTo>
                      <a:pt x="2476943" y="2793935"/>
                      <a:pt x="2460171" y="2793427"/>
                      <a:pt x="2443229" y="2793427"/>
                    </a:cubicBezTo>
                    <a:cubicBezTo>
                      <a:pt x="1644575" y="2793427"/>
                      <a:pt x="845922" y="2793427"/>
                      <a:pt x="47268" y="2793427"/>
                    </a:cubicBezTo>
                    <a:cubicBezTo>
                      <a:pt x="-4405" y="2793427"/>
                      <a:pt x="508" y="2796138"/>
                      <a:pt x="508" y="2769539"/>
                    </a:cubicBezTo>
                    <a:cubicBezTo>
                      <a:pt x="508" y="1929037"/>
                      <a:pt x="508" y="1088366"/>
                      <a:pt x="508" y="247864"/>
                    </a:cubicBezTo>
                    <a:close/>
                  </a:path>
                </a:pathLst>
              </a:custGeom>
              <a:solidFill>
                <a:srgbClr val="000067"/>
              </a:solidFill>
              <a:ln w="16928" cap="flat">
                <a:noFill/>
                <a:prstDash val="solid"/>
                <a:miter/>
              </a:ln>
            </p:spPr>
            <p:txBody>
              <a:bodyPr rtlCol="0" anchor="ctr"/>
              <a:lstStyle/>
              <a:p>
                <a:endParaRPr lang="en-US"/>
              </a:p>
            </p:txBody>
          </p:sp>
          <p:sp>
            <p:nvSpPr>
              <p:cNvPr id="274" name="Freeform: Shape 273">
                <a:extLst>
                  <a:ext uri="{FF2B5EF4-FFF2-40B4-BE49-F238E27FC236}">
                    <a16:creationId xmlns:a16="http://schemas.microsoft.com/office/drawing/2014/main" id="{AF6A5740-73C1-A63E-946C-33AB1498E8FE}"/>
                  </a:ext>
                </a:extLst>
              </p:cNvPr>
              <p:cNvSpPr/>
              <p:nvPr/>
            </p:nvSpPr>
            <p:spPr>
              <a:xfrm>
                <a:off x="5858522" y="1893845"/>
                <a:ext cx="4398184" cy="2887625"/>
              </a:xfrm>
              <a:custGeom>
                <a:avLst/>
                <a:gdLst>
                  <a:gd name="connsiteX0" fmla="*/ 23041 w 4398184"/>
                  <a:gd name="connsiteY0" fmla="*/ 169 h 2887625"/>
                  <a:gd name="connsiteX1" fmla="*/ 86405 w 4398184"/>
                  <a:gd name="connsiteY1" fmla="*/ 182298 h 2887625"/>
                  <a:gd name="connsiteX2" fmla="*/ 289711 w 4398184"/>
                  <a:gd name="connsiteY2" fmla="*/ 364426 h 2887625"/>
                  <a:gd name="connsiteX3" fmla="*/ 669724 w 4398184"/>
                  <a:gd name="connsiteY3" fmla="*/ 553332 h 2887625"/>
                  <a:gd name="connsiteX4" fmla="*/ 800856 w 4398184"/>
                  <a:gd name="connsiteY4" fmla="*/ 636687 h 2887625"/>
                  <a:gd name="connsiteX5" fmla="*/ 1058546 w 4398184"/>
                  <a:gd name="connsiteY5" fmla="*/ 744440 h 2887625"/>
                  <a:gd name="connsiteX6" fmla="*/ 1778418 w 4398184"/>
                  <a:gd name="connsiteY6" fmla="*/ 945543 h 2887625"/>
                  <a:gd name="connsiteX7" fmla="*/ 2087274 w 4398184"/>
                  <a:gd name="connsiteY7" fmla="*/ 1087688 h 2887625"/>
                  <a:gd name="connsiteX8" fmla="*/ 2530481 w 4398184"/>
                  <a:gd name="connsiteY8" fmla="*/ 1255416 h 2887625"/>
                  <a:gd name="connsiteX9" fmla="*/ 3136502 w 4398184"/>
                  <a:gd name="connsiteY9" fmla="*/ 1570879 h 2887625"/>
                  <a:gd name="connsiteX10" fmla="*/ 3192580 w 4398184"/>
                  <a:gd name="connsiteY10" fmla="*/ 1709805 h 2887625"/>
                  <a:gd name="connsiteX11" fmla="*/ 3954808 w 4398184"/>
                  <a:gd name="connsiteY11" fmla="*/ 2009851 h 2887625"/>
                  <a:gd name="connsiteX12" fmla="*/ 3800296 w 4398184"/>
                  <a:gd name="connsiteY12" fmla="*/ 2109810 h 2887625"/>
                  <a:gd name="connsiteX13" fmla="*/ 3723717 w 4398184"/>
                  <a:gd name="connsiteY13" fmla="*/ 2274319 h 2887625"/>
                  <a:gd name="connsiteX14" fmla="*/ 3993775 w 4398184"/>
                  <a:gd name="connsiteY14" fmla="*/ 2510323 h 2887625"/>
                  <a:gd name="connsiteX15" fmla="*/ 4291279 w 4398184"/>
                  <a:gd name="connsiteY15" fmla="*/ 2776654 h 2887625"/>
                  <a:gd name="connsiteX16" fmla="*/ 4372601 w 4398184"/>
                  <a:gd name="connsiteY16" fmla="*/ 2887626 h 2887625"/>
                  <a:gd name="connsiteX17" fmla="*/ 3805548 w 4398184"/>
                  <a:gd name="connsiteY17" fmla="*/ 2879663 h 2887625"/>
                  <a:gd name="connsiteX18" fmla="*/ 4398184 w 4398184"/>
                  <a:gd name="connsiteY18" fmla="*/ 2877630 h 2887625"/>
                  <a:gd name="connsiteX19" fmla="*/ 3722870 w 4398184"/>
                  <a:gd name="connsiteY19" fmla="*/ 2647894 h 2887625"/>
                  <a:gd name="connsiteX20" fmla="*/ 3504316 w 4398184"/>
                  <a:gd name="connsiteY20" fmla="*/ 2568943 h 2887625"/>
                  <a:gd name="connsiteX21" fmla="*/ 3350481 w 4398184"/>
                  <a:gd name="connsiteY21" fmla="*/ 2499819 h 2887625"/>
                  <a:gd name="connsiteX22" fmla="*/ 3328457 w 4398184"/>
                  <a:gd name="connsiteY22" fmla="*/ 2393591 h 2887625"/>
                  <a:gd name="connsiteX23" fmla="*/ 3123287 w 4398184"/>
                  <a:gd name="connsiteY23" fmla="*/ 2198587 h 2887625"/>
                  <a:gd name="connsiteX24" fmla="*/ 2541324 w 4398184"/>
                  <a:gd name="connsiteY24" fmla="*/ 1961905 h 2887625"/>
                  <a:gd name="connsiteX25" fmla="*/ 2360551 w 4398184"/>
                  <a:gd name="connsiteY25" fmla="*/ 1860591 h 2887625"/>
                  <a:gd name="connsiteX26" fmla="*/ 2282956 w 4398184"/>
                  <a:gd name="connsiteY26" fmla="*/ 1800276 h 2887625"/>
                  <a:gd name="connsiteX27" fmla="*/ 1552241 w 4398184"/>
                  <a:gd name="connsiteY27" fmla="*/ 1558003 h 2887625"/>
                  <a:gd name="connsiteX28" fmla="*/ 1459397 w 4398184"/>
                  <a:gd name="connsiteY28" fmla="*/ 1518020 h 2887625"/>
                  <a:gd name="connsiteX29" fmla="*/ 1411451 w 4398184"/>
                  <a:gd name="connsiteY29" fmla="*/ 1371639 h 2887625"/>
                  <a:gd name="connsiteX30" fmla="*/ 1240504 w 4398184"/>
                  <a:gd name="connsiteY30" fmla="*/ 1246436 h 2887625"/>
                  <a:gd name="connsiteX31" fmla="*/ 1130720 w 4398184"/>
                  <a:gd name="connsiteY31" fmla="*/ 1128858 h 2887625"/>
                  <a:gd name="connsiteX32" fmla="*/ 988914 w 4398184"/>
                  <a:gd name="connsiteY32" fmla="*/ 1001622 h 2887625"/>
                  <a:gd name="connsiteX33" fmla="*/ 593653 w 4398184"/>
                  <a:gd name="connsiteY33" fmla="*/ 785948 h 2887625"/>
                  <a:gd name="connsiteX34" fmla="*/ 461504 w 4398184"/>
                  <a:gd name="connsiteY34" fmla="*/ 633468 h 2887625"/>
                  <a:gd name="connsiteX35" fmla="*/ 235157 w 4398184"/>
                  <a:gd name="connsiteY35" fmla="*/ 488782 h 2887625"/>
                  <a:gd name="connsiteX36" fmla="*/ 116731 w 4398184"/>
                  <a:gd name="connsiteY36" fmla="*/ 363579 h 2887625"/>
                  <a:gd name="connsiteX37" fmla="*/ 0 w 4398184"/>
                  <a:gd name="connsiteY37" fmla="*/ 156546 h 2887625"/>
                  <a:gd name="connsiteX38" fmla="*/ 22702 w 4398184"/>
                  <a:gd name="connsiteY38" fmla="*/ 0 h 288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98184" h="2887625">
                    <a:moveTo>
                      <a:pt x="23041" y="169"/>
                    </a:moveTo>
                    <a:cubicBezTo>
                      <a:pt x="15417" y="55740"/>
                      <a:pt x="63533" y="136385"/>
                      <a:pt x="86405" y="182298"/>
                    </a:cubicBezTo>
                    <a:cubicBezTo>
                      <a:pt x="110463" y="230583"/>
                      <a:pt x="237190" y="316311"/>
                      <a:pt x="289711" y="364426"/>
                    </a:cubicBezTo>
                    <a:cubicBezTo>
                      <a:pt x="342231" y="412542"/>
                      <a:pt x="646174" y="532493"/>
                      <a:pt x="669724" y="553332"/>
                    </a:cubicBezTo>
                    <a:cubicBezTo>
                      <a:pt x="693273" y="574171"/>
                      <a:pt x="756806" y="614662"/>
                      <a:pt x="800856" y="636687"/>
                    </a:cubicBezTo>
                    <a:cubicBezTo>
                      <a:pt x="844905" y="658712"/>
                      <a:pt x="967905" y="708183"/>
                      <a:pt x="1058546" y="744440"/>
                    </a:cubicBezTo>
                    <a:cubicBezTo>
                      <a:pt x="1149186" y="780696"/>
                      <a:pt x="1729286" y="931312"/>
                      <a:pt x="1778418" y="945543"/>
                    </a:cubicBezTo>
                    <a:cubicBezTo>
                      <a:pt x="1827551" y="959775"/>
                      <a:pt x="2045766" y="1060581"/>
                      <a:pt x="2087274" y="1087688"/>
                    </a:cubicBezTo>
                    <a:cubicBezTo>
                      <a:pt x="2128782" y="1114796"/>
                      <a:pt x="2425609" y="1230850"/>
                      <a:pt x="2530481" y="1255416"/>
                    </a:cubicBezTo>
                    <a:cubicBezTo>
                      <a:pt x="2635353" y="1279982"/>
                      <a:pt x="3092452" y="1519036"/>
                      <a:pt x="3136502" y="1570879"/>
                    </a:cubicBezTo>
                    <a:cubicBezTo>
                      <a:pt x="3169539" y="1609677"/>
                      <a:pt x="3162762" y="1690999"/>
                      <a:pt x="3192580" y="1709805"/>
                    </a:cubicBezTo>
                    <a:cubicBezTo>
                      <a:pt x="3447052" y="1870078"/>
                      <a:pt x="3974630" y="1929884"/>
                      <a:pt x="3954808" y="2009851"/>
                    </a:cubicBezTo>
                    <a:cubicBezTo>
                      <a:pt x="3951420" y="2023235"/>
                      <a:pt x="3875857" y="2054240"/>
                      <a:pt x="3800296" y="2109810"/>
                    </a:cubicBezTo>
                    <a:cubicBezTo>
                      <a:pt x="3786911" y="2119637"/>
                      <a:pt x="3724903" y="2232810"/>
                      <a:pt x="3723717" y="2274319"/>
                    </a:cubicBezTo>
                    <a:cubicBezTo>
                      <a:pt x="3722362" y="2315827"/>
                      <a:pt x="3900932" y="2452042"/>
                      <a:pt x="3993775" y="2510323"/>
                    </a:cubicBezTo>
                    <a:cubicBezTo>
                      <a:pt x="4086618" y="2568604"/>
                      <a:pt x="4261461" y="2731249"/>
                      <a:pt x="4291279" y="2776654"/>
                    </a:cubicBezTo>
                    <a:cubicBezTo>
                      <a:pt x="4321098" y="2822059"/>
                      <a:pt x="4372601" y="2887626"/>
                      <a:pt x="4372601" y="2887626"/>
                    </a:cubicBezTo>
                    <a:lnTo>
                      <a:pt x="3805548" y="2879663"/>
                    </a:lnTo>
                    <a:lnTo>
                      <a:pt x="4398184" y="2877630"/>
                    </a:lnTo>
                    <a:cubicBezTo>
                      <a:pt x="4269932" y="2836291"/>
                      <a:pt x="3874841" y="2691605"/>
                      <a:pt x="3722870" y="2647894"/>
                    </a:cubicBezTo>
                    <a:cubicBezTo>
                      <a:pt x="3662217" y="2630782"/>
                      <a:pt x="3570051" y="2601811"/>
                      <a:pt x="3504316" y="2568943"/>
                    </a:cubicBezTo>
                    <a:cubicBezTo>
                      <a:pt x="3477378" y="2555220"/>
                      <a:pt x="3360477" y="2519303"/>
                      <a:pt x="3350481" y="2499819"/>
                    </a:cubicBezTo>
                    <a:cubicBezTo>
                      <a:pt x="3333878" y="2468307"/>
                      <a:pt x="3333539" y="2428831"/>
                      <a:pt x="3328457" y="2393591"/>
                    </a:cubicBezTo>
                    <a:cubicBezTo>
                      <a:pt x="3317275" y="2314810"/>
                      <a:pt x="3184956" y="2220781"/>
                      <a:pt x="3123287" y="2198587"/>
                    </a:cubicBezTo>
                    <a:cubicBezTo>
                      <a:pt x="3009775" y="2154876"/>
                      <a:pt x="2704307" y="2030182"/>
                      <a:pt x="2541324" y="1961905"/>
                    </a:cubicBezTo>
                    <a:cubicBezTo>
                      <a:pt x="2463220" y="1936322"/>
                      <a:pt x="2419340" y="1908706"/>
                      <a:pt x="2360551" y="1860591"/>
                    </a:cubicBezTo>
                    <a:cubicBezTo>
                      <a:pt x="2330902" y="1837888"/>
                      <a:pt x="2321245" y="1812475"/>
                      <a:pt x="2282956" y="1800276"/>
                    </a:cubicBezTo>
                    <a:cubicBezTo>
                      <a:pt x="2076600" y="1738607"/>
                      <a:pt x="1743348" y="1632549"/>
                      <a:pt x="1552241" y="1558003"/>
                    </a:cubicBezTo>
                    <a:cubicBezTo>
                      <a:pt x="1514459" y="1542247"/>
                      <a:pt x="1479897" y="1533776"/>
                      <a:pt x="1459397" y="1518020"/>
                    </a:cubicBezTo>
                    <a:cubicBezTo>
                      <a:pt x="1423988" y="1483288"/>
                      <a:pt x="1442963" y="1411453"/>
                      <a:pt x="1411451" y="1371639"/>
                    </a:cubicBezTo>
                    <a:cubicBezTo>
                      <a:pt x="1365029" y="1321490"/>
                      <a:pt x="1297430" y="1285912"/>
                      <a:pt x="1240504" y="1246436"/>
                    </a:cubicBezTo>
                    <a:cubicBezTo>
                      <a:pt x="1185104" y="1213569"/>
                      <a:pt x="1180699" y="1172060"/>
                      <a:pt x="1130720" y="1128858"/>
                    </a:cubicBezTo>
                    <a:cubicBezTo>
                      <a:pt x="1092430" y="1095990"/>
                      <a:pt x="1032794" y="1024155"/>
                      <a:pt x="988914" y="1001622"/>
                    </a:cubicBezTo>
                    <a:cubicBezTo>
                      <a:pt x="890480" y="948762"/>
                      <a:pt x="720550" y="861679"/>
                      <a:pt x="593653" y="785948"/>
                    </a:cubicBezTo>
                    <a:cubicBezTo>
                      <a:pt x="544859" y="754097"/>
                      <a:pt x="507079" y="675654"/>
                      <a:pt x="461504" y="633468"/>
                    </a:cubicBezTo>
                    <a:cubicBezTo>
                      <a:pt x="405934" y="582811"/>
                      <a:pt x="292761" y="537575"/>
                      <a:pt x="235157" y="488782"/>
                    </a:cubicBezTo>
                    <a:cubicBezTo>
                      <a:pt x="195343" y="455745"/>
                      <a:pt x="196190" y="464385"/>
                      <a:pt x="116731" y="363579"/>
                    </a:cubicBezTo>
                    <a:cubicBezTo>
                      <a:pt x="32020" y="256166"/>
                      <a:pt x="0" y="156546"/>
                      <a:pt x="0" y="156546"/>
                    </a:cubicBezTo>
                    <a:lnTo>
                      <a:pt x="22702" y="0"/>
                    </a:lnTo>
                    <a:close/>
                  </a:path>
                </a:pathLst>
              </a:custGeom>
              <a:solidFill>
                <a:srgbClr val="92FF92"/>
              </a:solidFill>
              <a:ln w="16928" cap="flat">
                <a:noFill/>
                <a:prstDash val="solid"/>
                <a:miter/>
              </a:ln>
            </p:spPr>
            <p:txBody>
              <a:bodyPr rtlCol="0" anchor="ctr"/>
              <a:lstStyle/>
              <a:p>
                <a:endParaRPr lang="en-US"/>
              </a:p>
            </p:txBody>
          </p:sp>
          <p:sp>
            <p:nvSpPr>
              <p:cNvPr id="275" name="Freeform: Shape 274">
                <a:extLst>
                  <a:ext uri="{FF2B5EF4-FFF2-40B4-BE49-F238E27FC236}">
                    <a16:creationId xmlns:a16="http://schemas.microsoft.com/office/drawing/2014/main" id="{25D3A988-A80E-2F5E-44B1-7C1475215F6F}"/>
                  </a:ext>
                </a:extLst>
              </p:cNvPr>
              <p:cNvSpPr/>
              <p:nvPr/>
            </p:nvSpPr>
            <p:spPr>
              <a:xfrm>
                <a:off x="5879086" y="1901469"/>
                <a:ext cx="4341533" cy="2866108"/>
              </a:xfrm>
              <a:custGeom>
                <a:avLst/>
                <a:gdLst>
                  <a:gd name="connsiteX0" fmla="*/ 4341534 w 4341533"/>
                  <a:gd name="connsiteY0" fmla="*/ 2866109 h 2866108"/>
                  <a:gd name="connsiteX1" fmla="*/ 4267666 w 4341533"/>
                  <a:gd name="connsiteY1" fmla="*/ 2768861 h 2866108"/>
                  <a:gd name="connsiteX2" fmla="*/ 4018786 w 4341533"/>
                  <a:gd name="connsiteY2" fmla="*/ 2529976 h 2866108"/>
                  <a:gd name="connsiteX3" fmla="*/ 3707728 w 4341533"/>
                  <a:gd name="connsiteY3" fmla="*/ 2268897 h 2866108"/>
                  <a:gd name="connsiteX4" fmla="*/ 3763298 w 4341533"/>
                  <a:gd name="connsiteY4" fmla="*/ 2123364 h 2866108"/>
                  <a:gd name="connsiteX5" fmla="*/ 3934414 w 4341533"/>
                  <a:gd name="connsiteY5" fmla="*/ 1993417 h 2866108"/>
                  <a:gd name="connsiteX6" fmla="*/ 3173372 w 4341533"/>
                  <a:gd name="connsiteY6" fmla="*/ 1706755 h 2866108"/>
                  <a:gd name="connsiteX7" fmla="*/ 3101198 w 4341533"/>
                  <a:gd name="connsiteY7" fmla="*/ 1557834 h 2866108"/>
                  <a:gd name="connsiteX8" fmla="*/ 2510087 w 4341533"/>
                  <a:gd name="connsiteY8" fmla="*/ 1247792 h 2866108"/>
                  <a:gd name="connsiteX9" fmla="*/ 2133462 w 4341533"/>
                  <a:gd name="connsiteY9" fmla="*/ 1118862 h 2866108"/>
                  <a:gd name="connsiteX10" fmla="*/ 1916772 w 4341533"/>
                  <a:gd name="connsiteY10" fmla="*/ 993320 h 2866108"/>
                  <a:gd name="connsiteX11" fmla="*/ 1050181 w 4341533"/>
                  <a:gd name="connsiteY11" fmla="*/ 741051 h 2866108"/>
                  <a:gd name="connsiteX12" fmla="*/ 635776 w 4341533"/>
                  <a:gd name="connsiteY12" fmla="*/ 542150 h 2866108"/>
                  <a:gd name="connsiteX13" fmla="*/ 262540 w 4341533"/>
                  <a:gd name="connsiteY13" fmla="*/ 352228 h 2866108"/>
                  <a:gd name="connsiteX14" fmla="*/ 65841 w 4341533"/>
                  <a:gd name="connsiteY14" fmla="*/ 174504 h 2866108"/>
                  <a:gd name="connsiteX15" fmla="*/ 275 w 4341533"/>
                  <a:gd name="connsiteY15" fmla="*/ 0 h 2866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41533" h="2866108">
                    <a:moveTo>
                      <a:pt x="4341534" y="2866109"/>
                    </a:moveTo>
                    <a:cubicBezTo>
                      <a:pt x="4341534" y="2866109"/>
                      <a:pt x="4297485" y="2814266"/>
                      <a:pt x="4267666" y="2768861"/>
                    </a:cubicBezTo>
                    <a:cubicBezTo>
                      <a:pt x="4237848" y="2723456"/>
                      <a:pt x="4111629" y="2588257"/>
                      <a:pt x="4018786" y="2529976"/>
                    </a:cubicBezTo>
                    <a:cubicBezTo>
                      <a:pt x="3925943" y="2471695"/>
                      <a:pt x="3706372" y="2310405"/>
                      <a:pt x="3707728" y="2268897"/>
                    </a:cubicBezTo>
                    <a:cubicBezTo>
                      <a:pt x="3709083" y="2227389"/>
                      <a:pt x="3753810" y="2136917"/>
                      <a:pt x="3763298" y="2123364"/>
                    </a:cubicBezTo>
                    <a:cubicBezTo>
                      <a:pt x="3822257" y="2038992"/>
                      <a:pt x="3944749" y="2028318"/>
                      <a:pt x="3934414" y="1993417"/>
                    </a:cubicBezTo>
                    <a:cubicBezTo>
                      <a:pt x="3911034" y="1914467"/>
                      <a:pt x="3428013" y="1867029"/>
                      <a:pt x="3173372" y="1706755"/>
                    </a:cubicBezTo>
                    <a:cubicBezTo>
                      <a:pt x="3143554" y="1687950"/>
                      <a:pt x="3132542" y="1597987"/>
                      <a:pt x="3101198" y="1557834"/>
                    </a:cubicBezTo>
                    <a:cubicBezTo>
                      <a:pt x="3013438" y="1445676"/>
                      <a:pt x="2614959" y="1272527"/>
                      <a:pt x="2510087" y="1247792"/>
                    </a:cubicBezTo>
                    <a:cubicBezTo>
                      <a:pt x="2405215" y="1223056"/>
                      <a:pt x="2174971" y="1146139"/>
                      <a:pt x="2133462" y="1118862"/>
                    </a:cubicBezTo>
                    <a:cubicBezTo>
                      <a:pt x="2091954" y="1091585"/>
                      <a:pt x="1993520" y="1024494"/>
                      <a:pt x="1916772" y="993320"/>
                    </a:cubicBezTo>
                    <a:cubicBezTo>
                      <a:pt x="1869334" y="974006"/>
                      <a:pt x="1143363" y="770192"/>
                      <a:pt x="1050181" y="741051"/>
                    </a:cubicBezTo>
                    <a:cubicBezTo>
                      <a:pt x="780292" y="656679"/>
                      <a:pt x="682366" y="561125"/>
                      <a:pt x="635776" y="542150"/>
                    </a:cubicBezTo>
                    <a:cubicBezTo>
                      <a:pt x="606635" y="530460"/>
                      <a:pt x="315061" y="400344"/>
                      <a:pt x="262540" y="352228"/>
                    </a:cubicBezTo>
                    <a:cubicBezTo>
                      <a:pt x="210019" y="304112"/>
                      <a:pt x="92610" y="221265"/>
                      <a:pt x="65841" y="174504"/>
                    </a:cubicBezTo>
                    <a:cubicBezTo>
                      <a:pt x="34668" y="120120"/>
                      <a:pt x="-3621" y="31174"/>
                      <a:pt x="275" y="0"/>
                    </a:cubicBezTo>
                  </a:path>
                </a:pathLst>
              </a:custGeom>
              <a:noFill/>
              <a:ln w="16928" cap="flat">
                <a:solidFill>
                  <a:srgbClr val="231F20"/>
                </a:solidFill>
                <a:prstDash val="solid"/>
                <a:miter/>
              </a:ln>
            </p:spPr>
            <p:txBody>
              <a:bodyPr rtlCol="0" anchor="ctr"/>
              <a:lstStyle/>
              <a:p>
                <a:endParaRPr lang="en-US"/>
              </a:p>
            </p:txBody>
          </p:sp>
          <p:sp>
            <p:nvSpPr>
              <p:cNvPr id="276" name="Freeform: Shape 275">
                <a:extLst>
                  <a:ext uri="{FF2B5EF4-FFF2-40B4-BE49-F238E27FC236}">
                    <a16:creationId xmlns:a16="http://schemas.microsoft.com/office/drawing/2014/main" id="{7CF642EA-BE4B-0D2E-A8E1-EAA00B39CD12}"/>
                  </a:ext>
                </a:extLst>
              </p:cNvPr>
              <p:cNvSpPr/>
              <p:nvPr/>
            </p:nvSpPr>
            <p:spPr>
              <a:xfrm>
                <a:off x="5858861" y="1978725"/>
                <a:ext cx="4431052" cy="2805794"/>
              </a:xfrm>
              <a:custGeom>
                <a:avLst/>
                <a:gdLst>
                  <a:gd name="connsiteX0" fmla="*/ 4431053 w 4431052"/>
                  <a:gd name="connsiteY0" fmla="*/ 2805795 h 2805794"/>
                  <a:gd name="connsiteX1" fmla="*/ 3704742 w 4431052"/>
                  <a:gd name="connsiteY1" fmla="*/ 2557931 h 2805794"/>
                  <a:gd name="connsiteX2" fmla="*/ 3495167 w 4431052"/>
                  <a:gd name="connsiteY2" fmla="*/ 2478980 h 2805794"/>
                  <a:gd name="connsiteX3" fmla="*/ 3344890 w 4431052"/>
                  <a:gd name="connsiteY3" fmla="*/ 2408839 h 2805794"/>
                  <a:gd name="connsiteX4" fmla="*/ 3327101 w 4431052"/>
                  <a:gd name="connsiteY4" fmla="*/ 2320232 h 2805794"/>
                  <a:gd name="connsiteX5" fmla="*/ 3116171 w 4431052"/>
                  <a:gd name="connsiteY5" fmla="*/ 2112521 h 2805794"/>
                  <a:gd name="connsiteX6" fmla="*/ 2541154 w 4431052"/>
                  <a:gd name="connsiteY6" fmla="*/ 1877024 h 2805794"/>
                  <a:gd name="connsiteX7" fmla="*/ 2372580 w 4431052"/>
                  <a:gd name="connsiteY7" fmla="*/ 1788247 h 2805794"/>
                  <a:gd name="connsiteX8" fmla="*/ 2282617 w 4431052"/>
                  <a:gd name="connsiteY8" fmla="*/ 1715396 h 2805794"/>
                  <a:gd name="connsiteX9" fmla="*/ 1566642 w 4431052"/>
                  <a:gd name="connsiteY9" fmla="*/ 1480408 h 2805794"/>
                  <a:gd name="connsiteX10" fmla="*/ 1462108 w 4431052"/>
                  <a:gd name="connsiteY10" fmla="*/ 1433309 h 2805794"/>
                  <a:gd name="connsiteX11" fmla="*/ 1416025 w 4431052"/>
                  <a:gd name="connsiteY11" fmla="*/ 1280998 h 2805794"/>
                  <a:gd name="connsiteX12" fmla="*/ 1241183 w 4431052"/>
                  <a:gd name="connsiteY12" fmla="*/ 1154779 h 2805794"/>
                  <a:gd name="connsiteX13" fmla="*/ 1105137 w 4431052"/>
                  <a:gd name="connsiteY13" fmla="*/ 1019750 h 2805794"/>
                  <a:gd name="connsiteX14" fmla="*/ 949777 w 4431052"/>
                  <a:gd name="connsiteY14" fmla="*/ 896411 h 2805794"/>
                  <a:gd name="connsiteX15" fmla="*/ 602125 w 4431052"/>
                  <a:gd name="connsiteY15" fmla="*/ 710894 h 2805794"/>
                  <a:gd name="connsiteX16" fmla="*/ 475905 w 4431052"/>
                  <a:gd name="connsiteY16" fmla="*/ 558414 h 2805794"/>
                  <a:gd name="connsiteX17" fmla="*/ 234988 w 4431052"/>
                  <a:gd name="connsiteY17" fmla="*/ 400174 h 2805794"/>
                  <a:gd name="connsiteX18" fmla="*/ 0 w 4431052"/>
                  <a:gd name="connsiteY18" fmla="*/ 0 h 280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31052" h="2805794">
                    <a:moveTo>
                      <a:pt x="4431053" y="2805795"/>
                    </a:moveTo>
                    <a:cubicBezTo>
                      <a:pt x="4302800" y="2764456"/>
                      <a:pt x="3856543" y="2601811"/>
                      <a:pt x="3704742" y="2557931"/>
                    </a:cubicBezTo>
                    <a:cubicBezTo>
                      <a:pt x="3644089" y="2540819"/>
                      <a:pt x="3560733" y="2511848"/>
                      <a:pt x="3495167" y="2478980"/>
                    </a:cubicBezTo>
                    <a:cubicBezTo>
                      <a:pt x="3468229" y="2465257"/>
                      <a:pt x="3354886" y="2428323"/>
                      <a:pt x="3344890" y="2408839"/>
                    </a:cubicBezTo>
                    <a:cubicBezTo>
                      <a:pt x="3328118" y="2377327"/>
                      <a:pt x="3332014" y="2355472"/>
                      <a:pt x="3327101" y="2320232"/>
                    </a:cubicBezTo>
                    <a:cubicBezTo>
                      <a:pt x="3315919" y="2241451"/>
                      <a:pt x="3177841" y="2134715"/>
                      <a:pt x="3116171" y="2112521"/>
                    </a:cubicBezTo>
                    <a:cubicBezTo>
                      <a:pt x="3002659" y="2068810"/>
                      <a:pt x="2704307" y="1945471"/>
                      <a:pt x="2541154" y="1877024"/>
                    </a:cubicBezTo>
                    <a:cubicBezTo>
                      <a:pt x="2463051" y="1851442"/>
                      <a:pt x="2431370" y="1836194"/>
                      <a:pt x="2372580" y="1788247"/>
                    </a:cubicBezTo>
                    <a:cubicBezTo>
                      <a:pt x="2342931" y="1765545"/>
                      <a:pt x="2320906" y="1727594"/>
                      <a:pt x="2282617" y="1715396"/>
                    </a:cubicBezTo>
                    <a:cubicBezTo>
                      <a:pt x="2076261" y="1653726"/>
                      <a:pt x="1757579" y="1555123"/>
                      <a:pt x="1566642" y="1480408"/>
                    </a:cubicBezTo>
                    <a:cubicBezTo>
                      <a:pt x="1528860" y="1464652"/>
                      <a:pt x="1483455" y="1447879"/>
                      <a:pt x="1462108" y="1433309"/>
                    </a:cubicBezTo>
                    <a:cubicBezTo>
                      <a:pt x="1408571" y="1396375"/>
                      <a:pt x="1447538" y="1320813"/>
                      <a:pt x="1416025" y="1280998"/>
                    </a:cubicBezTo>
                    <a:cubicBezTo>
                      <a:pt x="1369604" y="1230850"/>
                      <a:pt x="1298108" y="1194424"/>
                      <a:pt x="1241183" y="1154779"/>
                    </a:cubicBezTo>
                    <a:cubicBezTo>
                      <a:pt x="1185782" y="1121911"/>
                      <a:pt x="1155116" y="1062953"/>
                      <a:pt x="1105137" y="1019750"/>
                    </a:cubicBezTo>
                    <a:cubicBezTo>
                      <a:pt x="1066848" y="986882"/>
                      <a:pt x="993658" y="918944"/>
                      <a:pt x="949777" y="896411"/>
                    </a:cubicBezTo>
                    <a:cubicBezTo>
                      <a:pt x="851344" y="843551"/>
                      <a:pt x="729021" y="786456"/>
                      <a:pt x="602125" y="710894"/>
                    </a:cubicBezTo>
                    <a:cubicBezTo>
                      <a:pt x="553331" y="679043"/>
                      <a:pt x="521310" y="600600"/>
                      <a:pt x="475905" y="558414"/>
                    </a:cubicBezTo>
                    <a:cubicBezTo>
                      <a:pt x="420335" y="507757"/>
                      <a:pt x="292591" y="448798"/>
                      <a:pt x="234988" y="400174"/>
                    </a:cubicBezTo>
                    <a:cubicBezTo>
                      <a:pt x="108091" y="295133"/>
                      <a:pt x="9488" y="158579"/>
                      <a:pt x="0" y="0"/>
                    </a:cubicBezTo>
                  </a:path>
                </a:pathLst>
              </a:custGeom>
              <a:noFill/>
              <a:ln w="16928" cap="flat">
                <a:solidFill>
                  <a:srgbClr val="231F20"/>
                </a:solidFill>
                <a:prstDash val="solid"/>
                <a:miter/>
              </a:ln>
            </p:spPr>
            <p:txBody>
              <a:bodyPr rtlCol="0" anchor="ctr"/>
              <a:lstStyle/>
              <a:p>
                <a:endParaRPr lang="en-US"/>
              </a:p>
            </p:txBody>
          </p:sp>
          <p:sp>
            <p:nvSpPr>
              <p:cNvPr id="277" name="Freeform: Shape 276">
                <a:extLst>
                  <a:ext uri="{FF2B5EF4-FFF2-40B4-BE49-F238E27FC236}">
                    <a16:creationId xmlns:a16="http://schemas.microsoft.com/office/drawing/2014/main" id="{5D0BBDDC-77BA-92AA-F2A0-97FC25D5A732}"/>
                  </a:ext>
                </a:extLst>
              </p:cNvPr>
              <p:cNvSpPr/>
              <p:nvPr/>
            </p:nvSpPr>
            <p:spPr>
              <a:xfrm>
                <a:off x="5856997" y="2041072"/>
                <a:ext cx="2541" cy="200595"/>
              </a:xfrm>
              <a:custGeom>
                <a:avLst/>
                <a:gdLst>
                  <a:gd name="connsiteX0" fmla="*/ 2542 w 2541"/>
                  <a:gd name="connsiteY0" fmla="*/ 22872 h 200595"/>
                  <a:gd name="connsiteX1" fmla="*/ 2542 w 2541"/>
                  <a:gd name="connsiteY1" fmla="*/ 200595 h 200595"/>
                  <a:gd name="connsiteX2" fmla="*/ 0 w 2541"/>
                  <a:gd name="connsiteY2" fmla="*/ 0 h 200595"/>
                  <a:gd name="connsiteX3" fmla="*/ 2542 w 2541"/>
                  <a:gd name="connsiteY3" fmla="*/ 22872 h 200595"/>
                </a:gdLst>
                <a:ahLst/>
                <a:cxnLst>
                  <a:cxn ang="0">
                    <a:pos x="connsiteX0" y="connsiteY0"/>
                  </a:cxn>
                  <a:cxn ang="0">
                    <a:pos x="connsiteX1" y="connsiteY1"/>
                  </a:cxn>
                  <a:cxn ang="0">
                    <a:pos x="connsiteX2" y="connsiteY2"/>
                  </a:cxn>
                  <a:cxn ang="0">
                    <a:pos x="connsiteX3" y="connsiteY3"/>
                  </a:cxn>
                </a:cxnLst>
                <a:rect l="l" t="t" r="r" b="b"/>
                <a:pathLst>
                  <a:path w="2541" h="200595">
                    <a:moveTo>
                      <a:pt x="2542" y="22872"/>
                    </a:moveTo>
                    <a:lnTo>
                      <a:pt x="2542" y="200595"/>
                    </a:lnTo>
                    <a:cubicBezTo>
                      <a:pt x="2542" y="200595"/>
                      <a:pt x="0" y="0"/>
                      <a:pt x="0" y="0"/>
                    </a:cubicBezTo>
                    <a:cubicBezTo>
                      <a:pt x="847" y="7793"/>
                      <a:pt x="1694" y="15417"/>
                      <a:pt x="2542" y="22872"/>
                    </a:cubicBezTo>
                    <a:close/>
                  </a:path>
                </a:pathLst>
              </a:custGeom>
              <a:solidFill>
                <a:srgbClr val="005FC6"/>
              </a:solidFill>
              <a:ln w="16928" cap="flat">
                <a:noFill/>
                <a:prstDash val="solid"/>
                <a:miter/>
              </a:ln>
            </p:spPr>
            <p:txBody>
              <a:bodyPr rtlCol="0" anchor="ctr"/>
              <a:lstStyle/>
              <a:p>
                <a:endParaRPr lang="en-US"/>
              </a:p>
            </p:txBody>
          </p:sp>
          <p:sp>
            <p:nvSpPr>
              <p:cNvPr id="278" name="Freeform: Shape 277">
                <a:extLst>
                  <a:ext uri="{FF2B5EF4-FFF2-40B4-BE49-F238E27FC236}">
                    <a16:creationId xmlns:a16="http://schemas.microsoft.com/office/drawing/2014/main" id="{B0115B7B-0E73-5062-99A3-B3DDEE454896}"/>
                  </a:ext>
                </a:extLst>
              </p:cNvPr>
              <p:cNvSpPr/>
              <p:nvPr/>
            </p:nvSpPr>
            <p:spPr>
              <a:xfrm>
                <a:off x="5878516" y="2194738"/>
                <a:ext cx="3636801" cy="2650604"/>
              </a:xfrm>
              <a:custGeom>
                <a:avLst/>
                <a:gdLst>
                  <a:gd name="connsiteX0" fmla="*/ 2716164 w 3636801"/>
                  <a:gd name="connsiteY0" fmla="*/ 2443232 h 2650604"/>
                  <a:gd name="connsiteX1" fmla="*/ 1876680 w 3636801"/>
                  <a:gd name="connsiteY1" fmla="*/ 2170124 h 2650604"/>
                  <a:gd name="connsiteX2" fmla="*/ 1593577 w 3636801"/>
                  <a:gd name="connsiteY2" fmla="*/ 2045091 h 2650604"/>
                  <a:gd name="connsiteX3" fmla="*/ 1597473 w 3636801"/>
                  <a:gd name="connsiteY3" fmla="*/ 1916161 h 2650604"/>
                  <a:gd name="connsiteX4" fmla="*/ 1453804 w 3636801"/>
                  <a:gd name="connsiteY4" fmla="*/ 1782487 h 2650604"/>
                  <a:gd name="connsiteX5" fmla="*/ 1287093 w 3636801"/>
                  <a:gd name="connsiteY5" fmla="*/ 1592735 h 2650604"/>
                  <a:gd name="connsiteX6" fmla="*/ 966886 w 3636801"/>
                  <a:gd name="connsiteY6" fmla="*/ 1339957 h 2650604"/>
                  <a:gd name="connsiteX7" fmla="*/ 989081 w 3636801"/>
                  <a:gd name="connsiteY7" fmla="*/ 1205267 h 2650604"/>
                  <a:gd name="connsiteX8" fmla="*/ 724105 w 3636801"/>
                  <a:gd name="connsiteY8" fmla="*/ 921146 h 2650604"/>
                  <a:gd name="connsiteX9" fmla="*/ 284456 w 3636801"/>
                  <a:gd name="connsiteY9" fmla="*/ 526732 h 2650604"/>
                  <a:gd name="connsiteX10" fmla="*/ 11179 w 3636801"/>
                  <a:gd name="connsiteY10" fmla="*/ 51843 h 2650604"/>
                  <a:gd name="connsiteX11" fmla="*/ 3216 w 3636801"/>
                  <a:gd name="connsiteY11" fmla="*/ 0 h 2650604"/>
                  <a:gd name="connsiteX12" fmla="*/ 91824 w 3636801"/>
                  <a:gd name="connsiteY12" fmla="*/ 155529 h 2650604"/>
                  <a:gd name="connsiteX13" fmla="*/ 239898 w 3636801"/>
                  <a:gd name="connsiteY13" fmla="*/ 361038 h 2650604"/>
                  <a:gd name="connsiteX14" fmla="*/ 759175 w 3636801"/>
                  <a:gd name="connsiteY14" fmla="*/ 811022 h 2650604"/>
                  <a:gd name="connsiteX15" fmla="*/ 893865 w 3636801"/>
                  <a:gd name="connsiteY15" fmla="*/ 958080 h 2650604"/>
                  <a:gd name="connsiteX16" fmla="*/ 877601 w 3636801"/>
                  <a:gd name="connsiteY16" fmla="*/ 1042283 h 2650604"/>
                  <a:gd name="connsiteX17" fmla="*/ 931985 w 3636801"/>
                  <a:gd name="connsiteY17" fmla="*/ 1092093 h 2650604"/>
                  <a:gd name="connsiteX18" fmla="*/ 1049225 w 3636801"/>
                  <a:gd name="connsiteY18" fmla="*/ 1161387 h 2650604"/>
                  <a:gd name="connsiteX19" fmla="*/ 1277436 w 3636801"/>
                  <a:gd name="connsiteY19" fmla="*/ 1366218 h 2650604"/>
                  <a:gd name="connsiteX20" fmla="*/ 1344866 w 3636801"/>
                  <a:gd name="connsiteY20" fmla="*/ 1460077 h 2650604"/>
                  <a:gd name="connsiteX21" fmla="*/ 1482775 w 3636801"/>
                  <a:gd name="connsiteY21" fmla="*/ 1587652 h 2650604"/>
                  <a:gd name="connsiteX22" fmla="*/ 1527672 w 3636801"/>
                  <a:gd name="connsiteY22" fmla="*/ 1627635 h 2650604"/>
                  <a:gd name="connsiteX23" fmla="*/ 1519200 w 3636801"/>
                  <a:gd name="connsiteY23" fmla="*/ 1763681 h 2650604"/>
                  <a:gd name="connsiteX24" fmla="*/ 1596965 w 3636801"/>
                  <a:gd name="connsiteY24" fmla="*/ 1804173 h 2650604"/>
                  <a:gd name="connsiteX25" fmla="*/ 1906837 w 3636801"/>
                  <a:gd name="connsiteY25" fmla="*/ 1930392 h 2650604"/>
                  <a:gd name="connsiteX26" fmla="*/ 2399346 w 3636801"/>
                  <a:gd name="connsiteY26" fmla="*/ 2060169 h 2650604"/>
                  <a:gd name="connsiteX27" fmla="*/ 2478127 w 3636801"/>
                  <a:gd name="connsiteY27" fmla="*/ 2144542 h 2650604"/>
                  <a:gd name="connsiteX28" fmla="*/ 2633147 w 3636801"/>
                  <a:gd name="connsiteY28" fmla="*/ 2225864 h 2650604"/>
                  <a:gd name="connsiteX29" fmla="*/ 3636801 w 3636801"/>
                  <a:gd name="connsiteY29" fmla="*/ 2600625 h 2650604"/>
                  <a:gd name="connsiteX30" fmla="*/ 3085165 w 3636801"/>
                  <a:gd name="connsiteY30" fmla="*/ 2600625 h 2650604"/>
                  <a:gd name="connsiteX31" fmla="*/ 2805449 w 3636801"/>
                  <a:gd name="connsiteY31" fmla="*/ 2650604 h 2650604"/>
                  <a:gd name="connsiteX32" fmla="*/ 2716334 w 3636801"/>
                  <a:gd name="connsiteY32" fmla="*/ 2443571 h 265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36801" h="2650604">
                    <a:moveTo>
                      <a:pt x="2716164" y="2443232"/>
                    </a:moveTo>
                    <a:cubicBezTo>
                      <a:pt x="2571817" y="2378174"/>
                      <a:pt x="1876680" y="2170124"/>
                      <a:pt x="1876680" y="2170124"/>
                    </a:cubicBezTo>
                    <a:cubicBezTo>
                      <a:pt x="1876680" y="2170124"/>
                      <a:pt x="1626275" y="2090665"/>
                      <a:pt x="1593577" y="2045091"/>
                    </a:cubicBezTo>
                    <a:cubicBezTo>
                      <a:pt x="1560879" y="1999516"/>
                      <a:pt x="1618651" y="1965124"/>
                      <a:pt x="1597473" y="1916161"/>
                    </a:cubicBezTo>
                    <a:cubicBezTo>
                      <a:pt x="1577312" y="1869909"/>
                      <a:pt x="1484131" y="1808409"/>
                      <a:pt x="1453804" y="1782487"/>
                    </a:cubicBezTo>
                    <a:cubicBezTo>
                      <a:pt x="1391626" y="1729627"/>
                      <a:pt x="1342663" y="1693371"/>
                      <a:pt x="1287093" y="1592735"/>
                    </a:cubicBezTo>
                    <a:cubicBezTo>
                      <a:pt x="1197299" y="1430090"/>
                      <a:pt x="973832" y="1387226"/>
                      <a:pt x="966886" y="1339957"/>
                    </a:cubicBezTo>
                    <a:cubicBezTo>
                      <a:pt x="959940" y="1292519"/>
                      <a:pt x="1015341" y="1246606"/>
                      <a:pt x="989081" y="1205267"/>
                    </a:cubicBezTo>
                    <a:cubicBezTo>
                      <a:pt x="962820" y="1164097"/>
                      <a:pt x="770188" y="956386"/>
                      <a:pt x="724105" y="921146"/>
                    </a:cubicBezTo>
                    <a:cubicBezTo>
                      <a:pt x="570609" y="804076"/>
                      <a:pt x="325626" y="572476"/>
                      <a:pt x="284456" y="526732"/>
                    </a:cubicBezTo>
                    <a:cubicBezTo>
                      <a:pt x="69121" y="287001"/>
                      <a:pt x="26088" y="121306"/>
                      <a:pt x="11179" y="51843"/>
                    </a:cubicBezTo>
                    <a:cubicBezTo>
                      <a:pt x="8468" y="39136"/>
                      <a:pt x="-6441" y="21178"/>
                      <a:pt x="3216" y="0"/>
                    </a:cubicBezTo>
                    <a:cubicBezTo>
                      <a:pt x="18295" y="76917"/>
                      <a:pt x="-8982" y="-53707"/>
                      <a:pt x="91824" y="155529"/>
                    </a:cubicBezTo>
                    <a:cubicBezTo>
                      <a:pt x="134179" y="243459"/>
                      <a:pt x="201270" y="306484"/>
                      <a:pt x="239898" y="361038"/>
                    </a:cubicBezTo>
                    <a:cubicBezTo>
                      <a:pt x="333249" y="492848"/>
                      <a:pt x="700725" y="763245"/>
                      <a:pt x="759175" y="811022"/>
                    </a:cubicBezTo>
                    <a:cubicBezTo>
                      <a:pt x="804072" y="850836"/>
                      <a:pt x="874043" y="898613"/>
                      <a:pt x="893865" y="958080"/>
                    </a:cubicBezTo>
                    <a:cubicBezTo>
                      <a:pt x="901320" y="978919"/>
                      <a:pt x="870316" y="1021275"/>
                      <a:pt x="877601" y="1042283"/>
                    </a:cubicBezTo>
                    <a:cubicBezTo>
                      <a:pt x="887766" y="1072271"/>
                      <a:pt x="912841" y="1077862"/>
                      <a:pt x="931985" y="1092093"/>
                    </a:cubicBezTo>
                    <a:cubicBezTo>
                      <a:pt x="967225" y="1118862"/>
                      <a:pt x="1004667" y="1131230"/>
                      <a:pt x="1049225" y="1161387"/>
                    </a:cubicBezTo>
                    <a:cubicBezTo>
                      <a:pt x="1160027" y="1235763"/>
                      <a:pt x="1236267" y="1338432"/>
                      <a:pt x="1277436" y="1366218"/>
                    </a:cubicBezTo>
                    <a:cubicBezTo>
                      <a:pt x="1307763" y="1388073"/>
                      <a:pt x="1325552" y="1427887"/>
                      <a:pt x="1344866" y="1460077"/>
                    </a:cubicBezTo>
                    <a:cubicBezTo>
                      <a:pt x="1373498" y="1512767"/>
                      <a:pt x="1434998" y="1545805"/>
                      <a:pt x="1482775" y="1587652"/>
                    </a:cubicBezTo>
                    <a:cubicBezTo>
                      <a:pt x="1508527" y="1610524"/>
                      <a:pt x="1513610" y="1597140"/>
                      <a:pt x="1527672" y="1627635"/>
                    </a:cubicBezTo>
                    <a:cubicBezTo>
                      <a:pt x="1539701" y="1659656"/>
                      <a:pt x="1510052" y="1735557"/>
                      <a:pt x="1519200" y="1763681"/>
                    </a:cubicBezTo>
                    <a:cubicBezTo>
                      <a:pt x="1523097" y="1778082"/>
                      <a:pt x="1583920" y="1797566"/>
                      <a:pt x="1596965" y="1804173"/>
                    </a:cubicBezTo>
                    <a:cubicBezTo>
                      <a:pt x="1666089" y="1838057"/>
                      <a:pt x="1818569" y="1900744"/>
                      <a:pt x="1906837" y="1930392"/>
                    </a:cubicBezTo>
                    <a:cubicBezTo>
                      <a:pt x="1982907" y="1950723"/>
                      <a:pt x="2273804" y="2021541"/>
                      <a:pt x="2399346" y="2060169"/>
                    </a:cubicBezTo>
                    <a:cubicBezTo>
                      <a:pt x="2425267" y="2068132"/>
                      <a:pt x="2453730" y="2129293"/>
                      <a:pt x="2478127" y="2144542"/>
                    </a:cubicBezTo>
                    <a:cubicBezTo>
                      <a:pt x="2556230" y="2190116"/>
                      <a:pt x="2570123" y="2201298"/>
                      <a:pt x="2633147" y="2225864"/>
                    </a:cubicBezTo>
                    <a:cubicBezTo>
                      <a:pt x="2960470" y="2358691"/>
                      <a:pt x="3361660" y="2448823"/>
                      <a:pt x="3636801" y="2600625"/>
                    </a:cubicBezTo>
                    <a:lnTo>
                      <a:pt x="3085165" y="2600625"/>
                    </a:lnTo>
                    <a:cubicBezTo>
                      <a:pt x="3085165" y="2600625"/>
                      <a:pt x="2805449" y="2650604"/>
                      <a:pt x="2805449" y="2650604"/>
                    </a:cubicBezTo>
                    <a:cubicBezTo>
                      <a:pt x="2802230" y="2629427"/>
                      <a:pt x="2838317" y="2498633"/>
                      <a:pt x="2716334" y="2443571"/>
                    </a:cubicBezTo>
                    <a:close/>
                  </a:path>
                </a:pathLst>
              </a:custGeom>
              <a:solidFill>
                <a:srgbClr val="005FC6"/>
              </a:solidFill>
              <a:ln w="16928" cap="flat">
                <a:noFill/>
                <a:prstDash val="solid"/>
                <a:miter/>
              </a:ln>
            </p:spPr>
            <p:txBody>
              <a:bodyPr rtlCol="0" anchor="ctr"/>
              <a:lstStyle/>
              <a:p>
                <a:endParaRPr lang="en-US"/>
              </a:p>
            </p:txBody>
          </p:sp>
          <p:sp>
            <p:nvSpPr>
              <p:cNvPr id="279" name="Freeform: Shape 278">
                <a:extLst>
                  <a:ext uri="{FF2B5EF4-FFF2-40B4-BE49-F238E27FC236}">
                    <a16:creationId xmlns:a16="http://schemas.microsoft.com/office/drawing/2014/main" id="{289B8085-E44E-E9EB-9609-68BF3DBD82FC}"/>
                  </a:ext>
                </a:extLst>
              </p:cNvPr>
              <p:cNvSpPr/>
              <p:nvPr/>
            </p:nvSpPr>
            <p:spPr>
              <a:xfrm>
                <a:off x="5859538" y="1945688"/>
                <a:ext cx="2831366" cy="2887964"/>
              </a:xfrm>
              <a:custGeom>
                <a:avLst/>
                <a:gdLst>
                  <a:gd name="connsiteX0" fmla="*/ 2821378 w 2831366"/>
                  <a:gd name="connsiteY0" fmla="*/ 2887964 h 2887964"/>
                  <a:gd name="connsiteX1" fmla="*/ 2731415 w 2831366"/>
                  <a:gd name="connsiteY1" fmla="*/ 2691774 h 2887964"/>
                  <a:gd name="connsiteX2" fmla="*/ 1893795 w 2831366"/>
                  <a:gd name="connsiteY2" fmla="*/ 2419174 h 2887964"/>
                  <a:gd name="connsiteX3" fmla="*/ 1615265 w 2831366"/>
                  <a:gd name="connsiteY3" fmla="*/ 2298038 h 2887964"/>
                  <a:gd name="connsiteX4" fmla="*/ 1612724 w 2831366"/>
                  <a:gd name="connsiteY4" fmla="*/ 2159451 h 2887964"/>
                  <a:gd name="connsiteX5" fmla="*/ 1470918 w 2831366"/>
                  <a:gd name="connsiteY5" fmla="*/ 2031706 h 2887964"/>
                  <a:gd name="connsiteX6" fmla="*/ 1304207 w 2831366"/>
                  <a:gd name="connsiteY6" fmla="*/ 1841954 h 2887964"/>
                  <a:gd name="connsiteX7" fmla="*/ 985864 w 2831366"/>
                  <a:gd name="connsiteY7" fmla="*/ 1589177 h 2887964"/>
                  <a:gd name="connsiteX8" fmla="*/ 1002129 w 2831366"/>
                  <a:gd name="connsiteY8" fmla="*/ 1460924 h 2887964"/>
                  <a:gd name="connsiteX9" fmla="*/ 732071 w 2831366"/>
                  <a:gd name="connsiteY9" fmla="*/ 1162403 h 2887964"/>
                  <a:gd name="connsiteX10" fmla="*/ 295640 w 2831366"/>
                  <a:gd name="connsiteY10" fmla="*/ 772563 h 2887964"/>
                  <a:gd name="connsiteX11" fmla="*/ 28124 w 2831366"/>
                  <a:gd name="connsiteY11" fmla="*/ 301063 h 2887964"/>
                  <a:gd name="connsiteX12" fmla="*/ 0 w 2831366"/>
                  <a:gd name="connsiteY12" fmla="*/ 0 h 2887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31366" h="2887964">
                    <a:moveTo>
                      <a:pt x="2821378" y="2887964"/>
                    </a:moveTo>
                    <a:cubicBezTo>
                      <a:pt x="2821378" y="2887964"/>
                      <a:pt x="2875592" y="2756832"/>
                      <a:pt x="2731415" y="2691774"/>
                    </a:cubicBezTo>
                    <a:cubicBezTo>
                      <a:pt x="2587067" y="2626716"/>
                      <a:pt x="1893795" y="2419174"/>
                      <a:pt x="1893795" y="2419174"/>
                    </a:cubicBezTo>
                    <a:cubicBezTo>
                      <a:pt x="1893795" y="2419174"/>
                      <a:pt x="1647964" y="2343612"/>
                      <a:pt x="1615265" y="2298038"/>
                    </a:cubicBezTo>
                    <a:cubicBezTo>
                      <a:pt x="1582567" y="2252463"/>
                      <a:pt x="1633902" y="2208413"/>
                      <a:pt x="1612724" y="2159451"/>
                    </a:cubicBezTo>
                    <a:cubicBezTo>
                      <a:pt x="1592563" y="2113199"/>
                      <a:pt x="1492943" y="2065083"/>
                      <a:pt x="1470918" y="2031706"/>
                    </a:cubicBezTo>
                    <a:cubicBezTo>
                      <a:pt x="1448893" y="1998330"/>
                      <a:pt x="1380278" y="1956992"/>
                      <a:pt x="1304207" y="1841954"/>
                    </a:cubicBezTo>
                    <a:cubicBezTo>
                      <a:pt x="1191881" y="1672024"/>
                      <a:pt x="992980" y="1636445"/>
                      <a:pt x="985864" y="1589177"/>
                    </a:cubicBezTo>
                    <a:cubicBezTo>
                      <a:pt x="978748" y="1541908"/>
                      <a:pt x="1028389" y="1502263"/>
                      <a:pt x="1002129" y="1460924"/>
                    </a:cubicBezTo>
                    <a:cubicBezTo>
                      <a:pt x="975868" y="1419585"/>
                      <a:pt x="775951" y="1200523"/>
                      <a:pt x="732071" y="1162403"/>
                    </a:cubicBezTo>
                    <a:cubicBezTo>
                      <a:pt x="583149" y="1032965"/>
                      <a:pt x="336810" y="818307"/>
                      <a:pt x="295640" y="772563"/>
                    </a:cubicBezTo>
                    <a:cubicBezTo>
                      <a:pt x="80306" y="532832"/>
                      <a:pt x="43033" y="370356"/>
                      <a:pt x="28124" y="301063"/>
                    </a:cubicBezTo>
                    <a:cubicBezTo>
                      <a:pt x="13215" y="231769"/>
                      <a:pt x="0" y="0"/>
                      <a:pt x="0" y="0"/>
                    </a:cubicBezTo>
                  </a:path>
                </a:pathLst>
              </a:custGeom>
              <a:noFill/>
              <a:ln w="16928" cap="flat">
                <a:solidFill>
                  <a:srgbClr val="231F20"/>
                </a:solidFill>
                <a:prstDash val="solid"/>
                <a:miter/>
              </a:ln>
            </p:spPr>
            <p:txBody>
              <a:bodyPr rtlCol="0" anchor="ctr"/>
              <a:lstStyle/>
              <a:p>
                <a:endParaRPr lang="en-US"/>
              </a:p>
            </p:txBody>
          </p:sp>
          <p:sp>
            <p:nvSpPr>
              <p:cNvPr id="280" name="Freeform: Shape 279">
                <a:extLst>
                  <a:ext uri="{FF2B5EF4-FFF2-40B4-BE49-F238E27FC236}">
                    <a16:creationId xmlns:a16="http://schemas.microsoft.com/office/drawing/2014/main" id="{8928205D-DF38-E6DF-A1EB-37FD71C5D1E0}"/>
                  </a:ext>
                </a:extLst>
              </p:cNvPr>
              <p:cNvSpPr/>
              <p:nvPr/>
            </p:nvSpPr>
            <p:spPr>
              <a:xfrm>
                <a:off x="5856319" y="2037176"/>
                <a:ext cx="3660691" cy="2754968"/>
              </a:xfrm>
              <a:custGeom>
                <a:avLst/>
                <a:gdLst>
                  <a:gd name="connsiteX0" fmla="*/ 3660692 w 3660691"/>
                  <a:gd name="connsiteY0" fmla="*/ 2754968 h 2754968"/>
                  <a:gd name="connsiteX1" fmla="*/ 2657039 w 3660691"/>
                  <a:gd name="connsiteY1" fmla="*/ 2380207 h 2754968"/>
                  <a:gd name="connsiteX2" fmla="*/ 2509303 w 3660691"/>
                  <a:gd name="connsiteY2" fmla="*/ 2310236 h 2754968"/>
                  <a:gd name="connsiteX3" fmla="*/ 2401212 w 3660691"/>
                  <a:gd name="connsiteY3" fmla="*/ 2210447 h 2754968"/>
                  <a:gd name="connsiteX4" fmla="*/ 1930728 w 3660691"/>
                  <a:gd name="connsiteY4" fmla="*/ 2084736 h 2754968"/>
                  <a:gd name="connsiteX5" fmla="*/ 1620856 w 3660691"/>
                  <a:gd name="connsiteY5" fmla="*/ 1958516 h 2754968"/>
                  <a:gd name="connsiteX6" fmla="*/ 1541228 w 3660691"/>
                  <a:gd name="connsiteY6" fmla="*/ 1913958 h 2754968"/>
                  <a:gd name="connsiteX7" fmla="*/ 1550377 w 3660691"/>
                  <a:gd name="connsiteY7" fmla="*/ 1793499 h 2754968"/>
                  <a:gd name="connsiteX8" fmla="*/ 1506666 w 3660691"/>
                  <a:gd name="connsiteY8" fmla="*/ 1742165 h 2754968"/>
                  <a:gd name="connsiteX9" fmla="*/ 1359439 w 3660691"/>
                  <a:gd name="connsiteY9" fmla="*/ 1621197 h 2754968"/>
                  <a:gd name="connsiteX10" fmla="*/ 1301327 w 3660691"/>
                  <a:gd name="connsiteY10" fmla="*/ 1520730 h 2754968"/>
                  <a:gd name="connsiteX11" fmla="*/ 1094294 w 3660691"/>
                  <a:gd name="connsiteY11" fmla="*/ 1334366 h 2754968"/>
                  <a:gd name="connsiteX12" fmla="*/ 899120 w 3660691"/>
                  <a:gd name="connsiteY12" fmla="*/ 1204250 h 2754968"/>
                  <a:gd name="connsiteX13" fmla="*/ 916570 w 3660691"/>
                  <a:gd name="connsiteY13" fmla="*/ 1102258 h 2754968"/>
                  <a:gd name="connsiteX14" fmla="*/ 767988 w 3660691"/>
                  <a:gd name="connsiteY14" fmla="*/ 948762 h 2754968"/>
                  <a:gd name="connsiteX15" fmla="*/ 265823 w 3660691"/>
                  <a:gd name="connsiteY15" fmla="*/ 526224 h 2754968"/>
                  <a:gd name="connsiteX16" fmla="*/ 0 w 3660691"/>
                  <a:gd name="connsiteY16" fmla="*/ 0 h 275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60691" h="2754968">
                    <a:moveTo>
                      <a:pt x="3660692" y="2754968"/>
                    </a:moveTo>
                    <a:cubicBezTo>
                      <a:pt x="3385552" y="2603166"/>
                      <a:pt x="2984361" y="2513034"/>
                      <a:pt x="2657039" y="2380207"/>
                    </a:cubicBezTo>
                    <a:cubicBezTo>
                      <a:pt x="2594014" y="2355641"/>
                      <a:pt x="2587237" y="2355811"/>
                      <a:pt x="2509303" y="2310236"/>
                    </a:cubicBezTo>
                    <a:cubicBezTo>
                      <a:pt x="2484906" y="2294988"/>
                      <a:pt x="2427133" y="2218409"/>
                      <a:pt x="2401212" y="2210447"/>
                    </a:cubicBezTo>
                    <a:cubicBezTo>
                      <a:pt x="2275671" y="2171818"/>
                      <a:pt x="2006798" y="2104897"/>
                      <a:pt x="1930728" y="2084736"/>
                    </a:cubicBezTo>
                    <a:cubicBezTo>
                      <a:pt x="1842460" y="2055087"/>
                      <a:pt x="1689980" y="1992570"/>
                      <a:pt x="1620856" y="1958516"/>
                    </a:cubicBezTo>
                    <a:cubicBezTo>
                      <a:pt x="1607641" y="1951909"/>
                      <a:pt x="1545125" y="1928359"/>
                      <a:pt x="1541228" y="1913958"/>
                    </a:cubicBezTo>
                    <a:cubicBezTo>
                      <a:pt x="1531910" y="1886004"/>
                      <a:pt x="1562406" y="1825520"/>
                      <a:pt x="1550377" y="1793499"/>
                    </a:cubicBezTo>
                    <a:cubicBezTo>
                      <a:pt x="1536145" y="1763003"/>
                      <a:pt x="1532418" y="1765037"/>
                      <a:pt x="1506666" y="1742165"/>
                    </a:cubicBezTo>
                    <a:cubicBezTo>
                      <a:pt x="1458720" y="1700317"/>
                      <a:pt x="1388071" y="1674057"/>
                      <a:pt x="1359439" y="1621197"/>
                    </a:cubicBezTo>
                    <a:cubicBezTo>
                      <a:pt x="1340124" y="1589007"/>
                      <a:pt x="1331653" y="1542586"/>
                      <a:pt x="1301327" y="1520730"/>
                    </a:cubicBezTo>
                    <a:cubicBezTo>
                      <a:pt x="1260158" y="1492945"/>
                      <a:pt x="1205096" y="1408743"/>
                      <a:pt x="1094294" y="1334366"/>
                    </a:cubicBezTo>
                    <a:cubicBezTo>
                      <a:pt x="1049736" y="1304209"/>
                      <a:pt x="909285" y="1234238"/>
                      <a:pt x="899120" y="1204250"/>
                    </a:cubicBezTo>
                    <a:cubicBezTo>
                      <a:pt x="891835" y="1183242"/>
                      <a:pt x="924195" y="1123097"/>
                      <a:pt x="916570" y="1102258"/>
                    </a:cubicBezTo>
                    <a:cubicBezTo>
                      <a:pt x="896748" y="1042961"/>
                      <a:pt x="812884" y="988576"/>
                      <a:pt x="767988" y="948762"/>
                    </a:cubicBezTo>
                    <a:cubicBezTo>
                      <a:pt x="709538" y="900985"/>
                      <a:pt x="392211" y="667691"/>
                      <a:pt x="265823" y="526224"/>
                    </a:cubicBezTo>
                    <a:cubicBezTo>
                      <a:pt x="173318" y="402038"/>
                      <a:pt x="14231" y="218215"/>
                      <a:pt x="0" y="0"/>
                    </a:cubicBezTo>
                  </a:path>
                </a:pathLst>
              </a:custGeom>
              <a:noFill/>
              <a:ln w="16928" cap="flat">
                <a:solidFill>
                  <a:srgbClr val="231F20"/>
                </a:solidFill>
                <a:prstDash val="solid"/>
                <a:miter/>
              </a:ln>
            </p:spPr>
            <p:txBody>
              <a:bodyPr rtlCol="0" anchor="ctr"/>
              <a:lstStyle/>
              <a:p>
                <a:endParaRPr lang="en-US"/>
              </a:p>
            </p:txBody>
          </p:sp>
        </p:grpSp>
      </p:grpSp>
      <p:grpSp>
        <p:nvGrpSpPr>
          <p:cNvPr id="11" name="Group 10">
            <a:extLst>
              <a:ext uri="{FF2B5EF4-FFF2-40B4-BE49-F238E27FC236}">
                <a16:creationId xmlns:a16="http://schemas.microsoft.com/office/drawing/2014/main" id="{02F28BC2-592C-67D8-2BDE-F3EFC9005CAA}"/>
              </a:ext>
            </a:extLst>
          </p:cNvPr>
          <p:cNvGrpSpPr/>
          <p:nvPr/>
        </p:nvGrpSpPr>
        <p:grpSpPr>
          <a:xfrm>
            <a:off x="902491" y="2018497"/>
            <a:ext cx="837119" cy="2397543"/>
            <a:chOff x="434794" y="1594112"/>
            <a:chExt cx="962206" cy="2755793"/>
          </a:xfrm>
        </p:grpSpPr>
        <p:sp>
          <p:nvSpPr>
            <p:cNvPr id="16" name="TextBox 15">
              <a:extLst>
                <a:ext uri="{FF2B5EF4-FFF2-40B4-BE49-F238E27FC236}">
                  <a16:creationId xmlns:a16="http://schemas.microsoft.com/office/drawing/2014/main" id="{96F5B228-EDC4-B292-DB53-B82AD195590B}"/>
                </a:ext>
              </a:extLst>
            </p:cNvPr>
            <p:cNvSpPr txBox="1"/>
            <p:nvPr/>
          </p:nvSpPr>
          <p:spPr>
            <a:xfrm>
              <a:off x="434794" y="1594112"/>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90 yıl</a:t>
              </a:r>
            </a:p>
          </p:txBody>
        </p:sp>
        <p:sp>
          <p:nvSpPr>
            <p:cNvPr id="17" name="TextBox 16">
              <a:extLst>
                <a:ext uri="{FF2B5EF4-FFF2-40B4-BE49-F238E27FC236}">
                  <a16:creationId xmlns:a16="http://schemas.microsoft.com/office/drawing/2014/main" id="{416F7215-4ACB-C677-9E04-32CA522C2075}"/>
                </a:ext>
              </a:extLst>
            </p:cNvPr>
            <p:cNvSpPr txBox="1"/>
            <p:nvPr/>
          </p:nvSpPr>
          <p:spPr>
            <a:xfrm>
              <a:off x="434794" y="1945952"/>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80 yıl</a:t>
              </a:r>
            </a:p>
          </p:txBody>
        </p:sp>
        <p:sp>
          <p:nvSpPr>
            <p:cNvPr id="18" name="TextBox 17">
              <a:extLst>
                <a:ext uri="{FF2B5EF4-FFF2-40B4-BE49-F238E27FC236}">
                  <a16:creationId xmlns:a16="http://schemas.microsoft.com/office/drawing/2014/main" id="{B7DBB66A-3596-964E-7816-294CBF938CA6}"/>
                </a:ext>
              </a:extLst>
            </p:cNvPr>
            <p:cNvSpPr txBox="1"/>
            <p:nvPr/>
          </p:nvSpPr>
          <p:spPr>
            <a:xfrm>
              <a:off x="434794" y="2271040"/>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70 yıl</a:t>
              </a:r>
            </a:p>
          </p:txBody>
        </p:sp>
        <p:sp>
          <p:nvSpPr>
            <p:cNvPr id="19" name="TextBox 18">
              <a:extLst>
                <a:ext uri="{FF2B5EF4-FFF2-40B4-BE49-F238E27FC236}">
                  <a16:creationId xmlns:a16="http://schemas.microsoft.com/office/drawing/2014/main" id="{62391672-3E81-A748-19B7-BFEBA84CD3FC}"/>
                </a:ext>
              </a:extLst>
            </p:cNvPr>
            <p:cNvSpPr txBox="1"/>
            <p:nvPr/>
          </p:nvSpPr>
          <p:spPr>
            <a:xfrm>
              <a:off x="434794" y="2596128"/>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60 yıl</a:t>
              </a:r>
            </a:p>
          </p:txBody>
        </p:sp>
        <p:sp>
          <p:nvSpPr>
            <p:cNvPr id="20" name="TextBox 19">
              <a:extLst>
                <a:ext uri="{FF2B5EF4-FFF2-40B4-BE49-F238E27FC236}">
                  <a16:creationId xmlns:a16="http://schemas.microsoft.com/office/drawing/2014/main" id="{980B68F7-81C2-EB30-6C76-1371AA419B8E}"/>
                </a:ext>
              </a:extLst>
            </p:cNvPr>
            <p:cNvSpPr txBox="1"/>
            <p:nvPr/>
          </p:nvSpPr>
          <p:spPr>
            <a:xfrm>
              <a:off x="434794" y="2931441"/>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50 yıl</a:t>
              </a:r>
            </a:p>
          </p:txBody>
        </p:sp>
        <p:sp>
          <p:nvSpPr>
            <p:cNvPr id="21" name="TextBox 20">
              <a:extLst>
                <a:ext uri="{FF2B5EF4-FFF2-40B4-BE49-F238E27FC236}">
                  <a16:creationId xmlns:a16="http://schemas.microsoft.com/office/drawing/2014/main" id="{48D4FED8-A88A-D9B1-1516-BF61F0797278}"/>
                </a:ext>
              </a:extLst>
            </p:cNvPr>
            <p:cNvSpPr txBox="1"/>
            <p:nvPr/>
          </p:nvSpPr>
          <p:spPr>
            <a:xfrm>
              <a:off x="434794" y="3246304"/>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40 yıl</a:t>
              </a:r>
            </a:p>
          </p:txBody>
        </p:sp>
        <p:sp>
          <p:nvSpPr>
            <p:cNvPr id="22" name="TextBox 21">
              <a:extLst>
                <a:ext uri="{FF2B5EF4-FFF2-40B4-BE49-F238E27FC236}">
                  <a16:creationId xmlns:a16="http://schemas.microsoft.com/office/drawing/2014/main" id="{3EFABA7C-96D7-EF07-47FF-898F81C416FB}"/>
                </a:ext>
              </a:extLst>
            </p:cNvPr>
            <p:cNvSpPr txBox="1"/>
            <p:nvPr/>
          </p:nvSpPr>
          <p:spPr>
            <a:xfrm>
              <a:off x="434794" y="3586513"/>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30 yıl</a:t>
              </a:r>
            </a:p>
          </p:txBody>
        </p:sp>
        <p:sp>
          <p:nvSpPr>
            <p:cNvPr id="23" name="TextBox 22">
              <a:extLst>
                <a:ext uri="{FF2B5EF4-FFF2-40B4-BE49-F238E27FC236}">
                  <a16:creationId xmlns:a16="http://schemas.microsoft.com/office/drawing/2014/main" id="{80FBD0D6-89F8-A275-7DEA-6BA594B11F15}"/>
                </a:ext>
              </a:extLst>
            </p:cNvPr>
            <p:cNvSpPr txBox="1"/>
            <p:nvPr/>
          </p:nvSpPr>
          <p:spPr>
            <a:xfrm>
              <a:off x="434794" y="3911601"/>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20 yıl</a:t>
              </a:r>
            </a:p>
          </p:txBody>
        </p:sp>
        <p:sp>
          <p:nvSpPr>
            <p:cNvPr id="24" name="TextBox 23">
              <a:extLst>
                <a:ext uri="{FF2B5EF4-FFF2-40B4-BE49-F238E27FC236}">
                  <a16:creationId xmlns:a16="http://schemas.microsoft.com/office/drawing/2014/main" id="{A215AA3A-57CE-8BFB-4B78-C3B83DB8A03D}"/>
                </a:ext>
              </a:extLst>
            </p:cNvPr>
            <p:cNvSpPr txBox="1"/>
            <p:nvPr/>
          </p:nvSpPr>
          <p:spPr>
            <a:xfrm>
              <a:off x="434794" y="4226794"/>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10 yıl</a:t>
              </a:r>
            </a:p>
          </p:txBody>
        </p:sp>
      </p:grpSp>
      <p:sp>
        <p:nvSpPr>
          <p:cNvPr id="28" name="TextBox 27">
            <a:extLst>
              <a:ext uri="{FF2B5EF4-FFF2-40B4-BE49-F238E27FC236}">
                <a16:creationId xmlns:a16="http://schemas.microsoft.com/office/drawing/2014/main" id="{3810FA7A-48BC-BD68-03F7-45F4280EB141}"/>
              </a:ext>
            </a:extLst>
          </p:cNvPr>
          <p:cNvSpPr txBox="1"/>
          <p:nvPr/>
        </p:nvSpPr>
        <p:spPr>
          <a:xfrm rot="20150888">
            <a:off x="2584463" y="3092816"/>
            <a:ext cx="837119" cy="160660"/>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2018</a:t>
            </a:r>
          </a:p>
        </p:txBody>
      </p:sp>
      <p:sp>
        <p:nvSpPr>
          <p:cNvPr id="29" name="TextBox 28">
            <a:extLst>
              <a:ext uri="{FF2B5EF4-FFF2-40B4-BE49-F238E27FC236}">
                <a16:creationId xmlns:a16="http://schemas.microsoft.com/office/drawing/2014/main" id="{3ED9A3FD-E5B5-CF06-21A4-87ABCEE650D5}"/>
              </a:ext>
            </a:extLst>
          </p:cNvPr>
          <p:cNvSpPr txBox="1"/>
          <p:nvPr/>
        </p:nvSpPr>
        <p:spPr>
          <a:xfrm rot="20382363">
            <a:off x="3265146" y="3471361"/>
            <a:ext cx="837119" cy="160660"/>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1990</a:t>
            </a:r>
          </a:p>
        </p:txBody>
      </p:sp>
      <p:sp>
        <p:nvSpPr>
          <p:cNvPr id="30" name="TextBox 29">
            <a:extLst>
              <a:ext uri="{FF2B5EF4-FFF2-40B4-BE49-F238E27FC236}">
                <a16:creationId xmlns:a16="http://schemas.microsoft.com/office/drawing/2014/main" id="{DC35161A-82C8-3810-F84A-4C40DF62F6C7}"/>
              </a:ext>
            </a:extLst>
          </p:cNvPr>
          <p:cNvSpPr txBox="1"/>
          <p:nvPr/>
        </p:nvSpPr>
        <p:spPr>
          <a:xfrm rot="20568704">
            <a:off x="3261386" y="3720975"/>
            <a:ext cx="837119" cy="160660"/>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1980</a:t>
            </a:r>
          </a:p>
        </p:txBody>
      </p:sp>
      <p:sp>
        <p:nvSpPr>
          <p:cNvPr id="31" name="TextBox 30">
            <a:extLst>
              <a:ext uri="{FF2B5EF4-FFF2-40B4-BE49-F238E27FC236}">
                <a16:creationId xmlns:a16="http://schemas.microsoft.com/office/drawing/2014/main" id="{5906771E-94A7-A024-99FD-EBC848283E24}"/>
              </a:ext>
            </a:extLst>
          </p:cNvPr>
          <p:cNvSpPr txBox="1"/>
          <p:nvPr/>
        </p:nvSpPr>
        <p:spPr>
          <a:xfrm rot="20568704">
            <a:off x="3274117" y="3985211"/>
            <a:ext cx="837119" cy="160660"/>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1970</a:t>
            </a:r>
          </a:p>
        </p:txBody>
      </p:sp>
      <p:sp>
        <p:nvSpPr>
          <p:cNvPr id="160" name="TextBox 159">
            <a:extLst>
              <a:ext uri="{FF2B5EF4-FFF2-40B4-BE49-F238E27FC236}">
                <a16:creationId xmlns:a16="http://schemas.microsoft.com/office/drawing/2014/main" id="{D4265689-22C2-418E-5EA0-634ED8AA9D9C}"/>
              </a:ext>
            </a:extLst>
          </p:cNvPr>
          <p:cNvSpPr txBox="1"/>
          <p:nvPr/>
        </p:nvSpPr>
        <p:spPr>
          <a:xfrm rot="20568704">
            <a:off x="3209113" y="4255830"/>
            <a:ext cx="837119" cy="160660"/>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Pfizer Tomorrow"/>
                <a:ea typeface="+mn-ea"/>
                <a:cs typeface="+mn-cs"/>
              </a:rPr>
              <a:t>1960</a:t>
            </a:r>
          </a:p>
        </p:txBody>
      </p:sp>
      <p:sp>
        <p:nvSpPr>
          <p:cNvPr id="162" name="TextBox 161">
            <a:extLst>
              <a:ext uri="{FF2B5EF4-FFF2-40B4-BE49-F238E27FC236}">
                <a16:creationId xmlns:a16="http://schemas.microsoft.com/office/drawing/2014/main" id="{48A06962-9BD6-D150-2B19-E7937D916DFE}"/>
              </a:ext>
            </a:extLst>
          </p:cNvPr>
          <p:cNvSpPr txBox="1"/>
          <p:nvPr/>
        </p:nvSpPr>
        <p:spPr>
          <a:xfrm rot="20568704">
            <a:off x="3338018" y="4465168"/>
            <a:ext cx="837119" cy="160660"/>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Pfizer Tomorrow"/>
                <a:ea typeface="+mn-ea"/>
                <a:cs typeface="+mn-cs"/>
              </a:rPr>
              <a:t>1950</a:t>
            </a:r>
          </a:p>
        </p:txBody>
      </p:sp>
      <p:sp>
        <p:nvSpPr>
          <p:cNvPr id="166" name="TextBox 165">
            <a:extLst>
              <a:ext uri="{FF2B5EF4-FFF2-40B4-BE49-F238E27FC236}">
                <a16:creationId xmlns:a16="http://schemas.microsoft.com/office/drawing/2014/main" id="{BB68A977-3581-A423-15FA-67704CFB4E81}"/>
              </a:ext>
            </a:extLst>
          </p:cNvPr>
          <p:cNvSpPr txBox="1"/>
          <p:nvPr/>
        </p:nvSpPr>
        <p:spPr>
          <a:xfrm rot="1262369">
            <a:off x="7888040" y="2925666"/>
            <a:ext cx="837119" cy="160660"/>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2018</a:t>
            </a:r>
          </a:p>
        </p:txBody>
      </p:sp>
      <p:sp>
        <p:nvSpPr>
          <p:cNvPr id="167" name="TextBox 166">
            <a:extLst>
              <a:ext uri="{FF2B5EF4-FFF2-40B4-BE49-F238E27FC236}">
                <a16:creationId xmlns:a16="http://schemas.microsoft.com/office/drawing/2014/main" id="{605D71F3-1E68-1295-F7EC-A78E2D08345A}"/>
              </a:ext>
            </a:extLst>
          </p:cNvPr>
          <p:cNvSpPr txBox="1"/>
          <p:nvPr/>
        </p:nvSpPr>
        <p:spPr>
          <a:xfrm rot="1065725">
            <a:off x="7544826" y="3442518"/>
            <a:ext cx="837119" cy="160660"/>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1990</a:t>
            </a:r>
          </a:p>
        </p:txBody>
      </p:sp>
      <p:sp>
        <p:nvSpPr>
          <p:cNvPr id="168" name="TextBox 167">
            <a:extLst>
              <a:ext uri="{FF2B5EF4-FFF2-40B4-BE49-F238E27FC236}">
                <a16:creationId xmlns:a16="http://schemas.microsoft.com/office/drawing/2014/main" id="{66BC1E5F-3468-A347-D502-078DF31AAE15}"/>
              </a:ext>
            </a:extLst>
          </p:cNvPr>
          <p:cNvSpPr txBox="1"/>
          <p:nvPr/>
        </p:nvSpPr>
        <p:spPr>
          <a:xfrm rot="1060899">
            <a:off x="7571720" y="3724352"/>
            <a:ext cx="837119" cy="160660"/>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1980</a:t>
            </a:r>
          </a:p>
        </p:txBody>
      </p:sp>
      <p:sp>
        <p:nvSpPr>
          <p:cNvPr id="169" name="TextBox 168">
            <a:extLst>
              <a:ext uri="{FF2B5EF4-FFF2-40B4-BE49-F238E27FC236}">
                <a16:creationId xmlns:a16="http://schemas.microsoft.com/office/drawing/2014/main" id="{B99B5354-4F43-2A34-846B-6CD508982874}"/>
              </a:ext>
            </a:extLst>
          </p:cNvPr>
          <p:cNvSpPr txBox="1"/>
          <p:nvPr/>
        </p:nvSpPr>
        <p:spPr>
          <a:xfrm rot="719479">
            <a:off x="7648162" y="3999927"/>
            <a:ext cx="837119" cy="160660"/>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1970</a:t>
            </a:r>
          </a:p>
        </p:txBody>
      </p:sp>
      <p:sp>
        <p:nvSpPr>
          <p:cNvPr id="170" name="TextBox 169">
            <a:extLst>
              <a:ext uri="{FF2B5EF4-FFF2-40B4-BE49-F238E27FC236}">
                <a16:creationId xmlns:a16="http://schemas.microsoft.com/office/drawing/2014/main" id="{D1590AC3-9444-F728-1445-CFBA2868A77E}"/>
              </a:ext>
            </a:extLst>
          </p:cNvPr>
          <p:cNvSpPr txBox="1"/>
          <p:nvPr/>
        </p:nvSpPr>
        <p:spPr>
          <a:xfrm rot="1214434">
            <a:off x="7590005" y="4237672"/>
            <a:ext cx="837119" cy="160660"/>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Pfizer Tomorrow"/>
                <a:ea typeface="+mn-ea"/>
                <a:cs typeface="+mn-cs"/>
              </a:rPr>
              <a:t>1960</a:t>
            </a:r>
          </a:p>
        </p:txBody>
      </p:sp>
      <p:sp>
        <p:nvSpPr>
          <p:cNvPr id="171" name="TextBox 170">
            <a:extLst>
              <a:ext uri="{FF2B5EF4-FFF2-40B4-BE49-F238E27FC236}">
                <a16:creationId xmlns:a16="http://schemas.microsoft.com/office/drawing/2014/main" id="{6AB801B3-4E53-2E12-082C-38B982AFD12C}"/>
              </a:ext>
            </a:extLst>
          </p:cNvPr>
          <p:cNvSpPr txBox="1"/>
          <p:nvPr/>
        </p:nvSpPr>
        <p:spPr>
          <a:xfrm rot="992005">
            <a:off x="7546655" y="4465168"/>
            <a:ext cx="837119" cy="160660"/>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Pfizer Tomorrow"/>
                <a:ea typeface="+mn-ea"/>
                <a:cs typeface="+mn-cs"/>
              </a:rPr>
              <a:t>1950</a:t>
            </a:r>
          </a:p>
        </p:txBody>
      </p:sp>
      <p:sp>
        <p:nvSpPr>
          <p:cNvPr id="191" name="TextBox 190">
            <a:extLst>
              <a:ext uri="{FF2B5EF4-FFF2-40B4-BE49-F238E27FC236}">
                <a16:creationId xmlns:a16="http://schemas.microsoft.com/office/drawing/2014/main" id="{A9C3FAEE-00E0-DD7C-3585-A7E5ECEC46AA}"/>
              </a:ext>
            </a:extLst>
          </p:cNvPr>
          <p:cNvSpPr txBox="1"/>
          <p:nvPr/>
        </p:nvSpPr>
        <p:spPr>
          <a:xfrm>
            <a:off x="1333177" y="1753203"/>
            <a:ext cx="539550" cy="107107"/>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70 Milyon</a:t>
            </a:r>
          </a:p>
        </p:txBody>
      </p:sp>
      <p:sp>
        <p:nvSpPr>
          <p:cNvPr id="192" name="TextBox 191">
            <a:extLst>
              <a:ext uri="{FF2B5EF4-FFF2-40B4-BE49-F238E27FC236}">
                <a16:creationId xmlns:a16="http://schemas.microsoft.com/office/drawing/2014/main" id="{FDE9595A-9CD3-AECF-E92E-DF34A819B17E}"/>
              </a:ext>
            </a:extLst>
          </p:cNvPr>
          <p:cNvSpPr txBox="1"/>
          <p:nvPr/>
        </p:nvSpPr>
        <p:spPr>
          <a:xfrm>
            <a:off x="1995602" y="1753203"/>
            <a:ext cx="539550" cy="107107"/>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60 Milyon</a:t>
            </a:r>
          </a:p>
        </p:txBody>
      </p:sp>
      <p:sp>
        <p:nvSpPr>
          <p:cNvPr id="193" name="TextBox 192">
            <a:extLst>
              <a:ext uri="{FF2B5EF4-FFF2-40B4-BE49-F238E27FC236}">
                <a16:creationId xmlns:a16="http://schemas.microsoft.com/office/drawing/2014/main" id="{B0C3EFF5-8E69-1704-3D0F-83D609C88D75}"/>
              </a:ext>
            </a:extLst>
          </p:cNvPr>
          <p:cNvSpPr txBox="1"/>
          <p:nvPr/>
        </p:nvSpPr>
        <p:spPr>
          <a:xfrm>
            <a:off x="2651749" y="1753203"/>
            <a:ext cx="539550" cy="107107"/>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50 Milyon</a:t>
            </a:r>
          </a:p>
        </p:txBody>
      </p:sp>
      <p:sp>
        <p:nvSpPr>
          <p:cNvPr id="194" name="TextBox 193">
            <a:extLst>
              <a:ext uri="{FF2B5EF4-FFF2-40B4-BE49-F238E27FC236}">
                <a16:creationId xmlns:a16="http://schemas.microsoft.com/office/drawing/2014/main" id="{E4D67F03-FD6E-3684-ADF5-C57FE5F1A0A3}"/>
              </a:ext>
            </a:extLst>
          </p:cNvPr>
          <p:cNvSpPr txBox="1"/>
          <p:nvPr/>
        </p:nvSpPr>
        <p:spPr>
          <a:xfrm>
            <a:off x="3295148" y="1753203"/>
            <a:ext cx="539550" cy="107107"/>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40 Milyon</a:t>
            </a:r>
          </a:p>
        </p:txBody>
      </p:sp>
      <p:sp>
        <p:nvSpPr>
          <p:cNvPr id="195" name="TextBox 194">
            <a:extLst>
              <a:ext uri="{FF2B5EF4-FFF2-40B4-BE49-F238E27FC236}">
                <a16:creationId xmlns:a16="http://schemas.microsoft.com/office/drawing/2014/main" id="{306D56B1-2A72-9FBB-E712-FCC7C67D481B}"/>
              </a:ext>
            </a:extLst>
          </p:cNvPr>
          <p:cNvSpPr txBox="1"/>
          <p:nvPr/>
        </p:nvSpPr>
        <p:spPr>
          <a:xfrm>
            <a:off x="3938547" y="1753203"/>
            <a:ext cx="539550" cy="107107"/>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30 Milyon</a:t>
            </a:r>
          </a:p>
        </p:txBody>
      </p:sp>
      <p:sp>
        <p:nvSpPr>
          <p:cNvPr id="196" name="TextBox 195">
            <a:extLst>
              <a:ext uri="{FF2B5EF4-FFF2-40B4-BE49-F238E27FC236}">
                <a16:creationId xmlns:a16="http://schemas.microsoft.com/office/drawing/2014/main" id="{2DA8C1CE-F02D-27D5-FA62-AC456CAC2B85}"/>
              </a:ext>
            </a:extLst>
          </p:cNvPr>
          <p:cNvSpPr txBox="1"/>
          <p:nvPr/>
        </p:nvSpPr>
        <p:spPr>
          <a:xfrm>
            <a:off x="4620617" y="1753203"/>
            <a:ext cx="539550" cy="107107"/>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20 Milyon</a:t>
            </a:r>
          </a:p>
        </p:txBody>
      </p:sp>
      <p:sp>
        <p:nvSpPr>
          <p:cNvPr id="197" name="TextBox 196">
            <a:extLst>
              <a:ext uri="{FF2B5EF4-FFF2-40B4-BE49-F238E27FC236}">
                <a16:creationId xmlns:a16="http://schemas.microsoft.com/office/drawing/2014/main" id="{6F69F2EB-CDAB-C43C-7543-14208B23EE2B}"/>
              </a:ext>
            </a:extLst>
          </p:cNvPr>
          <p:cNvSpPr txBox="1"/>
          <p:nvPr/>
        </p:nvSpPr>
        <p:spPr>
          <a:xfrm>
            <a:off x="5275486" y="1753203"/>
            <a:ext cx="539550" cy="107107"/>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10 Milyon</a:t>
            </a:r>
          </a:p>
        </p:txBody>
      </p:sp>
      <p:sp>
        <p:nvSpPr>
          <p:cNvPr id="198" name="TextBox 197">
            <a:extLst>
              <a:ext uri="{FF2B5EF4-FFF2-40B4-BE49-F238E27FC236}">
                <a16:creationId xmlns:a16="http://schemas.microsoft.com/office/drawing/2014/main" id="{6433EA41-439B-3B5D-495A-E3ED6836A856}"/>
              </a:ext>
            </a:extLst>
          </p:cNvPr>
          <p:cNvSpPr txBox="1"/>
          <p:nvPr/>
        </p:nvSpPr>
        <p:spPr>
          <a:xfrm>
            <a:off x="6568219" y="1753203"/>
            <a:ext cx="539550" cy="107107"/>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20 Milyon</a:t>
            </a:r>
          </a:p>
        </p:txBody>
      </p:sp>
      <p:sp>
        <p:nvSpPr>
          <p:cNvPr id="199" name="TextBox 198">
            <a:extLst>
              <a:ext uri="{FF2B5EF4-FFF2-40B4-BE49-F238E27FC236}">
                <a16:creationId xmlns:a16="http://schemas.microsoft.com/office/drawing/2014/main" id="{9FA67C2E-FA46-0620-5342-AB982B5FFCFC}"/>
              </a:ext>
            </a:extLst>
          </p:cNvPr>
          <p:cNvSpPr txBox="1"/>
          <p:nvPr/>
        </p:nvSpPr>
        <p:spPr>
          <a:xfrm>
            <a:off x="7231159" y="1753203"/>
            <a:ext cx="539550" cy="107107"/>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30 Milyon</a:t>
            </a:r>
          </a:p>
        </p:txBody>
      </p:sp>
      <p:sp>
        <p:nvSpPr>
          <p:cNvPr id="200" name="TextBox 199">
            <a:extLst>
              <a:ext uri="{FF2B5EF4-FFF2-40B4-BE49-F238E27FC236}">
                <a16:creationId xmlns:a16="http://schemas.microsoft.com/office/drawing/2014/main" id="{EC10454F-88D6-F8E5-6F6A-9F14C47A1A93}"/>
              </a:ext>
            </a:extLst>
          </p:cNvPr>
          <p:cNvSpPr txBox="1"/>
          <p:nvPr/>
        </p:nvSpPr>
        <p:spPr>
          <a:xfrm>
            <a:off x="7870588" y="1753203"/>
            <a:ext cx="539550" cy="107107"/>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40 Milyon</a:t>
            </a:r>
          </a:p>
        </p:txBody>
      </p:sp>
      <p:sp>
        <p:nvSpPr>
          <p:cNvPr id="201" name="TextBox 200">
            <a:extLst>
              <a:ext uri="{FF2B5EF4-FFF2-40B4-BE49-F238E27FC236}">
                <a16:creationId xmlns:a16="http://schemas.microsoft.com/office/drawing/2014/main" id="{6B9BA695-0CE1-546B-ABFF-482577826F61}"/>
              </a:ext>
            </a:extLst>
          </p:cNvPr>
          <p:cNvSpPr txBox="1"/>
          <p:nvPr/>
        </p:nvSpPr>
        <p:spPr>
          <a:xfrm>
            <a:off x="8546391" y="1753203"/>
            <a:ext cx="539550" cy="107107"/>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50 Milyon</a:t>
            </a:r>
          </a:p>
        </p:txBody>
      </p:sp>
      <p:sp>
        <p:nvSpPr>
          <p:cNvPr id="202" name="TextBox 201">
            <a:extLst>
              <a:ext uri="{FF2B5EF4-FFF2-40B4-BE49-F238E27FC236}">
                <a16:creationId xmlns:a16="http://schemas.microsoft.com/office/drawing/2014/main" id="{DAA5BED8-D0BE-381A-41E2-E6909BF8AA61}"/>
              </a:ext>
            </a:extLst>
          </p:cNvPr>
          <p:cNvSpPr txBox="1"/>
          <p:nvPr/>
        </p:nvSpPr>
        <p:spPr>
          <a:xfrm>
            <a:off x="9173881" y="1753203"/>
            <a:ext cx="539550" cy="107107"/>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60 Milyon</a:t>
            </a:r>
          </a:p>
        </p:txBody>
      </p:sp>
      <p:sp>
        <p:nvSpPr>
          <p:cNvPr id="203" name="TextBox 202">
            <a:extLst>
              <a:ext uri="{FF2B5EF4-FFF2-40B4-BE49-F238E27FC236}">
                <a16:creationId xmlns:a16="http://schemas.microsoft.com/office/drawing/2014/main" id="{8C0433D8-A4FD-962A-6BED-3F87CBA8353E}"/>
              </a:ext>
            </a:extLst>
          </p:cNvPr>
          <p:cNvSpPr txBox="1"/>
          <p:nvPr/>
        </p:nvSpPr>
        <p:spPr>
          <a:xfrm>
            <a:off x="9833669" y="1753203"/>
            <a:ext cx="539550" cy="107107"/>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70 Milyon</a:t>
            </a:r>
          </a:p>
        </p:txBody>
      </p:sp>
      <p:sp>
        <p:nvSpPr>
          <p:cNvPr id="204" name="TextBox 203">
            <a:extLst>
              <a:ext uri="{FF2B5EF4-FFF2-40B4-BE49-F238E27FC236}">
                <a16:creationId xmlns:a16="http://schemas.microsoft.com/office/drawing/2014/main" id="{C1D9BE46-A936-11BB-9584-90BADDF8B43D}"/>
              </a:ext>
            </a:extLst>
          </p:cNvPr>
          <p:cNvSpPr txBox="1"/>
          <p:nvPr/>
        </p:nvSpPr>
        <p:spPr>
          <a:xfrm>
            <a:off x="5921852" y="1753203"/>
            <a:ext cx="539550" cy="107107"/>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10 Milyon</a:t>
            </a:r>
          </a:p>
        </p:txBody>
      </p:sp>
      <p:sp>
        <p:nvSpPr>
          <p:cNvPr id="282" name="Rectangle 281">
            <a:extLst>
              <a:ext uri="{FF2B5EF4-FFF2-40B4-BE49-F238E27FC236}">
                <a16:creationId xmlns:a16="http://schemas.microsoft.com/office/drawing/2014/main" id="{6D8B893D-0964-72E6-D5D9-DEBF6DB444CE}"/>
              </a:ext>
            </a:extLst>
          </p:cNvPr>
          <p:cNvSpPr/>
          <p:nvPr/>
        </p:nvSpPr>
        <p:spPr>
          <a:xfrm>
            <a:off x="247650" y="4741619"/>
            <a:ext cx="11001973" cy="5014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itle 2">
            <a:extLst>
              <a:ext uri="{FF2B5EF4-FFF2-40B4-BE49-F238E27FC236}">
                <a16:creationId xmlns:a16="http://schemas.microsoft.com/office/drawing/2014/main" id="{4E522A69-C161-2CC8-A738-E3792C0CFC28}"/>
              </a:ext>
            </a:extLst>
          </p:cNvPr>
          <p:cNvSpPr>
            <a:spLocks noGrp="1"/>
          </p:cNvSpPr>
          <p:nvPr>
            <p:ph type="title"/>
          </p:nvPr>
        </p:nvSpPr>
        <p:spPr>
          <a:xfrm>
            <a:off x="613152" y="195684"/>
            <a:ext cx="10969218" cy="842156"/>
          </a:xfrm>
        </p:spPr>
        <p:txBody>
          <a:bodyPr vert="horz" lIns="0" tIns="0" rIns="0" bIns="0" rtlCol="0" anchor="ctr">
            <a:noAutofit/>
          </a:bodyPr>
          <a:lstStyle/>
          <a:p>
            <a:r>
              <a:rPr lang="en-US" err="1"/>
              <a:t>Dünyanın</a:t>
            </a:r>
            <a:r>
              <a:rPr lang="en-US"/>
              <a:t> </a:t>
            </a:r>
            <a:r>
              <a:rPr lang="en-US" err="1"/>
              <a:t>yaşlı</a:t>
            </a:r>
            <a:r>
              <a:rPr lang="en-US"/>
              <a:t> </a:t>
            </a:r>
            <a:r>
              <a:rPr lang="en-US" err="1"/>
              <a:t>nüfusu</a:t>
            </a:r>
            <a:r>
              <a:rPr lang="en-US"/>
              <a:t> </a:t>
            </a:r>
            <a:r>
              <a:rPr lang="en-US" err="1"/>
              <a:t>benzeri</a:t>
            </a:r>
            <a:r>
              <a:rPr lang="en-US"/>
              <a:t> </a:t>
            </a:r>
            <a:r>
              <a:rPr lang="en-US" err="1"/>
              <a:t>görülmemiş</a:t>
            </a:r>
            <a:r>
              <a:rPr lang="en-US"/>
              <a:t> </a:t>
            </a:r>
            <a:r>
              <a:rPr lang="en-US" err="1"/>
              <a:t>oranlarda</a:t>
            </a:r>
            <a:r>
              <a:rPr lang="en-US"/>
              <a:t> </a:t>
            </a:r>
            <a:r>
              <a:rPr lang="en-US" err="1"/>
              <a:t>artmaktadır</a:t>
            </a:r>
            <a:endParaRPr lang="pt-PT"/>
          </a:p>
        </p:txBody>
      </p:sp>
      <p:sp>
        <p:nvSpPr>
          <p:cNvPr id="2" name="Slide Number Placeholder 1">
            <a:extLst>
              <a:ext uri="{FF2B5EF4-FFF2-40B4-BE49-F238E27FC236}">
                <a16:creationId xmlns:a16="http://schemas.microsoft.com/office/drawing/2014/main" id="{F2CBC6D3-7359-B029-6615-9BDE7571931C}"/>
              </a:ext>
            </a:extLst>
          </p:cNvPr>
          <p:cNvSpPr>
            <a:spLocks noGrp="1"/>
          </p:cNvSpPr>
          <p:nvPr>
            <p:ph type="sldNum" sz="quarter" idx="4"/>
          </p:nvPr>
        </p:nvSpPr>
        <p:spPr>
          <a:xfrm>
            <a:off x="10438834" y="6508427"/>
            <a:ext cx="1143536" cy="153889"/>
          </a:xfrm>
        </p:spPr>
        <p:txBody>
          <a:bodyPr/>
          <a:lstStyle/>
          <a:p>
            <a:pPr lvl="0"/>
            <a:fld id="{2B39012A-6F33-204B-8224-A57BEFB0AAD0}" type="slidenum">
              <a:rPr lang="en-US" noProof="0" smtClean="0"/>
              <a:pPr lvl="0"/>
              <a:t>5</a:t>
            </a:fld>
            <a:endParaRPr lang="en-US" noProof="0" dirty="0"/>
          </a:p>
        </p:txBody>
      </p:sp>
      <p:sp>
        <p:nvSpPr>
          <p:cNvPr id="14" name="Text Placeholder 7">
            <a:extLst>
              <a:ext uri="{FF2B5EF4-FFF2-40B4-BE49-F238E27FC236}">
                <a16:creationId xmlns:a16="http://schemas.microsoft.com/office/drawing/2014/main" id="{31344B8F-89AB-8636-8715-8C0F500827EA}"/>
              </a:ext>
            </a:extLst>
          </p:cNvPr>
          <p:cNvSpPr txBox="1">
            <a:spLocks/>
          </p:cNvSpPr>
          <p:nvPr/>
        </p:nvSpPr>
        <p:spPr bwMode="gray">
          <a:xfrm>
            <a:off x="870919" y="4904720"/>
            <a:ext cx="6999669" cy="364668"/>
          </a:xfrm>
          <a:prstGeom prst="rect">
            <a:avLst/>
          </a:prstGeom>
        </p:spPr>
        <p:txBody>
          <a:bodyPr vert="horz" lIns="0" tIns="0" rIns="0" bIns="0" rtlCol="0" anchor="b">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
              </a:spcBef>
              <a:spcAft>
                <a:spcPts val="0"/>
              </a:spcAft>
              <a:buClr>
                <a:srgbClr val="0095FF"/>
              </a:buClr>
              <a:buSzPct val="85000"/>
              <a:buFont typeface="Arial" pitchFamily="34" charset="0"/>
              <a:buNone/>
              <a:tabLst/>
              <a:defRPr/>
            </a:pPr>
            <a:r>
              <a:rPr lang="en-US">
                <a:solidFill>
                  <a:srgbClr val="7C7C7C"/>
                </a:solidFill>
                <a:latin typeface="Pfizer Diatype Office"/>
              </a:rPr>
              <a:t>Our World in </a:t>
            </a:r>
            <a:r>
              <a:rPr lang="en-US" err="1">
                <a:solidFill>
                  <a:srgbClr val="7C7C7C"/>
                </a:solidFill>
                <a:latin typeface="Pfizer Diatype Office"/>
              </a:rPr>
              <a:t>Data’dan</a:t>
            </a:r>
            <a:r>
              <a:rPr lang="en-US">
                <a:solidFill>
                  <a:srgbClr val="7C7C7C"/>
                </a:solidFill>
                <a:latin typeface="Pfizer Diatype Office"/>
              </a:rPr>
              <a:t> </a:t>
            </a:r>
            <a:r>
              <a:rPr lang="en-US" err="1">
                <a:solidFill>
                  <a:srgbClr val="7C7C7C"/>
                </a:solidFill>
                <a:latin typeface="Pfizer Diatype Office"/>
              </a:rPr>
              <a:t>uyarlanmıştır</a:t>
            </a:r>
            <a:r>
              <a:rPr kumimoji="0" lang="en-US" sz="800" b="0" i="0" u="none" strike="noStrike" kern="1200" cap="none" spc="0" normalizeH="0" baseline="0" noProof="0">
                <a:ln>
                  <a:noFill/>
                </a:ln>
                <a:solidFill>
                  <a:srgbClr val="7C7C7C"/>
                </a:solidFill>
                <a:effectLst/>
                <a:uLnTx/>
                <a:uFillTx/>
                <a:latin typeface="Pfizer Diatype Office"/>
                <a:ea typeface="+mn-ea"/>
                <a:cs typeface="Arial" pitchFamily="34" charset="0"/>
              </a:rPr>
              <a:t>.</a:t>
            </a:r>
            <a:r>
              <a:rPr kumimoji="0" lang="en-US" sz="800" b="0" i="0" u="none" strike="noStrike" kern="1200" cap="none" spc="0" normalizeH="0" baseline="30000" noProof="0">
                <a:ln>
                  <a:noFill/>
                </a:ln>
                <a:solidFill>
                  <a:srgbClr val="7C7C7C"/>
                </a:solidFill>
                <a:effectLst/>
                <a:uLnTx/>
                <a:uFillTx/>
                <a:latin typeface="Pfizer Diatype Office"/>
                <a:ea typeface="+mn-ea"/>
                <a:cs typeface="Arial" pitchFamily="34" charset="0"/>
              </a:rPr>
              <a:t>1</a:t>
            </a:r>
          </a:p>
        </p:txBody>
      </p:sp>
      <p:sp>
        <p:nvSpPr>
          <p:cNvPr id="281" name="Freeform: Shape 280">
            <a:extLst>
              <a:ext uri="{FF2B5EF4-FFF2-40B4-BE49-F238E27FC236}">
                <a16:creationId xmlns:a16="http://schemas.microsoft.com/office/drawing/2014/main" id="{02B48976-F4D9-A688-3ACB-9D5DE23C2C70}"/>
              </a:ext>
            </a:extLst>
          </p:cNvPr>
          <p:cNvSpPr/>
          <p:nvPr/>
        </p:nvSpPr>
        <p:spPr>
          <a:xfrm>
            <a:off x="924287" y="4744743"/>
            <a:ext cx="9793584" cy="16942"/>
          </a:xfrm>
          <a:custGeom>
            <a:avLst/>
            <a:gdLst>
              <a:gd name="connsiteX0" fmla="*/ 0 w 9793584"/>
              <a:gd name="connsiteY0" fmla="*/ 0 h 16942"/>
              <a:gd name="connsiteX1" fmla="*/ 9793585 w 9793584"/>
              <a:gd name="connsiteY1" fmla="*/ 0 h 16942"/>
            </a:gdLst>
            <a:ahLst/>
            <a:cxnLst>
              <a:cxn ang="0">
                <a:pos x="connsiteX0" y="connsiteY0"/>
              </a:cxn>
              <a:cxn ang="0">
                <a:pos x="connsiteX1" y="connsiteY1"/>
              </a:cxn>
            </a:cxnLst>
            <a:rect l="l" t="t" r="r" b="b"/>
            <a:pathLst>
              <a:path w="9793584" h="16942">
                <a:moveTo>
                  <a:pt x="0" y="0"/>
                </a:moveTo>
                <a:lnTo>
                  <a:pt x="9793585" y="0"/>
                </a:lnTo>
              </a:path>
            </a:pathLst>
          </a:custGeom>
          <a:ln w="13542" cap="sq">
            <a:solidFill>
              <a:srgbClr val="231F20"/>
            </a:solidFill>
            <a:prstDash val="solid"/>
            <a:miter/>
          </a:ln>
        </p:spPr>
        <p:txBody>
          <a:bodyPr rtlCol="0" anchor="ctr"/>
          <a:lstStyle/>
          <a:p>
            <a:endParaRPr lang="en-US"/>
          </a:p>
        </p:txBody>
      </p:sp>
      <p:sp>
        <p:nvSpPr>
          <p:cNvPr id="172" name="TextBox 171">
            <a:extLst>
              <a:ext uri="{FF2B5EF4-FFF2-40B4-BE49-F238E27FC236}">
                <a16:creationId xmlns:a16="http://schemas.microsoft.com/office/drawing/2014/main" id="{4709EF8C-B497-1C98-A4A2-0C5B8CD8C239}"/>
              </a:ext>
            </a:extLst>
          </p:cNvPr>
          <p:cNvSpPr txBox="1"/>
          <p:nvPr/>
        </p:nvSpPr>
        <p:spPr>
          <a:xfrm>
            <a:off x="3314053" y="4752636"/>
            <a:ext cx="1732258" cy="321319"/>
          </a:xfrm>
          <a:prstGeom prst="rect">
            <a:avLst/>
          </a:prstGeom>
          <a:noFill/>
        </p:spPr>
        <p:txBody>
          <a:bodyPr wrap="square"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67"/>
                </a:solidFill>
                <a:effectLst/>
                <a:uLnTx/>
                <a:uFillTx/>
                <a:latin typeface="Pfizer Tomorrow"/>
                <a:ea typeface="+mn-ea"/>
                <a:cs typeface="+mn-cs"/>
              </a:rPr>
              <a:t>Erkekler</a:t>
            </a:r>
            <a:endParaRPr kumimoji="0" lang="en-US" sz="900" b="0" i="0" u="none" strike="noStrike" kern="1200" cap="none" spc="0" normalizeH="0" baseline="0" noProof="0">
              <a:ln>
                <a:noFill/>
              </a:ln>
              <a:solidFill>
                <a:srgbClr val="000067"/>
              </a:solidFill>
              <a:effectLst/>
              <a:uLnTx/>
              <a:uFillTx/>
              <a:latin typeface="Pfizer Tomorrow"/>
              <a:ea typeface="+mn-ea"/>
              <a:cs typeface="+mn-cs"/>
            </a:endParaRPr>
          </a:p>
        </p:txBody>
      </p:sp>
      <p:sp>
        <p:nvSpPr>
          <p:cNvPr id="173" name="TextBox 172">
            <a:extLst>
              <a:ext uri="{FF2B5EF4-FFF2-40B4-BE49-F238E27FC236}">
                <a16:creationId xmlns:a16="http://schemas.microsoft.com/office/drawing/2014/main" id="{61E89604-7AE9-4505-F642-6CFA3610883E}"/>
              </a:ext>
            </a:extLst>
          </p:cNvPr>
          <p:cNvSpPr txBox="1"/>
          <p:nvPr/>
        </p:nvSpPr>
        <p:spPr>
          <a:xfrm>
            <a:off x="6158200" y="4752636"/>
            <a:ext cx="1732258" cy="321319"/>
          </a:xfrm>
          <a:prstGeom prst="rect">
            <a:avLst/>
          </a:prstGeom>
          <a:noFill/>
        </p:spPr>
        <p:txBody>
          <a:bodyPr wrap="square"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67"/>
                </a:solidFill>
                <a:effectLst/>
                <a:uLnTx/>
                <a:uFillTx/>
                <a:latin typeface="Pfizer Tomorrow"/>
                <a:ea typeface="+mn-ea"/>
                <a:cs typeface="+mn-cs"/>
              </a:rPr>
              <a:t>Kadınlar</a:t>
            </a:r>
          </a:p>
        </p:txBody>
      </p:sp>
      <p:sp>
        <p:nvSpPr>
          <p:cNvPr id="176" name="TextBox 175">
            <a:extLst>
              <a:ext uri="{FF2B5EF4-FFF2-40B4-BE49-F238E27FC236}">
                <a16:creationId xmlns:a16="http://schemas.microsoft.com/office/drawing/2014/main" id="{0C97B6A4-F83E-863B-E8D2-59B6140AE79D}"/>
              </a:ext>
            </a:extLst>
          </p:cNvPr>
          <p:cNvSpPr txBox="1"/>
          <p:nvPr/>
        </p:nvSpPr>
        <p:spPr>
          <a:xfrm rot="16200000">
            <a:off x="1235700" y="4871952"/>
            <a:ext cx="257669" cy="107107"/>
          </a:xfrm>
          <a:prstGeom prst="rect">
            <a:avLst/>
          </a:prstGeom>
          <a:noFill/>
        </p:spPr>
        <p:txBody>
          <a:bodyPr wrap="square" lIns="0" tIns="0" rIns="0" bIns="0" rtlCol="0">
            <a:spAutoFit/>
          </a:bodyPr>
          <a:lstStyle/>
          <a:p>
            <a:pPr marL="0" marR="0" lvl="0" indent="0" algn="r"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92FF92"/>
                </a:solidFill>
                <a:effectLst/>
                <a:uLnTx/>
                <a:uFillTx/>
                <a:latin typeface="Pfizer Diatype Office"/>
                <a:ea typeface="+mn-ea"/>
                <a:cs typeface="+mn-cs"/>
              </a:rPr>
              <a:t>2018</a:t>
            </a:r>
          </a:p>
        </p:txBody>
      </p:sp>
      <p:sp>
        <p:nvSpPr>
          <p:cNvPr id="177" name="TextBox 176">
            <a:extLst>
              <a:ext uri="{FF2B5EF4-FFF2-40B4-BE49-F238E27FC236}">
                <a16:creationId xmlns:a16="http://schemas.microsoft.com/office/drawing/2014/main" id="{7F731174-4FB5-03DB-07E0-E6726CE54663}"/>
              </a:ext>
            </a:extLst>
          </p:cNvPr>
          <p:cNvSpPr txBox="1"/>
          <p:nvPr/>
        </p:nvSpPr>
        <p:spPr>
          <a:xfrm rot="16200000">
            <a:off x="1329937" y="4871952"/>
            <a:ext cx="257669" cy="107107"/>
          </a:xfrm>
          <a:prstGeom prst="rect">
            <a:avLst/>
          </a:prstGeom>
          <a:noFill/>
        </p:spPr>
        <p:txBody>
          <a:bodyPr wrap="square" lIns="0" tIns="0" rIns="0" bIns="0" rtlCol="0">
            <a:spAutoFit/>
          </a:bodyPr>
          <a:lstStyle/>
          <a:p>
            <a:pPr marL="0" marR="0" lvl="0" indent="0" algn="r"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B7A5"/>
                </a:solidFill>
                <a:effectLst/>
                <a:uLnTx/>
                <a:uFillTx/>
                <a:latin typeface="Pfizer Diatype Office"/>
                <a:ea typeface="+mn-ea"/>
                <a:cs typeface="+mn-cs"/>
              </a:rPr>
              <a:t>1990</a:t>
            </a:r>
          </a:p>
        </p:txBody>
      </p:sp>
      <p:sp>
        <p:nvSpPr>
          <p:cNvPr id="178" name="TextBox 177">
            <a:extLst>
              <a:ext uri="{FF2B5EF4-FFF2-40B4-BE49-F238E27FC236}">
                <a16:creationId xmlns:a16="http://schemas.microsoft.com/office/drawing/2014/main" id="{B6FFB038-F70F-7376-8C0E-B5DD355D836C}"/>
              </a:ext>
            </a:extLst>
          </p:cNvPr>
          <p:cNvSpPr txBox="1"/>
          <p:nvPr/>
        </p:nvSpPr>
        <p:spPr>
          <a:xfrm rot="16200000">
            <a:off x="2029456" y="4871952"/>
            <a:ext cx="257669" cy="107107"/>
          </a:xfrm>
          <a:prstGeom prst="rect">
            <a:avLst/>
          </a:prstGeom>
          <a:noFill/>
        </p:spPr>
        <p:txBody>
          <a:bodyPr wrap="square" lIns="0" tIns="0" rIns="0" bIns="0" rtlCol="0">
            <a:spAutoFit/>
          </a:bodyPr>
          <a:lstStyle/>
          <a:p>
            <a:pPr marL="0" marR="0" lvl="0" indent="0" algn="r"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95FF"/>
                </a:solidFill>
                <a:effectLst/>
                <a:uLnTx/>
                <a:uFillTx/>
                <a:latin typeface="Pfizer Diatype Office"/>
                <a:ea typeface="+mn-ea"/>
                <a:cs typeface="+mn-cs"/>
              </a:rPr>
              <a:t>1980</a:t>
            </a:r>
          </a:p>
        </p:txBody>
      </p:sp>
      <p:sp>
        <p:nvSpPr>
          <p:cNvPr id="179" name="TextBox 178">
            <a:extLst>
              <a:ext uri="{FF2B5EF4-FFF2-40B4-BE49-F238E27FC236}">
                <a16:creationId xmlns:a16="http://schemas.microsoft.com/office/drawing/2014/main" id="{FC2FAD3F-6BF8-04D4-AA42-73A0DCD4CDC8}"/>
              </a:ext>
            </a:extLst>
          </p:cNvPr>
          <p:cNvSpPr txBox="1"/>
          <p:nvPr/>
        </p:nvSpPr>
        <p:spPr>
          <a:xfrm rot="16200000">
            <a:off x="2190095" y="4871952"/>
            <a:ext cx="257669" cy="107107"/>
          </a:xfrm>
          <a:prstGeom prst="rect">
            <a:avLst/>
          </a:prstGeom>
          <a:noFill/>
        </p:spPr>
        <p:txBody>
          <a:bodyPr wrap="square" lIns="0" tIns="0" rIns="0" bIns="0" rtlCol="0">
            <a:spAutoFit/>
          </a:bodyPr>
          <a:lstStyle/>
          <a:p>
            <a:pPr marL="0" marR="0" lvl="0" indent="0" algn="r"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5FC6"/>
                </a:solidFill>
                <a:effectLst/>
                <a:uLnTx/>
                <a:uFillTx/>
                <a:latin typeface="Pfizer Diatype Office"/>
                <a:ea typeface="+mn-ea"/>
                <a:cs typeface="+mn-cs"/>
              </a:rPr>
              <a:t>1970</a:t>
            </a:r>
          </a:p>
        </p:txBody>
      </p:sp>
      <p:sp>
        <p:nvSpPr>
          <p:cNvPr id="180" name="TextBox 179">
            <a:extLst>
              <a:ext uri="{FF2B5EF4-FFF2-40B4-BE49-F238E27FC236}">
                <a16:creationId xmlns:a16="http://schemas.microsoft.com/office/drawing/2014/main" id="{10D9104C-3175-66DF-50DB-5D6BBCA8DB6C}"/>
              </a:ext>
            </a:extLst>
          </p:cNvPr>
          <p:cNvSpPr txBox="1"/>
          <p:nvPr/>
        </p:nvSpPr>
        <p:spPr>
          <a:xfrm rot="16200000">
            <a:off x="2859083" y="4871952"/>
            <a:ext cx="257669" cy="107107"/>
          </a:xfrm>
          <a:prstGeom prst="rect">
            <a:avLst/>
          </a:prstGeom>
          <a:noFill/>
        </p:spPr>
        <p:txBody>
          <a:bodyPr wrap="square" lIns="0" tIns="0" rIns="0" bIns="0" rtlCol="0">
            <a:spAutoFit/>
          </a:bodyPr>
          <a:lstStyle/>
          <a:p>
            <a:pPr marL="0" marR="0" lvl="0" indent="0" algn="r"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C9"/>
                </a:solidFill>
                <a:effectLst/>
                <a:uLnTx/>
                <a:uFillTx/>
                <a:latin typeface="Pfizer Diatype Office"/>
                <a:ea typeface="+mn-ea"/>
                <a:cs typeface="+mn-cs"/>
              </a:rPr>
              <a:t>1960</a:t>
            </a:r>
          </a:p>
        </p:txBody>
      </p:sp>
      <p:sp>
        <p:nvSpPr>
          <p:cNvPr id="181" name="TextBox 180">
            <a:extLst>
              <a:ext uri="{FF2B5EF4-FFF2-40B4-BE49-F238E27FC236}">
                <a16:creationId xmlns:a16="http://schemas.microsoft.com/office/drawing/2014/main" id="{AF442356-3060-4C03-822B-53EE539E4698}"/>
              </a:ext>
            </a:extLst>
          </p:cNvPr>
          <p:cNvSpPr txBox="1"/>
          <p:nvPr/>
        </p:nvSpPr>
        <p:spPr>
          <a:xfrm rot="16200000">
            <a:off x="3270491" y="4871952"/>
            <a:ext cx="257669" cy="107107"/>
          </a:xfrm>
          <a:prstGeom prst="rect">
            <a:avLst/>
          </a:prstGeom>
          <a:noFill/>
        </p:spPr>
        <p:txBody>
          <a:bodyPr wrap="square" lIns="0" tIns="0" rIns="0" bIns="0" rtlCol="0">
            <a:spAutoFit/>
          </a:bodyPr>
          <a:lstStyle/>
          <a:p>
            <a:pPr marL="0" marR="0" lvl="0" indent="0" algn="r"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67"/>
                </a:solidFill>
                <a:effectLst/>
                <a:uLnTx/>
                <a:uFillTx/>
                <a:latin typeface="Pfizer Diatype Office"/>
                <a:ea typeface="+mn-ea"/>
                <a:cs typeface="+mn-cs"/>
              </a:rPr>
              <a:t>1950</a:t>
            </a:r>
          </a:p>
        </p:txBody>
      </p:sp>
      <p:sp>
        <p:nvSpPr>
          <p:cNvPr id="184" name="TextBox 183">
            <a:extLst>
              <a:ext uri="{FF2B5EF4-FFF2-40B4-BE49-F238E27FC236}">
                <a16:creationId xmlns:a16="http://schemas.microsoft.com/office/drawing/2014/main" id="{1996FB09-CACC-C664-5EDC-C6306CDAD4FB}"/>
              </a:ext>
            </a:extLst>
          </p:cNvPr>
          <p:cNvSpPr txBox="1"/>
          <p:nvPr/>
        </p:nvSpPr>
        <p:spPr>
          <a:xfrm rot="5400000">
            <a:off x="10065696" y="4871952"/>
            <a:ext cx="257669" cy="107107"/>
          </a:xfrm>
          <a:prstGeom prst="rect">
            <a:avLst/>
          </a:prstGeom>
          <a:noFill/>
        </p:spPr>
        <p:txBody>
          <a:bodyPr wrap="square" lIns="0" tIns="0" r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92FF92"/>
                </a:solidFill>
                <a:effectLst/>
                <a:uLnTx/>
                <a:uFillTx/>
                <a:latin typeface="Pfizer Diatype Office"/>
                <a:ea typeface="+mn-ea"/>
                <a:cs typeface="+mn-cs"/>
              </a:rPr>
              <a:t>2018</a:t>
            </a:r>
          </a:p>
        </p:txBody>
      </p:sp>
      <p:sp>
        <p:nvSpPr>
          <p:cNvPr id="185" name="TextBox 184">
            <a:extLst>
              <a:ext uri="{FF2B5EF4-FFF2-40B4-BE49-F238E27FC236}">
                <a16:creationId xmlns:a16="http://schemas.microsoft.com/office/drawing/2014/main" id="{4575DDB4-E084-BF2B-93CF-E166A5331975}"/>
              </a:ext>
            </a:extLst>
          </p:cNvPr>
          <p:cNvSpPr txBox="1"/>
          <p:nvPr/>
        </p:nvSpPr>
        <p:spPr>
          <a:xfrm rot="5400000">
            <a:off x="9968531" y="4863950"/>
            <a:ext cx="257669" cy="123111"/>
          </a:xfrm>
          <a:prstGeom prst="rect">
            <a:avLst/>
          </a:prstGeom>
          <a:noFill/>
        </p:spPr>
        <p:txBody>
          <a:bodyPr wrap="square" lIns="0" tIns="0" r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B7A5"/>
                </a:solidFill>
                <a:effectLst/>
                <a:uLnTx/>
                <a:uFillTx/>
                <a:latin typeface="Pfizer Diatype Office"/>
                <a:ea typeface="+mn-ea"/>
                <a:cs typeface="+mn-cs"/>
              </a:rPr>
              <a:t>1990</a:t>
            </a:r>
          </a:p>
        </p:txBody>
      </p:sp>
      <p:sp>
        <p:nvSpPr>
          <p:cNvPr id="187" name="TextBox 186">
            <a:extLst>
              <a:ext uri="{FF2B5EF4-FFF2-40B4-BE49-F238E27FC236}">
                <a16:creationId xmlns:a16="http://schemas.microsoft.com/office/drawing/2014/main" id="{EC47CC02-8B04-1F4A-4341-EE5CE3F8FBD2}"/>
              </a:ext>
            </a:extLst>
          </p:cNvPr>
          <p:cNvSpPr txBox="1"/>
          <p:nvPr/>
        </p:nvSpPr>
        <p:spPr>
          <a:xfrm rot="5400000">
            <a:off x="9357212" y="4871952"/>
            <a:ext cx="257669" cy="107107"/>
          </a:xfrm>
          <a:prstGeom prst="rect">
            <a:avLst/>
          </a:prstGeom>
          <a:noFill/>
        </p:spPr>
        <p:txBody>
          <a:bodyPr wrap="square" lIns="0" tIns="0" r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95FF"/>
                </a:solidFill>
                <a:effectLst/>
                <a:uLnTx/>
                <a:uFillTx/>
                <a:latin typeface="Pfizer Diatype Office"/>
                <a:ea typeface="+mn-ea"/>
                <a:cs typeface="+mn-cs"/>
              </a:rPr>
              <a:t>1980</a:t>
            </a:r>
          </a:p>
        </p:txBody>
      </p:sp>
      <p:sp>
        <p:nvSpPr>
          <p:cNvPr id="188" name="TextBox 187">
            <a:extLst>
              <a:ext uri="{FF2B5EF4-FFF2-40B4-BE49-F238E27FC236}">
                <a16:creationId xmlns:a16="http://schemas.microsoft.com/office/drawing/2014/main" id="{68FAB3A1-63DE-7917-824D-A0B8C673EE3E}"/>
              </a:ext>
            </a:extLst>
          </p:cNvPr>
          <p:cNvSpPr txBox="1"/>
          <p:nvPr/>
        </p:nvSpPr>
        <p:spPr>
          <a:xfrm rot="5400000">
            <a:off x="9247241" y="4871952"/>
            <a:ext cx="257669" cy="107107"/>
          </a:xfrm>
          <a:prstGeom prst="rect">
            <a:avLst/>
          </a:prstGeom>
          <a:noFill/>
        </p:spPr>
        <p:txBody>
          <a:bodyPr wrap="square" lIns="0" tIns="0" r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5FC6"/>
                </a:solidFill>
                <a:effectLst/>
                <a:uLnTx/>
                <a:uFillTx/>
                <a:latin typeface="Pfizer Diatype Office"/>
                <a:ea typeface="+mn-ea"/>
                <a:cs typeface="+mn-cs"/>
              </a:rPr>
              <a:t>1970</a:t>
            </a:r>
          </a:p>
        </p:txBody>
      </p:sp>
      <p:sp>
        <p:nvSpPr>
          <p:cNvPr id="189" name="TextBox 188">
            <a:extLst>
              <a:ext uri="{FF2B5EF4-FFF2-40B4-BE49-F238E27FC236}">
                <a16:creationId xmlns:a16="http://schemas.microsoft.com/office/drawing/2014/main" id="{7CED5120-08C9-9550-2E4D-D62F67FE8A63}"/>
              </a:ext>
            </a:extLst>
          </p:cNvPr>
          <p:cNvSpPr txBox="1"/>
          <p:nvPr/>
        </p:nvSpPr>
        <p:spPr>
          <a:xfrm rot="5400000">
            <a:off x="8257779" y="4871952"/>
            <a:ext cx="257669" cy="107107"/>
          </a:xfrm>
          <a:prstGeom prst="rect">
            <a:avLst/>
          </a:prstGeom>
          <a:noFill/>
        </p:spPr>
        <p:txBody>
          <a:bodyPr wrap="square" lIns="0" tIns="0" r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67"/>
                </a:solidFill>
                <a:effectLst/>
                <a:uLnTx/>
                <a:uFillTx/>
                <a:latin typeface="Pfizer Diatype Office"/>
                <a:ea typeface="+mn-ea"/>
                <a:cs typeface="+mn-cs"/>
              </a:rPr>
              <a:t>1950</a:t>
            </a:r>
          </a:p>
        </p:txBody>
      </p:sp>
      <p:sp>
        <p:nvSpPr>
          <p:cNvPr id="190" name="TextBox 189">
            <a:extLst>
              <a:ext uri="{FF2B5EF4-FFF2-40B4-BE49-F238E27FC236}">
                <a16:creationId xmlns:a16="http://schemas.microsoft.com/office/drawing/2014/main" id="{4EFFD316-B1DA-BE5D-8AB6-E665E728A9DE}"/>
              </a:ext>
            </a:extLst>
          </p:cNvPr>
          <p:cNvSpPr txBox="1"/>
          <p:nvPr/>
        </p:nvSpPr>
        <p:spPr>
          <a:xfrm rot="5400000">
            <a:off x="8554948" y="4871952"/>
            <a:ext cx="257669" cy="107107"/>
          </a:xfrm>
          <a:prstGeom prst="rect">
            <a:avLst/>
          </a:prstGeom>
          <a:noFill/>
        </p:spPr>
        <p:txBody>
          <a:bodyPr wrap="square" lIns="0" tIns="0" r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C9"/>
                </a:solidFill>
                <a:effectLst/>
                <a:uLnTx/>
                <a:uFillTx/>
                <a:latin typeface="Pfizer Diatype Office"/>
                <a:ea typeface="+mn-ea"/>
                <a:cs typeface="+mn-cs"/>
              </a:rPr>
              <a:t>1960</a:t>
            </a:r>
          </a:p>
        </p:txBody>
      </p:sp>
      <p:sp>
        <p:nvSpPr>
          <p:cNvPr id="26" name="Text Placeholder 4">
            <a:extLst>
              <a:ext uri="{FF2B5EF4-FFF2-40B4-BE49-F238E27FC236}">
                <a16:creationId xmlns:a16="http://schemas.microsoft.com/office/drawing/2014/main" id="{C7B3256F-6E20-3DAC-053C-AC99A28C1181}"/>
              </a:ext>
            </a:extLst>
          </p:cNvPr>
          <p:cNvSpPr txBox="1">
            <a:spLocks/>
          </p:cNvSpPr>
          <p:nvPr/>
        </p:nvSpPr>
        <p:spPr bwMode="gray">
          <a:xfrm>
            <a:off x="595200" y="5372323"/>
            <a:ext cx="11001600" cy="433265"/>
          </a:xfrm>
          <a:prstGeom prst="round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GB" sz="1600">
                <a:solidFill>
                  <a:srgbClr val="FFFFFF"/>
                </a:solidFill>
              </a:rPr>
              <a:t>65 </a:t>
            </a:r>
            <a:r>
              <a:rPr lang="en-GB" sz="1600" err="1">
                <a:solidFill>
                  <a:srgbClr val="FFFFFF"/>
                </a:solidFill>
              </a:rPr>
              <a:t>yaş</a:t>
            </a:r>
            <a:r>
              <a:rPr lang="en-GB" sz="1600">
                <a:solidFill>
                  <a:srgbClr val="FFFFFF"/>
                </a:solidFill>
              </a:rPr>
              <a:t> </a:t>
            </a:r>
            <a:r>
              <a:rPr lang="en-GB" sz="1600" err="1">
                <a:solidFill>
                  <a:srgbClr val="FFFFFF"/>
                </a:solidFill>
              </a:rPr>
              <a:t>ve</a:t>
            </a:r>
            <a:r>
              <a:rPr lang="en-GB" sz="1600">
                <a:solidFill>
                  <a:srgbClr val="FFFFFF"/>
                </a:solidFill>
              </a:rPr>
              <a:t> </a:t>
            </a:r>
            <a:r>
              <a:rPr lang="en-GB" sz="1600" err="1">
                <a:solidFill>
                  <a:srgbClr val="FFFFFF"/>
                </a:solidFill>
              </a:rPr>
              <a:t>üzeri</a:t>
            </a:r>
            <a:r>
              <a:rPr lang="en-GB" sz="1600">
                <a:solidFill>
                  <a:srgbClr val="FFFFFF"/>
                </a:solidFill>
              </a:rPr>
              <a:t> </a:t>
            </a:r>
            <a:r>
              <a:rPr lang="en-GB" sz="1600" err="1">
                <a:solidFill>
                  <a:srgbClr val="FFFFFF"/>
                </a:solidFill>
              </a:rPr>
              <a:t>yaşlı</a:t>
            </a:r>
            <a:r>
              <a:rPr lang="en-GB" sz="1600">
                <a:solidFill>
                  <a:srgbClr val="FFFFFF"/>
                </a:solidFill>
              </a:rPr>
              <a:t> </a:t>
            </a:r>
            <a:r>
              <a:rPr lang="en-GB" sz="1600" err="1">
                <a:solidFill>
                  <a:srgbClr val="FFFFFF"/>
                </a:solidFill>
              </a:rPr>
              <a:t>bireylerin</a:t>
            </a:r>
            <a:r>
              <a:rPr lang="en-GB" sz="1600">
                <a:solidFill>
                  <a:srgbClr val="FFFFFF"/>
                </a:solidFill>
              </a:rPr>
              <a:t> </a:t>
            </a:r>
            <a:r>
              <a:rPr lang="en-GB" sz="1600" err="1">
                <a:solidFill>
                  <a:srgbClr val="FFFFFF"/>
                </a:solidFill>
              </a:rPr>
              <a:t>artan</a:t>
            </a:r>
            <a:r>
              <a:rPr lang="en-GB" sz="1600">
                <a:solidFill>
                  <a:srgbClr val="FFFFFF"/>
                </a:solidFill>
              </a:rPr>
              <a:t> </a:t>
            </a:r>
            <a:r>
              <a:rPr lang="en-GB" sz="1600" err="1">
                <a:solidFill>
                  <a:srgbClr val="FFFFFF"/>
                </a:solidFill>
              </a:rPr>
              <a:t>nüfusu</a:t>
            </a:r>
            <a:r>
              <a:rPr lang="en-GB" sz="1600">
                <a:solidFill>
                  <a:srgbClr val="FFFFFF"/>
                </a:solidFill>
              </a:rPr>
              <a:t>, </a:t>
            </a:r>
            <a:r>
              <a:rPr lang="en-GB" sz="1600" err="1">
                <a:solidFill>
                  <a:srgbClr val="FFFFFF"/>
                </a:solidFill>
              </a:rPr>
              <a:t>daha</a:t>
            </a:r>
            <a:r>
              <a:rPr lang="en-GB" sz="1600">
                <a:solidFill>
                  <a:srgbClr val="FFFFFF"/>
                </a:solidFill>
              </a:rPr>
              <a:t> </a:t>
            </a:r>
            <a:r>
              <a:rPr lang="en-GB" sz="1600" err="1">
                <a:solidFill>
                  <a:srgbClr val="FFFFFF"/>
                </a:solidFill>
              </a:rPr>
              <a:t>şiddetli</a:t>
            </a:r>
            <a:r>
              <a:rPr lang="en-GB" sz="1600">
                <a:solidFill>
                  <a:srgbClr val="FFFFFF"/>
                </a:solidFill>
              </a:rPr>
              <a:t> </a:t>
            </a:r>
            <a:r>
              <a:rPr lang="en-GB" sz="1600" err="1">
                <a:solidFill>
                  <a:srgbClr val="FFFFFF"/>
                </a:solidFill>
              </a:rPr>
              <a:t>solunum</a:t>
            </a:r>
            <a:r>
              <a:rPr lang="en-GB" sz="1600">
                <a:solidFill>
                  <a:srgbClr val="FFFFFF"/>
                </a:solidFill>
              </a:rPr>
              <a:t> </a:t>
            </a:r>
            <a:r>
              <a:rPr lang="en-GB" sz="1600" err="1">
                <a:solidFill>
                  <a:srgbClr val="FFFFFF"/>
                </a:solidFill>
              </a:rPr>
              <a:t>yolu</a:t>
            </a:r>
            <a:r>
              <a:rPr lang="en-GB" sz="1600">
                <a:solidFill>
                  <a:srgbClr val="FFFFFF"/>
                </a:solidFill>
              </a:rPr>
              <a:t> </a:t>
            </a:r>
            <a:r>
              <a:rPr lang="en-GB" sz="1600" err="1">
                <a:solidFill>
                  <a:srgbClr val="FFFFFF"/>
                </a:solidFill>
              </a:rPr>
              <a:t>enfeksiyonları</a:t>
            </a:r>
            <a:r>
              <a:rPr lang="en-GB" sz="1600">
                <a:solidFill>
                  <a:srgbClr val="FFFFFF"/>
                </a:solidFill>
              </a:rPr>
              <a:t> </a:t>
            </a:r>
            <a:r>
              <a:rPr lang="en-GB" sz="1600" err="1">
                <a:solidFill>
                  <a:srgbClr val="FFFFFF"/>
                </a:solidFill>
              </a:rPr>
              <a:t>riski</a:t>
            </a:r>
            <a:r>
              <a:rPr lang="en-GB" sz="1600">
                <a:solidFill>
                  <a:srgbClr val="FFFFFF"/>
                </a:solidFill>
              </a:rPr>
              <a:t> </a:t>
            </a:r>
            <a:r>
              <a:rPr lang="en-GB" sz="1600" err="1">
                <a:solidFill>
                  <a:srgbClr val="FFFFFF"/>
                </a:solidFill>
              </a:rPr>
              <a:t>taşımaktadır</a:t>
            </a:r>
            <a:r>
              <a:rPr lang="en-GB" sz="1600">
                <a:solidFill>
                  <a:srgbClr val="FFFFFF"/>
                </a:solidFill>
              </a:rPr>
              <a:t>.</a:t>
            </a:r>
            <a:r>
              <a:rPr lang="en-GB" sz="1600" baseline="30000">
                <a:solidFill>
                  <a:srgbClr val="FFFFFF"/>
                </a:solidFill>
              </a:rPr>
              <a:t> 2-5</a:t>
            </a:r>
          </a:p>
        </p:txBody>
      </p:sp>
      <p:sp>
        <p:nvSpPr>
          <p:cNvPr id="4" name="TextBox 3">
            <a:extLst>
              <a:ext uri="{FF2B5EF4-FFF2-40B4-BE49-F238E27FC236}">
                <a16:creationId xmlns:a16="http://schemas.microsoft.com/office/drawing/2014/main" id="{FA9E3FE2-6185-64F3-624A-D5680C5961D9}"/>
              </a:ext>
            </a:extLst>
          </p:cNvPr>
          <p:cNvSpPr txBox="1"/>
          <p:nvPr/>
        </p:nvSpPr>
        <p:spPr>
          <a:xfrm>
            <a:off x="577181" y="6018436"/>
            <a:ext cx="11011845" cy="358368"/>
          </a:xfrm>
          <a:prstGeom prst="rect">
            <a:avLst/>
          </a:prstGeom>
          <a:noFill/>
        </p:spPr>
        <p:txBody>
          <a:bodyPr wrap="square" lIns="0" tIns="0" rIns="0" bIns="0" rtlCol="0" anchor="b">
            <a:spAutoFit/>
          </a:bodyPr>
          <a:lstStyle/>
          <a:p>
            <a:pPr lvl="0" defTabSz="914400">
              <a:lnSpc>
                <a:spcPct val="85000"/>
              </a:lnSpc>
              <a:spcBef>
                <a:spcPts val="200"/>
              </a:spcBef>
              <a:buClr>
                <a:srgbClr val="0095FF"/>
              </a:buClr>
              <a:buSzPct val="85000"/>
              <a:defRPr/>
            </a:pPr>
            <a:r>
              <a:rPr lang="en-US">
                <a:solidFill>
                  <a:srgbClr val="000000">
                    <a:lumMod val="50000"/>
                    <a:lumOff val="50000"/>
                  </a:srgbClr>
                </a:solidFill>
                <a:cs typeface="Arial" pitchFamily="34" charset="0"/>
              </a:rPr>
              <a:t>1. Our World in Data. Age Structure. February 2024. </a:t>
            </a:r>
            <a:r>
              <a:rPr lang="en-US">
                <a:solidFill>
                  <a:srgbClr val="000000">
                    <a:lumMod val="50000"/>
                    <a:lumOff val="50000"/>
                  </a:srgbClr>
                </a:solidFill>
                <a:cs typeface="Arial" pitchFamily="34" charset="0"/>
                <a:hlinkClick r:id="rId3">
                  <a:extLst>
                    <a:ext uri="{A12FA001-AC4F-418D-AE19-62706E023703}">
                      <ahyp:hlinkClr xmlns:ahyp="http://schemas.microsoft.com/office/drawing/2018/hyperlinkcolor" val="tx"/>
                    </a:ext>
                  </a:extLst>
                </a:hlinkClick>
              </a:rPr>
              <a:t>https://ourworldindata.org/age-structure</a:t>
            </a:r>
            <a:r>
              <a:rPr lang="en-US">
                <a:solidFill>
                  <a:srgbClr val="000000">
                    <a:lumMod val="50000"/>
                    <a:lumOff val="50000"/>
                  </a:srgbClr>
                </a:solidFill>
                <a:cs typeface="Arial" pitchFamily="34" charset="0"/>
              </a:rPr>
              <a:t>. Accessed 29 August 2024; 2. Heppe-Montero M, et al. </a:t>
            </a:r>
            <a:r>
              <a:rPr lang="en-US" i="1">
                <a:solidFill>
                  <a:srgbClr val="000000">
                    <a:lumMod val="50000"/>
                    <a:lumOff val="50000"/>
                  </a:srgbClr>
                </a:solidFill>
                <a:cs typeface="Arial" pitchFamily="34" charset="0"/>
              </a:rPr>
              <a:t>Int J Environ Res Public Health</a:t>
            </a:r>
            <a:r>
              <a:rPr lang="en-US">
                <a:solidFill>
                  <a:srgbClr val="000000">
                    <a:lumMod val="50000"/>
                    <a:lumOff val="50000"/>
                  </a:srgbClr>
                </a:solidFill>
                <a:cs typeface="Arial" pitchFamily="34" charset="0"/>
              </a:rPr>
              <a:t>. 2022;19(22):14680; 3. CDC. Risk for COVID-19 Infection, Hospitalization, and Death By Age Group. 30 May 2023. </a:t>
            </a:r>
            <a:r>
              <a:rPr lang="en-US">
                <a:solidFill>
                  <a:srgbClr val="000000">
                    <a:lumMod val="50000"/>
                    <a:lumOff val="50000"/>
                  </a:srgbClr>
                </a:solidFill>
                <a:cs typeface="Arial" pitchFamily="34" charset="0"/>
                <a:hlinkClick r:id="rId4">
                  <a:extLst>
                    <a:ext uri="{A12FA001-AC4F-418D-AE19-62706E023703}">
                      <ahyp:hlinkClr xmlns:ahyp="http://schemas.microsoft.com/office/drawing/2018/hyperlinkcolor" val="tx"/>
                    </a:ext>
                  </a:extLst>
                </a:hlinkClick>
              </a:rPr>
              <a:t>https://archive.cdc.gov/www_cdc_gov/coronavirus/2019-ncov/covid-data/investigations-discovery/hospitalization-death-by-age.html</a:t>
            </a:r>
            <a:r>
              <a:rPr lang="en-US">
                <a:solidFill>
                  <a:srgbClr val="000000">
                    <a:lumMod val="50000"/>
                    <a:lumOff val="50000"/>
                  </a:srgbClr>
                </a:solidFill>
                <a:cs typeface="Arial" pitchFamily="34" charset="0"/>
              </a:rPr>
              <a:t>. Accessed 19 August 2024; 4. Grant LR, et al. </a:t>
            </a:r>
            <a:r>
              <a:rPr lang="en-US" i="1">
                <a:solidFill>
                  <a:srgbClr val="000000">
                    <a:lumMod val="50000"/>
                    <a:lumOff val="50000"/>
                  </a:srgbClr>
                </a:solidFill>
                <a:cs typeface="Arial" pitchFamily="34" charset="0"/>
              </a:rPr>
              <a:t>Open Forum Infect Dis</a:t>
            </a:r>
            <a:r>
              <a:rPr lang="en-US">
                <a:solidFill>
                  <a:srgbClr val="000000">
                    <a:lumMod val="50000"/>
                    <a:lumOff val="50000"/>
                  </a:srgbClr>
                </a:solidFill>
                <a:cs typeface="Arial" pitchFamily="34" charset="0"/>
              </a:rPr>
              <a:t>. 2023;10(5):ofad192; 5. Andrew MK, et al. </a:t>
            </a:r>
            <a:r>
              <a:rPr lang="en-US" i="1">
                <a:solidFill>
                  <a:srgbClr val="000000">
                    <a:lumMod val="50000"/>
                    <a:lumOff val="50000"/>
                  </a:srgbClr>
                </a:solidFill>
                <a:cs typeface="Arial" pitchFamily="34" charset="0"/>
              </a:rPr>
              <a:t>Open Forum Infect Dis</a:t>
            </a:r>
            <a:r>
              <a:rPr lang="en-US">
                <a:solidFill>
                  <a:srgbClr val="000000">
                    <a:lumMod val="50000"/>
                    <a:lumOff val="50000"/>
                  </a:srgbClr>
                </a:solidFill>
                <a:cs typeface="Arial" pitchFamily="34" charset="0"/>
              </a:rPr>
              <a:t>. 2023;10(6):ofad244.</a:t>
            </a:r>
          </a:p>
        </p:txBody>
      </p:sp>
      <p:grpSp>
        <p:nvGrpSpPr>
          <p:cNvPr id="6" name="Group 5">
            <a:extLst>
              <a:ext uri="{FF2B5EF4-FFF2-40B4-BE49-F238E27FC236}">
                <a16:creationId xmlns:a16="http://schemas.microsoft.com/office/drawing/2014/main" id="{DB7DECA8-2066-D2E8-050B-D0B6A691E1A7}"/>
              </a:ext>
            </a:extLst>
          </p:cNvPr>
          <p:cNvGrpSpPr/>
          <p:nvPr/>
        </p:nvGrpSpPr>
        <p:grpSpPr>
          <a:xfrm>
            <a:off x="9513903" y="6320005"/>
            <a:ext cx="1895426" cy="453867"/>
            <a:chOff x="9513903" y="6320005"/>
            <a:chExt cx="1895426" cy="453867"/>
          </a:xfrm>
        </p:grpSpPr>
        <p:pic>
          <p:nvPicPr>
            <p:cNvPr id="7" name="Picture 6" descr="A yellow and blue logo&#10;&#10;Description automatically generated">
              <a:extLst>
                <a:ext uri="{FF2B5EF4-FFF2-40B4-BE49-F238E27FC236}">
                  <a16:creationId xmlns:a16="http://schemas.microsoft.com/office/drawing/2014/main" id="{B5054D06-3328-63EB-A12B-59AFDD2C4044}"/>
                </a:ext>
              </a:extLst>
            </p:cNvPr>
            <p:cNvPicPr>
              <a:picLocks noChangeAspect="1"/>
            </p:cNvPicPr>
            <p:nvPr/>
          </p:nvPicPr>
          <p:blipFill>
            <a:blip r:embed="rId5">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8" name="Picture 7" descr="A black and blue logo&#10;&#10;AI-generated content may be incorrect.">
              <a:extLst>
                <a:ext uri="{FF2B5EF4-FFF2-40B4-BE49-F238E27FC236}">
                  <a16:creationId xmlns:a16="http://schemas.microsoft.com/office/drawing/2014/main" id="{D3263776-1ECC-6DC0-CAAB-E27EC89FA433}"/>
                </a:ext>
              </a:extLst>
            </p:cNvPr>
            <p:cNvPicPr>
              <a:picLocks noChangeAspect="1"/>
            </p:cNvPicPr>
            <p:nvPr/>
          </p:nvPicPr>
          <p:blipFill>
            <a:blip r:embed="rId6"/>
            <a:stretch>
              <a:fillRect/>
            </a:stretch>
          </p:blipFill>
          <p:spPr>
            <a:xfrm>
              <a:off x="9513903" y="6494969"/>
              <a:ext cx="981021" cy="204067"/>
            </a:xfrm>
            <a:prstGeom prst="rect">
              <a:avLst/>
            </a:prstGeom>
          </p:spPr>
        </p:pic>
      </p:grpSp>
    </p:spTree>
    <p:extLst>
      <p:ext uri="{BB962C8B-B14F-4D97-AF65-F5344CB8AC3E}">
        <p14:creationId xmlns:p14="http://schemas.microsoft.com/office/powerpoint/2010/main" val="255380768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E3996-70A2-5A32-128A-5561149CD889}"/>
              </a:ext>
            </a:extLst>
          </p:cNvPr>
          <p:cNvSpPr>
            <a:spLocks noGrp="1"/>
          </p:cNvSpPr>
          <p:nvPr>
            <p:ph type="title"/>
          </p:nvPr>
        </p:nvSpPr>
        <p:spPr/>
        <p:txBody>
          <a:bodyPr/>
          <a:lstStyle/>
          <a:p>
            <a:r>
              <a:rPr lang="en-US" sz="3600" b="1" err="1"/>
              <a:t>Özetle</a:t>
            </a:r>
            <a:r>
              <a:rPr lang="en-US" sz="3600" b="1"/>
              <a:t>…</a:t>
            </a:r>
            <a:endParaRPr lang="tr-TR"/>
          </a:p>
        </p:txBody>
      </p:sp>
      <p:sp>
        <p:nvSpPr>
          <p:cNvPr id="3" name="Slide Number Placeholder 2">
            <a:extLst>
              <a:ext uri="{FF2B5EF4-FFF2-40B4-BE49-F238E27FC236}">
                <a16:creationId xmlns:a16="http://schemas.microsoft.com/office/drawing/2014/main" id="{41302286-D2C3-D1A5-3EE8-9F7535A69ACD}"/>
              </a:ext>
            </a:extLst>
          </p:cNvPr>
          <p:cNvSpPr>
            <a:spLocks noGrp="1"/>
          </p:cNvSpPr>
          <p:nvPr>
            <p:ph type="sldNum" sz="quarter" idx="4"/>
          </p:nvPr>
        </p:nvSpPr>
        <p:spPr/>
        <p:txBody>
          <a:bodyPr/>
          <a:lstStyle/>
          <a:p>
            <a:fld id="{03074DEF-F175-4420-8EE3-137377F9872B}" type="slidenum">
              <a:rPr lang="en-US" smtClean="0"/>
              <a:pPr/>
              <a:t>50</a:t>
            </a:fld>
            <a:endParaRPr lang="en-US"/>
          </a:p>
        </p:txBody>
      </p:sp>
      <p:sp>
        <p:nvSpPr>
          <p:cNvPr id="17" name="Content Placeholder 2">
            <a:extLst>
              <a:ext uri="{FF2B5EF4-FFF2-40B4-BE49-F238E27FC236}">
                <a16:creationId xmlns:a16="http://schemas.microsoft.com/office/drawing/2014/main" id="{B686A25E-14C5-9C0D-21C6-1E28AF9A0B77}"/>
              </a:ext>
            </a:extLst>
          </p:cNvPr>
          <p:cNvSpPr txBox="1">
            <a:spLocks/>
          </p:cNvSpPr>
          <p:nvPr/>
        </p:nvSpPr>
        <p:spPr>
          <a:xfrm>
            <a:off x="495002" y="1689410"/>
            <a:ext cx="10515600" cy="4105634"/>
          </a:xfrm>
          <a:prstGeom prst="rect">
            <a:avLst/>
          </a:prstGeom>
        </p:spPr>
        <p:txBody>
          <a:bodyPr>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buFont typeface="Courier New" panose="02070309020205020404" pitchFamily="49" charset="0"/>
              <a:buChar char="o"/>
            </a:pPr>
            <a:r>
              <a:rPr lang="en-US" dirty="0" err="1"/>
              <a:t>Erişkinde</a:t>
            </a:r>
            <a:r>
              <a:rPr lang="en-US" dirty="0"/>
              <a:t> </a:t>
            </a:r>
            <a:r>
              <a:rPr lang="en-US" dirty="0" err="1"/>
              <a:t>en</a:t>
            </a:r>
            <a:r>
              <a:rPr lang="en-US" dirty="0"/>
              <a:t> </a:t>
            </a:r>
            <a:r>
              <a:rPr lang="en-US" dirty="0" err="1"/>
              <a:t>sık</a:t>
            </a:r>
            <a:r>
              <a:rPr lang="en-US" dirty="0"/>
              <a:t> </a:t>
            </a:r>
            <a:r>
              <a:rPr lang="en-US" dirty="0" err="1"/>
              <a:t>görülen</a:t>
            </a:r>
            <a:r>
              <a:rPr lang="en-US" dirty="0"/>
              <a:t> </a:t>
            </a:r>
            <a:r>
              <a:rPr lang="en-US" dirty="0" err="1"/>
              <a:t>pnömokokal</a:t>
            </a:r>
            <a:r>
              <a:rPr lang="en-US" dirty="0"/>
              <a:t> </a:t>
            </a:r>
            <a:r>
              <a:rPr lang="en-US" dirty="0" err="1"/>
              <a:t>hastalık</a:t>
            </a:r>
            <a:r>
              <a:rPr lang="en-US" dirty="0"/>
              <a:t>, </a:t>
            </a:r>
            <a:r>
              <a:rPr lang="en-US" dirty="0" err="1"/>
              <a:t>pnömokokal</a:t>
            </a:r>
            <a:r>
              <a:rPr lang="en-US" dirty="0"/>
              <a:t> </a:t>
            </a:r>
            <a:r>
              <a:rPr lang="en-US" dirty="0" err="1"/>
              <a:t>pnömonidir</a:t>
            </a:r>
            <a:r>
              <a:rPr lang="en-US" dirty="0"/>
              <a:t> </a:t>
            </a:r>
            <a:r>
              <a:rPr lang="en-US" dirty="0" err="1"/>
              <a:t>ve</a:t>
            </a:r>
            <a:r>
              <a:rPr lang="en-US" dirty="0"/>
              <a:t> </a:t>
            </a:r>
            <a:r>
              <a:rPr lang="en-US" dirty="0" err="1"/>
              <a:t>pnömokoklar</a:t>
            </a:r>
            <a:r>
              <a:rPr lang="en-US" dirty="0"/>
              <a:t>, </a:t>
            </a:r>
            <a:r>
              <a:rPr lang="en-US" dirty="0" err="1"/>
              <a:t>toplumda</a:t>
            </a:r>
            <a:r>
              <a:rPr lang="en-US" dirty="0"/>
              <a:t> </a:t>
            </a:r>
            <a:r>
              <a:rPr lang="en-US" dirty="0" err="1"/>
              <a:t>gelişen</a:t>
            </a:r>
            <a:r>
              <a:rPr lang="en-US" dirty="0"/>
              <a:t> </a:t>
            </a:r>
            <a:r>
              <a:rPr lang="en-US" dirty="0" err="1"/>
              <a:t>pnömonilerin</a:t>
            </a:r>
            <a:r>
              <a:rPr lang="en-US" dirty="0"/>
              <a:t> </a:t>
            </a:r>
            <a:r>
              <a:rPr lang="en-US" dirty="0" err="1"/>
              <a:t>başlıca</a:t>
            </a:r>
            <a:r>
              <a:rPr lang="en-US" dirty="0"/>
              <a:t> </a:t>
            </a:r>
            <a:r>
              <a:rPr lang="en-US" dirty="0" err="1"/>
              <a:t>etkenidir</a:t>
            </a:r>
            <a:r>
              <a:rPr lang="en-US" dirty="0"/>
              <a:t>.</a:t>
            </a:r>
            <a:r>
              <a:rPr lang="tr-TR" baseline="30000" dirty="0"/>
              <a:t>1</a:t>
            </a:r>
            <a:endParaRPr lang="en-US" baseline="30000" dirty="0"/>
          </a:p>
          <a:p>
            <a:pPr algn="just">
              <a:lnSpc>
                <a:spcPct val="150000"/>
              </a:lnSpc>
              <a:buFont typeface="Courier New" panose="02070309020205020404" pitchFamily="49" charset="0"/>
              <a:buChar char="o"/>
            </a:pPr>
            <a:endParaRPr lang="tr-TR" i="1" dirty="0">
              <a:cs typeface="Arial" panose="020B0604020202020204" pitchFamily="34" charset="0"/>
            </a:endParaRPr>
          </a:p>
          <a:p>
            <a:pPr algn="just">
              <a:lnSpc>
                <a:spcPct val="150000"/>
              </a:lnSpc>
              <a:buFont typeface="Courier New" panose="02070309020205020404" pitchFamily="49" charset="0"/>
              <a:buChar char="o"/>
            </a:pPr>
            <a:r>
              <a:rPr lang="en-US" i="1" dirty="0">
                <a:cs typeface="Arial" panose="020B0604020202020204" pitchFamily="34" charset="0"/>
              </a:rPr>
              <a:t>S. pneumoniae </a:t>
            </a:r>
            <a:r>
              <a:rPr lang="en-US" dirty="0" err="1">
                <a:cs typeface="Arial" panose="020B0604020202020204" pitchFamily="34" charset="0"/>
              </a:rPr>
              <a:t>kaynaklı</a:t>
            </a:r>
            <a:r>
              <a:rPr lang="en-US" dirty="0">
                <a:cs typeface="Arial" panose="020B0604020202020204" pitchFamily="34" charset="0"/>
              </a:rPr>
              <a:t> (</a:t>
            </a:r>
            <a:r>
              <a:rPr lang="en-US" dirty="0" err="1">
                <a:cs typeface="Arial" panose="020B0604020202020204" pitchFamily="34" charset="0"/>
              </a:rPr>
              <a:t>p</a:t>
            </a:r>
            <a:r>
              <a:rPr lang="en-US" dirty="0" err="1"/>
              <a:t>nömokokal</a:t>
            </a:r>
            <a:r>
              <a:rPr lang="en-US" dirty="0"/>
              <a:t>) </a:t>
            </a:r>
            <a:r>
              <a:rPr lang="en-US" dirty="0" err="1"/>
              <a:t>hastalıklar</a:t>
            </a:r>
            <a:r>
              <a:rPr lang="en-US" dirty="0"/>
              <a:t>, </a:t>
            </a:r>
            <a:r>
              <a:rPr lang="en-US" dirty="0" err="1"/>
              <a:t>tüm</a:t>
            </a:r>
            <a:r>
              <a:rPr lang="en-US" dirty="0"/>
              <a:t> </a:t>
            </a:r>
            <a:r>
              <a:rPr lang="en-US" dirty="0" err="1"/>
              <a:t>dünyada</a:t>
            </a:r>
            <a:r>
              <a:rPr lang="en-US" dirty="0"/>
              <a:t> </a:t>
            </a:r>
            <a:r>
              <a:rPr lang="en-US" dirty="0" err="1"/>
              <a:t>ve</a:t>
            </a:r>
            <a:r>
              <a:rPr lang="en-US" dirty="0"/>
              <a:t> </a:t>
            </a:r>
            <a:r>
              <a:rPr lang="en-US" dirty="0" err="1"/>
              <a:t>ülkemizde</a:t>
            </a:r>
            <a:r>
              <a:rPr lang="en-US" dirty="0"/>
              <a:t> </a:t>
            </a:r>
            <a:r>
              <a:rPr lang="en-US" dirty="0" err="1"/>
              <a:t>önemli</a:t>
            </a:r>
            <a:r>
              <a:rPr lang="en-US" dirty="0"/>
              <a:t> </a:t>
            </a:r>
            <a:r>
              <a:rPr lang="en-US" dirty="0" err="1"/>
              <a:t>bir</a:t>
            </a:r>
            <a:endParaRPr lang="en-US" dirty="0"/>
          </a:p>
          <a:p>
            <a:pPr lvl="1" algn="just">
              <a:lnSpc>
                <a:spcPct val="150000"/>
              </a:lnSpc>
              <a:buFont typeface="Courier New" panose="02070309020205020404" pitchFamily="49" charset="0"/>
              <a:buChar char="o"/>
            </a:pPr>
            <a:r>
              <a:rPr lang="en-US" sz="1800" dirty="0" err="1"/>
              <a:t>Morbidite</a:t>
            </a:r>
            <a:endParaRPr lang="en-US" sz="1800" dirty="0"/>
          </a:p>
          <a:p>
            <a:pPr lvl="1" algn="just">
              <a:lnSpc>
                <a:spcPct val="150000"/>
              </a:lnSpc>
              <a:buFont typeface="Courier New" panose="02070309020205020404" pitchFamily="49" charset="0"/>
              <a:buChar char="o"/>
            </a:pPr>
            <a:r>
              <a:rPr lang="en-US" sz="1800" dirty="0" err="1"/>
              <a:t>hastane</a:t>
            </a:r>
            <a:r>
              <a:rPr lang="en-US" sz="1800" dirty="0"/>
              <a:t> </a:t>
            </a:r>
            <a:r>
              <a:rPr lang="en-US" sz="1800" dirty="0" err="1"/>
              <a:t>ve</a:t>
            </a:r>
            <a:r>
              <a:rPr lang="en-US" sz="1800" dirty="0"/>
              <a:t> </a:t>
            </a:r>
            <a:r>
              <a:rPr lang="en-US" sz="1800" dirty="0" err="1"/>
              <a:t>yoğun</a:t>
            </a:r>
            <a:r>
              <a:rPr lang="en-US" sz="1800" dirty="0"/>
              <a:t> </a:t>
            </a:r>
            <a:r>
              <a:rPr lang="en-US" sz="1800" dirty="0" err="1"/>
              <a:t>bakıma</a:t>
            </a:r>
            <a:r>
              <a:rPr lang="en-US" sz="1800" dirty="0"/>
              <a:t> </a:t>
            </a:r>
            <a:r>
              <a:rPr lang="en-US" sz="1800" dirty="0" err="1"/>
              <a:t>yatış</a:t>
            </a:r>
            <a:endParaRPr lang="en-US" sz="1800" dirty="0"/>
          </a:p>
          <a:p>
            <a:pPr lvl="1" algn="just">
              <a:lnSpc>
                <a:spcPct val="150000"/>
              </a:lnSpc>
              <a:buFont typeface="Courier New" panose="02070309020205020404" pitchFamily="49" charset="0"/>
              <a:buChar char="o"/>
            </a:pPr>
            <a:r>
              <a:rPr lang="en-US" sz="1800" dirty="0" err="1"/>
              <a:t>tedavi</a:t>
            </a:r>
            <a:r>
              <a:rPr lang="en-US" sz="1800" dirty="0"/>
              <a:t> </a:t>
            </a:r>
            <a:r>
              <a:rPr lang="en-US" sz="1800" dirty="0" err="1"/>
              <a:t>maliyeti</a:t>
            </a:r>
            <a:endParaRPr lang="en-US" sz="1800" dirty="0"/>
          </a:p>
          <a:p>
            <a:pPr lvl="1" algn="just">
              <a:lnSpc>
                <a:spcPct val="150000"/>
              </a:lnSpc>
              <a:buFont typeface="Courier New" panose="02070309020205020404" pitchFamily="49" charset="0"/>
              <a:buChar char="o"/>
            </a:pPr>
            <a:r>
              <a:rPr lang="en-US" sz="1800" dirty="0" err="1"/>
              <a:t>iş</a:t>
            </a:r>
            <a:r>
              <a:rPr lang="en-US" sz="1800" dirty="0"/>
              <a:t> </a:t>
            </a:r>
            <a:r>
              <a:rPr lang="en-US" sz="1800" dirty="0" err="1"/>
              <a:t>gücü</a:t>
            </a:r>
            <a:r>
              <a:rPr lang="en-US" sz="1800" dirty="0"/>
              <a:t> </a:t>
            </a:r>
            <a:r>
              <a:rPr lang="en-US" sz="1800" dirty="0" err="1"/>
              <a:t>kaybı</a:t>
            </a:r>
            <a:r>
              <a:rPr lang="en-US" sz="1800" dirty="0"/>
              <a:t> </a:t>
            </a:r>
            <a:r>
              <a:rPr lang="en-US" sz="1800" dirty="0" err="1"/>
              <a:t>ve</a:t>
            </a:r>
            <a:r>
              <a:rPr lang="en-US" sz="1800" dirty="0"/>
              <a:t> </a:t>
            </a:r>
            <a:r>
              <a:rPr lang="en-US" sz="1800" dirty="0" err="1"/>
              <a:t>mortalite</a:t>
            </a:r>
            <a:r>
              <a:rPr lang="en-US" sz="1800" dirty="0"/>
              <a:t> </a:t>
            </a:r>
            <a:r>
              <a:rPr lang="en-US" sz="1800" dirty="0" err="1"/>
              <a:t>nedenidir</a:t>
            </a:r>
            <a:r>
              <a:rPr lang="en-US" sz="1800" dirty="0"/>
              <a:t>.</a:t>
            </a:r>
            <a:r>
              <a:rPr lang="tr-TR" sz="1800" baseline="30000" dirty="0"/>
              <a:t>2,3</a:t>
            </a:r>
            <a:endParaRPr lang="en-US" sz="1800" baseline="30000" dirty="0"/>
          </a:p>
        </p:txBody>
      </p:sp>
      <p:sp>
        <p:nvSpPr>
          <p:cNvPr id="18" name="Text Placeholder 1">
            <a:extLst>
              <a:ext uri="{FF2B5EF4-FFF2-40B4-BE49-F238E27FC236}">
                <a16:creationId xmlns:a16="http://schemas.microsoft.com/office/drawing/2014/main" id="{3C7D1809-3E5C-708E-8B50-FC0112322598}"/>
              </a:ext>
            </a:extLst>
          </p:cNvPr>
          <p:cNvSpPr txBox="1">
            <a:spLocks/>
          </p:cNvSpPr>
          <p:nvPr/>
        </p:nvSpPr>
        <p:spPr>
          <a:xfrm>
            <a:off x="335360" y="5621437"/>
            <a:ext cx="11521280" cy="347214"/>
          </a:xfrm>
          <a:prstGeom prst="rect">
            <a:avLst/>
          </a:prstGeom>
        </p:spPr>
        <p:txBody>
          <a:bodyPr/>
          <a:lstStyle/>
          <a:p>
            <a:pPr marL="228600" indent="-228600">
              <a:buFont typeface="+mj-lt"/>
              <a:buAutoNum type="arabicPeriod"/>
              <a:defRPr/>
            </a:pPr>
            <a:r>
              <a:rPr kumimoji="0" lang="en-US" altLang="en-US" sz="900" b="0" i="0" u="none" strike="noStrike" kern="1200" cap="none" spc="0" normalizeH="0" baseline="0" noProof="0" dirty="0">
                <a:ln>
                  <a:noFill/>
                </a:ln>
                <a:solidFill>
                  <a:prstClr val="black">
                    <a:lumMod val="50000"/>
                    <a:lumOff val="50000"/>
                  </a:prstClr>
                </a:solidFill>
                <a:effectLst/>
                <a:uLnTx/>
                <a:uFillTx/>
                <a:latin typeface="Calibri"/>
                <a:ea typeface="+mn-ea"/>
                <a:cs typeface="Arial" pitchFamily="34" charset="0"/>
              </a:rPr>
              <a:t>Centers for Disease Control and Prevention. Pneumococcal disease. In: Hamborsky J, Kroger A, Wolfe S, eds. </a:t>
            </a:r>
            <a:r>
              <a:rPr kumimoji="0" lang="en-US" altLang="en-US" sz="900" b="0" i="1" u="none" strike="noStrike" kern="1200" cap="none" spc="0" normalizeH="0" baseline="0" noProof="0" dirty="0">
                <a:ln>
                  <a:noFill/>
                </a:ln>
                <a:solidFill>
                  <a:prstClr val="black">
                    <a:lumMod val="50000"/>
                    <a:lumOff val="50000"/>
                  </a:prstClr>
                </a:solidFill>
                <a:effectLst/>
                <a:uLnTx/>
                <a:uFillTx/>
                <a:latin typeface="Calibri"/>
                <a:ea typeface="+mn-ea"/>
                <a:cs typeface="Arial" pitchFamily="34" charset="0"/>
              </a:rPr>
              <a:t>Epidemiology and Prevention of Vaccine-Preventable Diseases</a:t>
            </a:r>
            <a:r>
              <a:rPr kumimoji="0" lang="en-US" altLang="en-US" sz="900" b="0" i="0" u="none" strike="noStrike" kern="1200" cap="none" spc="0" normalizeH="0" baseline="0" noProof="0" dirty="0">
                <a:ln>
                  <a:noFill/>
                </a:ln>
                <a:solidFill>
                  <a:prstClr val="black">
                    <a:lumMod val="50000"/>
                    <a:lumOff val="50000"/>
                  </a:prstClr>
                </a:solidFill>
                <a:effectLst/>
                <a:uLnTx/>
                <a:uFillTx/>
                <a:latin typeface="Calibri"/>
                <a:ea typeface="+mn-ea"/>
                <a:cs typeface="Arial" pitchFamily="34" charset="0"/>
              </a:rPr>
              <a:t>. 13th ed. Washington, DC: Public Health Foundation; 2015. </a:t>
            </a:r>
            <a:endParaRPr kumimoji="0" lang="tr-TR" altLang="en-US" sz="900" b="0" i="0" u="none" strike="noStrike" kern="1200" cap="none" spc="0" normalizeH="0" baseline="0" noProof="0" dirty="0">
              <a:ln>
                <a:noFill/>
              </a:ln>
              <a:solidFill>
                <a:prstClr val="black">
                  <a:lumMod val="50000"/>
                  <a:lumOff val="50000"/>
                </a:prstClr>
              </a:solidFill>
              <a:effectLst/>
              <a:uLnTx/>
              <a:uFillTx/>
              <a:latin typeface="Calibri"/>
              <a:ea typeface="+mn-ea"/>
              <a:cs typeface="Arial" pitchFamily="34" charset="0"/>
            </a:endParaRPr>
          </a:p>
          <a:p>
            <a:pPr marL="228600" indent="-228600">
              <a:buFont typeface="+mj-lt"/>
              <a:buAutoNum type="arabicPeriod"/>
              <a:defRPr/>
            </a:pPr>
            <a:r>
              <a:rPr kumimoji="0" lang="en-US" altLang="en-US" sz="900" b="0" i="0" u="none" strike="noStrike" kern="1200" cap="none" spc="0" normalizeH="0" baseline="0" noProof="0" dirty="0">
                <a:ln>
                  <a:noFill/>
                </a:ln>
                <a:solidFill>
                  <a:prstClr val="black">
                    <a:lumMod val="50000"/>
                    <a:lumOff val="50000"/>
                  </a:prstClr>
                </a:solidFill>
                <a:effectLst/>
                <a:uLnTx/>
                <a:uFillTx/>
                <a:latin typeface="Calibri"/>
                <a:ea typeface="+mn-ea"/>
                <a:cs typeface="Arial" pitchFamily="34" charset="0"/>
              </a:rPr>
              <a:t>Huang SS, et al. </a:t>
            </a:r>
            <a:r>
              <a:rPr kumimoji="0" lang="en-US" altLang="en-US" sz="900" b="0" i="1" u="none" strike="noStrike" kern="1200" cap="none" spc="0" normalizeH="0" baseline="0" noProof="0" dirty="0">
                <a:ln>
                  <a:noFill/>
                </a:ln>
                <a:solidFill>
                  <a:prstClr val="black">
                    <a:lumMod val="50000"/>
                    <a:lumOff val="50000"/>
                  </a:prstClr>
                </a:solidFill>
                <a:effectLst/>
                <a:uLnTx/>
                <a:uFillTx/>
                <a:latin typeface="Calibri"/>
                <a:ea typeface="+mn-ea"/>
                <a:cs typeface="Arial" pitchFamily="34" charset="0"/>
              </a:rPr>
              <a:t>Vaccine. </a:t>
            </a:r>
            <a:r>
              <a:rPr kumimoji="0" lang="en-US" altLang="en-US" sz="900" b="0" i="0" u="none" strike="noStrike" kern="1200" cap="none" spc="0" normalizeH="0" baseline="0" noProof="0" dirty="0">
                <a:ln>
                  <a:noFill/>
                </a:ln>
                <a:solidFill>
                  <a:prstClr val="black">
                    <a:lumMod val="50000"/>
                    <a:lumOff val="50000"/>
                  </a:prstClr>
                </a:solidFill>
                <a:effectLst/>
                <a:uLnTx/>
                <a:uFillTx/>
                <a:latin typeface="Calibri"/>
                <a:ea typeface="+mn-ea"/>
                <a:cs typeface="Arial" pitchFamily="34" charset="0"/>
              </a:rPr>
              <a:t>2011;29:3398-3412. </a:t>
            </a:r>
            <a:r>
              <a:rPr kumimoji="0" lang="en-US" altLang="en-US" sz="900" b="1" i="0" u="none" strike="noStrike" kern="1200" cap="none" spc="0" normalizeH="0" baseline="0" noProof="0" dirty="0">
                <a:ln>
                  <a:noFill/>
                </a:ln>
                <a:solidFill>
                  <a:prstClr val="black">
                    <a:lumMod val="50000"/>
                    <a:lumOff val="50000"/>
                  </a:prstClr>
                </a:solidFill>
                <a:effectLst/>
                <a:uLnTx/>
                <a:uFillTx/>
                <a:latin typeface="Calibri"/>
                <a:ea typeface="+mn-ea"/>
                <a:cs typeface="Arial" pitchFamily="34" charset="0"/>
              </a:rPr>
              <a:t>3.</a:t>
            </a:r>
            <a:r>
              <a:rPr kumimoji="0" lang="en-US" altLang="en-US" sz="900" b="0" i="0" u="none" strike="noStrike" kern="1200" cap="none" spc="0" normalizeH="0" baseline="0" noProof="0" dirty="0">
                <a:ln>
                  <a:noFill/>
                </a:ln>
                <a:solidFill>
                  <a:prstClr val="black">
                    <a:lumMod val="50000"/>
                    <a:lumOff val="50000"/>
                  </a:prstClr>
                </a:solidFill>
                <a:effectLst/>
                <a:uLnTx/>
                <a:uFillTx/>
                <a:latin typeface="Calibri"/>
                <a:ea typeface="+mn-ea"/>
                <a:cs typeface="Arial" pitchFamily="34" charset="0"/>
              </a:rPr>
              <a:t> Said MA, et al. </a:t>
            </a:r>
            <a:r>
              <a:rPr kumimoji="0" lang="en-US" altLang="en-US" sz="900" b="0" i="1" u="none" strike="noStrike" kern="1200" cap="none" spc="0" normalizeH="0" baseline="0" noProof="0" dirty="0" err="1">
                <a:ln>
                  <a:noFill/>
                </a:ln>
                <a:solidFill>
                  <a:prstClr val="black">
                    <a:lumMod val="50000"/>
                    <a:lumOff val="50000"/>
                  </a:prstClr>
                </a:solidFill>
                <a:effectLst/>
                <a:uLnTx/>
                <a:uFillTx/>
                <a:latin typeface="Calibri"/>
                <a:ea typeface="+mn-ea"/>
                <a:cs typeface="Arial" pitchFamily="34" charset="0"/>
              </a:rPr>
              <a:t>PLoS</a:t>
            </a:r>
            <a:r>
              <a:rPr kumimoji="0" lang="en-US" altLang="en-US" sz="900" b="0" i="1" u="none" strike="noStrike" kern="1200" cap="none" spc="0" normalizeH="0" baseline="0" noProof="0" dirty="0">
                <a:ln>
                  <a:noFill/>
                </a:ln>
                <a:solidFill>
                  <a:prstClr val="black">
                    <a:lumMod val="50000"/>
                    <a:lumOff val="50000"/>
                  </a:prstClr>
                </a:solidFill>
                <a:effectLst/>
                <a:uLnTx/>
                <a:uFillTx/>
                <a:latin typeface="Calibri"/>
                <a:ea typeface="+mn-ea"/>
                <a:cs typeface="Arial" pitchFamily="34" charset="0"/>
              </a:rPr>
              <a:t> One</a:t>
            </a:r>
            <a:r>
              <a:rPr kumimoji="0" lang="en-US" altLang="en-US" sz="900" b="0" i="0" u="none" strike="noStrike" kern="1200" cap="none" spc="0" normalizeH="0" baseline="0" noProof="0" dirty="0">
                <a:ln>
                  <a:noFill/>
                </a:ln>
                <a:solidFill>
                  <a:prstClr val="black">
                    <a:lumMod val="50000"/>
                    <a:lumOff val="50000"/>
                  </a:prstClr>
                </a:solidFill>
                <a:effectLst/>
                <a:uLnTx/>
                <a:uFillTx/>
                <a:latin typeface="Calibri"/>
                <a:ea typeface="+mn-ea"/>
                <a:cs typeface="Arial" pitchFamily="34" charset="0"/>
              </a:rPr>
              <a:t>. 2013;8:e60273. </a:t>
            </a:r>
            <a:endParaRPr kumimoji="0" lang="tr-TR" altLang="en-US" sz="900" b="0" i="0" u="none" strike="noStrike" kern="1200" cap="none" spc="0" normalizeH="0" baseline="0" noProof="0" dirty="0">
              <a:ln>
                <a:noFill/>
              </a:ln>
              <a:solidFill>
                <a:prstClr val="black">
                  <a:lumMod val="50000"/>
                  <a:lumOff val="50000"/>
                </a:prstClr>
              </a:solidFill>
              <a:effectLst/>
              <a:uLnTx/>
              <a:uFillTx/>
              <a:latin typeface="Calibri"/>
              <a:ea typeface="+mn-ea"/>
              <a:cs typeface="Arial" pitchFamily="34" charset="0"/>
            </a:endParaRPr>
          </a:p>
          <a:p>
            <a:pPr marL="228600" indent="-228600">
              <a:buFont typeface="+mj-lt"/>
              <a:buAutoNum type="arabicPeriod"/>
              <a:defRPr/>
            </a:pPr>
            <a:r>
              <a:rPr lang="en-US" sz="900" dirty="0">
                <a:solidFill>
                  <a:schemeClr val="tx1">
                    <a:lumMod val="65000"/>
                    <a:lumOff val="35000"/>
                  </a:schemeClr>
                </a:solidFill>
                <a:latin typeface="Calibri" panose="020F0502020204030204" pitchFamily="34" charset="0"/>
              </a:rPr>
              <a:t>Filiz Kosar, Devrim Emel </a:t>
            </a:r>
            <a:r>
              <a:rPr lang="en-US" sz="900" dirty="0" err="1">
                <a:solidFill>
                  <a:schemeClr val="tx1">
                    <a:lumMod val="65000"/>
                    <a:lumOff val="35000"/>
                  </a:schemeClr>
                </a:solidFill>
                <a:latin typeface="Calibri" panose="020F0502020204030204" pitchFamily="34" charset="0"/>
              </a:rPr>
              <a:t>Alici</a:t>
            </a:r>
            <a:r>
              <a:rPr lang="en-US" sz="900" dirty="0">
                <a:solidFill>
                  <a:schemeClr val="tx1">
                    <a:lumMod val="65000"/>
                    <a:lumOff val="35000"/>
                  </a:schemeClr>
                </a:solidFill>
                <a:latin typeface="Calibri" panose="020F0502020204030204" pitchFamily="34" charset="0"/>
              </a:rPr>
              <a:t>, Basak Hacibedel, Burcu </a:t>
            </a:r>
            <a:r>
              <a:rPr lang="en-US" sz="900" dirty="0" err="1">
                <a:solidFill>
                  <a:schemeClr val="tx1">
                    <a:lumMod val="65000"/>
                    <a:lumOff val="35000"/>
                  </a:schemeClr>
                </a:solidFill>
                <a:latin typeface="Calibri" panose="020F0502020204030204" pitchFamily="34" charset="0"/>
              </a:rPr>
              <a:t>Arpınar</a:t>
            </a:r>
            <a:r>
              <a:rPr lang="en-US" sz="900" dirty="0">
                <a:solidFill>
                  <a:schemeClr val="tx1">
                    <a:lumMod val="65000"/>
                    <a:lumOff val="35000"/>
                  </a:schemeClr>
                </a:solidFill>
                <a:latin typeface="Calibri" panose="020F0502020204030204" pitchFamily="34" charset="0"/>
              </a:rPr>
              <a:t> </a:t>
            </a:r>
            <a:r>
              <a:rPr lang="en-US" sz="900" dirty="0" err="1">
                <a:solidFill>
                  <a:schemeClr val="tx1">
                    <a:lumMod val="65000"/>
                    <a:lumOff val="35000"/>
                  </a:schemeClr>
                </a:solidFill>
                <a:latin typeface="Calibri" panose="020F0502020204030204" pitchFamily="34" charset="0"/>
              </a:rPr>
              <a:t>Yigitbas</a:t>
            </a:r>
            <a:r>
              <a:rPr lang="en-US" sz="900" dirty="0">
                <a:solidFill>
                  <a:schemeClr val="tx1">
                    <a:lumMod val="65000"/>
                    <a:lumOff val="35000"/>
                  </a:schemeClr>
                </a:solidFill>
                <a:latin typeface="Calibri" panose="020F0502020204030204" pitchFamily="34" charset="0"/>
              </a:rPr>
              <a:t>,</a:t>
            </a:r>
            <a:r>
              <a:rPr lang="tr-TR" sz="900" dirty="0">
                <a:solidFill>
                  <a:schemeClr val="tx1">
                    <a:lumMod val="65000"/>
                    <a:lumOff val="35000"/>
                  </a:schemeClr>
                </a:solidFill>
                <a:latin typeface="Calibri" panose="020F0502020204030204" pitchFamily="34" charset="0"/>
              </a:rPr>
              <a:t> </a:t>
            </a:r>
            <a:r>
              <a:rPr lang="en-US" sz="900" dirty="0">
                <a:solidFill>
                  <a:schemeClr val="tx1">
                    <a:lumMod val="65000"/>
                    <a:lumOff val="35000"/>
                  </a:schemeClr>
                </a:solidFill>
                <a:latin typeface="Calibri" panose="020F0502020204030204" pitchFamily="34" charset="0"/>
              </a:rPr>
              <a:t>Pejman </a:t>
            </a:r>
            <a:r>
              <a:rPr lang="en-US" sz="900" dirty="0" err="1">
                <a:solidFill>
                  <a:schemeClr val="tx1">
                    <a:lumMod val="65000"/>
                    <a:lumOff val="35000"/>
                  </a:schemeClr>
                </a:solidFill>
                <a:latin typeface="Calibri" panose="020F0502020204030204" pitchFamily="34" charset="0"/>
              </a:rPr>
              <a:t>Golabi</a:t>
            </a:r>
            <a:r>
              <a:rPr lang="en-US" sz="900" dirty="0">
                <a:solidFill>
                  <a:schemeClr val="tx1">
                    <a:lumMod val="65000"/>
                    <a:lumOff val="35000"/>
                  </a:schemeClr>
                </a:solidFill>
                <a:latin typeface="Calibri" panose="020F0502020204030204" pitchFamily="34" charset="0"/>
              </a:rPr>
              <a:t> &amp; Caglar </a:t>
            </a:r>
            <a:r>
              <a:rPr lang="en-US" sz="900" dirty="0" err="1">
                <a:solidFill>
                  <a:schemeClr val="tx1">
                    <a:lumMod val="65000"/>
                    <a:lumOff val="35000"/>
                  </a:schemeClr>
                </a:solidFill>
                <a:latin typeface="Calibri" panose="020F0502020204030204" pitchFamily="34" charset="0"/>
              </a:rPr>
              <a:t>Cuhadaroglu</a:t>
            </a:r>
            <a:r>
              <a:rPr lang="en-US" sz="900" dirty="0">
                <a:solidFill>
                  <a:schemeClr val="tx1">
                    <a:lumMod val="65000"/>
                    <a:lumOff val="35000"/>
                  </a:schemeClr>
                </a:solidFill>
                <a:latin typeface="Calibri" panose="020F0502020204030204" pitchFamily="34" charset="0"/>
              </a:rPr>
              <a:t> (2017): Burden of </a:t>
            </a:r>
            <a:r>
              <a:rPr lang="tr-TR" sz="900" dirty="0">
                <a:solidFill>
                  <a:schemeClr val="tx1">
                    <a:lumMod val="65000"/>
                    <a:lumOff val="35000"/>
                  </a:schemeClr>
                </a:solidFill>
                <a:latin typeface="Calibri" panose="020F0502020204030204" pitchFamily="34" charset="0"/>
              </a:rPr>
              <a:t> </a:t>
            </a:r>
            <a:r>
              <a:rPr lang="en-US" sz="900" dirty="0">
                <a:solidFill>
                  <a:schemeClr val="tx1">
                    <a:lumMod val="65000"/>
                    <a:lumOff val="35000"/>
                  </a:schemeClr>
                </a:solidFill>
                <a:latin typeface="Calibri" panose="020F0502020204030204" pitchFamily="34" charset="0"/>
              </a:rPr>
              <a:t>community-acquired pneumonia in adults</a:t>
            </a:r>
            <a:r>
              <a:rPr lang="tr-TR" sz="900" dirty="0">
                <a:solidFill>
                  <a:schemeClr val="tx1">
                    <a:lumMod val="65000"/>
                    <a:lumOff val="35000"/>
                  </a:schemeClr>
                </a:solidFill>
                <a:latin typeface="Calibri" panose="020F0502020204030204" pitchFamily="34" charset="0"/>
              </a:rPr>
              <a:t> </a:t>
            </a:r>
            <a:r>
              <a:rPr lang="en-US" sz="900" dirty="0">
                <a:solidFill>
                  <a:schemeClr val="tx1">
                    <a:lumMod val="65000"/>
                    <a:lumOff val="35000"/>
                  </a:schemeClr>
                </a:solidFill>
                <a:latin typeface="Calibri" panose="020F0502020204030204" pitchFamily="34" charset="0"/>
              </a:rPr>
              <a:t>over 18 y of age, Human Vaccines &amp; Immunotherapeutics, DOI: 10.1080/21645515.2017.1300730</a:t>
            </a:r>
          </a:p>
        </p:txBody>
      </p:sp>
      <p:pic>
        <p:nvPicPr>
          <p:cNvPr id="4" name="Picture 3" descr="A yellow and blue logo&#10;&#10;Description automatically generated">
            <a:extLst>
              <a:ext uri="{FF2B5EF4-FFF2-40B4-BE49-F238E27FC236}">
                <a16:creationId xmlns:a16="http://schemas.microsoft.com/office/drawing/2014/main" id="{C686C323-7EE5-B3AC-20FA-5321D884F383}"/>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40382117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8F5260-8838-79A9-8610-6A123D1B00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14457C-5BDD-E2AF-8967-D6C8FE65441F}"/>
              </a:ext>
            </a:extLst>
          </p:cNvPr>
          <p:cNvSpPr>
            <a:spLocks noGrp="1"/>
          </p:cNvSpPr>
          <p:nvPr>
            <p:ph type="title"/>
          </p:nvPr>
        </p:nvSpPr>
        <p:spPr>
          <a:xfrm>
            <a:off x="613152" y="221942"/>
            <a:ext cx="10969218" cy="815898"/>
          </a:xfrm>
        </p:spPr>
        <p:txBody>
          <a:bodyPr anchor="ctr">
            <a:normAutofit/>
          </a:bodyPr>
          <a:lstStyle/>
          <a:p>
            <a:r>
              <a:rPr lang="en-US" sz="3200" dirty="0">
                <a:solidFill>
                  <a:srgbClr val="FFFFFF"/>
                </a:solidFill>
              </a:rPr>
              <a:t>AJANDA</a:t>
            </a:r>
            <a:endParaRPr lang="tr-TR" sz="3200" dirty="0">
              <a:solidFill>
                <a:schemeClr val="bg1"/>
              </a:solidFill>
            </a:endParaRPr>
          </a:p>
        </p:txBody>
      </p:sp>
      <p:sp>
        <p:nvSpPr>
          <p:cNvPr id="3" name="Slide Number Placeholder 2">
            <a:extLst>
              <a:ext uri="{FF2B5EF4-FFF2-40B4-BE49-F238E27FC236}">
                <a16:creationId xmlns:a16="http://schemas.microsoft.com/office/drawing/2014/main" id="{F209EE1A-9394-389A-25F3-FDF7B9C33CD4}"/>
              </a:ext>
            </a:extLst>
          </p:cNvPr>
          <p:cNvSpPr>
            <a:spLocks noGrp="1"/>
          </p:cNvSpPr>
          <p:nvPr>
            <p:ph type="sldNum" sz="quarter" idx="4"/>
          </p:nvPr>
        </p:nvSpPr>
        <p:spPr/>
        <p:txBody>
          <a:bodyPr/>
          <a:lstStyle/>
          <a:p>
            <a:fld id="{2B39012A-6F33-204B-8224-A57BEFB0AAD0}" type="slidenum">
              <a:rPr lang="en-US" smtClean="0"/>
              <a:pPr/>
              <a:t>51</a:t>
            </a:fld>
            <a:endParaRPr lang="en-US"/>
          </a:p>
        </p:txBody>
      </p:sp>
      <p:pic>
        <p:nvPicPr>
          <p:cNvPr id="20" name="Picture 19" descr="A yellow and blue logo&#10;&#10;Description automatically generated">
            <a:extLst>
              <a:ext uri="{FF2B5EF4-FFF2-40B4-BE49-F238E27FC236}">
                <a16:creationId xmlns:a16="http://schemas.microsoft.com/office/drawing/2014/main" id="{3E3639FC-692D-0837-FBA2-0BB484578655}"/>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21" name="Picture 20" descr="A black and blue logo&#10;&#10;AI-generated content may be incorrect.">
            <a:extLst>
              <a:ext uri="{FF2B5EF4-FFF2-40B4-BE49-F238E27FC236}">
                <a16:creationId xmlns:a16="http://schemas.microsoft.com/office/drawing/2014/main" id="{E171127B-3F1D-0CE1-E59B-958DB8A7719F}"/>
              </a:ext>
            </a:extLst>
          </p:cNvPr>
          <p:cNvPicPr>
            <a:picLocks noChangeAspect="1"/>
          </p:cNvPicPr>
          <p:nvPr/>
        </p:nvPicPr>
        <p:blipFill>
          <a:blip r:embed="rId3"/>
          <a:stretch>
            <a:fillRect/>
          </a:stretch>
        </p:blipFill>
        <p:spPr>
          <a:xfrm>
            <a:off x="9513903" y="6494969"/>
            <a:ext cx="981021" cy="204067"/>
          </a:xfrm>
          <a:prstGeom prst="rect">
            <a:avLst/>
          </a:prstGeom>
        </p:spPr>
      </p:pic>
      <p:grpSp>
        <p:nvGrpSpPr>
          <p:cNvPr id="39" name="Group 38">
            <a:extLst>
              <a:ext uri="{FF2B5EF4-FFF2-40B4-BE49-F238E27FC236}">
                <a16:creationId xmlns:a16="http://schemas.microsoft.com/office/drawing/2014/main" id="{A9BAEC70-B0BA-9136-7418-3D9C210C98C4}"/>
              </a:ext>
            </a:extLst>
          </p:cNvPr>
          <p:cNvGrpSpPr/>
          <p:nvPr/>
        </p:nvGrpSpPr>
        <p:grpSpPr>
          <a:xfrm>
            <a:off x="3305060" y="1496242"/>
            <a:ext cx="8681292" cy="773339"/>
            <a:chOff x="3305060" y="1496242"/>
            <a:chExt cx="8681292" cy="773339"/>
          </a:xfrm>
        </p:grpSpPr>
        <p:grpSp>
          <p:nvGrpSpPr>
            <p:cNvPr id="13" name="Google Shape;674;p30">
              <a:extLst>
                <a:ext uri="{FF2B5EF4-FFF2-40B4-BE49-F238E27FC236}">
                  <a16:creationId xmlns:a16="http://schemas.microsoft.com/office/drawing/2014/main" id="{9F6F95CA-08AE-41D9-C75C-AA0A289958ED}"/>
                </a:ext>
              </a:extLst>
            </p:cNvPr>
            <p:cNvGrpSpPr/>
            <p:nvPr/>
          </p:nvGrpSpPr>
          <p:grpSpPr>
            <a:xfrm>
              <a:off x="3305060" y="1496242"/>
              <a:ext cx="8681292" cy="773339"/>
              <a:chOff x="485966" y="2196110"/>
              <a:chExt cx="8681292" cy="773339"/>
            </a:xfrm>
          </p:grpSpPr>
          <p:sp>
            <p:nvSpPr>
              <p:cNvPr id="14" name="Google Shape;675;p30">
                <a:extLst>
                  <a:ext uri="{FF2B5EF4-FFF2-40B4-BE49-F238E27FC236}">
                    <a16:creationId xmlns:a16="http://schemas.microsoft.com/office/drawing/2014/main" id="{55333B93-5D4A-ECDC-87AA-80137DC4C8D1}"/>
                  </a:ext>
                </a:extLst>
              </p:cNvPr>
              <p:cNvSpPr/>
              <p:nvPr/>
            </p:nvSpPr>
            <p:spPr>
              <a:xfrm>
                <a:off x="875153" y="2196237"/>
                <a:ext cx="8292105" cy="773085"/>
              </a:xfrm>
              <a:prstGeom prst="roundRect">
                <a:avLst/>
              </a:prstGeom>
              <a:solidFill>
                <a:schemeClr val="bg1"/>
              </a:solidFill>
              <a:ln w="19050">
                <a:solidFill>
                  <a:schemeClr val="accent2"/>
                </a:solid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15" name="Google Shape;678;p30">
                <a:extLst>
                  <a:ext uri="{FF2B5EF4-FFF2-40B4-BE49-F238E27FC236}">
                    <a16:creationId xmlns:a16="http://schemas.microsoft.com/office/drawing/2014/main" id="{80D92F71-CAFE-1496-A283-0A36E007C7B0}"/>
                  </a:ext>
                </a:extLst>
              </p:cNvPr>
              <p:cNvSpPr/>
              <p:nvPr/>
            </p:nvSpPr>
            <p:spPr>
              <a:xfrm>
                <a:off x="485966" y="2196110"/>
                <a:ext cx="773085" cy="773339"/>
              </a:xfrm>
              <a:custGeom>
                <a:avLst/>
                <a:gdLst/>
                <a:ahLst/>
                <a:cxnLst/>
                <a:rect l="l" t="t" r="r" b="b"/>
                <a:pathLst>
                  <a:path w="36505" h="36517" extrusionOk="0">
                    <a:moveTo>
                      <a:pt x="18253" y="0"/>
                    </a:moveTo>
                    <a:cubicBezTo>
                      <a:pt x="8168" y="0"/>
                      <a:pt x="1" y="8180"/>
                      <a:pt x="1" y="18253"/>
                    </a:cubicBezTo>
                    <a:cubicBezTo>
                      <a:pt x="1" y="28337"/>
                      <a:pt x="8168" y="36517"/>
                      <a:pt x="18253" y="36517"/>
                    </a:cubicBezTo>
                    <a:cubicBezTo>
                      <a:pt x="28326" y="36517"/>
                      <a:pt x="36505" y="28337"/>
                      <a:pt x="36505" y="18253"/>
                    </a:cubicBezTo>
                    <a:cubicBezTo>
                      <a:pt x="36505" y="8180"/>
                      <a:pt x="28326" y="0"/>
                      <a:pt x="18253" y="0"/>
                    </a:cubicBez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16" name="Google Shape;679;p30">
                <a:extLst>
                  <a:ext uri="{FF2B5EF4-FFF2-40B4-BE49-F238E27FC236}">
                    <a16:creationId xmlns:a16="http://schemas.microsoft.com/office/drawing/2014/main" id="{C84F3A31-41AF-111F-B75C-E3065C327D43}"/>
                  </a:ext>
                </a:extLst>
              </p:cNvPr>
              <p:cNvSpPr/>
              <p:nvPr/>
            </p:nvSpPr>
            <p:spPr>
              <a:xfrm>
                <a:off x="547993" y="2258392"/>
                <a:ext cx="648794" cy="648773"/>
              </a:xfrm>
              <a:custGeom>
                <a:avLst/>
                <a:gdLst/>
                <a:ahLst/>
                <a:cxnLst/>
                <a:rect l="l" t="t" r="r" b="b"/>
                <a:pathLst>
                  <a:path w="30636" h="30635" extrusionOk="0">
                    <a:moveTo>
                      <a:pt x="15324" y="0"/>
                    </a:moveTo>
                    <a:cubicBezTo>
                      <a:pt x="6858" y="0"/>
                      <a:pt x="0" y="6858"/>
                      <a:pt x="0" y="15312"/>
                    </a:cubicBezTo>
                    <a:cubicBezTo>
                      <a:pt x="0" y="23777"/>
                      <a:pt x="6858" y="30635"/>
                      <a:pt x="15324" y="30635"/>
                    </a:cubicBezTo>
                    <a:cubicBezTo>
                      <a:pt x="23777" y="30635"/>
                      <a:pt x="30635" y="23777"/>
                      <a:pt x="30635" y="15312"/>
                    </a:cubicBezTo>
                    <a:cubicBezTo>
                      <a:pt x="30635" y="6858"/>
                      <a:pt x="23777" y="0"/>
                      <a:pt x="15324" y="0"/>
                    </a:cubicBezTo>
                    <a:close/>
                  </a:path>
                </a:pathLst>
              </a:cu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endParaRPr sz="1600"/>
              </a:p>
            </p:txBody>
          </p:sp>
        </p:grpSp>
        <p:sp>
          <p:nvSpPr>
            <p:cNvPr id="17" name="TextBox 16">
              <a:extLst>
                <a:ext uri="{FF2B5EF4-FFF2-40B4-BE49-F238E27FC236}">
                  <a16:creationId xmlns:a16="http://schemas.microsoft.com/office/drawing/2014/main" id="{772D0464-5C57-0D38-221B-159A6A1DD6BD}"/>
                </a:ext>
              </a:extLst>
            </p:cNvPr>
            <p:cNvSpPr txBox="1"/>
            <p:nvPr/>
          </p:nvSpPr>
          <p:spPr>
            <a:xfrm>
              <a:off x="4263514" y="1555899"/>
              <a:ext cx="7194028" cy="654025"/>
            </a:xfrm>
            <a:prstGeom prst="rect">
              <a:avLst/>
            </a:prstGeom>
            <a:noFill/>
          </p:spPr>
          <p:txBody>
            <a:bodyPr wrap="square">
              <a:spAutoFit/>
            </a:bodyPr>
            <a:lstStyle/>
            <a:p>
              <a:pPr marL="0" marR="0" lvl="1" indent="0" algn="l" defTabSz="914400" rtl="0" eaLnBrk="1" fontAlgn="auto" latinLnBrk="0" hangingPunct="1">
                <a:lnSpc>
                  <a:spcPct val="90000"/>
                </a:lnSpc>
                <a:spcBef>
                  <a:spcPts val="0"/>
                </a:spcBef>
                <a:spcAft>
                  <a:spcPts val="0"/>
                </a:spcAft>
                <a:buClrTx/>
                <a:buSzTx/>
                <a:buFontTx/>
                <a:buNone/>
                <a:tabLst/>
                <a:defRPr/>
              </a:pPr>
              <a:r>
                <a:rPr kumimoji="0" lang="tr-TR" sz="2000" b="0" i="0" u="none" strike="noStrike" kern="1200" cap="none" spc="0" normalizeH="0" baseline="0" noProof="0" dirty="0">
                  <a:ln>
                    <a:noFill/>
                  </a:ln>
                  <a:solidFill>
                    <a:srgbClr val="000000"/>
                  </a:solidFill>
                  <a:effectLst/>
                  <a:uLnTx/>
                  <a:uFillTx/>
                  <a:ea typeface="+mn-ea"/>
                  <a:cs typeface="+mn-cs"/>
                </a:rPr>
                <a:t>Yaygın Solunum Yolu Enfeksiyonlarının Epidemiyolojisi ve Klinik Özellikleri</a:t>
              </a:r>
            </a:p>
          </p:txBody>
        </p:sp>
        <p:sp>
          <p:nvSpPr>
            <p:cNvPr id="30" name="TextBox 29">
              <a:extLst>
                <a:ext uri="{FF2B5EF4-FFF2-40B4-BE49-F238E27FC236}">
                  <a16:creationId xmlns:a16="http://schemas.microsoft.com/office/drawing/2014/main" id="{95C60168-EF2D-DF65-CA71-EE4933E31F6D}"/>
                </a:ext>
              </a:extLst>
            </p:cNvPr>
            <p:cNvSpPr txBox="1"/>
            <p:nvPr/>
          </p:nvSpPr>
          <p:spPr>
            <a:xfrm>
              <a:off x="3403531" y="1559746"/>
              <a:ext cx="571565" cy="646331"/>
            </a:xfrm>
            <a:prstGeom prst="rect">
              <a:avLst/>
            </a:prstGeom>
            <a:noFill/>
          </p:spPr>
          <p:txBody>
            <a:bodyPr wrap="square" rtlCol="0" anchor="ctr">
              <a:spAutoFit/>
            </a:bodyPr>
            <a:lstStyle/>
            <a:p>
              <a:pPr algn="ctr"/>
              <a:r>
                <a:rPr lang="tr-TR"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rPr>
                <a:t>1</a:t>
              </a:r>
              <a:endParaRPr lang="en-GB"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endParaRPr>
            </a:p>
          </p:txBody>
        </p:sp>
      </p:grpSp>
      <p:grpSp>
        <p:nvGrpSpPr>
          <p:cNvPr id="40" name="Group 39">
            <a:extLst>
              <a:ext uri="{FF2B5EF4-FFF2-40B4-BE49-F238E27FC236}">
                <a16:creationId xmlns:a16="http://schemas.microsoft.com/office/drawing/2014/main" id="{22E46327-88DC-6CBE-663C-10BECAE54CB2}"/>
              </a:ext>
            </a:extLst>
          </p:cNvPr>
          <p:cNvGrpSpPr/>
          <p:nvPr/>
        </p:nvGrpSpPr>
        <p:grpSpPr>
          <a:xfrm>
            <a:off x="3305060" y="2593624"/>
            <a:ext cx="8681292" cy="773339"/>
            <a:chOff x="3367087" y="2608884"/>
            <a:chExt cx="8681292" cy="773339"/>
          </a:xfrm>
        </p:grpSpPr>
        <p:grpSp>
          <p:nvGrpSpPr>
            <p:cNvPr id="18" name="Google Shape;674;p30">
              <a:extLst>
                <a:ext uri="{FF2B5EF4-FFF2-40B4-BE49-F238E27FC236}">
                  <a16:creationId xmlns:a16="http://schemas.microsoft.com/office/drawing/2014/main" id="{A0603559-EFA2-0C10-5C69-7B92C4D2AAEE}"/>
                </a:ext>
              </a:extLst>
            </p:cNvPr>
            <p:cNvGrpSpPr/>
            <p:nvPr/>
          </p:nvGrpSpPr>
          <p:grpSpPr>
            <a:xfrm>
              <a:off x="3367087" y="2608884"/>
              <a:ext cx="8681292" cy="773339"/>
              <a:chOff x="485966" y="2196110"/>
              <a:chExt cx="8681292" cy="773339"/>
            </a:xfrm>
          </p:grpSpPr>
          <p:sp>
            <p:nvSpPr>
              <p:cNvPr id="19" name="Google Shape;675;p30">
                <a:extLst>
                  <a:ext uri="{FF2B5EF4-FFF2-40B4-BE49-F238E27FC236}">
                    <a16:creationId xmlns:a16="http://schemas.microsoft.com/office/drawing/2014/main" id="{A0A6F50A-C341-CEF7-C365-8CC3C20EE82C}"/>
                  </a:ext>
                </a:extLst>
              </p:cNvPr>
              <p:cNvSpPr/>
              <p:nvPr/>
            </p:nvSpPr>
            <p:spPr>
              <a:xfrm>
                <a:off x="875153" y="2196237"/>
                <a:ext cx="8292105" cy="773085"/>
              </a:xfrm>
              <a:prstGeom prst="roundRect">
                <a:avLst/>
              </a:prstGeom>
              <a:solidFill>
                <a:schemeClr val="bg1"/>
              </a:solidFill>
              <a:ln w="19050">
                <a:solidFill>
                  <a:schemeClr val="accent2"/>
                </a:solid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22" name="Google Shape;678;p30">
                <a:extLst>
                  <a:ext uri="{FF2B5EF4-FFF2-40B4-BE49-F238E27FC236}">
                    <a16:creationId xmlns:a16="http://schemas.microsoft.com/office/drawing/2014/main" id="{849A62D4-51F1-F281-47E6-B1656D5FE55B}"/>
                  </a:ext>
                </a:extLst>
              </p:cNvPr>
              <p:cNvSpPr/>
              <p:nvPr/>
            </p:nvSpPr>
            <p:spPr>
              <a:xfrm>
                <a:off x="485966" y="2196110"/>
                <a:ext cx="773085" cy="773339"/>
              </a:xfrm>
              <a:custGeom>
                <a:avLst/>
                <a:gdLst/>
                <a:ahLst/>
                <a:cxnLst/>
                <a:rect l="l" t="t" r="r" b="b"/>
                <a:pathLst>
                  <a:path w="36505" h="36517" extrusionOk="0">
                    <a:moveTo>
                      <a:pt x="18253" y="0"/>
                    </a:moveTo>
                    <a:cubicBezTo>
                      <a:pt x="8168" y="0"/>
                      <a:pt x="1" y="8180"/>
                      <a:pt x="1" y="18253"/>
                    </a:cubicBezTo>
                    <a:cubicBezTo>
                      <a:pt x="1" y="28337"/>
                      <a:pt x="8168" y="36517"/>
                      <a:pt x="18253" y="36517"/>
                    </a:cubicBezTo>
                    <a:cubicBezTo>
                      <a:pt x="28326" y="36517"/>
                      <a:pt x="36505" y="28337"/>
                      <a:pt x="36505" y="18253"/>
                    </a:cubicBezTo>
                    <a:cubicBezTo>
                      <a:pt x="36505" y="8180"/>
                      <a:pt x="28326" y="0"/>
                      <a:pt x="18253" y="0"/>
                    </a:cubicBez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23" name="Google Shape;679;p30">
                <a:extLst>
                  <a:ext uri="{FF2B5EF4-FFF2-40B4-BE49-F238E27FC236}">
                    <a16:creationId xmlns:a16="http://schemas.microsoft.com/office/drawing/2014/main" id="{39EBBF58-9698-A016-EB4F-AE46DF9F8410}"/>
                  </a:ext>
                </a:extLst>
              </p:cNvPr>
              <p:cNvSpPr/>
              <p:nvPr/>
            </p:nvSpPr>
            <p:spPr>
              <a:xfrm>
                <a:off x="547993" y="2258392"/>
                <a:ext cx="648794" cy="648773"/>
              </a:xfrm>
              <a:custGeom>
                <a:avLst/>
                <a:gdLst/>
                <a:ahLst/>
                <a:cxnLst/>
                <a:rect l="l" t="t" r="r" b="b"/>
                <a:pathLst>
                  <a:path w="30636" h="30635" extrusionOk="0">
                    <a:moveTo>
                      <a:pt x="15324" y="0"/>
                    </a:moveTo>
                    <a:cubicBezTo>
                      <a:pt x="6858" y="0"/>
                      <a:pt x="0" y="6858"/>
                      <a:pt x="0" y="15312"/>
                    </a:cubicBezTo>
                    <a:cubicBezTo>
                      <a:pt x="0" y="23777"/>
                      <a:pt x="6858" y="30635"/>
                      <a:pt x="15324" y="30635"/>
                    </a:cubicBezTo>
                    <a:cubicBezTo>
                      <a:pt x="23777" y="30635"/>
                      <a:pt x="30635" y="23777"/>
                      <a:pt x="30635" y="15312"/>
                    </a:cubicBezTo>
                    <a:cubicBezTo>
                      <a:pt x="30635" y="6858"/>
                      <a:pt x="23777" y="0"/>
                      <a:pt x="15324" y="0"/>
                    </a:cubicBezTo>
                    <a:close/>
                  </a:path>
                </a:pathLst>
              </a:cu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endParaRPr sz="1600"/>
              </a:p>
            </p:txBody>
          </p:sp>
        </p:grpSp>
        <p:sp>
          <p:nvSpPr>
            <p:cNvPr id="24" name="TextBox 23">
              <a:extLst>
                <a:ext uri="{FF2B5EF4-FFF2-40B4-BE49-F238E27FC236}">
                  <a16:creationId xmlns:a16="http://schemas.microsoft.com/office/drawing/2014/main" id="{32057E61-5297-F757-233F-743C791913DD}"/>
                </a:ext>
              </a:extLst>
            </p:cNvPr>
            <p:cNvSpPr txBox="1"/>
            <p:nvPr/>
          </p:nvSpPr>
          <p:spPr>
            <a:xfrm>
              <a:off x="4325541" y="2668541"/>
              <a:ext cx="7722838" cy="654025"/>
            </a:xfrm>
            <a:prstGeom prst="rect">
              <a:avLst/>
            </a:prstGeom>
            <a:noFill/>
          </p:spPr>
          <p:txBody>
            <a:bodyPr wrap="square">
              <a:spAutoFit/>
            </a:bodyPr>
            <a:lstStyle/>
            <a:p>
              <a:pPr marL="0" lvl="1" defTabSz="914400">
                <a:lnSpc>
                  <a:spcPct val="90000"/>
                </a:lnSpc>
                <a:defRPr/>
              </a:pPr>
              <a:r>
                <a:rPr kumimoji="0" lang="tr-TR" sz="2000" b="0" i="0" u="none" strike="noStrike" kern="1200" cap="none" spc="0" normalizeH="0" baseline="0" noProof="0" dirty="0">
                  <a:ln>
                    <a:noFill/>
                  </a:ln>
                  <a:effectLst/>
                  <a:uLnTx/>
                  <a:uFillTx/>
                  <a:ea typeface="+mn-ea"/>
                  <a:cs typeface="+mn-cs"/>
                </a:rPr>
                <a:t>RSV’ye Genel Bakış, Klinik Özellikleri ve </a:t>
              </a:r>
              <a:r>
                <a:rPr kumimoji="0" lang="en-US" sz="2000" b="0" i="0" u="none" strike="noStrike" kern="1200" cap="none" spc="0" normalizeH="0" baseline="0" noProof="0" dirty="0" err="1">
                  <a:ln>
                    <a:noFill/>
                  </a:ln>
                  <a:effectLst/>
                  <a:uLnTx/>
                  <a:uFillTx/>
                  <a:ea typeface="+mn-ea"/>
                  <a:cs typeface="+mn-cs"/>
                </a:rPr>
                <a:t>İleri</a:t>
              </a:r>
              <a:r>
                <a:rPr kumimoji="0" lang="en-US" sz="2000" b="0" i="0" u="none" strike="noStrike" kern="1200" cap="none" spc="0" normalizeH="0" baseline="0" noProof="0" dirty="0">
                  <a:ln>
                    <a:noFill/>
                  </a:ln>
                  <a:effectLst/>
                  <a:uLnTx/>
                  <a:uFillTx/>
                  <a:ea typeface="+mn-ea"/>
                  <a:cs typeface="+mn-cs"/>
                </a:rPr>
                <a:t> </a:t>
              </a:r>
              <a:r>
                <a:rPr kumimoji="0" lang="en-US" sz="2000" b="0" i="0" u="none" strike="noStrike" kern="1200" cap="none" spc="0" normalizeH="0" baseline="0" noProof="0" dirty="0" err="1">
                  <a:ln>
                    <a:noFill/>
                  </a:ln>
                  <a:effectLst/>
                  <a:uLnTx/>
                  <a:uFillTx/>
                  <a:ea typeface="+mn-ea"/>
                  <a:cs typeface="+mn-cs"/>
                </a:rPr>
                <a:t>Yaş</a:t>
              </a:r>
              <a:r>
                <a:rPr kumimoji="0" lang="en-US" sz="2000" b="0" i="0" u="none" strike="noStrike" kern="1200" cap="none" spc="0" normalizeH="0" baseline="0" noProof="0" dirty="0">
                  <a:ln>
                    <a:noFill/>
                  </a:ln>
                  <a:effectLst/>
                  <a:uLnTx/>
                  <a:uFillTx/>
                  <a:ea typeface="+mn-ea"/>
                  <a:cs typeface="+mn-cs"/>
                </a:rPr>
                <a:t> </a:t>
              </a:r>
              <a:r>
                <a:rPr kumimoji="0" lang="en-US" sz="2000" b="0" i="0" u="none" strike="noStrike" kern="1200" cap="none" spc="0" normalizeH="0" baseline="0" noProof="0" dirty="0" err="1">
                  <a:ln>
                    <a:noFill/>
                  </a:ln>
                  <a:effectLst/>
                  <a:uLnTx/>
                  <a:uFillTx/>
                  <a:ea typeface="+mn-ea"/>
                  <a:cs typeface="+mn-cs"/>
                </a:rPr>
                <a:t>Erişkinlerde</a:t>
              </a:r>
              <a:r>
                <a:rPr kumimoji="0" lang="en-US" sz="2000" b="0" i="0" u="none" strike="noStrike" kern="1200" cap="none" spc="0" normalizeH="0" baseline="0" noProof="0" dirty="0">
                  <a:ln>
                    <a:noFill/>
                  </a:ln>
                  <a:effectLst/>
                  <a:uLnTx/>
                  <a:uFillTx/>
                  <a:ea typeface="+mn-ea"/>
                  <a:cs typeface="+mn-cs"/>
                </a:rPr>
                <a:t> </a:t>
              </a:r>
              <a:r>
                <a:rPr kumimoji="0" lang="tr-TR" sz="2000" b="0" i="0" u="none" strike="noStrike" kern="1200" cap="none" spc="0" normalizeH="0" baseline="0" noProof="0" dirty="0">
                  <a:ln>
                    <a:noFill/>
                  </a:ln>
                  <a:effectLst/>
                  <a:uLnTx/>
                  <a:uFillTx/>
                  <a:ea typeface="+mn-ea"/>
                  <a:cs typeface="+mn-cs"/>
                </a:rPr>
                <a:t>Hastalık Yükü</a:t>
              </a:r>
              <a:endParaRPr kumimoji="0" lang="en-US" sz="2000" b="0" i="0" u="none" strike="noStrike" kern="1200" cap="none" spc="0" normalizeH="0" baseline="0" noProof="0" dirty="0">
                <a:ln>
                  <a:noFill/>
                </a:ln>
                <a:effectLst/>
                <a:uLnTx/>
                <a:uFillTx/>
                <a:ea typeface="+mn-ea"/>
                <a:cs typeface="+mn-cs"/>
              </a:endParaRPr>
            </a:p>
          </p:txBody>
        </p:sp>
        <p:sp>
          <p:nvSpPr>
            <p:cNvPr id="31" name="TextBox 30">
              <a:extLst>
                <a:ext uri="{FF2B5EF4-FFF2-40B4-BE49-F238E27FC236}">
                  <a16:creationId xmlns:a16="http://schemas.microsoft.com/office/drawing/2014/main" id="{A1DA83FC-E9D1-4EFE-9775-485DCD3C8478}"/>
                </a:ext>
              </a:extLst>
            </p:cNvPr>
            <p:cNvSpPr txBox="1"/>
            <p:nvPr/>
          </p:nvSpPr>
          <p:spPr>
            <a:xfrm>
              <a:off x="3465848" y="2672388"/>
              <a:ext cx="571565" cy="646331"/>
            </a:xfrm>
            <a:prstGeom prst="rect">
              <a:avLst/>
            </a:prstGeom>
            <a:noFill/>
          </p:spPr>
          <p:txBody>
            <a:bodyPr wrap="square" rtlCol="0" anchor="ctr">
              <a:spAutoFit/>
            </a:bodyPr>
            <a:lstStyle/>
            <a:p>
              <a:pPr algn="ctr"/>
              <a:r>
                <a:rPr lang="tr-TR"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rPr>
                <a:t>2</a:t>
              </a:r>
              <a:endParaRPr lang="en-GB"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endParaRPr>
            </a:p>
          </p:txBody>
        </p:sp>
      </p:grpSp>
      <p:grpSp>
        <p:nvGrpSpPr>
          <p:cNvPr id="41" name="Group 40">
            <a:extLst>
              <a:ext uri="{FF2B5EF4-FFF2-40B4-BE49-F238E27FC236}">
                <a16:creationId xmlns:a16="http://schemas.microsoft.com/office/drawing/2014/main" id="{7E854B4F-D16F-BF0F-9987-9B54EFA37E5A}"/>
              </a:ext>
            </a:extLst>
          </p:cNvPr>
          <p:cNvGrpSpPr/>
          <p:nvPr/>
        </p:nvGrpSpPr>
        <p:grpSpPr>
          <a:xfrm>
            <a:off x="3305060" y="3691006"/>
            <a:ext cx="8681292" cy="773339"/>
            <a:chOff x="3367087" y="3690453"/>
            <a:chExt cx="8681292" cy="773339"/>
          </a:xfrm>
        </p:grpSpPr>
        <p:grpSp>
          <p:nvGrpSpPr>
            <p:cNvPr id="25" name="Google Shape;674;p30">
              <a:extLst>
                <a:ext uri="{FF2B5EF4-FFF2-40B4-BE49-F238E27FC236}">
                  <a16:creationId xmlns:a16="http://schemas.microsoft.com/office/drawing/2014/main" id="{9F47D819-32BA-3B0F-3CB0-395ACB94970A}"/>
                </a:ext>
              </a:extLst>
            </p:cNvPr>
            <p:cNvGrpSpPr/>
            <p:nvPr/>
          </p:nvGrpSpPr>
          <p:grpSpPr>
            <a:xfrm>
              <a:off x="3367087" y="3690453"/>
              <a:ext cx="8681292" cy="773339"/>
              <a:chOff x="485966" y="2196110"/>
              <a:chExt cx="8681292" cy="773339"/>
            </a:xfrm>
          </p:grpSpPr>
          <p:sp>
            <p:nvSpPr>
              <p:cNvPr id="26" name="Google Shape;675;p30">
                <a:extLst>
                  <a:ext uri="{FF2B5EF4-FFF2-40B4-BE49-F238E27FC236}">
                    <a16:creationId xmlns:a16="http://schemas.microsoft.com/office/drawing/2014/main" id="{F55B40A4-6205-6F02-204E-E05614B89183}"/>
                  </a:ext>
                </a:extLst>
              </p:cNvPr>
              <p:cNvSpPr/>
              <p:nvPr/>
            </p:nvSpPr>
            <p:spPr>
              <a:xfrm>
                <a:off x="875153" y="2196237"/>
                <a:ext cx="8292105" cy="773085"/>
              </a:xfrm>
              <a:prstGeom prst="roundRect">
                <a:avLst/>
              </a:prstGeom>
              <a:solidFill>
                <a:schemeClr val="bg1"/>
              </a:solidFill>
              <a:ln w="19050">
                <a:solidFill>
                  <a:schemeClr val="accent2"/>
                </a:solid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27" name="Google Shape;678;p30">
                <a:extLst>
                  <a:ext uri="{FF2B5EF4-FFF2-40B4-BE49-F238E27FC236}">
                    <a16:creationId xmlns:a16="http://schemas.microsoft.com/office/drawing/2014/main" id="{023F028F-4F67-E036-6BF7-D4DD352C5400}"/>
                  </a:ext>
                </a:extLst>
              </p:cNvPr>
              <p:cNvSpPr/>
              <p:nvPr/>
            </p:nvSpPr>
            <p:spPr>
              <a:xfrm>
                <a:off x="485966" y="2196110"/>
                <a:ext cx="773085" cy="773339"/>
              </a:xfrm>
              <a:custGeom>
                <a:avLst/>
                <a:gdLst/>
                <a:ahLst/>
                <a:cxnLst/>
                <a:rect l="l" t="t" r="r" b="b"/>
                <a:pathLst>
                  <a:path w="36505" h="36517" extrusionOk="0">
                    <a:moveTo>
                      <a:pt x="18253" y="0"/>
                    </a:moveTo>
                    <a:cubicBezTo>
                      <a:pt x="8168" y="0"/>
                      <a:pt x="1" y="8180"/>
                      <a:pt x="1" y="18253"/>
                    </a:cubicBezTo>
                    <a:cubicBezTo>
                      <a:pt x="1" y="28337"/>
                      <a:pt x="8168" y="36517"/>
                      <a:pt x="18253" y="36517"/>
                    </a:cubicBezTo>
                    <a:cubicBezTo>
                      <a:pt x="28326" y="36517"/>
                      <a:pt x="36505" y="28337"/>
                      <a:pt x="36505" y="18253"/>
                    </a:cubicBezTo>
                    <a:cubicBezTo>
                      <a:pt x="36505" y="8180"/>
                      <a:pt x="28326" y="0"/>
                      <a:pt x="18253" y="0"/>
                    </a:cubicBez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28" name="Google Shape;679;p30">
                <a:extLst>
                  <a:ext uri="{FF2B5EF4-FFF2-40B4-BE49-F238E27FC236}">
                    <a16:creationId xmlns:a16="http://schemas.microsoft.com/office/drawing/2014/main" id="{52B5AD66-5CAC-E467-E34E-BA3C187A3BD3}"/>
                  </a:ext>
                </a:extLst>
              </p:cNvPr>
              <p:cNvSpPr/>
              <p:nvPr/>
            </p:nvSpPr>
            <p:spPr>
              <a:xfrm>
                <a:off x="547993" y="2258392"/>
                <a:ext cx="648794" cy="648773"/>
              </a:xfrm>
              <a:custGeom>
                <a:avLst/>
                <a:gdLst/>
                <a:ahLst/>
                <a:cxnLst/>
                <a:rect l="l" t="t" r="r" b="b"/>
                <a:pathLst>
                  <a:path w="30636" h="30635" extrusionOk="0">
                    <a:moveTo>
                      <a:pt x="15324" y="0"/>
                    </a:moveTo>
                    <a:cubicBezTo>
                      <a:pt x="6858" y="0"/>
                      <a:pt x="0" y="6858"/>
                      <a:pt x="0" y="15312"/>
                    </a:cubicBezTo>
                    <a:cubicBezTo>
                      <a:pt x="0" y="23777"/>
                      <a:pt x="6858" y="30635"/>
                      <a:pt x="15324" y="30635"/>
                    </a:cubicBezTo>
                    <a:cubicBezTo>
                      <a:pt x="23777" y="30635"/>
                      <a:pt x="30635" y="23777"/>
                      <a:pt x="30635" y="15312"/>
                    </a:cubicBezTo>
                    <a:cubicBezTo>
                      <a:pt x="30635" y="6858"/>
                      <a:pt x="23777" y="0"/>
                      <a:pt x="15324" y="0"/>
                    </a:cubicBezTo>
                    <a:close/>
                  </a:path>
                </a:pathLst>
              </a:cu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endParaRPr sz="1600"/>
              </a:p>
            </p:txBody>
          </p:sp>
        </p:grpSp>
        <p:sp>
          <p:nvSpPr>
            <p:cNvPr id="29" name="TextBox 28">
              <a:extLst>
                <a:ext uri="{FF2B5EF4-FFF2-40B4-BE49-F238E27FC236}">
                  <a16:creationId xmlns:a16="http://schemas.microsoft.com/office/drawing/2014/main" id="{AB49225C-0E5B-D0C2-F982-5820B34114F0}"/>
                </a:ext>
              </a:extLst>
            </p:cNvPr>
            <p:cNvSpPr txBox="1"/>
            <p:nvPr/>
          </p:nvSpPr>
          <p:spPr>
            <a:xfrm>
              <a:off x="4325541" y="3888609"/>
              <a:ext cx="7194028" cy="377026"/>
            </a:xfrm>
            <a:prstGeom prst="rect">
              <a:avLst/>
            </a:prstGeom>
            <a:noFill/>
          </p:spPr>
          <p:txBody>
            <a:bodyPr wrap="square">
              <a:spAutoFit/>
            </a:bodyPr>
            <a:lstStyle/>
            <a:p>
              <a:pPr marL="0" lvl="1" defTabSz="914400">
                <a:lnSpc>
                  <a:spcPct val="90000"/>
                </a:lnSpc>
                <a:defRPr/>
              </a:pPr>
              <a:r>
                <a:rPr lang="tr-TR" sz="2000" dirty="0"/>
                <a:t>İleri Yaşta Pnömokok </a:t>
              </a:r>
              <a:r>
                <a:rPr lang="en-US" sz="2000" dirty="0" err="1"/>
                <a:t>Hastalık</a:t>
              </a:r>
              <a:r>
                <a:rPr lang="en-US" sz="2000" dirty="0"/>
                <a:t> </a:t>
              </a:r>
              <a:r>
                <a:rPr lang="en-US" sz="2000" dirty="0" err="1"/>
                <a:t>Yükü</a:t>
              </a:r>
              <a:r>
                <a:rPr lang="en-US" sz="2000" dirty="0"/>
                <a:t> </a:t>
              </a:r>
              <a:r>
                <a:rPr lang="tr-TR" sz="2000" dirty="0"/>
                <a:t>ve Önemi</a:t>
              </a:r>
              <a:endParaRPr lang="en-US" sz="2000" dirty="0"/>
            </a:p>
          </p:txBody>
        </p:sp>
        <p:sp>
          <p:nvSpPr>
            <p:cNvPr id="32" name="TextBox 31">
              <a:extLst>
                <a:ext uri="{FF2B5EF4-FFF2-40B4-BE49-F238E27FC236}">
                  <a16:creationId xmlns:a16="http://schemas.microsoft.com/office/drawing/2014/main" id="{C3A0427F-3FC8-2C57-3B7F-ED801D7687AD}"/>
                </a:ext>
              </a:extLst>
            </p:cNvPr>
            <p:cNvSpPr txBox="1"/>
            <p:nvPr/>
          </p:nvSpPr>
          <p:spPr>
            <a:xfrm>
              <a:off x="3465848" y="3753957"/>
              <a:ext cx="571565" cy="646331"/>
            </a:xfrm>
            <a:prstGeom prst="rect">
              <a:avLst/>
            </a:prstGeom>
            <a:noFill/>
          </p:spPr>
          <p:txBody>
            <a:bodyPr wrap="square" rtlCol="0" anchor="ctr">
              <a:spAutoFit/>
            </a:bodyPr>
            <a:lstStyle/>
            <a:p>
              <a:pPr algn="ctr"/>
              <a:r>
                <a:rPr lang="tr-TR"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rPr>
                <a:t>3</a:t>
              </a:r>
              <a:endParaRPr lang="en-GB"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endParaRPr>
            </a:p>
          </p:txBody>
        </p:sp>
      </p:grpSp>
      <p:grpSp>
        <p:nvGrpSpPr>
          <p:cNvPr id="42" name="Group 41">
            <a:extLst>
              <a:ext uri="{FF2B5EF4-FFF2-40B4-BE49-F238E27FC236}">
                <a16:creationId xmlns:a16="http://schemas.microsoft.com/office/drawing/2014/main" id="{9DF2F808-880E-5031-E018-C33A8BDD6E35}"/>
              </a:ext>
            </a:extLst>
          </p:cNvPr>
          <p:cNvGrpSpPr/>
          <p:nvPr/>
        </p:nvGrpSpPr>
        <p:grpSpPr>
          <a:xfrm>
            <a:off x="3305060" y="4788389"/>
            <a:ext cx="8681292" cy="773339"/>
            <a:chOff x="3429114" y="4788389"/>
            <a:chExt cx="8681292" cy="773339"/>
          </a:xfrm>
        </p:grpSpPr>
        <p:grpSp>
          <p:nvGrpSpPr>
            <p:cNvPr id="33" name="Google Shape;674;p30">
              <a:extLst>
                <a:ext uri="{FF2B5EF4-FFF2-40B4-BE49-F238E27FC236}">
                  <a16:creationId xmlns:a16="http://schemas.microsoft.com/office/drawing/2014/main" id="{C1C6F9BD-D40C-7ABA-6CDA-CE1F3714BB62}"/>
                </a:ext>
              </a:extLst>
            </p:cNvPr>
            <p:cNvGrpSpPr/>
            <p:nvPr/>
          </p:nvGrpSpPr>
          <p:grpSpPr>
            <a:xfrm>
              <a:off x="3429114" y="4788389"/>
              <a:ext cx="8681292" cy="773339"/>
              <a:chOff x="485966" y="2196110"/>
              <a:chExt cx="8681292" cy="773339"/>
            </a:xfrm>
          </p:grpSpPr>
          <p:sp>
            <p:nvSpPr>
              <p:cNvPr id="34" name="Google Shape;675;p30">
                <a:extLst>
                  <a:ext uri="{FF2B5EF4-FFF2-40B4-BE49-F238E27FC236}">
                    <a16:creationId xmlns:a16="http://schemas.microsoft.com/office/drawing/2014/main" id="{94570E5A-C19C-F154-29ED-BFF172DB7C81}"/>
                  </a:ext>
                </a:extLst>
              </p:cNvPr>
              <p:cNvSpPr/>
              <p:nvPr/>
            </p:nvSpPr>
            <p:spPr>
              <a:xfrm>
                <a:off x="875153" y="2196237"/>
                <a:ext cx="8292105" cy="773085"/>
              </a:xfrm>
              <a:prstGeom prst="roundRect">
                <a:avLst/>
              </a:prstGeom>
              <a:solidFill>
                <a:schemeClr val="bg1"/>
              </a:solidFill>
              <a:ln w="19050">
                <a:solidFill>
                  <a:schemeClr val="accent2"/>
                </a:solid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35" name="Google Shape;678;p30">
                <a:extLst>
                  <a:ext uri="{FF2B5EF4-FFF2-40B4-BE49-F238E27FC236}">
                    <a16:creationId xmlns:a16="http://schemas.microsoft.com/office/drawing/2014/main" id="{1B44812B-5983-5622-3418-35F1ABBDBD1C}"/>
                  </a:ext>
                </a:extLst>
              </p:cNvPr>
              <p:cNvSpPr/>
              <p:nvPr/>
            </p:nvSpPr>
            <p:spPr>
              <a:xfrm>
                <a:off x="485966" y="2196110"/>
                <a:ext cx="773085" cy="773339"/>
              </a:xfrm>
              <a:custGeom>
                <a:avLst/>
                <a:gdLst/>
                <a:ahLst/>
                <a:cxnLst/>
                <a:rect l="l" t="t" r="r" b="b"/>
                <a:pathLst>
                  <a:path w="36505" h="36517" extrusionOk="0">
                    <a:moveTo>
                      <a:pt x="18253" y="0"/>
                    </a:moveTo>
                    <a:cubicBezTo>
                      <a:pt x="8168" y="0"/>
                      <a:pt x="1" y="8180"/>
                      <a:pt x="1" y="18253"/>
                    </a:cubicBezTo>
                    <a:cubicBezTo>
                      <a:pt x="1" y="28337"/>
                      <a:pt x="8168" y="36517"/>
                      <a:pt x="18253" y="36517"/>
                    </a:cubicBezTo>
                    <a:cubicBezTo>
                      <a:pt x="28326" y="36517"/>
                      <a:pt x="36505" y="28337"/>
                      <a:pt x="36505" y="18253"/>
                    </a:cubicBezTo>
                    <a:cubicBezTo>
                      <a:pt x="36505" y="8180"/>
                      <a:pt x="28326" y="0"/>
                      <a:pt x="18253" y="0"/>
                    </a:cubicBez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36" name="Google Shape;679;p30">
                <a:extLst>
                  <a:ext uri="{FF2B5EF4-FFF2-40B4-BE49-F238E27FC236}">
                    <a16:creationId xmlns:a16="http://schemas.microsoft.com/office/drawing/2014/main" id="{7E4D34A1-B779-9367-4237-48091561AA58}"/>
                  </a:ext>
                </a:extLst>
              </p:cNvPr>
              <p:cNvSpPr/>
              <p:nvPr/>
            </p:nvSpPr>
            <p:spPr>
              <a:xfrm>
                <a:off x="547993" y="2258392"/>
                <a:ext cx="648794" cy="648773"/>
              </a:xfrm>
              <a:custGeom>
                <a:avLst/>
                <a:gdLst/>
                <a:ahLst/>
                <a:cxnLst/>
                <a:rect l="l" t="t" r="r" b="b"/>
                <a:pathLst>
                  <a:path w="30636" h="30635" extrusionOk="0">
                    <a:moveTo>
                      <a:pt x="15324" y="0"/>
                    </a:moveTo>
                    <a:cubicBezTo>
                      <a:pt x="6858" y="0"/>
                      <a:pt x="0" y="6858"/>
                      <a:pt x="0" y="15312"/>
                    </a:cubicBezTo>
                    <a:cubicBezTo>
                      <a:pt x="0" y="23777"/>
                      <a:pt x="6858" y="30635"/>
                      <a:pt x="15324" y="30635"/>
                    </a:cubicBezTo>
                    <a:cubicBezTo>
                      <a:pt x="23777" y="30635"/>
                      <a:pt x="30635" y="23777"/>
                      <a:pt x="30635" y="15312"/>
                    </a:cubicBezTo>
                    <a:cubicBezTo>
                      <a:pt x="30635" y="6858"/>
                      <a:pt x="23777" y="0"/>
                      <a:pt x="15324" y="0"/>
                    </a:cubicBezTo>
                    <a:close/>
                  </a:path>
                </a:pathLst>
              </a:cu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endParaRPr sz="1600"/>
              </a:p>
            </p:txBody>
          </p:sp>
        </p:grpSp>
        <p:sp>
          <p:nvSpPr>
            <p:cNvPr id="37" name="TextBox 36">
              <a:extLst>
                <a:ext uri="{FF2B5EF4-FFF2-40B4-BE49-F238E27FC236}">
                  <a16:creationId xmlns:a16="http://schemas.microsoft.com/office/drawing/2014/main" id="{BA021DC3-1AB2-4D03-70A6-CFBDF6A3B308}"/>
                </a:ext>
              </a:extLst>
            </p:cNvPr>
            <p:cNvSpPr txBox="1"/>
            <p:nvPr/>
          </p:nvSpPr>
          <p:spPr>
            <a:xfrm>
              <a:off x="4387568" y="4986545"/>
              <a:ext cx="7194028" cy="377026"/>
            </a:xfrm>
            <a:prstGeom prst="rect">
              <a:avLst/>
            </a:prstGeom>
            <a:noFill/>
          </p:spPr>
          <p:txBody>
            <a:bodyPr wrap="square">
              <a:spAutoFit/>
            </a:bodyPr>
            <a:lstStyle/>
            <a:p>
              <a:pPr marL="0" lvl="1" defTabSz="914400">
                <a:lnSpc>
                  <a:spcPct val="90000"/>
                </a:lnSpc>
                <a:defRPr/>
              </a:pPr>
              <a:r>
                <a:rPr lang="en-US" sz="2000" b="1" dirty="0"/>
                <a:t>PREVENAR 20 &amp; ABRYSVO</a:t>
              </a:r>
              <a:endParaRPr kumimoji="0" lang="en-US" sz="2000" b="1" i="0" u="none" strike="noStrike" kern="1200" cap="none" spc="0" normalizeH="0" baseline="0" noProof="0" dirty="0">
                <a:ln>
                  <a:noFill/>
                </a:ln>
                <a:effectLst/>
                <a:uLnTx/>
                <a:uFillTx/>
                <a:ea typeface="+mn-ea"/>
                <a:cs typeface="+mn-cs"/>
              </a:endParaRPr>
            </a:p>
          </p:txBody>
        </p:sp>
        <p:sp>
          <p:nvSpPr>
            <p:cNvPr id="38" name="TextBox 37">
              <a:extLst>
                <a:ext uri="{FF2B5EF4-FFF2-40B4-BE49-F238E27FC236}">
                  <a16:creationId xmlns:a16="http://schemas.microsoft.com/office/drawing/2014/main" id="{9D521762-BEE2-E72B-0C2E-4662095D959E}"/>
                </a:ext>
              </a:extLst>
            </p:cNvPr>
            <p:cNvSpPr txBox="1"/>
            <p:nvPr/>
          </p:nvSpPr>
          <p:spPr>
            <a:xfrm>
              <a:off x="3527875" y="4851893"/>
              <a:ext cx="571565" cy="646331"/>
            </a:xfrm>
            <a:prstGeom prst="rect">
              <a:avLst/>
            </a:prstGeom>
            <a:noFill/>
          </p:spPr>
          <p:txBody>
            <a:bodyPr wrap="square" rtlCol="0" anchor="ctr">
              <a:spAutoFit/>
            </a:bodyPr>
            <a:lstStyle/>
            <a:p>
              <a:pPr algn="ctr"/>
              <a:r>
                <a:rPr lang="en-US"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rPr>
                <a:t>4</a:t>
              </a:r>
              <a:endParaRPr lang="en-GB" sz="3600" b="1" spc="50" dirty="0">
                <a:ln w="0"/>
                <a:solidFill>
                  <a:schemeClr val="bg2"/>
                </a:solidFill>
                <a:effectLst>
                  <a:innerShdw blurRad="63500" dist="50800" dir="13500000">
                    <a:srgbClr val="000000">
                      <a:alpha val="50000"/>
                    </a:srgbClr>
                  </a:innerShdw>
                </a:effectLst>
                <a:ea typeface="Calibri" panose="020F0502020204030204" pitchFamily="34" charset="0"/>
                <a:cs typeface="Calibri" panose="020F0502020204030204" pitchFamily="34" charset="0"/>
              </a:endParaRPr>
            </a:p>
          </p:txBody>
        </p:sp>
      </p:grpSp>
      <p:sp>
        <p:nvSpPr>
          <p:cNvPr id="43" name="Rectangle 42">
            <a:extLst>
              <a:ext uri="{FF2B5EF4-FFF2-40B4-BE49-F238E27FC236}">
                <a16:creationId xmlns:a16="http://schemas.microsoft.com/office/drawing/2014/main" id="{FE89B4E8-C973-4755-A5EC-819FB05C788A}"/>
              </a:ext>
            </a:extLst>
          </p:cNvPr>
          <p:cNvSpPr/>
          <p:nvPr/>
        </p:nvSpPr>
        <p:spPr>
          <a:xfrm>
            <a:off x="2672623" y="1439350"/>
            <a:ext cx="9519377" cy="3087629"/>
          </a:xfrm>
          <a:prstGeom prst="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Tree>
    <p:extLst>
      <p:ext uri="{BB962C8B-B14F-4D97-AF65-F5344CB8AC3E}">
        <p14:creationId xmlns:p14="http://schemas.microsoft.com/office/powerpoint/2010/main" val="30663832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1447DC-7CFB-C1D9-F42A-1AF7F7DB43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5E106F-F399-0C93-DC30-BE5EBF710B8D}"/>
              </a:ext>
            </a:extLst>
          </p:cNvPr>
          <p:cNvSpPr>
            <a:spLocks noGrp="1"/>
          </p:cNvSpPr>
          <p:nvPr>
            <p:ph type="title"/>
          </p:nvPr>
        </p:nvSpPr>
        <p:spPr>
          <a:xfrm>
            <a:off x="535797" y="648878"/>
            <a:ext cx="11360928" cy="2436565"/>
          </a:xfrm>
        </p:spPr>
        <p:txBody>
          <a:bodyPr anchor="b">
            <a:noAutofit/>
          </a:bodyPr>
          <a:lstStyle/>
          <a:p>
            <a:pPr>
              <a:lnSpc>
                <a:spcPct val="100000"/>
              </a:lnSpc>
              <a:spcBef>
                <a:spcPts val="600"/>
              </a:spcBef>
              <a:spcAft>
                <a:spcPts val="600"/>
              </a:spcAft>
            </a:pPr>
            <a:r>
              <a:rPr lang="en-US" sz="4400" dirty="0"/>
              <a:t>Pfizer Prevenar 20  </a:t>
            </a:r>
            <a:r>
              <a:rPr lang="en-US" sz="4400" dirty="0" err="1"/>
              <a:t>ve</a:t>
            </a:r>
            <a:r>
              <a:rPr lang="en-US" sz="4400" dirty="0"/>
              <a:t> ABRYSVO </a:t>
            </a:r>
            <a:r>
              <a:rPr lang="en-US" sz="4400" dirty="0" err="1"/>
              <a:t>Aşıları</a:t>
            </a:r>
            <a:r>
              <a:rPr lang="en-US" sz="4400" dirty="0"/>
              <a:t> </a:t>
            </a:r>
            <a:br>
              <a:rPr lang="en-US" sz="4400" dirty="0"/>
            </a:br>
            <a:r>
              <a:rPr lang="en-US" sz="2400" dirty="0" err="1"/>
              <a:t>Geriatrik</a:t>
            </a:r>
            <a:r>
              <a:rPr lang="en-US" sz="2400" dirty="0"/>
              <a:t> </a:t>
            </a:r>
            <a:r>
              <a:rPr lang="en-US" sz="2400" dirty="0" err="1"/>
              <a:t>Popülasyonda</a:t>
            </a:r>
            <a:r>
              <a:rPr lang="en-US" sz="2400" dirty="0"/>
              <a:t> </a:t>
            </a:r>
            <a:r>
              <a:rPr lang="en-US" sz="2400" dirty="0" err="1"/>
              <a:t>Güncel</a:t>
            </a:r>
            <a:r>
              <a:rPr lang="en-US" sz="2400" dirty="0"/>
              <a:t> </a:t>
            </a:r>
            <a:r>
              <a:rPr lang="en-US" sz="2400" dirty="0" err="1"/>
              <a:t>Klinik</a:t>
            </a:r>
            <a:r>
              <a:rPr lang="en-US" sz="2400" dirty="0"/>
              <a:t> </a:t>
            </a:r>
            <a:r>
              <a:rPr lang="en-US" sz="2400" dirty="0" err="1"/>
              <a:t>Veriler</a:t>
            </a:r>
            <a:r>
              <a:rPr lang="en-US" sz="2400" dirty="0"/>
              <a:t> </a:t>
            </a:r>
            <a:r>
              <a:rPr lang="en-US" sz="2400" dirty="0" err="1"/>
              <a:t>ve</a:t>
            </a:r>
            <a:r>
              <a:rPr lang="en-US" sz="2400" dirty="0"/>
              <a:t> Halk </a:t>
            </a:r>
            <a:r>
              <a:rPr lang="en-US" sz="2400" dirty="0" err="1"/>
              <a:t>Sağlığı</a:t>
            </a:r>
            <a:r>
              <a:rPr lang="en-US" sz="2400" dirty="0"/>
              <a:t> </a:t>
            </a:r>
            <a:r>
              <a:rPr lang="en-US" sz="2400" dirty="0" err="1"/>
              <a:t>Perspektifi</a:t>
            </a:r>
            <a:endParaRPr lang="tr-TR" sz="4400" dirty="0"/>
          </a:p>
        </p:txBody>
      </p:sp>
      <p:sp>
        <p:nvSpPr>
          <p:cNvPr id="3" name="Text Placeholder 2">
            <a:extLst>
              <a:ext uri="{FF2B5EF4-FFF2-40B4-BE49-F238E27FC236}">
                <a16:creationId xmlns:a16="http://schemas.microsoft.com/office/drawing/2014/main" id="{1ABD0C3E-0721-7EA0-E8AB-447244B6B488}"/>
              </a:ext>
            </a:extLst>
          </p:cNvPr>
          <p:cNvSpPr>
            <a:spLocks noGrp="1"/>
          </p:cNvSpPr>
          <p:nvPr>
            <p:ph type="body" sz="quarter" idx="12"/>
          </p:nvPr>
        </p:nvSpPr>
        <p:spPr>
          <a:xfrm>
            <a:off x="558096" y="3226917"/>
            <a:ext cx="5804603" cy="1349296"/>
          </a:xfrm>
        </p:spPr>
        <p:txBody>
          <a:bodyPr anchor="b"/>
          <a:lstStyle/>
          <a:p>
            <a:r>
              <a:rPr lang="en-TR" dirty="0"/>
              <a:t>Prof. Dr. Serhat Ünal, FACP, FEFIM</a:t>
            </a:r>
          </a:p>
        </p:txBody>
      </p:sp>
      <p:pic>
        <p:nvPicPr>
          <p:cNvPr id="5" name="Picture 4">
            <a:extLst>
              <a:ext uri="{FF2B5EF4-FFF2-40B4-BE49-F238E27FC236}">
                <a16:creationId xmlns:a16="http://schemas.microsoft.com/office/drawing/2014/main" id="{9A904C8A-F837-DAA4-EBE5-4AEEF1B1D809}"/>
              </a:ext>
            </a:extLst>
          </p:cNvPr>
          <p:cNvPicPr>
            <a:picLocks noChangeAspect="1"/>
          </p:cNvPicPr>
          <p:nvPr/>
        </p:nvPicPr>
        <p:blipFill>
          <a:blip r:embed="rId2"/>
          <a:stretch>
            <a:fillRect/>
          </a:stretch>
        </p:blipFill>
        <p:spPr>
          <a:xfrm>
            <a:off x="558096" y="6420812"/>
            <a:ext cx="9144000" cy="437188"/>
          </a:xfrm>
          <a:prstGeom prst="rect">
            <a:avLst/>
          </a:prstGeom>
        </p:spPr>
      </p:pic>
      <p:pic>
        <p:nvPicPr>
          <p:cNvPr id="6" name="Picture 5" descr="A yellow and blue logo&#10;&#10;Description automatically generated">
            <a:extLst>
              <a:ext uri="{FF2B5EF4-FFF2-40B4-BE49-F238E27FC236}">
                <a16:creationId xmlns:a16="http://schemas.microsoft.com/office/drawing/2014/main" id="{3CBB9B09-5CD5-8F38-D743-D9E51B7CE97C}"/>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7" name="Picture 6" descr="A black and blue logo&#10;&#10;AI-generated content may be incorrect.">
            <a:extLst>
              <a:ext uri="{FF2B5EF4-FFF2-40B4-BE49-F238E27FC236}">
                <a16:creationId xmlns:a16="http://schemas.microsoft.com/office/drawing/2014/main" id="{81ADDA33-195A-0D41-8AEC-832E6D60D25B}"/>
              </a:ext>
            </a:extLst>
          </p:cNvPr>
          <p:cNvPicPr>
            <a:picLocks noChangeAspect="1"/>
          </p:cNvPicPr>
          <p:nvPr/>
        </p:nvPicPr>
        <p:blipFill>
          <a:blip r:embed="rId4"/>
          <a:stretch>
            <a:fillRect/>
          </a:stretch>
        </p:blipFill>
        <p:spPr>
          <a:xfrm>
            <a:off x="9513903" y="6494969"/>
            <a:ext cx="981021" cy="204067"/>
          </a:xfrm>
          <a:prstGeom prst="rect">
            <a:avLst/>
          </a:prstGeom>
        </p:spPr>
      </p:pic>
    </p:spTree>
    <p:extLst>
      <p:ext uri="{BB962C8B-B14F-4D97-AF65-F5344CB8AC3E}">
        <p14:creationId xmlns:p14="http://schemas.microsoft.com/office/powerpoint/2010/main" val="31676141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Giriş</a:t>
            </a:r>
          </a:p>
        </p:txBody>
      </p:sp>
      <p:sp>
        <p:nvSpPr>
          <p:cNvPr id="3" name="Content Placeholder 2"/>
          <p:cNvSpPr>
            <a:spLocks noGrp="1"/>
          </p:cNvSpPr>
          <p:nvPr>
            <p:ph idx="4294967295"/>
          </p:nvPr>
        </p:nvSpPr>
        <p:spPr>
          <a:xfrm>
            <a:off x="613152" y="1535113"/>
            <a:ext cx="10515600" cy="4351337"/>
          </a:xfrm>
        </p:spPr>
        <p:txBody>
          <a:bodyPr vert="horz" lIns="91440" tIns="45720" rIns="91440" bIns="45720" rtlCol="0" anchor="t">
            <a:normAutofit/>
          </a:bodyPr>
          <a:lstStyle/>
          <a:p>
            <a:r>
              <a:rPr lang="tr-TR" sz="2800" dirty="0"/>
              <a:t>Pnömokok ve RSV, ileri yaşta mortaliteyi en fazla artıran iki solunum yolu patojenidir.</a:t>
            </a:r>
            <a:r>
              <a:rPr lang="tr-TR" sz="2800" baseline="30000" dirty="0"/>
              <a:t>1</a:t>
            </a:r>
          </a:p>
          <a:p>
            <a:endParaRPr lang="tr-TR" sz="2800" dirty="0"/>
          </a:p>
          <a:p>
            <a:r>
              <a:rPr lang="tr-TR" sz="2800" dirty="0"/>
              <a:t>65 yaş üzeri bireylerde bağışıklık sistemi zayıflar (immünosenesens) ve enfeksiyon riski artar.</a:t>
            </a:r>
            <a:r>
              <a:rPr lang="tr-TR" sz="2800" baseline="30000" dirty="0"/>
              <a:t>2</a:t>
            </a:r>
          </a:p>
        </p:txBody>
      </p:sp>
      <p:pic>
        <p:nvPicPr>
          <p:cNvPr id="4" name="Picture 3">
            <a:extLst>
              <a:ext uri="{FF2B5EF4-FFF2-40B4-BE49-F238E27FC236}">
                <a16:creationId xmlns:a16="http://schemas.microsoft.com/office/drawing/2014/main" id="{11B91571-07A5-4CE1-A716-D14ABFDCC4E4}"/>
              </a:ext>
            </a:extLst>
          </p:cNvPr>
          <p:cNvPicPr>
            <a:picLocks noChangeAspect="1"/>
          </p:cNvPicPr>
          <p:nvPr/>
        </p:nvPicPr>
        <p:blipFill>
          <a:blip r:embed="rId2"/>
          <a:stretch>
            <a:fillRect/>
          </a:stretch>
        </p:blipFill>
        <p:spPr>
          <a:xfrm>
            <a:off x="613152" y="5494301"/>
            <a:ext cx="9144000" cy="616659"/>
          </a:xfrm>
          <a:prstGeom prst="rect">
            <a:avLst/>
          </a:prstGeom>
        </p:spPr>
      </p:pic>
      <p:pic>
        <p:nvPicPr>
          <p:cNvPr id="7" name="Picture 6" descr="A yellow and blue logo&#10;&#10;Description automatically generated">
            <a:extLst>
              <a:ext uri="{FF2B5EF4-FFF2-40B4-BE49-F238E27FC236}">
                <a16:creationId xmlns:a16="http://schemas.microsoft.com/office/drawing/2014/main" id="{8226111D-2FAE-FB54-1D92-A6DCC22B7F4A}"/>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8" name="Picture 7" descr="A black and blue logo&#10;&#10;AI-generated content may be incorrect.">
            <a:extLst>
              <a:ext uri="{FF2B5EF4-FFF2-40B4-BE49-F238E27FC236}">
                <a16:creationId xmlns:a16="http://schemas.microsoft.com/office/drawing/2014/main" id="{075FBDB9-1F17-3C68-918D-C5262550D4CA}"/>
              </a:ext>
            </a:extLst>
          </p:cNvPr>
          <p:cNvPicPr>
            <a:picLocks noChangeAspect="1"/>
          </p:cNvPicPr>
          <p:nvPr/>
        </p:nvPicPr>
        <p:blipFill>
          <a:blip r:embed="rId4"/>
          <a:stretch>
            <a:fillRect/>
          </a:stretch>
        </p:blipFill>
        <p:spPr>
          <a:xfrm>
            <a:off x="9513903" y="6494969"/>
            <a:ext cx="981021" cy="204067"/>
          </a:xfrm>
          <a:prstGeom prst="rect">
            <a:avLst/>
          </a:prstGeom>
        </p:spPr>
      </p:pic>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C6B6B32-EA97-B2DF-ECF3-C350B4F1C61D}"/>
            </a:ext>
          </a:extLst>
        </p:cNvPr>
        <p:cNvGrpSpPr/>
        <p:nvPr/>
      </p:nvGrpSpPr>
      <p:grpSpPr>
        <a:xfrm>
          <a:off x="0" y="0"/>
          <a:ext cx="0" cy="0"/>
          <a:chOff x="0" y="0"/>
          <a:chExt cx="0" cy="0"/>
        </a:xfrm>
      </p:grpSpPr>
      <p:sp>
        <p:nvSpPr>
          <p:cNvPr id="61" name="Title 3">
            <a:extLst>
              <a:ext uri="{FF2B5EF4-FFF2-40B4-BE49-F238E27FC236}">
                <a16:creationId xmlns:a16="http://schemas.microsoft.com/office/drawing/2014/main" id="{8689F739-1759-169C-39F5-5082590713CE}"/>
              </a:ext>
            </a:extLst>
          </p:cNvPr>
          <p:cNvSpPr>
            <a:spLocks noGrp="1"/>
          </p:cNvSpPr>
          <p:nvPr>
            <p:ph type="title"/>
          </p:nvPr>
        </p:nvSpPr>
        <p:spPr>
          <a:xfrm>
            <a:off x="613152" y="195684"/>
            <a:ext cx="10969218" cy="842156"/>
          </a:xfrm>
        </p:spPr>
        <p:txBody>
          <a:bodyPr vert="horz" wrap="square" lIns="0" tIns="0" rIns="0" bIns="0" rtlCol="0" anchor="t">
            <a:spAutoFit/>
          </a:bodyPr>
          <a:lstStyle/>
          <a:p>
            <a:r>
              <a:rPr lang="en-US" err="1"/>
              <a:t>Küresel</a:t>
            </a:r>
            <a:r>
              <a:rPr lang="en-US"/>
              <a:t> </a:t>
            </a:r>
            <a:r>
              <a:rPr lang="en-US" err="1"/>
              <a:t>çapta</a:t>
            </a:r>
            <a:r>
              <a:rPr lang="en-US"/>
              <a:t> viral </a:t>
            </a:r>
            <a:r>
              <a:rPr lang="en-US" err="1"/>
              <a:t>ve</a:t>
            </a:r>
            <a:r>
              <a:rPr lang="en-US"/>
              <a:t> </a:t>
            </a:r>
            <a:r>
              <a:rPr lang="en-US" err="1"/>
              <a:t>bakteriyel</a:t>
            </a:r>
            <a:r>
              <a:rPr lang="en-US"/>
              <a:t> </a:t>
            </a:r>
            <a:r>
              <a:rPr lang="en-US" err="1"/>
              <a:t>patojenlerin</a:t>
            </a:r>
            <a:r>
              <a:rPr lang="en-US"/>
              <a:t> </a:t>
            </a:r>
            <a:r>
              <a:rPr lang="en-US" err="1"/>
              <a:t>neden</a:t>
            </a:r>
            <a:r>
              <a:rPr lang="en-US"/>
              <a:t> </a:t>
            </a:r>
            <a:r>
              <a:rPr lang="en-US" err="1"/>
              <a:t>olduğu</a:t>
            </a:r>
            <a:r>
              <a:rPr lang="en-US"/>
              <a:t> alt </a:t>
            </a:r>
            <a:r>
              <a:rPr lang="en-US" err="1"/>
              <a:t>solunum</a:t>
            </a:r>
            <a:r>
              <a:rPr lang="en-US"/>
              <a:t> </a:t>
            </a:r>
            <a:r>
              <a:rPr lang="en-US" err="1"/>
              <a:t>yolu</a:t>
            </a:r>
            <a:r>
              <a:rPr lang="en-US"/>
              <a:t> </a:t>
            </a:r>
            <a:r>
              <a:rPr lang="en-US" err="1"/>
              <a:t>enfeksiyonları</a:t>
            </a:r>
            <a:r>
              <a:rPr lang="en-US"/>
              <a:t>*, </a:t>
            </a:r>
            <a:r>
              <a:rPr lang="en-US" err="1"/>
              <a:t>önde</a:t>
            </a:r>
            <a:r>
              <a:rPr lang="en-US"/>
              <a:t> </a:t>
            </a:r>
            <a:r>
              <a:rPr lang="en-US" err="1"/>
              <a:t>gelen</a:t>
            </a:r>
            <a:r>
              <a:rPr lang="en-US"/>
              <a:t> </a:t>
            </a:r>
            <a:r>
              <a:rPr lang="en-US" err="1"/>
              <a:t>ölüm</a:t>
            </a:r>
            <a:r>
              <a:rPr lang="en-US"/>
              <a:t> </a:t>
            </a:r>
            <a:r>
              <a:rPr lang="en-US" err="1"/>
              <a:t>nedenlerinden</a:t>
            </a:r>
            <a:r>
              <a:rPr lang="en-US"/>
              <a:t> </a:t>
            </a:r>
            <a:r>
              <a:rPr lang="en-US" err="1"/>
              <a:t>biridir</a:t>
            </a:r>
            <a:endParaRPr lang="en-GB"/>
          </a:p>
        </p:txBody>
      </p:sp>
      <p:sp>
        <p:nvSpPr>
          <p:cNvPr id="2" name="Slide Number Placeholder 1">
            <a:extLst>
              <a:ext uri="{FF2B5EF4-FFF2-40B4-BE49-F238E27FC236}">
                <a16:creationId xmlns:a16="http://schemas.microsoft.com/office/drawing/2014/main" id="{6EC633E2-4A54-93FD-5A96-DE6275D424C5}"/>
              </a:ext>
            </a:extLst>
          </p:cNvPr>
          <p:cNvSpPr>
            <a:spLocks noGrp="1"/>
          </p:cNvSpPr>
          <p:nvPr>
            <p:ph type="sldNum" sz="quarter" idx="4"/>
          </p:nvPr>
        </p:nvSpPr>
        <p:spPr>
          <a:xfrm>
            <a:off x="10438834" y="6508427"/>
            <a:ext cx="1143536" cy="153889"/>
          </a:xfrm>
        </p:spPr>
        <p:txBody>
          <a:bodyPr/>
          <a:lstStyle/>
          <a:p>
            <a:fld id="{2B39012A-6F33-204B-8224-A57BEFB0AAD0}" type="slidenum">
              <a:rPr lang="en-US"/>
              <a:pPr/>
              <a:t>54</a:t>
            </a:fld>
            <a:endParaRPr lang="en-US"/>
          </a:p>
        </p:txBody>
      </p:sp>
      <p:sp>
        <p:nvSpPr>
          <p:cNvPr id="78" name="Title 3">
            <a:extLst>
              <a:ext uri="{FF2B5EF4-FFF2-40B4-BE49-F238E27FC236}">
                <a16:creationId xmlns:a16="http://schemas.microsoft.com/office/drawing/2014/main" id="{9392A584-6CE7-7ACD-FF06-AD16F6E34AA1}"/>
              </a:ext>
            </a:extLst>
          </p:cNvPr>
          <p:cNvSpPr txBox="1">
            <a:spLocks/>
          </p:cNvSpPr>
          <p:nvPr/>
        </p:nvSpPr>
        <p:spPr>
          <a:xfrm>
            <a:off x="7169839" y="4262688"/>
            <a:ext cx="908877" cy="438581"/>
          </a:xfrm>
          <a:prstGeom prst="rect">
            <a:avLst/>
          </a:prstGeom>
        </p:spPr>
        <p:txBody>
          <a:bodyPr lIns="0" tIns="27000" rIns="0" bIns="27000"/>
          <a:lstStyle>
            <a:lvl1pPr algn="l" defTabSz="913897" rtl="0" eaLnBrk="1" latinLnBrk="0" hangingPunct="1">
              <a:lnSpc>
                <a:spcPct val="90000"/>
              </a:lnSpc>
              <a:spcBef>
                <a:spcPct val="0"/>
              </a:spcBef>
              <a:buNone/>
              <a:defRPr lang="en-US" sz="2698" b="1" kern="1200" spc="-25" dirty="0">
                <a:solidFill>
                  <a:schemeClr val="accent1"/>
                </a:solidFill>
                <a:latin typeface="Pfizer Tomorrow" panose="02010503040201060303" pitchFamily="2" charset="77"/>
                <a:ea typeface="+mj-ea"/>
                <a:cs typeface="+mj-cs"/>
              </a:defRPr>
            </a:lvl1pPr>
          </a:lstStyle>
          <a:p>
            <a:pPr defTabSz="685423">
              <a:defRPr/>
            </a:pPr>
            <a:r>
              <a:rPr lang="en-GB" sz="1050" b="0" spc="-19">
                <a:solidFill>
                  <a:srgbClr val="02005E"/>
                </a:solidFill>
                <a:latin typeface="Pfizer Diatype Office"/>
              </a:rPr>
              <a:t> </a:t>
            </a:r>
            <a:endParaRPr lang="en-GB" sz="1050" b="0" spc="-19" baseline="30000">
              <a:solidFill>
                <a:srgbClr val="02005E"/>
              </a:solidFill>
              <a:latin typeface="Pfizer Diatype Office"/>
            </a:endParaRPr>
          </a:p>
        </p:txBody>
      </p:sp>
      <p:grpSp>
        <p:nvGrpSpPr>
          <p:cNvPr id="42" name="Group 41">
            <a:extLst>
              <a:ext uri="{FF2B5EF4-FFF2-40B4-BE49-F238E27FC236}">
                <a16:creationId xmlns:a16="http://schemas.microsoft.com/office/drawing/2014/main" id="{9B935358-5355-8A77-5AE0-F01E6F93977C}"/>
              </a:ext>
            </a:extLst>
          </p:cNvPr>
          <p:cNvGrpSpPr/>
          <p:nvPr/>
        </p:nvGrpSpPr>
        <p:grpSpPr>
          <a:xfrm>
            <a:off x="1641173" y="1681485"/>
            <a:ext cx="2810426" cy="3517161"/>
            <a:chOff x="261526" y="1681484"/>
            <a:chExt cx="2838196" cy="2581203"/>
          </a:xfrm>
        </p:grpSpPr>
        <p:sp>
          <p:nvSpPr>
            <p:cNvPr id="7" name="Rectangle: Rounded Corners 6">
              <a:extLst>
                <a:ext uri="{FF2B5EF4-FFF2-40B4-BE49-F238E27FC236}">
                  <a16:creationId xmlns:a16="http://schemas.microsoft.com/office/drawing/2014/main" id="{C460B1FD-90C0-EEE5-2758-02F2DDE9AEEF}"/>
                </a:ext>
              </a:extLst>
            </p:cNvPr>
            <p:cNvSpPr/>
            <p:nvPr/>
          </p:nvSpPr>
          <p:spPr>
            <a:xfrm>
              <a:off x="261526" y="1681484"/>
              <a:ext cx="2838196" cy="2581203"/>
            </a:xfrm>
            <a:prstGeom prst="roundRect">
              <a:avLst>
                <a:gd name="adj" fmla="val 9444"/>
              </a:avLst>
            </a:prstGeom>
            <a:gradFill>
              <a:gsLst>
                <a:gs pos="0">
                  <a:schemeClr val="accent1"/>
                </a:gs>
                <a:gs pos="100000">
                  <a:schemeClr val="accent1">
                    <a:lumMod val="75000"/>
                  </a:schemeClr>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a:endParaRPr lang="en-US" sz="1350">
                <a:solidFill>
                  <a:prstClr val="white"/>
                </a:solidFill>
                <a:latin typeface="Arial" panose="020B0604020202020204"/>
              </a:endParaRPr>
            </a:p>
          </p:txBody>
        </p:sp>
        <p:sp>
          <p:nvSpPr>
            <p:cNvPr id="11" name="TextBox 10">
              <a:extLst>
                <a:ext uri="{FF2B5EF4-FFF2-40B4-BE49-F238E27FC236}">
                  <a16:creationId xmlns:a16="http://schemas.microsoft.com/office/drawing/2014/main" id="{73A32F3D-BE92-DA88-E0B0-DAA52E00A8C2}"/>
                </a:ext>
              </a:extLst>
            </p:cNvPr>
            <p:cNvSpPr txBox="1"/>
            <p:nvPr/>
          </p:nvSpPr>
          <p:spPr>
            <a:xfrm>
              <a:off x="561814" y="2322598"/>
              <a:ext cx="2287287" cy="1317972"/>
            </a:xfrm>
            <a:prstGeom prst="rect">
              <a:avLst/>
            </a:prstGeom>
            <a:noFill/>
          </p:spPr>
          <p:txBody>
            <a:bodyPr wrap="square" anchor="ctr">
              <a:spAutoFit/>
            </a:bodyPr>
            <a:lstStyle/>
            <a:p>
              <a:pPr algn="ctr" defTabSz="685800" eaLnBrk="0" fontAlgn="base" hangingPunct="0">
                <a:lnSpc>
                  <a:spcPct val="90000"/>
                </a:lnSpc>
                <a:spcBef>
                  <a:spcPct val="20000"/>
                </a:spcBef>
                <a:spcAft>
                  <a:spcPct val="0"/>
                </a:spcAft>
                <a:defRPr/>
              </a:pPr>
              <a:r>
                <a:rPr lang="en-US" sz="3000" b="1">
                  <a:solidFill>
                    <a:srgbClr val="FFFFFF"/>
                  </a:solidFill>
                  <a:latin typeface="Arial" panose="020B0604020202020204"/>
                  <a:cs typeface="Arial"/>
                </a:rPr>
                <a:t>~2.18 </a:t>
              </a:r>
              <a:r>
                <a:rPr lang="en-US" sz="3000" b="1" err="1">
                  <a:solidFill>
                    <a:srgbClr val="FFFFFF"/>
                  </a:solidFill>
                  <a:latin typeface="Arial" panose="020B0604020202020204"/>
                  <a:cs typeface="Arial"/>
                </a:rPr>
                <a:t>milyon</a:t>
              </a:r>
              <a:r>
                <a:rPr lang="en-US" sz="3000" b="1">
                  <a:solidFill>
                    <a:srgbClr val="FFFFFF"/>
                  </a:solidFill>
                  <a:latin typeface="Arial" panose="020B0604020202020204"/>
                  <a:cs typeface="Arial"/>
                </a:rPr>
                <a:t> </a:t>
              </a:r>
              <a:r>
                <a:rPr lang="en-US" sz="2100" b="1">
                  <a:solidFill>
                    <a:srgbClr val="FFFFFF"/>
                  </a:solidFill>
                  <a:latin typeface="Arial" panose="020B0604020202020204"/>
                  <a:cs typeface="Arial"/>
                </a:rPr>
                <a:t>2021 </a:t>
              </a:r>
              <a:r>
                <a:rPr lang="en-US" sz="2100" b="1" err="1">
                  <a:solidFill>
                    <a:srgbClr val="FFFFFF"/>
                  </a:solidFill>
                  <a:latin typeface="Arial" panose="020B0604020202020204"/>
                  <a:cs typeface="Arial"/>
                </a:rPr>
                <a:t>yılında</a:t>
              </a:r>
              <a:r>
                <a:rPr lang="en-US" sz="2100" b="1">
                  <a:solidFill>
                    <a:srgbClr val="FFFFFF"/>
                  </a:solidFill>
                  <a:latin typeface="Arial" panose="020B0604020202020204"/>
                  <a:cs typeface="Arial"/>
                </a:rPr>
                <a:t>, ASYE </a:t>
              </a:r>
              <a:r>
                <a:rPr lang="en-US" sz="2100" b="1" err="1">
                  <a:solidFill>
                    <a:srgbClr val="FFFFFF"/>
                  </a:solidFill>
                  <a:latin typeface="Arial" panose="020B0604020202020204"/>
                  <a:cs typeface="Arial"/>
                </a:rPr>
                <a:t>ilişkili</a:t>
              </a:r>
              <a:r>
                <a:rPr lang="en-US" sz="2100" b="1">
                  <a:solidFill>
                    <a:srgbClr val="FFFFFF"/>
                  </a:solidFill>
                  <a:latin typeface="Arial" panose="020B0604020202020204"/>
                  <a:cs typeface="Arial"/>
                </a:rPr>
                <a:t> can </a:t>
              </a:r>
              <a:r>
                <a:rPr lang="en-US" sz="2100" b="1" err="1">
                  <a:solidFill>
                    <a:srgbClr val="FFFFFF"/>
                  </a:solidFill>
                  <a:latin typeface="Arial" panose="020B0604020202020204"/>
                  <a:cs typeface="Arial"/>
                </a:rPr>
                <a:t>kaybı</a:t>
              </a:r>
              <a:r>
                <a:rPr lang="en-US" sz="2100" b="1">
                  <a:solidFill>
                    <a:srgbClr val="FFFFFF"/>
                  </a:solidFill>
                  <a:latin typeface="Arial" panose="020B0604020202020204"/>
                  <a:cs typeface="Arial"/>
                </a:rPr>
                <a:t> sayısı</a:t>
              </a:r>
              <a:r>
                <a:rPr lang="en-US" sz="2100" b="1" baseline="30000">
                  <a:solidFill>
                    <a:srgbClr val="FFFFFF"/>
                  </a:solidFill>
                  <a:latin typeface="Arial" panose="020B0604020202020204"/>
                  <a:cs typeface="Arial"/>
                </a:rPr>
                <a:t>3,</a:t>
              </a:r>
              <a:r>
                <a:rPr lang="en-GB" sz="2100" b="1" baseline="30000">
                  <a:solidFill>
                    <a:srgbClr val="FFFFFF"/>
                  </a:solidFill>
                  <a:latin typeface="Arial" panose="020B0604020202020204"/>
                  <a:cs typeface="Arial"/>
                </a:rPr>
                <a:t>†</a:t>
              </a:r>
            </a:p>
          </p:txBody>
        </p:sp>
      </p:grpSp>
      <p:grpSp>
        <p:nvGrpSpPr>
          <p:cNvPr id="8" name="Group 7">
            <a:extLst>
              <a:ext uri="{FF2B5EF4-FFF2-40B4-BE49-F238E27FC236}">
                <a16:creationId xmlns:a16="http://schemas.microsoft.com/office/drawing/2014/main" id="{F40AA6E5-7DC5-1B2E-7472-CB6C2250D45B}"/>
              </a:ext>
            </a:extLst>
          </p:cNvPr>
          <p:cNvGrpSpPr/>
          <p:nvPr/>
        </p:nvGrpSpPr>
        <p:grpSpPr>
          <a:xfrm>
            <a:off x="4584228" y="4336483"/>
            <a:ext cx="6019224" cy="863322"/>
            <a:chOff x="3316551" y="3676321"/>
            <a:chExt cx="5378795" cy="727416"/>
          </a:xfrm>
        </p:grpSpPr>
        <p:sp>
          <p:nvSpPr>
            <p:cNvPr id="76" name="Rectangle: Rounded Corners 75">
              <a:extLst>
                <a:ext uri="{FF2B5EF4-FFF2-40B4-BE49-F238E27FC236}">
                  <a16:creationId xmlns:a16="http://schemas.microsoft.com/office/drawing/2014/main" id="{F35603A0-97A8-0AAD-783F-46115D09E488}"/>
                </a:ext>
              </a:extLst>
            </p:cNvPr>
            <p:cNvSpPr/>
            <p:nvPr/>
          </p:nvSpPr>
          <p:spPr>
            <a:xfrm>
              <a:off x="3316551" y="3691359"/>
              <a:ext cx="5378795" cy="711218"/>
            </a:xfrm>
            <a:prstGeom prst="roundRect">
              <a:avLst>
                <a:gd name="adj" fmla="val 11078"/>
              </a:avLst>
            </a:prstGeom>
            <a:solidFill>
              <a:schemeClr val="bg1">
                <a:alpha val="85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390">
                <a:defRPr/>
              </a:pPr>
              <a:endParaRPr lang="en-US">
                <a:solidFill>
                  <a:srgbClr val="FFFFFF"/>
                </a:solidFill>
                <a:latin typeface="Pfizer Diatype Office"/>
              </a:endParaRPr>
            </a:p>
          </p:txBody>
        </p:sp>
        <p:sp>
          <p:nvSpPr>
            <p:cNvPr id="73" name="TextBox 72">
              <a:extLst>
                <a:ext uri="{FF2B5EF4-FFF2-40B4-BE49-F238E27FC236}">
                  <a16:creationId xmlns:a16="http://schemas.microsoft.com/office/drawing/2014/main" id="{AAFAB30D-8D25-1001-E6A3-A56FECF76E50}"/>
                </a:ext>
              </a:extLst>
            </p:cNvPr>
            <p:cNvSpPr txBox="1"/>
            <p:nvPr/>
          </p:nvSpPr>
          <p:spPr>
            <a:xfrm>
              <a:off x="3569183" y="3774572"/>
              <a:ext cx="1582051" cy="230832"/>
            </a:xfrm>
            <a:prstGeom prst="rect">
              <a:avLst/>
            </a:prstGeom>
            <a:noFill/>
          </p:spPr>
          <p:txBody>
            <a:bodyPr wrap="square">
              <a:spAutoFit/>
            </a:bodyPr>
            <a:lstStyle/>
            <a:p>
              <a:pPr algn="ctr" defTabSz="685800" fontAlgn="base">
                <a:spcAft>
                  <a:spcPts val="900"/>
                </a:spcAft>
                <a:buClr>
                  <a:srgbClr val="000000"/>
                </a:buClr>
                <a:buSzPct val="100000"/>
                <a:defRPr/>
              </a:pPr>
              <a:r>
                <a:rPr lang="en-US" b="1" i="1">
                  <a:solidFill>
                    <a:srgbClr val="344068"/>
                  </a:solidFill>
                  <a:latin typeface="Pfizer Tomorrow"/>
                </a:rPr>
                <a:t>Streptococcus pneumoniae</a:t>
              </a:r>
              <a:endParaRPr lang="en-US" b="1" i="1">
                <a:solidFill>
                  <a:srgbClr val="344068"/>
                </a:solidFill>
                <a:latin typeface="Pfizer Diatype Office"/>
              </a:endParaRPr>
            </a:p>
          </p:txBody>
        </p:sp>
        <p:sp>
          <p:nvSpPr>
            <p:cNvPr id="43" name="Title 3">
              <a:extLst>
                <a:ext uri="{FF2B5EF4-FFF2-40B4-BE49-F238E27FC236}">
                  <a16:creationId xmlns:a16="http://schemas.microsoft.com/office/drawing/2014/main" id="{9D93B05C-984F-88BB-7E1E-C834175B8F4C}"/>
                </a:ext>
              </a:extLst>
            </p:cNvPr>
            <p:cNvSpPr txBox="1">
              <a:spLocks/>
            </p:cNvSpPr>
            <p:nvPr/>
          </p:nvSpPr>
          <p:spPr>
            <a:xfrm>
              <a:off x="6952510" y="3676321"/>
              <a:ext cx="1687991" cy="727416"/>
            </a:xfrm>
            <a:prstGeom prst="rect">
              <a:avLst/>
            </a:prstGeom>
          </p:spPr>
          <p:txBody>
            <a:bodyPr lIns="0" tIns="27000" rIns="0" bIns="27000" anchor="ctr"/>
            <a:lstStyle>
              <a:lvl1pPr algn="l" defTabSz="913897" rtl="0" eaLnBrk="1" latinLnBrk="0" hangingPunct="1">
                <a:lnSpc>
                  <a:spcPct val="90000"/>
                </a:lnSpc>
                <a:spcBef>
                  <a:spcPct val="0"/>
                </a:spcBef>
                <a:buNone/>
                <a:defRPr lang="en-US" sz="2698" b="1" kern="1200" spc="-25" dirty="0">
                  <a:solidFill>
                    <a:schemeClr val="accent1"/>
                  </a:solidFill>
                  <a:latin typeface="Pfizer Tomorrow" panose="02010503040201060303" pitchFamily="2" charset="77"/>
                  <a:ea typeface="+mj-ea"/>
                  <a:cs typeface="+mj-cs"/>
                </a:defRPr>
              </a:lvl1pPr>
            </a:lstStyle>
            <a:p>
              <a:pPr defTabSz="685423">
                <a:defRPr/>
              </a:pPr>
              <a:r>
                <a:rPr lang="en-GB" sz="1050" b="0" spc="-19" dirty="0" err="1">
                  <a:solidFill>
                    <a:srgbClr val="02005E"/>
                  </a:solidFill>
                  <a:latin typeface="Pfizer Diatype Office"/>
                </a:rPr>
                <a:t>oranında</a:t>
              </a:r>
              <a:r>
                <a:rPr lang="en-GB" sz="1050" b="0" spc="-19" dirty="0">
                  <a:solidFill>
                    <a:srgbClr val="02005E"/>
                  </a:solidFill>
                  <a:latin typeface="Pfizer Diatype Office"/>
                </a:rPr>
                <a:t> ASYE </a:t>
              </a:r>
              <a:r>
                <a:rPr lang="en-GB" sz="1050" b="0" spc="-19" dirty="0" err="1">
                  <a:solidFill>
                    <a:srgbClr val="02005E"/>
                  </a:solidFill>
                  <a:latin typeface="Pfizer Diatype Office"/>
                </a:rPr>
                <a:t>ilişkili</a:t>
              </a:r>
              <a:r>
                <a:rPr lang="en-GB" sz="1050" b="0" spc="-19" dirty="0">
                  <a:solidFill>
                    <a:srgbClr val="02005E"/>
                  </a:solidFill>
                  <a:latin typeface="Pfizer Diatype Office"/>
                </a:rPr>
                <a:t> can </a:t>
              </a:r>
              <a:r>
                <a:rPr lang="en-GB" sz="1050" b="0" spc="-19" dirty="0" err="1">
                  <a:solidFill>
                    <a:srgbClr val="02005E"/>
                  </a:solidFill>
                  <a:latin typeface="Pfizer Diatype Office"/>
                </a:rPr>
                <a:t>kaybının</a:t>
              </a:r>
              <a:r>
                <a:rPr lang="en-GB" sz="1050" b="0" spc="-19" dirty="0">
                  <a:solidFill>
                    <a:srgbClr val="02005E"/>
                  </a:solidFill>
                  <a:latin typeface="Pfizer Diatype Office"/>
                </a:rPr>
                <a:t>, 2021 </a:t>
              </a:r>
              <a:r>
                <a:rPr lang="en-GB" sz="1050" b="0" spc="-19" dirty="0" err="1">
                  <a:solidFill>
                    <a:srgbClr val="02005E"/>
                  </a:solidFill>
                  <a:latin typeface="Pfizer Diatype Office"/>
                </a:rPr>
                <a:t>yılında</a:t>
              </a:r>
              <a:r>
                <a:rPr lang="en-GB" sz="1050" b="0" spc="-19" dirty="0">
                  <a:solidFill>
                    <a:srgbClr val="02005E"/>
                  </a:solidFill>
                  <a:latin typeface="Pfizer Diatype Office"/>
                </a:rPr>
                <a:t> </a:t>
              </a:r>
              <a:r>
                <a:rPr lang="en-GB" sz="1050" b="0" spc="-19" dirty="0" err="1">
                  <a:solidFill>
                    <a:srgbClr val="02005E"/>
                  </a:solidFill>
                  <a:latin typeface="Pfizer Diatype Office"/>
                </a:rPr>
                <a:t>dünya</a:t>
              </a:r>
              <a:r>
                <a:rPr lang="en-GB" sz="1050" b="0" spc="-19" dirty="0">
                  <a:solidFill>
                    <a:srgbClr val="02005E"/>
                  </a:solidFill>
                  <a:latin typeface="Pfizer Diatype Office"/>
                </a:rPr>
                <a:t> </a:t>
              </a:r>
              <a:r>
                <a:rPr lang="en-GB" sz="1050" b="0" spc="-19" dirty="0" err="1">
                  <a:solidFill>
                    <a:srgbClr val="02005E"/>
                  </a:solidFill>
                  <a:latin typeface="Pfizer Diatype Office"/>
                </a:rPr>
                <a:t>genelinde</a:t>
              </a:r>
              <a:r>
                <a:rPr lang="en-GB" sz="1050" b="0" spc="-19" dirty="0">
                  <a:solidFill>
                    <a:srgbClr val="02005E"/>
                  </a:solidFill>
                  <a:latin typeface="Pfizer Diatype Office"/>
                </a:rPr>
                <a:t> </a:t>
              </a:r>
              <a:r>
                <a:rPr lang="en-GB" sz="1050" b="0" spc="-19" dirty="0" err="1">
                  <a:solidFill>
                    <a:srgbClr val="02005E"/>
                  </a:solidFill>
                  <a:latin typeface="Pfizer Diatype Office"/>
                </a:rPr>
                <a:t>tüm</a:t>
              </a:r>
              <a:r>
                <a:rPr lang="en-GB" sz="1050" b="0" spc="-19" dirty="0">
                  <a:solidFill>
                    <a:srgbClr val="02005E"/>
                  </a:solidFill>
                  <a:latin typeface="Pfizer Diatype Office"/>
                </a:rPr>
                <a:t> </a:t>
              </a:r>
              <a:r>
                <a:rPr lang="en-GB" sz="1050" b="0" spc="-19" dirty="0" err="1">
                  <a:solidFill>
                    <a:srgbClr val="02005E"/>
                  </a:solidFill>
                  <a:latin typeface="Pfizer Diatype Office"/>
                </a:rPr>
                <a:t>yaş</a:t>
              </a:r>
              <a:r>
                <a:rPr lang="en-GB" sz="1050" b="0" spc="-19" dirty="0">
                  <a:solidFill>
                    <a:srgbClr val="02005E"/>
                  </a:solidFill>
                  <a:latin typeface="Pfizer Diatype Office"/>
                </a:rPr>
                <a:t> </a:t>
              </a:r>
              <a:r>
                <a:rPr lang="en-GB" sz="1050" b="0" spc="-19" dirty="0" err="1">
                  <a:solidFill>
                    <a:srgbClr val="02005E"/>
                  </a:solidFill>
                  <a:latin typeface="Pfizer Diatype Office"/>
                </a:rPr>
                <a:t>gruplarında</a:t>
              </a:r>
              <a:r>
                <a:rPr lang="en-GB" sz="1050" b="0" spc="-19" dirty="0">
                  <a:solidFill>
                    <a:srgbClr val="02005E"/>
                  </a:solidFill>
                  <a:latin typeface="Pfizer Diatype Office"/>
                </a:rPr>
                <a:t> </a:t>
              </a:r>
              <a:r>
                <a:rPr lang="en-GB" sz="1050" b="0" i="1" spc="-19" dirty="0">
                  <a:solidFill>
                    <a:srgbClr val="02005E"/>
                  </a:solidFill>
                  <a:latin typeface="Pfizer Diatype Office"/>
                </a:rPr>
                <a:t>S. pneumoniae </a:t>
              </a:r>
              <a:r>
                <a:rPr lang="en-GB" sz="1050" b="0" i="1" spc="-19" dirty="0" err="1">
                  <a:solidFill>
                    <a:srgbClr val="02005E"/>
                  </a:solidFill>
                  <a:latin typeface="Pfizer Diatype Office"/>
                </a:rPr>
                <a:t>kaynaklı</a:t>
              </a:r>
              <a:r>
                <a:rPr lang="en-GB" sz="1050" b="0" i="1" spc="-19" dirty="0">
                  <a:solidFill>
                    <a:srgbClr val="02005E"/>
                  </a:solidFill>
                  <a:latin typeface="Pfizer Diatype Office"/>
                </a:rPr>
                <a:t> </a:t>
              </a:r>
              <a:r>
                <a:rPr lang="en-GB" sz="1050" b="0" i="1" spc="-19" dirty="0" err="1">
                  <a:solidFill>
                    <a:srgbClr val="02005E"/>
                  </a:solidFill>
                  <a:latin typeface="Pfizer Diatype Office"/>
                </a:rPr>
                <a:t>olduğu</a:t>
              </a:r>
              <a:r>
                <a:rPr lang="en-GB" sz="1050" b="0" i="1" spc="-19" dirty="0">
                  <a:solidFill>
                    <a:srgbClr val="02005E"/>
                  </a:solidFill>
                  <a:latin typeface="Pfizer Diatype Office"/>
                </a:rPr>
                <a:t> </a:t>
              </a:r>
              <a:r>
                <a:rPr lang="en-GB" sz="1050" b="0" i="1" spc="-19" dirty="0" err="1">
                  <a:solidFill>
                    <a:srgbClr val="02005E"/>
                  </a:solidFill>
                  <a:latin typeface="Pfizer Diatype Office"/>
                </a:rPr>
                <a:t>tahmin</a:t>
              </a:r>
              <a:r>
                <a:rPr lang="en-GB" sz="1050" b="0" i="1" spc="-19" dirty="0">
                  <a:solidFill>
                    <a:srgbClr val="02005E"/>
                  </a:solidFill>
                  <a:latin typeface="Pfizer Diatype Office"/>
                </a:rPr>
                <a:t> edilmektedir.</a:t>
              </a:r>
              <a:r>
                <a:rPr lang="en-GB" sz="1050" b="0" spc="-19" baseline="30000" dirty="0">
                  <a:solidFill>
                    <a:srgbClr val="02005E"/>
                  </a:solidFill>
                  <a:latin typeface="Pfizer Diatype Office"/>
                </a:rPr>
                <a:t>3</a:t>
              </a:r>
            </a:p>
          </p:txBody>
        </p:sp>
        <p:sp>
          <p:nvSpPr>
            <p:cNvPr id="44" name="Title 3">
              <a:extLst>
                <a:ext uri="{FF2B5EF4-FFF2-40B4-BE49-F238E27FC236}">
                  <a16:creationId xmlns:a16="http://schemas.microsoft.com/office/drawing/2014/main" id="{11B8324A-FAA5-C3DA-88C3-43DA3CA61EF4}"/>
                </a:ext>
              </a:extLst>
            </p:cNvPr>
            <p:cNvSpPr txBox="1">
              <a:spLocks/>
            </p:cNvSpPr>
            <p:nvPr/>
          </p:nvSpPr>
          <p:spPr>
            <a:xfrm>
              <a:off x="5622856" y="3718017"/>
              <a:ext cx="1246646" cy="644018"/>
            </a:xfrm>
            <a:prstGeom prst="rect">
              <a:avLst/>
            </a:prstGeom>
          </p:spPr>
          <p:txBody>
            <a:bodyPr lIns="0" tIns="0" rIns="0" bIns="0" anchor="ctr"/>
            <a:lstStyle>
              <a:lvl1pPr algn="l" defTabSz="913897" rtl="0" eaLnBrk="1" latinLnBrk="0" hangingPunct="1">
                <a:lnSpc>
                  <a:spcPct val="90000"/>
                </a:lnSpc>
                <a:spcBef>
                  <a:spcPct val="0"/>
                </a:spcBef>
                <a:buNone/>
                <a:defRPr lang="en-US" sz="2698" b="1" kern="1200" spc="-25" dirty="0">
                  <a:solidFill>
                    <a:schemeClr val="accent1"/>
                  </a:solidFill>
                  <a:latin typeface="Pfizer Tomorrow" panose="02010503040201060303" pitchFamily="2" charset="77"/>
                  <a:ea typeface="+mj-ea"/>
                  <a:cs typeface="+mj-cs"/>
                </a:defRPr>
              </a:lvl1pPr>
            </a:lstStyle>
            <a:p>
              <a:pPr algn="ctr" defTabSz="685423">
                <a:defRPr/>
              </a:pPr>
              <a:r>
                <a:rPr lang="en-GB" sz="3200" b="0" spc="-19" dirty="0">
                  <a:solidFill>
                    <a:srgbClr val="02005E"/>
                  </a:solidFill>
                  <a:latin typeface="Arial" panose="020B0604020202020204"/>
                  <a:ea typeface="Tahoma" panose="020B0604030504040204" pitchFamily="34" charset="0"/>
                  <a:cs typeface="Tahoma" panose="020B0604030504040204" pitchFamily="34" charset="0"/>
                </a:rPr>
                <a:t>⁓</a:t>
              </a:r>
              <a:r>
                <a:rPr lang="en-GB" sz="3200" spc="-19" dirty="0">
                  <a:solidFill>
                    <a:srgbClr val="02005E"/>
                  </a:solidFill>
                  <a:latin typeface="Arial" panose="020B0604020202020204"/>
                </a:rPr>
                <a:t>23%</a:t>
              </a:r>
            </a:p>
          </p:txBody>
        </p:sp>
        <p:grpSp>
          <p:nvGrpSpPr>
            <p:cNvPr id="3" name="Group 2">
              <a:extLst>
                <a:ext uri="{FF2B5EF4-FFF2-40B4-BE49-F238E27FC236}">
                  <a16:creationId xmlns:a16="http://schemas.microsoft.com/office/drawing/2014/main" id="{7F085E0D-1BAE-F9AF-BC9C-2710285AFE3D}"/>
                </a:ext>
              </a:extLst>
            </p:cNvPr>
            <p:cNvGrpSpPr/>
            <p:nvPr/>
          </p:nvGrpSpPr>
          <p:grpSpPr>
            <a:xfrm>
              <a:off x="5233656" y="3846831"/>
              <a:ext cx="400050" cy="386396"/>
              <a:chOff x="6081371" y="4948272"/>
              <a:chExt cx="350330" cy="385235"/>
            </a:xfrm>
          </p:grpSpPr>
          <p:sp>
            <p:nvSpPr>
              <p:cNvPr id="6" name="Oval 5">
                <a:extLst>
                  <a:ext uri="{FF2B5EF4-FFF2-40B4-BE49-F238E27FC236}">
                    <a16:creationId xmlns:a16="http://schemas.microsoft.com/office/drawing/2014/main" id="{CBFD0D44-5F26-CC92-465D-C45E7FADAA6F}"/>
                  </a:ext>
                </a:extLst>
              </p:cNvPr>
              <p:cNvSpPr/>
              <p:nvPr/>
            </p:nvSpPr>
            <p:spPr>
              <a:xfrm>
                <a:off x="6332790" y="5166415"/>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sp>
            <p:nvSpPr>
              <p:cNvPr id="10" name="Oval 9">
                <a:extLst>
                  <a:ext uri="{FF2B5EF4-FFF2-40B4-BE49-F238E27FC236}">
                    <a16:creationId xmlns:a16="http://schemas.microsoft.com/office/drawing/2014/main" id="{863B52BF-A1BF-D9BD-2CA3-A4128132655A}"/>
                  </a:ext>
                </a:extLst>
              </p:cNvPr>
              <p:cNvSpPr/>
              <p:nvPr/>
            </p:nvSpPr>
            <p:spPr>
              <a:xfrm>
                <a:off x="6368003" y="5135316"/>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sp>
            <p:nvSpPr>
              <p:cNvPr id="12" name="Oval 11">
                <a:extLst>
                  <a:ext uri="{FF2B5EF4-FFF2-40B4-BE49-F238E27FC236}">
                    <a16:creationId xmlns:a16="http://schemas.microsoft.com/office/drawing/2014/main" id="{0C488108-C8F6-CDE0-D179-2205DBDF0D9C}"/>
                  </a:ext>
                </a:extLst>
              </p:cNvPr>
              <p:cNvSpPr/>
              <p:nvPr/>
            </p:nvSpPr>
            <p:spPr>
              <a:xfrm>
                <a:off x="6214415" y="4996015"/>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sp>
            <p:nvSpPr>
              <p:cNvPr id="13" name="Oval 12">
                <a:extLst>
                  <a:ext uri="{FF2B5EF4-FFF2-40B4-BE49-F238E27FC236}">
                    <a16:creationId xmlns:a16="http://schemas.microsoft.com/office/drawing/2014/main" id="{BA132991-B537-FEA6-F289-16FB04F9DB93}"/>
                  </a:ext>
                </a:extLst>
              </p:cNvPr>
              <p:cNvSpPr/>
              <p:nvPr/>
            </p:nvSpPr>
            <p:spPr>
              <a:xfrm>
                <a:off x="6248968" y="4973190"/>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sp>
            <p:nvSpPr>
              <p:cNvPr id="45" name="Oval 44">
                <a:extLst>
                  <a:ext uri="{FF2B5EF4-FFF2-40B4-BE49-F238E27FC236}">
                    <a16:creationId xmlns:a16="http://schemas.microsoft.com/office/drawing/2014/main" id="{D7F64E47-5539-8230-31D8-D5A5013E2A8D}"/>
                  </a:ext>
                </a:extLst>
              </p:cNvPr>
              <p:cNvSpPr/>
              <p:nvPr/>
            </p:nvSpPr>
            <p:spPr>
              <a:xfrm>
                <a:off x="6130384" y="5254610"/>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sp>
            <p:nvSpPr>
              <p:cNvPr id="47" name="Oval 46">
                <a:extLst>
                  <a:ext uri="{FF2B5EF4-FFF2-40B4-BE49-F238E27FC236}">
                    <a16:creationId xmlns:a16="http://schemas.microsoft.com/office/drawing/2014/main" id="{E6831BD8-C852-5475-1D63-DDE30C67B56D}"/>
                  </a:ext>
                </a:extLst>
              </p:cNvPr>
              <p:cNvSpPr/>
              <p:nvPr/>
            </p:nvSpPr>
            <p:spPr>
              <a:xfrm>
                <a:off x="6098535" y="5211731"/>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sp>
            <p:nvSpPr>
              <p:cNvPr id="48" name="Oval 47">
                <a:extLst>
                  <a:ext uri="{FF2B5EF4-FFF2-40B4-BE49-F238E27FC236}">
                    <a16:creationId xmlns:a16="http://schemas.microsoft.com/office/drawing/2014/main" id="{CE98388C-AF0D-CD04-6D16-BAF3FC67DF9B}"/>
                  </a:ext>
                </a:extLst>
              </p:cNvPr>
              <p:cNvSpPr/>
              <p:nvPr/>
            </p:nvSpPr>
            <p:spPr>
              <a:xfrm>
                <a:off x="6247874" y="5234029"/>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sp>
            <p:nvSpPr>
              <p:cNvPr id="49" name="Oval 48">
                <a:extLst>
                  <a:ext uri="{FF2B5EF4-FFF2-40B4-BE49-F238E27FC236}">
                    <a16:creationId xmlns:a16="http://schemas.microsoft.com/office/drawing/2014/main" id="{5C8C3CD3-085F-3F56-BEBE-E83A672C64ED}"/>
                  </a:ext>
                </a:extLst>
              </p:cNvPr>
              <p:cNvSpPr/>
              <p:nvPr/>
            </p:nvSpPr>
            <p:spPr>
              <a:xfrm>
                <a:off x="6217346" y="5192304"/>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sp>
            <p:nvSpPr>
              <p:cNvPr id="50" name="Oval 49">
                <a:extLst>
                  <a:ext uri="{FF2B5EF4-FFF2-40B4-BE49-F238E27FC236}">
                    <a16:creationId xmlns:a16="http://schemas.microsoft.com/office/drawing/2014/main" id="{A070A1E3-2367-E546-FE54-0E40AE4C31CA}"/>
                  </a:ext>
                </a:extLst>
              </p:cNvPr>
              <p:cNvSpPr/>
              <p:nvPr/>
            </p:nvSpPr>
            <p:spPr>
              <a:xfrm>
                <a:off x="6194082" y="5147243"/>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sp>
            <p:nvSpPr>
              <p:cNvPr id="51" name="Oval 50">
                <a:extLst>
                  <a:ext uri="{FF2B5EF4-FFF2-40B4-BE49-F238E27FC236}">
                    <a16:creationId xmlns:a16="http://schemas.microsoft.com/office/drawing/2014/main" id="{14CEB743-9A77-77FE-A52C-E671FF417545}"/>
                  </a:ext>
                </a:extLst>
              </p:cNvPr>
              <p:cNvSpPr/>
              <p:nvPr/>
            </p:nvSpPr>
            <p:spPr>
              <a:xfrm>
                <a:off x="6166185" y="5110413"/>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sp>
            <p:nvSpPr>
              <p:cNvPr id="52" name="Oval 51">
                <a:extLst>
                  <a:ext uri="{FF2B5EF4-FFF2-40B4-BE49-F238E27FC236}">
                    <a16:creationId xmlns:a16="http://schemas.microsoft.com/office/drawing/2014/main" id="{4246E6E9-0B85-657A-B45C-F34C4F774B3F}"/>
                  </a:ext>
                </a:extLst>
              </p:cNvPr>
              <p:cNvSpPr/>
              <p:nvPr/>
            </p:nvSpPr>
            <p:spPr>
              <a:xfrm>
                <a:off x="6125392" y="5082572"/>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sp>
            <p:nvSpPr>
              <p:cNvPr id="53" name="Oval 52">
                <a:extLst>
                  <a:ext uri="{FF2B5EF4-FFF2-40B4-BE49-F238E27FC236}">
                    <a16:creationId xmlns:a16="http://schemas.microsoft.com/office/drawing/2014/main" id="{5C56CAE7-3C9E-7B84-11B8-C8CB0B1B762B}"/>
                  </a:ext>
                </a:extLst>
              </p:cNvPr>
              <p:cNvSpPr/>
              <p:nvPr/>
            </p:nvSpPr>
            <p:spPr>
              <a:xfrm>
                <a:off x="6081371" y="5052710"/>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sp>
            <p:nvSpPr>
              <p:cNvPr id="54" name="Oval 53">
                <a:extLst>
                  <a:ext uri="{FF2B5EF4-FFF2-40B4-BE49-F238E27FC236}">
                    <a16:creationId xmlns:a16="http://schemas.microsoft.com/office/drawing/2014/main" id="{3D468786-D953-AF8C-F9E0-D30C8B85E4D2}"/>
                  </a:ext>
                </a:extLst>
              </p:cNvPr>
              <p:cNvSpPr/>
              <p:nvPr/>
            </p:nvSpPr>
            <p:spPr>
              <a:xfrm>
                <a:off x="6285809" y="5271309"/>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sp>
            <p:nvSpPr>
              <p:cNvPr id="55" name="Oval 54">
                <a:extLst>
                  <a:ext uri="{FF2B5EF4-FFF2-40B4-BE49-F238E27FC236}">
                    <a16:creationId xmlns:a16="http://schemas.microsoft.com/office/drawing/2014/main" id="{403E4BF6-D291-6AF9-538C-6BF6810C6AEC}"/>
                  </a:ext>
                </a:extLst>
              </p:cNvPr>
              <p:cNvSpPr/>
              <p:nvPr/>
            </p:nvSpPr>
            <p:spPr>
              <a:xfrm>
                <a:off x="6292902" y="5076993"/>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sp>
            <p:nvSpPr>
              <p:cNvPr id="56" name="Oval 55">
                <a:extLst>
                  <a:ext uri="{FF2B5EF4-FFF2-40B4-BE49-F238E27FC236}">
                    <a16:creationId xmlns:a16="http://schemas.microsoft.com/office/drawing/2014/main" id="{F0CE326D-D64B-8B18-61DD-A34A0C311926}"/>
                  </a:ext>
                </a:extLst>
              </p:cNvPr>
              <p:cNvSpPr/>
              <p:nvPr/>
            </p:nvSpPr>
            <p:spPr>
              <a:xfrm>
                <a:off x="6313211" y="5037491"/>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sp>
            <p:nvSpPr>
              <p:cNvPr id="57" name="Oval 56">
                <a:extLst>
                  <a:ext uri="{FF2B5EF4-FFF2-40B4-BE49-F238E27FC236}">
                    <a16:creationId xmlns:a16="http://schemas.microsoft.com/office/drawing/2014/main" id="{984915C7-6970-2701-4ADE-801FE345880F}"/>
                  </a:ext>
                </a:extLst>
              </p:cNvPr>
              <p:cNvSpPr/>
              <p:nvPr/>
            </p:nvSpPr>
            <p:spPr>
              <a:xfrm>
                <a:off x="6332790" y="4990512"/>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sp>
            <p:nvSpPr>
              <p:cNvPr id="58" name="Oval 57">
                <a:extLst>
                  <a:ext uri="{FF2B5EF4-FFF2-40B4-BE49-F238E27FC236}">
                    <a16:creationId xmlns:a16="http://schemas.microsoft.com/office/drawing/2014/main" id="{2D83D459-8F85-0140-2606-E95EF6816BE7}"/>
                  </a:ext>
                </a:extLst>
              </p:cNvPr>
              <p:cNvSpPr/>
              <p:nvPr/>
            </p:nvSpPr>
            <p:spPr>
              <a:xfrm>
                <a:off x="6351375" y="4948272"/>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prstClr val="white"/>
                  </a:solidFill>
                  <a:latin typeface="Arial" panose="020B0604020202020204"/>
                </a:endParaRPr>
              </a:p>
            </p:txBody>
          </p:sp>
        </p:grpSp>
      </p:grpSp>
      <p:sp>
        <p:nvSpPr>
          <p:cNvPr id="62" name="TextBox 61">
            <a:extLst>
              <a:ext uri="{FF2B5EF4-FFF2-40B4-BE49-F238E27FC236}">
                <a16:creationId xmlns:a16="http://schemas.microsoft.com/office/drawing/2014/main" id="{D2991ED2-9124-EB1A-1FEF-790E7302AB65}"/>
              </a:ext>
            </a:extLst>
          </p:cNvPr>
          <p:cNvSpPr txBox="1"/>
          <p:nvPr/>
        </p:nvSpPr>
        <p:spPr>
          <a:xfrm>
            <a:off x="1641173" y="5418328"/>
            <a:ext cx="9057938" cy="646331"/>
          </a:xfrm>
          <a:prstGeom prst="rect">
            <a:avLst/>
          </a:prstGeom>
          <a:noFill/>
        </p:spPr>
        <p:txBody>
          <a:bodyPr wrap="square" lIns="0" tIns="0" rIns="0" bIns="0" rtlCol="0" anchor="b">
            <a:spAutoFit/>
          </a:bodyPr>
          <a:lstStyle/>
          <a:p>
            <a:pPr algn="ctr" defTabSz="685800">
              <a:defRPr/>
            </a:pPr>
            <a:r>
              <a:rPr lang="en-GB" sz="1200" dirty="0">
                <a:solidFill>
                  <a:prstClr val="black">
                    <a:lumMod val="50000"/>
                    <a:lumOff val="50000"/>
                  </a:prstClr>
                </a:solidFill>
                <a:latin typeface="Pfizer Diatype Office"/>
              </a:rPr>
              <a:t>*</a:t>
            </a:r>
            <a:r>
              <a:rPr lang="en-GB" sz="500" dirty="0" err="1">
                <a:solidFill>
                  <a:prstClr val="black">
                    <a:lumMod val="50000"/>
                    <a:lumOff val="50000"/>
                  </a:prstClr>
                </a:solidFill>
                <a:latin typeface="Pfizer Diatype Office"/>
              </a:rPr>
              <a:t>Ayrıca</a:t>
            </a:r>
            <a:r>
              <a:rPr lang="en-GB" sz="500" dirty="0">
                <a:solidFill>
                  <a:prstClr val="black">
                    <a:lumMod val="50000"/>
                    <a:lumOff val="50000"/>
                  </a:prstClr>
                </a:solidFill>
                <a:latin typeface="Pfizer Diatype Office"/>
              </a:rPr>
              <a:t> “alt </a:t>
            </a:r>
            <a:r>
              <a:rPr lang="en-GB" sz="500" dirty="0" err="1">
                <a:solidFill>
                  <a:prstClr val="black">
                    <a:lumMod val="50000"/>
                    <a:lumOff val="50000"/>
                  </a:prstClr>
                </a:solidFill>
                <a:latin typeface="Pfizer Diatype Office"/>
              </a:rPr>
              <a:t>solunum</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yolu</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hastalığı</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olarak</a:t>
            </a:r>
            <a:r>
              <a:rPr lang="en-GB" sz="500" dirty="0">
                <a:solidFill>
                  <a:prstClr val="black">
                    <a:lumMod val="50000"/>
                    <a:lumOff val="50000"/>
                  </a:prstClr>
                </a:solidFill>
                <a:latin typeface="Pfizer Diatype Office"/>
              </a:rPr>
              <a:t> da </a:t>
            </a:r>
            <a:r>
              <a:rPr lang="en-GB" sz="500" dirty="0" err="1">
                <a:solidFill>
                  <a:prstClr val="black">
                    <a:lumMod val="50000"/>
                    <a:lumOff val="50000"/>
                  </a:prstClr>
                </a:solidFill>
                <a:latin typeface="Pfizer Diatype Office"/>
              </a:rPr>
              <a:t>ifade</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edilir</a:t>
            </a:r>
            <a:r>
              <a:rPr lang="en-GB" sz="500" dirty="0">
                <a:solidFill>
                  <a:prstClr val="black">
                    <a:lumMod val="50000"/>
                    <a:lumOff val="50000"/>
                  </a:prstClr>
                </a:solidFill>
                <a:latin typeface="Pfizer Diatype Office"/>
              </a:rPr>
              <a:t>. </a:t>
            </a:r>
            <a:r>
              <a:rPr lang="en-GB" sz="500" baseline="30000" dirty="0">
                <a:solidFill>
                  <a:prstClr val="black">
                    <a:lumMod val="50000"/>
                    <a:lumOff val="50000"/>
                  </a:prstClr>
                </a:solidFill>
                <a:latin typeface="Pfizer Diatype Office"/>
              </a:rPr>
              <a:t>†</a:t>
            </a:r>
            <a:r>
              <a:rPr lang="en-GB" sz="500" dirty="0">
                <a:solidFill>
                  <a:prstClr val="black">
                    <a:lumMod val="50000"/>
                    <a:lumOff val="50000"/>
                  </a:prstClr>
                </a:solidFill>
                <a:latin typeface="Pfizer Diatype Office"/>
              </a:rPr>
              <a:t>ASYE, Global </a:t>
            </a:r>
            <a:r>
              <a:rPr lang="en-GB" sz="500" dirty="0" err="1">
                <a:solidFill>
                  <a:prstClr val="black">
                    <a:lumMod val="50000"/>
                    <a:lumOff val="50000"/>
                  </a:prstClr>
                </a:solidFill>
                <a:latin typeface="Pfizer Diatype Office"/>
              </a:rPr>
              <a:t>Hastalık</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Yükü</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Yaralanmalar</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ve</a:t>
            </a:r>
            <a:r>
              <a:rPr lang="en-GB" sz="500" dirty="0">
                <a:solidFill>
                  <a:prstClr val="black">
                    <a:lumMod val="50000"/>
                    <a:lumOff val="50000"/>
                  </a:prstClr>
                </a:solidFill>
                <a:latin typeface="Pfizer Diatype Office"/>
              </a:rPr>
              <a:t> Risk </a:t>
            </a:r>
            <a:r>
              <a:rPr lang="en-GB" sz="500" dirty="0" err="1">
                <a:solidFill>
                  <a:prstClr val="black">
                    <a:lumMod val="50000"/>
                    <a:lumOff val="50000"/>
                  </a:prstClr>
                </a:solidFill>
                <a:latin typeface="Pfizer Diatype Office"/>
              </a:rPr>
              <a:t>Faktörleri</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Çalışmasına</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göre</a:t>
            </a:r>
            <a:r>
              <a:rPr lang="en-GB" sz="500" dirty="0">
                <a:solidFill>
                  <a:prstClr val="black">
                    <a:lumMod val="50000"/>
                    <a:lumOff val="50000"/>
                  </a:prstClr>
                </a:solidFill>
                <a:latin typeface="Pfizer Diatype Office"/>
              </a:rPr>
              <a:t>, COVID-19 </a:t>
            </a:r>
            <a:r>
              <a:rPr lang="en-GB" sz="500" dirty="0" err="1">
                <a:solidFill>
                  <a:prstClr val="black">
                    <a:lumMod val="50000"/>
                    <a:lumOff val="50000"/>
                  </a:prstClr>
                </a:solidFill>
                <a:latin typeface="Pfizer Diatype Office"/>
              </a:rPr>
              <a:t>hariç</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olmak</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üzere</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pnömoni</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veya</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bronşiolit</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olarka</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tanımlanmaktadır</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Atfedilebilir</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patojenler</a:t>
            </a:r>
            <a:r>
              <a:rPr lang="en-GB" sz="500" dirty="0">
                <a:solidFill>
                  <a:prstClr val="black">
                    <a:lumMod val="50000"/>
                    <a:lumOff val="50000"/>
                  </a:prstClr>
                </a:solidFill>
                <a:latin typeface="Pfizer Diatype Office"/>
              </a:rPr>
              <a:t> </a:t>
            </a:r>
            <a:r>
              <a:rPr lang="en-GB" sz="500" i="1" dirty="0">
                <a:solidFill>
                  <a:prstClr val="black">
                    <a:lumMod val="50000"/>
                    <a:lumOff val="50000"/>
                  </a:prstClr>
                </a:solidFill>
                <a:latin typeface="Arial" panose="020B0604020202020204"/>
              </a:rPr>
              <a:t>Acinetobacter baumannii</a:t>
            </a:r>
            <a:r>
              <a:rPr lang="en-GB" sz="500" dirty="0">
                <a:solidFill>
                  <a:prstClr val="black">
                    <a:lumMod val="50000"/>
                    <a:lumOff val="50000"/>
                  </a:prstClr>
                </a:solidFill>
                <a:latin typeface="Arial" panose="020B0604020202020204"/>
              </a:rPr>
              <a:t>, Chlamydia </a:t>
            </a:r>
            <a:r>
              <a:rPr lang="en-GB" sz="500" dirty="0" err="1">
                <a:solidFill>
                  <a:prstClr val="black">
                    <a:lumMod val="50000"/>
                    <a:lumOff val="50000"/>
                  </a:prstClr>
                </a:solidFill>
                <a:latin typeface="Arial" panose="020B0604020202020204"/>
              </a:rPr>
              <a:t>spp</a:t>
            </a:r>
            <a:r>
              <a:rPr lang="en-GB" sz="500" dirty="0">
                <a:solidFill>
                  <a:prstClr val="black">
                    <a:lumMod val="50000"/>
                    <a:lumOff val="50000"/>
                  </a:prstClr>
                </a:solidFill>
                <a:latin typeface="Arial" panose="020B0604020202020204"/>
              </a:rPr>
              <a:t>, Enterobacter </a:t>
            </a:r>
            <a:r>
              <a:rPr lang="en-GB" sz="500" dirty="0" err="1">
                <a:solidFill>
                  <a:prstClr val="black">
                    <a:lumMod val="50000"/>
                    <a:lumOff val="50000"/>
                  </a:prstClr>
                </a:solidFill>
                <a:latin typeface="Arial" panose="020B0604020202020204"/>
              </a:rPr>
              <a:t>spp</a:t>
            </a:r>
            <a:r>
              <a:rPr lang="en-GB" sz="500" dirty="0">
                <a:solidFill>
                  <a:prstClr val="black">
                    <a:lumMod val="50000"/>
                    <a:lumOff val="50000"/>
                  </a:prstClr>
                </a:solidFill>
                <a:latin typeface="Arial" panose="020B0604020202020204"/>
              </a:rPr>
              <a:t>, </a:t>
            </a:r>
            <a:r>
              <a:rPr lang="en-GB" sz="500" i="1" dirty="0">
                <a:solidFill>
                  <a:prstClr val="black">
                    <a:lumMod val="50000"/>
                    <a:lumOff val="50000"/>
                  </a:prstClr>
                </a:solidFill>
                <a:latin typeface="Arial" panose="020B0604020202020204"/>
              </a:rPr>
              <a:t>Escherichia coli</a:t>
            </a:r>
            <a:r>
              <a:rPr lang="en-GB" sz="500" dirty="0">
                <a:solidFill>
                  <a:prstClr val="black">
                    <a:lumMod val="50000"/>
                    <a:lumOff val="50000"/>
                  </a:prstClr>
                </a:solidFill>
                <a:latin typeface="Arial" panose="020B0604020202020204"/>
              </a:rPr>
              <a:t>, fungi, group B streptococcus, </a:t>
            </a:r>
            <a:r>
              <a:rPr lang="en-GB" sz="500" i="1" dirty="0">
                <a:solidFill>
                  <a:prstClr val="black">
                    <a:lumMod val="50000"/>
                    <a:lumOff val="50000"/>
                  </a:prstClr>
                </a:solidFill>
                <a:latin typeface="Arial" panose="020B0604020202020204"/>
              </a:rPr>
              <a:t>Haemophilus influenzae</a:t>
            </a:r>
            <a:r>
              <a:rPr lang="en-GB" sz="500" dirty="0">
                <a:solidFill>
                  <a:prstClr val="black">
                    <a:lumMod val="50000"/>
                    <a:lumOff val="50000"/>
                  </a:prstClr>
                </a:solidFill>
                <a:latin typeface="Arial" panose="020B0604020202020204"/>
              </a:rPr>
              <a:t>, influenza </a:t>
            </a:r>
            <a:r>
              <a:rPr lang="en-GB" sz="500" dirty="0" err="1">
                <a:solidFill>
                  <a:prstClr val="black">
                    <a:lumMod val="50000"/>
                    <a:lumOff val="50000"/>
                  </a:prstClr>
                </a:solidFill>
                <a:latin typeface="Arial" panose="020B0604020202020204"/>
              </a:rPr>
              <a:t>virusleri</a:t>
            </a:r>
            <a:r>
              <a:rPr lang="en-GB" sz="500" dirty="0">
                <a:solidFill>
                  <a:prstClr val="black">
                    <a:lumMod val="50000"/>
                    <a:lumOff val="50000"/>
                  </a:prstClr>
                </a:solidFill>
                <a:latin typeface="Arial" panose="020B0604020202020204"/>
              </a:rPr>
              <a:t>, </a:t>
            </a:r>
            <a:r>
              <a:rPr lang="en-GB" sz="500" i="1" dirty="0">
                <a:solidFill>
                  <a:prstClr val="black">
                    <a:lumMod val="50000"/>
                    <a:lumOff val="50000"/>
                  </a:prstClr>
                </a:solidFill>
                <a:latin typeface="Arial" panose="020B0604020202020204"/>
              </a:rPr>
              <a:t>Klebsiella pneumoniae</a:t>
            </a:r>
            <a:r>
              <a:rPr lang="en-GB" sz="500" dirty="0">
                <a:solidFill>
                  <a:prstClr val="black">
                    <a:lumMod val="50000"/>
                    <a:lumOff val="50000"/>
                  </a:prstClr>
                </a:solidFill>
                <a:latin typeface="Arial" panose="020B0604020202020204"/>
              </a:rPr>
              <a:t>, Legionella </a:t>
            </a:r>
            <a:r>
              <a:rPr lang="en-GB" sz="500" dirty="0" err="1">
                <a:solidFill>
                  <a:prstClr val="black">
                    <a:lumMod val="50000"/>
                    <a:lumOff val="50000"/>
                  </a:prstClr>
                </a:solidFill>
                <a:latin typeface="Arial" panose="020B0604020202020204"/>
              </a:rPr>
              <a:t>spp</a:t>
            </a:r>
            <a:r>
              <a:rPr lang="en-GB" sz="500" dirty="0">
                <a:solidFill>
                  <a:prstClr val="black">
                    <a:lumMod val="50000"/>
                    <a:lumOff val="50000"/>
                  </a:prstClr>
                </a:solidFill>
                <a:latin typeface="Arial" panose="020B0604020202020204"/>
              </a:rPr>
              <a:t>, Mycoplasma </a:t>
            </a:r>
            <a:r>
              <a:rPr lang="en-GB" sz="500" dirty="0" err="1">
                <a:solidFill>
                  <a:prstClr val="black">
                    <a:lumMod val="50000"/>
                    <a:lumOff val="50000"/>
                  </a:prstClr>
                </a:solidFill>
                <a:latin typeface="Arial" panose="020B0604020202020204"/>
              </a:rPr>
              <a:t>spp</a:t>
            </a:r>
            <a:r>
              <a:rPr lang="en-GB" sz="500" dirty="0">
                <a:solidFill>
                  <a:prstClr val="black">
                    <a:lumMod val="50000"/>
                    <a:lumOff val="50000"/>
                  </a:prstClr>
                </a:solidFill>
                <a:latin typeface="Arial" panose="020B0604020202020204"/>
              </a:rPr>
              <a:t>, </a:t>
            </a:r>
            <a:r>
              <a:rPr lang="en-GB" sz="500" dirty="0" err="1">
                <a:solidFill>
                  <a:prstClr val="black">
                    <a:lumMod val="50000"/>
                    <a:lumOff val="50000"/>
                  </a:prstClr>
                </a:solidFill>
                <a:latin typeface="Arial" panose="020B0604020202020204"/>
              </a:rPr>
              <a:t>polimikrobial</a:t>
            </a:r>
            <a:r>
              <a:rPr lang="en-GB" sz="500" dirty="0">
                <a:solidFill>
                  <a:prstClr val="black">
                    <a:lumMod val="50000"/>
                    <a:lumOff val="50000"/>
                  </a:prstClr>
                </a:solidFill>
                <a:latin typeface="Arial" panose="020B0604020202020204"/>
              </a:rPr>
              <a:t> </a:t>
            </a:r>
            <a:r>
              <a:rPr lang="en-GB" sz="500" dirty="0" err="1">
                <a:solidFill>
                  <a:prstClr val="black">
                    <a:lumMod val="50000"/>
                    <a:lumOff val="50000"/>
                  </a:prstClr>
                </a:solidFill>
                <a:latin typeface="Arial" panose="020B0604020202020204"/>
              </a:rPr>
              <a:t>enfeksiyonlar</a:t>
            </a:r>
            <a:r>
              <a:rPr lang="en-GB" sz="500" dirty="0">
                <a:solidFill>
                  <a:prstClr val="black">
                    <a:lumMod val="50000"/>
                    <a:lumOff val="50000"/>
                  </a:prstClr>
                </a:solidFill>
                <a:latin typeface="Arial" panose="020B0604020202020204"/>
              </a:rPr>
              <a:t>, </a:t>
            </a:r>
            <a:r>
              <a:rPr lang="en-GB" sz="500" i="1" dirty="0">
                <a:solidFill>
                  <a:prstClr val="black">
                    <a:lumMod val="50000"/>
                    <a:lumOff val="50000"/>
                  </a:prstClr>
                </a:solidFill>
                <a:latin typeface="Arial" panose="020B0604020202020204"/>
              </a:rPr>
              <a:t>Pseudomonas aeruginosa</a:t>
            </a:r>
            <a:r>
              <a:rPr lang="en-GB" sz="500" dirty="0">
                <a:solidFill>
                  <a:prstClr val="black">
                    <a:lumMod val="50000"/>
                    <a:lumOff val="50000"/>
                  </a:prstClr>
                </a:solidFill>
                <a:latin typeface="Arial" panose="020B0604020202020204"/>
              </a:rPr>
              <a:t>, respiratory syncytial virus (RSV), </a:t>
            </a:r>
            <a:r>
              <a:rPr lang="en-GB" sz="500" i="1" dirty="0">
                <a:solidFill>
                  <a:prstClr val="black">
                    <a:lumMod val="50000"/>
                    <a:lumOff val="50000"/>
                  </a:prstClr>
                </a:solidFill>
                <a:latin typeface="Arial" panose="020B0604020202020204"/>
              </a:rPr>
              <a:t>Staphylococcus aureus</a:t>
            </a:r>
            <a:r>
              <a:rPr lang="en-GB" sz="500" dirty="0">
                <a:solidFill>
                  <a:prstClr val="black">
                    <a:lumMod val="50000"/>
                    <a:lumOff val="50000"/>
                  </a:prstClr>
                </a:solidFill>
                <a:latin typeface="Arial" panose="020B0604020202020204"/>
              </a:rPr>
              <a:t>, </a:t>
            </a:r>
            <a:r>
              <a:rPr lang="en-GB" sz="500" i="1" dirty="0">
                <a:solidFill>
                  <a:prstClr val="black">
                    <a:lumMod val="50000"/>
                    <a:lumOff val="50000"/>
                  </a:prstClr>
                </a:solidFill>
                <a:latin typeface="Arial" panose="020B0604020202020204"/>
              </a:rPr>
              <a:t>Streptococcus pneumoniae</a:t>
            </a:r>
            <a:r>
              <a:rPr lang="en-GB" sz="500" dirty="0">
                <a:solidFill>
                  <a:prstClr val="black">
                    <a:lumMod val="50000"/>
                    <a:lumOff val="50000"/>
                  </a:prstClr>
                </a:solidFill>
                <a:latin typeface="Arial" panose="020B0604020202020204"/>
              </a:rPr>
              <a:t>,</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ve</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diğer</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virüsler</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yani</a:t>
            </a:r>
            <a:r>
              <a:rPr lang="en-GB" sz="500" i="1" dirty="0">
                <a:solidFill>
                  <a:prstClr val="black">
                    <a:lumMod val="50000"/>
                    <a:lumOff val="50000"/>
                  </a:prstClr>
                </a:solidFill>
                <a:latin typeface="Pfizer Diatype Office"/>
              </a:rPr>
              <a:t>, influenza </a:t>
            </a:r>
            <a:r>
              <a:rPr lang="en-GB" sz="500" i="1" dirty="0" err="1">
                <a:solidFill>
                  <a:prstClr val="black">
                    <a:lumMod val="50000"/>
                    <a:lumOff val="50000"/>
                  </a:prstClr>
                </a:solidFill>
                <a:latin typeface="Pfizer Diatype Office"/>
              </a:rPr>
              <a:t>ve</a:t>
            </a:r>
            <a:r>
              <a:rPr lang="en-GB" sz="500" i="1" dirty="0">
                <a:solidFill>
                  <a:prstClr val="black">
                    <a:lumMod val="50000"/>
                    <a:lumOff val="50000"/>
                  </a:prstClr>
                </a:solidFill>
                <a:latin typeface="Pfizer Diatype Office"/>
              </a:rPr>
              <a:t> RSV </a:t>
            </a:r>
            <a:r>
              <a:rPr lang="en-GB" sz="500" i="1" dirty="0" err="1">
                <a:solidFill>
                  <a:prstClr val="black">
                    <a:lumMod val="50000"/>
                    <a:lumOff val="50000"/>
                  </a:prstClr>
                </a:solidFill>
                <a:latin typeface="Pfizer Diatype Office"/>
              </a:rPr>
              <a:t>hariç</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çalışılan</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tüm</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virüslerin</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toplamı</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ve</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ayrıca</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diğer</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bakteriyel</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patojenlerden</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oluşan</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artık</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bir</a:t>
            </a:r>
            <a:r>
              <a:rPr lang="en-GB" sz="500" i="1" dirty="0">
                <a:solidFill>
                  <a:prstClr val="black">
                    <a:lumMod val="50000"/>
                    <a:lumOff val="50000"/>
                  </a:prstClr>
                </a:solidFill>
                <a:latin typeface="Pfizer Diatype Office"/>
              </a:rPr>
              <a:t> </a:t>
            </a:r>
            <a:r>
              <a:rPr lang="en-GB" sz="500" i="1" dirty="0" err="1">
                <a:solidFill>
                  <a:prstClr val="black">
                    <a:lumMod val="50000"/>
                    <a:lumOff val="50000"/>
                  </a:prstClr>
                </a:solidFill>
                <a:latin typeface="Pfizer Diatype Office"/>
              </a:rPr>
              <a:t>kategori</a:t>
            </a:r>
            <a:r>
              <a:rPr lang="en-GB" sz="500" i="1" dirty="0">
                <a:solidFill>
                  <a:prstClr val="black">
                    <a:lumMod val="50000"/>
                    <a:lumOff val="50000"/>
                  </a:prstClr>
                </a:solidFill>
                <a:latin typeface="Pfizer Diatype Office"/>
              </a:rPr>
              <a:t>.</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Solunum</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yolu</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enfeksiyonları</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ve</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hastalık</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seyri</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ile</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ilgili</a:t>
            </a:r>
            <a:r>
              <a:rPr lang="en-GB" sz="500" dirty="0">
                <a:solidFill>
                  <a:prstClr val="black">
                    <a:lumMod val="50000"/>
                    <a:lumOff val="50000"/>
                  </a:prstClr>
                </a:solidFill>
                <a:latin typeface="Pfizer Diatype Office"/>
              </a:rPr>
              <a:t> ek </a:t>
            </a:r>
            <a:r>
              <a:rPr lang="en-GB" sz="500" dirty="0" err="1">
                <a:solidFill>
                  <a:prstClr val="black">
                    <a:lumMod val="50000"/>
                    <a:lumOff val="50000"/>
                  </a:prstClr>
                </a:solidFill>
                <a:latin typeface="Pfizer Diatype Office"/>
              </a:rPr>
              <a:t>tanımlar</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için</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Ek'e</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bakın</a:t>
            </a:r>
            <a:r>
              <a:rPr lang="en-GB" sz="500" dirty="0">
                <a:solidFill>
                  <a:prstClr val="black">
                    <a:lumMod val="50000"/>
                    <a:lumOff val="50000"/>
                  </a:prstClr>
                </a:solidFill>
                <a:latin typeface="Pfizer Diatype Office"/>
              </a:rPr>
              <a:t>. </a:t>
            </a:r>
            <a:r>
              <a:rPr lang="en-GB" sz="500" baseline="30000" dirty="0">
                <a:solidFill>
                  <a:prstClr val="black">
                    <a:lumMod val="50000"/>
                    <a:lumOff val="50000"/>
                  </a:prstClr>
                </a:solidFill>
                <a:latin typeface="Pfizer Diatype Office"/>
              </a:rPr>
              <a:t>‡</a:t>
            </a:r>
            <a:r>
              <a:rPr lang="en-GB" sz="500" dirty="0" err="1">
                <a:solidFill>
                  <a:prstClr val="black">
                    <a:lumMod val="50000"/>
                    <a:lumOff val="50000"/>
                  </a:prstClr>
                </a:solidFill>
                <a:latin typeface="Pfizer Diatype Office"/>
              </a:rPr>
              <a:t>Tahminler</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pandemik</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bir</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dönem</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içerir</a:t>
            </a:r>
            <a:r>
              <a:rPr lang="en-GB" sz="500" dirty="0">
                <a:solidFill>
                  <a:prstClr val="black">
                    <a:lumMod val="50000"/>
                    <a:lumOff val="50000"/>
                  </a:prstClr>
                </a:solidFill>
                <a:latin typeface="Pfizer Diatype Office"/>
              </a:rPr>
              <a:t>. </a:t>
            </a:r>
            <a:br>
              <a:rPr lang="en-GB" sz="500" dirty="0">
                <a:solidFill>
                  <a:prstClr val="black">
                    <a:lumMod val="50000"/>
                    <a:lumOff val="50000"/>
                  </a:prstClr>
                </a:solidFill>
                <a:latin typeface="Pfizer Diatype Office"/>
              </a:rPr>
            </a:br>
            <a:r>
              <a:rPr lang="en-GB" sz="500" dirty="0">
                <a:solidFill>
                  <a:prstClr val="black">
                    <a:lumMod val="50000"/>
                    <a:lumOff val="50000"/>
                  </a:prstClr>
                </a:solidFill>
                <a:latin typeface="Pfizer Diatype Office"/>
              </a:rPr>
              <a:t>ASYE, alt </a:t>
            </a:r>
            <a:r>
              <a:rPr lang="en-GB" sz="500" dirty="0" err="1">
                <a:solidFill>
                  <a:prstClr val="black">
                    <a:lumMod val="50000"/>
                    <a:lumOff val="50000"/>
                  </a:prstClr>
                </a:solidFill>
                <a:latin typeface="Pfizer Diatype Office"/>
              </a:rPr>
              <a:t>solunum</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yolu</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enfeksiyonu</a:t>
            </a:r>
            <a:r>
              <a:rPr lang="en-GB" sz="500" dirty="0">
                <a:solidFill>
                  <a:prstClr val="black">
                    <a:lumMod val="50000"/>
                    <a:lumOff val="50000"/>
                  </a:prstClr>
                </a:solidFill>
                <a:latin typeface="Pfizer Diatype Office"/>
              </a:rPr>
              <a:t>; RSV, </a:t>
            </a:r>
            <a:r>
              <a:rPr lang="en-GB" sz="500" dirty="0" err="1">
                <a:solidFill>
                  <a:prstClr val="black">
                    <a:lumMod val="50000"/>
                    <a:lumOff val="50000"/>
                  </a:prstClr>
                </a:solidFill>
                <a:latin typeface="Pfizer Diatype Office"/>
              </a:rPr>
              <a:t>solunum</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sinsityal</a:t>
            </a:r>
            <a:r>
              <a:rPr lang="en-GB" sz="500" dirty="0">
                <a:solidFill>
                  <a:prstClr val="black">
                    <a:lumMod val="50000"/>
                    <a:lumOff val="50000"/>
                  </a:prstClr>
                </a:solidFill>
                <a:latin typeface="Pfizer Diatype Office"/>
              </a:rPr>
              <a:t> </a:t>
            </a:r>
            <a:r>
              <a:rPr lang="en-GB" sz="500" dirty="0" err="1">
                <a:solidFill>
                  <a:prstClr val="black">
                    <a:lumMod val="50000"/>
                    <a:lumOff val="50000"/>
                  </a:prstClr>
                </a:solidFill>
                <a:latin typeface="Pfizer Diatype Office"/>
              </a:rPr>
              <a:t>virüsü</a:t>
            </a:r>
            <a:r>
              <a:rPr lang="en-GB" sz="500" dirty="0">
                <a:solidFill>
                  <a:prstClr val="black">
                    <a:lumMod val="50000"/>
                    <a:lumOff val="50000"/>
                  </a:prstClr>
                </a:solidFill>
                <a:latin typeface="Pfizer Diatype Office"/>
              </a:rPr>
              <a:t>. </a:t>
            </a:r>
          </a:p>
          <a:p>
            <a:pPr algn="ctr" defTabSz="685800">
              <a:defRPr/>
            </a:pPr>
            <a:r>
              <a:rPr lang="en-GB" sz="500" dirty="0">
                <a:solidFill>
                  <a:prstClr val="black">
                    <a:lumMod val="50000"/>
                    <a:lumOff val="50000"/>
                  </a:prstClr>
                </a:solidFill>
                <a:latin typeface="Arial" panose="020B0604020202020204"/>
              </a:rPr>
              <a:t>1. Safiri S, et al. </a:t>
            </a:r>
            <a:r>
              <a:rPr lang="en-GB" sz="500" i="1" dirty="0">
                <a:solidFill>
                  <a:prstClr val="black">
                    <a:lumMod val="50000"/>
                    <a:lumOff val="50000"/>
                  </a:prstClr>
                </a:solidFill>
                <a:latin typeface="Arial" panose="020B0604020202020204"/>
              </a:rPr>
              <a:t>Front Public Health</a:t>
            </a:r>
            <a:r>
              <a:rPr lang="en-GB" sz="500" dirty="0">
                <a:solidFill>
                  <a:prstClr val="black">
                    <a:lumMod val="50000"/>
                    <a:lumOff val="50000"/>
                  </a:prstClr>
                </a:solidFill>
                <a:latin typeface="Arial" panose="020B0604020202020204"/>
              </a:rPr>
              <a:t>. 2023;10:1028525; 2. World Health Organization. </a:t>
            </a:r>
            <a:r>
              <a:rPr lang="en-US" sz="500" dirty="0">
                <a:solidFill>
                  <a:prstClr val="black">
                    <a:lumMod val="50000"/>
                    <a:lumOff val="50000"/>
                  </a:prstClr>
                </a:solidFill>
                <a:latin typeface="Arial" panose="020B0604020202020204"/>
              </a:rPr>
              <a:t>Preventing a triple threat this autumn and winter - applying lessons and understanding individual risk to protect ourselves and others from respiratory illness</a:t>
            </a:r>
            <a:r>
              <a:rPr lang="en-GB" sz="500" dirty="0">
                <a:solidFill>
                  <a:prstClr val="black">
                    <a:lumMod val="50000"/>
                    <a:lumOff val="50000"/>
                  </a:prstClr>
                </a:solidFill>
                <a:latin typeface="Arial" panose="020B0604020202020204"/>
              </a:rPr>
              <a:t>. </a:t>
            </a:r>
            <a:r>
              <a:rPr lang="en-GB" sz="500" dirty="0">
                <a:solidFill>
                  <a:prstClr val="black">
                    <a:lumMod val="50000"/>
                    <a:lumOff val="50000"/>
                  </a:prstClr>
                </a:solidFill>
                <a:latin typeface="Arial" panose="020B0604020202020204"/>
                <a:hlinkClick r:id="rId4">
                  <a:extLst>
                    <a:ext uri="{A12FA001-AC4F-418D-AE19-62706E023703}">
                      <ahyp:hlinkClr xmlns:ahyp="http://schemas.microsoft.com/office/drawing/2018/hyperlinkcolor" val="tx"/>
                    </a:ext>
                  </a:extLst>
                </a:hlinkClick>
              </a:rPr>
              <a:t>https://www.who.int/europe/event/preventing-a-triple-threat-this-autumn-and-winter--applying-lessons-and-understanding-individual-risk-to-protect-ourselves-and-others-from-respiratory-illness</a:t>
            </a:r>
            <a:r>
              <a:rPr lang="en-GB" sz="500" dirty="0">
                <a:solidFill>
                  <a:prstClr val="black">
                    <a:lumMod val="50000"/>
                    <a:lumOff val="50000"/>
                  </a:prstClr>
                </a:solidFill>
                <a:latin typeface="Arial" panose="020B0604020202020204"/>
              </a:rPr>
              <a:t>. Accessed 12 February 2025; 3. GBD 2021 Lower Respiratory Infections and Antimicrobial Resistance Collaborators. </a:t>
            </a:r>
            <a:r>
              <a:rPr lang="en-GB" sz="500" i="1" dirty="0">
                <a:solidFill>
                  <a:prstClr val="black">
                    <a:lumMod val="50000"/>
                    <a:lumOff val="50000"/>
                  </a:prstClr>
                </a:solidFill>
                <a:latin typeface="Arial" panose="020B0604020202020204"/>
              </a:rPr>
              <a:t>Lancet Infect Dis</a:t>
            </a:r>
            <a:r>
              <a:rPr lang="en-GB" sz="500" dirty="0">
                <a:solidFill>
                  <a:prstClr val="black">
                    <a:lumMod val="50000"/>
                    <a:lumOff val="50000"/>
                  </a:prstClr>
                </a:solidFill>
                <a:latin typeface="Arial" panose="020B0604020202020204"/>
              </a:rPr>
              <a:t>. 2024;24(9):974-1002; 4. Our World in Data. COVID-19 was the third largest cause of death in 2021. </a:t>
            </a:r>
            <a:r>
              <a:rPr lang="en-GB" sz="500" dirty="0">
                <a:solidFill>
                  <a:prstClr val="black">
                    <a:lumMod val="50000"/>
                    <a:lumOff val="50000"/>
                  </a:prstClr>
                </a:solidFill>
                <a:latin typeface="Arial" panose="020B0604020202020204"/>
                <a:hlinkClick r:id="rId5"/>
              </a:rPr>
              <a:t>https://ourworldindata.org/data-insights/covid-19-was-the-third-largest-cause-of-death-in-2021</a:t>
            </a:r>
            <a:r>
              <a:rPr lang="en-GB" sz="500" dirty="0">
                <a:solidFill>
                  <a:prstClr val="black">
                    <a:lumMod val="50000"/>
                    <a:lumOff val="50000"/>
                  </a:prstClr>
                </a:solidFill>
                <a:latin typeface="Arial" panose="020B0604020202020204"/>
              </a:rPr>
              <a:t>. Accessed 28 April 2025.</a:t>
            </a:r>
          </a:p>
        </p:txBody>
      </p:sp>
      <p:grpSp>
        <p:nvGrpSpPr>
          <p:cNvPr id="59" name="Group 58">
            <a:extLst>
              <a:ext uri="{FF2B5EF4-FFF2-40B4-BE49-F238E27FC236}">
                <a16:creationId xmlns:a16="http://schemas.microsoft.com/office/drawing/2014/main" id="{1DB962E3-0339-3A64-5726-870CDB0B8110}"/>
              </a:ext>
            </a:extLst>
          </p:cNvPr>
          <p:cNvGrpSpPr/>
          <p:nvPr/>
        </p:nvGrpSpPr>
        <p:grpSpPr>
          <a:xfrm>
            <a:off x="4568413" y="1646366"/>
            <a:ext cx="6035039" cy="2592791"/>
            <a:chOff x="3293361" y="1646365"/>
            <a:chExt cx="5378795" cy="1971545"/>
          </a:xfrm>
        </p:grpSpPr>
        <p:sp>
          <p:nvSpPr>
            <p:cNvPr id="75" name="Rectangle: Rounded Corners 74">
              <a:extLst>
                <a:ext uri="{FF2B5EF4-FFF2-40B4-BE49-F238E27FC236}">
                  <a16:creationId xmlns:a16="http://schemas.microsoft.com/office/drawing/2014/main" id="{1C9B0C4F-6B33-F264-5D6D-BA67682B9193}"/>
                </a:ext>
              </a:extLst>
            </p:cNvPr>
            <p:cNvSpPr/>
            <p:nvPr/>
          </p:nvSpPr>
          <p:spPr>
            <a:xfrm>
              <a:off x="3293361" y="1646365"/>
              <a:ext cx="5378795" cy="1971545"/>
            </a:xfrm>
            <a:prstGeom prst="roundRect">
              <a:avLst>
                <a:gd name="adj" fmla="val 7777"/>
              </a:avLst>
            </a:prstGeom>
            <a:solidFill>
              <a:schemeClr val="bg1">
                <a:alpha val="85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390">
                <a:defRPr/>
              </a:pPr>
              <a:endParaRPr lang="en-US">
                <a:solidFill>
                  <a:srgbClr val="FFFFFF"/>
                </a:solidFill>
                <a:latin typeface="Pfizer Diatype Office"/>
              </a:endParaRPr>
            </a:p>
          </p:txBody>
        </p:sp>
        <p:sp>
          <p:nvSpPr>
            <p:cNvPr id="14" name="TextBox 13">
              <a:extLst>
                <a:ext uri="{FF2B5EF4-FFF2-40B4-BE49-F238E27FC236}">
                  <a16:creationId xmlns:a16="http://schemas.microsoft.com/office/drawing/2014/main" id="{E6004D90-D72A-3016-EC57-554E73AE3B37}"/>
                </a:ext>
              </a:extLst>
            </p:cNvPr>
            <p:cNvSpPr txBox="1"/>
            <p:nvPr/>
          </p:nvSpPr>
          <p:spPr>
            <a:xfrm>
              <a:off x="6441793" y="2078597"/>
              <a:ext cx="1095614" cy="253916"/>
            </a:xfrm>
            <a:prstGeom prst="rect">
              <a:avLst/>
            </a:prstGeom>
            <a:noFill/>
          </p:spPr>
          <p:txBody>
            <a:bodyPr wrap="square" anchor="ctr">
              <a:noAutofit/>
            </a:bodyPr>
            <a:lstStyle/>
            <a:p>
              <a:pPr algn="ctr" defTabSz="685800" fontAlgn="base">
                <a:spcAft>
                  <a:spcPts val="900"/>
                </a:spcAft>
                <a:buClr>
                  <a:srgbClr val="000000"/>
                </a:buClr>
                <a:buSzPct val="100000"/>
                <a:defRPr/>
              </a:pPr>
              <a:r>
                <a:rPr lang="en-US" sz="1600" b="1">
                  <a:solidFill>
                    <a:srgbClr val="0070BF"/>
                  </a:solidFill>
                  <a:latin typeface="Pfizer Tomorrow"/>
                </a:rPr>
                <a:t>SARS-CoV-2</a:t>
              </a:r>
              <a:endParaRPr lang="en-US" sz="1200" b="1">
                <a:solidFill>
                  <a:srgbClr val="0070BF"/>
                </a:solidFill>
                <a:latin typeface="Pfizer Diatype Office"/>
              </a:endParaRPr>
            </a:p>
          </p:txBody>
        </p:sp>
        <p:sp>
          <p:nvSpPr>
            <p:cNvPr id="15" name="TextBox 14">
              <a:extLst>
                <a:ext uri="{FF2B5EF4-FFF2-40B4-BE49-F238E27FC236}">
                  <a16:creationId xmlns:a16="http://schemas.microsoft.com/office/drawing/2014/main" id="{6BBF1F25-6D40-5D7C-854E-629A04BA0544}"/>
                </a:ext>
              </a:extLst>
            </p:cNvPr>
            <p:cNvSpPr txBox="1"/>
            <p:nvPr/>
          </p:nvSpPr>
          <p:spPr>
            <a:xfrm>
              <a:off x="7594761" y="2078597"/>
              <a:ext cx="878213" cy="253916"/>
            </a:xfrm>
            <a:prstGeom prst="rect">
              <a:avLst/>
            </a:prstGeom>
            <a:noFill/>
          </p:spPr>
          <p:txBody>
            <a:bodyPr wrap="square" anchor="ctr">
              <a:noAutofit/>
            </a:bodyPr>
            <a:lstStyle/>
            <a:p>
              <a:pPr algn="ctr" defTabSz="685800" fontAlgn="base">
                <a:spcAft>
                  <a:spcPts val="900"/>
                </a:spcAft>
                <a:buClr>
                  <a:srgbClr val="000000"/>
                </a:buClr>
                <a:buSzPct val="100000"/>
                <a:defRPr/>
              </a:pPr>
              <a:r>
                <a:rPr lang="en-US" sz="1600" b="1">
                  <a:solidFill>
                    <a:srgbClr val="0000C9"/>
                  </a:solidFill>
                  <a:latin typeface="Pfizer Tomorrow"/>
                </a:rPr>
                <a:t>Influenza</a:t>
              </a:r>
              <a:endParaRPr lang="en-US" sz="1200" b="1">
                <a:solidFill>
                  <a:srgbClr val="EDEDED"/>
                </a:solidFill>
                <a:latin typeface="Pfizer Diatype Office"/>
              </a:endParaRPr>
            </a:p>
          </p:txBody>
        </p:sp>
        <p:sp>
          <p:nvSpPr>
            <p:cNvPr id="16" name="TextBox 15">
              <a:extLst>
                <a:ext uri="{FF2B5EF4-FFF2-40B4-BE49-F238E27FC236}">
                  <a16:creationId xmlns:a16="http://schemas.microsoft.com/office/drawing/2014/main" id="{C5018A68-40AD-5355-930A-F6D984164983}"/>
                </a:ext>
              </a:extLst>
            </p:cNvPr>
            <p:cNvSpPr txBox="1"/>
            <p:nvPr/>
          </p:nvSpPr>
          <p:spPr>
            <a:xfrm>
              <a:off x="5645773" y="2078597"/>
              <a:ext cx="578079" cy="253916"/>
            </a:xfrm>
            <a:prstGeom prst="rect">
              <a:avLst/>
            </a:prstGeom>
            <a:noFill/>
          </p:spPr>
          <p:txBody>
            <a:bodyPr wrap="square" anchor="ctr">
              <a:noAutofit/>
            </a:bodyPr>
            <a:lstStyle/>
            <a:p>
              <a:pPr algn="ctr" defTabSz="685800" fontAlgn="base">
                <a:spcAft>
                  <a:spcPts val="900"/>
                </a:spcAft>
                <a:buClr>
                  <a:srgbClr val="000000"/>
                </a:buClr>
                <a:buSzPct val="100000"/>
                <a:defRPr/>
              </a:pPr>
              <a:r>
                <a:rPr lang="en-US" sz="1600" b="1">
                  <a:solidFill>
                    <a:srgbClr val="0DBDBA"/>
                  </a:solidFill>
                  <a:latin typeface="Pfizer Tomorrow"/>
                </a:rPr>
                <a:t>RSV</a:t>
              </a:r>
              <a:endParaRPr lang="en-US" sz="1200" b="1">
                <a:solidFill>
                  <a:srgbClr val="0DBDBA"/>
                </a:solidFill>
                <a:latin typeface="Pfizer Diatype Office"/>
              </a:endParaRPr>
            </a:p>
          </p:txBody>
        </p:sp>
        <p:grpSp>
          <p:nvGrpSpPr>
            <p:cNvPr id="17" name="Graphic 99">
              <a:extLst>
                <a:ext uri="{FF2B5EF4-FFF2-40B4-BE49-F238E27FC236}">
                  <a16:creationId xmlns:a16="http://schemas.microsoft.com/office/drawing/2014/main" id="{0C454671-B4CD-7EB8-822F-07C3C730EA0F}"/>
                </a:ext>
              </a:extLst>
            </p:cNvPr>
            <p:cNvGrpSpPr/>
            <p:nvPr/>
          </p:nvGrpSpPr>
          <p:grpSpPr>
            <a:xfrm>
              <a:off x="7793703" y="2335865"/>
              <a:ext cx="480329" cy="454551"/>
              <a:chOff x="14651672" y="365569"/>
              <a:chExt cx="4240529" cy="4241482"/>
            </a:xfrm>
            <a:solidFill>
              <a:srgbClr val="0000C9"/>
            </a:solidFill>
          </p:grpSpPr>
          <p:sp>
            <p:nvSpPr>
              <p:cNvPr id="18" name="Freeform: Shape 17">
                <a:extLst>
                  <a:ext uri="{FF2B5EF4-FFF2-40B4-BE49-F238E27FC236}">
                    <a16:creationId xmlns:a16="http://schemas.microsoft.com/office/drawing/2014/main" id="{69EAFCC1-3F71-9C75-684B-E302289C9DBB}"/>
                  </a:ext>
                </a:extLst>
              </p:cNvPr>
              <p:cNvSpPr/>
              <p:nvPr/>
            </p:nvSpPr>
            <p:spPr>
              <a:xfrm>
                <a:off x="17117694" y="1968627"/>
                <a:ext cx="259080" cy="259079"/>
              </a:xfrm>
              <a:custGeom>
                <a:avLst/>
                <a:gdLst>
                  <a:gd name="connsiteX0" fmla="*/ 259080 w 259080"/>
                  <a:gd name="connsiteY0" fmla="*/ 129540 h 259079"/>
                  <a:gd name="connsiteX1" fmla="*/ 129540 w 259080"/>
                  <a:gd name="connsiteY1" fmla="*/ 259080 h 259079"/>
                  <a:gd name="connsiteX2" fmla="*/ 0 w 259080"/>
                  <a:gd name="connsiteY2" fmla="*/ 129540 h 259079"/>
                  <a:gd name="connsiteX3" fmla="*/ 129540 w 259080"/>
                  <a:gd name="connsiteY3" fmla="*/ 0 h 259079"/>
                  <a:gd name="connsiteX4" fmla="*/ 259080 w 259080"/>
                  <a:gd name="connsiteY4" fmla="*/ 129540 h 259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80" h="259079">
                    <a:moveTo>
                      <a:pt x="259080" y="129540"/>
                    </a:moveTo>
                    <a:cubicBezTo>
                      <a:pt x="259080" y="201083"/>
                      <a:pt x="201083" y="259080"/>
                      <a:pt x="129540" y="259080"/>
                    </a:cubicBezTo>
                    <a:cubicBezTo>
                      <a:pt x="57997" y="259080"/>
                      <a:pt x="0" y="201083"/>
                      <a:pt x="0" y="129540"/>
                    </a:cubicBezTo>
                    <a:cubicBezTo>
                      <a:pt x="0" y="57997"/>
                      <a:pt x="57997" y="0"/>
                      <a:pt x="129540" y="0"/>
                    </a:cubicBezTo>
                    <a:cubicBezTo>
                      <a:pt x="201083" y="0"/>
                      <a:pt x="259080" y="57997"/>
                      <a:pt x="259080" y="129540"/>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19" name="Freeform: Shape 18">
                <a:extLst>
                  <a:ext uri="{FF2B5EF4-FFF2-40B4-BE49-F238E27FC236}">
                    <a16:creationId xmlns:a16="http://schemas.microsoft.com/office/drawing/2014/main" id="{690A3977-F6FA-34BD-A0FA-467D2F9BB445}"/>
                  </a:ext>
                </a:extLst>
              </p:cNvPr>
              <p:cNvSpPr/>
              <p:nvPr/>
            </p:nvSpPr>
            <p:spPr>
              <a:xfrm>
                <a:off x="16167099" y="2919222"/>
                <a:ext cx="259079" cy="259080"/>
              </a:xfrm>
              <a:custGeom>
                <a:avLst/>
                <a:gdLst>
                  <a:gd name="connsiteX0" fmla="*/ 259080 w 259079"/>
                  <a:gd name="connsiteY0" fmla="*/ 129540 h 259080"/>
                  <a:gd name="connsiteX1" fmla="*/ 129540 w 259079"/>
                  <a:gd name="connsiteY1" fmla="*/ 259080 h 259080"/>
                  <a:gd name="connsiteX2" fmla="*/ 0 w 259079"/>
                  <a:gd name="connsiteY2" fmla="*/ 129540 h 259080"/>
                  <a:gd name="connsiteX3" fmla="*/ 129540 w 259079"/>
                  <a:gd name="connsiteY3" fmla="*/ 0 h 259080"/>
                  <a:gd name="connsiteX4" fmla="*/ 259080 w 259079"/>
                  <a:gd name="connsiteY4" fmla="*/ 129540 h 259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79" h="259080">
                    <a:moveTo>
                      <a:pt x="259080" y="129540"/>
                    </a:moveTo>
                    <a:cubicBezTo>
                      <a:pt x="259080" y="201083"/>
                      <a:pt x="201083" y="259080"/>
                      <a:pt x="129540" y="259080"/>
                    </a:cubicBezTo>
                    <a:cubicBezTo>
                      <a:pt x="57997" y="259080"/>
                      <a:pt x="0" y="201083"/>
                      <a:pt x="0" y="129540"/>
                    </a:cubicBezTo>
                    <a:cubicBezTo>
                      <a:pt x="0" y="57997"/>
                      <a:pt x="57997" y="0"/>
                      <a:pt x="129540" y="0"/>
                    </a:cubicBezTo>
                    <a:cubicBezTo>
                      <a:pt x="201083" y="0"/>
                      <a:pt x="259080" y="57997"/>
                      <a:pt x="259080" y="129540"/>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20" name="Freeform: Shape 19">
                <a:extLst>
                  <a:ext uri="{FF2B5EF4-FFF2-40B4-BE49-F238E27FC236}">
                    <a16:creationId xmlns:a16="http://schemas.microsoft.com/office/drawing/2014/main" id="{58AD3D03-CB80-7A85-A1B8-BF1D1DB6D9C6}"/>
                  </a:ext>
                </a:extLst>
              </p:cNvPr>
              <p:cNvSpPr/>
              <p:nvPr/>
            </p:nvSpPr>
            <p:spPr>
              <a:xfrm>
                <a:off x="16857662" y="2486787"/>
                <a:ext cx="173355" cy="173355"/>
              </a:xfrm>
              <a:custGeom>
                <a:avLst/>
                <a:gdLst>
                  <a:gd name="connsiteX0" fmla="*/ 173355 w 173355"/>
                  <a:gd name="connsiteY0" fmla="*/ 86678 h 173355"/>
                  <a:gd name="connsiteX1" fmla="*/ 86678 w 173355"/>
                  <a:gd name="connsiteY1" fmla="*/ 173355 h 173355"/>
                  <a:gd name="connsiteX2" fmla="*/ 0 w 173355"/>
                  <a:gd name="connsiteY2" fmla="*/ 86678 h 173355"/>
                  <a:gd name="connsiteX3" fmla="*/ 86678 w 173355"/>
                  <a:gd name="connsiteY3" fmla="*/ 0 h 173355"/>
                  <a:gd name="connsiteX4" fmla="*/ 173355 w 173355"/>
                  <a:gd name="connsiteY4" fmla="*/ 86678 h 173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355" h="173355">
                    <a:moveTo>
                      <a:pt x="173355" y="86678"/>
                    </a:moveTo>
                    <a:cubicBezTo>
                      <a:pt x="173355" y="134548"/>
                      <a:pt x="134548" y="173355"/>
                      <a:pt x="86678" y="173355"/>
                    </a:cubicBezTo>
                    <a:cubicBezTo>
                      <a:pt x="38807" y="173355"/>
                      <a:pt x="0" y="134548"/>
                      <a:pt x="0" y="86678"/>
                    </a:cubicBezTo>
                    <a:cubicBezTo>
                      <a:pt x="0" y="38807"/>
                      <a:pt x="38807" y="0"/>
                      <a:pt x="86678" y="0"/>
                    </a:cubicBezTo>
                    <a:cubicBezTo>
                      <a:pt x="134548" y="0"/>
                      <a:pt x="173355" y="38807"/>
                      <a:pt x="173355" y="86678"/>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21" name="Freeform: Shape 20">
                <a:extLst>
                  <a:ext uri="{FF2B5EF4-FFF2-40B4-BE49-F238E27FC236}">
                    <a16:creationId xmlns:a16="http://schemas.microsoft.com/office/drawing/2014/main" id="{F833FE4A-4738-D55F-68D0-6A861F406D5D}"/>
                  </a:ext>
                </a:extLst>
              </p:cNvPr>
              <p:cNvSpPr/>
              <p:nvPr/>
            </p:nvSpPr>
            <p:spPr>
              <a:xfrm>
                <a:off x="15429864" y="1144714"/>
                <a:ext cx="2684144" cy="2684144"/>
              </a:xfrm>
              <a:custGeom>
                <a:avLst/>
                <a:gdLst>
                  <a:gd name="connsiteX0" fmla="*/ 1342073 w 2684144"/>
                  <a:gd name="connsiteY0" fmla="*/ 2684145 h 2684144"/>
                  <a:gd name="connsiteX1" fmla="*/ 0 w 2684144"/>
                  <a:gd name="connsiteY1" fmla="*/ 1342073 h 2684144"/>
                  <a:gd name="connsiteX2" fmla="*/ 1342073 w 2684144"/>
                  <a:gd name="connsiteY2" fmla="*/ 0 h 2684144"/>
                  <a:gd name="connsiteX3" fmla="*/ 2684145 w 2684144"/>
                  <a:gd name="connsiteY3" fmla="*/ 1342073 h 2684144"/>
                  <a:gd name="connsiteX4" fmla="*/ 1342073 w 2684144"/>
                  <a:gd name="connsiteY4" fmla="*/ 2684145 h 2684144"/>
                  <a:gd name="connsiteX5" fmla="*/ 1342073 w 2684144"/>
                  <a:gd name="connsiteY5" fmla="*/ 92393 h 2684144"/>
                  <a:gd name="connsiteX6" fmla="*/ 91440 w 2684144"/>
                  <a:gd name="connsiteY6" fmla="*/ 1343025 h 2684144"/>
                  <a:gd name="connsiteX7" fmla="*/ 1342073 w 2684144"/>
                  <a:gd name="connsiteY7" fmla="*/ 2592705 h 2684144"/>
                  <a:gd name="connsiteX8" fmla="*/ 2592705 w 2684144"/>
                  <a:gd name="connsiteY8" fmla="*/ 1342073 h 2684144"/>
                  <a:gd name="connsiteX9" fmla="*/ 1342073 w 2684144"/>
                  <a:gd name="connsiteY9" fmla="*/ 92393 h 26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4144" h="2684144">
                    <a:moveTo>
                      <a:pt x="1342073" y="2684145"/>
                    </a:moveTo>
                    <a:cubicBezTo>
                      <a:pt x="601980" y="2684145"/>
                      <a:pt x="0" y="2082165"/>
                      <a:pt x="0" y="1342073"/>
                    </a:cubicBezTo>
                    <a:cubicBezTo>
                      <a:pt x="0" y="601980"/>
                      <a:pt x="601980" y="0"/>
                      <a:pt x="1342073" y="0"/>
                    </a:cubicBezTo>
                    <a:cubicBezTo>
                      <a:pt x="2082165" y="0"/>
                      <a:pt x="2684145" y="601980"/>
                      <a:pt x="2684145" y="1342073"/>
                    </a:cubicBezTo>
                    <a:cubicBezTo>
                      <a:pt x="2684145" y="2082165"/>
                      <a:pt x="2082165" y="2684145"/>
                      <a:pt x="1342073" y="2684145"/>
                    </a:cubicBezTo>
                    <a:close/>
                    <a:moveTo>
                      <a:pt x="1342073" y="92393"/>
                    </a:moveTo>
                    <a:cubicBezTo>
                      <a:pt x="652463" y="92393"/>
                      <a:pt x="91440" y="653415"/>
                      <a:pt x="91440" y="1343025"/>
                    </a:cubicBezTo>
                    <a:cubicBezTo>
                      <a:pt x="91440" y="2032635"/>
                      <a:pt x="652463" y="2592705"/>
                      <a:pt x="1342073" y="2592705"/>
                    </a:cubicBezTo>
                    <a:cubicBezTo>
                      <a:pt x="2031683" y="2592705"/>
                      <a:pt x="2592705" y="2031683"/>
                      <a:pt x="2592705" y="1342073"/>
                    </a:cubicBezTo>
                    <a:cubicBezTo>
                      <a:pt x="2592705" y="652463"/>
                      <a:pt x="2031683" y="92393"/>
                      <a:pt x="1342073" y="92393"/>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22" name="Freeform: Shape 21">
                <a:extLst>
                  <a:ext uri="{FF2B5EF4-FFF2-40B4-BE49-F238E27FC236}">
                    <a16:creationId xmlns:a16="http://schemas.microsoft.com/office/drawing/2014/main" id="{6FE7200F-888B-1CF1-2CCA-340D0E3E7645}"/>
                  </a:ext>
                </a:extLst>
              </p:cNvPr>
              <p:cNvSpPr/>
              <p:nvPr/>
            </p:nvSpPr>
            <p:spPr>
              <a:xfrm>
                <a:off x="16466184" y="365569"/>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3345 h 611505"/>
                  <a:gd name="connsiteX6" fmla="*/ 92393 w 611505"/>
                  <a:gd name="connsiteY6" fmla="*/ 306705 h 611505"/>
                  <a:gd name="connsiteX7" fmla="*/ 305753 w 611505"/>
                  <a:gd name="connsiteY7" fmla="*/ 520065 h 611505"/>
                  <a:gd name="connsiteX8" fmla="*/ 519113 w 611505"/>
                  <a:gd name="connsiteY8" fmla="*/ 306705 h 611505"/>
                  <a:gd name="connsiteX9" fmla="*/ 305753 w 611505"/>
                  <a:gd name="connsiteY9" fmla="*/ 93345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3345"/>
                    </a:moveTo>
                    <a:cubicBezTo>
                      <a:pt x="188595" y="93345"/>
                      <a:pt x="92393" y="188595"/>
                      <a:pt x="92393" y="306705"/>
                    </a:cubicBezTo>
                    <a:cubicBezTo>
                      <a:pt x="92393" y="424815"/>
                      <a:pt x="187643" y="520065"/>
                      <a:pt x="305753" y="520065"/>
                    </a:cubicBezTo>
                    <a:cubicBezTo>
                      <a:pt x="422910" y="520065"/>
                      <a:pt x="519113" y="424815"/>
                      <a:pt x="519113" y="306705"/>
                    </a:cubicBezTo>
                    <a:cubicBezTo>
                      <a:pt x="519113" y="188595"/>
                      <a:pt x="422910" y="93345"/>
                      <a:pt x="305753" y="93345"/>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23" name="Freeform: Shape 22">
                <a:extLst>
                  <a:ext uri="{FF2B5EF4-FFF2-40B4-BE49-F238E27FC236}">
                    <a16:creationId xmlns:a16="http://schemas.microsoft.com/office/drawing/2014/main" id="{5C12B45A-3726-E742-6CAD-E92A06714FC1}"/>
                  </a:ext>
                </a:extLst>
              </p:cNvPr>
              <p:cNvSpPr/>
              <p:nvPr/>
            </p:nvSpPr>
            <p:spPr>
              <a:xfrm>
                <a:off x="16466184" y="3995546"/>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2393 h 611505"/>
                  <a:gd name="connsiteX6" fmla="*/ 92393 w 611505"/>
                  <a:gd name="connsiteY6" fmla="*/ 305753 h 611505"/>
                  <a:gd name="connsiteX7" fmla="*/ 305753 w 611505"/>
                  <a:gd name="connsiteY7" fmla="*/ 519113 h 611505"/>
                  <a:gd name="connsiteX8" fmla="*/ 519113 w 611505"/>
                  <a:gd name="connsiteY8" fmla="*/ 305753 h 611505"/>
                  <a:gd name="connsiteX9" fmla="*/ 305753 w 611505"/>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3" y="187643"/>
                      <a:pt x="92393" y="305753"/>
                    </a:cubicBezTo>
                    <a:cubicBezTo>
                      <a:pt x="92393" y="423863"/>
                      <a:pt x="187643" y="519113"/>
                      <a:pt x="305753" y="519113"/>
                    </a:cubicBezTo>
                    <a:cubicBezTo>
                      <a:pt x="423863" y="519113"/>
                      <a:pt x="519113" y="423863"/>
                      <a:pt x="519113" y="305753"/>
                    </a:cubicBezTo>
                    <a:cubicBezTo>
                      <a:pt x="519113" y="188595"/>
                      <a:pt x="422910" y="92393"/>
                      <a:pt x="305753" y="92393"/>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24" name="Freeform: Shape 23">
                <a:extLst>
                  <a:ext uri="{FF2B5EF4-FFF2-40B4-BE49-F238E27FC236}">
                    <a16:creationId xmlns:a16="http://schemas.microsoft.com/office/drawing/2014/main" id="{4ADBD563-46B2-CBBE-B226-1791AE0FFEFA}"/>
                  </a:ext>
                </a:extLst>
              </p:cNvPr>
              <p:cNvSpPr/>
              <p:nvPr/>
            </p:nvSpPr>
            <p:spPr>
              <a:xfrm>
                <a:off x="16726216" y="885634"/>
                <a:ext cx="91439" cy="351472"/>
              </a:xfrm>
              <a:custGeom>
                <a:avLst/>
                <a:gdLst>
                  <a:gd name="connsiteX0" fmla="*/ 45720 w 91439"/>
                  <a:gd name="connsiteY0" fmla="*/ 351473 h 351472"/>
                  <a:gd name="connsiteX1" fmla="*/ 0 w 91439"/>
                  <a:gd name="connsiteY1" fmla="*/ 305753 h 351472"/>
                  <a:gd name="connsiteX2" fmla="*/ 0 w 91439"/>
                  <a:gd name="connsiteY2" fmla="*/ 45720 h 351472"/>
                  <a:gd name="connsiteX3" fmla="*/ 45720 w 91439"/>
                  <a:gd name="connsiteY3" fmla="*/ 0 h 351472"/>
                  <a:gd name="connsiteX4" fmla="*/ 91440 w 91439"/>
                  <a:gd name="connsiteY4" fmla="*/ 45720 h 351472"/>
                  <a:gd name="connsiteX5" fmla="*/ 91440 w 91439"/>
                  <a:gd name="connsiteY5" fmla="*/ 304800 h 351472"/>
                  <a:gd name="connsiteX6" fmla="*/ 45720 w 91439"/>
                  <a:gd name="connsiteY6" fmla="*/ 351473 h 351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 h="351472">
                    <a:moveTo>
                      <a:pt x="45720" y="351473"/>
                    </a:moveTo>
                    <a:cubicBezTo>
                      <a:pt x="20003" y="351473"/>
                      <a:pt x="0" y="330517"/>
                      <a:pt x="0" y="305753"/>
                    </a:cubicBezTo>
                    <a:lnTo>
                      <a:pt x="0" y="45720"/>
                    </a:lnTo>
                    <a:cubicBezTo>
                      <a:pt x="0" y="20002"/>
                      <a:pt x="20955" y="0"/>
                      <a:pt x="45720" y="0"/>
                    </a:cubicBezTo>
                    <a:cubicBezTo>
                      <a:pt x="70485" y="0"/>
                      <a:pt x="91440" y="20955"/>
                      <a:pt x="91440" y="45720"/>
                    </a:cubicBezTo>
                    <a:lnTo>
                      <a:pt x="91440" y="304800"/>
                    </a:lnTo>
                    <a:cubicBezTo>
                      <a:pt x="91440" y="330517"/>
                      <a:pt x="71438" y="351473"/>
                      <a:pt x="45720" y="351473"/>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25" name="Freeform: Shape 24">
                <a:extLst>
                  <a:ext uri="{FF2B5EF4-FFF2-40B4-BE49-F238E27FC236}">
                    <a16:creationId xmlns:a16="http://schemas.microsoft.com/office/drawing/2014/main" id="{5DE77F90-5977-104A-905E-8F8012FFE7F7}"/>
                  </a:ext>
                </a:extLst>
              </p:cNvPr>
              <p:cNvSpPr/>
              <p:nvPr/>
            </p:nvSpPr>
            <p:spPr>
              <a:xfrm>
                <a:off x="16726216" y="3737419"/>
                <a:ext cx="91439" cy="350520"/>
              </a:xfrm>
              <a:custGeom>
                <a:avLst/>
                <a:gdLst>
                  <a:gd name="connsiteX0" fmla="*/ 45720 w 91439"/>
                  <a:gd name="connsiteY0" fmla="*/ 350520 h 350520"/>
                  <a:gd name="connsiteX1" fmla="*/ 0 w 91439"/>
                  <a:gd name="connsiteY1" fmla="*/ 304800 h 350520"/>
                  <a:gd name="connsiteX2" fmla="*/ 0 w 91439"/>
                  <a:gd name="connsiteY2" fmla="*/ 45720 h 350520"/>
                  <a:gd name="connsiteX3" fmla="*/ 45720 w 91439"/>
                  <a:gd name="connsiteY3" fmla="*/ 0 h 350520"/>
                  <a:gd name="connsiteX4" fmla="*/ 91440 w 91439"/>
                  <a:gd name="connsiteY4" fmla="*/ 45720 h 350520"/>
                  <a:gd name="connsiteX5" fmla="*/ 91440 w 91439"/>
                  <a:gd name="connsiteY5" fmla="*/ 304800 h 350520"/>
                  <a:gd name="connsiteX6" fmla="*/ 45720 w 91439"/>
                  <a:gd name="connsiteY6" fmla="*/ 350520 h 35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 h="350520">
                    <a:moveTo>
                      <a:pt x="45720" y="350520"/>
                    </a:moveTo>
                    <a:cubicBezTo>
                      <a:pt x="20003" y="350520"/>
                      <a:pt x="0" y="329565"/>
                      <a:pt x="0" y="304800"/>
                    </a:cubicBezTo>
                    <a:lnTo>
                      <a:pt x="0" y="45720"/>
                    </a:lnTo>
                    <a:cubicBezTo>
                      <a:pt x="0" y="20003"/>
                      <a:pt x="20955" y="0"/>
                      <a:pt x="45720" y="0"/>
                    </a:cubicBezTo>
                    <a:cubicBezTo>
                      <a:pt x="70485" y="0"/>
                      <a:pt x="91440" y="20955"/>
                      <a:pt x="91440" y="45720"/>
                    </a:cubicBezTo>
                    <a:lnTo>
                      <a:pt x="91440" y="304800"/>
                    </a:lnTo>
                    <a:cubicBezTo>
                      <a:pt x="91440" y="330518"/>
                      <a:pt x="71438" y="350520"/>
                      <a:pt x="45720" y="350520"/>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26" name="Freeform: Shape 25">
                <a:extLst>
                  <a:ext uri="{FF2B5EF4-FFF2-40B4-BE49-F238E27FC236}">
                    <a16:creationId xmlns:a16="http://schemas.microsoft.com/office/drawing/2014/main" id="{BAA17364-9154-329F-222C-FA906DE5885F}"/>
                  </a:ext>
                </a:extLst>
              </p:cNvPr>
              <p:cNvSpPr/>
              <p:nvPr/>
            </p:nvSpPr>
            <p:spPr>
              <a:xfrm>
                <a:off x="18280696" y="2181034"/>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2393 h 611505"/>
                  <a:gd name="connsiteX6" fmla="*/ 92393 w 611505"/>
                  <a:gd name="connsiteY6" fmla="*/ 305753 h 611505"/>
                  <a:gd name="connsiteX7" fmla="*/ 305753 w 611505"/>
                  <a:gd name="connsiteY7" fmla="*/ 519113 h 611505"/>
                  <a:gd name="connsiteX8" fmla="*/ 519113 w 611505"/>
                  <a:gd name="connsiteY8" fmla="*/ 305753 h 611505"/>
                  <a:gd name="connsiteX9" fmla="*/ 305753 w 611505"/>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3" y="187643"/>
                      <a:pt x="92393" y="305753"/>
                    </a:cubicBezTo>
                    <a:cubicBezTo>
                      <a:pt x="92393" y="423863"/>
                      <a:pt x="187643" y="519113"/>
                      <a:pt x="305753" y="519113"/>
                    </a:cubicBezTo>
                    <a:cubicBezTo>
                      <a:pt x="423863" y="519113"/>
                      <a:pt x="519113" y="423863"/>
                      <a:pt x="519113" y="305753"/>
                    </a:cubicBezTo>
                    <a:cubicBezTo>
                      <a:pt x="519113" y="188595"/>
                      <a:pt x="423863" y="92393"/>
                      <a:pt x="305753" y="92393"/>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27" name="Freeform: Shape 26">
                <a:extLst>
                  <a:ext uri="{FF2B5EF4-FFF2-40B4-BE49-F238E27FC236}">
                    <a16:creationId xmlns:a16="http://schemas.microsoft.com/office/drawing/2014/main" id="{44E00A1C-C30D-EFB2-2852-957F24C55B2E}"/>
                  </a:ext>
                </a:extLst>
              </p:cNvPr>
              <p:cNvSpPr/>
              <p:nvPr/>
            </p:nvSpPr>
            <p:spPr>
              <a:xfrm>
                <a:off x="14651672" y="2181034"/>
                <a:ext cx="611504" cy="611505"/>
              </a:xfrm>
              <a:custGeom>
                <a:avLst/>
                <a:gdLst>
                  <a:gd name="connsiteX0" fmla="*/ 305753 w 611504"/>
                  <a:gd name="connsiteY0" fmla="*/ 611505 h 611505"/>
                  <a:gd name="connsiteX1" fmla="*/ 0 w 611504"/>
                  <a:gd name="connsiteY1" fmla="*/ 305753 h 611505"/>
                  <a:gd name="connsiteX2" fmla="*/ 305753 w 611504"/>
                  <a:gd name="connsiteY2" fmla="*/ 0 h 611505"/>
                  <a:gd name="connsiteX3" fmla="*/ 611505 w 611504"/>
                  <a:gd name="connsiteY3" fmla="*/ 305753 h 611505"/>
                  <a:gd name="connsiteX4" fmla="*/ 305753 w 611504"/>
                  <a:gd name="connsiteY4" fmla="*/ 611505 h 611505"/>
                  <a:gd name="connsiteX5" fmla="*/ 305753 w 611504"/>
                  <a:gd name="connsiteY5" fmla="*/ 92393 h 611505"/>
                  <a:gd name="connsiteX6" fmla="*/ 92392 w 611504"/>
                  <a:gd name="connsiteY6" fmla="*/ 305753 h 611505"/>
                  <a:gd name="connsiteX7" fmla="*/ 305753 w 611504"/>
                  <a:gd name="connsiteY7" fmla="*/ 519113 h 611505"/>
                  <a:gd name="connsiteX8" fmla="*/ 519113 w 611504"/>
                  <a:gd name="connsiteY8" fmla="*/ 305753 h 611505"/>
                  <a:gd name="connsiteX9" fmla="*/ 305753 w 611504"/>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4"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2" y="187643"/>
                      <a:pt x="92392" y="305753"/>
                    </a:cubicBezTo>
                    <a:cubicBezTo>
                      <a:pt x="92392" y="423863"/>
                      <a:pt x="187642" y="519113"/>
                      <a:pt x="305753" y="519113"/>
                    </a:cubicBezTo>
                    <a:cubicBezTo>
                      <a:pt x="423863" y="519113"/>
                      <a:pt x="519113" y="423863"/>
                      <a:pt x="519113" y="305753"/>
                    </a:cubicBezTo>
                    <a:cubicBezTo>
                      <a:pt x="519113" y="187643"/>
                      <a:pt x="422910" y="92393"/>
                      <a:pt x="305753" y="92393"/>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28" name="Freeform: Shape 27">
                <a:extLst>
                  <a:ext uri="{FF2B5EF4-FFF2-40B4-BE49-F238E27FC236}">
                    <a16:creationId xmlns:a16="http://schemas.microsoft.com/office/drawing/2014/main" id="{88CFE516-CE79-CFC4-9FC5-B5F24472251A}"/>
                  </a:ext>
                </a:extLst>
              </p:cNvPr>
              <p:cNvSpPr/>
              <p:nvPr/>
            </p:nvSpPr>
            <p:spPr>
              <a:xfrm>
                <a:off x="18022569" y="2441066"/>
                <a:ext cx="350520" cy="91439"/>
              </a:xfrm>
              <a:custGeom>
                <a:avLst/>
                <a:gdLst>
                  <a:gd name="connsiteX0" fmla="*/ 304800 w 350520"/>
                  <a:gd name="connsiteY0" fmla="*/ 91440 h 91439"/>
                  <a:gd name="connsiteX1" fmla="*/ 45720 w 350520"/>
                  <a:gd name="connsiteY1" fmla="*/ 91440 h 91439"/>
                  <a:gd name="connsiteX2" fmla="*/ 0 w 350520"/>
                  <a:gd name="connsiteY2" fmla="*/ 45720 h 91439"/>
                  <a:gd name="connsiteX3" fmla="*/ 45720 w 350520"/>
                  <a:gd name="connsiteY3" fmla="*/ 0 h 91439"/>
                  <a:gd name="connsiteX4" fmla="*/ 304800 w 350520"/>
                  <a:gd name="connsiteY4" fmla="*/ 0 h 91439"/>
                  <a:gd name="connsiteX5" fmla="*/ 350520 w 350520"/>
                  <a:gd name="connsiteY5" fmla="*/ 45720 h 91439"/>
                  <a:gd name="connsiteX6" fmla="*/ 304800 w 350520"/>
                  <a:gd name="connsiteY6" fmla="*/ 91440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20" h="91439">
                    <a:moveTo>
                      <a:pt x="304800" y="91440"/>
                    </a:moveTo>
                    <a:lnTo>
                      <a:pt x="45720" y="91440"/>
                    </a:lnTo>
                    <a:cubicBezTo>
                      <a:pt x="20003" y="91440"/>
                      <a:pt x="0" y="70485"/>
                      <a:pt x="0" y="45720"/>
                    </a:cubicBezTo>
                    <a:cubicBezTo>
                      <a:pt x="0" y="20955"/>
                      <a:pt x="20955" y="0"/>
                      <a:pt x="45720" y="0"/>
                    </a:cubicBezTo>
                    <a:lnTo>
                      <a:pt x="304800" y="0"/>
                    </a:lnTo>
                    <a:cubicBezTo>
                      <a:pt x="330518" y="0"/>
                      <a:pt x="350520" y="20955"/>
                      <a:pt x="350520" y="45720"/>
                    </a:cubicBezTo>
                    <a:cubicBezTo>
                      <a:pt x="350520" y="71438"/>
                      <a:pt x="330518" y="91440"/>
                      <a:pt x="304800" y="91440"/>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29" name="Freeform: Shape 28">
                <a:extLst>
                  <a:ext uri="{FF2B5EF4-FFF2-40B4-BE49-F238E27FC236}">
                    <a16:creationId xmlns:a16="http://schemas.microsoft.com/office/drawing/2014/main" id="{478ABCA5-02A8-133A-276B-5558EA84E8A9}"/>
                  </a:ext>
                </a:extLst>
              </p:cNvPr>
              <p:cNvSpPr/>
              <p:nvPr/>
            </p:nvSpPr>
            <p:spPr>
              <a:xfrm>
                <a:off x="15170784" y="2441066"/>
                <a:ext cx="350551" cy="91439"/>
              </a:xfrm>
              <a:custGeom>
                <a:avLst/>
                <a:gdLst>
                  <a:gd name="connsiteX0" fmla="*/ 304800 w 350551"/>
                  <a:gd name="connsiteY0" fmla="*/ 91440 h 91439"/>
                  <a:gd name="connsiteX1" fmla="*/ 45720 w 350551"/>
                  <a:gd name="connsiteY1" fmla="*/ 91440 h 91439"/>
                  <a:gd name="connsiteX2" fmla="*/ 0 w 350551"/>
                  <a:gd name="connsiteY2" fmla="*/ 45720 h 91439"/>
                  <a:gd name="connsiteX3" fmla="*/ 45720 w 350551"/>
                  <a:gd name="connsiteY3" fmla="*/ 0 h 91439"/>
                  <a:gd name="connsiteX4" fmla="*/ 304800 w 350551"/>
                  <a:gd name="connsiteY4" fmla="*/ 0 h 91439"/>
                  <a:gd name="connsiteX5" fmla="*/ 350520 w 350551"/>
                  <a:gd name="connsiteY5" fmla="*/ 45720 h 91439"/>
                  <a:gd name="connsiteX6" fmla="*/ 304800 w 350551"/>
                  <a:gd name="connsiteY6" fmla="*/ 91440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51" h="91439">
                    <a:moveTo>
                      <a:pt x="304800" y="91440"/>
                    </a:moveTo>
                    <a:lnTo>
                      <a:pt x="45720" y="91440"/>
                    </a:lnTo>
                    <a:cubicBezTo>
                      <a:pt x="20002" y="91440"/>
                      <a:pt x="0" y="70485"/>
                      <a:pt x="0" y="45720"/>
                    </a:cubicBezTo>
                    <a:cubicBezTo>
                      <a:pt x="0" y="20955"/>
                      <a:pt x="20955" y="0"/>
                      <a:pt x="45720" y="0"/>
                    </a:cubicBezTo>
                    <a:lnTo>
                      <a:pt x="304800" y="0"/>
                    </a:lnTo>
                    <a:cubicBezTo>
                      <a:pt x="330517" y="0"/>
                      <a:pt x="350520" y="20955"/>
                      <a:pt x="350520" y="45720"/>
                    </a:cubicBezTo>
                    <a:cubicBezTo>
                      <a:pt x="351473" y="71438"/>
                      <a:pt x="330517" y="91440"/>
                      <a:pt x="304800" y="91440"/>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30" name="Freeform: Shape 29">
                <a:extLst>
                  <a:ext uri="{FF2B5EF4-FFF2-40B4-BE49-F238E27FC236}">
                    <a16:creationId xmlns:a16="http://schemas.microsoft.com/office/drawing/2014/main" id="{1212A53F-F3D4-6BF9-F16F-72EAA8D38E28}"/>
                  </a:ext>
                </a:extLst>
              </p:cNvPr>
              <p:cNvSpPr/>
              <p:nvPr/>
            </p:nvSpPr>
            <p:spPr>
              <a:xfrm>
                <a:off x="17750392" y="898255"/>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520779 w 610076"/>
                  <a:gd name="connsiteY4" fmla="*/ 520779 h 610076"/>
                  <a:gd name="connsiteX5" fmla="*/ 520779 w 610076"/>
                  <a:gd name="connsiteY5" fmla="*/ 520779 h 610076"/>
                  <a:gd name="connsiteX6" fmla="*/ 89297 w 610076"/>
                  <a:gd name="connsiteY6" fmla="*/ 520779 h 610076"/>
                  <a:gd name="connsiteX7" fmla="*/ 154067 w 610076"/>
                  <a:gd name="connsiteY7" fmla="*/ 155019 h 610076"/>
                  <a:gd name="connsiteX8" fmla="*/ 154067 w 610076"/>
                  <a:gd name="connsiteY8" fmla="*/ 456009 h 610076"/>
                  <a:gd name="connsiteX9" fmla="*/ 455057 w 610076"/>
                  <a:gd name="connsiteY9" fmla="*/ 456009 h 610076"/>
                  <a:gd name="connsiteX10" fmla="*/ 455057 w 610076"/>
                  <a:gd name="connsiteY10" fmla="*/ 456009 h 610076"/>
                  <a:gd name="connsiteX11" fmla="*/ 455057 w 610076"/>
                  <a:gd name="connsiteY11" fmla="*/ 155019 h 610076"/>
                  <a:gd name="connsiteX12" fmla="*/ 154067 w 610076"/>
                  <a:gd name="connsiteY12" fmla="*/ 155019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lnTo>
                      <a:pt x="520779" y="520779"/>
                    </a:lnTo>
                    <a:lnTo>
                      <a:pt x="520779" y="520779"/>
                    </a:lnTo>
                    <a:cubicBezTo>
                      <a:pt x="401717" y="639842"/>
                      <a:pt x="208359" y="639842"/>
                      <a:pt x="89297" y="520779"/>
                    </a:cubicBezTo>
                    <a:close/>
                    <a:moveTo>
                      <a:pt x="154067" y="155019"/>
                    </a:moveTo>
                    <a:cubicBezTo>
                      <a:pt x="71199" y="237887"/>
                      <a:pt x="71199" y="373142"/>
                      <a:pt x="154067" y="456009"/>
                    </a:cubicBezTo>
                    <a:cubicBezTo>
                      <a:pt x="236934" y="538877"/>
                      <a:pt x="372189" y="538877"/>
                      <a:pt x="455057" y="456009"/>
                    </a:cubicBezTo>
                    <a:lnTo>
                      <a:pt x="455057" y="456009"/>
                    </a:lnTo>
                    <a:cubicBezTo>
                      <a:pt x="537924" y="373142"/>
                      <a:pt x="537924" y="237887"/>
                      <a:pt x="455057" y="155019"/>
                    </a:cubicBezTo>
                    <a:cubicBezTo>
                      <a:pt x="372189" y="71199"/>
                      <a:pt x="236934" y="71199"/>
                      <a:pt x="154067" y="155019"/>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31" name="Freeform: Shape 30">
                <a:extLst>
                  <a:ext uri="{FF2B5EF4-FFF2-40B4-BE49-F238E27FC236}">
                    <a16:creationId xmlns:a16="http://schemas.microsoft.com/office/drawing/2014/main" id="{942E076D-E885-A555-FB6F-C49879BF428D}"/>
                  </a:ext>
                </a:extLst>
              </p:cNvPr>
              <p:cNvSpPr/>
              <p:nvPr/>
            </p:nvSpPr>
            <p:spPr>
              <a:xfrm>
                <a:off x="15183405" y="3465242"/>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520779 w 610076"/>
                  <a:gd name="connsiteY4" fmla="*/ 520779 h 610076"/>
                  <a:gd name="connsiteX5" fmla="*/ 89297 w 610076"/>
                  <a:gd name="connsiteY5" fmla="*/ 520779 h 610076"/>
                  <a:gd name="connsiteX6" fmla="*/ 155019 w 610076"/>
                  <a:gd name="connsiteY6" fmla="*/ 154067 h 610076"/>
                  <a:gd name="connsiteX7" fmla="*/ 155019 w 610076"/>
                  <a:gd name="connsiteY7" fmla="*/ 455057 h 610076"/>
                  <a:gd name="connsiteX8" fmla="*/ 456009 w 610076"/>
                  <a:gd name="connsiteY8" fmla="*/ 455057 h 610076"/>
                  <a:gd name="connsiteX9" fmla="*/ 456009 w 610076"/>
                  <a:gd name="connsiteY9" fmla="*/ 154067 h 610076"/>
                  <a:gd name="connsiteX10" fmla="*/ 155019 w 610076"/>
                  <a:gd name="connsiteY10" fmla="*/ 154067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lnTo>
                      <a:pt x="520779" y="520779"/>
                    </a:lnTo>
                    <a:cubicBezTo>
                      <a:pt x="402669" y="639842"/>
                      <a:pt x="208359" y="639842"/>
                      <a:pt x="89297" y="520779"/>
                    </a:cubicBezTo>
                    <a:close/>
                    <a:moveTo>
                      <a:pt x="155019" y="154067"/>
                    </a:moveTo>
                    <a:cubicBezTo>
                      <a:pt x="72152" y="236934"/>
                      <a:pt x="72152" y="372189"/>
                      <a:pt x="155019" y="455057"/>
                    </a:cubicBezTo>
                    <a:cubicBezTo>
                      <a:pt x="237887" y="537924"/>
                      <a:pt x="373142" y="537924"/>
                      <a:pt x="456009" y="455057"/>
                    </a:cubicBezTo>
                    <a:cubicBezTo>
                      <a:pt x="538877" y="372189"/>
                      <a:pt x="538877" y="236934"/>
                      <a:pt x="456009" y="154067"/>
                    </a:cubicBezTo>
                    <a:cubicBezTo>
                      <a:pt x="373142" y="71199"/>
                      <a:pt x="237887" y="71199"/>
                      <a:pt x="155019" y="154067"/>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32" name="Freeform: Shape 31">
                <a:extLst>
                  <a:ext uri="{FF2B5EF4-FFF2-40B4-BE49-F238E27FC236}">
                    <a16:creationId xmlns:a16="http://schemas.microsoft.com/office/drawing/2014/main" id="{E7C78478-E267-876F-6C2F-5CCCFD8F68BA}"/>
                  </a:ext>
                </a:extLst>
              </p:cNvPr>
              <p:cNvSpPr/>
              <p:nvPr/>
            </p:nvSpPr>
            <p:spPr>
              <a:xfrm>
                <a:off x="17642283" y="1341643"/>
                <a:ext cx="274796" cy="274796"/>
              </a:xfrm>
              <a:custGeom>
                <a:avLst/>
                <a:gdLst>
                  <a:gd name="connsiteX0" fmla="*/ 13573 w 274796"/>
                  <a:gd name="connsiteY0" fmla="*/ 261223 h 274796"/>
                  <a:gd name="connsiteX1" fmla="*/ 13573 w 274796"/>
                  <a:gd name="connsiteY1" fmla="*/ 196453 h 274796"/>
                  <a:gd name="connsiteX2" fmla="*/ 196453 w 274796"/>
                  <a:gd name="connsiteY2" fmla="*/ 13573 h 274796"/>
                  <a:gd name="connsiteX3" fmla="*/ 261223 w 274796"/>
                  <a:gd name="connsiteY3" fmla="*/ 13573 h 274796"/>
                  <a:gd name="connsiteX4" fmla="*/ 261223 w 274796"/>
                  <a:gd name="connsiteY4" fmla="*/ 78343 h 274796"/>
                  <a:gd name="connsiteX5" fmla="*/ 78343 w 274796"/>
                  <a:gd name="connsiteY5" fmla="*/ 261223 h 274796"/>
                  <a:gd name="connsiteX6" fmla="*/ 1357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3573" y="261223"/>
                    </a:moveTo>
                    <a:cubicBezTo>
                      <a:pt x="-4524" y="243126"/>
                      <a:pt x="-4524" y="213598"/>
                      <a:pt x="13573" y="196453"/>
                    </a:cubicBezTo>
                    <a:lnTo>
                      <a:pt x="196453" y="13573"/>
                    </a:lnTo>
                    <a:cubicBezTo>
                      <a:pt x="214551" y="-4524"/>
                      <a:pt x="244078" y="-4524"/>
                      <a:pt x="261223" y="13573"/>
                    </a:cubicBezTo>
                    <a:cubicBezTo>
                      <a:pt x="279321" y="31671"/>
                      <a:pt x="279321" y="61198"/>
                      <a:pt x="261223" y="78343"/>
                    </a:cubicBezTo>
                    <a:lnTo>
                      <a:pt x="78343" y="261223"/>
                    </a:lnTo>
                    <a:cubicBezTo>
                      <a:pt x="61198" y="279321"/>
                      <a:pt x="31671" y="279321"/>
                      <a:pt x="13573" y="261223"/>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33" name="Freeform: Shape 32">
                <a:extLst>
                  <a:ext uri="{FF2B5EF4-FFF2-40B4-BE49-F238E27FC236}">
                    <a16:creationId xmlns:a16="http://schemas.microsoft.com/office/drawing/2014/main" id="{65FDE2F4-C6AA-CFFA-3628-1C895E88D294}"/>
                  </a:ext>
                </a:extLst>
              </p:cNvPr>
              <p:cNvSpPr/>
              <p:nvPr/>
            </p:nvSpPr>
            <p:spPr>
              <a:xfrm>
                <a:off x="15625841" y="3358086"/>
                <a:ext cx="274796" cy="274796"/>
              </a:xfrm>
              <a:custGeom>
                <a:avLst/>
                <a:gdLst>
                  <a:gd name="connsiteX0" fmla="*/ 13573 w 274796"/>
                  <a:gd name="connsiteY0" fmla="*/ 261223 h 274796"/>
                  <a:gd name="connsiteX1" fmla="*/ 13573 w 274796"/>
                  <a:gd name="connsiteY1" fmla="*/ 196453 h 274796"/>
                  <a:gd name="connsiteX2" fmla="*/ 196453 w 274796"/>
                  <a:gd name="connsiteY2" fmla="*/ 13573 h 274796"/>
                  <a:gd name="connsiteX3" fmla="*/ 261223 w 274796"/>
                  <a:gd name="connsiteY3" fmla="*/ 13573 h 274796"/>
                  <a:gd name="connsiteX4" fmla="*/ 261223 w 274796"/>
                  <a:gd name="connsiteY4" fmla="*/ 78343 h 274796"/>
                  <a:gd name="connsiteX5" fmla="*/ 78343 w 274796"/>
                  <a:gd name="connsiteY5" fmla="*/ 261223 h 274796"/>
                  <a:gd name="connsiteX6" fmla="*/ 1357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3573" y="261223"/>
                    </a:moveTo>
                    <a:cubicBezTo>
                      <a:pt x="-4524" y="243126"/>
                      <a:pt x="-4524" y="213598"/>
                      <a:pt x="13573" y="196453"/>
                    </a:cubicBezTo>
                    <a:lnTo>
                      <a:pt x="196453" y="13573"/>
                    </a:lnTo>
                    <a:cubicBezTo>
                      <a:pt x="214551" y="-4524"/>
                      <a:pt x="244078" y="-4524"/>
                      <a:pt x="261223" y="13573"/>
                    </a:cubicBezTo>
                    <a:cubicBezTo>
                      <a:pt x="279321" y="31671"/>
                      <a:pt x="279321" y="61198"/>
                      <a:pt x="261223" y="78343"/>
                    </a:cubicBezTo>
                    <a:lnTo>
                      <a:pt x="78343" y="261223"/>
                    </a:lnTo>
                    <a:cubicBezTo>
                      <a:pt x="61198" y="279321"/>
                      <a:pt x="31671" y="279321"/>
                      <a:pt x="13573" y="261223"/>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34" name="Freeform: Shape 33">
                <a:extLst>
                  <a:ext uri="{FF2B5EF4-FFF2-40B4-BE49-F238E27FC236}">
                    <a16:creationId xmlns:a16="http://schemas.microsoft.com/office/drawing/2014/main" id="{676BD74E-6A20-C686-7C23-D110ECC10C08}"/>
                  </a:ext>
                </a:extLst>
              </p:cNvPr>
              <p:cNvSpPr/>
              <p:nvPr/>
            </p:nvSpPr>
            <p:spPr>
              <a:xfrm>
                <a:off x="17750392" y="3465242"/>
                <a:ext cx="610076" cy="589372"/>
              </a:xfrm>
              <a:custGeom>
                <a:avLst/>
                <a:gdLst>
                  <a:gd name="connsiteX0" fmla="*/ 89297 w 610076"/>
                  <a:gd name="connsiteY0" fmla="*/ 520779 h 589372"/>
                  <a:gd name="connsiteX1" fmla="*/ 89297 w 610076"/>
                  <a:gd name="connsiteY1" fmla="*/ 89297 h 589372"/>
                  <a:gd name="connsiteX2" fmla="*/ 520779 w 610076"/>
                  <a:gd name="connsiteY2" fmla="*/ 89297 h 589372"/>
                  <a:gd name="connsiteX3" fmla="*/ 520779 w 610076"/>
                  <a:gd name="connsiteY3" fmla="*/ 520779 h 589372"/>
                  <a:gd name="connsiteX4" fmla="*/ 89297 w 610076"/>
                  <a:gd name="connsiteY4" fmla="*/ 520779 h 589372"/>
                  <a:gd name="connsiteX5" fmla="*/ 154067 w 610076"/>
                  <a:gd name="connsiteY5" fmla="*/ 154067 h 589372"/>
                  <a:gd name="connsiteX6" fmla="*/ 154067 w 610076"/>
                  <a:gd name="connsiteY6" fmla="*/ 455057 h 589372"/>
                  <a:gd name="connsiteX7" fmla="*/ 455057 w 610076"/>
                  <a:gd name="connsiteY7" fmla="*/ 455057 h 589372"/>
                  <a:gd name="connsiteX8" fmla="*/ 455057 w 610076"/>
                  <a:gd name="connsiteY8" fmla="*/ 154067 h 589372"/>
                  <a:gd name="connsiteX9" fmla="*/ 154067 w 610076"/>
                  <a:gd name="connsiteY9" fmla="*/ 154067 h 58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076" h="589372">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cubicBezTo>
                      <a:pt x="460772" y="579834"/>
                      <a:pt x="208359" y="639842"/>
                      <a:pt x="89297" y="520779"/>
                    </a:cubicBezTo>
                    <a:close/>
                    <a:moveTo>
                      <a:pt x="154067" y="154067"/>
                    </a:moveTo>
                    <a:cubicBezTo>
                      <a:pt x="71199" y="236934"/>
                      <a:pt x="71199" y="372189"/>
                      <a:pt x="154067" y="455057"/>
                    </a:cubicBezTo>
                    <a:cubicBezTo>
                      <a:pt x="236934" y="537924"/>
                      <a:pt x="372189" y="537924"/>
                      <a:pt x="455057" y="455057"/>
                    </a:cubicBezTo>
                    <a:cubicBezTo>
                      <a:pt x="537924" y="372189"/>
                      <a:pt x="537924" y="236934"/>
                      <a:pt x="455057" y="154067"/>
                    </a:cubicBezTo>
                    <a:cubicBezTo>
                      <a:pt x="414099" y="112157"/>
                      <a:pt x="236934" y="71199"/>
                      <a:pt x="154067" y="154067"/>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35" name="Freeform: Shape 34">
                <a:extLst>
                  <a:ext uri="{FF2B5EF4-FFF2-40B4-BE49-F238E27FC236}">
                    <a16:creationId xmlns:a16="http://schemas.microsoft.com/office/drawing/2014/main" id="{56D3C564-17DE-7BB8-4DAE-9AD1D7AAD013}"/>
                  </a:ext>
                </a:extLst>
              </p:cNvPr>
              <p:cNvSpPr/>
              <p:nvPr/>
            </p:nvSpPr>
            <p:spPr>
              <a:xfrm>
                <a:off x="15183405" y="898255"/>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89297 w 610076"/>
                  <a:gd name="connsiteY4" fmla="*/ 520779 h 610076"/>
                  <a:gd name="connsiteX5" fmla="*/ 155019 w 610076"/>
                  <a:gd name="connsiteY5" fmla="*/ 155019 h 610076"/>
                  <a:gd name="connsiteX6" fmla="*/ 155019 w 610076"/>
                  <a:gd name="connsiteY6" fmla="*/ 456009 h 610076"/>
                  <a:gd name="connsiteX7" fmla="*/ 456009 w 610076"/>
                  <a:gd name="connsiteY7" fmla="*/ 456009 h 610076"/>
                  <a:gd name="connsiteX8" fmla="*/ 456009 w 610076"/>
                  <a:gd name="connsiteY8" fmla="*/ 155019 h 610076"/>
                  <a:gd name="connsiteX9" fmla="*/ 155019 w 610076"/>
                  <a:gd name="connsiteY9" fmla="*/ 155019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cubicBezTo>
                      <a:pt x="402669" y="639842"/>
                      <a:pt x="208359" y="639842"/>
                      <a:pt x="89297" y="520779"/>
                    </a:cubicBezTo>
                    <a:close/>
                    <a:moveTo>
                      <a:pt x="155019" y="155019"/>
                    </a:moveTo>
                    <a:cubicBezTo>
                      <a:pt x="72152" y="237887"/>
                      <a:pt x="72152" y="373142"/>
                      <a:pt x="155019" y="456009"/>
                    </a:cubicBezTo>
                    <a:cubicBezTo>
                      <a:pt x="237887" y="538877"/>
                      <a:pt x="373142" y="538877"/>
                      <a:pt x="456009" y="456009"/>
                    </a:cubicBezTo>
                    <a:cubicBezTo>
                      <a:pt x="538877" y="373142"/>
                      <a:pt x="538877" y="237887"/>
                      <a:pt x="456009" y="155019"/>
                    </a:cubicBezTo>
                    <a:cubicBezTo>
                      <a:pt x="373142" y="71199"/>
                      <a:pt x="237887" y="71199"/>
                      <a:pt x="155019" y="155019"/>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36" name="Freeform: Shape 35">
                <a:extLst>
                  <a:ext uri="{FF2B5EF4-FFF2-40B4-BE49-F238E27FC236}">
                    <a16:creationId xmlns:a16="http://schemas.microsoft.com/office/drawing/2014/main" id="{C5E1C58B-57E1-878F-7F90-EFDD4C081EAB}"/>
                  </a:ext>
                </a:extLst>
              </p:cNvPr>
              <p:cNvSpPr/>
              <p:nvPr/>
            </p:nvSpPr>
            <p:spPr>
              <a:xfrm>
                <a:off x="17643236" y="3358086"/>
                <a:ext cx="274796" cy="274796"/>
              </a:xfrm>
              <a:custGeom>
                <a:avLst/>
                <a:gdLst>
                  <a:gd name="connsiteX0" fmla="*/ 196453 w 274796"/>
                  <a:gd name="connsiteY0" fmla="*/ 261223 h 274796"/>
                  <a:gd name="connsiteX1" fmla="*/ 13573 w 274796"/>
                  <a:gd name="connsiteY1" fmla="*/ 78343 h 274796"/>
                  <a:gd name="connsiteX2" fmla="*/ 13573 w 274796"/>
                  <a:gd name="connsiteY2" fmla="*/ 13573 h 274796"/>
                  <a:gd name="connsiteX3" fmla="*/ 78343 w 274796"/>
                  <a:gd name="connsiteY3" fmla="*/ 13573 h 274796"/>
                  <a:gd name="connsiteX4" fmla="*/ 261223 w 274796"/>
                  <a:gd name="connsiteY4" fmla="*/ 196453 h 274796"/>
                  <a:gd name="connsiteX5" fmla="*/ 261223 w 274796"/>
                  <a:gd name="connsiteY5" fmla="*/ 261223 h 274796"/>
                  <a:gd name="connsiteX6" fmla="*/ 19645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96453" y="261223"/>
                    </a:moveTo>
                    <a:lnTo>
                      <a:pt x="13573" y="78343"/>
                    </a:lnTo>
                    <a:cubicBezTo>
                      <a:pt x="-4524" y="60246"/>
                      <a:pt x="-4524" y="30718"/>
                      <a:pt x="13573" y="13573"/>
                    </a:cubicBezTo>
                    <a:cubicBezTo>
                      <a:pt x="31671" y="-4524"/>
                      <a:pt x="61198" y="-4524"/>
                      <a:pt x="78343" y="13573"/>
                    </a:cubicBezTo>
                    <a:lnTo>
                      <a:pt x="261223" y="196453"/>
                    </a:lnTo>
                    <a:cubicBezTo>
                      <a:pt x="279321" y="214551"/>
                      <a:pt x="279321" y="244078"/>
                      <a:pt x="261223" y="261223"/>
                    </a:cubicBezTo>
                    <a:cubicBezTo>
                      <a:pt x="243126" y="279321"/>
                      <a:pt x="213598" y="279321"/>
                      <a:pt x="196453" y="261223"/>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37" name="Freeform: Shape 36">
                <a:extLst>
                  <a:ext uri="{FF2B5EF4-FFF2-40B4-BE49-F238E27FC236}">
                    <a16:creationId xmlns:a16="http://schemas.microsoft.com/office/drawing/2014/main" id="{98C1E6B6-B0E0-EB35-D5F3-0FD73DC3F989}"/>
                  </a:ext>
                </a:extLst>
              </p:cNvPr>
              <p:cNvSpPr/>
              <p:nvPr/>
            </p:nvSpPr>
            <p:spPr>
              <a:xfrm>
                <a:off x="15625841" y="1341643"/>
                <a:ext cx="274796" cy="274796"/>
              </a:xfrm>
              <a:custGeom>
                <a:avLst/>
                <a:gdLst>
                  <a:gd name="connsiteX0" fmla="*/ 196453 w 274796"/>
                  <a:gd name="connsiteY0" fmla="*/ 261223 h 274796"/>
                  <a:gd name="connsiteX1" fmla="*/ 13573 w 274796"/>
                  <a:gd name="connsiteY1" fmla="*/ 78343 h 274796"/>
                  <a:gd name="connsiteX2" fmla="*/ 13573 w 274796"/>
                  <a:gd name="connsiteY2" fmla="*/ 13573 h 274796"/>
                  <a:gd name="connsiteX3" fmla="*/ 78343 w 274796"/>
                  <a:gd name="connsiteY3" fmla="*/ 13573 h 274796"/>
                  <a:gd name="connsiteX4" fmla="*/ 261223 w 274796"/>
                  <a:gd name="connsiteY4" fmla="*/ 196453 h 274796"/>
                  <a:gd name="connsiteX5" fmla="*/ 261223 w 274796"/>
                  <a:gd name="connsiteY5" fmla="*/ 261223 h 274796"/>
                  <a:gd name="connsiteX6" fmla="*/ 19645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96453" y="261223"/>
                    </a:moveTo>
                    <a:lnTo>
                      <a:pt x="13573" y="78343"/>
                    </a:lnTo>
                    <a:cubicBezTo>
                      <a:pt x="-4524" y="60246"/>
                      <a:pt x="-4524" y="30718"/>
                      <a:pt x="13573" y="13573"/>
                    </a:cubicBezTo>
                    <a:cubicBezTo>
                      <a:pt x="31671" y="-4524"/>
                      <a:pt x="61198" y="-4524"/>
                      <a:pt x="78343" y="13573"/>
                    </a:cubicBezTo>
                    <a:lnTo>
                      <a:pt x="261223" y="196453"/>
                    </a:lnTo>
                    <a:cubicBezTo>
                      <a:pt x="279321" y="214551"/>
                      <a:pt x="279321" y="244078"/>
                      <a:pt x="261223" y="261223"/>
                    </a:cubicBezTo>
                    <a:cubicBezTo>
                      <a:pt x="244078" y="279321"/>
                      <a:pt x="214551" y="279321"/>
                      <a:pt x="196453" y="261223"/>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38" name="Freeform: Shape 37">
                <a:extLst>
                  <a:ext uri="{FF2B5EF4-FFF2-40B4-BE49-F238E27FC236}">
                    <a16:creationId xmlns:a16="http://schemas.microsoft.com/office/drawing/2014/main" id="{6DFC9030-6C07-D585-E2CA-27D88175EF8D}"/>
                  </a:ext>
                </a:extLst>
              </p:cNvPr>
              <p:cNvSpPr/>
              <p:nvPr/>
            </p:nvSpPr>
            <p:spPr>
              <a:xfrm>
                <a:off x="16120427" y="1835277"/>
                <a:ext cx="611504" cy="611504"/>
              </a:xfrm>
              <a:custGeom>
                <a:avLst/>
                <a:gdLst>
                  <a:gd name="connsiteX0" fmla="*/ 305752 w 611504"/>
                  <a:gd name="connsiteY0" fmla="*/ 611505 h 611504"/>
                  <a:gd name="connsiteX1" fmla="*/ 0 w 611504"/>
                  <a:gd name="connsiteY1" fmla="*/ 305752 h 611504"/>
                  <a:gd name="connsiteX2" fmla="*/ 305752 w 611504"/>
                  <a:gd name="connsiteY2" fmla="*/ 0 h 611504"/>
                  <a:gd name="connsiteX3" fmla="*/ 611505 w 611504"/>
                  <a:gd name="connsiteY3" fmla="*/ 305752 h 611504"/>
                  <a:gd name="connsiteX4" fmla="*/ 305752 w 611504"/>
                  <a:gd name="connsiteY4" fmla="*/ 611505 h 611504"/>
                  <a:gd name="connsiteX5" fmla="*/ 305752 w 611504"/>
                  <a:gd name="connsiteY5" fmla="*/ 92392 h 611504"/>
                  <a:gd name="connsiteX6" fmla="*/ 92392 w 611504"/>
                  <a:gd name="connsiteY6" fmla="*/ 305752 h 611504"/>
                  <a:gd name="connsiteX7" fmla="*/ 305752 w 611504"/>
                  <a:gd name="connsiteY7" fmla="*/ 519113 h 611504"/>
                  <a:gd name="connsiteX8" fmla="*/ 519113 w 611504"/>
                  <a:gd name="connsiteY8" fmla="*/ 305752 h 611504"/>
                  <a:gd name="connsiteX9" fmla="*/ 305752 w 611504"/>
                  <a:gd name="connsiteY9" fmla="*/ 92392 h 611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4" h="611504">
                    <a:moveTo>
                      <a:pt x="305752" y="611505"/>
                    </a:moveTo>
                    <a:cubicBezTo>
                      <a:pt x="137160" y="611505"/>
                      <a:pt x="0" y="474345"/>
                      <a:pt x="0" y="305752"/>
                    </a:cubicBezTo>
                    <a:cubicBezTo>
                      <a:pt x="0" y="137160"/>
                      <a:pt x="137160" y="0"/>
                      <a:pt x="305752" y="0"/>
                    </a:cubicBezTo>
                    <a:cubicBezTo>
                      <a:pt x="474345" y="0"/>
                      <a:pt x="611505" y="137160"/>
                      <a:pt x="611505" y="305752"/>
                    </a:cubicBezTo>
                    <a:cubicBezTo>
                      <a:pt x="611505" y="474345"/>
                      <a:pt x="474345" y="611505"/>
                      <a:pt x="305752" y="611505"/>
                    </a:cubicBezTo>
                    <a:close/>
                    <a:moveTo>
                      <a:pt x="305752" y="92392"/>
                    </a:moveTo>
                    <a:cubicBezTo>
                      <a:pt x="188595" y="92392"/>
                      <a:pt x="92392" y="187642"/>
                      <a:pt x="92392" y="305752"/>
                    </a:cubicBezTo>
                    <a:cubicBezTo>
                      <a:pt x="92392" y="423863"/>
                      <a:pt x="187642" y="519113"/>
                      <a:pt x="305752" y="519113"/>
                    </a:cubicBezTo>
                    <a:cubicBezTo>
                      <a:pt x="423863" y="519113"/>
                      <a:pt x="519113" y="423863"/>
                      <a:pt x="519113" y="305752"/>
                    </a:cubicBezTo>
                    <a:cubicBezTo>
                      <a:pt x="519113" y="187642"/>
                      <a:pt x="423863" y="92392"/>
                      <a:pt x="305752" y="92392"/>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sp>
            <p:nvSpPr>
              <p:cNvPr id="39" name="Freeform: Shape 38">
                <a:extLst>
                  <a:ext uri="{FF2B5EF4-FFF2-40B4-BE49-F238E27FC236}">
                    <a16:creationId xmlns:a16="http://schemas.microsoft.com/office/drawing/2014/main" id="{E736A4E8-0B78-8289-982C-FC73F40E5961}"/>
                  </a:ext>
                </a:extLst>
              </p:cNvPr>
              <p:cNvSpPr/>
              <p:nvPr/>
            </p:nvSpPr>
            <p:spPr>
              <a:xfrm>
                <a:off x="16985296" y="2872549"/>
                <a:ext cx="438150" cy="438150"/>
              </a:xfrm>
              <a:custGeom>
                <a:avLst/>
                <a:gdLst>
                  <a:gd name="connsiteX0" fmla="*/ 219075 w 438150"/>
                  <a:gd name="connsiteY0" fmla="*/ 438150 h 438150"/>
                  <a:gd name="connsiteX1" fmla="*/ 0 w 438150"/>
                  <a:gd name="connsiteY1" fmla="*/ 219075 h 438150"/>
                  <a:gd name="connsiteX2" fmla="*/ 219075 w 438150"/>
                  <a:gd name="connsiteY2" fmla="*/ 0 h 438150"/>
                  <a:gd name="connsiteX3" fmla="*/ 438150 w 438150"/>
                  <a:gd name="connsiteY3" fmla="*/ 219075 h 438150"/>
                  <a:gd name="connsiteX4" fmla="*/ 219075 w 438150"/>
                  <a:gd name="connsiteY4" fmla="*/ 438150 h 438150"/>
                  <a:gd name="connsiteX5" fmla="*/ 219075 w 438150"/>
                  <a:gd name="connsiteY5" fmla="*/ 92393 h 438150"/>
                  <a:gd name="connsiteX6" fmla="*/ 92393 w 438150"/>
                  <a:gd name="connsiteY6" fmla="*/ 219075 h 438150"/>
                  <a:gd name="connsiteX7" fmla="*/ 219075 w 438150"/>
                  <a:gd name="connsiteY7" fmla="*/ 345757 h 438150"/>
                  <a:gd name="connsiteX8" fmla="*/ 345758 w 438150"/>
                  <a:gd name="connsiteY8" fmla="*/ 219075 h 438150"/>
                  <a:gd name="connsiteX9" fmla="*/ 219075 w 438150"/>
                  <a:gd name="connsiteY9" fmla="*/ 92393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150" h="438150">
                    <a:moveTo>
                      <a:pt x="219075" y="438150"/>
                    </a:moveTo>
                    <a:cubicBezTo>
                      <a:pt x="98108" y="438150"/>
                      <a:pt x="0" y="340043"/>
                      <a:pt x="0" y="219075"/>
                    </a:cubicBezTo>
                    <a:cubicBezTo>
                      <a:pt x="0" y="98107"/>
                      <a:pt x="98108" y="0"/>
                      <a:pt x="219075" y="0"/>
                    </a:cubicBezTo>
                    <a:cubicBezTo>
                      <a:pt x="340043" y="0"/>
                      <a:pt x="438150" y="98107"/>
                      <a:pt x="438150" y="219075"/>
                    </a:cubicBezTo>
                    <a:cubicBezTo>
                      <a:pt x="437197" y="340043"/>
                      <a:pt x="339090" y="438150"/>
                      <a:pt x="219075" y="438150"/>
                    </a:cubicBezTo>
                    <a:close/>
                    <a:moveTo>
                      <a:pt x="219075" y="92393"/>
                    </a:moveTo>
                    <a:cubicBezTo>
                      <a:pt x="149543" y="92393"/>
                      <a:pt x="92393" y="149543"/>
                      <a:pt x="92393" y="219075"/>
                    </a:cubicBezTo>
                    <a:cubicBezTo>
                      <a:pt x="92393" y="288607"/>
                      <a:pt x="149543" y="345757"/>
                      <a:pt x="219075" y="345757"/>
                    </a:cubicBezTo>
                    <a:cubicBezTo>
                      <a:pt x="288608" y="345757"/>
                      <a:pt x="345758" y="288607"/>
                      <a:pt x="345758" y="219075"/>
                    </a:cubicBezTo>
                    <a:cubicBezTo>
                      <a:pt x="345758" y="149543"/>
                      <a:pt x="288608" y="92393"/>
                      <a:pt x="219075" y="92393"/>
                    </a:cubicBezTo>
                    <a:close/>
                  </a:path>
                </a:pathLst>
              </a:custGeom>
              <a:grpFill/>
              <a:ln w="12700" cap="flat">
                <a:solidFill>
                  <a:schemeClr val="accent1"/>
                </a:solidFill>
                <a:prstDash val="solid"/>
                <a:miter/>
              </a:ln>
            </p:spPr>
            <p:txBody>
              <a:bodyPr rtlCol="0" anchor="ctr"/>
              <a:lstStyle/>
              <a:p>
                <a:pPr defTabSz="171390">
                  <a:defRPr/>
                </a:pPr>
                <a:endParaRPr lang="en-US">
                  <a:solidFill>
                    <a:srgbClr val="000000"/>
                  </a:solidFill>
                  <a:latin typeface="Pfizer Diatype Office"/>
                </a:endParaRPr>
              </a:p>
            </p:txBody>
          </p:sp>
        </p:grpSp>
        <p:sp>
          <p:nvSpPr>
            <p:cNvPr id="40" name="Freeform: Shape 111">
              <a:extLst>
                <a:ext uri="{FF2B5EF4-FFF2-40B4-BE49-F238E27FC236}">
                  <a16:creationId xmlns:a16="http://schemas.microsoft.com/office/drawing/2014/main" id="{7808D054-DF6D-07FC-ED70-3F103777B6FE}"/>
                </a:ext>
              </a:extLst>
            </p:cNvPr>
            <p:cNvSpPr/>
            <p:nvPr/>
          </p:nvSpPr>
          <p:spPr>
            <a:xfrm>
              <a:off x="6787156" y="2336248"/>
              <a:ext cx="478827" cy="453787"/>
            </a:xfrm>
            <a:custGeom>
              <a:avLst/>
              <a:gdLst>
                <a:gd name="connsiteX0" fmla="*/ 223488 w 458148"/>
                <a:gd name="connsiteY0" fmla="*/ 574 h 456788"/>
                <a:gd name="connsiteX1" fmla="*/ 254724 w 458148"/>
                <a:gd name="connsiteY1" fmla="*/ 20907 h 456788"/>
                <a:gd name="connsiteX2" fmla="*/ 248755 w 458148"/>
                <a:gd name="connsiteY2" fmla="*/ 43957 h 456788"/>
                <a:gd name="connsiteX3" fmla="*/ 240246 w 458148"/>
                <a:gd name="connsiteY3" fmla="*/ 69040 h 456788"/>
                <a:gd name="connsiteX4" fmla="*/ 252120 w 458148"/>
                <a:gd name="connsiteY4" fmla="*/ 97488 h 456788"/>
                <a:gd name="connsiteX5" fmla="*/ 274409 w 458148"/>
                <a:gd name="connsiteY5" fmla="*/ 103520 h 456788"/>
                <a:gd name="connsiteX6" fmla="*/ 298983 w 458148"/>
                <a:gd name="connsiteY6" fmla="*/ 84788 h 456788"/>
                <a:gd name="connsiteX7" fmla="*/ 304127 w 458148"/>
                <a:gd name="connsiteY7" fmla="*/ 58816 h 456788"/>
                <a:gd name="connsiteX8" fmla="*/ 307048 w 458148"/>
                <a:gd name="connsiteY8" fmla="*/ 40465 h 456788"/>
                <a:gd name="connsiteX9" fmla="*/ 309651 w 458148"/>
                <a:gd name="connsiteY9" fmla="*/ 36737 h 456788"/>
                <a:gd name="connsiteX10" fmla="*/ 346862 w 458148"/>
                <a:gd name="connsiteY10" fmla="*/ 33416 h 456788"/>
                <a:gd name="connsiteX11" fmla="*/ 355181 w 458148"/>
                <a:gd name="connsiteY11" fmla="*/ 61420 h 456788"/>
                <a:gd name="connsiteX12" fmla="*/ 338798 w 458148"/>
                <a:gd name="connsiteY12" fmla="*/ 78438 h 456788"/>
                <a:gd name="connsiteX13" fmla="*/ 318478 w 458148"/>
                <a:gd name="connsiteY13" fmla="*/ 96027 h 456788"/>
                <a:gd name="connsiteX14" fmla="*/ 314477 w 458148"/>
                <a:gd name="connsiteY14" fmla="*/ 126507 h 456788"/>
                <a:gd name="connsiteX15" fmla="*/ 330987 w 458148"/>
                <a:gd name="connsiteY15" fmla="*/ 143081 h 456788"/>
                <a:gd name="connsiteX16" fmla="*/ 361467 w 458148"/>
                <a:gd name="connsiteY16" fmla="*/ 139080 h 456788"/>
                <a:gd name="connsiteX17" fmla="*/ 378866 w 458148"/>
                <a:gd name="connsiteY17" fmla="*/ 119205 h 456788"/>
                <a:gd name="connsiteX18" fmla="*/ 386118 w 458148"/>
                <a:gd name="connsiteY18" fmla="*/ 107984 h 456788"/>
                <a:gd name="connsiteX19" fmla="*/ 423443 w 458148"/>
                <a:gd name="connsiteY19" fmla="*/ 109635 h 456788"/>
                <a:gd name="connsiteX20" fmla="*/ 421792 w 458148"/>
                <a:gd name="connsiteY20" fmla="*/ 146954 h 456788"/>
                <a:gd name="connsiteX21" fmla="*/ 399123 w 458148"/>
                <a:gd name="connsiteY21" fmla="*/ 153304 h 456788"/>
                <a:gd name="connsiteX22" fmla="*/ 372707 w 458148"/>
                <a:gd name="connsiteY22" fmla="*/ 158384 h 456788"/>
                <a:gd name="connsiteX23" fmla="*/ 354116 w 458148"/>
                <a:gd name="connsiteY23" fmla="*/ 182666 h 456788"/>
                <a:gd name="connsiteX24" fmla="*/ 354038 w 458148"/>
                <a:gd name="connsiteY24" fmla="*/ 182387 h 456788"/>
                <a:gd name="connsiteX25" fmla="*/ 354038 w 458148"/>
                <a:gd name="connsiteY25" fmla="*/ 182768 h 456788"/>
                <a:gd name="connsiteX26" fmla="*/ 354116 w 458148"/>
                <a:gd name="connsiteY26" fmla="*/ 182666 h 456788"/>
                <a:gd name="connsiteX27" fmla="*/ 360388 w 458148"/>
                <a:gd name="connsiteY27" fmla="*/ 205184 h 456788"/>
                <a:gd name="connsiteX28" fmla="*/ 388709 w 458148"/>
                <a:gd name="connsiteY28" fmla="*/ 216995 h 456788"/>
                <a:gd name="connsiteX29" fmla="*/ 413791 w 458148"/>
                <a:gd name="connsiteY29" fmla="*/ 208486 h 456788"/>
                <a:gd name="connsiteX30" fmla="*/ 436905 w 458148"/>
                <a:gd name="connsiteY30" fmla="*/ 202453 h 456788"/>
                <a:gd name="connsiteX31" fmla="*/ 457162 w 458148"/>
                <a:gd name="connsiteY31" fmla="*/ 223599 h 456788"/>
                <a:gd name="connsiteX32" fmla="*/ 449872 w 458148"/>
                <a:gd name="connsiteY32" fmla="*/ 249875 h 456788"/>
                <a:gd name="connsiteX33" fmla="*/ 412712 w 458148"/>
                <a:gd name="connsiteY33" fmla="*/ 248745 h 456788"/>
                <a:gd name="connsiteX34" fmla="*/ 387312 w 458148"/>
                <a:gd name="connsiteY34" fmla="*/ 239982 h 456788"/>
                <a:gd name="connsiteX35" fmla="*/ 358991 w 458148"/>
                <a:gd name="connsiteY35" fmla="*/ 251729 h 456788"/>
                <a:gd name="connsiteX36" fmla="*/ 352958 w 458148"/>
                <a:gd name="connsiteY36" fmla="*/ 274335 h 456788"/>
                <a:gd name="connsiteX37" fmla="*/ 371627 w 458148"/>
                <a:gd name="connsiteY37" fmla="*/ 298719 h 456788"/>
                <a:gd name="connsiteX38" fmla="*/ 397599 w 458148"/>
                <a:gd name="connsiteY38" fmla="*/ 303863 h 456788"/>
                <a:gd name="connsiteX39" fmla="*/ 411855 w 458148"/>
                <a:gd name="connsiteY39" fmla="*/ 304593 h 456788"/>
                <a:gd name="connsiteX40" fmla="*/ 428460 w 458148"/>
                <a:gd name="connsiteY40" fmla="*/ 338057 h 456788"/>
                <a:gd name="connsiteX41" fmla="*/ 394995 w 458148"/>
                <a:gd name="connsiteY41" fmla="*/ 354663 h 456788"/>
                <a:gd name="connsiteX42" fmla="*/ 377977 w 458148"/>
                <a:gd name="connsiteY42" fmla="*/ 338280 h 456788"/>
                <a:gd name="connsiteX43" fmla="*/ 360324 w 458148"/>
                <a:gd name="connsiteY43" fmla="*/ 317960 h 456788"/>
                <a:gd name="connsiteX44" fmla="*/ 330035 w 458148"/>
                <a:gd name="connsiteY44" fmla="*/ 313959 h 456788"/>
                <a:gd name="connsiteX45" fmla="*/ 313398 w 458148"/>
                <a:gd name="connsiteY45" fmla="*/ 330596 h 456788"/>
                <a:gd name="connsiteX46" fmla="*/ 317398 w 458148"/>
                <a:gd name="connsiteY46" fmla="*/ 360822 h 456788"/>
                <a:gd name="connsiteX47" fmla="*/ 337337 w 458148"/>
                <a:gd name="connsiteY47" fmla="*/ 378221 h 456788"/>
                <a:gd name="connsiteX48" fmla="*/ 348132 w 458148"/>
                <a:gd name="connsiteY48" fmla="*/ 385200 h 456788"/>
                <a:gd name="connsiteX49" fmla="*/ 346831 w 458148"/>
                <a:gd name="connsiteY49" fmla="*/ 422443 h 456788"/>
                <a:gd name="connsiteX50" fmla="*/ 309588 w 458148"/>
                <a:gd name="connsiteY50" fmla="*/ 421147 h 456788"/>
                <a:gd name="connsiteX51" fmla="*/ 303238 w 458148"/>
                <a:gd name="connsiteY51" fmla="*/ 398478 h 456788"/>
                <a:gd name="connsiteX52" fmla="*/ 298094 w 458148"/>
                <a:gd name="connsiteY52" fmla="*/ 372062 h 456788"/>
                <a:gd name="connsiteX53" fmla="*/ 273837 w 458148"/>
                <a:gd name="connsiteY53" fmla="*/ 353393 h 456788"/>
                <a:gd name="connsiteX54" fmla="*/ 251231 w 458148"/>
                <a:gd name="connsiteY54" fmla="*/ 359743 h 456788"/>
                <a:gd name="connsiteX55" fmla="*/ 239547 w 458148"/>
                <a:gd name="connsiteY55" fmla="*/ 388000 h 456788"/>
                <a:gd name="connsiteX56" fmla="*/ 248056 w 458148"/>
                <a:gd name="connsiteY56" fmla="*/ 413019 h 456788"/>
                <a:gd name="connsiteX57" fmla="*/ 254235 w 458148"/>
                <a:gd name="connsiteY57" fmla="*/ 434971 h 456788"/>
                <a:gd name="connsiteX58" fmla="*/ 223736 w 458148"/>
                <a:gd name="connsiteY58" fmla="*/ 456390 h 456788"/>
                <a:gd name="connsiteX59" fmla="*/ 202527 w 458148"/>
                <a:gd name="connsiteY59" fmla="*/ 436324 h 456788"/>
                <a:gd name="connsiteX60" fmla="*/ 208242 w 458148"/>
                <a:gd name="connsiteY60" fmla="*/ 413400 h 456788"/>
                <a:gd name="connsiteX61" fmla="*/ 217005 w 458148"/>
                <a:gd name="connsiteY61" fmla="*/ 388000 h 456788"/>
                <a:gd name="connsiteX62" fmla="*/ 205321 w 458148"/>
                <a:gd name="connsiteY62" fmla="*/ 359679 h 456788"/>
                <a:gd name="connsiteX63" fmla="*/ 182905 w 458148"/>
                <a:gd name="connsiteY63" fmla="*/ 353647 h 456788"/>
                <a:gd name="connsiteX64" fmla="*/ 158585 w 458148"/>
                <a:gd name="connsiteY64" fmla="*/ 372316 h 456788"/>
                <a:gd name="connsiteX65" fmla="*/ 153441 w 458148"/>
                <a:gd name="connsiteY65" fmla="*/ 398732 h 456788"/>
                <a:gd name="connsiteX66" fmla="*/ 150393 w 458148"/>
                <a:gd name="connsiteY66" fmla="*/ 416575 h 456788"/>
                <a:gd name="connsiteX67" fmla="*/ 136017 w 458148"/>
                <a:gd name="connsiteY67" fmla="*/ 428386 h 456788"/>
                <a:gd name="connsiteX68" fmla="*/ 102597 w 458148"/>
                <a:gd name="connsiteY68" fmla="*/ 411895 h 456788"/>
                <a:gd name="connsiteX69" fmla="*/ 119088 w 458148"/>
                <a:gd name="connsiteY69" fmla="*/ 378475 h 456788"/>
                <a:gd name="connsiteX70" fmla="*/ 139027 w 458148"/>
                <a:gd name="connsiteY70" fmla="*/ 361076 h 456788"/>
                <a:gd name="connsiteX71" fmla="*/ 143027 w 458148"/>
                <a:gd name="connsiteY71" fmla="*/ 330850 h 456788"/>
                <a:gd name="connsiteX72" fmla="*/ 126390 w 458148"/>
                <a:gd name="connsiteY72" fmla="*/ 314213 h 456788"/>
                <a:gd name="connsiteX73" fmla="*/ 96101 w 458148"/>
                <a:gd name="connsiteY73" fmla="*/ 318214 h 456788"/>
                <a:gd name="connsiteX74" fmla="*/ 78448 w 458148"/>
                <a:gd name="connsiteY74" fmla="*/ 338534 h 456788"/>
                <a:gd name="connsiteX75" fmla="*/ 66954 w 458148"/>
                <a:gd name="connsiteY75" fmla="*/ 352504 h 456788"/>
                <a:gd name="connsiteX76" fmla="*/ 48584 w 458148"/>
                <a:gd name="connsiteY76" fmla="*/ 355552 h 456788"/>
                <a:gd name="connsiteX77" fmla="*/ 27889 w 458148"/>
                <a:gd name="connsiteY77" fmla="*/ 324551 h 456788"/>
                <a:gd name="connsiteX78" fmla="*/ 58890 w 458148"/>
                <a:gd name="connsiteY78" fmla="*/ 303863 h 456788"/>
                <a:gd name="connsiteX79" fmla="*/ 84861 w 458148"/>
                <a:gd name="connsiteY79" fmla="*/ 298719 h 456788"/>
                <a:gd name="connsiteX80" fmla="*/ 103467 w 458148"/>
                <a:gd name="connsiteY80" fmla="*/ 274335 h 456788"/>
                <a:gd name="connsiteX81" fmla="*/ 97117 w 458148"/>
                <a:gd name="connsiteY81" fmla="*/ 251729 h 456788"/>
                <a:gd name="connsiteX82" fmla="*/ 68796 w 458148"/>
                <a:gd name="connsiteY82" fmla="*/ 239982 h 456788"/>
                <a:gd name="connsiteX83" fmla="*/ 43396 w 458148"/>
                <a:gd name="connsiteY83" fmla="*/ 248745 h 456788"/>
                <a:gd name="connsiteX84" fmla="*/ 26441 w 458148"/>
                <a:gd name="connsiteY84" fmla="*/ 255095 h 456788"/>
                <a:gd name="connsiteX85" fmla="*/ 641 w 458148"/>
                <a:gd name="connsiteY85" fmla="*/ 234438 h 456788"/>
                <a:gd name="connsiteX86" fmla="*/ 20663 w 458148"/>
                <a:gd name="connsiteY86" fmla="*/ 202898 h 456788"/>
                <a:gd name="connsiteX87" fmla="*/ 43777 w 458148"/>
                <a:gd name="connsiteY87" fmla="*/ 208930 h 456788"/>
                <a:gd name="connsiteX88" fmla="*/ 69177 w 458148"/>
                <a:gd name="connsiteY88" fmla="*/ 217439 h 456788"/>
                <a:gd name="connsiteX89" fmla="*/ 97561 w 458148"/>
                <a:gd name="connsiteY89" fmla="*/ 205628 h 456788"/>
                <a:gd name="connsiteX90" fmla="*/ 103833 w 458148"/>
                <a:gd name="connsiteY90" fmla="*/ 183111 h 456788"/>
                <a:gd name="connsiteX91" fmla="*/ 103911 w 458148"/>
                <a:gd name="connsiteY91" fmla="*/ 183213 h 456788"/>
                <a:gd name="connsiteX92" fmla="*/ 103911 w 458148"/>
                <a:gd name="connsiteY92" fmla="*/ 182832 h 456788"/>
                <a:gd name="connsiteX93" fmla="*/ 103833 w 458148"/>
                <a:gd name="connsiteY93" fmla="*/ 183111 h 456788"/>
                <a:gd name="connsiteX94" fmla="*/ 85242 w 458148"/>
                <a:gd name="connsiteY94" fmla="*/ 158829 h 456788"/>
                <a:gd name="connsiteX95" fmla="*/ 58890 w 458148"/>
                <a:gd name="connsiteY95" fmla="*/ 153749 h 456788"/>
                <a:gd name="connsiteX96" fmla="*/ 41046 w 458148"/>
                <a:gd name="connsiteY96" fmla="*/ 150764 h 456788"/>
                <a:gd name="connsiteX97" fmla="*/ 29096 w 458148"/>
                <a:gd name="connsiteY97" fmla="*/ 120145 h 456788"/>
                <a:gd name="connsiteX98" fmla="*/ 62128 w 458148"/>
                <a:gd name="connsiteY98" fmla="*/ 102695 h 456788"/>
                <a:gd name="connsiteX99" fmla="*/ 79146 w 458148"/>
                <a:gd name="connsiteY99" fmla="*/ 119459 h 456788"/>
                <a:gd name="connsiteX100" fmla="*/ 96609 w 458148"/>
                <a:gd name="connsiteY100" fmla="*/ 139334 h 456788"/>
                <a:gd name="connsiteX101" fmla="*/ 127025 w 458148"/>
                <a:gd name="connsiteY101" fmla="*/ 143335 h 456788"/>
                <a:gd name="connsiteX102" fmla="*/ 143599 w 458148"/>
                <a:gd name="connsiteY102" fmla="*/ 126761 h 456788"/>
                <a:gd name="connsiteX103" fmla="*/ 139598 w 458148"/>
                <a:gd name="connsiteY103" fmla="*/ 96281 h 456788"/>
                <a:gd name="connsiteX104" fmla="*/ 119278 w 458148"/>
                <a:gd name="connsiteY104" fmla="*/ 78692 h 456788"/>
                <a:gd name="connsiteX105" fmla="*/ 108737 w 458148"/>
                <a:gd name="connsiteY105" fmla="*/ 71681 h 456788"/>
                <a:gd name="connsiteX106" fmla="*/ 110369 w 458148"/>
                <a:gd name="connsiteY106" fmla="*/ 34451 h 456788"/>
                <a:gd name="connsiteX107" fmla="*/ 147599 w 458148"/>
                <a:gd name="connsiteY107" fmla="*/ 36083 h 456788"/>
                <a:gd name="connsiteX108" fmla="*/ 153949 w 458148"/>
                <a:gd name="connsiteY108" fmla="*/ 59070 h 456788"/>
                <a:gd name="connsiteX109" fmla="*/ 159156 w 458148"/>
                <a:gd name="connsiteY109" fmla="*/ 85042 h 456788"/>
                <a:gd name="connsiteX110" fmla="*/ 183667 w 458148"/>
                <a:gd name="connsiteY110" fmla="*/ 103774 h 456788"/>
                <a:gd name="connsiteX111" fmla="*/ 206718 w 458148"/>
                <a:gd name="connsiteY111" fmla="*/ 97424 h 456788"/>
                <a:gd name="connsiteX112" fmla="*/ 205956 w 458148"/>
                <a:gd name="connsiteY112" fmla="*/ 97424 h 456788"/>
                <a:gd name="connsiteX113" fmla="*/ 217703 w 458148"/>
                <a:gd name="connsiteY113" fmla="*/ 69040 h 456788"/>
                <a:gd name="connsiteX114" fmla="*/ 208940 w 458148"/>
                <a:gd name="connsiteY114" fmla="*/ 43640 h 456788"/>
                <a:gd name="connsiteX115" fmla="*/ 202590 w 458148"/>
                <a:gd name="connsiteY115" fmla="*/ 26622 h 456788"/>
                <a:gd name="connsiteX116" fmla="*/ 223488 w 458148"/>
                <a:gd name="connsiteY116" fmla="*/ 574 h 456788"/>
                <a:gd name="connsiteX117" fmla="*/ 229387 w 458148"/>
                <a:gd name="connsiteY117" fmla="*/ 124030 h 456788"/>
                <a:gd name="connsiteX118" fmla="*/ 206146 w 458148"/>
                <a:gd name="connsiteY118" fmla="*/ 147144 h 456788"/>
                <a:gd name="connsiteX119" fmla="*/ 206146 w 458148"/>
                <a:gd name="connsiteY119" fmla="*/ 147208 h 456788"/>
                <a:gd name="connsiteX120" fmla="*/ 229197 w 458148"/>
                <a:gd name="connsiteY120" fmla="*/ 170385 h 456788"/>
                <a:gd name="connsiteX121" fmla="*/ 229260 w 458148"/>
                <a:gd name="connsiteY121" fmla="*/ 170385 h 456788"/>
                <a:gd name="connsiteX122" fmla="*/ 252501 w 458148"/>
                <a:gd name="connsiteY122" fmla="*/ 147271 h 456788"/>
                <a:gd name="connsiteX123" fmla="*/ 229387 w 458148"/>
                <a:gd name="connsiteY123" fmla="*/ 124030 h 456788"/>
                <a:gd name="connsiteX124" fmla="*/ 305262 w 458148"/>
                <a:gd name="connsiteY124" fmla="*/ 165197 h 456788"/>
                <a:gd name="connsiteX125" fmla="*/ 287667 w 458148"/>
                <a:gd name="connsiteY125" fmla="*/ 167464 h 456788"/>
                <a:gd name="connsiteX126" fmla="*/ 287553 w 458148"/>
                <a:gd name="connsiteY126" fmla="*/ 167528 h 456788"/>
                <a:gd name="connsiteX127" fmla="*/ 279266 w 458148"/>
                <a:gd name="connsiteY127" fmla="*/ 199151 h 456788"/>
                <a:gd name="connsiteX128" fmla="*/ 310889 w 458148"/>
                <a:gd name="connsiteY128" fmla="*/ 207431 h 456788"/>
                <a:gd name="connsiteX129" fmla="*/ 319303 w 458148"/>
                <a:gd name="connsiteY129" fmla="*/ 176037 h 456788"/>
                <a:gd name="connsiteX130" fmla="*/ 305262 w 458148"/>
                <a:gd name="connsiteY130" fmla="*/ 165197 h 456788"/>
                <a:gd name="connsiteX131" fmla="*/ 153422 w 458148"/>
                <a:gd name="connsiteY131" fmla="*/ 165277 h 456788"/>
                <a:gd name="connsiteX132" fmla="*/ 139420 w 458148"/>
                <a:gd name="connsiteY132" fmla="*/ 176094 h 456788"/>
                <a:gd name="connsiteX133" fmla="*/ 147986 w 458148"/>
                <a:gd name="connsiteY133" fmla="*/ 207641 h 456788"/>
                <a:gd name="connsiteX134" fmla="*/ 179412 w 458148"/>
                <a:gd name="connsiteY134" fmla="*/ 199278 h 456788"/>
                <a:gd name="connsiteX135" fmla="*/ 171062 w 458148"/>
                <a:gd name="connsiteY135" fmla="*/ 167585 h 456788"/>
                <a:gd name="connsiteX136" fmla="*/ 170967 w 458148"/>
                <a:gd name="connsiteY136" fmla="*/ 167528 h 456788"/>
                <a:gd name="connsiteX137" fmla="*/ 153422 w 458148"/>
                <a:gd name="connsiteY137" fmla="*/ 165277 h 456788"/>
                <a:gd name="connsiteX138" fmla="*/ 229260 w 458148"/>
                <a:gd name="connsiteY138" fmla="*/ 198199 h 456788"/>
                <a:gd name="connsiteX139" fmla="*/ 200050 w 458148"/>
                <a:gd name="connsiteY139" fmla="*/ 227409 h 456788"/>
                <a:gd name="connsiteX140" fmla="*/ 229260 w 458148"/>
                <a:gd name="connsiteY140" fmla="*/ 256619 h 456788"/>
                <a:gd name="connsiteX141" fmla="*/ 258470 w 458148"/>
                <a:gd name="connsiteY141" fmla="*/ 227409 h 456788"/>
                <a:gd name="connsiteX142" fmla="*/ 229260 w 458148"/>
                <a:gd name="connsiteY142" fmla="*/ 198199 h 456788"/>
                <a:gd name="connsiteX143" fmla="*/ 293115 w 458148"/>
                <a:gd name="connsiteY143" fmla="*/ 246027 h 456788"/>
                <a:gd name="connsiteX144" fmla="*/ 279139 w 458148"/>
                <a:gd name="connsiteY144" fmla="*/ 256873 h 456788"/>
                <a:gd name="connsiteX145" fmla="*/ 287782 w 458148"/>
                <a:gd name="connsiteY145" fmla="*/ 288400 h 456788"/>
                <a:gd name="connsiteX146" fmla="*/ 319176 w 458148"/>
                <a:gd name="connsiteY146" fmla="*/ 279987 h 456788"/>
                <a:gd name="connsiteX147" fmla="*/ 311004 w 458148"/>
                <a:gd name="connsiteY147" fmla="*/ 248427 h 456788"/>
                <a:gd name="connsiteX148" fmla="*/ 310667 w 458148"/>
                <a:gd name="connsiteY148" fmla="*/ 248237 h 456788"/>
                <a:gd name="connsiteX149" fmla="*/ 293115 w 458148"/>
                <a:gd name="connsiteY149" fmla="*/ 246027 h 456788"/>
                <a:gd name="connsiteX150" fmla="*/ 165604 w 458148"/>
                <a:gd name="connsiteY150" fmla="*/ 245867 h 456788"/>
                <a:gd name="connsiteX151" fmla="*/ 148057 w 458148"/>
                <a:gd name="connsiteY151" fmla="*/ 248116 h 456788"/>
                <a:gd name="connsiteX152" fmla="*/ 147854 w 458148"/>
                <a:gd name="connsiteY152" fmla="*/ 248236 h 456788"/>
                <a:gd name="connsiteX153" fmla="*/ 139611 w 458148"/>
                <a:gd name="connsiteY153" fmla="*/ 279866 h 456788"/>
                <a:gd name="connsiteX154" fmla="*/ 171241 w 458148"/>
                <a:gd name="connsiteY154" fmla="*/ 288108 h 456788"/>
                <a:gd name="connsiteX155" fmla="*/ 179604 w 458148"/>
                <a:gd name="connsiteY155" fmla="*/ 256682 h 456788"/>
                <a:gd name="connsiteX156" fmla="*/ 165604 w 458148"/>
                <a:gd name="connsiteY156" fmla="*/ 245867 h 456788"/>
                <a:gd name="connsiteX157" fmla="*/ 229260 w 458148"/>
                <a:gd name="connsiteY157" fmla="*/ 285447 h 456788"/>
                <a:gd name="connsiteX158" fmla="*/ 206019 w 458148"/>
                <a:gd name="connsiteY158" fmla="*/ 308561 h 456788"/>
                <a:gd name="connsiteX159" fmla="*/ 229133 w 458148"/>
                <a:gd name="connsiteY159" fmla="*/ 331802 h 456788"/>
                <a:gd name="connsiteX160" fmla="*/ 252374 w 458148"/>
                <a:gd name="connsiteY160" fmla="*/ 308688 h 456788"/>
                <a:gd name="connsiteX161" fmla="*/ 252374 w 458148"/>
                <a:gd name="connsiteY161" fmla="*/ 308561 h 456788"/>
                <a:gd name="connsiteX162" fmla="*/ 229260 w 458148"/>
                <a:gd name="connsiteY162" fmla="*/ 285447 h 456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458148" h="456788">
                  <a:moveTo>
                    <a:pt x="223488" y="574"/>
                  </a:moveTo>
                  <a:cubicBezTo>
                    <a:pt x="237731" y="-2436"/>
                    <a:pt x="251714" y="6670"/>
                    <a:pt x="254724" y="20907"/>
                  </a:cubicBezTo>
                  <a:cubicBezTo>
                    <a:pt x="256578" y="29105"/>
                    <a:pt x="254355" y="37690"/>
                    <a:pt x="248755" y="43957"/>
                  </a:cubicBezTo>
                  <a:cubicBezTo>
                    <a:pt x="243072" y="51069"/>
                    <a:pt x="240062" y="59940"/>
                    <a:pt x="240246" y="69040"/>
                  </a:cubicBezTo>
                  <a:cubicBezTo>
                    <a:pt x="239852" y="79803"/>
                    <a:pt x="244195" y="90198"/>
                    <a:pt x="252120" y="97488"/>
                  </a:cubicBezTo>
                  <a:cubicBezTo>
                    <a:pt x="259715" y="98840"/>
                    <a:pt x="267170" y="100860"/>
                    <a:pt x="274409" y="103520"/>
                  </a:cubicBezTo>
                  <a:cubicBezTo>
                    <a:pt x="284937" y="101152"/>
                    <a:pt x="293910" y="94313"/>
                    <a:pt x="298983" y="84788"/>
                  </a:cubicBezTo>
                  <a:cubicBezTo>
                    <a:pt x="303689" y="77003"/>
                    <a:pt x="305511" y="67808"/>
                    <a:pt x="304127" y="58816"/>
                  </a:cubicBezTo>
                  <a:cubicBezTo>
                    <a:pt x="302819" y="52549"/>
                    <a:pt x="303854" y="46015"/>
                    <a:pt x="307048" y="40465"/>
                  </a:cubicBezTo>
                  <a:cubicBezTo>
                    <a:pt x="307810" y="39150"/>
                    <a:pt x="308680" y="37906"/>
                    <a:pt x="309651" y="36737"/>
                  </a:cubicBezTo>
                  <a:cubicBezTo>
                    <a:pt x="319011" y="25549"/>
                    <a:pt x="335667" y="24056"/>
                    <a:pt x="346862" y="33416"/>
                  </a:cubicBezTo>
                  <a:cubicBezTo>
                    <a:pt x="354939" y="40274"/>
                    <a:pt x="358203" y="51260"/>
                    <a:pt x="355181" y="61420"/>
                  </a:cubicBezTo>
                  <a:cubicBezTo>
                    <a:pt x="352730" y="69370"/>
                    <a:pt x="346646" y="75688"/>
                    <a:pt x="338798" y="78438"/>
                  </a:cubicBezTo>
                  <a:cubicBezTo>
                    <a:pt x="330130" y="81664"/>
                    <a:pt x="322910" y="87912"/>
                    <a:pt x="318478" y="96027"/>
                  </a:cubicBezTo>
                  <a:cubicBezTo>
                    <a:pt x="312807" y="105133"/>
                    <a:pt x="311347" y="116246"/>
                    <a:pt x="314477" y="126507"/>
                  </a:cubicBezTo>
                  <a:cubicBezTo>
                    <a:pt x="320465" y="131530"/>
                    <a:pt x="325990" y="137074"/>
                    <a:pt x="330987" y="143081"/>
                  </a:cubicBezTo>
                  <a:cubicBezTo>
                    <a:pt x="341243" y="146243"/>
                    <a:pt x="352374" y="144783"/>
                    <a:pt x="361467" y="139080"/>
                  </a:cubicBezTo>
                  <a:cubicBezTo>
                    <a:pt x="369411" y="134692"/>
                    <a:pt x="375571" y="127663"/>
                    <a:pt x="378866" y="119205"/>
                  </a:cubicBezTo>
                  <a:cubicBezTo>
                    <a:pt x="380282" y="114906"/>
                    <a:pt x="382778" y="111039"/>
                    <a:pt x="386118" y="107984"/>
                  </a:cubicBezTo>
                  <a:cubicBezTo>
                    <a:pt x="396881" y="98135"/>
                    <a:pt x="413594" y="98872"/>
                    <a:pt x="423443" y="109635"/>
                  </a:cubicBezTo>
                  <a:cubicBezTo>
                    <a:pt x="433292" y="120392"/>
                    <a:pt x="432556" y="137105"/>
                    <a:pt x="421792" y="146954"/>
                  </a:cubicBezTo>
                  <a:cubicBezTo>
                    <a:pt x="415684" y="152568"/>
                    <a:pt x="407257" y="154930"/>
                    <a:pt x="399123" y="153304"/>
                  </a:cubicBezTo>
                  <a:cubicBezTo>
                    <a:pt x="389992" y="151793"/>
                    <a:pt x="380625" y="153596"/>
                    <a:pt x="372707" y="158384"/>
                  </a:cubicBezTo>
                  <a:lnTo>
                    <a:pt x="354116" y="182666"/>
                  </a:lnTo>
                  <a:lnTo>
                    <a:pt x="354038" y="182387"/>
                  </a:lnTo>
                  <a:lnTo>
                    <a:pt x="354038" y="182768"/>
                  </a:lnTo>
                  <a:lnTo>
                    <a:pt x="354116" y="182666"/>
                  </a:lnTo>
                  <a:lnTo>
                    <a:pt x="360388" y="205184"/>
                  </a:lnTo>
                  <a:cubicBezTo>
                    <a:pt x="367659" y="213051"/>
                    <a:pt x="378003" y="217363"/>
                    <a:pt x="388709" y="216995"/>
                  </a:cubicBezTo>
                  <a:cubicBezTo>
                    <a:pt x="397808" y="217192"/>
                    <a:pt x="406686" y="214175"/>
                    <a:pt x="413791" y="208486"/>
                  </a:cubicBezTo>
                  <a:cubicBezTo>
                    <a:pt x="420059" y="202840"/>
                    <a:pt x="428676" y="200593"/>
                    <a:pt x="436905" y="202453"/>
                  </a:cubicBezTo>
                  <a:cubicBezTo>
                    <a:pt x="447268" y="204835"/>
                    <a:pt x="455231" y="213140"/>
                    <a:pt x="457162" y="223599"/>
                  </a:cubicBezTo>
                  <a:cubicBezTo>
                    <a:pt x="459822" y="233035"/>
                    <a:pt x="457009" y="243163"/>
                    <a:pt x="449872" y="249875"/>
                  </a:cubicBezTo>
                  <a:cubicBezTo>
                    <a:pt x="439299" y="259825"/>
                    <a:pt x="422662" y="259317"/>
                    <a:pt x="412712" y="248745"/>
                  </a:cubicBezTo>
                  <a:cubicBezTo>
                    <a:pt x="405568" y="242877"/>
                    <a:pt x="396557" y="239766"/>
                    <a:pt x="387312" y="239982"/>
                  </a:cubicBezTo>
                  <a:cubicBezTo>
                    <a:pt x="376618" y="239620"/>
                    <a:pt x="366287" y="243906"/>
                    <a:pt x="358991" y="251729"/>
                  </a:cubicBezTo>
                  <a:cubicBezTo>
                    <a:pt x="357676" y="259432"/>
                    <a:pt x="355657" y="267001"/>
                    <a:pt x="352958" y="274335"/>
                  </a:cubicBezTo>
                  <a:cubicBezTo>
                    <a:pt x="355308" y="284806"/>
                    <a:pt x="362134" y="293715"/>
                    <a:pt x="371627" y="298719"/>
                  </a:cubicBezTo>
                  <a:cubicBezTo>
                    <a:pt x="379406" y="303444"/>
                    <a:pt x="388607" y="305266"/>
                    <a:pt x="397599" y="303863"/>
                  </a:cubicBezTo>
                  <a:cubicBezTo>
                    <a:pt x="402330" y="302796"/>
                    <a:pt x="407264" y="303043"/>
                    <a:pt x="411855" y="304593"/>
                  </a:cubicBezTo>
                  <a:cubicBezTo>
                    <a:pt x="425685" y="309248"/>
                    <a:pt x="433114" y="324233"/>
                    <a:pt x="428460" y="338057"/>
                  </a:cubicBezTo>
                  <a:cubicBezTo>
                    <a:pt x="423805" y="351881"/>
                    <a:pt x="408819" y="359317"/>
                    <a:pt x="394995" y="354663"/>
                  </a:cubicBezTo>
                  <a:cubicBezTo>
                    <a:pt x="387032" y="352231"/>
                    <a:pt x="380714" y="346141"/>
                    <a:pt x="377977" y="338280"/>
                  </a:cubicBezTo>
                  <a:cubicBezTo>
                    <a:pt x="374707" y="329618"/>
                    <a:pt x="368446" y="322411"/>
                    <a:pt x="360324" y="317960"/>
                  </a:cubicBezTo>
                  <a:cubicBezTo>
                    <a:pt x="351282" y="312315"/>
                    <a:pt x="340233" y="310854"/>
                    <a:pt x="330035" y="313959"/>
                  </a:cubicBezTo>
                  <a:cubicBezTo>
                    <a:pt x="324974" y="319973"/>
                    <a:pt x="319411" y="325535"/>
                    <a:pt x="313398" y="330596"/>
                  </a:cubicBezTo>
                  <a:cubicBezTo>
                    <a:pt x="310331" y="340782"/>
                    <a:pt x="311785" y="351792"/>
                    <a:pt x="317398" y="360822"/>
                  </a:cubicBezTo>
                  <a:cubicBezTo>
                    <a:pt x="321805" y="368779"/>
                    <a:pt x="328860" y="374932"/>
                    <a:pt x="337337" y="378221"/>
                  </a:cubicBezTo>
                  <a:cubicBezTo>
                    <a:pt x="341452" y="379618"/>
                    <a:pt x="345161" y="382019"/>
                    <a:pt x="348132" y="385200"/>
                  </a:cubicBezTo>
                  <a:cubicBezTo>
                    <a:pt x="358057" y="395842"/>
                    <a:pt x="357473" y="412518"/>
                    <a:pt x="346831" y="422443"/>
                  </a:cubicBezTo>
                  <a:cubicBezTo>
                    <a:pt x="336188" y="432368"/>
                    <a:pt x="319513" y="431790"/>
                    <a:pt x="309588" y="421147"/>
                  </a:cubicBezTo>
                  <a:cubicBezTo>
                    <a:pt x="303974" y="415039"/>
                    <a:pt x="301612" y="406612"/>
                    <a:pt x="303238" y="398478"/>
                  </a:cubicBezTo>
                  <a:cubicBezTo>
                    <a:pt x="304755" y="389340"/>
                    <a:pt x="302927" y="379961"/>
                    <a:pt x="298094" y="372062"/>
                  </a:cubicBezTo>
                  <a:cubicBezTo>
                    <a:pt x="293084" y="362626"/>
                    <a:pt x="284239" y="355818"/>
                    <a:pt x="273837" y="353393"/>
                  </a:cubicBezTo>
                  <a:cubicBezTo>
                    <a:pt x="266503" y="356161"/>
                    <a:pt x="258940" y="358289"/>
                    <a:pt x="251231" y="359743"/>
                  </a:cubicBezTo>
                  <a:cubicBezTo>
                    <a:pt x="243440" y="367033"/>
                    <a:pt x="239179" y="377339"/>
                    <a:pt x="239547" y="388000"/>
                  </a:cubicBezTo>
                  <a:cubicBezTo>
                    <a:pt x="239363" y="397081"/>
                    <a:pt x="242373" y="405933"/>
                    <a:pt x="248056" y="413019"/>
                  </a:cubicBezTo>
                  <a:cubicBezTo>
                    <a:pt x="253339" y="419020"/>
                    <a:pt x="255613" y="427097"/>
                    <a:pt x="254235" y="434971"/>
                  </a:cubicBezTo>
                  <a:cubicBezTo>
                    <a:pt x="251727" y="449310"/>
                    <a:pt x="238074" y="458898"/>
                    <a:pt x="223736" y="456390"/>
                  </a:cubicBezTo>
                  <a:cubicBezTo>
                    <a:pt x="213309" y="454510"/>
                    <a:pt x="204984" y="446630"/>
                    <a:pt x="202527" y="436324"/>
                  </a:cubicBezTo>
                  <a:cubicBezTo>
                    <a:pt x="200666" y="428208"/>
                    <a:pt x="202787" y="419693"/>
                    <a:pt x="208242" y="413400"/>
                  </a:cubicBezTo>
                  <a:cubicBezTo>
                    <a:pt x="214090" y="406244"/>
                    <a:pt x="217195" y="397239"/>
                    <a:pt x="217005" y="388000"/>
                  </a:cubicBezTo>
                  <a:cubicBezTo>
                    <a:pt x="217360" y="377320"/>
                    <a:pt x="213100" y="367001"/>
                    <a:pt x="205321" y="359679"/>
                  </a:cubicBezTo>
                  <a:cubicBezTo>
                    <a:pt x="197675" y="358365"/>
                    <a:pt x="190176" y="356345"/>
                    <a:pt x="182905" y="353647"/>
                  </a:cubicBezTo>
                  <a:cubicBezTo>
                    <a:pt x="172472" y="356047"/>
                    <a:pt x="163601" y="362861"/>
                    <a:pt x="158585" y="372316"/>
                  </a:cubicBezTo>
                  <a:cubicBezTo>
                    <a:pt x="153778" y="380228"/>
                    <a:pt x="151955" y="389594"/>
                    <a:pt x="153441" y="398732"/>
                  </a:cubicBezTo>
                  <a:cubicBezTo>
                    <a:pt x="154622" y="404853"/>
                    <a:pt x="153536" y="411190"/>
                    <a:pt x="150393" y="416575"/>
                  </a:cubicBezTo>
                  <a:cubicBezTo>
                    <a:pt x="147199" y="422132"/>
                    <a:pt x="142087" y="426329"/>
                    <a:pt x="136017" y="428386"/>
                  </a:cubicBezTo>
                  <a:cubicBezTo>
                    <a:pt x="122237" y="433060"/>
                    <a:pt x="107270" y="425681"/>
                    <a:pt x="102597" y="411895"/>
                  </a:cubicBezTo>
                  <a:cubicBezTo>
                    <a:pt x="97923" y="398116"/>
                    <a:pt x="105302" y="383149"/>
                    <a:pt x="119088" y="378475"/>
                  </a:cubicBezTo>
                  <a:cubicBezTo>
                    <a:pt x="127565" y="375186"/>
                    <a:pt x="134620" y="369033"/>
                    <a:pt x="139027" y="361076"/>
                  </a:cubicBezTo>
                  <a:cubicBezTo>
                    <a:pt x="144672" y="352053"/>
                    <a:pt x="146132" y="341029"/>
                    <a:pt x="143027" y="330850"/>
                  </a:cubicBezTo>
                  <a:cubicBezTo>
                    <a:pt x="137033" y="325777"/>
                    <a:pt x="131464" y="320208"/>
                    <a:pt x="126390" y="314213"/>
                  </a:cubicBezTo>
                  <a:cubicBezTo>
                    <a:pt x="116192" y="311115"/>
                    <a:pt x="105150" y="312575"/>
                    <a:pt x="96101" y="318214"/>
                  </a:cubicBezTo>
                  <a:cubicBezTo>
                    <a:pt x="87992" y="322684"/>
                    <a:pt x="81737" y="329885"/>
                    <a:pt x="78448" y="338534"/>
                  </a:cubicBezTo>
                  <a:cubicBezTo>
                    <a:pt x="76429" y="344427"/>
                    <a:pt x="72345" y="349386"/>
                    <a:pt x="66954" y="352504"/>
                  </a:cubicBezTo>
                  <a:cubicBezTo>
                    <a:pt x="61404" y="355723"/>
                    <a:pt x="54870" y="356803"/>
                    <a:pt x="48584" y="355552"/>
                  </a:cubicBezTo>
                  <a:cubicBezTo>
                    <a:pt x="34309" y="352701"/>
                    <a:pt x="25044" y="338826"/>
                    <a:pt x="27889" y="324551"/>
                  </a:cubicBezTo>
                  <a:cubicBezTo>
                    <a:pt x="30740" y="310276"/>
                    <a:pt x="44615" y="301018"/>
                    <a:pt x="58890" y="303863"/>
                  </a:cubicBezTo>
                  <a:cubicBezTo>
                    <a:pt x="67881" y="305247"/>
                    <a:pt x="77076" y="303425"/>
                    <a:pt x="84861" y="298719"/>
                  </a:cubicBezTo>
                  <a:cubicBezTo>
                    <a:pt x="94323" y="293696"/>
                    <a:pt x="101124" y="284787"/>
                    <a:pt x="103467" y="274335"/>
                  </a:cubicBezTo>
                  <a:cubicBezTo>
                    <a:pt x="100717" y="266995"/>
                    <a:pt x="98590" y="259432"/>
                    <a:pt x="97117" y="251729"/>
                  </a:cubicBezTo>
                  <a:cubicBezTo>
                    <a:pt x="89827" y="243893"/>
                    <a:pt x="79496" y="239601"/>
                    <a:pt x="68796" y="239982"/>
                  </a:cubicBezTo>
                  <a:cubicBezTo>
                    <a:pt x="59557" y="239772"/>
                    <a:pt x="50546" y="242884"/>
                    <a:pt x="43396" y="248745"/>
                  </a:cubicBezTo>
                  <a:cubicBezTo>
                    <a:pt x="38684" y="252815"/>
                    <a:pt x="32671" y="255069"/>
                    <a:pt x="26441" y="255095"/>
                  </a:cubicBezTo>
                  <a:cubicBezTo>
                    <a:pt x="14065" y="255107"/>
                    <a:pt x="3340" y="246516"/>
                    <a:pt x="641" y="234438"/>
                  </a:cubicBezTo>
                  <a:cubicBezTo>
                    <a:pt x="-2540" y="220195"/>
                    <a:pt x="6426" y="206079"/>
                    <a:pt x="20663" y="202898"/>
                  </a:cubicBezTo>
                  <a:cubicBezTo>
                    <a:pt x="28892" y="201037"/>
                    <a:pt x="37509" y="203285"/>
                    <a:pt x="43777" y="208930"/>
                  </a:cubicBezTo>
                  <a:cubicBezTo>
                    <a:pt x="50965" y="214690"/>
                    <a:pt x="59969" y="217706"/>
                    <a:pt x="69177" y="217439"/>
                  </a:cubicBezTo>
                  <a:cubicBezTo>
                    <a:pt x="79902" y="217795"/>
                    <a:pt x="90252" y="213489"/>
                    <a:pt x="97561" y="205628"/>
                  </a:cubicBezTo>
                  <a:lnTo>
                    <a:pt x="103833" y="183111"/>
                  </a:lnTo>
                  <a:lnTo>
                    <a:pt x="103911" y="183213"/>
                  </a:lnTo>
                  <a:lnTo>
                    <a:pt x="103911" y="182832"/>
                  </a:lnTo>
                  <a:lnTo>
                    <a:pt x="103833" y="183111"/>
                  </a:lnTo>
                  <a:lnTo>
                    <a:pt x="85242" y="158829"/>
                  </a:lnTo>
                  <a:cubicBezTo>
                    <a:pt x="77343" y="154047"/>
                    <a:pt x="67996" y="152250"/>
                    <a:pt x="58890" y="153749"/>
                  </a:cubicBezTo>
                  <a:cubicBezTo>
                    <a:pt x="52775" y="154904"/>
                    <a:pt x="46450" y="153850"/>
                    <a:pt x="41046" y="150764"/>
                  </a:cubicBezTo>
                  <a:cubicBezTo>
                    <a:pt x="30423" y="144579"/>
                    <a:pt x="25470" y="131886"/>
                    <a:pt x="29096" y="120145"/>
                  </a:cubicBezTo>
                  <a:cubicBezTo>
                    <a:pt x="33401" y="106206"/>
                    <a:pt x="48190" y="98390"/>
                    <a:pt x="62128" y="102695"/>
                  </a:cubicBezTo>
                  <a:cubicBezTo>
                    <a:pt x="70174" y="105203"/>
                    <a:pt x="76511" y="111451"/>
                    <a:pt x="79146" y="119459"/>
                  </a:cubicBezTo>
                  <a:cubicBezTo>
                    <a:pt x="82442" y="127936"/>
                    <a:pt x="88627" y="134972"/>
                    <a:pt x="96609" y="139334"/>
                  </a:cubicBezTo>
                  <a:cubicBezTo>
                    <a:pt x="105683" y="145036"/>
                    <a:pt x="116789" y="146497"/>
                    <a:pt x="127025" y="143335"/>
                  </a:cubicBezTo>
                  <a:cubicBezTo>
                    <a:pt x="132029" y="137315"/>
                    <a:pt x="137579" y="131765"/>
                    <a:pt x="143599" y="126761"/>
                  </a:cubicBezTo>
                  <a:cubicBezTo>
                    <a:pt x="146698" y="116500"/>
                    <a:pt x="145237" y="105400"/>
                    <a:pt x="139598" y="96281"/>
                  </a:cubicBezTo>
                  <a:cubicBezTo>
                    <a:pt x="135134" y="88185"/>
                    <a:pt x="127927" y="81949"/>
                    <a:pt x="119278" y="78692"/>
                  </a:cubicBezTo>
                  <a:cubicBezTo>
                    <a:pt x="115246" y="77250"/>
                    <a:pt x="111627" y="74844"/>
                    <a:pt x="108737" y="71681"/>
                  </a:cubicBezTo>
                  <a:cubicBezTo>
                    <a:pt x="98907" y="60950"/>
                    <a:pt x="99638" y="44281"/>
                    <a:pt x="110369" y="34451"/>
                  </a:cubicBezTo>
                  <a:cubicBezTo>
                    <a:pt x="121101" y="24622"/>
                    <a:pt x="137769" y="25352"/>
                    <a:pt x="147599" y="36083"/>
                  </a:cubicBezTo>
                  <a:cubicBezTo>
                    <a:pt x="153327" y="42255"/>
                    <a:pt x="155696" y="50834"/>
                    <a:pt x="153949" y="59070"/>
                  </a:cubicBezTo>
                  <a:cubicBezTo>
                    <a:pt x="152616" y="68068"/>
                    <a:pt x="154457" y="77250"/>
                    <a:pt x="159156" y="85042"/>
                  </a:cubicBezTo>
                  <a:cubicBezTo>
                    <a:pt x="164217" y="94548"/>
                    <a:pt x="173164" y="101387"/>
                    <a:pt x="183667" y="103774"/>
                  </a:cubicBezTo>
                  <a:cubicBezTo>
                    <a:pt x="191135" y="100942"/>
                    <a:pt x="198850" y="98821"/>
                    <a:pt x="206718" y="97424"/>
                  </a:cubicBezTo>
                  <a:lnTo>
                    <a:pt x="205956" y="97424"/>
                  </a:lnTo>
                  <a:cubicBezTo>
                    <a:pt x="213792" y="90103"/>
                    <a:pt x="218072" y="79752"/>
                    <a:pt x="217703" y="69040"/>
                  </a:cubicBezTo>
                  <a:cubicBezTo>
                    <a:pt x="217894" y="59800"/>
                    <a:pt x="214789" y="50796"/>
                    <a:pt x="208940" y="43640"/>
                  </a:cubicBezTo>
                  <a:cubicBezTo>
                    <a:pt x="204851" y="38915"/>
                    <a:pt x="202597" y="32870"/>
                    <a:pt x="202590" y="26622"/>
                  </a:cubicBezTo>
                  <a:cubicBezTo>
                    <a:pt x="202463" y="14068"/>
                    <a:pt x="211207" y="3171"/>
                    <a:pt x="223488" y="574"/>
                  </a:cubicBezTo>
                  <a:close/>
                  <a:moveTo>
                    <a:pt x="229387" y="124030"/>
                  </a:moveTo>
                  <a:cubicBezTo>
                    <a:pt x="216585" y="123998"/>
                    <a:pt x="206184" y="134342"/>
                    <a:pt x="206146" y="147144"/>
                  </a:cubicBezTo>
                  <a:cubicBezTo>
                    <a:pt x="206146" y="147163"/>
                    <a:pt x="206146" y="147189"/>
                    <a:pt x="206146" y="147208"/>
                  </a:cubicBezTo>
                  <a:cubicBezTo>
                    <a:pt x="206108" y="159971"/>
                    <a:pt x="216433" y="170347"/>
                    <a:pt x="229197" y="170385"/>
                  </a:cubicBezTo>
                  <a:cubicBezTo>
                    <a:pt x="229216" y="170385"/>
                    <a:pt x="229241" y="170385"/>
                    <a:pt x="229260" y="170385"/>
                  </a:cubicBezTo>
                  <a:cubicBezTo>
                    <a:pt x="242062" y="170423"/>
                    <a:pt x="252463" y="160073"/>
                    <a:pt x="252501" y="147271"/>
                  </a:cubicBezTo>
                  <a:cubicBezTo>
                    <a:pt x="252539" y="134469"/>
                    <a:pt x="242189" y="124068"/>
                    <a:pt x="229387" y="124030"/>
                  </a:cubicBezTo>
                  <a:close/>
                  <a:moveTo>
                    <a:pt x="305262" y="165197"/>
                  </a:moveTo>
                  <a:cubicBezTo>
                    <a:pt x="299537" y="163646"/>
                    <a:pt x="293221" y="164280"/>
                    <a:pt x="287667" y="167464"/>
                  </a:cubicBezTo>
                  <a:cubicBezTo>
                    <a:pt x="287629" y="167483"/>
                    <a:pt x="287591" y="167509"/>
                    <a:pt x="287553" y="167528"/>
                  </a:cubicBezTo>
                  <a:cubicBezTo>
                    <a:pt x="276536" y="173973"/>
                    <a:pt x="272821" y="188127"/>
                    <a:pt x="279266" y="199151"/>
                  </a:cubicBezTo>
                  <a:cubicBezTo>
                    <a:pt x="285712" y="210168"/>
                    <a:pt x="299872" y="213876"/>
                    <a:pt x="310889" y="207431"/>
                  </a:cubicBezTo>
                  <a:cubicBezTo>
                    <a:pt x="321824" y="201043"/>
                    <a:pt x="325571" y="187041"/>
                    <a:pt x="319303" y="176037"/>
                  </a:cubicBezTo>
                  <a:cubicBezTo>
                    <a:pt x="316119" y="170484"/>
                    <a:pt x="310986" y="166748"/>
                    <a:pt x="305262" y="165197"/>
                  </a:cubicBezTo>
                  <a:close/>
                  <a:moveTo>
                    <a:pt x="153422" y="165277"/>
                  </a:moveTo>
                  <a:cubicBezTo>
                    <a:pt x="147713" y="166826"/>
                    <a:pt x="142595" y="170554"/>
                    <a:pt x="139420" y="176094"/>
                  </a:cubicBezTo>
                  <a:cubicBezTo>
                    <a:pt x="133076" y="187169"/>
                    <a:pt x="136905" y="201291"/>
                    <a:pt x="147986" y="207641"/>
                  </a:cubicBezTo>
                  <a:cubicBezTo>
                    <a:pt x="158978" y="213940"/>
                    <a:pt x="172999" y="210213"/>
                    <a:pt x="179412" y="199278"/>
                  </a:cubicBezTo>
                  <a:cubicBezTo>
                    <a:pt x="185858" y="188216"/>
                    <a:pt x="182117" y="174030"/>
                    <a:pt x="171062" y="167585"/>
                  </a:cubicBezTo>
                  <a:cubicBezTo>
                    <a:pt x="171030" y="167566"/>
                    <a:pt x="170999" y="167547"/>
                    <a:pt x="170967" y="167528"/>
                  </a:cubicBezTo>
                  <a:cubicBezTo>
                    <a:pt x="165429" y="164356"/>
                    <a:pt x="159130" y="163727"/>
                    <a:pt x="153422" y="165277"/>
                  </a:cubicBezTo>
                  <a:close/>
                  <a:moveTo>
                    <a:pt x="229260" y="198199"/>
                  </a:moveTo>
                  <a:cubicBezTo>
                    <a:pt x="213125" y="198199"/>
                    <a:pt x="200050" y="211274"/>
                    <a:pt x="200050" y="227409"/>
                  </a:cubicBezTo>
                  <a:cubicBezTo>
                    <a:pt x="200050" y="243544"/>
                    <a:pt x="213125" y="256619"/>
                    <a:pt x="229260" y="256619"/>
                  </a:cubicBezTo>
                  <a:cubicBezTo>
                    <a:pt x="245395" y="256619"/>
                    <a:pt x="258470" y="243544"/>
                    <a:pt x="258470" y="227409"/>
                  </a:cubicBezTo>
                  <a:cubicBezTo>
                    <a:pt x="258470" y="211280"/>
                    <a:pt x="245395" y="198199"/>
                    <a:pt x="229260" y="198199"/>
                  </a:cubicBezTo>
                  <a:close/>
                  <a:moveTo>
                    <a:pt x="293115" y="246027"/>
                  </a:moveTo>
                  <a:cubicBezTo>
                    <a:pt x="287410" y="247590"/>
                    <a:pt x="282302" y="251329"/>
                    <a:pt x="279139" y="256873"/>
                  </a:cubicBezTo>
                  <a:cubicBezTo>
                    <a:pt x="272821" y="267966"/>
                    <a:pt x="276688" y="282082"/>
                    <a:pt x="287782" y="288400"/>
                  </a:cubicBezTo>
                  <a:cubicBezTo>
                    <a:pt x="298780" y="294674"/>
                    <a:pt x="312782" y="290921"/>
                    <a:pt x="319176" y="279987"/>
                  </a:cubicBezTo>
                  <a:cubicBezTo>
                    <a:pt x="325634" y="269014"/>
                    <a:pt x="321970" y="254885"/>
                    <a:pt x="311004" y="248427"/>
                  </a:cubicBezTo>
                  <a:cubicBezTo>
                    <a:pt x="310889" y="248364"/>
                    <a:pt x="310781" y="248300"/>
                    <a:pt x="310667" y="248237"/>
                  </a:cubicBezTo>
                  <a:cubicBezTo>
                    <a:pt x="305121" y="245078"/>
                    <a:pt x="298820" y="244465"/>
                    <a:pt x="293115" y="246027"/>
                  </a:cubicBezTo>
                  <a:close/>
                  <a:moveTo>
                    <a:pt x="165604" y="245867"/>
                  </a:moveTo>
                  <a:cubicBezTo>
                    <a:pt x="159895" y="244317"/>
                    <a:pt x="153594" y="244944"/>
                    <a:pt x="148057" y="248116"/>
                  </a:cubicBezTo>
                  <a:cubicBezTo>
                    <a:pt x="147987" y="248160"/>
                    <a:pt x="147923" y="248198"/>
                    <a:pt x="147854" y="248236"/>
                  </a:cubicBezTo>
                  <a:cubicBezTo>
                    <a:pt x="136843" y="254694"/>
                    <a:pt x="133153" y="268855"/>
                    <a:pt x="139611" y="279866"/>
                  </a:cubicBezTo>
                  <a:cubicBezTo>
                    <a:pt x="146069" y="290877"/>
                    <a:pt x="160230" y="294572"/>
                    <a:pt x="171241" y="288108"/>
                  </a:cubicBezTo>
                  <a:cubicBezTo>
                    <a:pt x="182175" y="281701"/>
                    <a:pt x="185903" y="267680"/>
                    <a:pt x="179604" y="256682"/>
                  </a:cubicBezTo>
                  <a:cubicBezTo>
                    <a:pt x="176432" y="251145"/>
                    <a:pt x="171314" y="247417"/>
                    <a:pt x="165604" y="245867"/>
                  </a:cubicBezTo>
                  <a:close/>
                  <a:moveTo>
                    <a:pt x="229260" y="285447"/>
                  </a:moveTo>
                  <a:cubicBezTo>
                    <a:pt x="216459" y="285409"/>
                    <a:pt x="206057" y="295760"/>
                    <a:pt x="206019" y="308561"/>
                  </a:cubicBezTo>
                  <a:cubicBezTo>
                    <a:pt x="205987" y="321363"/>
                    <a:pt x="216332" y="331764"/>
                    <a:pt x="229133" y="331802"/>
                  </a:cubicBezTo>
                  <a:cubicBezTo>
                    <a:pt x="241935" y="331840"/>
                    <a:pt x="252336" y="321490"/>
                    <a:pt x="252374" y="308688"/>
                  </a:cubicBezTo>
                  <a:cubicBezTo>
                    <a:pt x="252374" y="308644"/>
                    <a:pt x="252374" y="308606"/>
                    <a:pt x="252374" y="308561"/>
                  </a:cubicBezTo>
                  <a:cubicBezTo>
                    <a:pt x="252374" y="295798"/>
                    <a:pt x="242024" y="285447"/>
                    <a:pt x="229260" y="285447"/>
                  </a:cubicBezTo>
                  <a:close/>
                </a:path>
              </a:pathLst>
            </a:custGeom>
            <a:solidFill>
              <a:srgbClr val="0070BF"/>
            </a:solidFill>
            <a:ln w="6350" cap="flat">
              <a:noFill/>
              <a:prstDash val="solid"/>
              <a:miter/>
            </a:ln>
          </p:spPr>
          <p:txBody>
            <a:bodyPr wrap="square" rtlCol="0" anchor="ctr">
              <a:noAutofit/>
            </a:bodyPr>
            <a:lstStyle/>
            <a:p>
              <a:pPr algn="ctr" defTabSz="685578">
                <a:buClr>
                  <a:srgbClr val="000000"/>
                </a:buClr>
                <a:defRPr/>
              </a:pPr>
              <a:endParaRPr lang="en-GB" sz="1600" kern="0">
                <a:solidFill>
                  <a:prstClr val="black"/>
                </a:solidFill>
                <a:latin typeface="Calibri" panose="020F0502020204030204" pitchFamily="34" charset="0"/>
                <a:ea typeface="Calibri" panose="020F0502020204030204" pitchFamily="34" charset="0"/>
                <a:cs typeface="Calibri" panose="020F0502020204030204" pitchFamily="34" charset="0"/>
                <a:sym typeface="Arial"/>
              </a:endParaRPr>
            </a:p>
          </p:txBody>
        </p:sp>
        <p:pic>
          <p:nvPicPr>
            <p:cNvPr id="5" name="Graphic 4" descr="Covid-19 outline">
              <a:extLst>
                <a:ext uri="{FF2B5EF4-FFF2-40B4-BE49-F238E27FC236}">
                  <a16:creationId xmlns:a16="http://schemas.microsoft.com/office/drawing/2014/main" id="{99365B4E-B31A-EC76-B49F-5E5B500DD97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5638153" y="2286229"/>
              <a:ext cx="621282" cy="553823"/>
            </a:xfrm>
            <a:prstGeom prst="rect">
              <a:avLst/>
            </a:prstGeom>
          </p:spPr>
        </p:pic>
        <p:sp>
          <p:nvSpPr>
            <p:cNvPr id="72" name="TextBox 71">
              <a:extLst>
                <a:ext uri="{FF2B5EF4-FFF2-40B4-BE49-F238E27FC236}">
                  <a16:creationId xmlns:a16="http://schemas.microsoft.com/office/drawing/2014/main" id="{3EE9F3D3-5985-55E8-8FBC-EB4AE9C68088}"/>
                </a:ext>
              </a:extLst>
            </p:cNvPr>
            <p:cNvSpPr txBox="1"/>
            <p:nvPr/>
          </p:nvSpPr>
          <p:spPr>
            <a:xfrm>
              <a:off x="3307455" y="2285747"/>
              <a:ext cx="2053857" cy="175523"/>
            </a:xfrm>
            <a:prstGeom prst="rect">
              <a:avLst/>
            </a:prstGeom>
            <a:noFill/>
          </p:spPr>
          <p:txBody>
            <a:bodyPr wrap="square">
              <a:spAutoFit/>
            </a:bodyPr>
            <a:lstStyle/>
            <a:p>
              <a:pPr algn="ctr" defTabSz="685800" fontAlgn="base">
                <a:spcAft>
                  <a:spcPts val="900"/>
                </a:spcAft>
                <a:buClr>
                  <a:srgbClr val="000000"/>
                </a:buClr>
                <a:buSzPct val="100000"/>
                <a:defRPr/>
              </a:pPr>
              <a:r>
                <a:rPr lang="en-US" b="1">
                  <a:solidFill>
                    <a:srgbClr val="344068"/>
                  </a:solidFill>
                  <a:latin typeface="Pfizer Tomorrow"/>
                </a:rPr>
                <a:t>Viral </a:t>
              </a:r>
              <a:r>
                <a:rPr lang="en-US" b="1" err="1">
                  <a:solidFill>
                    <a:srgbClr val="344068"/>
                  </a:solidFill>
                  <a:latin typeface="Pfizer Tomorrow"/>
                </a:rPr>
                <a:t>patojenler</a:t>
              </a:r>
              <a:endParaRPr lang="en-US" b="1" baseline="30000">
                <a:solidFill>
                  <a:srgbClr val="344068"/>
                </a:solidFill>
                <a:latin typeface="Pfizer Diatype Office"/>
              </a:endParaRPr>
            </a:p>
          </p:txBody>
        </p:sp>
        <p:sp>
          <p:nvSpPr>
            <p:cNvPr id="4" name="TextBox 3">
              <a:extLst>
                <a:ext uri="{FF2B5EF4-FFF2-40B4-BE49-F238E27FC236}">
                  <a16:creationId xmlns:a16="http://schemas.microsoft.com/office/drawing/2014/main" id="{654EAC3C-7FD8-926B-D13F-0E4731A67946}"/>
                </a:ext>
              </a:extLst>
            </p:cNvPr>
            <p:cNvSpPr txBox="1"/>
            <p:nvPr/>
          </p:nvSpPr>
          <p:spPr>
            <a:xfrm>
              <a:off x="3380682" y="1710652"/>
              <a:ext cx="5244572" cy="397854"/>
            </a:xfrm>
            <a:prstGeom prst="rect">
              <a:avLst/>
            </a:prstGeom>
            <a:noFill/>
          </p:spPr>
          <p:txBody>
            <a:bodyPr wrap="square" lIns="0" rIns="0">
              <a:spAutoFit/>
            </a:bodyPr>
            <a:lstStyle/>
            <a:p>
              <a:pPr marL="2381" lvl="3" defTabSz="685800">
                <a:spcAft>
                  <a:spcPts val="450"/>
                </a:spcAft>
                <a:defRPr/>
              </a:pPr>
              <a:r>
                <a:rPr lang="en-GB" sz="1400">
                  <a:solidFill>
                    <a:srgbClr val="000067"/>
                  </a:solidFill>
                  <a:latin typeface="Pfizer Diatype Office"/>
                </a:rPr>
                <a:t>COVID-19'un </a:t>
              </a:r>
              <a:r>
                <a:rPr lang="en-GB" sz="1400" err="1">
                  <a:solidFill>
                    <a:srgbClr val="000067"/>
                  </a:solidFill>
                  <a:latin typeface="Pfizer Diatype Office"/>
                </a:rPr>
                <a:t>ortaya</a:t>
              </a:r>
              <a:r>
                <a:rPr lang="en-GB" sz="1400">
                  <a:solidFill>
                    <a:srgbClr val="000067"/>
                  </a:solidFill>
                  <a:latin typeface="Pfizer Diatype Office"/>
                </a:rPr>
                <a:t> </a:t>
              </a:r>
              <a:r>
                <a:rPr lang="en-GB" sz="1400" err="1">
                  <a:solidFill>
                    <a:srgbClr val="000067"/>
                  </a:solidFill>
                  <a:latin typeface="Pfizer Diatype Office"/>
                </a:rPr>
                <a:t>çıkmasıyla</a:t>
              </a:r>
              <a:r>
                <a:rPr lang="en-GB" sz="1400">
                  <a:solidFill>
                    <a:srgbClr val="000067"/>
                  </a:solidFill>
                  <a:latin typeface="Pfizer Diatype Office"/>
                </a:rPr>
                <a:t>, </a:t>
              </a:r>
              <a:r>
                <a:rPr lang="en-GB" sz="1400" b="1" err="1">
                  <a:solidFill>
                    <a:srgbClr val="000067"/>
                  </a:solidFill>
                  <a:latin typeface="Pfizer Diatype Office"/>
                </a:rPr>
                <a:t>küresel</a:t>
              </a:r>
              <a:r>
                <a:rPr lang="en-GB" sz="1400" b="1">
                  <a:solidFill>
                    <a:srgbClr val="000067"/>
                  </a:solidFill>
                  <a:latin typeface="Pfizer Diatype Office"/>
                </a:rPr>
                <a:t> </a:t>
              </a:r>
              <a:r>
                <a:rPr lang="en-GB" sz="1400" b="1" err="1">
                  <a:solidFill>
                    <a:srgbClr val="000067"/>
                  </a:solidFill>
                  <a:latin typeface="Pfizer Diatype Office"/>
                </a:rPr>
                <a:t>popülasyon</a:t>
              </a:r>
              <a:r>
                <a:rPr lang="en-GB" sz="1400">
                  <a:solidFill>
                    <a:srgbClr val="000067"/>
                  </a:solidFill>
                  <a:latin typeface="Pfizer Diatype Office"/>
                </a:rPr>
                <a:t> </a:t>
              </a:r>
              <a:r>
                <a:rPr lang="en-GB" sz="1400" err="1">
                  <a:solidFill>
                    <a:srgbClr val="000067"/>
                  </a:solidFill>
                  <a:latin typeface="Pfizer Diatype Office"/>
                </a:rPr>
                <a:t>ASYE’lere</a:t>
              </a:r>
              <a:r>
                <a:rPr lang="en-GB" sz="1400">
                  <a:solidFill>
                    <a:srgbClr val="000067"/>
                  </a:solidFill>
                  <a:latin typeface="Pfizer Diatype Office"/>
                </a:rPr>
                <a:t> </a:t>
              </a:r>
              <a:r>
                <a:rPr lang="en-GB" sz="1400" err="1">
                  <a:solidFill>
                    <a:srgbClr val="000067"/>
                  </a:solidFill>
                  <a:latin typeface="Pfizer Diatype Office"/>
                </a:rPr>
                <a:t>neden</a:t>
              </a:r>
              <a:r>
                <a:rPr lang="en-GB" sz="1400">
                  <a:solidFill>
                    <a:srgbClr val="000067"/>
                  </a:solidFill>
                  <a:latin typeface="Pfizer Diatype Office"/>
                </a:rPr>
                <a:t> </a:t>
              </a:r>
              <a:r>
                <a:rPr lang="en-GB" sz="1400" err="1">
                  <a:solidFill>
                    <a:srgbClr val="000067"/>
                  </a:solidFill>
                  <a:latin typeface="Pfizer Diatype Office"/>
                </a:rPr>
                <a:t>olan</a:t>
              </a:r>
              <a:r>
                <a:rPr lang="en-GB" sz="1400">
                  <a:solidFill>
                    <a:srgbClr val="000067"/>
                  </a:solidFill>
                  <a:latin typeface="Pfizer Diatype Office"/>
                </a:rPr>
                <a:t> 3 </a:t>
              </a:r>
              <a:r>
                <a:rPr lang="en-GB" sz="1400" err="1">
                  <a:solidFill>
                    <a:srgbClr val="000067"/>
                  </a:solidFill>
                  <a:latin typeface="Pfizer Diatype Office"/>
                </a:rPr>
                <a:t>dolaşım</a:t>
              </a:r>
              <a:r>
                <a:rPr lang="en-GB" sz="1400">
                  <a:solidFill>
                    <a:srgbClr val="000067"/>
                  </a:solidFill>
                  <a:latin typeface="Pfizer Diatype Office"/>
                </a:rPr>
                <a:t> </a:t>
              </a:r>
              <a:r>
                <a:rPr lang="en-GB" sz="1400" err="1">
                  <a:solidFill>
                    <a:srgbClr val="000067"/>
                  </a:solidFill>
                  <a:latin typeface="Pfizer Diatype Office"/>
                </a:rPr>
                <a:t>yolu</a:t>
              </a:r>
              <a:r>
                <a:rPr lang="en-GB" sz="1400">
                  <a:solidFill>
                    <a:srgbClr val="000067"/>
                  </a:solidFill>
                  <a:latin typeface="Pfizer Diatype Office"/>
                </a:rPr>
                <a:t> </a:t>
              </a:r>
              <a:r>
                <a:rPr lang="en-GB" sz="1400" err="1">
                  <a:solidFill>
                    <a:srgbClr val="000067"/>
                  </a:solidFill>
                  <a:latin typeface="Pfizer Diatype Office"/>
                </a:rPr>
                <a:t>virüsüne</a:t>
              </a:r>
              <a:r>
                <a:rPr lang="en-GB" sz="1400">
                  <a:solidFill>
                    <a:srgbClr val="000067"/>
                  </a:solidFill>
                  <a:latin typeface="Pfizer Diatype Office"/>
                </a:rPr>
                <a:t> </a:t>
              </a:r>
              <a:r>
                <a:rPr lang="en-GB" sz="1400" err="1">
                  <a:solidFill>
                    <a:srgbClr val="000067"/>
                  </a:solidFill>
                  <a:latin typeface="Pfizer Diatype Office"/>
                </a:rPr>
                <a:t>maruz</a:t>
              </a:r>
              <a:r>
                <a:rPr lang="en-GB" sz="1400">
                  <a:solidFill>
                    <a:srgbClr val="000067"/>
                  </a:solidFill>
                  <a:latin typeface="Pfizer Diatype Office"/>
                </a:rPr>
                <a:t> </a:t>
              </a:r>
              <a:r>
                <a:rPr lang="en-GB" sz="1400" err="1">
                  <a:solidFill>
                    <a:srgbClr val="000067"/>
                  </a:solidFill>
                  <a:latin typeface="Pfizer Diatype Office"/>
                </a:rPr>
                <a:t>kaldı</a:t>
              </a:r>
              <a:r>
                <a:rPr lang="en-GB" sz="1400">
                  <a:solidFill>
                    <a:srgbClr val="000067"/>
                  </a:solidFill>
                  <a:latin typeface="Pfizer Diatype Office"/>
                </a:rPr>
                <a:t>: SARS-CoV-2, influenza </a:t>
              </a:r>
              <a:r>
                <a:rPr lang="en-GB" sz="1400" err="1">
                  <a:solidFill>
                    <a:srgbClr val="000067"/>
                  </a:solidFill>
                  <a:latin typeface="Pfizer Diatype Office"/>
                </a:rPr>
                <a:t>ve</a:t>
              </a:r>
              <a:r>
                <a:rPr lang="en-GB" sz="1400">
                  <a:solidFill>
                    <a:srgbClr val="000067"/>
                  </a:solidFill>
                  <a:latin typeface="Pfizer Diatype Office"/>
                </a:rPr>
                <a:t> </a:t>
              </a:r>
              <a:r>
                <a:rPr lang="en-GB" sz="1400">
                  <a:solidFill>
                    <a:srgbClr val="000067"/>
                  </a:solidFill>
                  <a:latin typeface="Arial" panose="020B0604020202020204"/>
                </a:rPr>
                <a:t>RSV</a:t>
              </a:r>
              <a:r>
                <a:rPr lang="en-GB" sz="1400" baseline="30000">
                  <a:solidFill>
                    <a:srgbClr val="000067"/>
                  </a:solidFill>
                  <a:latin typeface="Arial" panose="020B0604020202020204"/>
                </a:rPr>
                <a:t>2</a:t>
              </a:r>
              <a:endParaRPr lang="en-GB" sz="1400">
                <a:solidFill>
                  <a:srgbClr val="000067"/>
                </a:solidFill>
                <a:latin typeface="Pfizer Diatype Office"/>
              </a:endParaRPr>
            </a:p>
          </p:txBody>
        </p:sp>
        <p:sp>
          <p:nvSpPr>
            <p:cNvPr id="9" name="TextBox 8">
              <a:extLst>
                <a:ext uri="{FF2B5EF4-FFF2-40B4-BE49-F238E27FC236}">
                  <a16:creationId xmlns:a16="http://schemas.microsoft.com/office/drawing/2014/main" id="{F7014CFA-0FAF-8D2F-C597-98750192FBA2}"/>
                </a:ext>
              </a:extLst>
            </p:cNvPr>
            <p:cNvSpPr txBox="1"/>
            <p:nvPr/>
          </p:nvSpPr>
          <p:spPr>
            <a:xfrm>
              <a:off x="3505848" y="2806566"/>
              <a:ext cx="5119406" cy="774255"/>
            </a:xfrm>
            <a:prstGeom prst="rect">
              <a:avLst/>
            </a:prstGeom>
            <a:noFill/>
          </p:spPr>
          <p:txBody>
            <a:bodyPr wrap="square" lIns="0" rIns="0">
              <a:spAutoFit/>
            </a:bodyPr>
            <a:lstStyle/>
            <a:p>
              <a:pPr marL="130302" lvl="3" indent="-130302" defTabSz="685800">
                <a:spcAft>
                  <a:spcPts val="450"/>
                </a:spcAft>
                <a:buFont typeface="Arial" panose="020B0604020202020204" pitchFamily="34" charset="0"/>
                <a:buChar char="•"/>
                <a:defRPr/>
              </a:pPr>
              <a:r>
                <a:rPr lang="en-GB" sz="1400">
                  <a:solidFill>
                    <a:srgbClr val="000067"/>
                  </a:solidFill>
                  <a:latin typeface="Pfizer Diatype Office"/>
                </a:rPr>
                <a:t>COVID-19, 2021 </a:t>
              </a:r>
              <a:r>
                <a:rPr lang="en-GB" sz="1400" err="1">
                  <a:solidFill>
                    <a:srgbClr val="000067"/>
                  </a:solidFill>
                  <a:latin typeface="Pfizer Diatype Office"/>
                </a:rPr>
                <a:t>yılında</a:t>
              </a:r>
              <a:r>
                <a:rPr lang="en-GB" sz="1400">
                  <a:solidFill>
                    <a:srgbClr val="000067"/>
                  </a:solidFill>
                  <a:latin typeface="Pfizer Diatype Office"/>
                </a:rPr>
                <a:t> </a:t>
              </a:r>
              <a:r>
                <a:rPr lang="en-GB" sz="1400" err="1">
                  <a:solidFill>
                    <a:srgbClr val="000067"/>
                  </a:solidFill>
                  <a:latin typeface="Pfizer Diatype Office"/>
                </a:rPr>
                <a:t>dünya</a:t>
              </a:r>
              <a:r>
                <a:rPr lang="en-GB" sz="1400">
                  <a:solidFill>
                    <a:srgbClr val="000067"/>
                  </a:solidFill>
                  <a:latin typeface="Pfizer Diatype Office"/>
                </a:rPr>
                <a:t> </a:t>
              </a:r>
              <a:r>
                <a:rPr lang="en-GB" sz="1400" err="1">
                  <a:solidFill>
                    <a:srgbClr val="000067"/>
                  </a:solidFill>
                  <a:latin typeface="Pfizer Diatype Office"/>
                </a:rPr>
                <a:t>genelinde</a:t>
              </a:r>
              <a:r>
                <a:rPr lang="en-GB" sz="1400">
                  <a:solidFill>
                    <a:srgbClr val="000067"/>
                  </a:solidFill>
                  <a:latin typeface="Pfizer Diatype Office"/>
                </a:rPr>
                <a:t> </a:t>
              </a:r>
              <a:r>
                <a:rPr lang="en-GB" sz="1400" err="1">
                  <a:solidFill>
                    <a:srgbClr val="000067"/>
                  </a:solidFill>
                  <a:latin typeface="Pfizer Diatype Office"/>
                </a:rPr>
                <a:t>yaklaşık</a:t>
              </a:r>
              <a:r>
                <a:rPr lang="en-GB" sz="1400">
                  <a:solidFill>
                    <a:srgbClr val="000067"/>
                  </a:solidFill>
                  <a:latin typeface="Pfizer Diatype Office"/>
                </a:rPr>
                <a:t> 7,89 </a:t>
              </a:r>
              <a:r>
                <a:rPr lang="en-GB" sz="1400" err="1">
                  <a:solidFill>
                    <a:srgbClr val="000067"/>
                  </a:solidFill>
                  <a:latin typeface="Pfizer Diatype Office"/>
                </a:rPr>
                <a:t>milyon</a:t>
              </a:r>
              <a:r>
                <a:rPr lang="en-GB" sz="1400">
                  <a:solidFill>
                    <a:srgbClr val="000067"/>
                  </a:solidFill>
                  <a:latin typeface="Pfizer Diatype Office"/>
                </a:rPr>
                <a:t> can </a:t>
              </a:r>
              <a:r>
                <a:rPr lang="en-GB" sz="1400" err="1">
                  <a:solidFill>
                    <a:srgbClr val="000067"/>
                  </a:solidFill>
                  <a:latin typeface="Pfizer Diatype Office"/>
                </a:rPr>
                <a:t>kaybına</a:t>
              </a:r>
              <a:r>
                <a:rPr lang="en-GB" sz="1400">
                  <a:solidFill>
                    <a:srgbClr val="000067"/>
                  </a:solidFill>
                  <a:latin typeface="Pfizer Diatype Office"/>
                </a:rPr>
                <a:t> </a:t>
              </a:r>
              <a:r>
                <a:rPr lang="en-GB" sz="1400" err="1">
                  <a:solidFill>
                    <a:srgbClr val="000067"/>
                  </a:solidFill>
                  <a:latin typeface="Pfizer Diatype Office"/>
                </a:rPr>
                <a:t>sebep</a:t>
              </a:r>
              <a:r>
                <a:rPr lang="en-GB" sz="1400">
                  <a:solidFill>
                    <a:srgbClr val="000067"/>
                  </a:solidFill>
                  <a:latin typeface="Pfizer Diatype Office"/>
                </a:rPr>
                <a:t>  </a:t>
              </a:r>
              <a:r>
                <a:rPr lang="en-GB" sz="1400" err="1">
                  <a:solidFill>
                    <a:srgbClr val="000067"/>
                  </a:solidFill>
                  <a:latin typeface="Pfizer Diatype Office"/>
                </a:rPr>
                <a:t>oldu</a:t>
              </a:r>
              <a:r>
                <a:rPr lang="en-GB" sz="1400">
                  <a:solidFill>
                    <a:srgbClr val="000067"/>
                  </a:solidFill>
                  <a:latin typeface="Pfizer Diatype Office"/>
                </a:rPr>
                <a:t>.</a:t>
              </a:r>
              <a:r>
                <a:rPr lang="en-GB" sz="1400" baseline="30000">
                  <a:solidFill>
                    <a:srgbClr val="000067"/>
                  </a:solidFill>
                  <a:latin typeface="Arial" panose="020B0604020202020204"/>
                </a:rPr>
                <a:t> 4</a:t>
              </a:r>
              <a:endParaRPr lang="en-GB" sz="1400">
                <a:solidFill>
                  <a:srgbClr val="000067"/>
                </a:solidFill>
                <a:latin typeface="Pfizer Diatype Office"/>
              </a:endParaRPr>
            </a:p>
            <a:p>
              <a:pPr marL="130302" lvl="3" indent="-130302" defTabSz="685800">
                <a:spcAft>
                  <a:spcPts val="450"/>
                </a:spcAft>
                <a:buFont typeface="Arial" panose="020B0604020202020204" pitchFamily="34" charset="0"/>
                <a:buChar char="•"/>
                <a:defRPr/>
              </a:pPr>
              <a:r>
                <a:rPr lang="en-GB" sz="1400">
                  <a:solidFill>
                    <a:srgbClr val="000067"/>
                  </a:solidFill>
                  <a:latin typeface="Pfizer Diatype Office"/>
                </a:rPr>
                <a:t>2021 </a:t>
              </a:r>
              <a:r>
                <a:rPr lang="en-GB" sz="1400" err="1">
                  <a:solidFill>
                    <a:srgbClr val="000067"/>
                  </a:solidFill>
                  <a:latin typeface="Pfizer Diatype Office"/>
                </a:rPr>
                <a:t>yılında</a:t>
              </a:r>
              <a:r>
                <a:rPr lang="en-GB" sz="1400">
                  <a:solidFill>
                    <a:srgbClr val="000067"/>
                  </a:solidFill>
                  <a:latin typeface="Pfizer Diatype Office"/>
                </a:rPr>
                <a:t>, influenza </a:t>
              </a:r>
              <a:r>
                <a:rPr lang="en-GB" sz="1400" err="1">
                  <a:solidFill>
                    <a:srgbClr val="000067"/>
                  </a:solidFill>
                  <a:latin typeface="Pfizer Diatype Office"/>
                </a:rPr>
                <a:t>ve</a:t>
              </a:r>
              <a:r>
                <a:rPr lang="en-GB" sz="1400">
                  <a:solidFill>
                    <a:srgbClr val="000067"/>
                  </a:solidFill>
                  <a:latin typeface="Pfizer Diatype Office"/>
                </a:rPr>
                <a:t> RSV, </a:t>
              </a:r>
              <a:r>
                <a:rPr lang="en-GB" sz="1400" err="1">
                  <a:solidFill>
                    <a:srgbClr val="000067"/>
                  </a:solidFill>
                  <a:latin typeface="Pfizer Diatype Office"/>
                </a:rPr>
                <a:t>dünya</a:t>
              </a:r>
              <a:r>
                <a:rPr lang="en-GB" sz="1400">
                  <a:solidFill>
                    <a:srgbClr val="000067"/>
                  </a:solidFill>
                  <a:latin typeface="Pfizer Diatype Office"/>
                </a:rPr>
                <a:t> </a:t>
              </a:r>
              <a:r>
                <a:rPr lang="en-GB" sz="1400" err="1">
                  <a:solidFill>
                    <a:srgbClr val="000067"/>
                  </a:solidFill>
                  <a:latin typeface="Pfizer Diatype Office"/>
                </a:rPr>
                <a:t>genelinde</a:t>
              </a:r>
              <a:r>
                <a:rPr lang="en-GB" sz="1400">
                  <a:solidFill>
                    <a:srgbClr val="000067"/>
                  </a:solidFill>
                  <a:latin typeface="Pfizer Diatype Office"/>
                </a:rPr>
                <a:t> </a:t>
              </a:r>
              <a:r>
                <a:rPr lang="en-GB" sz="1400" err="1">
                  <a:solidFill>
                    <a:srgbClr val="000067"/>
                  </a:solidFill>
                  <a:latin typeface="Pfizer Diatype Office"/>
                </a:rPr>
                <a:t>tüm</a:t>
              </a:r>
              <a:r>
                <a:rPr lang="en-GB" sz="1400">
                  <a:solidFill>
                    <a:srgbClr val="000067"/>
                  </a:solidFill>
                  <a:latin typeface="Pfizer Diatype Office"/>
                </a:rPr>
                <a:t> </a:t>
              </a:r>
              <a:r>
                <a:rPr lang="en-GB" sz="1400" err="1">
                  <a:solidFill>
                    <a:srgbClr val="000067"/>
                  </a:solidFill>
                  <a:latin typeface="Pfizer Diatype Office"/>
                </a:rPr>
                <a:t>yaş</a:t>
              </a:r>
              <a:r>
                <a:rPr lang="en-GB" sz="1400">
                  <a:solidFill>
                    <a:srgbClr val="000067"/>
                  </a:solidFill>
                  <a:latin typeface="Pfizer Diatype Office"/>
                </a:rPr>
                <a:t> </a:t>
              </a:r>
              <a:r>
                <a:rPr lang="en-GB" sz="1400" err="1">
                  <a:solidFill>
                    <a:srgbClr val="000067"/>
                  </a:solidFill>
                  <a:latin typeface="Pfizer Diatype Office"/>
                </a:rPr>
                <a:t>gruplarında</a:t>
              </a:r>
              <a:r>
                <a:rPr lang="en-GB" sz="1400">
                  <a:solidFill>
                    <a:srgbClr val="000067"/>
                  </a:solidFill>
                  <a:latin typeface="Pfizer Diatype Office"/>
                </a:rPr>
                <a:t> </a:t>
              </a:r>
              <a:r>
                <a:rPr lang="en-GB" sz="1400" err="1">
                  <a:solidFill>
                    <a:srgbClr val="000067"/>
                  </a:solidFill>
                  <a:latin typeface="Pfizer Diatype Office"/>
                </a:rPr>
                <a:t>yaklaşık</a:t>
              </a:r>
              <a:r>
                <a:rPr lang="en-GB" sz="1400">
                  <a:solidFill>
                    <a:srgbClr val="000067"/>
                  </a:solidFill>
                  <a:latin typeface="Pfizer Diatype Office"/>
                </a:rPr>
                <a:t> 98.200 </a:t>
              </a:r>
              <a:r>
                <a:rPr lang="en-GB" sz="1400" err="1">
                  <a:solidFill>
                    <a:srgbClr val="000067"/>
                  </a:solidFill>
                  <a:latin typeface="Pfizer Diatype Office"/>
                </a:rPr>
                <a:t>ve</a:t>
              </a:r>
              <a:r>
                <a:rPr lang="en-GB" sz="1400">
                  <a:solidFill>
                    <a:srgbClr val="000067"/>
                  </a:solidFill>
                  <a:latin typeface="Pfizer Diatype Office"/>
                </a:rPr>
                <a:t> 31.500‡ can </a:t>
              </a:r>
              <a:r>
                <a:rPr lang="en-GB" sz="1400" err="1">
                  <a:solidFill>
                    <a:srgbClr val="000067"/>
                  </a:solidFill>
                  <a:latin typeface="Pfizer Diatype Office"/>
                </a:rPr>
                <a:t>kaybına</a:t>
              </a:r>
              <a:r>
                <a:rPr lang="en-GB" sz="1400">
                  <a:solidFill>
                    <a:srgbClr val="000067"/>
                  </a:solidFill>
                  <a:latin typeface="Pfizer Diatype Office"/>
                </a:rPr>
                <a:t> </a:t>
              </a:r>
              <a:r>
                <a:rPr lang="en-GB" sz="1400" err="1">
                  <a:solidFill>
                    <a:srgbClr val="000067"/>
                  </a:solidFill>
                  <a:latin typeface="Pfizer Diatype Office"/>
                </a:rPr>
                <a:t>sebep</a:t>
              </a:r>
              <a:r>
                <a:rPr lang="en-GB" sz="1400">
                  <a:solidFill>
                    <a:srgbClr val="000067"/>
                  </a:solidFill>
                  <a:latin typeface="Pfizer Diatype Office"/>
                </a:rPr>
                <a:t> oldu.</a:t>
              </a:r>
              <a:r>
                <a:rPr lang="en-GB" sz="1400" baseline="30000">
                  <a:solidFill>
                    <a:srgbClr val="000067"/>
                  </a:solidFill>
                  <a:latin typeface="Pfizer Diatype Office"/>
                </a:rPr>
                <a:t>3</a:t>
              </a:r>
            </a:p>
          </p:txBody>
        </p:sp>
      </p:grpSp>
      <p:pic>
        <p:nvPicPr>
          <p:cNvPr id="60" name="Picture 59" descr="A yellow and blue logo&#10;&#10;Description automatically generated">
            <a:extLst>
              <a:ext uri="{FF2B5EF4-FFF2-40B4-BE49-F238E27FC236}">
                <a16:creationId xmlns:a16="http://schemas.microsoft.com/office/drawing/2014/main" id="{8B264775-8385-7E2B-106E-E8443A194333}"/>
              </a:ext>
            </a:extLst>
          </p:cNvPr>
          <p:cNvPicPr>
            <a:picLocks noChangeAspect="1"/>
          </p:cNvPicPr>
          <p:nvPr/>
        </p:nvPicPr>
        <p:blipFill>
          <a:blip r:embed="rId8">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63" name="Picture 62" descr="A black and blue logo&#10;&#10;AI-generated content may be incorrect.">
            <a:extLst>
              <a:ext uri="{FF2B5EF4-FFF2-40B4-BE49-F238E27FC236}">
                <a16:creationId xmlns:a16="http://schemas.microsoft.com/office/drawing/2014/main" id="{70751B08-E730-03DE-11E3-DAA33CED2E4D}"/>
              </a:ext>
            </a:extLst>
          </p:cNvPr>
          <p:cNvPicPr>
            <a:picLocks noChangeAspect="1"/>
          </p:cNvPicPr>
          <p:nvPr/>
        </p:nvPicPr>
        <p:blipFill>
          <a:blip r:embed="rId9"/>
          <a:stretch>
            <a:fillRect/>
          </a:stretch>
        </p:blipFill>
        <p:spPr>
          <a:xfrm>
            <a:off x="9513903" y="6494969"/>
            <a:ext cx="981021" cy="204067"/>
          </a:xfrm>
          <a:prstGeom prst="rect">
            <a:avLst/>
          </a:prstGeom>
        </p:spPr>
      </p:pic>
    </p:spTree>
    <p:extLst>
      <p:ext uri="{BB962C8B-B14F-4D97-AF65-F5344CB8AC3E}">
        <p14:creationId xmlns:p14="http://schemas.microsoft.com/office/powerpoint/2010/main" val="2535250984"/>
      </p:ext>
    </p:extLst>
  </p:cSld>
  <p:clrMapOvr>
    <a:masterClrMapping/>
  </p:clrMapOvr>
  <p:extLst>
    <p:ext uri="{6950BFC3-D8DA-4A85-94F7-54DA5524770B}">
      <p188:commentRel xmlns:p188="http://schemas.microsoft.com/office/powerpoint/2018/8/main" r:id="rId3"/>
    </p:ext>
  </p:extLs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424BDB4-2569-BEA2-7569-AB0AFBAD644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434C17D-94FB-F821-8914-79A383199A40}"/>
              </a:ext>
            </a:extLst>
          </p:cNvPr>
          <p:cNvSpPr>
            <a:spLocks noGrp="1"/>
          </p:cNvSpPr>
          <p:nvPr>
            <p:ph type="title"/>
          </p:nvPr>
        </p:nvSpPr>
        <p:spPr>
          <a:xfrm>
            <a:off x="612775" y="429834"/>
            <a:ext cx="10969625" cy="373820"/>
          </a:xfrm>
        </p:spPr>
        <p:txBody>
          <a:bodyPr vert="horz" wrap="square" lIns="0" tIns="0" rIns="0" bIns="0" rtlCol="0" anchor="ctr">
            <a:spAutoFit/>
          </a:bodyPr>
          <a:lstStyle/>
          <a:p>
            <a:r>
              <a:rPr lang="en-US" dirty="0" err="1"/>
              <a:t>İmmünosenesans</a:t>
            </a:r>
            <a:r>
              <a:rPr lang="en-US" dirty="0"/>
              <a:t> </a:t>
            </a:r>
            <a:r>
              <a:rPr lang="en-US" dirty="0" err="1"/>
              <a:t>ve</a:t>
            </a:r>
            <a:r>
              <a:rPr lang="en-US" dirty="0"/>
              <a:t> </a:t>
            </a:r>
            <a:r>
              <a:rPr lang="en-US" dirty="0" err="1"/>
              <a:t>yaşlanma</a:t>
            </a:r>
            <a:r>
              <a:rPr lang="en-US" dirty="0"/>
              <a:t> </a:t>
            </a:r>
            <a:r>
              <a:rPr lang="en-US" dirty="0" err="1"/>
              <a:t>ASYE’lerde</a:t>
            </a:r>
            <a:r>
              <a:rPr lang="en-US" dirty="0"/>
              <a:t> </a:t>
            </a:r>
            <a:r>
              <a:rPr lang="en-US" dirty="0" err="1"/>
              <a:t>artışa</a:t>
            </a:r>
            <a:r>
              <a:rPr lang="en-US" dirty="0"/>
              <a:t> </a:t>
            </a:r>
            <a:r>
              <a:rPr lang="en-US" dirty="0" err="1"/>
              <a:t>yol</a:t>
            </a:r>
            <a:r>
              <a:rPr lang="en-US" dirty="0"/>
              <a:t> </a:t>
            </a:r>
            <a:r>
              <a:rPr lang="en-US" dirty="0" err="1"/>
              <a:t>açabilir</a:t>
            </a:r>
            <a:endParaRPr lang="en-GB" dirty="0"/>
          </a:p>
        </p:txBody>
      </p:sp>
      <p:sp>
        <p:nvSpPr>
          <p:cNvPr id="15" name="TextBox 14">
            <a:extLst>
              <a:ext uri="{FF2B5EF4-FFF2-40B4-BE49-F238E27FC236}">
                <a16:creationId xmlns:a16="http://schemas.microsoft.com/office/drawing/2014/main" id="{F23AB91B-3AD6-F5A0-030A-85391F6BB112}"/>
              </a:ext>
            </a:extLst>
          </p:cNvPr>
          <p:cNvSpPr txBox="1"/>
          <p:nvPr/>
        </p:nvSpPr>
        <p:spPr>
          <a:xfrm>
            <a:off x="612775" y="1367353"/>
            <a:ext cx="8964090" cy="263555"/>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0"/>
              </a:spcBef>
              <a:spcAft>
                <a:spcPts val="1200"/>
              </a:spcAft>
              <a:buClr>
                <a:srgbClr val="000000"/>
              </a:buClr>
              <a:buSzPct val="100000"/>
              <a:buFontTx/>
              <a:buNone/>
              <a:tabLst/>
              <a:defRPr/>
            </a:pPr>
            <a:r>
              <a:rPr kumimoji="0" lang="en-US" sz="1800" b="1" i="0" u="none" strike="noStrike" kern="1200" cap="none" spc="-25" normalizeH="0" baseline="0" noProof="0" dirty="0" err="1">
                <a:ln>
                  <a:noFill/>
                </a:ln>
                <a:solidFill>
                  <a:srgbClr val="0000C9"/>
                </a:solidFill>
                <a:effectLst/>
                <a:uLnTx/>
                <a:uFillTx/>
                <a:latin typeface="Pfizer Tomorrow"/>
                <a:ea typeface="+mn-ea"/>
                <a:cs typeface="+mn-cs"/>
              </a:rPr>
              <a:t>Yaşlı</a:t>
            </a:r>
            <a:r>
              <a:rPr kumimoji="0" lang="en-US" sz="1800" b="1" i="0" u="none" strike="noStrike" kern="1200" cap="none" spc="-25" normalizeH="0" baseline="0" noProof="0" dirty="0">
                <a:ln>
                  <a:noFill/>
                </a:ln>
                <a:solidFill>
                  <a:srgbClr val="0000C9"/>
                </a:solidFill>
                <a:effectLst/>
                <a:uLnTx/>
                <a:uFillTx/>
                <a:latin typeface="Pfizer Tomorrow"/>
                <a:ea typeface="+mn-ea"/>
                <a:cs typeface="+mn-cs"/>
              </a:rPr>
              <a:t> </a:t>
            </a:r>
            <a:r>
              <a:rPr kumimoji="0" lang="en-US" sz="1800" b="1" i="0" u="none" strike="noStrike" kern="1200" cap="none" spc="-25" normalizeH="0" baseline="0" noProof="0" dirty="0" err="1">
                <a:ln>
                  <a:noFill/>
                </a:ln>
                <a:solidFill>
                  <a:srgbClr val="0000C9"/>
                </a:solidFill>
                <a:effectLst/>
                <a:uLnTx/>
                <a:uFillTx/>
                <a:latin typeface="Pfizer Tomorrow"/>
                <a:ea typeface="+mn-ea"/>
                <a:cs typeface="+mn-cs"/>
              </a:rPr>
              <a:t>yetişkinler</a:t>
            </a:r>
            <a:r>
              <a:rPr kumimoji="0" lang="en-US" sz="1800" b="1" i="0" u="none" strike="noStrike" kern="1200" cap="none" spc="-25" normalizeH="0" baseline="0" noProof="0" dirty="0">
                <a:ln>
                  <a:noFill/>
                </a:ln>
                <a:solidFill>
                  <a:srgbClr val="0000C9"/>
                </a:solidFill>
                <a:effectLst/>
                <a:uLnTx/>
                <a:uFillTx/>
                <a:latin typeface="Pfizer Tomorrow"/>
                <a:ea typeface="+mn-ea"/>
                <a:cs typeface="+mn-cs"/>
              </a:rPr>
              <a:t>, </a:t>
            </a:r>
            <a:r>
              <a:rPr kumimoji="0" lang="en-US" sz="1800" b="1" i="0" u="none" strike="noStrike" kern="1200" cap="none" spc="-25" normalizeH="0" baseline="0" noProof="0" dirty="0" err="1">
                <a:ln>
                  <a:noFill/>
                </a:ln>
                <a:solidFill>
                  <a:srgbClr val="0000C9"/>
                </a:solidFill>
                <a:effectLst/>
                <a:uLnTx/>
                <a:uFillTx/>
                <a:latin typeface="Pfizer Tomorrow"/>
                <a:ea typeface="+mn-ea"/>
                <a:cs typeface="+mn-cs"/>
              </a:rPr>
              <a:t>aşağıdakiler</a:t>
            </a:r>
            <a:r>
              <a:rPr kumimoji="0" lang="en-US" sz="1800" b="1" i="0" u="none" strike="noStrike" kern="1200" cap="none" spc="-25" normalizeH="0" baseline="0" noProof="0" dirty="0">
                <a:ln>
                  <a:noFill/>
                </a:ln>
                <a:solidFill>
                  <a:srgbClr val="0000C9"/>
                </a:solidFill>
                <a:effectLst/>
                <a:uLnTx/>
                <a:uFillTx/>
                <a:latin typeface="Pfizer Tomorrow"/>
                <a:ea typeface="+mn-ea"/>
                <a:cs typeface="+mn-cs"/>
              </a:rPr>
              <a:t> </a:t>
            </a:r>
            <a:r>
              <a:rPr kumimoji="0" lang="en-US" sz="1800" b="1" i="0" u="none" strike="noStrike" kern="1200" cap="none" spc="-25" normalizeH="0" baseline="0" noProof="0" dirty="0" err="1">
                <a:ln>
                  <a:noFill/>
                </a:ln>
                <a:solidFill>
                  <a:srgbClr val="0000C9"/>
                </a:solidFill>
                <a:effectLst/>
                <a:uLnTx/>
                <a:uFillTx/>
                <a:latin typeface="Pfizer Tomorrow"/>
                <a:ea typeface="+mn-ea"/>
                <a:cs typeface="+mn-cs"/>
              </a:rPr>
              <a:t>nedeniyle</a:t>
            </a:r>
            <a:r>
              <a:rPr kumimoji="0" lang="en-US" sz="1800" b="1" i="0" u="none" strike="noStrike" kern="1200" cap="none" spc="-25" normalizeH="0" baseline="0" noProof="0" dirty="0">
                <a:ln>
                  <a:noFill/>
                </a:ln>
                <a:solidFill>
                  <a:srgbClr val="0000C9"/>
                </a:solidFill>
                <a:effectLst/>
                <a:uLnTx/>
                <a:uFillTx/>
                <a:latin typeface="Pfizer Tomorrow"/>
                <a:ea typeface="+mn-ea"/>
                <a:cs typeface="+mn-cs"/>
              </a:rPr>
              <a:t> </a:t>
            </a:r>
            <a:r>
              <a:rPr kumimoji="0" lang="en-US" sz="1800" b="1" i="0" u="none" strike="noStrike" kern="1200" cap="none" spc="-25" normalizeH="0" baseline="0" noProof="0" dirty="0" err="1">
                <a:ln>
                  <a:noFill/>
                </a:ln>
                <a:solidFill>
                  <a:srgbClr val="0000C9"/>
                </a:solidFill>
                <a:effectLst/>
                <a:uLnTx/>
                <a:uFillTx/>
                <a:latin typeface="Pfizer Tomorrow"/>
                <a:ea typeface="+mn-ea"/>
                <a:cs typeface="+mn-cs"/>
              </a:rPr>
              <a:t>enfeksiyon</a:t>
            </a:r>
            <a:r>
              <a:rPr kumimoji="0" lang="en-US" sz="1800" b="1" i="0" u="none" strike="noStrike" kern="1200" cap="none" spc="-25" normalizeH="0" baseline="0" noProof="0" dirty="0">
                <a:ln>
                  <a:noFill/>
                </a:ln>
                <a:solidFill>
                  <a:srgbClr val="0000C9"/>
                </a:solidFill>
                <a:effectLst/>
                <a:uLnTx/>
                <a:uFillTx/>
                <a:latin typeface="Pfizer Tomorrow"/>
                <a:ea typeface="+mn-ea"/>
                <a:cs typeface="+mn-cs"/>
              </a:rPr>
              <a:t> </a:t>
            </a:r>
            <a:r>
              <a:rPr kumimoji="0" lang="en-US" sz="1800" b="1" i="0" u="none" strike="noStrike" kern="1200" cap="none" spc="-25" normalizeH="0" baseline="0" noProof="0" dirty="0" err="1">
                <a:ln>
                  <a:noFill/>
                </a:ln>
                <a:solidFill>
                  <a:srgbClr val="0000C9"/>
                </a:solidFill>
                <a:effectLst/>
                <a:uLnTx/>
                <a:uFillTx/>
                <a:latin typeface="Pfizer Tomorrow"/>
                <a:ea typeface="+mn-ea"/>
                <a:cs typeface="+mn-cs"/>
              </a:rPr>
              <a:t>hastalıklarına</a:t>
            </a:r>
            <a:r>
              <a:rPr kumimoji="0" lang="en-US" sz="1800" b="1" i="0" u="none" strike="noStrike" kern="1200" cap="none" spc="-25" normalizeH="0" baseline="0" noProof="0" dirty="0">
                <a:ln>
                  <a:noFill/>
                </a:ln>
                <a:solidFill>
                  <a:srgbClr val="0000C9"/>
                </a:solidFill>
                <a:effectLst/>
                <a:uLnTx/>
                <a:uFillTx/>
                <a:latin typeface="Pfizer Tomorrow"/>
                <a:ea typeface="+mn-ea"/>
                <a:cs typeface="+mn-cs"/>
              </a:rPr>
              <a:t> </a:t>
            </a:r>
            <a:r>
              <a:rPr kumimoji="0" lang="en-US" sz="1800" b="1" i="0" u="none" strike="noStrike" kern="1200" cap="none" spc="-25" normalizeH="0" baseline="0" noProof="0" dirty="0" err="1">
                <a:ln>
                  <a:noFill/>
                </a:ln>
                <a:solidFill>
                  <a:srgbClr val="0000C9"/>
                </a:solidFill>
                <a:effectLst/>
                <a:uLnTx/>
                <a:uFillTx/>
                <a:latin typeface="Pfizer Tomorrow"/>
                <a:ea typeface="+mn-ea"/>
                <a:cs typeface="+mn-cs"/>
              </a:rPr>
              <a:t>daha</a:t>
            </a:r>
            <a:r>
              <a:rPr kumimoji="0" lang="en-US" sz="1800" b="1" i="0" u="none" strike="noStrike" kern="1200" cap="none" spc="-25" normalizeH="0" baseline="0" noProof="0" dirty="0">
                <a:ln>
                  <a:noFill/>
                </a:ln>
                <a:solidFill>
                  <a:srgbClr val="0000C9"/>
                </a:solidFill>
                <a:effectLst/>
                <a:uLnTx/>
                <a:uFillTx/>
                <a:latin typeface="Pfizer Tomorrow"/>
                <a:ea typeface="+mn-ea"/>
                <a:cs typeface="+mn-cs"/>
              </a:rPr>
              <a:t> </a:t>
            </a:r>
            <a:r>
              <a:rPr kumimoji="0" lang="en-US" sz="1800" b="1" i="0" u="none" strike="noStrike" kern="1200" cap="none" spc="-25" normalizeH="0" baseline="0" noProof="0" dirty="0" err="1">
                <a:ln>
                  <a:noFill/>
                </a:ln>
                <a:solidFill>
                  <a:srgbClr val="0000C9"/>
                </a:solidFill>
                <a:effectLst/>
                <a:uLnTx/>
                <a:uFillTx/>
                <a:latin typeface="Pfizer Tomorrow"/>
                <a:ea typeface="+mn-ea"/>
                <a:cs typeface="+mn-cs"/>
              </a:rPr>
              <a:t>duyarlı</a:t>
            </a:r>
            <a:r>
              <a:rPr kumimoji="0" lang="en-US" sz="1800" b="1" i="0" u="none" strike="noStrike" kern="1200" cap="none" spc="-25" normalizeH="0" baseline="0" noProof="0" dirty="0">
                <a:ln>
                  <a:noFill/>
                </a:ln>
                <a:solidFill>
                  <a:srgbClr val="0000C9"/>
                </a:solidFill>
                <a:effectLst/>
                <a:uLnTx/>
                <a:uFillTx/>
                <a:latin typeface="Pfizer Tomorrow"/>
                <a:ea typeface="+mn-ea"/>
                <a:cs typeface="+mn-cs"/>
              </a:rPr>
              <a:t> olabilirler:</a:t>
            </a:r>
            <a:r>
              <a:rPr kumimoji="0" lang="en-US" sz="1800" b="1" i="0" u="none" strike="noStrike" kern="1200" cap="none" spc="-25" normalizeH="0" baseline="30000" noProof="0" dirty="0">
                <a:ln>
                  <a:noFill/>
                </a:ln>
                <a:solidFill>
                  <a:srgbClr val="0000C9"/>
                </a:solidFill>
                <a:effectLst/>
                <a:uLnTx/>
                <a:uFillTx/>
                <a:latin typeface="Pfizer Tomorrow"/>
                <a:ea typeface="+mn-ea"/>
                <a:cs typeface="+mn-cs"/>
              </a:rPr>
              <a:t>1</a:t>
            </a:r>
          </a:p>
        </p:txBody>
      </p:sp>
      <p:grpSp>
        <p:nvGrpSpPr>
          <p:cNvPr id="16" name="Group 15">
            <a:extLst>
              <a:ext uri="{FF2B5EF4-FFF2-40B4-BE49-F238E27FC236}">
                <a16:creationId xmlns:a16="http://schemas.microsoft.com/office/drawing/2014/main" id="{ED6B0E3B-B988-42DD-6714-BB8A35853220}"/>
              </a:ext>
            </a:extLst>
          </p:cNvPr>
          <p:cNvGrpSpPr/>
          <p:nvPr/>
        </p:nvGrpSpPr>
        <p:grpSpPr>
          <a:xfrm>
            <a:off x="577181" y="1831050"/>
            <a:ext cx="11005219" cy="4072102"/>
            <a:chOff x="577181" y="1678292"/>
            <a:chExt cx="11005219" cy="4322618"/>
          </a:xfrm>
        </p:grpSpPr>
        <p:sp>
          <p:nvSpPr>
            <p:cNvPr id="17" name="Rectangle: Rounded Corners 16">
              <a:extLst>
                <a:ext uri="{FF2B5EF4-FFF2-40B4-BE49-F238E27FC236}">
                  <a16:creationId xmlns:a16="http://schemas.microsoft.com/office/drawing/2014/main" id="{DA948B22-6644-4E0E-BC60-0DEF3539F832}"/>
                </a:ext>
              </a:extLst>
            </p:cNvPr>
            <p:cNvSpPr/>
            <p:nvPr/>
          </p:nvSpPr>
          <p:spPr bwMode="gray">
            <a:xfrm>
              <a:off x="577181" y="1678292"/>
              <a:ext cx="4595191" cy="4295230"/>
            </a:xfrm>
            <a:prstGeom prst="roundRect">
              <a:avLst>
                <a:gd name="adj" fmla="val 2278"/>
              </a:avLst>
            </a:prstGeom>
            <a:solidFill>
              <a:srgbClr val="E0F5FF"/>
            </a:solidFill>
            <a:ln w="28575" cap="flat" cmpd="sng" algn="ctr">
              <a:noFill/>
              <a:prstDash val="solid"/>
              <a:miter lim="800000"/>
              <a:headEnd type="none" w="med" len="med"/>
              <a:tailEnd type="none" w="med" len="med"/>
            </a:ln>
            <a:effectLst/>
          </p:spPr>
          <p:txBody>
            <a:bodyPr vert="horz" wrap="square" lIns="90000" tIns="46800" rIns="90000" bIns="468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600"/>
                </a:spcBef>
                <a:spcAft>
                  <a:spcPts val="600"/>
                </a:spcAft>
                <a:buClr>
                  <a:srgbClr val="000000"/>
                </a:buClr>
                <a:buSzPct val="100000"/>
                <a:buFontTx/>
                <a:buNone/>
                <a:tabLst/>
                <a:defRPr/>
              </a:pPr>
              <a:r>
                <a:rPr kumimoji="0" lang="en-US" sz="1600" b="1" i="0" u="none" strike="noStrike" kern="1200" cap="none" spc="-25" normalizeH="0" baseline="0" noProof="0">
                  <a:ln>
                    <a:noFill/>
                  </a:ln>
                  <a:solidFill>
                    <a:srgbClr val="0000C9"/>
                  </a:solidFill>
                  <a:effectLst/>
                  <a:uLnTx/>
                  <a:uFillTx/>
                  <a:latin typeface="Pfizer Tomorrow"/>
                  <a:ea typeface="+mn-ea"/>
                  <a:cs typeface="+mn-cs"/>
                </a:rPr>
                <a:t>İmmünosenesans</a:t>
              </a:r>
              <a:r>
                <a:rPr kumimoji="0" lang="en-US" sz="1600" b="1" i="0" u="none" strike="noStrike" kern="1200" cap="none" spc="-25" normalizeH="0" baseline="30000" noProof="0">
                  <a:ln>
                    <a:noFill/>
                  </a:ln>
                  <a:solidFill>
                    <a:srgbClr val="0000C9"/>
                  </a:solidFill>
                  <a:effectLst/>
                  <a:uLnTx/>
                  <a:uFillTx/>
                  <a:latin typeface="Pfizer Tomorrow"/>
                  <a:ea typeface="+mn-ea"/>
                  <a:cs typeface="+mn-cs"/>
                </a:rPr>
                <a:t>1,2</a:t>
              </a:r>
              <a:endParaRPr kumimoji="0" lang="en-US" sz="1600" b="1" i="0" u="none" strike="noStrike" kern="1200" cap="none" spc="-25" normalizeH="0" baseline="0" noProof="0">
                <a:ln>
                  <a:noFill/>
                </a:ln>
                <a:solidFill>
                  <a:srgbClr val="0000C9"/>
                </a:solidFill>
                <a:effectLst/>
                <a:uLnTx/>
                <a:uFillTx/>
                <a:latin typeface="Pfizer Tomorrow"/>
                <a:ea typeface="+mn-ea"/>
                <a:cs typeface="+mn-cs"/>
              </a:endParaRPr>
            </a:p>
            <a:p>
              <a:pPr marL="173736" marR="0" lvl="0" indent="-173736" algn="l" defTabSz="914400" rtl="0" eaLnBrk="1" fontAlgn="base" latinLnBrk="0" hangingPunct="1">
                <a:lnSpc>
                  <a:spcPct val="100000"/>
                </a:lnSpc>
                <a:spcBef>
                  <a:spcPts val="600"/>
                </a:spcBef>
                <a:spcAft>
                  <a:spcPts val="600"/>
                </a:spcAft>
                <a:buClr>
                  <a:srgbClr val="000000"/>
                </a:buClr>
                <a:buSzPct val="100000"/>
                <a:buFont typeface="Arial" panose="020B0604020202020204" pitchFamily="34" charset="0"/>
                <a:buChar char="•"/>
                <a:tabLst/>
                <a:defRPr/>
              </a:pP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Yaşla</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birlikte</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ilerleyen</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bağışıklık</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fonksiyon</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bozukluğu</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süreci</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a:t>
              </a:r>
            </a:p>
            <a:p>
              <a:pPr marL="173736" marR="0" lvl="0" indent="-173736" algn="l" defTabSz="914400" rtl="0" eaLnBrk="1" fontAlgn="base" latinLnBrk="0" hangingPunct="1">
                <a:lnSpc>
                  <a:spcPct val="100000"/>
                </a:lnSpc>
                <a:spcBef>
                  <a:spcPts val="600"/>
                </a:spcBef>
                <a:spcAft>
                  <a:spcPts val="600"/>
                </a:spcAft>
                <a:buClr>
                  <a:srgbClr val="000000"/>
                </a:buClr>
                <a:buSzPct val="100000"/>
                <a:buFont typeface="Arial" panose="020B0604020202020204" pitchFamily="34" charset="0"/>
                <a:buChar char="•"/>
                <a:tabLst/>
                <a:defRPr/>
              </a:pP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Lenfoid</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organların</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yenide</a:t>
              </a:r>
              <a:r>
                <a:rPr lang="en-US" sz="1400">
                  <a:solidFill>
                    <a:srgbClr val="000000"/>
                  </a:solidFill>
                  <a:latin typeface="Pfizer Diatype Office"/>
                </a:rPr>
                <a:t>n </a:t>
              </a:r>
              <a:r>
                <a:rPr lang="en-US" sz="1400" err="1">
                  <a:solidFill>
                    <a:srgbClr val="000000"/>
                  </a:solidFill>
                  <a:latin typeface="Pfizer Diatype Office"/>
                </a:rPr>
                <a:t>şekillenmesi</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ve</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yaşlı</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bireylerde</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T-</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hücre</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üretiminin</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azalması</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adaptif</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bağışıklığın</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zayıflamasına</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neden</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olur</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ve</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bu</a:t>
              </a:r>
              <a:r>
                <a:rPr lang="en-US" sz="1400">
                  <a:solidFill>
                    <a:srgbClr val="000000"/>
                  </a:solidFill>
                  <a:latin typeface="Pfizer Diatype Office"/>
                </a:rPr>
                <a:t>;</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enfeksiyon</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otoimmün</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hastalık</a:t>
              </a:r>
              <a:r>
                <a:rPr lang="en-US" sz="1400">
                  <a:solidFill>
                    <a:srgbClr val="000000"/>
                  </a:solidFill>
                  <a:latin typeface="Pfizer Diatype Office"/>
                </a:rPr>
                <a:t>, </a:t>
              </a:r>
              <a:r>
                <a:rPr lang="en-US" sz="1400" err="1">
                  <a:solidFill>
                    <a:srgbClr val="000000"/>
                  </a:solidFill>
                  <a:latin typeface="Pfizer Diatype Office"/>
                </a:rPr>
                <a:t>kanser</a:t>
              </a:r>
              <a:r>
                <a:rPr lang="en-US" sz="1400">
                  <a:solidFill>
                    <a:srgbClr val="000000"/>
                  </a:solidFill>
                  <a:latin typeface="Pfizer Diatype Office"/>
                </a:rPr>
                <a:t> </a:t>
              </a:r>
              <a:r>
                <a:rPr lang="en-US" sz="1400" err="1">
                  <a:solidFill>
                    <a:srgbClr val="000000"/>
                  </a:solidFill>
                  <a:latin typeface="Pfizer Diatype Office"/>
                </a:rPr>
                <a:t>ve</a:t>
              </a:r>
              <a:r>
                <a:rPr lang="en-US" sz="1400">
                  <a:solidFill>
                    <a:srgbClr val="000000"/>
                  </a:solidFill>
                  <a:latin typeface="Pfizer Diatype Office"/>
                </a:rPr>
                <a:t> inflammaging </a:t>
              </a:r>
              <a:r>
                <a:rPr lang="en-US" sz="1400" err="1">
                  <a:solidFill>
                    <a:srgbClr val="000000"/>
                  </a:solidFill>
                  <a:latin typeface="Pfizer Diatype Office"/>
                </a:rPr>
                <a:t>sıklığında</a:t>
              </a:r>
              <a:r>
                <a:rPr lang="en-US" sz="1400">
                  <a:solidFill>
                    <a:srgbClr val="000000"/>
                  </a:solidFill>
                  <a:latin typeface="Pfizer Diatype Office"/>
                </a:rPr>
                <a:t> </a:t>
              </a:r>
              <a:r>
                <a:rPr lang="en-US" sz="1400" err="1">
                  <a:solidFill>
                    <a:srgbClr val="000000"/>
                  </a:solidFill>
                  <a:latin typeface="Pfizer Diatype Office"/>
                </a:rPr>
                <a:t>artışa</a:t>
              </a:r>
              <a:r>
                <a:rPr lang="en-US" sz="1400">
                  <a:solidFill>
                    <a:srgbClr val="000000"/>
                  </a:solidFill>
                  <a:latin typeface="Pfizer Diatype Office"/>
                </a:rPr>
                <a:t> </a:t>
              </a:r>
              <a:r>
                <a:rPr lang="en-US" sz="1400" err="1">
                  <a:solidFill>
                    <a:srgbClr val="000000"/>
                  </a:solidFill>
                  <a:latin typeface="Pfizer Diatype Office"/>
                </a:rPr>
                <a:t>yol</a:t>
              </a:r>
              <a:r>
                <a:rPr lang="en-US" sz="1400">
                  <a:solidFill>
                    <a:srgbClr val="000000"/>
                  </a:solidFill>
                  <a:latin typeface="Pfizer Diatype Office"/>
                </a:rPr>
                <a:t> </a:t>
              </a:r>
              <a:r>
                <a:rPr lang="en-US" sz="1400" err="1">
                  <a:solidFill>
                    <a:srgbClr val="000000"/>
                  </a:solidFill>
                  <a:latin typeface="Pfizer Diatype Office"/>
                </a:rPr>
                <a:t>açar</a:t>
              </a:r>
              <a:r>
                <a:rPr lang="en-US" sz="1400">
                  <a:solidFill>
                    <a:srgbClr val="000000"/>
                  </a:solidFill>
                  <a:latin typeface="Pfizer Diatype Office"/>
                </a:rPr>
                <a:t>.  </a:t>
              </a:r>
              <a:endParaRPr kumimoji="0" lang="en-US" sz="1400" b="0" i="0" u="none" strike="noStrike" kern="1200" cap="none" spc="0" normalizeH="0" baseline="30000" noProof="0">
                <a:ln>
                  <a:noFill/>
                </a:ln>
                <a:solidFill>
                  <a:srgbClr val="000000"/>
                </a:solidFill>
                <a:effectLst/>
                <a:uLnTx/>
                <a:uFillTx/>
                <a:latin typeface="Pfizer Diatype Office"/>
                <a:ea typeface="+mn-ea"/>
                <a:cs typeface="+mn-cs"/>
              </a:endParaRPr>
            </a:p>
          </p:txBody>
        </p:sp>
        <p:grpSp>
          <p:nvGrpSpPr>
            <p:cNvPr id="18" name="Group 17">
              <a:extLst>
                <a:ext uri="{FF2B5EF4-FFF2-40B4-BE49-F238E27FC236}">
                  <a16:creationId xmlns:a16="http://schemas.microsoft.com/office/drawing/2014/main" id="{44373FD9-1510-3BAD-D6CA-3BFD5474F4B2}"/>
                </a:ext>
              </a:extLst>
            </p:cNvPr>
            <p:cNvGrpSpPr/>
            <p:nvPr/>
          </p:nvGrpSpPr>
          <p:grpSpPr>
            <a:xfrm>
              <a:off x="803693" y="4027884"/>
              <a:ext cx="4020582" cy="1927128"/>
              <a:chOff x="866126" y="3995781"/>
              <a:chExt cx="4020582" cy="2025431"/>
            </a:xfrm>
          </p:grpSpPr>
          <p:sp>
            <p:nvSpPr>
              <p:cNvPr id="236" name="Rectangle 235">
                <a:extLst>
                  <a:ext uri="{FF2B5EF4-FFF2-40B4-BE49-F238E27FC236}">
                    <a16:creationId xmlns:a16="http://schemas.microsoft.com/office/drawing/2014/main" id="{ABE816D0-4D09-D57B-27E4-F3B554462F8E}"/>
                  </a:ext>
                </a:extLst>
              </p:cNvPr>
              <p:cNvSpPr/>
              <p:nvPr/>
            </p:nvSpPr>
            <p:spPr>
              <a:xfrm>
                <a:off x="2376699" y="4599710"/>
                <a:ext cx="1014465" cy="20551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22852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95FF"/>
                    </a:solidFill>
                    <a:effectLst/>
                    <a:uLnTx/>
                    <a:uFillTx/>
                    <a:latin typeface="Pfizer Diatype Office"/>
                    <a:ea typeface="+mn-ea"/>
                    <a:cs typeface="+mn-cs"/>
                  </a:rPr>
                  <a:t>Yaşlı yetişkinlik</a:t>
                </a:r>
              </a:p>
              <a:p>
                <a:pPr marL="0" marR="0" lvl="0" indent="0" algn="ctr" defTabSz="22852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Pfizer Diatype Office"/>
                    <a:ea typeface="+mn-ea"/>
                    <a:cs typeface="+mn-cs"/>
                  </a:rPr>
                  <a:t>(70 yaş üzeri)</a:t>
                </a:r>
              </a:p>
            </p:txBody>
          </p:sp>
          <p:sp>
            <p:nvSpPr>
              <p:cNvPr id="237" name="Rectangle: Rounded Corners 236">
                <a:extLst>
                  <a:ext uri="{FF2B5EF4-FFF2-40B4-BE49-F238E27FC236}">
                    <a16:creationId xmlns:a16="http://schemas.microsoft.com/office/drawing/2014/main" id="{818B499C-481D-CF2F-44E6-1F1530316D00}"/>
                  </a:ext>
                </a:extLst>
              </p:cNvPr>
              <p:cNvSpPr>
                <a:spLocks/>
              </p:cNvSpPr>
              <p:nvPr/>
            </p:nvSpPr>
            <p:spPr bwMode="gray">
              <a:xfrm>
                <a:off x="866126" y="3995781"/>
                <a:ext cx="4020582" cy="2025431"/>
              </a:xfrm>
              <a:prstGeom prst="roundRect">
                <a:avLst>
                  <a:gd name="adj" fmla="val 8931"/>
                </a:avLst>
              </a:prstGeom>
              <a:solidFill>
                <a:schemeClr val="bg1"/>
              </a:solidFill>
              <a:ln w="1270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600" b="1" i="0" u="none" strike="noStrike" kern="1200" cap="none" spc="0" normalizeH="0" baseline="0" noProof="0">
                  <a:ln>
                    <a:noFill/>
                  </a:ln>
                  <a:solidFill>
                    <a:srgbClr val="0000C9"/>
                  </a:solidFill>
                  <a:effectLst/>
                  <a:uLnTx/>
                  <a:uFillTx/>
                  <a:latin typeface="Pfizer Diatype Office"/>
                  <a:ea typeface="+mn-ea"/>
                  <a:cs typeface="+mn-cs"/>
                </a:endParaRPr>
              </a:p>
            </p:txBody>
          </p:sp>
          <p:grpSp>
            <p:nvGrpSpPr>
              <p:cNvPr id="238" name="Group 237">
                <a:extLst>
                  <a:ext uri="{FF2B5EF4-FFF2-40B4-BE49-F238E27FC236}">
                    <a16:creationId xmlns:a16="http://schemas.microsoft.com/office/drawing/2014/main" id="{4C5ED1E2-FD1C-ED4F-BCDC-47288F9B1514}"/>
                  </a:ext>
                </a:extLst>
              </p:cNvPr>
              <p:cNvGrpSpPr/>
              <p:nvPr/>
            </p:nvGrpSpPr>
            <p:grpSpPr>
              <a:xfrm>
                <a:off x="1601377" y="4118706"/>
                <a:ext cx="2672569" cy="1834120"/>
                <a:chOff x="7373636" y="1690444"/>
                <a:chExt cx="5052278" cy="3699146"/>
              </a:xfrm>
            </p:grpSpPr>
            <p:pic>
              <p:nvPicPr>
                <p:cNvPr id="240" name="Picture 239">
                  <a:extLst>
                    <a:ext uri="{FF2B5EF4-FFF2-40B4-BE49-F238E27FC236}">
                      <a16:creationId xmlns:a16="http://schemas.microsoft.com/office/drawing/2014/main" id="{B4B14BEF-A68F-A100-31D3-DE033FAFE1D4}"/>
                    </a:ext>
                  </a:extLst>
                </p:cNvPr>
                <p:cNvPicPr>
                  <a:picLocks noChangeAspect="1"/>
                </p:cNvPicPr>
                <p:nvPr/>
              </p:nvPicPr>
              <p:blipFill>
                <a:blip r:embed="rId4">
                  <a:alphaModFix amt="20000"/>
                  <a:duotone>
                    <a:schemeClr val="accent2">
                      <a:shade val="45000"/>
                      <a:satMod val="135000"/>
                    </a:schemeClr>
                    <a:prstClr val="white"/>
                  </a:duotone>
                  <a:lum bright="-20000"/>
                </a:blip>
                <a:stretch>
                  <a:fillRect/>
                </a:stretch>
              </p:blipFill>
              <p:spPr bwMode="gray">
                <a:xfrm>
                  <a:off x="7373636" y="2660557"/>
                  <a:ext cx="747444" cy="2355585"/>
                </a:xfrm>
                <a:prstGeom prst="rect">
                  <a:avLst/>
                </a:prstGeom>
              </p:spPr>
            </p:pic>
            <p:pic>
              <p:nvPicPr>
                <p:cNvPr id="241" name="Picture 240">
                  <a:extLst>
                    <a:ext uri="{FF2B5EF4-FFF2-40B4-BE49-F238E27FC236}">
                      <a16:creationId xmlns:a16="http://schemas.microsoft.com/office/drawing/2014/main" id="{5A893999-3523-25DA-D177-3AE326CCEAB7}"/>
                    </a:ext>
                  </a:extLst>
                </p:cNvPr>
                <p:cNvPicPr>
                  <a:picLocks noChangeAspect="1"/>
                </p:cNvPicPr>
                <p:nvPr/>
              </p:nvPicPr>
              <p:blipFill>
                <a:blip r:embed="rId5">
                  <a:alphaModFix amt="20000"/>
                  <a:duotone>
                    <a:schemeClr val="accent6">
                      <a:shade val="45000"/>
                      <a:satMod val="135000"/>
                    </a:schemeClr>
                    <a:prstClr val="white"/>
                  </a:duotone>
                  <a:lum bright="-20000" contrast="40000"/>
                </a:blip>
                <a:stretch>
                  <a:fillRect/>
                </a:stretch>
              </p:blipFill>
              <p:spPr bwMode="gray">
                <a:xfrm>
                  <a:off x="11795007" y="1690444"/>
                  <a:ext cx="630907" cy="3285990"/>
                </a:xfrm>
                <a:prstGeom prst="rect">
                  <a:avLst/>
                </a:prstGeom>
              </p:spPr>
            </p:pic>
            <p:cxnSp>
              <p:nvCxnSpPr>
                <p:cNvPr id="242" name="Straight Arrow Connector 241">
                  <a:extLst>
                    <a:ext uri="{FF2B5EF4-FFF2-40B4-BE49-F238E27FC236}">
                      <a16:creationId xmlns:a16="http://schemas.microsoft.com/office/drawing/2014/main" id="{CFAC21FA-E22B-ABB6-E9B4-68025824ACA3}"/>
                    </a:ext>
                  </a:extLst>
                </p:cNvPr>
                <p:cNvCxnSpPr>
                  <a:cxnSpLocks/>
                </p:cNvCxnSpPr>
                <p:nvPr/>
              </p:nvCxnSpPr>
              <p:spPr bwMode="gray">
                <a:xfrm>
                  <a:off x="7373636" y="5097081"/>
                  <a:ext cx="5052278" cy="0"/>
                </a:xfrm>
                <a:prstGeom prst="straightConnector1">
                  <a:avLst/>
                </a:prstGeom>
                <a:noFill/>
                <a:ln w="28575" cap="sq">
                  <a:solidFill>
                    <a:schemeClr val="tx1"/>
                  </a:solidFill>
                  <a:prstDash val="solid"/>
                  <a:bevel/>
                  <a:headEnd/>
                  <a:tailEnd type="triangle" w="med" len="sm"/>
                </a:ln>
                <a:effectLst/>
              </p:spPr>
            </p:cxnSp>
            <p:sp>
              <p:nvSpPr>
                <p:cNvPr id="243" name="TextBox 242">
                  <a:extLst>
                    <a:ext uri="{FF2B5EF4-FFF2-40B4-BE49-F238E27FC236}">
                      <a16:creationId xmlns:a16="http://schemas.microsoft.com/office/drawing/2014/main" id="{5FCA02D3-AEEC-4338-06C6-C71D644F3F6D}"/>
                    </a:ext>
                  </a:extLst>
                </p:cNvPr>
                <p:cNvSpPr txBox="1"/>
                <p:nvPr/>
              </p:nvSpPr>
              <p:spPr bwMode="gray">
                <a:xfrm>
                  <a:off x="9500079" y="5136996"/>
                  <a:ext cx="701329" cy="252594"/>
                </a:xfrm>
                <a:prstGeom prst="rect">
                  <a:avLst/>
                </a:prstGeom>
              </p:spPr>
              <p:txBody>
                <a:bodyPr wrap="square" lIns="45720" tIns="45720" rIns="45720" bIns="45720" rtlCol="0">
                  <a:no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Pfizer Diatype Office"/>
                      <a:ea typeface="+mn-ea"/>
                      <a:cs typeface="+mn-cs"/>
                    </a:rPr>
                    <a:t>Yaş</a:t>
                  </a:r>
                </a:p>
              </p:txBody>
            </p:sp>
            <p:sp>
              <p:nvSpPr>
                <p:cNvPr id="244" name="TextBox 243">
                  <a:extLst>
                    <a:ext uri="{FF2B5EF4-FFF2-40B4-BE49-F238E27FC236}">
                      <a16:creationId xmlns:a16="http://schemas.microsoft.com/office/drawing/2014/main" id="{BF347C12-7D61-D9D4-310E-BD1248265BEF}"/>
                    </a:ext>
                  </a:extLst>
                </p:cNvPr>
                <p:cNvSpPr txBox="1"/>
                <p:nvPr/>
              </p:nvSpPr>
              <p:spPr bwMode="gray">
                <a:xfrm rot="19327416" flipH="1">
                  <a:off x="9721846" y="2413628"/>
                  <a:ext cx="2015106" cy="410213"/>
                </a:xfrm>
                <a:prstGeom prst="rect">
                  <a:avLst/>
                </a:prstGeom>
              </p:spPr>
              <p:txBody>
                <a:bodyPr wrap="square" lIns="45720" tIns="45720" rIns="45720" bIns="45720" rtlCol="0">
                  <a:no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US" sz="1050" b="1" i="0" u="none" strike="noStrike" kern="0" cap="none" spc="0" normalizeH="0" baseline="0" noProof="0" err="1">
                      <a:ln>
                        <a:noFill/>
                      </a:ln>
                      <a:solidFill>
                        <a:srgbClr val="FF6969">
                          <a:lumMod val="75000"/>
                        </a:srgbClr>
                      </a:solidFill>
                      <a:effectLst/>
                      <a:uLnTx/>
                      <a:uFillTx/>
                      <a:latin typeface="Pfizer Diatype Office"/>
                      <a:ea typeface="+mn-ea"/>
                      <a:cs typeface="+mn-cs"/>
                    </a:rPr>
                    <a:t>Komorbiditeler</a:t>
                  </a:r>
                  <a:endParaRPr kumimoji="0" lang="en-US" sz="1050" b="1" i="0" u="none" strike="noStrike" kern="0" cap="none" spc="0" normalizeH="0" baseline="30000" noProof="0">
                    <a:ln>
                      <a:noFill/>
                    </a:ln>
                    <a:solidFill>
                      <a:srgbClr val="FF6969">
                        <a:lumMod val="75000"/>
                      </a:srgbClr>
                    </a:solidFill>
                    <a:effectLst/>
                    <a:uLnTx/>
                    <a:uFillTx/>
                    <a:latin typeface="Pfizer Diatype Office"/>
                    <a:ea typeface="+mn-ea"/>
                    <a:cs typeface="+mn-cs"/>
                  </a:endParaRPr>
                </a:p>
              </p:txBody>
            </p:sp>
            <p:grpSp>
              <p:nvGrpSpPr>
                <p:cNvPr id="245" name="Group 244">
                  <a:extLst>
                    <a:ext uri="{FF2B5EF4-FFF2-40B4-BE49-F238E27FC236}">
                      <a16:creationId xmlns:a16="http://schemas.microsoft.com/office/drawing/2014/main" id="{A79A5BB7-FF80-9C7D-6F06-3EAC1D4063DD}"/>
                    </a:ext>
                  </a:extLst>
                </p:cNvPr>
                <p:cNvGrpSpPr/>
                <p:nvPr/>
              </p:nvGrpSpPr>
              <p:grpSpPr bwMode="gray">
                <a:xfrm>
                  <a:off x="8594300" y="2798484"/>
                  <a:ext cx="180514" cy="304089"/>
                  <a:chOff x="333633" y="1013896"/>
                  <a:chExt cx="1018905" cy="1228561"/>
                </a:xfrm>
                <a:solidFill>
                  <a:srgbClr val="F8971D"/>
                </a:solidFill>
              </p:grpSpPr>
              <p:sp>
                <p:nvSpPr>
                  <p:cNvPr id="438" name="Rectangle 437">
                    <a:extLst>
                      <a:ext uri="{FF2B5EF4-FFF2-40B4-BE49-F238E27FC236}">
                        <a16:creationId xmlns:a16="http://schemas.microsoft.com/office/drawing/2014/main" id="{6342EE95-A7E9-FB08-FE69-2B6DEAE7CF2A}"/>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39" name="Rectangle 438">
                    <a:extLst>
                      <a:ext uri="{FF2B5EF4-FFF2-40B4-BE49-F238E27FC236}">
                        <a16:creationId xmlns:a16="http://schemas.microsoft.com/office/drawing/2014/main" id="{C168A25E-4E38-8EAA-1B70-0EB1F68ACB91}"/>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40" name="Rectangle 439">
                    <a:extLst>
                      <a:ext uri="{FF2B5EF4-FFF2-40B4-BE49-F238E27FC236}">
                        <a16:creationId xmlns:a16="http://schemas.microsoft.com/office/drawing/2014/main" id="{1A045F8B-189E-0DFA-1836-3125082C5FF4}"/>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41" name="Rectangle 440">
                    <a:extLst>
                      <a:ext uri="{FF2B5EF4-FFF2-40B4-BE49-F238E27FC236}">
                        <a16:creationId xmlns:a16="http://schemas.microsoft.com/office/drawing/2014/main" id="{57EB7B59-24DB-46FF-DA03-614B73053CFD}"/>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42" name="Rectangle 441">
                    <a:extLst>
                      <a:ext uri="{FF2B5EF4-FFF2-40B4-BE49-F238E27FC236}">
                        <a16:creationId xmlns:a16="http://schemas.microsoft.com/office/drawing/2014/main" id="{75B181A9-6D9D-08E6-1181-F48C61E4AD0F}"/>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43" name="Rectangle 442">
                    <a:extLst>
                      <a:ext uri="{FF2B5EF4-FFF2-40B4-BE49-F238E27FC236}">
                        <a16:creationId xmlns:a16="http://schemas.microsoft.com/office/drawing/2014/main" id="{69886664-B261-5B24-3E75-7B88C64397AC}"/>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46" name="Group 245">
                  <a:extLst>
                    <a:ext uri="{FF2B5EF4-FFF2-40B4-BE49-F238E27FC236}">
                      <a16:creationId xmlns:a16="http://schemas.microsoft.com/office/drawing/2014/main" id="{934B28CD-0C5F-51D4-563A-B2B7DDFA88CF}"/>
                    </a:ext>
                  </a:extLst>
                </p:cNvPr>
                <p:cNvGrpSpPr/>
                <p:nvPr/>
              </p:nvGrpSpPr>
              <p:grpSpPr bwMode="gray">
                <a:xfrm>
                  <a:off x="8377132" y="2497260"/>
                  <a:ext cx="180514" cy="304089"/>
                  <a:chOff x="333633" y="1013896"/>
                  <a:chExt cx="1018905" cy="1228561"/>
                </a:xfrm>
                <a:solidFill>
                  <a:srgbClr val="F8971D"/>
                </a:solidFill>
              </p:grpSpPr>
              <p:sp>
                <p:nvSpPr>
                  <p:cNvPr id="432" name="Rectangle 431">
                    <a:extLst>
                      <a:ext uri="{FF2B5EF4-FFF2-40B4-BE49-F238E27FC236}">
                        <a16:creationId xmlns:a16="http://schemas.microsoft.com/office/drawing/2014/main" id="{3F6DC161-1D5D-79BF-D907-9A6E5FCDD8D8}"/>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33" name="Rectangle 432">
                    <a:extLst>
                      <a:ext uri="{FF2B5EF4-FFF2-40B4-BE49-F238E27FC236}">
                        <a16:creationId xmlns:a16="http://schemas.microsoft.com/office/drawing/2014/main" id="{3EE27007-95A0-7935-9AED-260B25E31AD2}"/>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34" name="Rectangle 433">
                    <a:extLst>
                      <a:ext uri="{FF2B5EF4-FFF2-40B4-BE49-F238E27FC236}">
                        <a16:creationId xmlns:a16="http://schemas.microsoft.com/office/drawing/2014/main" id="{762875F4-919D-3D40-F85D-B3F3430766C4}"/>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35" name="Rectangle 434">
                    <a:extLst>
                      <a:ext uri="{FF2B5EF4-FFF2-40B4-BE49-F238E27FC236}">
                        <a16:creationId xmlns:a16="http://schemas.microsoft.com/office/drawing/2014/main" id="{B5FA31BB-A076-BA51-2372-7E3441D031D6}"/>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36" name="Rectangle 435">
                    <a:extLst>
                      <a:ext uri="{FF2B5EF4-FFF2-40B4-BE49-F238E27FC236}">
                        <a16:creationId xmlns:a16="http://schemas.microsoft.com/office/drawing/2014/main" id="{CDA1DC4F-8CF9-5E67-593E-4CF9F2ECC27E}"/>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37" name="Rectangle 436">
                    <a:extLst>
                      <a:ext uri="{FF2B5EF4-FFF2-40B4-BE49-F238E27FC236}">
                        <a16:creationId xmlns:a16="http://schemas.microsoft.com/office/drawing/2014/main" id="{585D25EE-412E-7137-AB24-48808AE3BD69}"/>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47" name="Group 246">
                  <a:extLst>
                    <a:ext uri="{FF2B5EF4-FFF2-40B4-BE49-F238E27FC236}">
                      <a16:creationId xmlns:a16="http://schemas.microsoft.com/office/drawing/2014/main" id="{74FDF819-0C29-FD0D-93E5-DD6315388681}"/>
                    </a:ext>
                  </a:extLst>
                </p:cNvPr>
                <p:cNvGrpSpPr/>
                <p:nvPr/>
              </p:nvGrpSpPr>
              <p:grpSpPr bwMode="gray">
                <a:xfrm>
                  <a:off x="8211709" y="3806500"/>
                  <a:ext cx="180514" cy="304089"/>
                  <a:chOff x="333633" y="1013896"/>
                  <a:chExt cx="1018905" cy="1228561"/>
                </a:xfrm>
                <a:solidFill>
                  <a:srgbClr val="F8971D"/>
                </a:solidFill>
              </p:grpSpPr>
              <p:sp>
                <p:nvSpPr>
                  <p:cNvPr id="426" name="Rectangle 425">
                    <a:extLst>
                      <a:ext uri="{FF2B5EF4-FFF2-40B4-BE49-F238E27FC236}">
                        <a16:creationId xmlns:a16="http://schemas.microsoft.com/office/drawing/2014/main" id="{BA2C226D-09D3-E3A5-831F-DFB5004AD71A}"/>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27" name="Rectangle 426">
                    <a:extLst>
                      <a:ext uri="{FF2B5EF4-FFF2-40B4-BE49-F238E27FC236}">
                        <a16:creationId xmlns:a16="http://schemas.microsoft.com/office/drawing/2014/main" id="{E69820C8-80DF-8D4C-0F7F-74438B8AA4E0}"/>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28" name="Rectangle 427">
                    <a:extLst>
                      <a:ext uri="{FF2B5EF4-FFF2-40B4-BE49-F238E27FC236}">
                        <a16:creationId xmlns:a16="http://schemas.microsoft.com/office/drawing/2014/main" id="{F3D377A3-7D07-A81C-8C46-165D60CD0E9A}"/>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29" name="Rectangle 428">
                    <a:extLst>
                      <a:ext uri="{FF2B5EF4-FFF2-40B4-BE49-F238E27FC236}">
                        <a16:creationId xmlns:a16="http://schemas.microsoft.com/office/drawing/2014/main" id="{65DAABDC-05F9-E447-FFC2-D44DDC577BD5}"/>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30" name="Rectangle 429">
                    <a:extLst>
                      <a:ext uri="{FF2B5EF4-FFF2-40B4-BE49-F238E27FC236}">
                        <a16:creationId xmlns:a16="http://schemas.microsoft.com/office/drawing/2014/main" id="{2C434F28-921E-4FEC-CF6B-D6807C7B2D04}"/>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31" name="Rectangle 430">
                    <a:extLst>
                      <a:ext uri="{FF2B5EF4-FFF2-40B4-BE49-F238E27FC236}">
                        <a16:creationId xmlns:a16="http://schemas.microsoft.com/office/drawing/2014/main" id="{D8A04E28-D50E-E439-FC32-495FF03259AF}"/>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48" name="Group 247">
                  <a:extLst>
                    <a:ext uri="{FF2B5EF4-FFF2-40B4-BE49-F238E27FC236}">
                      <a16:creationId xmlns:a16="http://schemas.microsoft.com/office/drawing/2014/main" id="{80746EEB-D412-F8FF-BE19-07ADAF7B2086}"/>
                    </a:ext>
                  </a:extLst>
                </p:cNvPr>
                <p:cNvGrpSpPr/>
                <p:nvPr/>
              </p:nvGrpSpPr>
              <p:grpSpPr bwMode="gray">
                <a:xfrm>
                  <a:off x="9505354" y="4212035"/>
                  <a:ext cx="180514" cy="304089"/>
                  <a:chOff x="333633" y="1013896"/>
                  <a:chExt cx="1018905" cy="1228561"/>
                </a:xfrm>
                <a:solidFill>
                  <a:srgbClr val="F8971D"/>
                </a:solidFill>
              </p:grpSpPr>
              <p:sp>
                <p:nvSpPr>
                  <p:cNvPr id="420" name="Rectangle 419">
                    <a:extLst>
                      <a:ext uri="{FF2B5EF4-FFF2-40B4-BE49-F238E27FC236}">
                        <a16:creationId xmlns:a16="http://schemas.microsoft.com/office/drawing/2014/main" id="{B7DABD2B-C2E0-AB7C-4E17-8922EDC56FC2}"/>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21" name="Rectangle 420">
                    <a:extLst>
                      <a:ext uri="{FF2B5EF4-FFF2-40B4-BE49-F238E27FC236}">
                        <a16:creationId xmlns:a16="http://schemas.microsoft.com/office/drawing/2014/main" id="{3694BA63-0A4C-43EE-724E-91FEA3A3079F}"/>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22" name="Rectangle 421">
                    <a:extLst>
                      <a:ext uri="{FF2B5EF4-FFF2-40B4-BE49-F238E27FC236}">
                        <a16:creationId xmlns:a16="http://schemas.microsoft.com/office/drawing/2014/main" id="{476D8244-EA4A-AD02-A6CE-582FF248C139}"/>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23" name="Rectangle 422">
                    <a:extLst>
                      <a:ext uri="{FF2B5EF4-FFF2-40B4-BE49-F238E27FC236}">
                        <a16:creationId xmlns:a16="http://schemas.microsoft.com/office/drawing/2014/main" id="{9F97B619-897C-4B29-FD3A-528F2FA21CB9}"/>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24" name="Rectangle 423">
                    <a:extLst>
                      <a:ext uri="{FF2B5EF4-FFF2-40B4-BE49-F238E27FC236}">
                        <a16:creationId xmlns:a16="http://schemas.microsoft.com/office/drawing/2014/main" id="{4BFD19B5-ABC5-E437-670C-AC840A7E5F4E}"/>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25" name="Rectangle 424">
                    <a:extLst>
                      <a:ext uri="{FF2B5EF4-FFF2-40B4-BE49-F238E27FC236}">
                        <a16:creationId xmlns:a16="http://schemas.microsoft.com/office/drawing/2014/main" id="{E8BB3201-56EB-6C1A-7F55-9C92D4E63148}"/>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49" name="Group 248">
                  <a:extLst>
                    <a:ext uri="{FF2B5EF4-FFF2-40B4-BE49-F238E27FC236}">
                      <a16:creationId xmlns:a16="http://schemas.microsoft.com/office/drawing/2014/main" id="{772A1C8D-3E1C-F01C-DEAE-8E4AE3161697}"/>
                    </a:ext>
                  </a:extLst>
                </p:cNvPr>
                <p:cNvGrpSpPr/>
                <p:nvPr/>
              </p:nvGrpSpPr>
              <p:grpSpPr bwMode="gray">
                <a:xfrm>
                  <a:off x="8583969" y="4065991"/>
                  <a:ext cx="180514" cy="304089"/>
                  <a:chOff x="333633" y="1013896"/>
                  <a:chExt cx="1018905" cy="1228561"/>
                </a:xfrm>
                <a:solidFill>
                  <a:srgbClr val="F8971D"/>
                </a:solidFill>
              </p:grpSpPr>
              <p:sp>
                <p:nvSpPr>
                  <p:cNvPr id="414" name="Rectangle 413">
                    <a:extLst>
                      <a:ext uri="{FF2B5EF4-FFF2-40B4-BE49-F238E27FC236}">
                        <a16:creationId xmlns:a16="http://schemas.microsoft.com/office/drawing/2014/main" id="{A0151AB8-6216-8AC0-AFA6-2B35A9553F59}"/>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15" name="Rectangle 414">
                    <a:extLst>
                      <a:ext uri="{FF2B5EF4-FFF2-40B4-BE49-F238E27FC236}">
                        <a16:creationId xmlns:a16="http://schemas.microsoft.com/office/drawing/2014/main" id="{ABF50E60-3465-F41A-07FC-6A0A0C6BEFC1}"/>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16" name="Rectangle 415">
                    <a:extLst>
                      <a:ext uri="{FF2B5EF4-FFF2-40B4-BE49-F238E27FC236}">
                        <a16:creationId xmlns:a16="http://schemas.microsoft.com/office/drawing/2014/main" id="{6592E624-88B1-ED3B-DDEB-DA4F03A503AD}"/>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17" name="Rectangle 416">
                    <a:extLst>
                      <a:ext uri="{FF2B5EF4-FFF2-40B4-BE49-F238E27FC236}">
                        <a16:creationId xmlns:a16="http://schemas.microsoft.com/office/drawing/2014/main" id="{93565B37-B5A5-7044-E5D6-687A90BA5DCB}"/>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18" name="Rectangle 417">
                    <a:extLst>
                      <a:ext uri="{FF2B5EF4-FFF2-40B4-BE49-F238E27FC236}">
                        <a16:creationId xmlns:a16="http://schemas.microsoft.com/office/drawing/2014/main" id="{D8A3BBEB-B52A-96B9-7A98-69AFF1F6E822}"/>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19" name="Rectangle 418">
                    <a:extLst>
                      <a:ext uri="{FF2B5EF4-FFF2-40B4-BE49-F238E27FC236}">
                        <a16:creationId xmlns:a16="http://schemas.microsoft.com/office/drawing/2014/main" id="{B488E44F-A2D0-179F-B770-760839FBA9D6}"/>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50" name="Group 249">
                  <a:extLst>
                    <a:ext uri="{FF2B5EF4-FFF2-40B4-BE49-F238E27FC236}">
                      <a16:creationId xmlns:a16="http://schemas.microsoft.com/office/drawing/2014/main" id="{6C53660D-D40C-68DE-DC35-227CCBC48AAC}"/>
                    </a:ext>
                  </a:extLst>
                </p:cNvPr>
                <p:cNvGrpSpPr/>
                <p:nvPr/>
              </p:nvGrpSpPr>
              <p:grpSpPr bwMode="gray">
                <a:xfrm>
                  <a:off x="8152956" y="4386491"/>
                  <a:ext cx="180514" cy="304089"/>
                  <a:chOff x="333633" y="1013896"/>
                  <a:chExt cx="1018905" cy="1228561"/>
                </a:xfrm>
                <a:solidFill>
                  <a:srgbClr val="F8971D"/>
                </a:solidFill>
              </p:grpSpPr>
              <p:sp>
                <p:nvSpPr>
                  <p:cNvPr id="408" name="Rectangle 407">
                    <a:extLst>
                      <a:ext uri="{FF2B5EF4-FFF2-40B4-BE49-F238E27FC236}">
                        <a16:creationId xmlns:a16="http://schemas.microsoft.com/office/drawing/2014/main" id="{21B7DCDD-A017-E6AA-BFA2-D56231F221F5}"/>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09" name="Rectangle 408">
                    <a:extLst>
                      <a:ext uri="{FF2B5EF4-FFF2-40B4-BE49-F238E27FC236}">
                        <a16:creationId xmlns:a16="http://schemas.microsoft.com/office/drawing/2014/main" id="{3805D441-53B9-7321-90E3-DA8861B3B466}"/>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10" name="Rectangle 409">
                    <a:extLst>
                      <a:ext uri="{FF2B5EF4-FFF2-40B4-BE49-F238E27FC236}">
                        <a16:creationId xmlns:a16="http://schemas.microsoft.com/office/drawing/2014/main" id="{B04C82C4-7987-0DAC-5B7A-7029AC3B8930}"/>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11" name="Rectangle 410">
                    <a:extLst>
                      <a:ext uri="{FF2B5EF4-FFF2-40B4-BE49-F238E27FC236}">
                        <a16:creationId xmlns:a16="http://schemas.microsoft.com/office/drawing/2014/main" id="{C6F3B9EE-4981-FE26-9132-ED89A990FF18}"/>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12" name="Rectangle 411">
                    <a:extLst>
                      <a:ext uri="{FF2B5EF4-FFF2-40B4-BE49-F238E27FC236}">
                        <a16:creationId xmlns:a16="http://schemas.microsoft.com/office/drawing/2014/main" id="{FC004E32-2FD7-CFA0-7C3A-E2B084F5CAB7}"/>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13" name="Rectangle 412">
                    <a:extLst>
                      <a:ext uri="{FF2B5EF4-FFF2-40B4-BE49-F238E27FC236}">
                        <a16:creationId xmlns:a16="http://schemas.microsoft.com/office/drawing/2014/main" id="{A84FAF0A-3BEA-4A41-3E1C-11241180D6E5}"/>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51" name="Group 250">
                  <a:extLst>
                    <a:ext uri="{FF2B5EF4-FFF2-40B4-BE49-F238E27FC236}">
                      <a16:creationId xmlns:a16="http://schemas.microsoft.com/office/drawing/2014/main" id="{B545B4D5-6787-F0C1-CDA4-4EE23DB26123}"/>
                    </a:ext>
                  </a:extLst>
                </p:cNvPr>
                <p:cNvGrpSpPr/>
                <p:nvPr/>
              </p:nvGrpSpPr>
              <p:grpSpPr bwMode="gray">
                <a:xfrm>
                  <a:off x="8772255" y="3183755"/>
                  <a:ext cx="180514" cy="304089"/>
                  <a:chOff x="333633" y="1013896"/>
                  <a:chExt cx="1018905" cy="1228561"/>
                </a:xfrm>
                <a:solidFill>
                  <a:srgbClr val="F8971D"/>
                </a:solidFill>
              </p:grpSpPr>
              <p:sp>
                <p:nvSpPr>
                  <p:cNvPr id="402" name="Rectangle 401">
                    <a:extLst>
                      <a:ext uri="{FF2B5EF4-FFF2-40B4-BE49-F238E27FC236}">
                        <a16:creationId xmlns:a16="http://schemas.microsoft.com/office/drawing/2014/main" id="{F06DAC7C-6045-2288-1DB4-C65CE5E56554}"/>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03" name="Rectangle 402">
                    <a:extLst>
                      <a:ext uri="{FF2B5EF4-FFF2-40B4-BE49-F238E27FC236}">
                        <a16:creationId xmlns:a16="http://schemas.microsoft.com/office/drawing/2014/main" id="{64B54565-5117-B2EB-1BAF-75EA6DF66A5B}"/>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04" name="Rectangle 403">
                    <a:extLst>
                      <a:ext uri="{FF2B5EF4-FFF2-40B4-BE49-F238E27FC236}">
                        <a16:creationId xmlns:a16="http://schemas.microsoft.com/office/drawing/2014/main" id="{AFDC1704-417B-C61B-14F5-C2F21DA7BCC9}"/>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05" name="Rectangle 404">
                    <a:extLst>
                      <a:ext uri="{FF2B5EF4-FFF2-40B4-BE49-F238E27FC236}">
                        <a16:creationId xmlns:a16="http://schemas.microsoft.com/office/drawing/2014/main" id="{949DD87A-9BE5-2667-0877-4114D3EB4B53}"/>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06" name="Rectangle 405">
                    <a:extLst>
                      <a:ext uri="{FF2B5EF4-FFF2-40B4-BE49-F238E27FC236}">
                        <a16:creationId xmlns:a16="http://schemas.microsoft.com/office/drawing/2014/main" id="{688E629B-E33B-7624-3B8C-54A87E9873BF}"/>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07" name="Rectangle 406">
                    <a:extLst>
                      <a:ext uri="{FF2B5EF4-FFF2-40B4-BE49-F238E27FC236}">
                        <a16:creationId xmlns:a16="http://schemas.microsoft.com/office/drawing/2014/main" id="{90015DF9-F611-688C-9920-AF6C7EC3F47D}"/>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52" name="Group 251">
                  <a:extLst>
                    <a:ext uri="{FF2B5EF4-FFF2-40B4-BE49-F238E27FC236}">
                      <a16:creationId xmlns:a16="http://schemas.microsoft.com/office/drawing/2014/main" id="{E01A2500-3842-AD17-4165-64F58098F119}"/>
                    </a:ext>
                  </a:extLst>
                </p:cNvPr>
                <p:cNvGrpSpPr/>
                <p:nvPr/>
              </p:nvGrpSpPr>
              <p:grpSpPr bwMode="gray">
                <a:xfrm>
                  <a:off x="9520959" y="3794304"/>
                  <a:ext cx="180514" cy="304089"/>
                  <a:chOff x="333633" y="1013896"/>
                  <a:chExt cx="1018905" cy="1228561"/>
                </a:xfrm>
                <a:solidFill>
                  <a:srgbClr val="F8971D"/>
                </a:solidFill>
              </p:grpSpPr>
              <p:sp>
                <p:nvSpPr>
                  <p:cNvPr id="396" name="Rectangle 395">
                    <a:extLst>
                      <a:ext uri="{FF2B5EF4-FFF2-40B4-BE49-F238E27FC236}">
                        <a16:creationId xmlns:a16="http://schemas.microsoft.com/office/drawing/2014/main" id="{EAFCA45E-BE4F-8146-E301-362E34FD73A1}"/>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97" name="Rectangle 396">
                    <a:extLst>
                      <a:ext uri="{FF2B5EF4-FFF2-40B4-BE49-F238E27FC236}">
                        <a16:creationId xmlns:a16="http://schemas.microsoft.com/office/drawing/2014/main" id="{C95EF40B-924B-41DD-A26D-213E88E1B22C}"/>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98" name="Rectangle 397">
                    <a:extLst>
                      <a:ext uri="{FF2B5EF4-FFF2-40B4-BE49-F238E27FC236}">
                        <a16:creationId xmlns:a16="http://schemas.microsoft.com/office/drawing/2014/main" id="{31032773-AA70-2A73-1C4D-6E2FC66BFA90}"/>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99" name="Rectangle 398">
                    <a:extLst>
                      <a:ext uri="{FF2B5EF4-FFF2-40B4-BE49-F238E27FC236}">
                        <a16:creationId xmlns:a16="http://schemas.microsoft.com/office/drawing/2014/main" id="{EBF88A95-1C5C-DA04-9E02-9A978735C829}"/>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00" name="Rectangle 399">
                    <a:extLst>
                      <a:ext uri="{FF2B5EF4-FFF2-40B4-BE49-F238E27FC236}">
                        <a16:creationId xmlns:a16="http://schemas.microsoft.com/office/drawing/2014/main" id="{A6B1ADAD-0A3C-0C51-1532-ECDF6ABF5917}"/>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401" name="Rectangle 400">
                    <a:extLst>
                      <a:ext uri="{FF2B5EF4-FFF2-40B4-BE49-F238E27FC236}">
                        <a16:creationId xmlns:a16="http://schemas.microsoft.com/office/drawing/2014/main" id="{B18E7D77-2A47-15A1-D95C-F38856ADD8DD}"/>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53" name="Group 252">
                  <a:extLst>
                    <a:ext uri="{FF2B5EF4-FFF2-40B4-BE49-F238E27FC236}">
                      <a16:creationId xmlns:a16="http://schemas.microsoft.com/office/drawing/2014/main" id="{24B17D0A-EF3F-CCC0-7E09-B8A1B9C7FFB1}"/>
                    </a:ext>
                  </a:extLst>
                </p:cNvPr>
                <p:cNvGrpSpPr/>
                <p:nvPr/>
              </p:nvGrpSpPr>
              <p:grpSpPr bwMode="gray">
                <a:xfrm>
                  <a:off x="9257954" y="3188400"/>
                  <a:ext cx="180514" cy="304089"/>
                  <a:chOff x="333633" y="1013896"/>
                  <a:chExt cx="1018905" cy="1228561"/>
                </a:xfrm>
                <a:solidFill>
                  <a:srgbClr val="F8971D"/>
                </a:solidFill>
              </p:grpSpPr>
              <p:sp>
                <p:nvSpPr>
                  <p:cNvPr id="390" name="Rectangle 389">
                    <a:extLst>
                      <a:ext uri="{FF2B5EF4-FFF2-40B4-BE49-F238E27FC236}">
                        <a16:creationId xmlns:a16="http://schemas.microsoft.com/office/drawing/2014/main" id="{E160AC46-E44B-21F1-DFC8-69245EAA3BBD}"/>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91" name="Rectangle 390">
                    <a:extLst>
                      <a:ext uri="{FF2B5EF4-FFF2-40B4-BE49-F238E27FC236}">
                        <a16:creationId xmlns:a16="http://schemas.microsoft.com/office/drawing/2014/main" id="{B077F394-B262-25B5-245B-447BF0DECD8E}"/>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92" name="Rectangle 391">
                    <a:extLst>
                      <a:ext uri="{FF2B5EF4-FFF2-40B4-BE49-F238E27FC236}">
                        <a16:creationId xmlns:a16="http://schemas.microsoft.com/office/drawing/2014/main" id="{1212BAE0-6C4B-5186-FFB6-C9A39482DCBB}"/>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93" name="Rectangle 392">
                    <a:extLst>
                      <a:ext uri="{FF2B5EF4-FFF2-40B4-BE49-F238E27FC236}">
                        <a16:creationId xmlns:a16="http://schemas.microsoft.com/office/drawing/2014/main" id="{8576BC9E-3D7E-04D7-3D4B-2B6E1404A7AB}"/>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94" name="Rectangle 393">
                    <a:extLst>
                      <a:ext uri="{FF2B5EF4-FFF2-40B4-BE49-F238E27FC236}">
                        <a16:creationId xmlns:a16="http://schemas.microsoft.com/office/drawing/2014/main" id="{98329E2B-7BB7-78A0-723A-3C03476D5140}"/>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95" name="Rectangle 394">
                    <a:extLst>
                      <a:ext uri="{FF2B5EF4-FFF2-40B4-BE49-F238E27FC236}">
                        <a16:creationId xmlns:a16="http://schemas.microsoft.com/office/drawing/2014/main" id="{82F7B8D6-7C93-6BBC-680F-31E0017ED683}"/>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54" name="Group 253">
                  <a:extLst>
                    <a:ext uri="{FF2B5EF4-FFF2-40B4-BE49-F238E27FC236}">
                      <a16:creationId xmlns:a16="http://schemas.microsoft.com/office/drawing/2014/main" id="{3EB0BB26-036A-2CE3-9739-C2A6A6C3F2C4}"/>
                    </a:ext>
                  </a:extLst>
                </p:cNvPr>
                <p:cNvGrpSpPr/>
                <p:nvPr/>
              </p:nvGrpSpPr>
              <p:grpSpPr bwMode="gray">
                <a:xfrm>
                  <a:off x="8894156" y="4088738"/>
                  <a:ext cx="180514" cy="304089"/>
                  <a:chOff x="333633" y="1013896"/>
                  <a:chExt cx="1018905" cy="1228561"/>
                </a:xfrm>
                <a:solidFill>
                  <a:srgbClr val="F8971D"/>
                </a:solidFill>
              </p:grpSpPr>
              <p:sp>
                <p:nvSpPr>
                  <p:cNvPr id="384" name="Rectangle 383">
                    <a:extLst>
                      <a:ext uri="{FF2B5EF4-FFF2-40B4-BE49-F238E27FC236}">
                        <a16:creationId xmlns:a16="http://schemas.microsoft.com/office/drawing/2014/main" id="{1C5CE436-5B83-082E-61A4-389EEE7449E9}"/>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85" name="Rectangle 384">
                    <a:extLst>
                      <a:ext uri="{FF2B5EF4-FFF2-40B4-BE49-F238E27FC236}">
                        <a16:creationId xmlns:a16="http://schemas.microsoft.com/office/drawing/2014/main" id="{BFC93DE5-25FB-7C34-BECC-ECE9F6355264}"/>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86" name="Rectangle 385">
                    <a:extLst>
                      <a:ext uri="{FF2B5EF4-FFF2-40B4-BE49-F238E27FC236}">
                        <a16:creationId xmlns:a16="http://schemas.microsoft.com/office/drawing/2014/main" id="{BB66FE5D-51DF-FB97-E2DB-529F5ED7802B}"/>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87" name="Rectangle 386">
                    <a:extLst>
                      <a:ext uri="{FF2B5EF4-FFF2-40B4-BE49-F238E27FC236}">
                        <a16:creationId xmlns:a16="http://schemas.microsoft.com/office/drawing/2014/main" id="{A2C5865C-21FE-AF7C-9237-6BA8B73205D6}"/>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88" name="Rectangle 387">
                    <a:extLst>
                      <a:ext uri="{FF2B5EF4-FFF2-40B4-BE49-F238E27FC236}">
                        <a16:creationId xmlns:a16="http://schemas.microsoft.com/office/drawing/2014/main" id="{C76EB5D5-D6E0-E5EC-B100-2CD7E707A997}"/>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89" name="Rectangle 388">
                    <a:extLst>
                      <a:ext uri="{FF2B5EF4-FFF2-40B4-BE49-F238E27FC236}">
                        <a16:creationId xmlns:a16="http://schemas.microsoft.com/office/drawing/2014/main" id="{9A1B1EB9-C2E8-CA33-47B4-49A06853E728}"/>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55" name="Group 254">
                  <a:extLst>
                    <a:ext uri="{FF2B5EF4-FFF2-40B4-BE49-F238E27FC236}">
                      <a16:creationId xmlns:a16="http://schemas.microsoft.com/office/drawing/2014/main" id="{8BE5255A-C96B-F0E6-7693-071AC5B057F7}"/>
                    </a:ext>
                  </a:extLst>
                </p:cNvPr>
                <p:cNvGrpSpPr/>
                <p:nvPr/>
              </p:nvGrpSpPr>
              <p:grpSpPr bwMode="gray">
                <a:xfrm>
                  <a:off x="9311559" y="3528654"/>
                  <a:ext cx="180514" cy="304089"/>
                  <a:chOff x="333633" y="1013896"/>
                  <a:chExt cx="1018905" cy="1228561"/>
                </a:xfrm>
                <a:solidFill>
                  <a:srgbClr val="F8971D"/>
                </a:solidFill>
              </p:grpSpPr>
              <p:sp>
                <p:nvSpPr>
                  <p:cNvPr id="378" name="Rectangle 377">
                    <a:extLst>
                      <a:ext uri="{FF2B5EF4-FFF2-40B4-BE49-F238E27FC236}">
                        <a16:creationId xmlns:a16="http://schemas.microsoft.com/office/drawing/2014/main" id="{3E052A06-0910-E85A-1B26-79B9BDE25CA2}"/>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79" name="Rectangle 378">
                    <a:extLst>
                      <a:ext uri="{FF2B5EF4-FFF2-40B4-BE49-F238E27FC236}">
                        <a16:creationId xmlns:a16="http://schemas.microsoft.com/office/drawing/2014/main" id="{7955F5AF-0A81-9A9A-DD01-787638799D34}"/>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80" name="Rectangle 379">
                    <a:extLst>
                      <a:ext uri="{FF2B5EF4-FFF2-40B4-BE49-F238E27FC236}">
                        <a16:creationId xmlns:a16="http://schemas.microsoft.com/office/drawing/2014/main" id="{69CA31DD-23FD-B58D-3D0F-449EB1A0BB23}"/>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81" name="Rectangle 380">
                    <a:extLst>
                      <a:ext uri="{FF2B5EF4-FFF2-40B4-BE49-F238E27FC236}">
                        <a16:creationId xmlns:a16="http://schemas.microsoft.com/office/drawing/2014/main" id="{74B977B4-4CA0-FE08-A85F-18834D0AE931}"/>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82" name="Rectangle 381">
                    <a:extLst>
                      <a:ext uri="{FF2B5EF4-FFF2-40B4-BE49-F238E27FC236}">
                        <a16:creationId xmlns:a16="http://schemas.microsoft.com/office/drawing/2014/main" id="{14536A0A-1BCD-3845-40C8-B0B52A00DA2F}"/>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83" name="Rectangle 382">
                    <a:extLst>
                      <a:ext uri="{FF2B5EF4-FFF2-40B4-BE49-F238E27FC236}">
                        <a16:creationId xmlns:a16="http://schemas.microsoft.com/office/drawing/2014/main" id="{34EE7358-2AFF-3DFF-D0BE-E832DBC516C7}"/>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56" name="Group 255">
                  <a:extLst>
                    <a:ext uri="{FF2B5EF4-FFF2-40B4-BE49-F238E27FC236}">
                      <a16:creationId xmlns:a16="http://schemas.microsoft.com/office/drawing/2014/main" id="{ABA94CCC-8083-EEE5-9C6E-5CFEFEC944C3}"/>
                    </a:ext>
                  </a:extLst>
                </p:cNvPr>
                <p:cNvGrpSpPr/>
                <p:nvPr/>
              </p:nvGrpSpPr>
              <p:grpSpPr bwMode="gray">
                <a:xfrm>
                  <a:off x="9175128" y="4457005"/>
                  <a:ext cx="180514" cy="304089"/>
                  <a:chOff x="333633" y="1013896"/>
                  <a:chExt cx="1018905" cy="1228561"/>
                </a:xfrm>
                <a:solidFill>
                  <a:srgbClr val="F8971D"/>
                </a:solidFill>
              </p:grpSpPr>
              <p:sp>
                <p:nvSpPr>
                  <p:cNvPr id="372" name="Rectangle 371">
                    <a:extLst>
                      <a:ext uri="{FF2B5EF4-FFF2-40B4-BE49-F238E27FC236}">
                        <a16:creationId xmlns:a16="http://schemas.microsoft.com/office/drawing/2014/main" id="{70FE1F59-8D2D-18F0-9248-30FE880B7CFF}"/>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73" name="Rectangle 372">
                    <a:extLst>
                      <a:ext uri="{FF2B5EF4-FFF2-40B4-BE49-F238E27FC236}">
                        <a16:creationId xmlns:a16="http://schemas.microsoft.com/office/drawing/2014/main" id="{E3E18CC2-D0DE-ED17-A5BB-F52C1A72B202}"/>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74" name="Rectangle 373">
                    <a:extLst>
                      <a:ext uri="{FF2B5EF4-FFF2-40B4-BE49-F238E27FC236}">
                        <a16:creationId xmlns:a16="http://schemas.microsoft.com/office/drawing/2014/main" id="{693DF4A6-8003-C9CC-ABD4-38B8CCAF0F4F}"/>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75" name="Rectangle 374">
                    <a:extLst>
                      <a:ext uri="{FF2B5EF4-FFF2-40B4-BE49-F238E27FC236}">
                        <a16:creationId xmlns:a16="http://schemas.microsoft.com/office/drawing/2014/main" id="{478FD945-3949-181B-E888-ACE624B532C4}"/>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76" name="Rectangle 375">
                    <a:extLst>
                      <a:ext uri="{FF2B5EF4-FFF2-40B4-BE49-F238E27FC236}">
                        <a16:creationId xmlns:a16="http://schemas.microsoft.com/office/drawing/2014/main" id="{EA8455B3-5C7C-54A6-706F-AB123C1B463A}"/>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77" name="Rectangle 376">
                    <a:extLst>
                      <a:ext uri="{FF2B5EF4-FFF2-40B4-BE49-F238E27FC236}">
                        <a16:creationId xmlns:a16="http://schemas.microsoft.com/office/drawing/2014/main" id="{7BE6B244-9610-E524-E9CF-64B9C88505B2}"/>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57" name="Group 256">
                  <a:extLst>
                    <a:ext uri="{FF2B5EF4-FFF2-40B4-BE49-F238E27FC236}">
                      <a16:creationId xmlns:a16="http://schemas.microsoft.com/office/drawing/2014/main" id="{C8961ED9-024F-E58B-84F4-31631807BC3C}"/>
                    </a:ext>
                  </a:extLst>
                </p:cNvPr>
                <p:cNvGrpSpPr/>
                <p:nvPr/>
              </p:nvGrpSpPr>
              <p:grpSpPr bwMode="gray">
                <a:xfrm>
                  <a:off x="9656497" y="3455658"/>
                  <a:ext cx="180514" cy="304089"/>
                  <a:chOff x="333633" y="1013896"/>
                  <a:chExt cx="1018905" cy="1228561"/>
                </a:xfrm>
                <a:solidFill>
                  <a:srgbClr val="F8971D"/>
                </a:solidFill>
              </p:grpSpPr>
              <p:sp>
                <p:nvSpPr>
                  <p:cNvPr id="366" name="Rectangle 365">
                    <a:extLst>
                      <a:ext uri="{FF2B5EF4-FFF2-40B4-BE49-F238E27FC236}">
                        <a16:creationId xmlns:a16="http://schemas.microsoft.com/office/drawing/2014/main" id="{83F64305-84F9-93EC-244A-0A0CFE984235}"/>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67" name="Rectangle 366">
                    <a:extLst>
                      <a:ext uri="{FF2B5EF4-FFF2-40B4-BE49-F238E27FC236}">
                        <a16:creationId xmlns:a16="http://schemas.microsoft.com/office/drawing/2014/main" id="{70DB599B-B003-98E2-C246-01E72AAA4B9A}"/>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68" name="Rectangle 367">
                    <a:extLst>
                      <a:ext uri="{FF2B5EF4-FFF2-40B4-BE49-F238E27FC236}">
                        <a16:creationId xmlns:a16="http://schemas.microsoft.com/office/drawing/2014/main" id="{3F0C1C14-B617-1654-7C9C-CD65D7E240DA}"/>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69" name="Rectangle 368">
                    <a:extLst>
                      <a:ext uri="{FF2B5EF4-FFF2-40B4-BE49-F238E27FC236}">
                        <a16:creationId xmlns:a16="http://schemas.microsoft.com/office/drawing/2014/main" id="{345E5E9A-2361-9913-C1DB-1B686818DE2D}"/>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70" name="Rectangle 369">
                    <a:extLst>
                      <a:ext uri="{FF2B5EF4-FFF2-40B4-BE49-F238E27FC236}">
                        <a16:creationId xmlns:a16="http://schemas.microsoft.com/office/drawing/2014/main" id="{E2BAC6A3-85E9-727B-28A1-7986C702C667}"/>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71" name="Rectangle 370">
                    <a:extLst>
                      <a:ext uri="{FF2B5EF4-FFF2-40B4-BE49-F238E27FC236}">
                        <a16:creationId xmlns:a16="http://schemas.microsoft.com/office/drawing/2014/main" id="{382FC14C-83C8-2BE4-F7C0-1EBFFE923C8F}"/>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58" name="Group 257">
                  <a:extLst>
                    <a:ext uri="{FF2B5EF4-FFF2-40B4-BE49-F238E27FC236}">
                      <a16:creationId xmlns:a16="http://schemas.microsoft.com/office/drawing/2014/main" id="{EDDC411D-3DA6-AB3E-3772-942C1A619910}"/>
                    </a:ext>
                  </a:extLst>
                </p:cNvPr>
                <p:cNvGrpSpPr/>
                <p:nvPr/>
              </p:nvGrpSpPr>
              <p:grpSpPr bwMode="gray">
                <a:xfrm>
                  <a:off x="11330825" y="4595102"/>
                  <a:ext cx="180514" cy="304089"/>
                  <a:chOff x="333633" y="1013896"/>
                  <a:chExt cx="1018905" cy="1228561"/>
                </a:xfrm>
                <a:solidFill>
                  <a:srgbClr val="F8971D">
                    <a:alpha val="15000"/>
                  </a:srgbClr>
                </a:solidFill>
              </p:grpSpPr>
              <p:sp>
                <p:nvSpPr>
                  <p:cNvPr id="360" name="Rectangle 359">
                    <a:extLst>
                      <a:ext uri="{FF2B5EF4-FFF2-40B4-BE49-F238E27FC236}">
                        <a16:creationId xmlns:a16="http://schemas.microsoft.com/office/drawing/2014/main" id="{8168F122-909B-93B4-2CF1-98B437F2C481}"/>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61" name="Rectangle 360">
                    <a:extLst>
                      <a:ext uri="{FF2B5EF4-FFF2-40B4-BE49-F238E27FC236}">
                        <a16:creationId xmlns:a16="http://schemas.microsoft.com/office/drawing/2014/main" id="{5438BBDE-0635-B038-C7DC-7F1D9B3CB12B}"/>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62" name="Rectangle 361">
                    <a:extLst>
                      <a:ext uri="{FF2B5EF4-FFF2-40B4-BE49-F238E27FC236}">
                        <a16:creationId xmlns:a16="http://schemas.microsoft.com/office/drawing/2014/main" id="{A4F47922-0FF7-45C4-6C09-68125DFAECD8}"/>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63" name="Rectangle 362">
                    <a:extLst>
                      <a:ext uri="{FF2B5EF4-FFF2-40B4-BE49-F238E27FC236}">
                        <a16:creationId xmlns:a16="http://schemas.microsoft.com/office/drawing/2014/main" id="{64CC0282-B640-C87A-32B2-A8CD56077E47}"/>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64" name="Rectangle 363">
                    <a:extLst>
                      <a:ext uri="{FF2B5EF4-FFF2-40B4-BE49-F238E27FC236}">
                        <a16:creationId xmlns:a16="http://schemas.microsoft.com/office/drawing/2014/main" id="{985F7FCD-6CA1-F2C5-F549-FF695B045333}"/>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65" name="Rectangle 364">
                    <a:extLst>
                      <a:ext uri="{FF2B5EF4-FFF2-40B4-BE49-F238E27FC236}">
                        <a16:creationId xmlns:a16="http://schemas.microsoft.com/office/drawing/2014/main" id="{45A22931-135F-2DBB-850A-8E465559028A}"/>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61" name="Group 260">
                  <a:extLst>
                    <a:ext uri="{FF2B5EF4-FFF2-40B4-BE49-F238E27FC236}">
                      <a16:creationId xmlns:a16="http://schemas.microsoft.com/office/drawing/2014/main" id="{D7E9C2B2-B1DE-2A5B-8B08-0C65C4513551}"/>
                    </a:ext>
                  </a:extLst>
                </p:cNvPr>
                <p:cNvGrpSpPr/>
                <p:nvPr/>
              </p:nvGrpSpPr>
              <p:grpSpPr bwMode="gray">
                <a:xfrm>
                  <a:off x="10603691" y="4618467"/>
                  <a:ext cx="180514" cy="304089"/>
                  <a:chOff x="333633" y="1013896"/>
                  <a:chExt cx="1018905" cy="1228561"/>
                </a:xfrm>
                <a:solidFill>
                  <a:srgbClr val="F8971D">
                    <a:alpha val="24797"/>
                  </a:srgbClr>
                </a:solidFill>
              </p:grpSpPr>
              <p:sp>
                <p:nvSpPr>
                  <p:cNvPr id="354" name="Rectangle 353">
                    <a:extLst>
                      <a:ext uri="{FF2B5EF4-FFF2-40B4-BE49-F238E27FC236}">
                        <a16:creationId xmlns:a16="http://schemas.microsoft.com/office/drawing/2014/main" id="{B33105D6-C569-425F-E0E4-2CC982C334E0}"/>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55" name="Rectangle 354">
                    <a:extLst>
                      <a:ext uri="{FF2B5EF4-FFF2-40B4-BE49-F238E27FC236}">
                        <a16:creationId xmlns:a16="http://schemas.microsoft.com/office/drawing/2014/main" id="{0114053A-906A-24F1-9E9F-E2AC3D8646DD}"/>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56" name="Rectangle 355">
                    <a:extLst>
                      <a:ext uri="{FF2B5EF4-FFF2-40B4-BE49-F238E27FC236}">
                        <a16:creationId xmlns:a16="http://schemas.microsoft.com/office/drawing/2014/main" id="{7FF78381-FD3A-DEDF-A2B3-FDD53B0ABE9F}"/>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57" name="Rectangle 356">
                    <a:extLst>
                      <a:ext uri="{FF2B5EF4-FFF2-40B4-BE49-F238E27FC236}">
                        <a16:creationId xmlns:a16="http://schemas.microsoft.com/office/drawing/2014/main" id="{911020A1-30EF-F4FE-F08D-D08590620596}"/>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58" name="Rectangle 357">
                    <a:extLst>
                      <a:ext uri="{FF2B5EF4-FFF2-40B4-BE49-F238E27FC236}">
                        <a16:creationId xmlns:a16="http://schemas.microsoft.com/office/drawing/2014/main" id="{849AEB2A-F888-847D-EFEE-A1522F9FC461}"/>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59" name="Rectangle 358">
                    <a:extLst>
                      <a:ext uri="{FF2B5EF4-FFF2-40B4-BE49-F238E27FC236}">
                        <a16:creationId xmlns:a16="http://schemas.microsoft.com/office/drawing/2014/main" id="{326483F1-7F19-E50B-CC76-62B2A8FC8E4C}"/>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62" name="Group 261">
                  <a:extLst>
                    <a:ext uri="{FF2B5EF4-FFF2-40B4-BE49-F238E27FC236}">
                      <a16:creationId xmlns:a16="http://schemas.microsoft.com/office/drawing/2014/main" id="{0E0680C2-5D35-D118-64A4-DB15973F8EF4}"/>
                    </a:ext>
                  </a:extLst>
                </p:cNvPr>
                <p:cNvGrpSpPr/>
                <p:nvPr/>
              </p:nvGrpSpPr>
              <p:grpSpPr bwMode="gray">
                <a:xfrm>
                  <a:off x="10996930" y="4274443"/>
                  <a:ext cx="180518" cy="304089"/>
                  <a:chOff x="333632" y="1013895"/>
                  <a:chExt cx="1018906" cy="1228562"/>
                </a:xfrm>
                <a:solidFill>
                  <a:srgbClr val="F8971D">
                    <a:alpha val="15000"/>
                  </a:srgbClr>
                </a:solidFill>
              </p:grpSpPr>
              <p:sp>
                <p:nvSpPr>
                  <p:cNvPr id="348" name="Rectangle 347">
                    <a:extLst>
                      <a:ext uri="{FF2B5EF4-FFF2-40B4-BE49-F238E27FC236}">
                        <a16:creationId xmlns:a16="http://schemas.microsoft.com/office/drawing/2014/main" id="{32EC7806-3D33-D214-AB70-7D2FF0E74044}"/>
                      </a:ext>
                    </a:extLst>
                  </p:cNvPr>
                  <p:cNvSpPr/>
                  <p:nvPr/>
                </p:nvSpPr>
                <p:spPr bwMode="gray">
                  <a:xfrm>
                    <a:off x="871798" y="1578429"/>
                    <a:ext cx="118801"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49" name="Rectangle 348">
                    <a:extLst>
                      <a:ext uri="{FF2B5EF4-FFF2-40B4-BE49-F238E27FC236}">
                        <a16:creationId xmlns:a16="http://schemas.microsoft.com/office/drawing/2014/main" id="{1E8CD644-A2AD-E290-74AB-FB05459535E5}"/>
                      </a:ext>
                    </a:extLst>
                  </p:cNvPr>
                  <p:cNvSpPr/>
                  <p:nvPr/>
                </p:nvSpPr>
                <p:spPr bwMode="gray">
                  <a:xfrm>
                    <a:off x="699511" y="1578429"/>
                    <a:ext cx="118801"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50" name="Rectangle 349">
                    <a:extLst>
                      <a:ext uri="{FF2B5EF4-FFF2-40B4-BE49-F238E27FC236}">
                        <a16:creationId xmlns:a16="http://schemas.microsoft.com/office/drawing/2014/main" id="{A7032745-D597-283D-DFB6-7ED09435566C}"/>
                      </a:ext>
                    </a:extLst>
                  </p:cNvPr>
                  <p:cNvSpPr/>
                  <p:nvPr/>
                </p:nvSpPr>
                <p:spPr bwMode="gray">
                  <a:xfrm rot="2107635">
                    <a:off x="1052021" y="1013897"/>
                    <a:ext cx="118801"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51" name="Rectangle 350">
                    <a:extLst>
                      <a:ext uri="{FF2B5EF4-FFF2-40B4-BE49-F238E27FC236}">
                        <a16:creationId xmlns:a16="http://schemas.microsoft.com/office/drawing/2014/main" id="{0544C973-C16B-E899-0A1E-0E22427801A1}"/>
                      </a:ext>
                    </a:extLst>
                  </p:cNvPr>
                  <p:cNvSpPr/>
                  <p:nvPr/>
                </p:nvSpPr>
                <p:spPr bwMode="gray">
                  <a:xfrm rot="19492365" flipV="1">
                    <a:off x="519288" y="1013895"/>
                    <a:ext cx="118801"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52" name="Rectangle 351">
                    <a:extLst>
                      <a:ext uri="{FF2B5EF4-FFF2-40B4-BE49-F238E27FC236}">
                        <a16:creationId xmlns:a16="http://schemas.microsoft.com/office/drawing/2014/main" id="{5C9C8C01-164E-B7C6-23F5-60D52FD96594}"/>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53" name="Rectangle 352">
                    <a:extLst>
                      <a:ext uri="{FF2B5EF4-FFF2-40B4-BE49-F238E27FC236}">
                        <a16:creationId xmlns:a16="http://schemas.microsoft.com/office/drawing/2014/main" id="{08C11557-A193-05E3-BA35-5E76EAFAF6D4}"/>
                      </a:ext>
                    </a:extLst>
                  </p:cNvPr>
                  <p:cNvSpPr/>
                  <p:nvPr/>
                </p:nvSpPr>
                <p:spPr bwMode="gray">
                  <a:xfrm rot="19492365" flipH="1">
                    <a:off x="333632" y="1140497"/>
                    <a:ext cx="118598"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63" name="Group 262">
                  <a:extLst>
                    <a:ext uri="{FF2B5EF4-FFF2-40B4-BE49-F238E27FC236}">
                      <a16:creationId xmlns:a16="http://schemas.microsoft.com/office/drawing/2014/main" id="{5C8656F0-7307-F078-E9C2-3FECB004BD67}"/>
                    </a:ext>
                  </a:extLst>
                </p:cNvPr>
                <p:cNvGrpSpPr/>
                <p:nvPr/>
              </p:nvGrpSpPr>
              <p:grpSpPr bwMode="gray">
                <a:xfrm>
                  <a:off x="8534724" y="4525237"/>
                  <a:ext cx="180514" cy="304089"/>
                  <a:chOff x="333633" y="1013896"/>
                  <a:chExt cx="1018905" cy="1228561"/>
                </a:xfrm>
                <a:solidFill>
                  <a:srgbClr val="F8971D"/>
                </a:solidFill>
              </p:grpSpPr>
              <p:sp>
                <p:nvSpPr>
                  <p:cNvPr id="342" name="Rectangle 341">
                    <a:extLst>
                      <a:ext uri="{FF2B5EF4-FFF2-40B4-BE49-F238E27FC236}">
                        <a16:creationId xmlns:a16="http://schemas.microsoft.com/office/drawing/2014/main" id="{0499CD50-3D66-C618-9CA0-F6DC68C1ECB4}"/>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43" name="Rectangle 342">
                    <a:extLst>
                      <a:ext uri="{FF2B5EF4-FFF2-40B4-BE49-F238E27FC236}">
                        <a16:creationId xmlns:a16="http://schemas.microsoft.com/office/drawing/2014/main" id="{94698CD9-DA0E-82A8-2FBA-A018B0470503}"/>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44" name="Rectangle 343">
                    <a:extLst>
                      <a:ext uri="{FF2B5EF4-FFF2-40B4-BE49-F238E27FC236}">
                        <a16:creationId xmlns:a16="http://schemas.microsoft.com/office/drawing/2014/main" id="{65A260D8-B776-29C8-BEB3-9A4EEA1312DF}"/>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45" name="Rectangle 344">
                    <a:extLst>
                      <a:ext uri="{FF2B5EF4-FFF2-40B4-BE49-F238E27FC236}">
                        <a16:creationId xmlns:a16="http://schemas.microsoft.com/office/drawing/2014/main" id="{3111CF67-8DF8-9830-B98F-B0F4B675AA62}"/>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46" name="Rectangle 345">
                    <a:extLst>
                      <a:ext uri="{FF2B5EF4-FFF2-40B4-BE49-F238E27FC236}">
                        <a16:creationId xmlns:a16="http://schemas.microsoft.com/office/drawing/2014/main" id="{48B8E0AC-D3A1-D03A-394F-6BAA62221BE9}"/>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47" name="Rectangle 346">
                    <a:extLst>
                      <a:ext uri="{FF2B5EF4-FFF2-40B4-BE49-F238E27FC236}">
                        <a16:creationId xmlns:a16="http://schemas.microsoft.com/office/drawing/2014/main" id="{2D7C9A6D-8D4A-59C9-0D1E-6AF1AAFA374E}"/>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64" name="Group 263">
                  <a:extLst>
                    <a:ext uri="{FF2B5EF4-FFF2-40B4-BE49-F238E27FC236}">
                      <a16:creationId xmlns:a16="http://schemas.microsoft.com/office/drawing/2014/main" id="{4CDFF77B-87EE-2BEF-96D5-C09E54F95740}"/>
                    </a:ext>
                  </a:extLst>
                </p:cNvPr>
                <p:cNvGrpSpPr/>
                <p:nvPr/>
              </p:nvGrpSpPr>
              <p:grpSpPr bwMode="gray">
                <a:xfrm>
                  <a:off x="8188971" y="2916273"/>
                  <a:ext cx="180514" cy="304089"/>
                  <a:chOff x="333633" y="1013896"/>
                  <a:chExt cx="1018905" cy="1228561"/>
                </a:xfrm>
                <a:solidFill>
                  <a:srgbClr val="F8971D"/>
                </a:solidFill>
              </p:grpSpPr>
              <p:sp>
                <p:nvSpPr>
                  <p:cNvPr id="336" name="Rectangle 335">
                    <a:extLst>
                      <a:ext uri="{FF2B5EF4-FFF2-40B4-BE49-F238E27FC236}">
                        <a16:creationId xmlns:a16="http://schemas.microsoft.com/office/drawing/2014/main" id="{3C99A765-19D2-432B-815D-BD47C8A5B04B}"/>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37" name="Rectangle 336">
                    <a:extLst>
                      <a:ext uri="{FF2B5EF4-FFF2-40B4-BE49-F238E27FC236}">
                        <a16:creationId xmlns:a16="http://schemas.microsoft.com/office/drawing/2014/main" id="{93C33B20-603B-188A-D07F-02573C27E55F}"/>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38" name="Rectangle 337">
                    <a:extLst>
                      <a:ext uri="{FF2B5EF4-FFF2-40B4-BE49-F238E27FC236}">
                        <a16:creationId xmlns:a16="http://schemas.microsoft.com/office/drawing/2014/main" id="{C45BCD99-BCCB-D39F-3E48-418E7B532CED}"/>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39" name="Rectangle 338">
                    <a:extLst>
                      <a:ext uri="{FF2B5EF4-FFF2-40B4-BE49-F238E27FC236}">
                        <a16:creationId xmlns:a16="http://schemas.microsoft.com/office/drawing/2014/main" id="{DB6E53EC-F0DB-2497-DC01-8AD5F15095C7}"/>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40" name="Rectangle 339">
                    <a:extLst>
                      <a:ext uri="{FF2B5EF4-FFF2-40B4-BE49-F238E27FC236}">
                        <a16:creationId xmlns:a16="http://schemas.microsoft.com/office/drawing/2014/main" id="{3DEF710E-B017-3DE2-FE31-D53F34AC667C}"/>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41" name="Rectangle 340">
                    <a:extLst>
                      <a:ext uri="{FF2B5EF4-FFF2-40B4-BE49-F238E27FC236}">
                        <a16:creationId xmlns:a16="http://schemas.microsoft.com/office/drawing/2014/main" id="{D1C89D9F-2FD0-65CE-996D-3E427E96C448}"/>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65" name="Group 264">
                  <a:extLst>
                    <a:ext uri="{FF2B5EF4-FFF2-40B4-BE49-F238E27FC236}">
                      <a16:creationId xmlns:a16="http://schemas.microsoft.com/office/drawing/2014/main" id="{BC313089-D11F-57BE-EE60-0F986012D310}"/>
                    </a:ext>
                  </a:extLst>
                </p:cNvPr>
                <p:cNvGrpSpPr/>
                <p:nvPr/>
              </p:nvGrpSpPr>
              <p:grpSpPr bwMode="gray">
                <a:xfrm>
                  <a:off x="8394549" y="3424603"/>
                  <a:ext cx="180514" cy="304089"/>
                  <a:chOff x="333633" y="1013896"/>
                  <a:chExt cx="1018905" cy="1228561"/>
                </a:xfrm>
                <a:solidFill>
                  <a:srgbClr val="F8971D"/>
                </a:solidFill>
              </p:grpSpPr>
              <p:sp>
                <p:nvSpPr>
                  <p:cNvPr id="330" name="Rectangle 329">
                    <a:extLst>
                      <a:ext uri="{FF2B5EF4-FFF2-40B4-BE49-F238E27FC236}">
                        <a16:creationId xmlns:a16="http://schemas.microsoft.com/office/drawing/2014/main" id="{EBE622BD-2DF9-F330-5990-9AED5EE0AAD4}"/>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31" name="Rectangle 330">
                    <a:extLst>
                      <a:ext uri="{FF2B5EF4-FFF2-40B4-BE49-F238E27FC236}">
                        <a16:creationId xmlns:a16="http://schemas.microsoft.com/office/drawing/2014/main" id="{762A9CB8-AC03-F521-D2E0-5CE3401FA05C}"/>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32" name="Rectangle 331">
                    <a:extLst>
                      <a:ext uri="{FF2B5EF4-FFF2-40B4-BE49-F238E27FC236}">
                        <a16:creationId xmlns:a16="http://schemas.microsoft.com/office/drawing/2014/main" id="{614F2BC8-9CF4-8DDE-C7B1-57FFD53000ED}"/>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33" name="Rectangle 332">
                    <a:extLst>
                      <a:ext uri="{FF2B5EF4-FFF2-40B4-BE49-F238E27FC236}">
                        <a16:creationId xmlns:a16="http://schemas.microsoft.com/office/drawing/2014/main" id="{26325555-0B65-A5EA-E2EE-ED1C6155B479}"/>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34" name="Rectangle 333">
                    <a:extLst>
                      <a:ext uri="{FF2B5EF4-FFF2-40B4-BE49-F238E27FC236}">
                        <a16:creationId xmlns:a16="http://schemas.microsoft.com/office/drawing/2014/main" id="{E0852937-86BF-4555-8FC5-5804EA901072}"/>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35" name="Rectangle 334">
                    <a:extLst>
                      <a:ext uri="{FF2B5EF4-FFF2-40B4-BE49-F238E27FC236}">
                        <a16:creationId xmlns:a16="http://schemas.microsoft.com/office/drawing/2014/main" id="{47321CFF-02EE-19C0-59D8-F4A49F3BFF3B}"/>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66" name="Group 265">
                  <a:extLst>
                    <a:ext uri="{FF2B5EF4-FFF2-40B4-BE49-F238E27FC236}">
                      <a16:creationId xmlns:a16="http://schemas.microsoft.com/office/drawing/2014/main" id="{509A9930-8537-61DE-6C94-02EC561837C3}"/>
                    </a:ext>
                  </a:extLst>
                </p:cNvPr>
                <p:cNvGrpSpPr/>
                <p:nvPr/>
              </p:nvGrpSpPr>
              <p:grpSpPr bwMode="gray">
                <a:xfrm>
                  <a:off x="8914908" y="3604826"/>
                  <a:ext cx="180514" cy="304089"/>
                  <a:chOff x="333633" y="1013896"/>
                  <a:chExt cx="1018905" cy="1228561"/>
                </a:xfrm>
                <a:solidFill>
                  <a:srgbClr val="F8971D"/>
                </a:solidFill>
              </p:grpSpPr>
              <p:sp>
                <p:nvSpPr>
                  <p:cNvPr id="324" name="Rectangle 323">
                    <a:extLst>
                      <a:ext uri="{FF2B5EF4-FFF2-40B4-BE49-F238E27FC236}">
                        <a16:creationId xmlns:a16="http://schemas.microsoft.com/office/drawing/2014/main" id="{C0BDBD69-646E-5E7D-2A61-BA384C8202AE}"/>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25" name="Rectangle 324">
                    <a:extLst>
                      <a:ext uri="{FF2B5EF4-FFF2-40B4-BE49-F238E27FC236}">
                        <a16:creationId xmlns:a16="http://schemas.microsoft.com/office/drawing/2014/main" id="{5A9FAA2B-5837-F7FF-7A42-19CAB3A50689}"/>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26" name="Rectangle 325">
                    <a:extLst>
                      <a:ext uri="{FF2B5EF4-FFF2-40B4-BE49-F238E27FC236}">
                        <a16:creationId xmlns:a16="http://schemas.microsoft.com/office/drawing/2014/main" id="{684E9220-B049-06FB-6165-C5E9E81128F0}"/>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27" name="Rectangle 326">
                    <a:extLst>
                      <a:ext uri="{FF2B5EF4-FFF2-40B4-BE49-F238E27FC236}">
                        <a16:creationId xmlns:a16="http://schemas.microsoft.com/office/drawing/2014/main" id="{CAC7F18B-6E9B-45C2-FF7C-B86B5C2C6A61}"/>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28" name="Rectangle 327">
                    <a:extLst>
                      <a:ext uri="{FF2B5EF4-FFF2-40B4-BE49-F238E27FC236}">
                        <a16:creationId xmlns:a16="http://schemas.microsoft.com/office/drawing/2014/main" id="{D1E36C30-90AE-B6CB-0BF9-29B82D0A1519}"/>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29" name="Rectangle 328">
                    <a:extLst>
                      <a:ext uri="{FF2B5EF4-FFF2-40B4-BE49-F238E27FC236}">
                        <a16:creationId xmlns:a16="http://schemas.microsoft.com/office/drawing/2014/main" id="{C71AE497-AF8E-562E-5857-022D9B42640A}"/>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67" name="Group 266">
                  <a:extLst>
                    <a:ext uri="{FF2B5EF4-FFF2-40B4-BE49-F238E27FC236}">
                      <a16:creationId xmlns:a16="http://schemas.microsoft.com/office/drawing/2014/main" id="{043D0650-C97F-352A-80AE-1BBB70983687}"/>
                    </a:ext>
                  </a:extLst>
                </p:cNvPr>
                <p:cNvGrpSpPr/>
                <p:nvPr/>
              </p:nvGrpSpPr>
              <p:grpSpPr bwMode="gray">
                <a:xfrm>
                  <a:off x="9832016" y="4576934"/>
                  <a:ext cx="180514" cy="304089"/>
                  <a:chOff x="333633" y="1013896"/>
                  <a:chExt cx="1018905" cy="1228561"/>
                </a:xfrm>
                <a:solidFill>
                  <a:srgbClr val="F8971D"/>
                </a:solidFill>
              </p:grpSpPr>
              <p:sp>
                <p:nvSpPr>
                  <p:cNvPr id="318" name="Rectangle 317">
                    <a:extLst>
                      <a:ext uri="{FF2B5EF4-FFF2-40B4-BE49-F238E27FC236}">
                        <a16:creationId xmlns:a16="http://schemas.microsoft.com/office/drawing/2014/main" id="{5657BE6F-8ED8-9348-E08C-C13CA21AAE62}"/>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19" name="Rectangle 318">
                    <a:extLst>
                      <a:ext uri="{FF2B5EF4-FFF2-40B4-BE49-F238E27FC236}">
                        <a16:creationId xmlns:a16="http://schemas.microsoft.com/office/drawing/2014/main" id="{92C014D2-93C2-5E86-8CF8-036601494479}"/>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20" name="Rectangle 319">
                    <a:extLst>
                      <a:ext uri="{FF2B5EF4-FFF2-40B4-BE49-F238E27FC236}">
                        <a16:creationId xmlns:a16="http://schemas.microsoft.com/office/drawing/2014/main" id="{8EE3D8F7-84CD-CE25-5DD5-C1C1333672F5}"/>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21" name="Rectangle 320">
                    <a:extLst>
                      <a:ext uri="{FF2B5EF4-FFF2-40B4-BE49-F238E27FC236}">
                        <a16:creationId xmlns:a16="http://schemas.microsoft.com/office/drawing/2014/main" id="{AAE63873-9037-375F-9E4F-D3A49277EB13}"/>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22" name="Rectangle 321">
                    <a:extLst>
                      <a:ext uri="{FF2B5EF4-FFF2-40B4-BE49-F238E27FC236}">
                        <a16:creationId xmlns:a16="http://schemas.microsoft.com/office/drawing/2014/main" id="{B4D28307-CDE1-56F6-5BAA-FBB8A3F12CF4}"/>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23" name="Rectangle 322">
                    <a:extLst>
                      <a:ext uri="{FF2B5EF4-FFF2-40B4-BE49-F238E27FC236}">
                        <a16:creationId xmlns:a16="http://schemas.microsoft.com/office/drawing/2014/main" id="{95A6B336-F3C2-F48E-E024-7AFCB12C5C04}"/>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68" name="Group 267">
                  <a:extLst>
                    <a:ext uri="{FF2B5EF4-FFF2-40B4-BE49-F238E27FC236}">
                      <a16:creationId xmlns:a16="http://schemas.microsoft.com/office/drawing/2014/main" id="{4900141D-180C-D64D-2D37-B7DB21782383}"/>
                    </a:ext>
                  </a:extLst>
                </p:cNvPr>
                <p:cNvGrpSpPr/>
                <p:nvPr/>
              </p:nvGrpSpPr>
              <p:grpSpPr bwMode="gray">
                <a:xfrm>
                  <a:off x="9278993" y="3976252"/>
                  <a:ext cx="180514" cy="304089"/>
                  <a:chOff x="333633" y="1013896"/>
                  <a:chExt cx="1018905" cy="1228561"/>
                </a:xfrm>
                <a:solidFill>
                  <a:srgbClr val="F8971D"/>
                </a:solidFill>
              </p:grpSpPr>
              <p:sp>
                <p:nvSpPr>
                  <p:cNvPr id="312" name="Rectangle 311">
                    <a:extLst>
                      <a:ext uri="{FF2B5EF4-FFF2-40B4-BE49-F238E27FC236}">
                        <a16:creationId xmlns:a16="http://schemas.microsoft.com/office/drawing/2014/main" id="{A57470A7-B9A2-9DA6-73B8-5B763F00DC70}"/>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13" name="Rectangle 312">
                    <a:extLst>
                      <a:ext uri="{FF2B5EF4-FFF2-40B4-BE49-F238E27FC236}">
                        <a16:creationId xmlns:a16="http://schemas.microsoft.com/office/drawing/2014/main" id="{707466FF-DE09-A9F0-8EC6-D864E50D0A5F}"/>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14" name="Rectangle 313">
                    <a:extLst>
                      <a:ext uri="{FF2B5EF4-FFF2-40B4-BE49-F238E27FC236}">
                        <a16:creationId xmlns:a16="http://schemas.microsoft.com/office/drawing/2014/main" id="{1B938460-5D16-5770-C480-98671E5F4C1D}"/>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15" name="Rectangle 314">
                    <a:extLst>
                      <a:ext uri="{FF2B5EF4-FFF2-40B4-BE49-F238E27FC236}">
                        <a16:creationId xmlns:a16="http://schemas.microsoft.com/office/drawing/2014/main" id="{5F672CEE-8C64-992C-F41F-2BD4490BD011}"/>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16" name="Rectangle 315">
                    <a:extLst>
                      <a:ext uri="{FF2B5EF4-FFF2-40B4-BE49-F238E27FC236}">
                        <a16:creationId xmlns:a16="http://schemas.microsoft.com/office/drawing/2014/main" id="{B1E09249-C74B-5CE9-241B-AA6B81063D6A}"/>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17" name="Rectangle 316">
                    <a:extLst>
                      <a:ext uri="{FF2B5EF4-FFF2-40B4-BE49-F238E27FC236}">
                        <a16:creationId xmlns:a16="http://schemas.microsoft.com/office/drawing/2014/main" id="{8EC16B58-6D41-5A04-5E77-B0C4330D81E0}"/>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69" name="Group 268">
                  <a:extLst>
                    <a:ext uri="{FF2B5EF4-FFF2-40B4-BE49-F238E27FC236}">
                      <a16:creationId xmlns:a16="http://schemas.microsoft.com/office/drawing/2014/main" id="{412C895C-DEB2-AFDC-8AC6-6CEEC254EFED}"/>
                    </a:ext>
                  </a:extLst>
                </p:cNvPr>
                <p:cNvGrpSpPr/>
                <p:nvPr/>
              </p:nvGrpSpPr>
              <p:grpSpPr bwMode="gray">
                <a:xfrm>
                  <a:off x="10009018" y="3831876"/>
                  <a:ext cx="180514" cy="304089"/>
                  <a:chOff x="333633" y="1013896"/>
                  <a:chExt cx="1018905" cy="1228561"/>
                </a:xfrm>
                <a:solidFill>
                  <a:srgbClr val="F8971D">
                    <a:alpha val="49534"/>
                  </a:srgbClr>
                </a:solidFill>
              </p:grpSpPr>
              <p:sp>
                <p:nvSpPr>
                  <p:cNvPr id="306" name="Rectangle 305">
                    <a:extLst>
                      <a:ext uri="{FF2B5EF4-FFF2-40B4-BE49-F238E27FC236}">
                        <a16:creationId xmlns:a16="http://schemas.microsoft.com/office/drawing/2014/main" id="{65E1190F-9B90-FBC6-2D61-0841522FA93F}"/>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07" name="Rectangle 306">
                    <a:extLst>
                      <a:ext uri="{FF2B5EF4-FFF2-40B4-BE49-F238E27FC236}">
                        <a16:creationId xmlns:a16="http://schemas.microsoft.com/office/drawing/2014/main" id="{FAB76B6A-337B-3C04-BB50-0CCBCB623632}"/>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08" name="Rectangle 307">
                    <a:extLst>
                      <a:ext uri="{FF2B5EF4-FFF2-40B4-BE49-F238E27FC236}">
                        <a16:creationId xmlns:a16="http://schemas.microsoft.com/office/drawing/2014/main" id="{76F45EC4-600E-0A54-22BB-F775003ECC59}"/>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09" name="Rectangle 308">
                    <a:extLst>
                      <a:ext uri="{FF2B5EF4-FFF2-40B4-BE49-F238E27FC236}">
                        <a16:creationId xmlns:a16="http://schemas.microsoft.com/office/drawing/2014/main" id="{437AEB26-2AA0-1DDD-8363-0D59B5822438}"/>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10" name="Rectangle 309">
                    <a:extLst>
                      <a:ext uri="{FF2B5EF4-FFF2-40B4-BE49-F238E27FC236}">
                        <a16:creationId xmlns:a16="http://schemas.microsoft.com/office/drawing/2014/main" id="{1D9B9866-5901-F49E-1318-C24103EA23CD}"/>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11" name="Rectangle 310">
                    <a:extLst>
                      <a:ext uri="{FF2B5EF4-FFF2-40B4-BE49-F238E27FC236}">
                        <a16:creationId xmlns:a16="http://schemas.microsoft.com/office/drawing/2014/main" id="{1BF54B4D-54E9-B610-C472-CC84D4A69F36}"/>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70" name="Group 269">
                  <a:extLst>
                    <a:ext uri="{FF2B5EF4-FFF2-40B4-BE49-F238E27FC236}">
                      <a16:creationId xmlns:a16="http://schemas.microsoft.com/office/drawing/2014/main" id="{09665173-3F1B-3543-0511-3D1640B0E5A2}"/>
                    </a:ext>
                  </a:extLst>
                </p:cNvPr>
                <p:cNvGrpSpPr/>
                <p:nvPr/>
              </p:nvGrpSpPr>
              <p:grpSpPr bwMode="gray">
                <a:xfrm>
                  <a:off x="10195612" y="4466391"/>
                  <a:ext cx="180514" cy="304089"/>
                  <a:chOff x="333633" y="1013896"/>
                  <a:chExt cx="1018905" cy="1228561"/>
                </a:xfrm>
                <a:solidFill>
                  <a:srgbClr val="F8971D">
                    <a:alpha val="49879"/>
                  </a:srgbClr>
                </a:solidFill>
              </p:grpSpPr>
              <p:sp>
                <p:nvSpPr>
                  <p:cNvPr id="300" name="Rectangle 299">
                    <a:extLst>
                      <a:ext uri="{FF2B5EF4-FFF2-40B4-BE49-F238E27FC236}">
                        <a16:creationId xmlns:a16="http://schemas.microsoft.com/office/drawing/2014/main" id="{D26B713D-2626-B357-A027-C1DEE11C63FA}"/>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01" name="Rectangle 300">
                    <a:extLst>
                      <a:ext uri="{FF2B5EF4-FFF2-40B4-BE49-F238E27FC236}">
                        <a16:creationId xmlns:a16="http://schemas.microsoft.com/office/drawing/2014/main" id="{335425BA-69AF-4021-E560-09B1694145A6}"/>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02" name="Rectangle 301">
                    <a:extLst>
                      <a:ext uri="{FF2B5EF4-FFF2-40B4-BE49-F238E27FC236}">
                        <a16:creationId xmlns:a16="http://schemas.microsoft.com/office/drawing/2014/main" id="{5A5942DF-EBCF-B07B-E41F-DB0BF38AA80C}"/>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03" name="Rectangle 302">
                    <a:extLst>
                      <a:ext uri="{FF2B5EF4-FFF2-40B4-BE49-F238E27FC236}">
                        <a16:creationId xmlns:a16="http://schemas.microsoft.com/office/drawing/2014/main" id="{F40F71EC-BAC3-1148-E03C-0F4BC6788354}"/>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04" name="Rectangle 303">
                    <a:extLst>
                      <a:ext uri="{FF2B5EF4-FFF2-40B4-BE49-F238E27FC236}">
                        <a16:creationId xmlns:a16="http://schemas.microsoft.com/office/drawing/2014/main" id="{892D868F-51F3-D882-4D78-F6AC8959634E}"/>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305" name="Rectangle 304">
                    <a:extLst>
                      <a:ext uri="{FF2B5EF4-FFF2-40B4-BE49-F238E27FC236}">
                        <a16:creationId xmlns:a16="http://schemas.microsoft.com/office/drawing/2014/main" id="{0471DBF4-FF3D-AD6A-1B20-C9C554194F56}"/>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71" name="Group 270">
                  <a:extLst>
                    <a:ext uri="{FF2B5EF4-FFF2-40B4-BE49-F238E27FC236}">
                      <a16:creationId xmlns:a16="http://schemas.microsoft.com/office/drawing/2014/main" id="{7D2C2CF1-9BA5-59A2-0169-EC332E460525}"/>
                    </a:ext>
                  </a:extLst>
                </p:cNvPr>
                <p:cNvGrpSpPr/>
                <p:nvPr/>
              </p:nvGrpSpPr>
              <p:grpSpPr bwMode="gray">
                <a:xfrm>
                  <a:off x="9778843" y="4079937"/>
                  <a:ext cx="180514" cy="304089"/>
                  <a:chOff x="333633" y="1013896"/>
                  <a:chExt cx="1018905" cy="1228561"/>
                </a:xfrm>
                <a:solidFill>
                  <a:srgbClr val="F8971D">
                    <a:alpha val="49534"/>
                  </a:srgbClr>
                </a:solidFill>
              </p:grpSpPr>
              <p:sp>
                <p:nvSpPr>
                  <p:cNvPr id="294" name="Rectangle 293">
                    <a:extLst>
                      <a:ext uri="{FF2B5EF4-FFF2-40B4-BE49-F238E27FC236}">
                        <a16:creationId xmlns:a16="http://schemas.microsoft.com/office/drawing/2014/main" id="{794C76EC-2A8C-93F5-9348-1153AC31BBEE}"/>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95" name="Rectangle 294">
                    <a:extLst>
                      <a:ext uri="{FF2B5EF4-FFF2-40B4-BE49-F238E27FC236}">
                        <a16:creationId xmlns:a16="http://schemas.microsoft.com/office/drawing/2014/main" id="{64F5E92D-B3A5-BAD8-1C0F-8229EE7EA0C8}"/>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96" name="Rectangle 295">
                    <a:extLst>
                      <a:ext uri="{FF2B5EF4-FFF2-40B4-BE49-F238E27FC236}">
                        <a16:creationId xmlns:a16="http://schemas.microsoft.com/office/drawing/2014/main" id="{46A8721C-6996-969C-B5E3-E855DD990929}"/>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97" name="Rectangle 296">
                    <a:extLst>
                      <a:ext uri="{FF2B5EF4-FFF2-40B4-BE49-F238E27FC236}">
                        <a16:creationId xmlns:a16="http://schemas.microsoft.com/office/drawing/2014/main" id="{FC4B56B3-907F-65E9-0938-418EF08D9E61}"/>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98" name="Rectangle 297">
                    <a:extLst>
                      <a:ext uri="{FF2B5EF4-FFF2-40B4-BE49-F238E27FC236}">
                        <a16:creationId xmlns:a16="http://schemas.microsoft.com/office/drawing/2014/main" id="{F9713F09-18D6-5580-31D9-6C39DCA321D7}"/>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99" name="Rectangle 298">
                    <a:extLst>
                      <a:ext uri="{FF2B5EF4-FFF2-40B4-BE49-F238E27FC236}">
                        <a16:creationId xmlns:a16="http://schemas.microsoft.com/office/drawing/2014/main" id="{227FD324-4B70-533E-9BA0-25B21257210E}"/>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72" name="Group 271">
                  <a:extLst>
                    <a:ext uri="{FF2B5EF4-FFF2-40B4-BE49-F238E27FC236}">
                      <a16:creationId xmlns:a16="http://schemas.microsoft.com/office/drawing/2014/main" id="{D3A5202A-A386-6BAE-458B-5DBF79B6195A}"/>
                    </a:ext>
                  </a:extLst>
                </p:cNvPr>
                <p:cNvGrpSpPr/>
                <p:nvPr/>
              </p:nvGrpSpPr>
              <p:grpSpPr bwMode="gray">
                <a:xfrm>
                  <a:off x="10274945" y="3947237"/>
                  <a:ext cx="180514" cy="304089"/>
                  <a:chOff x="333633" y="1013896"/>
                  <a:chExt cx="1018905" cy="1228561"/>
                </a:xfrm>
                <a:solidFill>
                  <a:srgbClr val="F8971D">
                    <a:alpha val="35000"/>
                  </a:srgbClr>
                </a:solidFill>
              </p:grpSpPr>
              <p:sp>
                <p:nvSpPr>
                  <p:cNvPr id="288" name="Rectangle 287">
                    <a:extLst>
                      <a:ext uri="{FF2B5EF4-FFF2-40B4-BE49-F238E27FC236}">
                        <a16:creationId xmlns:a16="http://schemas.microsoft.com/office/drawing/2014/main" id="{B3821004-A495-5660-F55C-E292E3EF097D}"/>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89" name="Rectangle 288">
                    <a:extLst>
                      <a:ext uri="{FF2B5EF4-FFF2-40B4-BE49-F238E27FC236}">
                        <a16:creationId xmlns:a16="http://schemas.microsoft.com/office/drawing/2014/main" id="{2E49D83F-B443-51E5-CA27-14EFE83B7D66}"/>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90" name="Rectangle 289">
                    <a:extLst>
                      <a:ext uri="{FF2B5EF4-FFF2-40B4-BE49-F238E27FC236}">
                        <a16:creationId xmlns:a16="http://schemas.microsoft.com/office/drawing/2014/main" id="{6B77E62D-F4E1-61A5-118F-359F143FD66E}"/>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91" name="Rectangle 290">
                    <a:extLst>
                      <a:ext uri="{FF2B5EF4-FFF2-40B4-BE49-F238E27FC236}">
                        <a16:creationId xmlns:a16="http://schemas.microsoft.com/office/drawing/2014/main" id="{16FAEA1D-197B-7A81-267A-7701FE01B997}"/>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92" name="Rectangle 291">
                    <a:extLst>
                      <a:ext uri="{FF2B5EF4-FFF2-40B4-BE49-F238E27FC236}">
                        <a16:creationId xmlns:a16="http://schemas.microsoft.com/office/drawing/2014/main" id="{ACABCE1E-800D-987E-C221-044A01405835}"/>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93" name="Rectangle 292">
                    <a:extLst>
                      <a:ext uri="{FF2B5EF4-FFF2-40B4-BE49-F238E27FC236}">
                        <a16:creationId xmlns:a16="http://schemas.microsoft.com/office/drawing/2014/main" id="{FA378A45-7EEB-4846-FE70-D3910F5CBBCA}"/>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73" name="Group 272">
                  <a:extLst>
                    <a:ext uri="{FF2B5EF4-FFF2-40B4-BE49-F238E27FC236}">
                      <a16:creationId xmlns:a16="http://schemas.microsoft.com/office/drawing/2014/main" id="{095660A1-C884-B639-0D19-63EC496BB38C}"/>
                    </a:ext>
                  </a:extLst>
                </p:cNvPr>
                <p:cNvGrpSpPr/>
                <p:nvPr/>
              </p:nvGrpSpPr>
              <p:grpSpPr bwMode="gray">
                <a:xfrm>
                  <a:off x="10446596" y="4221149"/>
                  <a:ext cx="180514" cy="304089"/>
                  <a:chOff x="333633" y="1013896"/>
                  <a:chExt cx="1018905" cy="1228561"/>
                </a:xfrm>
                <a:solidFill>
                  <a:srgbClr val="F8971D">
                    <a:alpha val="35000"/>
                  </a:srgbClr>
                </a:solidFill>
              </p:grpSpPr>
              <p:sp>
                <p:nvSpPr>
                  <p:cNvPr id="282" name="Rectangle 281">
                    <a:extLst>
                      <a:ext uri="{FF2B5EF4-FFF2-40B4-BE49-F238E27FC236}">
                        <a16:creationId xmlns:a16="http://schemas.microsoft.com/office/drawing/2014/main" id="{C35700E1-E625-6D01-7B91-9E3DB401C5E6}"/>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83" name="Rectangle 282">
                    <a:extLst>
                      <a:ext uri="{FF2B5EF4-FFF2-40B4-BE49-F238E27FC236}">
                        <a16:creationId xmlns:a16="http://schemas.microsoft.com/office/drawing/2014/main" id="{F0D7BC2E-FB7F-DCBE-1DAF-B7C3BC55A40C}"/>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84" name="Rectangle 283">
                    <a:extLst>
                      <a:ext uri="{FF2B5EF4-FFF2-40B4-BE49-F238E27FC236}">
                        <a16:creationId xmlns:a16="http://schemas.microsoft.com/office/drawing/2014/main" id="{404F6D54-9207-105B-7BA0-ABF933B973FD}"/>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85" name="Rectangle 284">
                    <a:extLst>
                      <a:ext uri="{FF2B5EF4-FFF2-40B4-BE49-F238E27FC236}">
                        <a16:creationId xmlns:a16="http://schemas.microsoft.com/office/drawing/2014/main" id="{CE906FFB-8A76-5BF5-4648-07A112741085}"/>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86" name="Rectangle 285">
                    <a:extLst>
                      <a:ext uri="{FF2B5EF4-FFF2-40B4-BE49-F238E27FC236}">
                        <a16:creationId xmlns:a16="http://schemas.microsoft.com/office/drawing/2014/main" id="{CED59552-C30A-77EB-4177-6D847152A7EB}"/>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87" name="Rectangle 286">
                    <a:extLst>
                      <a:ext uri="{FF2B5EF4-FFF2-40B4-BE49-F238E27FC236}">
                        <a16:creationId xmlns:a16="http://schemas.microsoft.com/office/drawing/2014/main" id="{C49B8D4F-5A5E-DB0F-BA19-176EAA1E8F3B}"/>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274" name="Group 273">
                  <a:extLst>
                    <a:ext uri="{FF2B5EF4-FFF2-40B4-BE49-F238E27FC236}">
                      <a16:creationId xmlns:a16="http://schemas.microsoft.com/office/drawing/2014/main" id="{46AC06F9-A91D-4908-E810-A3B1D59CA0AD}"/>
                    </a:ext>
                  </a:extLst>
                </p:cNvPr>
                <p:cNvGrpSpPr/>
                <p:nvPr/>
              </p:nvGrpSpPr>
              <p:grpSpPr bwMode="gray">
                <a:xfrm>
                  <a:off x="10970768" y="4507071"/>
                  <a:ext cx="180514" cy="304089"/>
                  <a:chOff x="333633" y="1013896"/>
                  <a:chExt cx="1018905" cy="1228561"/>
                </a:xfrm>
                <a:solidFill>
                  <a:srgbClr val="F8971D">
                    <a:alpha val="24797"/>
                  </a:srgbClr>
                </a:solidFill>
              </p:grpSpPr>
              <p:sp>
                <p:nvSpPr>
                  <p:cNvPr id="276" name="Rectangle 275">
                    <a:extLst>
                      <a:ext uri="{FF2B5EF4-FFF2-40B4-BE49-F238E27FC236}">
                        <a16:creationId xmlns:a16="http://schemas.microsoft.com/office/drawing/2014/main" id="{0C79CB2E-9057-3126-5CB1-225F2AA13D0D}"/>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77" name="Rectangle 276">
                    <a:extLst>
                      <a:ext uri="{FF2B5EF4-FFF2-40B4-BE49-F238E27FC236}">
                        <a16:creationId xmlns:a16="http://schemas.microsoft.com/office/drawing/2014/main" id="{C62E55C9-5AE5-8727-086F-2824BC843279}"/>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78" name="Rectangle 277">
                    <a:extLst>
                      <a:ext uri="{FF2B5EF4-FFF2-40B4-BE49-F238E27FC236}">
                        <a16:creationId xmlns:a16="http://schemas.microsoft.com/office/drawing/2014/main" id="{C1EA908E-379C-D970-7EEA-E571D737114C}"/>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79" name="Rectangle 278">
                    <a:extLst>
                      <a:ext uri="{FF2B5EF4-FFF2-40B4-BE49-F238E27FC236}">
                        <a16:creationId xmlns:a16="http://schemas.microsoft.com/office/drawing/2014/main" id="{8240FA68-9ECC-B329-A3A2-9A0FE6998704}"/>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80" name="Rectangle 279">
                    <a:extLst>
                      <a:ext uri="{FF2B5EF4-FFF2-40B4-BE49-F238E27FC236}">
                        <a16:creationId xmlns:a16="http://schemas.microsoft.com/office/drawing/2014/main" id="{4A7F5ADE-43D2-D4E0-7879-BE6656A047D5}"/>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81" name="Rectangle 280">
                    <a:extLst>
                      <a:ext uri="{FF2B5EF4-FFF2-40B4-BE49-F238E27FC236}">
                        <a16:creationId xmlns:a16="http://schemas.microsoft.com/office/drawing/2014/main" id="{AEBFF408-A89F-BA20-B988-062923CAD410}"/>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cxnSp>
              <p:nvCxnSpPr>
                <p:cNvPr id="275" name="Straight Arrow Connector 274">
                  <a:extLst>
                    <a:ext uri="{FF2B5EF4-FFF2-40B4-BE49-F238E27FC236}">
                      <a16:creationId xmlns:a16="http://schemas.microsoft.com/office/drawing/2014/main" id="{60CFB377-6DF5-E32F-B46D-61182C66AE91}"/>
                    </a:ext>
                  </a:extLst>
                </p:cNvPr>
                <p:cNvCxnSpPr>
                  <a:cxnSpLocks/>
                </p:cNvCxnSpPr>
                <p:nvPr/>
              </p:nvCxnSpPr>
              <p:spPr bwMode="gray">
                <a:xfrm flipV="1">
                  <a:off x="8186564" y="2113860"/>
                  <a:ext cx="3582240" cy="2983220"/>
                </a:xfrm>
                <a:prstGeom prst="straightConnector1">
                  <a:avLst/>
                </a:prstGeom>
                <a:noFill/>
                <a:ln w="76200" cap="rnd">
                  <a:gradFill>
                    <a:gsLst>
                      <a:gs pos="0">
                        <a:schemeClr val="accent6">
                          <a:alpha val="0"/>
                        </a:schemeClr>
                      </a:gs>
                      <a:gs pos="100000">
                        <a:schemeClr val="accent6"/>
                      </a:gs>
                    </a:gsLst>
                    <a:lin ang="5400000" scaled="1"/>
                  </a:gradFill>
                  <a:prstDash val="solid"/>
                  <a:round/>
                  <a:headEnd/>
                  <a:tailEnd type="triangle" w="med" len="sm"/>
                </a:ln>
                <a:effectLst/>
              </p:spPr>
            </p:cxnSp>
          </p:grpSp>
          <p:cxnSp>
            <p:nvCxnSpPr>
              <p:cNvPr id="239" name="Straight Arrow Connector 238">
                <a:extLst>
                  <a:ext uri="{FF2B5EF4-FFF2-40B4-BE49-F238E27FC236}">
                    <a16:creationId xmlns:a16="http://schemas.microsoft.com/office/drawing/2014/main" id="{07408B2C-3DF3-3739-35CE-10C86F66A7B4}"/>
                  </a:ext>
                </a:extLst>
              </p:cNvPr>
              <p:cNvCxnSpPr>
                <a:cxnSpLocks/>
              </p:cNvCxnSpPr>
              <p:nvPr/>
            </p:nvCxnSpPr>
            <p:spPr bwMode="gray">
              <a:xfrm>
                <a:off x="2017219" y="4339750"/>
                <a:ext cx="1908179" cy="1335282"/>
              </a:xfrm>
              <a:prstGeom prst="straightConnector1">
                <a:avLst/>
              </a:prstGeom>
              <a:noFill/>
              <a:ln w="76200" cap="rnd">
                <a:gradFill>
                  <a:gsLst>
                    <a:gs pos="0">
                      <a:schemeClr val="accent2"/>
                    </a:gs>
                    <a:gs pos="100000">
                      <a:schemeClr val="accent2">
                        <a:alpha val="21000"/>
                      </a:schemeClr>
                    </a:gs>
                  </a:gsLst>
                  <a:lin ang="5400000" scaled="1"/>
                </a:gradFill>
                <a:prstDash val="solid"/>
                <a:round/>
                <a:headEnd/>
                <a:tailEnd type="triangle" w="med" len="sm"/>
              </a:ln>
              <a:effectLst/>
            </p:spPr>
          </p:cxnSp>
        </p:grpSp>
        <p:sp>
          <p:nvSpPr>
            <p:cNvPr id="19" name="Rectangle: Rounded Corners 18">
              <a:extLst>
                <a:ext uri="{FF2B5EF4-FFF2-40B4-BE49-F238E27FC236}">
                  <a16:creationId xmlns:a16="http://schemas.microsoft.com/office/drawing/2014/main" id="{B04C7EB8-9297-0381-7FD0-5A179B90E527}"/>
                </a:ext>
              </a:extLst>
            </p:cNvPr>
            <p:cNvSpPr/>
            <p:nvPr/>
          </p:nvSpPr>
          <p:spPr bwMode="gray">
            <a:xfrm>
              <a:off x="5269583" y="1705680"/>
              <a:ext cx="6312817" cy="1247828"/>
            </a:xfrm>
            <a:prstGeom prst="roundRect">
              <a:avLst>
                <a:gd name="adj" fmla="val 7842"/>
              </a:avLst>
            </a:prstGeom>
            <a:solidFill>
              <a:schemeClr val="accent5">
                <a:alpha val="20000"/>
              </a:schemeClr>
            </a:solidFill>
            <a:ln w="28575" cap="flat" cmpd="sng" algn="ctr">
              <a:noFill/>
              <a:prstDash val="solid"/>
              <a:miter lim="800000"/>
              <a:headEnd type="none" w="med" len="med"/>
              <a:tailEnd type="none" w="med" len="med"/>
            </a:ln>
            <a:effectLst/>
          </p:spPr>
          <p:txBody>
            <a:bodyPr vert="horz" wrap="square" lIns="90000" tIns="46800" rIns="90000" bIns="468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1200"/>
                </a:spcAft>
                <a:buClr>
                  <a:srgbClr val="000000"/>
                </a:buClr>
                <a:buSzPct val="100000"/>
                <a:buFontTx/>
                <a:buNone/>
                <a:tabLst/>
                <a:defRPr/>
              </a:pPr>
              <a:r>
                <a:rPr kumimoji="0" lang="en-US" sz="1600" b="1" i="0" u="none" strike="noStrike" kern="1200" cap="none" spc="-25" normalizeH="0" baseline="0" noProof="0" dirty="0">
                  <a:ln>
                    <a:noFill/>
                  </a:ln>
                  <a:solidFill>
                    <a:schemeClr val="accent5"/>
                  </a:solidFill>
                  <a:effectLst/>
                  <a:uLnTx/>
                  <a:uFillTx/>
                  <a:latin typeface="Pfizer Tomorrow"/>
                  <a:ea typeface="+mn-ea"/>
                  <a:cs typeface="+mn-cs"/>
                </a:rPr>
                <a:t>Inflammaging</a:t>
              </a:r>
              <a:r>
                <a:rPr kumimoji="0" lang="en-US" sz="1600" b="1" i="0" u="none" strike="noStrike" kern="1200" cap="none" spc="-25" normalizeH="0" baseline="30000" noProof="0" dirty="0">
                  <a:ln>
                    <a:noFill/>
                  </a:ln>
                  <a:solidFill>
                    <a:schemeClr val="accent5"/>
                  </a:solidFill>
                  <a:effectLst/>
                  <a:uLnTx/>
                  <a:uFillTx/>
                  <a:latin typeface="Pfizer Tomorrow"/>
                  <a:ea typeface="+mn-ea"/>
                  <a:cs typeface="+mn-cs"/>
                </a:rPr>
                <a:t>1</a:t>
              </a:r>
            </a:p>
            <a:p>
              <a:pPr marL="173736" marR="0" lvl="0" indent="-173736" algn="l" defTabSz="914400" rtl="0" eaLnBrk="1" fontAlgn="base" latinLnBrk="0" hangingPunct="1">
                <a:lnSpc>
                  <a:spcPct val="100000"/>
                </a:lnSpc>
                <a:spcBef>
                  <a:spcPts val="0"/>
                </a:spcBef>
                <a:spcAft>
                  <a:spcPts val="1200"/>
                </a:spcAft>
                <a:buClr>
                  <a:srgbClr val="000000"/>
                </a:buClr>
                <a:buSzPct val="100000"/>
                <a:buFont typeface="Arial" panose="020B0604020202020204" pitchFamily="34" charset="0"/>
                <a:buChar char="•"/>
                <a:tabLst/>
                <a:defRPr/>
              </a:pPr>
              <a:r>
                <a:rPr lang="en-GB" sz="1400" dirty="0" err="1">
                  <a:solidFill>
                    <a:srgbClr val="000000"/>
                  </a:solidFill>
                  <a:latin typeface="Pfizer Diatype Office"/>
                </a:rPr>
                <a:t>İmmünosenesans</a:t>
              </a:r>
              <a:r>
                <a:rPr lang="en-GB" sz="1400" dirty="0">
                  <a:solidFill>
                    <a:srgbClr val="000000"/>
                  </a:solidFill>
                  <a:latin typeface="Pfizer Diatype Office"/>
                </a:rPr>
                <a:t> </a:t>
              </a:r>
              <a:r>
                <a:rPr lang="en-GB" sz="1400" dirty="0" err="1">
                  <a:solidFill>
                    <a:srgbClr val="000000"/>
                  </a:solidFill>
                  <a:latin typeface="Pfizer Diatype Office"/>
                </a:rPr>
                <a:t>ile</a:t>
              </a:r>
              <a:r>
                <a:rPr lang="en-GB" sz="1400" dirty="0">
                  <a:solidFill>
                    <a:srgbClr val="000000"/>
                  </a:solidFill>
                  <a:latin typeface="Pfizer Diatype Office"/>
                </a:rPr>
                <a:t> </a:t>
              </a:r>
              <a:r>
                <a:rPr lang="en-GB" sz="1400" dirty="0" err="1">
                  <a:solidFill>
                    <a:srgbClr val="000000"/>
                  </a:solidFill>
                  <a:latin typeface="Pfizer Diatype Office"/>
                </a:rPr>
                <a:t>ortaya</a:t>
              </a:r>
              <a:r>
                <a:rPr lang="en-GB" sz="1400" dirty="0">
                  <a:solidFill>
                    <a:srgbClr val="000000"/>
                  </a:solidFill>
                  <a:latin typeface="Pfizer Diatype Office"/>
                </a:rPr>
                <a:t> </a:t>
              </a:r>
              <a:r>
                <a:rPr lang="en-GB" sz="1400" dirty="0" err="1">
                  <a:solidFill>
                    <a:srgbClr val="000000"/>
                  </a:solidFill>
                  <a:latin typeface="Pfizer Diatype Office"/>
                </a:rPr>
                <a:t>çıkan</a:t>
              </a:r>
              <a:r>
                <a:rPr lang="en-GB" sz="1400" dirty="0">
                  <a:solidFill>
                    <a:srgbClr val="000000"/>
                  </a:solidFill>
                  <a:latin typeface="Pfizer Diatype Office"/>
                </a:rPr>
                <a:t> pro-</a:t>
              </a:r>
              <a:r>
                <a:rPr lang="en-GB" sz="1400" dirty="0" err="1">
                  <a:solidFill>
                    <a:srgbClr val="000000"/>
                  </a:solidFill>
                  <a:latin typeface="Pfizer Diatype Office"/>
                </a:rPr>
                <a:t>inflamatuar</a:t>
              </a:r>
              <a:r>
                <a:rPr lang="en-GB" sz="1400" dirty="0">
                  <a:solidFill>
                    <a:srgbClr val="000000"/>
                  </a:solidFill>
                  <a:latin typeface="Pfizer Diatype Office"/>
                </a:rPr>
                <a:t> </a:t>
              </a:r>
              <a:r>
                <a:rPr lang="en-GB" sz="1400" dirty="0" err="1">
                  <a:solidFill>
                    <a:srgbClr val="000000"/>
                  </a:solidFill>
                  <a:latin typeface="Pfizer Diatype Office"/>
                </a:rPr>
                <a:t>hücresel</a:t>
              </a:r>
              <a:r>
                <a:rPr lang="en-GB" sz="1400" dirty="0">
                  <a:solidFill>
                    <a:srgbClr val="000000"/>
                  </a:solidFill>
                  <a:latin typeface="Pfizer Diatype Office"/>
                </a:rPr>
                <a:t> </a:t>
              </a:r>
              <a:br>
                <a:rPr lang="en-GB" sz="1400" dirty="0">
                  <a:solidFill>
                    <a:srgbClr val="000000"/>
                  </a:solidFill>
                  <a:latin typeface="Pfizer Diatype Office"/>
                </a:rPr>
              </a:br>
              <a:r>
                <a:rPr lang="en-GB" sz="1400" dirty="0" err="1">
                  <a:solidFill>
                    <a:srgbClr val="000000"/>
                  </a:solidFill>
                  <a:latin typeface="Pfizer Diatype Office"/>
                </a:rPr>
                <a:t>fenotipten</a:t>
              </a:r>
              <a:r>
                <a:rPr lang="en-GB" sz="1400" dirty="0">
                  <a:solidFill>
                    <a:srgbClr val="000000"/>
                  </a:solidFill>
                  <a:latin typeface="Pfizer Diatype Office"/>
                </a:rPr>
                <a:t> </a:t>
              </a:r>
              <a:r>
                <a:rPr lang="en-GB" sz="1400" dirty="0" err="1">
                  <a:solidFill>
                    <a:srgbClr val="000000"/>
                  </a:solidFill>
                  <a:latin typeface="Pfizer Diatype Office"/>
                </a:rPr>
                <a:t>kaynaklandığı</a:t>
              </a:r>
              <a:r>
                <a:rPr lang="en-GB" sz="1400" dirty="0">
                  <a:solidFill>
                    <a:srgbClr val="000000"/>
                  </a:solidFill>
                  <a:latin typeface="Pfizer Diatype Office"/>
                </a:rPr>
                <a:t> </a:t>
              </a:r>
              <a:r>
                <a:rPr lang="en-GB" sz="1400" dirty="0" err="1">
                  <a:solidFill>
                    <a:srgbClr val="000000"/>
                  </a:solidFill>
                  <a:latin typeface="Pfizer Diatype Office"/>
                </a:rPr>
                <a:t>düşünülen</a:t>
              </a:r>
              <a:r>
                <a:rPr lang="en-GB" sz="1400" dirty="0">
                  <a:solidFill>
                    <a:srgbClr val="000000"/>
                  </a:solidFill>
                  <a:latin typeface="Pfizer Diatype Office"/>
                </a:rPr>
                <a:t> </a:t>
              </a:r>
              <a:r>
                <a:rPr lang="en-GB" sz="1400" dirty="0" err="1">
                  <a:solidFill>
                    <a:srgbClr val="000000"/>
                  </a:solidFill>
                  <a:latin typeface="Pfizer Diatype Office"/>
                </a:rPr>
                <a:t>kronik</a:t>
              </a:r>
              <a:r>
                <a:rPr lang="en-GB" sz="1400" dirty="0">
                  <a:solidFill>
                    <a:srgbClr val="000000"/>
                  </a:solidFill>
                  <a:latin typeface="Pfizer Diatype Office"/>
                </a:rPr>
                <a:t> </a:t>
              </a:r>
              <a:r>
                <a:rPr lang="en-GB" sz="1400" dirty="0" err="1">
                  <a:solidFill>
                    <a:srgbClr val="000000"/>
                  </a:solidFill>
                  <a:latin typeface="Pfizer Diatype Office"/>
                </a:rPr>
                <a:t>düşük</a:t>
              </a:r>
              <a:r>
                <a:rPr lang="en-GB" sz="1400" dirty="0">
                  <a:solidFill>
                    <a:srgbClr val="000000"/>
                  </a:solidFill>
                  <a:latin typeface="Pfizer Diatype Office"/>
                </a:rPr>
                <a:t> </a:t>
              </a:r>
              <a:r>
                <a:rPr lang="en-GB" sz="1400" dirty="0" err="1">
                  <a:solidFill>
                    <a:srgbClr val="000000"/>
                  </a:solidFill>
                  <a:latin typeface="Pfizer Diatype Office"/>
                </a:rPr>
                <a:t>dereceli</a:t>
              </a:r>
              <a:r>
                <a:rPr lang="en-GB" sz="1400" dirty="0">
                  <a:solidFill>
                    <a:srgbClr val="000000"/>
                  </a:solidFill>
                  <a:latin typeface="Pfizer Diatype Office"/>
                </a:rPr>
                <a:t> </a:t>
              </a:r>
              <a:br>
                <a:rPr lang="en-GB" sz="1400" dirty="0">
                  <a:solidFill>
                    <a:srgbClr val="000000"/>
                  </a:solidFill>
                  <a:latin typeface="Pfizer Diatype Office"/>
                </a:rPr>
              </a:br>
              <a:r>
                <a:rPr lang="en-GB" sz="1400" dirty="0" err="1">
                  <a:solidFill>
                    <a:srgbClr val="000000"/>
                  </a:solidFill>
                  <a:latin typeface="Pfizer Diatype Office"/>
                </a:rPr>
                <a:t>inflamatuvar</a:t>
              </a:r>
              <a:r>
                <a:rPr lang="en-GB" sz="1400" dirty="0">
                  <a:solidFill>
                    <a:srgbClr val="000000"/>
                  </a:solidFill>
                  <a:latin typeface="Pfizer Diatype Office"/>
                </a:rPr>
                <a:t> durum. </a:t>
              </a:r>
              <a:endParaRPr kumimoji="0" lang="en-US" sz="1400" b="0" i="0" u="none" strike="noStrike" kern="1200" cap="none" spc="0" normalizeH="0" baseline="30000" noProof="0" dirty="0">
                <a:ln>
                  <a:noFill/>
                </a:ln>
                <a:solidFill>
                  <a:srgbClr val="000000"/>
                </a:solidFill>
                <a:effectLst/>
                <a:uLnTx/>
                <a:uFillTx/>
                <a:latin typeface="Pfizer Diatype Office"/>
                <a:ea typeface="+mn-ea"/>
                <a:cs typeface="+mn-cs"/>
              </a:endParaRPr>
            </a:p>
          </p:txBody>
        </p:sp>
        <p:sp>
          <p:nvSpPr>
            <p:cNvPr id="20" name="Rectangle: Rounded Corners 19">
              <a:extLst>
                <a:ext uri="{FF2B5EF4-FFF2-40B4-BE49-F238E27FC236}">
                  <a16:creationId xmlns:a16="http://schemas.microsoft.com/office/drawing/2014/main" id="{9BFBB0CF-8B91-ABF8-CF06-28F73924E0B8}"/>
                </a:ext>
              </a:extLst>
            </p:cNvPr>
            <p:cNvSpPr/>
            <p:nvPr/>
          </p:nvSpPr>
          <p:spPr bwMode="gray">
            <a:xfrm>
              <a:off x="5268147" y="4315712"/>
              <a:ext cx="6312818" cy="1685198"/>
            </a:xfrm>
            <a:prstGeom prst="roundRect">
              <a:avLst>
                <a:gd name="adj" fmla="val 5807"/>
              </a:avLst>
            </a:prstGeom>
            <a:solidFill>
              <a:schemeClr val="accent6">
                <a:alpha val="20000"/>
              </a:schemeClr>
            </a:solidFill>
            <a:ln w="28575" cap="flat" cmpd="sng" algn="ctr">
              <a:noFill/>
              <a:prstDash val="solid"/>
              <a:miter lim="800000"/>
              <a:headEnd type="none" w="med" len="med"/>
              <a:tailEnd type="none" w="med" len="med"/>
            </a:ln>
            <a:effectLst/>
          </p:spPr>
          <p:txBody>
            <a:bodyPr vert="horz" wrap="square" lIns="90000" tIns="46800" rIns="90000" bIns="468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1200"/>
                </a:spcAft>
                <a:buClr>
                  <a:srgbClr val="000000"/>
                </a:buClr>
                <a:buSzPct val="100000"/>
                <a:buFontTx/>
                <a:buNone/>
                <a:tabLst/>
                <a:defRPr/>
              </a:pPr>
              <a:r>
                <a:rPr kumimoji="0" lang="en-US" sz="1600" b="1" i="0" u="none" strike="noStrike" kern="1200" cap="none" spc="-25" normalizeH="0" baseline="0" noProof="0" err="1">
                  <a:ln>
                    <a:noFill/>
                  </a:ln>
                  <a:solidFill>
                    <a:schemeClr val="accent6"/>
                  </a:solidFill>
                  <a:effectLst/>
                  <a:uLnTx/>
                  <a:uFillTx/>
                  <a:latin typeface="Pfizer Tomorrow"/>
                  <a:ea typeface="+mn-ea"/>
                  <a:cs typeface="+mn-cs"/>
                </a:rPr>
                <a:t>Kronik</a:t>
              </a:r>
              <a:r>
                <a:rPr kumimoji="0" lang="en-US" sz="1600" b="1" i="0" u="none" strike="noStrike" kern="1200" cap="none" spc="-25" normalizeH="0" baseline="0" noProof="0">
                  <a:ln>
                    <a:noFill/>
                  </a:ln>
                  <a:solidFill>
                    <a:schemeClr val="accent6"/>
                  </a:solidFill>
                  <a:effectLst/>
                  <a:uLnTx/>
                  <a:uFillTx/>
                  <a:latin typeface="Pfizer Tomorrow"/>
                  <a:ea typeface="+mn-ea"/>
                  <a:cs typeface="+mn-cs"/>
                </a:rPr>
                <a:t> </a:t>
              </a:r>
              <a:r>
                <a:rPr kumimoji="0" lang="en-US" sz="1600" b="1" i="0" u="none" strike="noStrike" kern="1200" cap="none" spc="-25" normalizeH="0" baseline="0" noProof="0" err="1">
                  <a:ln>
                    <a:noFill/>
                  </a:ln>
                  <a:solidFill>
                    <a:schemeClr val="accent6"/>
                  </a:solidFill>
                  <a:effectLst/>
                  <a:uLnTx/>
                  <a:uFillTx/>
                  <a:latin typeface="Pfizer Tomorrow"/>
                  <a:ea typeface="+mn-ea"/>
                  <a:cs typeface="+mn-cs"/>
                </a:rPr>
                <a:t>tıbbi</a:t>
              </a:r>
              <a:r>
                <a:rPr kumimoji="0" lang="en-US" sz="1600" b="1" i="0" u="none" strike="noStrike" kern="1200" cap="none" spc="-25" normalizeH="0" baseline="0" noProof="0">
                  <a:ln>
                    <a:noFill/>
                  </a:ln>
                  <a:solidFill>
                    <a:schemeClr val="accent6"/>
                  </a:solidFill>
                  <a:effectLst/>
                  <a:uLnTx/>
                  <a:uFillTx/>
                  <a:latin typeface="Pfizer Tomorrow"/>
                  <a:ea typeface="+mn-ea"/>
                  <a:cs typeface="+mn-cs"/>
                </a:rPr>
                <a:t> </a:t>
              </a:r>
              <a:r>
                <a:rPr kumimoji="0" lang="en-US" sz="1600" b="1" i="0" u="none" strike="noStrike" kern="1200" cap="none" spc="-25" normalizeH="0" baseline="0" noProof="0" err="1">
                  <a:ln>
                    <a:noFill/>
                  </a:ln>
                  <a:solidFill>
                    <a:schemeClr val="accent6"/>
                  </a:solidFill>
                  <a:effectLst/>
                  <a:uLnTx/>
                  <a:uFillTx/>
                  <a:latin typeface="Pfizer Tomorrow"/>
                  <a:ea typeface="+mn-ea"/>
                  <a:cs typeface="+mn-cs"/>
                </a:rPr>
                <a:t>durumlar</a:t>
              </a:r>
              <a:r>
                <a:rPr kumimoji="0" lang="en-US" sz="1600" b="1" i="0" u="none" strike="noStrike" kern="1200" cap="none" spc="-25" normalizeH="0" baseline="0" noProof="0">
                  <a:ln>
                    <a:noFill/>
                  </a:ln>
                  <a:solidFill>
                    <a:schemeClr val="accent6"/>
                  </a:solidFill>
                  <a:effectLst/>
                  <a:uLnTx/>
                  <a:uFillTx/>
                  <a:latin typeface="Pfizer Tomorrow"/>
                  <a:ea typeface="+mn-ea"/>
                  <a:cs typeface="+mn-cs"/>
                </a:rPr>
                <a:t> </a:t>
              </a:r>
              <a:r>
                <a:rPr kumimoji="0" lang="en-US" sz="1600" b="1" i="0" u="none" strike="noStrike" kern="1200" cap="none" spc="-25" normalizeH="0" baseline="0" noProof="0" err="1">
                  <a:ln>
                    <a:noFill/>
                  </a:ln>
                  <a:solidFill>
                    <a:schemeClr val="accent6"/>
                  </a:solidFill>
                  <a:effectLst/>
                  <a:uLnTx/>
                  <a:uFillTx/>
                  <a:latin typeface="Pfizer Tomorrow"/>
                  <a:ea typeface="+mn-ea"/>
                  <a:cs typeface="+mn-cs"/>
                </a:rPr>
                <a:t>ve</a:t>
              </a:r>
              <a:r>
                <a:rPr kumimoji="0" lang="en-US" sz="1600" b="1" i="0" u="none" strike="noStrike" kern="1200" cap="none" spc="-25" normalizeH="0" baseline="0" noProof="0">
                  <a:ln>
                    <a:noFill/>
                  </a:ln>
                  <a:solidFill>
                    <a:schemeClr val="accent6"/>
                  </a:solidFill>
                  <a:effectLst/>
                  <a:uLnTx/>
                  <a:uFillTx/>
                  <a:latin typeface="Pfizer Tomorrow"/>
                  <a:ea typeface="+mn-ea"/>
                  <a:cs typeface="+mn-cs"/>
                </a:rPr>
                <a:t> </a:t>
              </a:r>
              <a:r>
                <a:rPr kumimoji="0" lang="en-US" sz="1600" b="1" i="0" u="none" strike="noStrike" kern="1200" cap="none" spc="-25" normalizeH="0" baseline="0" noProof="0" err="1">
                  <a:ln>
                    <a:noFill/>
                  </a:ln>
                  <a:solidFill>
                    <a:schemeClr val="accent6"/>
                  </a:solidFill>
                  <a:effectLst/>
                  <a:uLnTx/>
                  <a:uFillTx/>
                  <a:latin typeface="Pfizer Tomorrow"/>
                  <a:ea typeface="+mn-ea"/>
                  <a:cs typeface="+mn-cs"/>
                </a:rPr>
                <a:t>tedavileri</a:t>
              </a:r>
              <a:r>
                <a:rPr lang="en-US" sz="1600" b="1" spc="-25" baseline="30000">
                  <a:solidFill>
                    <a:schemeClr val="accent6"/>
                  </a:solidFill>
                  <a:latin typeface="Pfizer Tomorrow"/>
                </a:rPr>
                <a:t>1</a:t>
              </a:r>
              <a:endParaRPr kumimoji="0" lang="en-US" sz="1600" b="1" i="0" u="none" strike="noStrike" kern="1200" cap="none" spc="-25" normalizeH="0" baseline="0" noProof="0">
                <a:ln>
                  <a:noFill/>
                </a:ln>
                <a:solidFill>
                  <a:schemeClr val="accent6"/>
                </a:solidFill>
                <a:effectLst/>
                <a:uLnTx/>
                <a:uFillTx/>
                <a:latin typeface="Pfizer Tomorrow"/>
                <a:ea typeface="+mn-ea"/>
                <a:cs typeface="+mn-cs"/>
              </a:endParaRPr>
            </a:p>
            <a:p>
              <a:pPr marL="173736" marR="0" lvl="0" indent="-173736" algn="l" defTabSz="914400" rtl="0" eaLnBrk="1" fontAlgn="base" latinLnBrk="0" hangingPunct="1">
                <a:lnSpc>
                  <a:spcPct val="100000"/>
                </a:lnSpc>
                <a:spcBef>
                  <a:spcPts val="0"/>
                </a:spcBef>
                <a:spcAft>
                  <a:spcPts val="1200"/>
                </a:spcAft>
                <a:buClr>
                  <a:srgbClr val="000000"/>
                </a:buClr>
                <a:buSzPct val="100000"/>
                <a:buFont typeface="Arial" panose="020B0604020202020204" pitchFamily="34" charset="0"/>
                <a:buChar char="•"/>
                <a:tabLst/>
                <a:defRPr/>
              </a:pP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Diyabet</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ve</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böbrek</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hastalıkları</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gibi</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kronik</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durumlar</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br>
                <a:rPr kumimoji="0" lang="en-GB" sz="1400" b="0" i="0" u="none" strike="noStrike" kern="1200" cap="none" spc="0" normalizeH="0" baseline="0" noProof="0">
                  <a:ln>
                    <a:noFill/>
                  </a:ln>
                  <a:solidFill>
                    <a:srgbClr val="000000"/>
                  </a:solidFill>
                  <a:effectLst/>
                  <a:uLnTx/>
                  <a:uFillTx/>
                  <a:latin typeface="Pfizer Diatype Office"/>
                  <a:ea typeface="+mn-ea"/>
                  <a:cs typeface="+mn-cs"/>
                </a:rPr>
              </a:b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bağışıklık</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sistemini</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baskılar</a:t>
              </a:r>
              <a:r>
                <a:rPr lang="en-GB" sz="1400">
                  <a:solidFill>
                    <a:srgbClr val="000000"/>
                  </a:solidFill>
                  <a:latin typeface="Pfizer Diatype Office"/>
                </a:rPr>
                <a:t>.</a:t>
              </a:r>
              <a:endParaRPr kumimoji="0" lang="en-GB" sz="1400" b="0" i="0" u="none" strike="noStrike" kern="1200" cap="none" spc="0" normalizeH="0" baseline="0" noProof="0">
                <a:ln>
                  <a:noFill/>
                </a:ln>
                <a:solidFill>
                  <a:srgbClr val="000000"/>
                </a:solidFill>
                <a:effectLst/>
                <a:uLnTx/>
                <a:uFillTx/>
                <a:latin typeface="Pfizer Diatype Office"/>
                <a:ea typeface="+mn-ea"/>
                <a:cs typeface="+mn-cs"/>
              </a:endParaRPr>
            </a:p>
            <a:p>
              <a:pPr marL="173736" marR="0" lvl="0" indent="-173736" algn="l" defTabSz="914400" rtl="0" eaLnBrk="1" fontAlgn="base" latinLnBrk="0" hangingPunct="1">
                <a:lnSpc>
                  <a:spcPct val="100000"/>
                </a:lnSpc>
                <a:spcBef>
                  <a:spcPts val="0"/>
                </a:spcBef>
                <a:spcAft>
                  <a:spcPts val="1200"/>
                </a:spcAft>
                <a:buClr>
                  <a:srgbClr val="000000"/>
                </a:buClr>
                <a:buSzPct val="100000"/>
                <a:buFont typeface="Arial" panose="020B0604020202020204" pitchFamily="34" charset="0"/>
                <a:buChar char="•"/>
                <a:tabLst/>
                <a:defRPr/>
              </a:pPr>
              <a:r>
                <a:rPr lang="en-GB" sz="1400" err="1">
                  <a:solidFill>
                    <a:srgbClr val="000000"/>
                  </a:solidFill>
                  <a:latin typeface="Pfizer Diatype Office"/>
                </a:rPr>
                <a:t>Tıbbi</a:t>
              </a:r>
              <a:r>
                <a:rPr lang="en-GB" sz="1400">
                  <a:solidFill>
                    <a:srgbClr val="000000"/>
                  </a:solidFill>
                  <a:latin typeface="Pfizer Diatype Office"/>
                </a:rPr>
                <a:t> </a:t>
              </a:r>
              <a:r>
                <a:rPr lang="en-GB" sz="1400" err="1">
                  <a:solidFill>
                    <a:srgbClr val="000000"/>
                  </a:solidFill>
                  <a:latin typeface="Pfizer Diatype Office"/>
                </a:rPr>
                <a:t>girişim</a:t>
              </a:r>
              <a:r>
                <a:rPr lang="en-GB" sz="1400">
                  <a:solidFill>
                    <a:srgbClr val="000000"/>
                  </a:solidFill>
                  <a:latin typeface="Pfizer Diatype Office"/>
                </a:rPr>
                <a:t> </a:t>
              </a:r>
              <a:r>
                <a:rPr lang="en-GB" sz="1400" err="1">
                  <a:solidFill>
                    <a:srgbClr val="000000"/>
                  </a:solidFill>
                  <a:latin typeface="Pfizer Diatype Office"/>
                </a:rPr>
                <a:t>gerektiren</a:t>
              </a:r>
              <a:r>
                <a:rPr lang="en-GB" sz="1400">
                  <a:solidFill>
                    <a:srgbClr val="000000"/>
                  </a:solidFill>
                  <a:latin typeface="Pfizer Diatype Office"/>
                </a:rPr>
                <a:t> </a:t>
              </a:r>
              <a:r>
                <a:rPr lang="en-GB" sz="1400" err="1">
                  <a:solidFill>
                    <a:srgbClr val="000000"/>
                  </a:solidFill>
                  <a:latin typeface="Pfizer Diatype Office"/>
                </a:rPr>
                <a:t>veya</a:t>
              </a:r>
              <a:r>
                <a:rPr lang="en-GB" sz="1400">
                  <a:solidFill>
                    <a:srgbClr val="000000"/>
                  </a:solidFill>
                  <a:latin typeface="Pfizer Diatype Office"/>
                </a:rPr>
                <a:t> </a:t>
              </a:r>
              <a:r>
                <a:rPr lang="en-GB" sz="1400" err="1">
                  <a:solidFill>
                    <a:srgbClr val="000000"/>
                  </a:solidFill>
                  <a:latin typeface="Pfizer Diatype Office"/>
                </a:rPr>
                <a:t>çoklu</a:t>
              </a:r>
              <a:r>
                <a:rPr lang="en-GB" sz="1400">
                  <a:solidFill>
                    <a:srgbClr val="000000"/>
                  </a:solidFill>
                  <a:latin typeface="Pfizer Diatype Office"/>
                </a:rPr>
                <a:t> </a:t>
              </a:r>
              <a:r>
                <a:rPr lang="en-GB" sz="1400" err="1">
                  <a:solidFill>
                    <a:srgbClr val="000000"/>
                  </a:solidFill>
                  <a:latin typeface="Pfizer Diatype Office"/>
                </a:rPr>
                <a:t>ilaç</a:t>
              </a:r>
              <a:r>
                <a:rPr lang="en-GB" sz="1400">
                  <a:solidFill>
                    <a:srgbClr val="000000"/>
                  </a:solidFill>
                  <a:latin typeface="Pfizer Diatype Office"/>
                </a:rPr>
                <a:t> </a:t>
              </a:r>
              <a:r>
                <a:rPr lang="en-GB" sz="1400" err="1">
                  <a:solidFill>
                    <a:srgbClr val="000000"/>
                  </a:solidFill>
                  <a:latin typeface="Pfizer Diatype Office"/>
                </a:rPr>
                <a:t>kullanımı</a:t>
              </a:r>
              <a:r>
                <a:rPr lang="en-GB" sz="1400">
                  <a:solidFill>
                    <a:srgbClr val="000000"/>
                  </a:solidFill>
                  <a:latin typeface="Pfizer Diatype Office"/>
                </a:rPr>
                <a:t> </a:t>
              </a:r>
              <a:r>
                <a:rPr lang="en-GB" sz="1400" err="1">
                  <a:solidFill>
                    <a:srgbClr val="000000"/>
                  </a:solidFill>
                  <a:latin typeface="Pfizer Diatype Office"/>
                </a:rPr>
                <a:t>ile</a:t>
              </a:r>
              <a:r>
                <a:rPr lang="en-GB" sz="1400">
                  <a:solidFill>
                    <a:srgbClr val="000000"/>
                  </a:solidFill>
                  <a:latin typeface="Pfizer Diatype Office"/>
                </a:rPr>
                <a:t> </a:t>
              </a:r>
              <a:r>
                <a:rPr lang="en-GB" sz="1400" err="1">
                  <a:solidFill>
                    <a:srgbClr val="000000"/>
                  </a:solidFill>
                  <a:latin typeface="Pfizer Diatype Office"/>
                </a:rPr>
                <a:t>seyreden</a:t>
              </a:r>
              <a:r>
                <a:rPr lang="en-GB" sz="1400">
                  <a:solidFill>
                    <a:srgbClr val="000000"/>
                  </a:solidFill>
                  <a:latin typeface="Pfizer Diatype Office"/>
                </a:rPr>
                <a:t> </a:t>
              </a:r>
              <a:r>
                <a:rPr lang="en-GB" sz="1400" err="1">
                  <a:solidFill>
                    <a:srgbClr val="000000"/>
                  </a:solidFill>
                  <a:latin typeface="Pfizer Diatype Office"/>
                </a:rPr>
                <a:t>multimorbidite</a:t>
              </a:r>
              <a:r>
                <a:rPr lang="en-GB" sz="1400">
                  <a:solidFill>
                    <a:srgbClr val="000000"/>
                  </a:solidFill>
                  <a:latin typeface="Pfizer Diatype Office"/>
                </a:rPr>
                <a:t>, </a:t>
              </a:r>
              <a:r>
                <a:rPr lang="en-GB" sz="1400" err="1">
                  <a:solidFill>
                    <a:srgbClr val="000000"/>
                  </a:solidFill>
                  <a:latin typeface="Pfizer Diatype Office"/>
                </a:rPr>
                <a:t>bazı</a:t>
              </a:r>
              <a:r>
                <a:rPr lang="en-GB" sz="1400">
                  <a:solidFill>
                    <a:srgbClr val="000000"/>
                  </a:solidFill>
                  <a:latin typeface="Pfizer Diatype Office"/>
                </a:rPr>
                <a:t> </a:t>
              </a:r>
              <a:r>
                <a:rPr lang="en-GB" sz="1400" err="1">
                  <a:solidFill>
                    <a:srgbClr val="000000"/>
                  </a:solidFill>
                  <a:latin typeface="Pfizer Diatype Office"/>
                </a:rPr>
                <a:t>enfeksiyon</a:t>
              </a:r>
              <a:r>
                <a:rPr lang="en-GB" sz="1400">
                  <a:solidFill>
                    <a:srgbClr val="000000"/>
                  </a:solidFill>
                  <a:latin typeface="Pfizer Diatype Office"/>
                </a:rPr>
                <a:t> </a:t>
              </a:r>
              <a:r>
                <a:rPr lang="en-GB" sz="1400" err="1">
                  <a:solidFill>
                    <a:srgbClr val="000000"/>
                  </a:solidFill>
                  <a:latin typeface="Pfizer Diatype Office"/>
                </a:rPr>
                <a:t>risklerini</a:t>
              </a:r>
              <a:r>
                <a:rPr lang="en-GB" sz="1400">
                  <a:solidFill>
                    <a:srgbClr val="000000"/>
                  </a:solidFill>
                  <a:latin typeface="Pfizer Diatype Office"/>
                </a:rPr>
                <a:t> </a:t>
              </a:r>
              <a:r>
                <a:rPr lang="en-GB" sz="1400" err="1">
                  <a:solidFill>
                    <a:srgbClr val="000000"/>
                  </a:solidFill>
                  <a:latin typeface="Pfizer Diatype Office"/>
                </a:rPr>
                <a:t>artırabilir</a:t>
              </a:r>
              <a:r>
                <a:rPr lang="en-GB" sz="1400">
                  <a:solidFill>
                    <a:srgbClr val="000000"/>
                  </a:solidFill>
                  <a:latin typeface="Pfizer Diatype Office"/>
                </a:rPr>
                <a:t>. </a:t>
              </a:r>
              <a:endParaRPr kumimoji="0" lang="en-GB" sz="14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22" name="Rectangle: Rounded Corners 21">
              <a:extLst>
                <a:ext uri="{FF2B5EF4-FFF2-40B4-BE49-F238E27FC236}">
                  <a16:creationId xmlns:a16="http://schemas.microsoft.com/office/drawing/2014/main" id="{E154CF7C-8733-582A-4F1E-5F5F31D8832F}"/>
                </a:ext>
              </a:extLst>
            </p:cNvPr>
            <p:cNvSpPr/>
            <p:nvPr/>
          </p:nvSpPr>
          <p:spPr bwMode="gray">
            <a:xfrm>
              <a:off x="5269583" y="3142309"/>
              <a:ext cx="6311381" cy="984601"/>
            </a:xfrm>
            <a:prstGeom prst="roundRect">
              <a:avLst>
                <a:gd name="adj" fmla="val 9939"/>
              </a:avLst>
            </a:prstGeom>
            <a:solidFill>
              <a:srgbClr val="E0F5FF"/>
            </a:solidFill>
            <a:ln w="28575" cap="flat" cmpd="sng" algn="ctr">
              <a:noFill/>
              <a:prstDash val="solid"/>
              <a:miter lim="800000"/>
              <a:headEnd type="none" w="med" len="med"/>
              <a:tailEnd type="none" w="med" len="med"/>
            </a:ln>
            <a:effectLst/>
          </p:spPr>
          <p:txBody>
            <a:bodyPr vert="horz" wrap="square" lIns="90000" tIns="46800" rIns="90000" bIns="46800" numCol="1" rtlCol="0" anchor="t" anchorCtr="0" compatLnSpc="1">
              <a:prstTxWarp prst="textNoShape">
                <a:avLst/>
              </a:prstTxWarp>
              <a:noAutofit/>
            </a:bodyPr>
            <a:lstStyle/>
            <a:p>
              <a:pPr defTabSz="914400" fontAlgn="base">
                <a:spcAft>
                  <a:spcPts val="600"/>
                </a:spcAft>
                <a:buClr>
                  <a:srgbClr val="000000"/>
                </a:buClr>
                <a:buSzPct val="100000"/>
              </a:pPr>
              <a:r>
                <a:rPr lang="en-US" sz="1600" b="1" spc="-25">
                  <a:solidFill>
                    <a:schemeClr val="accent2"/>
                  </a:solidFill>
                  <a:latin typeface="Pfizer Tomorrow"/>
                </a:rPr>
                <a:t>Yaşa </a:t>
              </a:r>
              <a:r>
                <a:rPr lang="en-US" sz="1600" b="1" spc="-25" err="1">
                  <a:solidFill>
                    <a:schemeClr val="accent2"/>
                  </a:solidFill>
                  <a:latin typeface="Pfizer Tomorrow"/>
                </a:rPr>
                <a:t>bağlı</a:t>
              </a:r>
              <a:r>
                <a:rPr lang="en-US" sz="1600" b="1" spc="-25">
                  <a:solidFill>
                    <a:schemeClr val="accent2"/>
                  </a:solidFill>
                  <a:latin typeface="Pfizer Tomorrow"/>
                </a:rPr>
                <a:t> </a:t>
              </a:r>
              <a:r>
                <a:rPr lang="en-US" sz="1600" b="1" spc="-25" err="1">
                  <a:solidFill>
                    <a:schemeClr val="accent2"/>
                  </a:solidFill>
                  <a:latin typeface="Pfizer Tomorrow"/>
                </a:rPr>
                <a:t>ilgili</a:t>
              </a:r>
              <a:r>
                <a:rPr lang="en-US" sz="1600" b="1" spc="-25">
                  <a:solidFill>
                    <a:schemeClr val="accent2"/>
                  </a:solidFill>
                  <a:latin typeface="Pfizer Tomorrow"/>
                </a:rPr>
                <a:t> değişiklikler</a:t>
              </a:r>
              <a:r>
                <a:rPr lang="en-US" sz="1600" b="1" spc="-25" baseline="30000">
                  <a:solidFill>
                    <a:schemeClr val="accent2"/>
                  </a:solidFill>
                  <a:latin typeface="Pfizer Tomorrow"/>
                </a:rPr>
                <a:t>1</a:t>
              </a:r>
            </a:p>
            <a:p>
              <a:pPr marL="173736" indent="-173736" defTabSz="914400" fontAlgn="base">
                <a:spcAft>
                  <a:spcPts val="1200"/>
                </a:spcAft>
                <a:buClr>
                  <a:srgbClr val="000000"/>
                </a:buClr>
                <a:buSzPct val="100000"/>
                <a:buFont typeface="Arial" panose="020B0604020202020204" pitchFamily="34" charset="0"/>
                <a:buChar char="•"/>
                <a:defRPr/>
              </a:pPr>
              <a:r>
                <a:rPr lang="en-GB" sz="1400" err="1">
                  <a:solidFill>
                    <a:srgbClr val="000000"/>
                  </a:solidFill>
                  <a:latin typeface="Pfizer Diatype Office"/>
                </a:rPr>
                <a:t>Azalmış</a:t>
              </a:r>
              <a:r>
                <a:rPr lang="en-GB" sz="1400">
                  <a:solidFill>
                    <a:srgbClr val="000000"/>
                  </a:solidFill>
                  <a:latin typeface="Pfizer Diatype Office"/>
                </a:rPr>
                <a:t> </a:t>
              </a:r>
              <a:r>
                <a:rPr lang="en-GB" sz="1400" err="1">
                  <a:solidFill>
                    <a:srgbClr val="000000"/>
                  </a:solidFill>
                  <a:latin typeface="Pfizer Diatype Office"/>
                </a:rPr>
                <a:t>fiziksel</a:t>
              </a:r>
              <a:r>
                <a:rPr lang="en-GB" sz="1400">
                  <a:solidFill>
                    <a:srgbClr val="000000"/>
                  </a:solidFill>
                  <a:latin typeface="Pfizer Diatype Office"/>
                </a:rPr>
                <a:t> </a:t>
              </a:r>
              <a:r>
                <a:rPr lang="en-GB" sz="1400" err="1">
                  <a:solidFill>
                    <a:srgbClr val="000000"/>
                  </a:solidFill>
                  <a:latin typeface="Pfizer Diatype Office"/>
                </a:rPr>
                <a:t>bariyerleri</a:t>
              </a:r>
              <a:r>
                <a:rPr lang="en-GB" sz="1400">
                  <a:solidFill>
                    <a:srgbClr val="000000"/>
                  </a:solidFill>
                  <a:latin typeface="Pfizer Diatype Office"/>
                </a:rPr>
                <a:t> (</a:t>
              </a:r>
              <a:r>
                <a:rPr lang="en-GB" sz="1400" err="1">
                  <a:solidFill>
                    <a:srgbClr val="000000"/>
                  </a:solidFill>
                  <a:latin typeface="Pfizer Diatype Office"/>
                </a:rPr>
                <a:t>örn</a:t>
              </a:r>
              <a:r>
                <a:rPr lang="en-GB" sz="1400">
                  <a:solidFill>
                    <a:srgbClr val="000000"/>
                  </a:solidFill>
                  <a:latin typeface="Pfizer Diatype Office"/>
                </a:rPr>
                <a:t>., </a:t>
              </a:r>
              <a:r>
                <a:rPr lang="en-GB" sz="1400" err="1">
                  <a:solidFill>
                    <a:srgbClr val="000000"/>
                  </a:solidFill>
                  <a:latin typeface="Pfizer Diatype Office"/>
                </a:rPr>
                <a:t>cilt</a:t>
              </a:r>
              <a:r>
                <a:rPr lang="en-GB" sz="1400">
                  <a:solidFill>
                    <a:srgbClr val="000000"/>
                  </a:solidFill>
                  <a:latin typeface="Pfizer Diatype Office"/>
                </a:rPr>
                <a:t>), </a:t>
              </a:r>
              <a:r>
                <a:rPr lang="en-GB" sz="1400" err="1">
                  <a:solidFill>
                    <a:srgbClr val="000000"/>
                  </a:solidFill>
                  <a:latin typeface="Pfizer Diatype Office"/>
                </a:rPr>
                <a:t>kırılganlıkta</a:t>
              </a:r>
              <a:r>
                <a:rPr lang="en-GB" sz="1400">
                  <a:solidFill>
                    <a:srgbClr val="000000"/>
                  </a:solidFill>
                  <a:latin typeface="Pfizer Diatype Office"/>
                </a:rPr>
                <a:t> </a:t>
              </a:r>
              <a:r>
                <a:rPr lang="en-GB" sz="1400" err="1">
                  <a:solidFill>
                    <a:srgbClr val="000000"/>
                  </a:solidFill>
                  <a:latin typeface="Pfizer Diatype Office"/>
                </a:rPr>
                <a:t>zayıflamış</a:t>
              </a:r>
              <a:r>
                <a:rPr lang="en-GB" sz="1400">
                  <a:solidFill>
                    <a:srgbClr val="000000"/>
                  </a:solidFill>
                  <a:latin typeface="Pfizer Diatype Office"/>
                </a:rPr>
                <a:t> </a:t>
              </a:r>
              <a:r>
                <a:rPr lang="en-GB" sz="1400" err="1">
                  <a:solidFill>
                    <a:srgbClr val="000000"/>
                  </a:solidFill>
                  <a:latin typeface="Pfizer Diatype Office"/>
                </a:rPr>
                <a:t>öksürük</a:t>
              </a:r>
              <a:r>
                <a:rPr lang="en-GB" sz="1400">
                  <a:solidFill>
                    <a:srgbClr val="000000"/>
                  </a:solidFill>
                  <a:latin typeface="Pfizer Diatype Office"/>
                </a:rPr>
                <a:t> </a:t>
              </a:r>
              <a:r>
                <a:rPr lang="en-GB" sz="1400" err="1">
                  <a:solidFill>
                    <a:srgbClr val="000000"/>
                  </a:solidFill>
                  <a:latin typeface="Pfizer Diatype Office"/>
                </a:rPr>
                <a:t>refleksini</a:t>
              </a:r>
              <a:r>
                <a:rPr lang="en-GB" sz="1400">
                  <a:solidFill>
                    <a:srgbClr val="000000"/>
                  </a:solidFill>
                  <a:latin typeface="Pfizer Diatype Office"/>
                </a:rPr>
                <a:t> </a:t>
              </a:r>
              <a:r>
                <a:rPr lang="en-GB" sz="1400" err="1">
                  <a:solidFill>
                    <a:srgbClr val="000000"/>
                  </a:solidFill>
                  <a:latin typeface="Pfizer Diatype Office"/>
                </a:rPr>
                <a:t>ve</a:t>
              </a:r>
              <a:r>
                <a:rPr lang="en-GB" sz="1400">
                  <a:solidFill>
                    <a:srgbClr val="000000"/>
                  </a:solidFill>
                  <a:latin typeface="Pfizer Diatype Office"/>
                </a:rPr>
                <a:t> </a:t>
              </a:r>
              <a:r>
                <a:rPr lang="en-GB" sz="1400" err="1">
                  <a:solidFill>
                    <a:srgbClr val="000000"/>
                  </a:solidFill>
                  <a:latin typeface="Pfizer Diatype Office"/>
                </a:rPr>
                <a:t>mikrobiyota</a:t>
              </a:r>
              <a:r>
                <a:rPr lang="en-GB" sz="1400">
                  <a:solidFill>
                    <a:srgbClr val="000000"/>
                  </a:solidFill>
                  <a:latin typeface="Pfizer Diatype Office"/>
                </a:rPr>
                <a:t> </a:t>
              </a:r>
              <a:r>
                <a:rPr lang="en-GB" sz="1400" err="1">
                  <a:solidFill>
                    <a:srgbClr val="000000"/>
                  </a:solidFill>
                  <a:latin typeface="Pfizer Diatype Office"/>
                </a:rPr>
                <a:t>değişikliklerini</a:t>
              </a:r>
              <a:r>
                <a:rPr lang="en-GB" sz="1400">
                  <a:solidFill>
                    <a:srgbClr val="000000"/>
                  </a:solidFill>
                  <a:latin typeface="Pfizer Diatype Office"/>
                </a:rPr>
                <a:t> </a:t>
              </a:r>
              <a:r>
                <a:rPr lang="en-GB" sz="1400" err="1">
                  <a:solidFill>
                    <a:srgbClr val="000000"/>
                  </a:solidFill>
                  <a:latin typeface="Pfizer Diatype Office"/>
                </a:rPr>
                <a:t>içerir</a:t>
              </a:r>
              <a:r>
                <a:rPr lang="en-GB" sz="1400">
                  <a:solidFill>
                    <a:srgbClr val="000000"/>
                  </a:solidFill>
                  <a:latin typeface="Pfizer Diatype Office"/>
                </a:rPr>
                <a:t>.  </a:t>
              </a:r>
              <a:endParaRPr lang="en-US" sz="1600" b="1" spc="-25">
                <a:solidFill>
                  <a:srgbClr val="0000C9"/>
                </a:solidFill>
                <a:latin typeface="Pfizer Tomorrow"/>
              </a:endParaRPr>
            </a:p>
          </p:txBody>
        </p:sp>
        <p:grpSp>
          <p:nvGrpSpPr>
            <p:cNvPr id="31" name="Group 30">
              <a:extLst>
                <a:ext uri="{FF2B5EF4-FFF2-40B4-BE49-F238E27FC236}">
                  <a16:creationId xmlns:a16="http://schemas.microsoft.com/office/drawing/2014/main" id="{C5D45669-34E4-A424-3BBF-4A9F33F07FC7}"/>
                </a:ext>
              </a:extLst>
            </p:cNvPr>
            <p:cNvGrpSpPr/>
            <p:nvPr/>
          </p:nvGrpSpPr>
          <p:grpSpPr>
            <a:xfrm>
              <a:off x="10805989" y="2022113"/>
              <a:ext cx="577121" cy="549111"/>
              <a:chOff x="11561991" y="1522384"/>
              <a:chExt cx="577121" cy="577121"/>
            </a:xfrm>
          </p:grpSpPr>
          <p:sp>
            <p:nvSpPr>
              <p:cNvPr id="233" name="Freeform: Shape 232">
                <a:extLst>
                  <a:ext uri="{FF2B5EF4-FFF2-40B4-BE49-F238E27FC236}">
                    <a16:creationId xmlns:a16="http://schemas.microsoft.com/office/drawing/2014/main" id="{53A45D3D-9FC2-5FD9-24A8-D9AEEBF4BFA6}"/>
                  </a:ext>
                </a:extLst>
              </p:cNvPr>
              <p:cNvSpPr/>
              <p:nvPr/>
            </p:nvSpPr>
            <p:spPr>
              <a:xfrm>
                <a:off x="11773475" y="1720726"/>
                <a:ext cx="289723" cy="240680"/>
              </a:xfrm>
              <a:custGeom>
                <a:avLst/>
                <a:gdLst>
                  <a:gd name="connsiteX0" fmla="*/ 229482 w 289723"/>
                  <a:gd name="connsiteY0" fmla="*/ 17777 h 240680"/>
                  <a:gd name="connsiteX1" fmla="*/ 122835 w 289723"/>
                  <a:gd name="connsiteY1" fmla="*/ 3365 h 240680"/>
                  <a:gd name="connsiteX2" fmla="*/ 1776 w 289723"/>
                  <a:gd name="connsiteY2" fmla="*/ 147482 h 240680"/>
                  <a:gd name="connsiteX3" fmla="*/ 60383 w 289723"/>
                  <a:gd name="connsiteY3" fmla="*/ 222425 h 240680"/>
                  <a:gd name="connsiteX4" fmla="*/ 134362 w 289723"/>
                  <a:gd name="connsiteY4" fmla="*/ 240681 h 240680"/>
                  <a:gd name="connsiteX5" fmla="*/ 167029 w 289723"/>
                  <a:gd name="connsiteY5" fmla="*/ 237797 h 240680"/>
                  <a:gd name="connsiteX6" fmla="*/ 261186 w 289723"/>
                  <a:gd name="connsiteY6" fmla="*/ 185914 h 240680"/>
                  <a:gd name="connsiteX7" fmla="*/ 288089 w 289723"/>
                  <a:gd name="connsiteY7" fmla="*/ 94639 h 240680"/>
                  <a:gd name="connsiteX8" fmla="*/ 229479 w 289723"/>
                  <a:gd name="connsiteY8" fmla="*/ 17777 h 240680"/>
                  <a:gd name="connsiteX9" fmla="*/ 245816 w 289723"/>
                  <a:gd name="connsiteY9" fmla="*/ 171502 h 240680"/>
                  <a:gd name="connsiteX10" fmla="*/ 163189 w 289723"/>
                  <a:gd name="connsiteY10" fmla="*/ 217621 h 240680"/>
                  <a:gd name="connsiteX11" fmla="*/ 69032 w 289723"/>
                  <a:gd name="connsiteY11" fmla="*/ 205129 h 240680"/>
                  <a:gd name="connsiteX12" fmla="*/ 20993 w 289723"/>
                  <a:gd name="connsiteY12" fmla="*/ 143639 h 240680"/>
                  <a:gd name="connsiteX13" fmla="*/ 126679 w 289723"/>
                  <a:gd name="connsiteY13" fmla="*/ 22580 h 240680"/>
                  <a:gd name="connsiteX14" fmla="*/ 155503 w 289723"/>
                  <a:gd name="connsiteY14" fmla="*/ 19696 h 240680"/>
                  <a:gd name="connsiteX15" fmla="*/ 219874 w 289723"/>
                  <a:gd name="connsiteY15" fmla="*/ 35068 h 240680"/>
                  <a:gd name="connsiteX16" fmla="*/ 267913 w 289723"/>
                  <a:gd name="connsiteY16" fmla="*/ 96559 h 240680"/>
                  <a:gd name="connsiteX17" fmla="*/ 245816 w 289723"/>
                  <a:gd name="connsiteY17" fmla="*/ 171501 h 24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9723" h="240680">
                    <a:moveTo>
                      <a:pt x="229482" y="17777"/>
                    </a:moveTo>
                    <a:cubicBezTo>
                      <a:pt x="198738" y="1445"/>
                      <a:pt x="160307" y="-4323"/>
                      <a:pt x="122835" y="3365"/>
                    </a:cubicBezTo>
                    <a:cubicBezTo>
                      <a:pt x="44052" y="17777"/>
                      <a:pt x="-10714" y="82148"/>
                      <a:pt x="1776" y="147482"/>
                    </a:cubicBezTo>
                    <a:cubicBezTo>
                      <a:pt x="7540" y="179190"/>
                      <a:pt x="28679" y="206089"/>
                      <a:pt x="60383" y="222425"/>
                    </a:cubicBezTo>
                    <a:cubicBezTo>
                      <a:pt x="82483" y="233953"/>
                      <a:pt x="107462" y="240681"/>
                      <a:pt x="134362" y="240681"/>
                    </a:cubicBezTo>
                    <a:cubicBezTo>
                      <a:pt x="144929" y="240681"/>
                      <a:pt x="156461" y="239721"/>
                      <a:pt x="167029" y="237797"/>
                    </a:cubicBezTo>
                    <a:cubicBezTo>
                      <a:pt x="204500" y="231073"/>
                      <a:pt x="238128" y="211857"/>
                      <a:pt x="261186" y="185914"/>
                    </a:cubicBezTo>
                    <a:cubicBezTo>
                      <a:pt x="284245" y="159010"/>
                      <a:pt x="293853" y="126347"/>
                      <a:pt x="288089" y="94639"/>
                    </a:cubicBezTo>
                    <a:cubicBezTo>
                      <a:pt x="281362" y="61012"/>
                      <a:pt x="261186" y="34109"/>
                      <a:pt x="229479" y="17777"/>
                    </a:cubicBezTo>
                    <a:close/>
                    <a:moveTo>
                      <a:pt x="245816" y="171502"/>
                    </a:moveTo>
                    <a:cubicBezTo>
                      <a:pt x="225641" y="194562"/>
                      <a:pt x="195857" y="210893"/>
                      <a:pt x="163189" y="217621"/>
                    </a:cubicBezTo>
                    <a:cubicBezTo>
                      <a:pt x="129562" y="224345"/>
                      <a:pt x="95934" y="219541"/>
                      <a:pt x="69032" y="205129"/>
                    </a:cubicBezTo>
                    <a:cubicBezTo>
                      <a:pt x="43093" y="190718"/>
                      <a:pt x="25797" y="168618"/>
                      <a:pt x="20993" y="143639"/>
                    </a:cubicBezTo>
                    <a:cubicBezTo>
                      <a:pt x="10425" y="89836"/>
                      <a:pt x="58465" y="35070"/>
                      <a:pt x="126679" y="22580"/>
                    </a:cubicBezTo>
                    <a:cubicBezTo>
                      <a:pt x="136287" y="20660"/>
                      <a:pt x="145895" y="19696"/>
                      <a:pt x="155503" y="19696"/>
                    </a:cubicBezTo>
                    <a:cubicBezTo>
                      <a:pt x="178562" y="19696"/>
                      <a:pt x="200658" y="25461"/>
                      <a:pt x="219874" y="35068"/>
                    </a:cubicBezTo>
                    <a:cubicBezTo>
                      <a:pt x="245813" y="49479"/>
                      <a:pt x="263109" y="71579"/>
                      <a:pt x="267913" y="96559"/>
                    </a:cubicBezTo>
                    <a:cubicBezTo>
                      <a:pt x="273680" y="122501"/>
                      <a:pt x="265032" y="148442"/>
                      <a:pt x="245816" y="171501"/>
                    </a:cubicBezTo>
                    <a:close/>
                  </a:path>
                </a:pathLst>
              </a:custGeom>
              <a:solidFill>
                <a:schemeClr val="accent5"/>
              </a:solidFill>
              <a:ln w="794" cap="flat">
                <a:solidFill>
                  <a:schemeClr val="accent5"/>
                </a:solidFill>
                <a:prstDash val="solid"/>
                <a:miter/>
              </a:ln>
            </p:spPr>
            <p:txBody>
              <a:bodyPr rtlCol="0" anchor="ctr"/>
              <a:lstStyle/>
              <a:p>
                <a:endParaRPr lang="en-GB" sz="800"/>
              </a:p>
            </p:txBody>
          </p:sp>
          <p:sp>
            <p:nvSpPr>
              <p:cNvPr id="234" name="Freeform: Shape 233">
                <a:extLst>
                  <a:ext uri="{FF2B5EF4-FFF2-40B4-BE49-F238E27FC236}">
                    <a16:creationId xmlns:a16="http://schemas.microsoft.com/office/drawing/2014/main" id="{2C3934ED-3AFE-F5AB-D7AE-892EC9D76B81}"/>
                  </a:ext>
                </a:extLst>
              </p:cNvPr>
              <p:cNvSpPr/>
              <p:nvPr/>
            </p:nvSpPr>
            <p:spPr>
              <a:xfrm>
                <a:off x="11611916" y="1578411"/>
                <a:ext cx="166809" cy="243681"/>
              </a:xfrm>
              <a:custGeom>
                <a:avLst/>
                <a:gdLst>
                  <a:gd name="connsiteX0" fmla="*/ 166217 w 166809"/>
                  <a:gd name="connsiteY0" fmla="*/ 6367 h 243681"/>
                  <a:gd name="connsiteX1" fmla="*/ 153725 w 166809"/>
                  <a:gd name="connsiteY1" fmla="*/ 603 h 243681"/>
                  <a:gd name="connsiteX2" fmla="*/ 0 w 166809"/>
                  <a:gd name="connsiteY2" fmla="*/ 234073 h 243681"/>
                  <a:gd name="connsiteX3" fmla="*/ 9608 w 166809"/>
                  <a:gd name="connsiteY3" fmla="*/ 243681 h 243681"/>
                  <a:gd name="connsiteX4" fmla="*/ 19216 w 166809"/>
                  <a:gd name="connsiteY4" fmla="*/ 234073 h 243681"/>
                  <a:gd name="connsiteX5" fmla="*/ 159490 w 166809"/>
                  <a:gd name="connsiteY5" fmla="*/ 18858 h 243681"/>
                  <a:gd name="connsiteX6" fmla="*/ 166217 w 166809"/>
                  <a:gd name="connsiteY6" fmla="*/ 6366 h 243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809" h="243681">
                    <a:moveTo>
                      <a:pt x="166217" y="6367"/>
                    </a:moveTo>
                    <a:cubicBezTo>
                      <a:pt x="164297" y="1563"/>
                      <a:pt x="159493" y="-1321"/>
                      <a:pt x="153725" y="603"/>
                    </a:cubicBezTo>
                    <a:cubicBezTo>
                      <a:pt x="151805" y="1563"/>
                      <a:pt x="2882" y="53446"/>
                      <a:pt x="0" y="234073"/>
                    </a:cubicBezTo>
                    <a:cubicBezTo>
                      <a:pt x="0" y="239837"/>
                      <a:pt x="3844" y="243681"/>
                      <a:pt x="9608" y="243681"/>
                    </a:cubicBezTo>
                    <a:cubicBezTo>
                      <a:pt x="14412" y="243681"/>
                      <a:pt x="19216" y="239837"/>
                      <a:pt x="19216" y="234073"/>
                    </a:cubicBezTo>
                    <a:cubicBezTo>
                      <a:pt x="21136" y="67858"/>
                      <a:pt x="154686" y="20779"/>
                      <a:pt x="159490" y="18858"/>
                    </a:cubicBezTo>
                    <a:cubicBezTo>
                      <a:pt x="165254" y="16934"/>
                      <a:pt x="168138" y="12130"/>
                      <a:pt x="166217" y="6366"/>
                    </a:cubicBezTo>
                    <a:close/>
                  </a:path>
                </a:pathLst>
              </a:custGeom>
              <a:solidFill>
                <a:schemeClr val="accent5"/>
              </a:solidFill>
              <a:ln w="794" cap="flat">
                <a:solidFill>
                  <a:schemeClr val="accent5"/>
                </a:solidFill>
                <a:prstDash val="solid"/>
                <a:miter/>
              </a:ln>
            </p:spPr>
            <p:txBody>
              <a:bodyPr rtlCol="0" anchor="ctr"/>
              <a:lstStyle/>
              <a:p>
                <a:endParaRPr lang="en-GB" sz="800"/>
              </a:p>
            </p:txBody>
          </p:sp>
          <p:sp>
            <p:nvSpPr>
              <p:cNvPr id="235" name="Oval 234">
                <a:extLst>
                  <a:ext uri="{FF2B5EF4-FFF2-40B4-BE49-F238E27FC236}">
                    <a16:creationId xmlns:a16="http://schemas.microsoft.com/office/drawing/2014/main" id="{4155CF82-61F0-B803-C2A6-6946D8371887}"/>
                  </a:ext>
                </a:extLst>
              </p:cNvPr>
              <p:cNvSpPr/>
              <p:nvPr/>
            </p:nvSpPr>
            <p:spPr>
              <a:xfrm>
                <a:off x="11561991" y="1522384"/>
                <a:ext cx="577121" cy="577121"/>
              </a:xfrm>
              <a:prstGeom prst="ellipse">
                <a:avLst/>
              </a:prstGeom>
              <a:noFill/>
              <a:ln w="2222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grpSp>
        <p:sp>
          <p:nvSpPr>
            <p:cNvPr id="230" name="Graphic 103">
              <a:extLst>
                <a:ext uri="{FF2B5EF4-FFF2-40B4-BE49-F238E27FC236}">
                  <a16:creationId xmlns:a16="http://schemas.microsoft.com/office/drawing/2014/main" id="{9EDFED03-DC37-9DFE-A0C2-BD8B8412A968}"/>
                </a:ext>
              </a:extLst>
            </p:cNvPr>
            <p:cNvSpPr/>
            <p:nvPr/>
          </p:nvSpPr>
          <p:spPr>
            <a:xfrm>
              <a:off x="10827047" y="3396288"/>
              <a:ext cx="535005" cy="538433"/>
            </a:xfrm>
            <a:custGeom>
              <a:avLst/>
              <a:gdLst>
                <a:gd name="connsiteX0" fmla="*/ 89297 w 464343"/>
                <a:gd name="connsiteY0" fmla="*/ 428649 h 491156"/>
                <a:gd name="connsiteX1" fmla="*/ 53578 w 464343"/>
                <a:gd name="connsiteY1" fmla="*/ 428649 h 491156"/>
                <a:gd name="connsiteX2" fmla="*/ 53578 w 464343"/>
                <a:gd name="connsiteY2" fmla="*/ 455438 h 491156"/>
                <a:gd name="connsiteX3" fmla="*/ 89297 w 464343"/>
                <a:gd name="connsiteY3" fmla="*/ 455438 h 491156"/>
                <a:gd name="connsiteX4" fmla="*/ 89297 w 464343"/>
                <a:gd name="connsiteY4" fmla="*/ 428649 h 491156"/>
                <a:gd name="connsiteX5" fmla="*/ 142875 w 464343"/>
                <a:gd name="connsiteY5" fmla="*/ 357211 h 491156"/>
                <a:gd name="connsiteX6" fmla="*/ 107156 w 464343"/>
                <a:gd name="connsiteY6" fmla="*/ 357211 h 491156"/>
                <a:gd name="connsiteX7" fmla="*/ 107156 w 464343"/>
                <a:gd name="connsiteY7" fmla="*/ 384000 h 491156"/>
                <a:gd name="connsiteX8" fmla="*/ 142875 w 464343"/>
                <a:gd name="connsiteY8" fmla="*/ 384000 h 491156"/>
                <a:gd name="connsiteX9" fmla="*/ 142875 w 464343"/>
                <a:gd name="connsiteY9" fmla="*/ 357211 h 491156"/>
                <a:gd name="connsiteX10" fmla="*/ 303609 w 464343"/>
                <a:gd name="connsiteY10" fmla="*/ 26813 h 491156"/>
                <a:gd name="connsiteX11" fmla="*/ 464344 w 464343"/>
                <a:gd name="connsiteY11" fmla="*/ 26813 h 491156"/>
                <a:gd name="connsiteX12" fmla="*/ 464344 w 464343"/>
                <a:gd name="connsiteY12" fmla="*/ 0 h 491156"/>
                <a:gd name="connsiteX13" fmla="*/ 303609 w 464343"/>
                <a:gd name="connsiteY13" fmla="*/ 0 h 491156"/>
                <a:gd name="connsiteX14" fmla="*/ 165021 w 464343"/>
                <a:gd name="connsiteY14" fmla="*/ 138494 h 491156"/>
                <a:gd name="connsiteX15" fmla="*/ 165164 w 464343"/>
                <a:gd name="connsiteY15" fmla="*/ 168640 h 491156"/>
                <a:gd name="connsiteX16" fmla="*/ 107156 w 464343"/>
                <a:gd name="connsiteY16" fmla="*/ 226957 h 491156"/>
                <a:gd name="connsiteX17" fmla="*/ 107156 w 464343"/>
                <a:gd name="connsiteY17" fmla="*/ 276749 h 491156"/>
                <a:gd name="connsiteX18" fmla="*/ 164949 w 464343"/>
                <a:gd name="connsiteY18" fmla="*/ 276749 h 491156"/>
                <a:gd name="connsiteX19" fmla="*/ 164949 w 464343"/>
                <a:gd name="connsiteY19" fmla="*/ 352663 h 491156"/>
                <a:gd name="connsiteX20" fmla="*/ 250079 w 464343"/>
                <a:gd name="connsiteY20" fmla="*/ 437579 h 491156"/>
                <a:gd name="connsiteX21" fmla="*/ 254484 w 464343"/>
                <a:gd name="connsiteY21" fmla="*/ 437555 h 491156"/>
                <a:gd name="connsiteX22" fmla="*/ 254484 w 464343"/>
                <a:gd name="connsiteY22" fmla="*/ 491133 h 491156"/>
                <a:gd name="connsiteX23" fmla="*/ 464344 w 464343"/>
                <a:gd name="connsiteY23" fmla="*/ 491133 h 491156"/>
                <a:gd name="connsiteX24" fmla="*/ 464344 w 464343"/>
                <a:gd name="connsiteY24" fmla="*/ 464344 h 491156"/>
                <a:gd name="connsiteX25" fmla="*/ 281273 w 464343"/>
                <a:gd name="connsiteY25" fmla="*/ 464344 h 491156"/>
                <a:gd name="connsiteX26" fmla="*/ 281273 w 464343"/>
                <a:gd name="connsiteY26" fmla="*/ 410647 h 491156"/>
                <a:gd name="connsiteX27" fmla="*/ 250031 w 464343"/>
                <a:gd name="connsiteY27" fmla="*/ 410789 h 491156"/>
                <a:gd name="connsiteX28" fmla="*/ 191738 w 464343"/>
                <a:gd name="connsiteY28" fmla="*/ 352663 h 491156"/>
                <a:gd name="connsiteX29" fmla="*/ 191738 w 464343"/>
                <a:gd name="connsiteY29" fmla="*/ 249960 h 491156"/>
                <a:gd name="connsiteX30" fmla="*/ 122063 w 464343"/>
                <a:gd name="connsiteY30" fmla="*/ 249960 h 491156"/>
                <a:gd name="connsiteX31" fmla="*/ 192024 w 464343"/>
                <a:gd name="connsiteY31" fmla="*/ 179642 h 491156"/>
                <a:gd name="connsiteX32" fmla="*/ 191786 w 464343"/>
                <a:gd name="connsiteY32" fmla="*/ 138446 h 491156"/>
                <a:gd name="connsiteX33" fmla="*/ 303609 w 464343"/>
                <a:gd name="connsiteY33" fmla="*/ 26789 h 491156"/>
                <a:gd name="connsiteX34" fmla="*/ 53578 w 464343"/>
                <a:gd name="connsiteY34" fmla="*/ 285774 h 491156"/>
                <a:gd name="connsiteX35" fmla="*/ 53578 w 464343"/>
                <a:gd name="connsiteY35" fmla="*/ 312539 h 491156"/>
                <a:gd name="connsiteX36" fmla="*/ 89297 w 464343"/>
                <a:gd name="connsiteY36" fmla="*/ 312539 h 491156"/>
                <a:gd name="connsiteX37" fmla="*/ 89297 w 464343"/>
                <a:gd name="connsiteY37" fmla="*/ 285774 h 491156"/>
                <a:gd name="connsiteX38" fmla="*/ 53578 w 464343"/>
                <a:gd name="connsiteY38" fmla="*/ 285774 h 491156"/>
                <a:gd name="connsiteX39" fmla="*/ 89297 w 464343"/>
                <a:gd name="connsiteY39" fmla="*/ 357211 h 491156"/>
                <a:gd name="connsiteX40" fmla="*/ 53578 w 464343"/>
                <a:gd name="connsiteY40" fmla="*/ 357211 h 491156"/>
                <a:gd name="connsiteX41" fmla="*/ 53578 w 464343"/>
                <a:gd name="connsiteY41" fmla="*/ 384000 h 491156"/>
                <a:gd name="connsiteX42" fmla="*/ 89297 w 464343"/>
                <a:gd name="connsiteY42" fmla="*/ 384000 h 491156"/>
                <a:gd name="connsiteX43" fmla="*/ 89297 w 464343"/>
                <a:gd name="connsiteY43" fmla="*/ 357211 h 491156"/>
                <a:gd name="connsiteX44" fmla="*/ 35719 w 464343"/>
                <a:gd name="connsiteY44" fmla="*/ 357211 h 491156"/>
                <a:gd name="connsiteX45" fmla="*/ 0 w 464343"/>
                <a:gd name="connsiteY45" fmla="*/ 357211 h 491156"/>
                <a:gd name="connsiteX46" fmla="*/ 0 w 464343"/>
                <a:gd name="connsiteY46" fmla="*/ 384000 h 491156"/>
                <a:gd name="connsiteX47" fmla="*/ 35719 w 464343"/>
                <a:gd name="connsiteY47" fmla="*/ 384000 h 491156"/>
                <a:gd name="connsiteX48" fmla="*/ 35719 w 464343"/>
                <a:gd name="connsiteY48" fmla="*/ 357211 h 491156"/>
                <a:gd name="connsiteX49" fmla="*/ 35719 w 464343"/>
                <a:gd name="connsiteY49" fmla="*/ 464368 h 491156"/>
                <a:gd name="connsiteX50" fmla="*/ 0 w 464343"/>
                <a:gd name="connsiteY50" fmla="*/ 464368 h 491156"/>
                <a:gd name="connsiteX51" fmla="*/ 0 w 464343"/>
                <a:gd name="connsiteY51" fmla="*/ 491157 h 491156"/>
                <a:gd name="connsiteX52" fmla="*/ 35719 w 464343"/>
                <a:gd name="connsiteY52" fmla="*/ 491157 h 491156"/>
                <a:gd name="connsiteX53" fmla="*/ 35719 w 464343"/>
                <a:gd name="connsiteY53" fmla="*/ 464368 h 491156"/>
                <a:gd name="connsiteX54" fmla="*/ 35719 w 464343"/>
                <a:gd name="connsiteY54" fmla="*/ 250055 h 491156"/>
                <a:gd name="connsiteX55" fmla="*/ 0 w 464343"/>
                <a:gd name="connsiteY55" fmla="*/ 250055 h 491156"/>
                <a:gd name="connsiteX56" fmla="*/ 0 w 464343"/>
                <a:gd name="connsiteY56" fmla="*/ 276820 h 491156"/>
                <a:gd name="connsiteX57" fmla="*/ 35719 w 464343"/>
                <a:gd name="connsiteY57" fmla="*/ 276820 h 491156"/>
                <a:gd name="connsiteX58" fmla="*/ 35719 w 464343"/>
                <a:gd name="connsiteY58" fmla="*/ 250055 h 49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64343" h="491156">
                  <a:moveTo>
                    <a:pt x="89297" y="428649"/>
                  </a:moveTo>
                  <a:lnTo>
                    <a:pt x="53578" y="428649"/>
                  </a:lnTo>
                  <a:lnTo>
                    <a:pt x="53578" y="455438"/>
                  </a:lnTo>
                  <a:lnTo>
                    <a:pt x="89297" y="455438"/>
                  </a:lnTo>
                  <a:lnTo>
                    <a:pt x="89297" y="428649"/>
                  </a:lnTo>
                  <a:close/>
                  <a:moveTo>
                    <a:pt x="142875" y="357211"/>
                  </a:moveTo>
                  <a:lnTo>
                    <a:pt x="107156" y="357211"/>
                  </a:lnTo>
                  <a:lnTo>
                    <a:pt x="107156" y="384000"/>
                  </a:lnTo>
                  <a:lnTo>
                    <a:pt x="142875" y="384000"/>
                  </a:lnTo>
                  <a:lnTo>
                    <a:pt x="142875" y="357211"/>
                  </a:lnTo>
                  <a:close/>
                  <a:moveTo>
                    <a:pt x="303609" y="26813"/>
                  </a:moveTo>
                  <a:lnTo>
                    <a:pt x="464344" y="26813"/>
                  </a:lnTo>
                  <a:lnTo>
                    <a:pt x="464344" y="0"/>
                  </a:lnTo>
                  <a:lnTo>
                    <a:pt x="303609" y="0"/>
                  </a:lnTo>
                  <a:cubicBezTo>
                    <a:pt x="227314" y="0"/>
                    <a:pt x="165164" y="62103"/>
                    <a:pt x="165021" y="138494"/>
                  </a:cubicBezTo>
                  <a:lnTo>
                    <a:pt x="165164" y="168640"/>
                  </a:lnTo>
                  <a:lnTo>
                    <a:pt x="107156" y="226957"/>
                  </a:lnTo>
                  <a:lnTo>
                    <a:pt x="107156" y="276749"/>
                  </a:lnTo>
                  <a:lnTo>
                    <a:pt x="164949" y="276749"/>
                  </a:lnTo>
                  <a:lnTo>
                    <a:pt x="164949" y="352663"/>
                  </a:lnTo>
                  <a:cubicBezTo>
                    <a:pt x="165054" y="399600"/>
                    <a:pt x="203142" y="437593"/>
                    <a:pt x="250079" y="437579"/>
                  </a:cubicBezTo>
                  <a:lnTo>
                    <a:pt x="254484" y="437555"/>
                  </a:lnTo>
                  <a:lnTo>
                    <a:pt x="254484" y="491133"/>
                  </a:lnTo>
                  <a:lnTo>
                    <a:pt x="464344" y="491133"/>
                  </a:lnTo>
                  <a:lnTo>
                    <a:pt x="464344" y="464344"/>
                  </a:lnTo>
                  <a:lnTo>
                    <a:pt x="281273" y="464344"/>
                  </a:lnTo>
                  <a:lnTo>
                    <a:pt x="281273" y="410647"/>
                  </a:lnTo>
                  <a:lnTo>
                    <a:pt x="250031" y="410789"/>
                  </a:lnTo>
                  <a:cubicBezTo>
                    <a:pt x="217896" y="410804"/>
                    <a:pt x="191817" y="384798"/>
                    <a:pt x="191738" y="352663"/>
                  </a:cubicBezTo>
                  <a:lnTo>
                    <a:pt x="191738" y="249960"/>
                  </a:lnTo>
                  <a:lnTo>
                    <a:pt x="122063" y="249960"/>
                  </a:lnTo>
                  <a:lnTo>
                    <a:pt x="192024" y="179642"/>
                  </a:lnTo>
                  <a:lnTo>
                    <a:pt x="191786" y="138446"/>
                  </a:lnTo>
                  <a:cubicBezTo>
                    <a:pt x="191969" y="76791"/>
                    <a:pt x="241954" y="26881"/>
                    <a:pt x="303609" y="26789"/>
                  </a:cubicBezTo>
                  <a:close/>
                  <a:moveTo>
                    <a:pt x="53578" y="285774"/>
                  </a:moveTo>
                  <a:lnTo>
                    <a:pt x="53578" y="312539"/>
                  </a:lnTo>
                  <a:lnTo>
                    <a:pt x="89297" y="312539"/>
                  </a:lnTo>
                  <a:lnTo>
                    <a:pt x="89297" y="285774"/>
                  </a:lnTo>
                  <a:lnTo>
                    <a:pt x="53578" y="285774"/>
                  </a:lnTo>
                  <a:close/>
                  <a:moveTo>
                    <a:pt x="89297" y="357211"/>
                  </a:moveTo>
                  <a:lnTo>
                    <a:pt x="53578" y="357211"/>
                  </a:lnTo>
                  <a:lnTo>
                    <a:pt x="53578" y="384000"/>
                  </a:lnTo>
                  <a:lnTo>
                    <a:pt x="89297" y="384000"/>
                  </a:lnTo>
                  <a:lnTo>
                    <a:pt x="89297" y="357211"/>
                  </a:lnTo>
                  <a:close/>
                  <a:moveTo>
                    <a:pt x="35719" y="357211"/>
                  </a:moveTo>
                  <a:lnTo>
                    <a:pt x="0" y="357211"/>
                  </a:lnTo>
                  <a:lnTo>
                    <a:pt x="0" y="384000"/>
                  </a:lnTo>
                  <a:lnTo>
                    <a:pt x="35719" y="384000"/>
                  </a:lnTo>
                  <a:lnTo>
                    <a:pt x="35719" y="357211"/>
                  </a:lnTo>
                  <a:close/>
                  <a:moveTo>
                    <a:pt x="35719" y="464368"/>
                  </a:moveTo>
                  <a:lnTo>
                    <a:pt x="0" y="464368"/>
                  </a:lnTo>
                  <a:lnTo>
                    <a:pt x="0" y="491157"/>
                  </a:lnTo>
                  <a:lnTo>
                    <a:pt x="35719" y="491157"/>
                  </a:lnTo>
                  <a:lnTo>
                    <a:pt x="35719" y="464368"/>
                  </a:lnTo>
                  <a:close/>
                  <a:moveTo>
                    <a:pt x="35719" y="250055"/>
                  </a:moveTo>
                  <a:lnTo>
                    <a:pt x="0" y="250055"/>
                  </a:lnTo>
                  <a:lnTo>
                    <a:pt x="0" y="276820"/>
                  </a:lnTo>
                  <a:lnTo>
                    <a:pt x="35719" y="276820"/>
                  </a:lnTo>
                  <a:lnTo>
                    <a:pt x="35719" y="250055"/>
                  </a:lnTo>
                  <a:close/>
                </a:path>
              </a:pathLst>
            </a:custGeom>
            <a:solidFill>
              <a:schemeClr val="accent2"/>
            </a:solidFill>
            <a:ln w="2381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600"/>
            </a:p>
          </p:txBody>
        </p:sp>
        <p:pic>
          <p:nvPicPr>
            <p:cNvPr id="231" name="Graphic 230">
              <a:extLst>
                <a:ext uri="{FF2B5EF4-FFF2-40B4-BE49-F238E27FC236}">
                  <a16:creationId xmlns:a16="http://schemas.microsoft.com/office/drawing/2014/main" id="{0929470E-9597-D043-C81B-6201123DA82D}"/>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0750249" y="4471997"/>
              <a:ext cx="688600" cy="655179"/>
            </a:xfrm>
            <a:prstGeom prst="rect">
              <a:avLst/>
            </a:prstGeom>
          </p:spPr>
        </p:pic>
        <p:sp>
          <p:nvSpPr>
            <p:cNvPr id="232" name="TextBox 231">
              <a:extLst>
                <a:ext uri="{FF2B5EF4-FFF2-40B4-BE49-F238E27FC236}">
                  <a16:creationId xmlns:a16="http://schemas.microsoft.com/office/drawing/2014/main" id="{E8E3732A-8A2D-54BA-0104-CAF78570889C}"/>
                </a:ext>
              </a:extLst>
            </p:cNvPr>
            <p:cNvSpPr txBox="1"/>
            <p:nvPr/>
          </p:nvSpPr>
          <p:spPr bwMode="gray">
            <a:xfrm rot="2117672">
              <a:off x="1832515" y="4458767"/>
              <a:ext cx="1197273" cy="337270"/>
            </a:xfrm>
            <a:prstGeom prst="rect">
              <a:avLst/>
            </a:prstGeom>
          </p:spPr>
          <p:txBody>
            <a:bodyPr wrap="square" lIns="45720" tIns="45720" rIns="45720" bIns="45720" rtlCol="0">
              <a:no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sz="1050" b="1" kern="0" err="1">
                  <a:solidFill>
                    <a:srgbClr val="0095FF"/>
                  </a:solidFill>
                  <a:latin typeface="Pfizer Diatype Office"/>
                </a:rPr>
                <a:t>İmmün</a:t>
              </a:r>
              <a:r>
                <a:rPr lang="en-US" sz="1050" b="1" kern="0">
                  <a:solidFill>
                    <a:srgbClr val="0095FF"/>
                  </a:solidFill>
                  <a:latin typeface="Pfizer Diatype Office"/>
                </a:rPr>
                <a:t> </a:t>
              </a:r>
              <a:r>
                <a:rPr lang="en-US" sz="1050" b="1" kern="0" err="1">
                  <a:solidFill>
                    <a:srgbClr val="0095FF"/>
                  </a:solidFill>
                  <a:latin typeface="Pfizer Diatype Office"/>
                </a:rPr>
                <a:t>Fonksiyon</a:t>
              </a:r>
              <a:endParaRPr kumimoji="0" lang="en-US" sz="1050" b="1" i="0" u="none" strike="noStrike" kern="0" cap="none" spc="0" normalizeH="0" baseline="30000" noProof="0">
                <a:ln>
                  <a:noFill/>
                </a:ln>
                <a:solidFill>
                  <a:srgbClr val="0095FF"/>
                </a:solidFill>
                <a:effectLst/>
                <a:uLnTx/>
                <a:uFillTx/>
                <a:latin typeface="Pfizer Diatype Office"/>
                <a:ea typeface="+mn-ea"/>
                <a:cs typeface="+mn-cs"/>
              </a:endParaRPr>
            </a:p>
          </p:txBody>
        </p:sp>
      </p:grpSp>
      <p:sp>
        <p:nvSpPr>
          <p:cNvPr id="444" name="TextBox 443">
            <a:extLst>
              <a:ext uri="{FF2B5EF4-FFF2-40B4-BE49-F238E27FC236}">
                <a16:creationId xmlns:a16="http://schemas.microsoft.com/office/drawing/2014/main" id="{FC9D5144-0DDF-3A33-4A9A-04B41C72C3DA}"/>
              </a:ext>
            </a:extLst>
          </p:cNvPr>
          <p:cNvSpPr txBox="1"/>
          <p:nvPr/>
        </p:nvSpPr>
        <p:spPr>
          <a:xfrm>
            <a:off x="577181" y="6061705"/>
            <a:ext cx="10861668" cy="276999"/>
          </a:xfrm>
          <a:prstGeom prst="rect">
            <a:avLst/>
          </a:prstGeom>
          <a:noFill/>
        </p:spPr>
        <p:txBody>
          <a:bodyPr wrap="square" lIns="0" tIns="0" rIns="0" bIns="0" rtlCol="0" anchor="b">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bg1">
                    <a:lumMod val="50000"/>
                  </a:schemeClr>
                </a:solidFill>
                <a:effectLst/>
                <a:uLnTx/>
                <a:uFillTx/>
                <a:latin typeface="Pfizer Diatype Office"/>
                <a:ea typeface="+mn-ea"/>
                <a:cs typeface="+mn-cs"/>
              </a:rPr>
              <a:t>ASYE, </a:t>
            </a:r>
            <a:r>
              <a:rPr lang="en-GB" sz="900" dirty="0">
                <a:solidFill>
                  <a:schemeClr val="bg1">
                    <a:lumMod val="50000"/>
                  </a:schemeClr>
                </a:solidFill>
                <a:latin typeface="Pfizer Diatype Office"/>
              </a:rPr>
              <a:t>alt </a:t>
            </a:r>
            <a:r>
              <a:rPr lang="en-GB" sz="900" dirty="0" err="1">
                <a:solidFill>
                  <a:schemeClr val="bg1">
                    <a:lumMod val="50000"/>
                  </a:schemeClr>
                </a:solidFill>
                <a:latin typeface="Pfizer Diatype Office"/>
              </a:rPr>
              <a:t>solunum</a:t>
            </a:r>
            <a:r>
              <a:rPr lang="en-GB" sz="900" dirty="0">
                <a:solidFill>
                  <a:schemeClr val="bg1">
                    <a:lumMod val="50000"/>
                  </a:schemeClr>
                </a:solidFill>
                <a:latin typeface="Pfizer Diatype Office"/>
              </a:rPr>
              <a:t> </a:t>
            </a:r>
            <a:r>
              <a:rPr lang="en-GB" sz="900" dirty="0" err="1">
                <a:solidFill>
                  <a:schemeClr val="bg1">
                    <a:lumMod val="50000"/>
                  </a:schemeClr>
                </a:solidFill>
                <a:latin typeface="Pfizer Diatype Office"/>
              </a:rPr>
              <a:t>yolu</a:t>
            </a:r>
            <a:r>
              <a:rPr lang="en-GB" sz="900" dirty="0">
                <a:solidFill>
                  <a:schemeClr val="bg1">
                    <a:lumMod val="50000"/>
                  </a:schemeClr>
                </a:solidFill>
                <a:latin typeface="Pfizer Diatype Office"/>
              </a:rPr>
              <a:t> </a:t>
            </a:r>
            <a:r>
              <a:rPr lang="en-GB" sz="900" dirty="0" err="1">
                <a:solidFill>
                  <a:schemeClr val="bg1">
                    <a:lumMod val="50000"/>
                  </a:schemeClr>
                </a:solidFill>
                <a:latin typeface="Pfizer Diatype Office"/>
              </a:rPr>
              <a:t>enfeksiyonu</a:t>
            </a:r>
            <a:r>
              <a:rPr kumimoji="0" lang="en-GB" sz="900" b="0" i="0" u="none" strike="noStrike" kern="1200" cap="none" spc="0" normalizeH="0" baseline="0" noProof="0" dirty="0">
                <a:ln>
                  <a:noFill/>
                </a:ln>
                <a:solidFill>
                  <a:schemeClr val="bg1">
                    <a:lumMod val="50000"/>
                  </a:schemeClr>
                </a:solidFill>
                <a:effectLst/>
                <a:uLnTx/>
                <a:uFillTx/>
                <a:latin typeface="Pfizer Diatype Office"/>
                <a:ea typeface="+mn-ea"/>
                <a:cs typeface="+mn-cs"/>
              </a:rPr>
              <a:t>.</a:t>
            </a:r>
          </a:p>
          <a:p>
            <a:pPr lvl="0">
              <a:defRPr/>
            </a:pPr>
            <a:r>
              <a:rPr lang="en-GB" dirty="0">
                <a:solidFill>
                  <a:schemeClr val="bg1">
                    <a:lumMod val="50000"/>
                  </a:schemeClr>
                </a:solidFill>
              </a:rPr>
              <a:t>1. Hernandez-Ruiz V, et al. </a:t>
            </a:r>
            <a:r>
              <a:rPr lang="en-GB" i="1" dirty="0" err="1">
                <a:solidFill>
                  <a:schemeClr val="bg1">
                    <a:lumMod val="50000"/>
                  </a:schemeClr>
                </a:solidFill>
              </a:rPr>
              <a:t>Neurol</a:t>
            </a:r>
            <a:r>
              <a:rPr lang="en-GB" i="1" dirty="0">
                <a:solidFill>
                  <a:schemeClr val="bg1">
                    <a:lumMod val="50000"/>
                  </a:schemeClr>
                </a:solidFill>
              </a:rPr>
              <a:t> Sci</a:t>
            </a:r>
            <a:r>
              <a:rPr lang="en-GB" dirty="0">
                <a:solidFill>
                  <a:schemeClr val="bg1">
                    <a:lumMod val="50000"/>
                  </a:schemeClr>
                </a:solidFill>
              </a:rPr>
              <a:t>.</a:t>
            </a:r>
            <a:r>
              <a:rPr lang="en-GB" i="1" dirty="0">
                <a:solidFill>
                  <a:schemeClr val="bg1">
                    <a:lumMod val="50000"/>
                  </a:schemeClr>
                </a:solidFill>
              </a:rPr>
              <a:t> </a:t>
            </a:r>
            <a:r>
              <a:rPr lang="en-GB" dirty="0">
                <a:solidFill>
                  <a:schemeClr val="bg1">
                    <a:lumMod val="50000"/>
                  </a:schemeClr>
                </a:solidFill>
              </a:rPr>
              <a:t>2022;43(11):6215-6224; 2. Lian J, et al. </a:t>
            </a:r>
            <a:r>
              <a:rPr lang="en-GB" i="1" dirty="0">
                <a:solidFill>
                  <a:schemeClr val="bg1">
                    <a:lumMod val="50000"/>
                  </a:schemeClr>
                </a:solidFill>
              </a:rPr>
              <a:t>J </a:t>
            </a:r>
            <a:r>
              <a:rPr lang="en-GB" i="1" dirty="0" err="1">
                <a:solidFill>
                  <a:schemeClr val="bg1">
                    <a:lumMod val="50000"/>
                  </a:schemeClr>
                </a:solidFill>
              </a:rPr>
              <a:t>Hematol</a:t>
            </a:r>
            <a:r>
              <a:rPr lang="en-GB" i="1" dirty="0">
                <a:solidFill>
                  <a:schemeClr val="bg1">
                    <a:lumMod val="50000"/>
                  </a:schemeClr>
                </a:solidFill>
              </a:rPr>
              <a:t> Oncol</a:t>
            </a:r>
            <a:r>
              <a:rPr lang="en-GB" dirty="0">
                <a:solidFill>
                  <a:schemeClr val="bg1">
                    <a:lumMod val="50000"/>
                  </a:schemeClr>
                </a:solidFill>
              </a:rPr>
              <a:t>. 2020;13(1):151.</a:t>
            </a:r>
          </a:p>
        </p:txBody>
      </p:sp>
      <p:pic>
        <p:nvPicPr>
          <p:cNvPr id="445" name="Picture 444" descr="A yellow and blue logo&#10;&#10;Description automatically generated">
            <a:extLst>
              <a:ext uri="{FF2B5EF4-FFF2-40B4-BE49-F238E27FC236}">
                <a16:creationId xmlns:a16="http://schemas.microsoft.com/office/drawing/2014/main" id="{77889566-E55E-D0C2-C6D2-08C62583443F}"/>
              </a:ext>
            </a:extLst>
          </p:cNvPr>
          <p:cNvPicPr>
            <a:picLocks noChangeAspect="1"/>
          </p:cNvPicPr>
          <p:nvPr/>
        </p:nvPicPr>
        <p:blipFill>
          <a:blip r:embed="rId8">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446" name="Picture 445" descr="A black and blue logo&#10;&#10;AI-generated content may be incorrect.">
            <a:extLst>
              <a:ext uri="{FF2B5EF4-FFF2-40B4-BE49-F238E27FC236}">
                <a16:creationId xmlns:a16="http://schemas.microsoft.com/office/drawing/2014/main" id="{7E1BC7AC-30A0-66F7-D7B8-9884AEDE4991}"/>
              </a:ext>
            </a:extLst>
          </p:cNvPr>
          <p:cNvPicPr>
            <a:picLocks noChangeAspect="1"/>
          </p:cNvPicPr>
          <p:nvPr/>
        </p:nvPicPr>
        <p:blipFill>
          <a:blip r:embed="rId9"/>
          <a:stretch>
            <a:fillRect/>
          </a:stretch>
        </p:blipFill>
        <p:spPr>
          <a:xfrm>
            <a:off x="9513903" y="6494969"/>
            <a:ext cx="981021" cy="204067"/>
          </a:xfrm>
          <a:prstGeom prst="rect">
            <a:avLst/>
          </a:prstGeom>
        </p:spPr>
      </p:pic>
    </p:spTree>
    <p:extLst>
      <p:ext uri="{BB962C8B-B14F-4D97-AF65-F5344CB8AC3E}">
        <p14:creationId xmlns:p14="http://schemas.microsoft.com/office/powerpoint/2010/main" val="2579045288"/>
      </p:ext>
    </p:extLst>
  </p:cSld>
  <p:clrMapOvr>
    <a:masterClrMapping/>
  </p:clrMapOvr>
  <p:extLst>
    <p:ext uri="{6950BFC3-D8DA-4A85-94F7-54DA5524770B}">
      <p188:commentRel xmlns:p188="http://schemas.microsoft.com/office/powerpoint/2018/8/main" r:id="rId3"/>
    </p:ext>
  </p:extLs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A2E71D6-5448-98C4-A6EB-61C5DDDA63EF}"/>
              </a:ext>
            </a:extLst>
          </p:cNvPr>
          <p:cNvSpPr txBox="1"/>
          <p:nvPr/>
        </p:nvSpPr>
        <p:spPr>
          <a:xfrm>
            <a:off x="574301" y="6191243"/>
            <a:ext cx="5620053" cy="123111"/>
          </a:xfrm>
          <a:prstGeom prst="rect">
            <a:avLst/>
          </a:prstGeom>
          <a:noFill/>
        </p:spPr>
        <p:txBody>
          <a:bodyPr wrap="square" lIns="0" tIns="0" rIns="0" bIns="0" rtlCol="0" anchor="b">
            <a:spAutoFit/>
          </a:bodyPr>
          <a:lstStyle/>
          <a:p>
            <a:pPr lvl="0">
              <a:defRPr/>
            </a:pPr>
            <a:r>
              <a:rPr lang="en-GB" sz="800" dirty="0"/>
              <a:t>1. Torres A, et al. </a:t>
            </a:r>
            <a:r>
              <a:rPr lang="en-GB" sz="800" i="1" dirty="0"/>
              <a:t>Expert Rev Anti Infect Ther</a:t>
            </a:r>
            <a:r>
              <a:rPr lang="en-GB" sz="800" dirty="0"/>
              <a:t>. 2025;31:1-13. </a:t>
            </a:r>
          </a:p>
        </p:txBody>
      </p:sp>
      <p:grpSp>
        <p:nvGrpSpPr>
          <p:cNvPr id="51" name="Group 50">
            <a:extLst>
              <a:ext uri="{FF2B5EF4-FFF2-40B4-BE49-F238E27FC236}">
                <a16:creationId xmlns:a16="http://schemas.microsoft.com/office/drawing/2014/main" id="{D01DFC5A-C03C-ECEB-A515-C1EA91E3F2A9}"/>
              </a:ext>
            </a:extLst>
          </p:cNvPr>
          <p:cNvGrpSpPr/>
          <p:nvPr/>
        </p:nvGrpSpPr>
        <p:grpSpPr>
          <a:xfrm>
            <a:off x="0" y="1323975"/>
            <a:ext cx="12192001" cy="4712057"/>
            <a:chOff x="1773942" y="857251"/>
            <a:chExt cx="9080915" cy="4962108"/>
          </a:xfrm>
        </p:grpSpPr>
        <p:sp>
          <p:nvSpPr>
            <p:cNvPr id="5" name="Rectangle 4">
              <a:extLst>
                <a:ext uri="{FF2B5EF4-FFF2-40B4-BE49-F238E27FC236}">
                  <a16:creationId xmlns:a16="http://schemas.microsoft.com/office/drawing/2014/main" id="{DCA636D3-0280-C1ED-DEFF-8659B6E049F4}"/>
                </a:ext>
              </a:extLst>
            </p:cNvPr>
            <p:cNvSpPr/>
            <p:nvPr/>
          </p:nvSpPr>
          <p:spPr>
            <a:xfrm>
              <a:off x="1773943" y="857251"/>
              <a:ext cx="9080914" cy="3469274"/>
            </a:xfrm>
            <a:prstGeom prst="rect">
              <a:avLst/>
            </a:prstGeom>
            <a:solidFill>
              <a:srgbClr val="E5F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TextBox 5">
              <a:extLst>
                <a:ext uri="{FF2B5EF4-FFF2-40B4-BE49-F238E27FC236}">
                  <a16:creationId xmlns:a16="http://schemas.microsoft.com/office/drawing/2014/main" id="{E0CB2788-B4DD-424F-FCAE-18EE5AF5D4D1}"/>
                </a:ext>
              </a:extLst>
            </p:cNvPr>
            <p:cNvSpPr txBox="1"/>
            <p:nvPr/>
          </p:nvSpPr>
          <p:spPr>
            <a:xfrm>
              <a:off x="2998420" y="1670945"/>
              <a:ext cx="2039731" cy="185061"/>
            </a:xfrm>
            <a:prstGeom prst="rect">
              <a:avLst/>
            </a:prstGeom>
            <a:noFill/>
          </p:spPr>
          <p:txBody>
            <a:bodyPr wrap="square" lIns="0" tIns="0" rIns="0" bIns="0" rtlCol="0" anchor="ctr" anchorCtr="0">
              <a:spAutoFit/>
            </a:bodyPr>
            <a:lstStyle/>
            <a:p>
              <a:pPr defTabSz="171390">
                <a:defRPr/>
              </a:pPr>
              <a:r>
                <a:rPr lang="en-GB" sz="1350" b="1">
                  <a:solidFill>
                    <a:srgbClr val="0000C9"/>
                  </a:solidFill>
                  <a:latin typeface="Pfizer Tomorrow"/>
                </a:rPr>
                <a:t>Kardiyopulmoner hastalıklar</a:t>
              </a:r>
            </a:p>
          </p:txBody>
        </p:sp>
        <p:cxnSp>
          <p:nvCxnSpPr>
            <p:cNvPr id="7" name="Straight Connector 6">
              <a:extLst>
                <a:ext uri="{FF2B5EF4-FFF2-40B4-BE49-F238E27FC236}">
                  <a16:creationId xmlns:a16="http://schemas.microsoft.com/office/drawing/2014/main" id="{3605F855-B0D4-9355-4375-27A773984CAC}"/>
                </a:ext>
              </a:extLst>
            </p:cNvPr>
            <p:cNvCxnSpPr>
              <a:cxnSpLocks/>
            </p:cNvCxnSpPr>
            <p:nvPr/>
          </p:nvCxnSpPr>
          <p:spPr>
            <a:xfrm>
              <a:off x="2854512" y="1562219"/>
              <a:ext cx="0" cy="427625"/>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2B48E00D-08D6-AC3B-007A-71DB71BE16A5}"/>
                </a:ext>
              </a:extLst>
            </p:cNvPr>
            <p:cNvSpPr txBox="1"/>
            <p:nvPr/>
          </p:nvSpPr>
          <p:spPr>
            <a:xfrm>
              <a:off x="5939752" y="1670694"/>
              <a:ext cx="1340837" cy="185061"/>
            </a:xfrm>
            <a:prstGeom prst="rect">
              <a:avLst/>
            </a:prstGeom>
            <a:noFill/>
          </p:spPr>
          <p:txBody>
            <a:bodyPr wrap="square" lIns="0" tIns="0" rIns="0" bIns="0" rtlCol="0" anchor="ctr" anchorCtr="0">
              <a:spAutoFit/>
            </a:bodyPr>
            <a:lstStyle/>
            <a:p>
              <a:pPr defTabSz="171390">
                <a:defRPr/>
              </a:pPr>
              <a:r>
                <a:rPr lang="en-GB" sz="1350" b="1" err="1">
                  <a:solidFill>
                    <a:srgbClr val="0000C9"/>
                  </a:solidFill>
                  <a:latin typeface="Pfizer Tomorrow"/>
                </a:rPr>
                <a:t>Böbrek</a:t>
              </a:r>
              <a:r>
                <a:rPr lang="en-GB" sz="1350" b="1">
                  <a:solidFill>
                    <a:srgbClr val="0000C9"/>
                  </a:solidFill>
                  <a:latin typeface="Pfizer Tomorrow"/>
                </a:rPr>
                <a:t> </a:t>
              </a:r>
              <a:r>
                <a:rPr lang="en-GB" sz="1350" b="1" err="1">
                  <a:solidFill>
                    <a:srgbClr val="0000C9"/>
                  </a:solidFill>
                  <a:latin typeface="Pfizer Tomorrow"/>
                </a:rPr>
                <a:t>hastalıkları</a:t>
              </a:r>
              <a:endParaRPr lang="en-GB" sz="1350" b="1">
                <a:solidFill>
                  <a:srgbClr val="0000C9"/>
                </a:solidFill>
                <a:latin typeface="Pfizer Tomorrow"/>
              </a:endParaRPr>
            </a:p>
          </p:txBody>
        </p:sp>
        <p:cxnSp>
          <p:nvCxnSpPr>
            <p:cNvPr id="9" name="Straight Connector 8">
              <a:extLst>
                <a:ext uri="{FF2B5EF4-FFF2-40B4-BE49-F238E27FC236}">
                  <a16:creationId xmlns:a16="http://schemas.microsoft.com/office/drawing/2014/main" id="{D51F5379-88BB-130B-DD10-E21AFBA4C8AE}"/>
                </a:ext>
              </a:extLst>
            </p:cNvPr>
            <p:cNvCxnSpPr>
              <a:cxnSpLocks/>
            </p:cNvCxnSpPr>
            <p:nvPr/>
          </p:nvCxnSpPr>
          <p:spPr>
            <a:xfrm>
              <a:off x="5815103" y="1561968"/>
              <a:ext cx="0" cy="427625"/>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5C32A980-8DD4-56FB-14E8-A0BB732E8D97}"/>
                </a:ext>
              </a:extLst>
            </p:cNvPr>
            <p:cNvSpPr txBox="1"/>
            <p:nvPr/>
          </p:nvSpPr>
          <p:spPr>
            <a:xfrm>
              <a:off x="3049680" y="2246674"/>
              <a:ext cx="3379451" cy="185061"/>
            </a:xfrm>
            <a:prstGeom prst="rect">
              <a:avLst/>
            </a:prstGeom>
            <a:noFill/>
          </p:spPr>
          <p:txBody>
            <a:bodyPr wrap="square" lIns="0" tIns="0" rIns="0" bIns="0" rtlCol="0" anchor="ctr" anchorCtr="0">
              <a:spAutoFit/>
            </a:bodyPr>
            <a:lstStyle/>
            <a:p>
              <a:pPr defTabSz="171390">
                <a:defRPr/>
              </a:pPr>
              <a:r>
                <a:rPr lang="en-GB" sz="1350" b="1" dirty="0" err="1">
                  <a:solidFill>
                    <a:srgbClr val="0000C9"/>
                  </a:solidFill>
                  <a:latin typeface="Pfizer Tomorrow"/>
                </a:rPr>
                <a:t>Nörolojik</a:t>
              </a:r>
              <a:r>
                <a:rPr lang="en-GB" sz="1350" b="1" dirty="0">
                  <a:solidFill>
                    <a:srgbClr val="0000C9"/>
                  </a:solidFill>
                  <a:latin typeface="Pfizer Tomorrow"/>
                </a:rPr>
                <a:t> </a:t>
              </a:r>
              <a:r>
                <a:rPr lang="en-GB" sz="1350" b="1" dirty="0" err="1">
                  <a:solidFill>
                    <a:srgbClr val="0000C9"/>
                  </a:solidFill>
                  <a:latin typeface="Pfizer Tomorrow"/>
                </a:rPr>
                <a:t>veya</a:t>
              </a:r>
              <a:r>
                <a:rPr lang="en-GB" sz="1350" b="1" dirty="0">
                  <a:solidFill>
                    <a:srgbClr val="0000C9"/>
                  </a:solidFill>
                  <a:latin typeface="Pfizer Tomorrow"/>
                </a:rPr>
                <a:t> </a:t>
              </a:r>
              <a:r>
                <a:rPr lang="en-GB" sz="1350" b="1" dirty="0" err="1">
                  <a:solidFill>
                    <a:srgbClr val="0000C9"/>
                  </a:solidFill>
                  <a:latin typeface="Pfizer Tomorrow"/>
                </a:rPr>
                <a:t>nöromüsküler</a:t>
              </a:r>
              <a:r>
                <a:rPr lang="en-GB" sz="1350" b="1" dirty="0">
                  <a:solidFill>
                    <a:srgbClr val="0000C9"/>
                  </a:solidFill>
                  <a:latin typeface="Pfizer Tomorrow"/>
                </a:rPr>
                <a:t> </a:t>
              </a:r>
              <a:r>
                <a:rPr lang="en-GB" sz="1350" b="1" dirty="0" err="1">
                  <a:solidFill>
                    <a:srgbClr val="0000C9"/>
                  </a:solidFill>
                  <a:latin typeface="Pfizer Tomorrow"/>
                </a:rPr>
                <a:t>durumlar</a:t>
              </a:r>
              <a:r>
                <a:rPr lang="en-GB" sz="1350" b="1" dirty="0">
                  <a:solidFill>
                    <a:srgbClr val="0000C9"/>
                  </a:solidFill>
                  <a:latin typeface="Pfizer Tomorrow"/>
                </a:rPr>
                <a:t> </a:t>
              </a:r>
            </a:p>
          </p:txBody>
        </p:sp>
        <p:cxnSp>
          <p:nvCxnSpPr>
            <p:cNvPr id="11" name="Straight Connector 10">
              <a:extLst>
                <a:ext uri="{FF2B5EF4-FFF2-40B4-BE49-F238E27FC236}">
                  <a16:creationId xmlns:a16="http://schemas.microsoft.com/office/drawing/2014/main" id="{0BC667E1-684E-5084-9834-E90F55FC03A5}"/>
                </a:ext>
              </a:extLst>
            </p:cNvPr>
            <p:cNvCxnSpPr>
              <a:cxnSpLocks/>
            </p:cNvCxnSpPr>
            <p:nvPr/>
          </p:nvCxnSpPr>
          <p:spPr>
            <a:xfrm>
              <a:off x="2868853" y="2137948"/>
              <a:ext cx="0" cy="427625"/>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A9C99EDE-5E8E-90B1-DE8B-9F30D65DBD3D}"/>
                </a:ext>
              </a:extLst>
            </p:cNvPr>
            <p:cNvSpPr txBox="1"/>
            <p:nvPr/>
          </p:nvSpPr>
          <p:spPr>
            <a:xfrm>
              <a:off x="3018679" y="2821574"/>
              <a:ext cx="2424694" cy="185061"/>
            </a:xfrm>
            <a:prstGeom prst="rect">
              <a:avLst/>
            </a:prstGeom>
            <a:noFill/>
          </p:spPr>
          <p:txBody>
            <a:bodyPr wrap="square" lIns="0" tIns="0" rIns="0" bIns="0" rtlCol="0" anchor="ctr" anchorCtr="0">
              <a:spAutoFit/>
            </a:bodyPr>
            <a:lstStyle/>
            <a:p>
              <a:pPr defTabSz="171390">
                <a:defRPr/>
              </a:pPr>
              <a:r>
                <a:rPr lang="en-US" sz="1350" b="1" err="1">
                  <a:solidFill>
                    <a:srgbClr val="0000C9"/>
                  </a:solidFill>
                  <a:latin typeface="Pfizer Tomorrow"/>
                </a:rPr>
                <a:t>Hematolojik</a:t>
              </a:r>
              <a:r>
                <a:rPr lang="en-GB" sz="1350" b="1">
                  <a:solidFill>
                    <a:srgbClr val="0000C9"/>
                  </a:solidFill>
                  <a:latin typeface="Pfizer Tomorrow"/>
                </a:rPr>
                <a:t> </a:t>
              </a:r>
              <a:r>
                <a:rPr lang="en-GB" sz="1350" b="1" err="1">
                  <a:solidFill>
                    <a:srgbClr val="0000C9"/>
                  </a:solidFill>
                  <a:latin typeface="Pfizer Tomorrow"/>
                </a:rPr>
                <a:t>hastalıklar</a:t>
              </a:r>
              <a:endParaRPr lang="en-GB" sz="1350" b="1">
                <a:solidFill>
                  <a:srgbClr val="0000C9"/>
                </a:solidFill>
                <a:latin typeface="Pfizer Tomorrow"/>
              </a:endParaRPr>
            </a:p>
          </p:txBody>
        </p:sp>
        <p:cxnSp>
          <p:nvCxnSpPr>
            <p:cNvPr id="13" name="Straight Connector 12">
              <a:extLst>
                <a:ext uri="{FF2B5EF4-FFF2-40B4-BE49-F238E27FC236}">
                  <a16:creationId xmlns:a16="http://schemas.microsoft.com/office/drawing/2014/main" id="{D46C21EB-0CE1-E614-62C7-4EB223C52302}"/>
                </a:ext>
              </a:extLst>
            </p:cNvPr>
            <p:cNvCxnSpPr>
              <a:cxnSpLocks/>
            </p:cNvCxnSpPr>
            <p:nvPr/>
          </p:nvCxnSpPr>
          <p:spPr>
            <a:xfrm>
              <a:off x="2864161" y="2721210"/>
              <a:ext cx="0" cy="427625"/>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733AEEB2-45F3-3627-3A45-3F7AC577F267}"/>
                </a:ext>
              </a:extLst>
            </p:cNvPr>
            <p:cNvSpPr txBox="1"/>
            <p:nvPr/>
          </p:nvSpPr>
          <p:spPr>
            <a:xfrm>
              <a:off x="5924255" y="2782719"/>
              <a:ext cx="1448142" cy="185061"/>
            </a:xfrm>
            <a:prstGeom prst="rect">
              <a:avLst/>
            </a:prstGeom>
            <a:noFill/>
          </p:spPr>
          <p:txBody>
            <a:bodyPr wrap="square" lIns="0" tIns="0" rIns="0" bIns="0" rtlCol="0" anchor="ctr" anchorCtr="0">
              <a:spAutoFit/>
            </a:bodyPr>
            <a:lstStyle/>
            <a:p>
              <a:pPr defTabSz="171390">
                <a:defRPr/>
              </a:pPr>
              <a:r>
                <a:rPr lang="en-GB" sz="1350" b="1">
                  <a:solidFill>
                    <a:srgbClr val="0000C9"/>
                  </a:solidFill>
                  <a:latin typeface="Pfizer Tomorrow"/>
                </a:rPr>
                <a:t>Diabetes Mellitus</a:t>
              </a:r>
            </a:p>
          </p:txBody>
        </p:sp>
        <p:cxnSp>
          <p:nvCxnSpPr>
            <p:cNvPr id="15" name="Straight Connector 14">
              <a:extLst>
                <a:ext uri="{FF2B5EF4-FFF2-40B4-BE49-F238E27FC236}">
                  <a16:creationId xmlns:a16="http://schemas.microsoft.com/office/drawing/2014/main" id="{269E16C6-AD45-34F4-AADD-E4C6E56AC2C4}"/>
                </a:ext>
              </a:extLst>
            </p:cNvPr>
            <p:cNvCxnSpPr>
              <a:cxnSpLocks/>
            </p:cNvCxnSpPr>
            <p:nvPr/>
          </p:nvCxnSpPr>
          <p:spPr>
            <a:xfrm>
              <a:off x="5796649" y="2682355"/>
              <a:ext cx="0" cy="427625"/>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6" name="Graphic 15">
              <a:extLst>
                <a:ext uri="{FF2B5EF4-FFF2-40B4-BE49-F238E27FC236}">
                  <a16:creationId xmlns:a16="http://schemas.microsoft.com/office/drawing/2014/main" id="{1A68AB65-6845-46FB-99C2-627290D85FF8}"/>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bwMode="gray">
            <a:xfrm>
              <a:off x="2359364" y="2722572"/>
              <a:ext cx="405173" cy="405173"/>
            </a:xfrm>
            <a:prstGeom prst="rect">
              <a:avLst/>
            </a:prstGeom>
          </p:spPr>
        </p:pic>
        <p:pic>
          <p:nvPicPr>
            <p:cNvPr id="17" name="Graphic 16">
              <a:extLst>
                <a:ext uri="{FF2B5EF4-FFF2-40B4-BE49-F238E27FC236}">
                  <a16:creationId xmlns:a16="http://schemas.microsoft.com/office/drawing/2014/main" id="{8A90A0ED-78B0-260A-B360-E15CDCA9250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bwMode="gray">
            <a:xfrm>
              <a:off x="5291852" y="2683717"/>
              <a:ext cx="405173" cy="405173"/>
            </a:xfrm>
            <a:prstGeom prst="rect">
              <a:avLst/>
            </a:prstGeom>
          </p:spPr>
        </p:pic>
        <p:pic>
          <p:nvPicPr>
            <p:cNvPr id="18" name="Graphic 17">
              <a:extLst>
                <a:ext uri="{FF2B5EF4-FFF2-40B4-BE49-F238E27FC236}">
                  <a16:creationId xmlns:a16="http://schemas.microsoft.com/office/drawing/2014/main" id="{76A08784-DBAE-379E-D2FA-875559F5EC82}"/>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310306" y="1571691"/>
              <a:ext cx="405173" cy="405173"/>
            </a:xfrm>
            <a:prstGeom prst="rect">
              <a:avLst/>
            </a:prstGeom>
          </p:spPr>
        </p:pic>
        <p:pic>
          <p:nvPicPr>
            <p:cNvPr id="19" name="Graphic 18">
              <a:extLst>
                <a:ext uri="{FF2B5EF4-FFF2-40B4-BE49-F238E27FC236}">
                  <a16:creationId xmlns:a16="http://schemas.microsoft.com/office/drawing/2014/main" id="{F110A70C-04AD-3C5A-3B71-5DC3A1705928}"/>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2364056" y="2147671"/>
              <a:ext cx="405173" cy="405173"/>
            </a:xfrm>
            <a:prstGeom prst="rect">
              <a:avLst/>
            </a:prstGeom>
          </p:spPr>
        </p:pic>
        <p:pic>
          <p:nvPicPr>
            <p:cNvPr id="20" name="Graphic 19">
              <a:extLst>
                <a:ext uri="{FF2B5EF4-FFF2-40B4-BE49-F238E27FC236}">
                  <a16:creationId xmlns:a16="http://schemas.microsoft.com/office/drawing/2014/main" id="{CC3337DA-12F3-985E-43D3-8538D82184CA}"/>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2349715" y="1571942"/>
              <a:ext cx="405173" cy="405173"/>
            </a:xfrm>
            <a:prstGeom prst="rect">
              <a:avLst/>
            </a:prstGeom>
          </p:spPr>
        </p:pic>
        <p:sp>
          <p:nvSpPr>
            <p:cNvPr id="21" name="Rectangle 20">
              <a:extLst>
                <a:ext uri="{FF2B5EF4-FFF2-40B4-BE49-F238E27FC236}">
                  <a16:creationId xmlns:a16="http://schemas.microsoft.com/office/drawing/2014/main" id="{BE0216EC-2EBF-2199-23CC-BC1C2AE169B0}"/>
                </a:ext>
              </a:extLst>
            </p:cNvPr>
            <p:cNvSpPr/>
            <p:nvPr/>
          </p:nvSpPr>
          <p:spPr>
            <a:xfrm>
              <a:off x="1773942" y="3883317"/>
              <a:ext cx="9080914" cy="1936042"/>
            </a:xfrm>
            <a:prstGeom prst="rect">
              <a:avLst/>
            </a:prstGeom>
            <a:solidFill>
              <a:schemeClr val="tx2">
                <a:alpha val="1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TextBox 21">
              <a:extLst>
                <a:ext uri="{FF2B5EF4-FFF2-40B4-BE49-F238E27FC236}">
                  <a16:creationId xmlns:a16="http://schemas.microsoft.com/office/drawing/2014/main" id="{A7397F66-2C3E-B0FA-5288-EC7FD909DE01}"/>
                </a:ext>
              </a:extLst>
            </p:cNvPr>
            <p:cNvSpPr txBox="1"/>
            <p:nvPr/>
          </p:nvSpPr>
          <p:spPr>
            <a:xfrm>
              <a:off x="3044712" y="3358596"/>
              <a:ext cx="3719498" cy="185061"/>
            </a:xfrm>
            <a:prstGeom prst="rect">
              <a:avLst/>
            </a:prstGeom>
            <a:noFill/>
          </p:spPr>
          <p:txBody>
            <a:bodyPr wrap="square" lIns="0" tIns="0" rIns="0" bIns="0" rtlCol="0" anchor="ctr" anchorCtr="0">
              <a:spAutoFit/>
            </a:bodyPr>
            <a:lstStyle/>
            <a:p>
              <a:pPr defTabSz="171390">
                <a:defRPr/>
              </a:pPr>
              <a:r>
                <a:rPr lang="en-GB" sz="1350" b="1">
                  <a:solidFill>
                    <a:schemeClr val="accent1"/>
                  </a:solidFill>
                  <a:latin typeface="Pfizer Tomorrow"/>
                </a:rPr>
                <a:t>Orta </a:t>
              </a:r>
              <a:r>
                <a:rPr lang="en-GB" sz="1350" b="1" err="1">
                  <a:solidFill>
                    <a:schemeClr val="accent1"/>
                  </a:solidFill>
                  <a:latin typeface="Pfizer Tomorrow"/>
                </a:rPr>
                <a:t>veya</a:t>
              </a:r>
              <a:r>
                <a:rPr lang="en-GB" sz="1350" b="1">
                  <a:solidFill>
                    <a:schemeClr val="accent1"/>
                  </a:solidFill>
                  <a:latin typeface="Pfizer Tomorrow"/>
                </a:rPr>
                <a:t> </a:t>
              </a:r>
              <a:r>
                <a:rPr lang="en-GB" sz="1350" b="1" err="1">
                  <a:solidFill>
                    <a:schemeClr val="accent1"/>
                  </a:solidFill>
                  <a:latin typeface="Pfizer Tomorrow"/>
                </a:rPr>
                <a:t>ciddi</a:t>
              </a:r>
              <a:r>
                <a:rPr lang="en-GB" sz="1350" b="1">
                  <a:solidFill>
                    <a:schemeClr val="accent1"/>
                  </a:solidFill>
                  <a:latin typeface="Pfizer Tomorrow"/>
                </a:rPr>
                <a:t> </a:t>
              </a:r>
              <a:r>
                <a:rPr lang="en-GB" sz="1350" b="1" err="1">
                  <a:solidFill>
                    <a:schemeClr val="accent1"/>
                  </a:solidFill>
                  <a:latin typeface="Pfizer Tomorrow"/>
                </a:rPr>
                <a:t>derecede</a:t>
              </a:r>
              <a:r>
                <a:rPr lang="en-GB" sz="1350" b="1">
                  <a:solidFill>
                    <a:schemeClr val="accent1"/>
                  </a:solidFill>
                  <a:latin typeface="Pfizer Tomorrow"/>
                </a:rPr>
                <a:t> </a:t>
              </a:r>
              <a:r>
                <a:rPr lang="en-GB" sz="1350" b="1" err="1">
                  <a:solidFill>
                    <a:schemeClr val="accent1"/>
                  </a:solidFill>
                  <a:latin typeface="Pfizer Tomorrow"/>
                </a:rPr>
                <a:t>immün</a:t>
              </a:r>
              <a:r>
                <a:rPr lang="en-GB" sz="1350" b="1">
                  <a:solidFill>
                    <a:schemeClr val="accent1"/>
                  </a:solidFill>
                  <a:latin typeface="Pfizer Tomorrow"/>
                </a:rPr>
                <a:t> </a:t>
              </a:r>
              <a:r>
                <a:rPr lang="en-GB" sz="1350" b="1" err="1">
                  <a:solidFill>
                    <a:schemeClr val="accent1"/>
                  </a:solidFill>
                  <a:latin typeface="Pfizer Tomorrow"/>
                </a:rPr>
                <a:t>yetmezlik</a:t>
              </a:r>
              <a:endParaRPr lang="en-GB" sz="1350" b="1">
                <a:solidFill>
                  <a:schemeClr val="accent1"/>
                </a:solidFill>
                <a:latin typeface="Pfizer Tomorrow"/>
              </a:endParaRPr>
            </a:p>
          </p:txBody>
        </p:sp>
        <p:cxnSp>
          <p:nvCxnSpPr>
            <p:cNvPr id="23" name="Straight Connector 22">
              <a:extLst>
                <a:ext uri="{FF2B5EF4-FFF2-40B4-BE49-F238E27FC236}">
                  <a16:creationId xmlns:a16="http://schemas.microsoft.com/office/drawing/2014/main" id="{5CAD795B-7C62-8216-9D58-4950653A8748}"/>
                </a:ext>
              </a:extLst>
            </p:cNvPr>
            <p:cNvCxnSpPr>
              <a:cxnSpLocks/>
            </p:cNvCxnSpPr>
            <p:nvPr/>
          </p:nvCxnSpPr>
          <p:spPr>
            <a:xfrm>
              <a:off x="2854512" y="3249870"/>
              <a:ext cx="0" cy="427625"/>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E1A044CD-B214-DA21-71B6-D72FB8AE1B4B}"/>
                </a:ext>
              </a:extLst>
            </p:cNvPr>
            <p:cNvSpPr txBox="1"/>
            <p:nvPr/>
          </p:nvSpPr>
          <p:spPr>
            <a:xfrm>
              <a:off x="5892211" y="4524371"/>
              <a:ext cx="871995" cy="185061"/>
            </a:xfrm>
            <a:prstGeom prst="rect">
              <a:avLst/>
            </a:prstGeom>
            <a:noFill/>
          </p:spPr>
          <p:txBody>
            <a:bodyPr wrap="square" lIns="0" tIns="0" rIns="0" bIns="0" rtlCol="0" anchor="ctr" anchorCtr="0">
              <a:spAutoFit/>
            </a:bodyPr>
            <a:lstStyle>
              <a:defPPr>
                <a:defRPr lang="en-US"/>
              </a:defPPr>
              <a:lvl1pPr>
                <a:defRPr sz="1800" b="1">
                  <a:solidFill>
                    <a:schemeClr val="accent1"/>
                  </a:solidFill>
                  <a:latin typeface="+mj-lt"/>
                </a:defRPr>
              </a:lvl1pPr>
            </a:lstStyle>
            <a:p>
              <a:pPr defTabSz="171390">
                <a:defRPr/>
              </a:pPr>
              <a:r>
                <a:rPr lang="en-US" sz="1350" err="1">
                  <a:solidFill>
                    <a:schemeClr val="tx2"/>
                  </a:solidFill>
                  <a:latin typeface="Pfizer Tomorrow"/>
                </a:rPr>
                <a:t>Kırılganlık</a:t>
              </a:r>
              <a:endParaRPr lang="en-GB" sz="1350">
                <a:solidFill>
                  <a:schemeClr val="tx2"/>
                </a:solidFill>
                <a:latin typeface="Pfizer Tomorrow"/>
              </a:endParaRPr>
            </a:p>
          </p:txBody>
        </p:sp>
        <p:cxnSp>
          <p:nvCxnSpPr>
            <p:cNvPr id="25" name="Straight Connector 24">
              <a:extLst>
                <a:ext uri="{FF2B5EF4-FFF2-40B4-BE49-F238E27FC236}">
                  <a16:creationId xmlns:a16="http://schemas.microsoft.com/office/drawing/2014/main" id="{3E1B75FC-FC75-7C62-3FD1-F99543BDD7F3}"/>
                </a:ext>
              </a:extLst>
            </p:cNvPr>
            <p:cNvCxnSpPr>
              <a:cxnSpLocks/>
            </p:cNvCxnSpPr>
            <p:nvPr/>
          </p:nvCxnSpPr>
          <p:spPr>
            <a:xfrm>
              <a:off x="5780483" y="4415645"/>
              <a:ext cx="0" cy="427625"/>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56204F10-C257-C798-8D95-D94516F59B02}"/>
                </a:ext>
              </a:extLst>
            </p:cNvPr>
            <p:cNvSpPr txBox="1"/>
            <p:nvPr/>
          </p:nvSpPr>
          <p:spPr>
            <a:xfrm>
              <a:off x="2996493" y="4532439"/>
              <a:ext cx="1969740" cy="185061"/>
            </a:xfrm>
            <a:prstGeom prst="rect">
              <a:avLst/>
            </a:prstGeom>
            <a:noFill/>
          </p:spPr>
          <p:txBody>
            <a:bodyPr wrap="square" lIns="0" tIns="0" rIns="0" bIns="0" rtlCol="0" anchor="ctr" anchorCtr="0">
              <a:spAutoFit/>
            </a:bodyPr>
            <a:lstStyle/>
            <a:p>
              <a:pPr defTabSz="171390">
                <a:defRPr/>
              </a:pPr>
              <a:r>
                <a:rPr lang="en-GB" sz="1350" b="1" err="1">
                  <a:solidFill>
                    <a:schemeClr val="tx2"/>
                  </a:solidFill>
                  <a:latin typeface="Pfizer Tomorrow"/>
                </a:rPr>
                <a:t>Bakım</a:t>
              </a:r>
              <a:r>
                <a:rPr lang="en-GB" sz="1350" b="1">
                  <a:solidFill>
                    <a:schemeClr val="tx2"/>
                  </a:solidFill>
                  <a:latin typeface="Pfizer Tomorrow"/>
                </a:rPr>
                <a:t> </a:t>
              </a:r>
              <a:r>
                <a:rPr lang="en-GB" sz="1350" b="1" err="1">
                  <a:solidFill>
                    <a:schemeClr val="tx2"/>
                  </a:solidFill>
                  <a:latin typeface="Pfizer Tomorrow"/>
                </a:rPr>
                <a:t>evi</a:t>
              </a:r>
              <a:r>
                <a:rPr lang="en-GB" sz="1350" b="1">
                  <a:solidFill>
                    <a:schemeClr val="tx2"/>
                  </a:solidFill>
                  <a:latin typeface="Pfizer Tomorrow"/>
                </a:rPr>
                <a:t> </a:t>
              </a:r>
              <a:r>
                <a:rPr lang="en-GB" sz="1350" b="1" err="1">
                  <a:solidFill>
                    <a:schemeClr val="tx2"/>
                  </a:solidFill>
                  <a:latin typeface="Pfizer Tomorrow"/>
                </a:rPr>
                <a:t>ikametgahı</a:t>
              </a:r>
              <a:endParaRPr lang="en-GB" sz="1350" b="1">
                <a:solidFill>
                  <a:schemeClr val="tx2"/>
                </a:solidFill>
                <a:latin typeface="Pfizer Tomorrow"/>
              </a:endParaRPr>
            </a:p>
          </p:txBody>
        </p:sp>
        <p:cxnSp>
          <p:nvCxnSpPr>
            <p:cNvPr id="27" name="Straight Connector 26">
              <a:extLst>
                <a:ext uri="{FF2B5EF4-FFF2-40B4-BE49-F238E27FC236}">
                  <a16:creationId xmlns:a16="http://schemas.microsoft.com/office/drawing/2014/main" id="{DFCE5C4E-1040-2278-D3B8-63BCB9395779}"/>
                </a:ext>
              </a:extLst>
            </p:cNvPr>
            <p:cNvCxnSpPr>
              <a:cxnSpLocks/>
            </p:cNvCxnSpPr>
            <p:nvPr/>
          </p:nvCxnSpPr>
          <p:spPr>
            <a:xfrm>
              <a:off x="2854513" y="4423713"/>
              <a:ext cx="0" cy="427625"/>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345645DB-82D7-A034-76AE-2B3754296899}"/>
                </a:ext>
              </a:extLst>
            </p:cNvPr>
            <p:cNvSpPr txBox="1"/>
            <p:nvPr/>
          </p:nvSpPr>
          <p:spPr>
            <a:xfrm>
              <a:off x="2987611" y="5098774"/>
              <a:ext cx="1297334" cy="185061"/>
            </a:xfrm>
            <a:prstGeom prst="rect">
              <a:avLst/>
            </a:prstGeom>
            <a:noFill/>
          </p:spPr>
          <p:txBody>
            <a:bodyPr wrap="square" lIns="0" tIns="0" rIns="0" bIns="0" rtlCol="0" anchor="ctr" anchorCtr="0">
              <a:spAutoFit/>
            </a:bodyPr>
            <a:lstStyle/>
            <a:p>
              <a:pPr defTabSz="171390">
                <a:defRPr/>
              </a:pPr>
              <a:r>
                <a:rPr lang="en-GB" sz="1350" b="1">
                  <a:solidFill>
                    <a:schemeClr val="tx2"/>
                  </a:solidFill>
                  <a:latin typeface="Pfizer Tomorrow"/>
                </a:rPr>
                <a:t>Gebelik</a:t>
              </a:r>
            </a:p>
          </p:txBody>
        </p:sp>
        <p:cxnSp>
          <p:nvCxnSpPr>
            <p:cNvPr id="29" name="Straight Connector 28">
              <a:extLst>
                <a:ext uri="{FF2B5EF4-FFF2-40B4-BE49-F238E27FC236}">
                  <a16:creationId xmlns:a16="http://schemas.microsoft.com/office/drawing/2014/main" id="{E490F828-ACD3-7C8E-7EB6-591B5F46E2FB}"/>
                </a:ext>
              </a:extLst>
            </p:cNvPr>
            <p:cNvCxnSpPr>
              <a:cxnSpLocks/>
            </p:cNvCxnSpPr>
            <p:nvPr/>
          </p:nvCxnSpPr>
          <p:spPr>
            <a:xfrm>
              <a:off x="2864161" y="4998409"/>
              <a:ext cx="0" cy="427625"/>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347D74AC-099D-9A45-8C8F-BE31CBB6CA2D}"/>
                </a:ext>
              </a:extLst>
            </p:cNvPr>
            <p:cNvSpPr txBox="1"/>
            <p:nvPr/>
          </p:nvSpPr>
          <p:spPr>
            <a:xfrm>
              <a:off x="5905234" y="5095631"/>
              <a:ext cx="1198982" cy="185061"/>
            </a:xfrm>
            <a:prstGeom prst="rect">
              <a:avLst/>
            </a:prstGeom>
            <a:noFill/>
          </p:spPr>
          <p:txBody>
            <a:bodyPr wrap="square" lIns="0" tIns="0" rIns="0" bIns="0" rtlCol="0" anchor="ctr" anchorCtr="0">
              <a:spAutoFit/>
            </a:bodyPr>
            <a:lstStyle/>
            <a:p>
              <a:pPr defTabSz="171390">
                <a:defRPr/>
              </a:pPr>
              <a:r>
                <a:rPr lang="en-GB" sz="1350" b="1">
                  <a:solidFill>
                    <a:schemeClr val="tx2"/>
                  </a:solidFill>
                  <a:latin typeface="Pfizer Tomorrow"/>
                </a:rPr>
                <a:t>İleri yaş</a:t>
              </a:r>
            </a:p>
          </p:txBody>
        </p:sp>
        <p:cxnSp>
          <p:nvCxnSpPr>
            <p:cNvPr id="31" name="Straight Connector 30">
              <a:extLst>
                <a:ext uri="{FF2B5EF4-FFF2-40B4-BE49-F238E27FC236}">
                  <a16:creationId xmlns:a16="http://schemas.microsoft.com/office/drawing/2014/main" id="{6A09DAEE-B823-F629-9048-B041AB98F8DE}"/>
                </a:ext>
              </a:extLst>
            </p:cNvPr>
            <p:cNvCxnSpPr>
              <a:cxnSpLocks/>
            </p:cNvCxnSpPr>
            <p:nvPr/>
          </p:nvCxnSpPr>
          <p:spPr>
            <a:xfrm>
              <a:off x="5784493" y="4995267"/>
              <a:ext cx="0" cy="427625"/>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pic>
          <p:nvPicPr>
            <p:cNvPr id="32" name="Graphic 31">
              <a:extLst>
                <a:ext uri="{FF2B5EF4-FFF2-40B4-BE49-F238E27FC236}">
                  <a16:creationId xmlns:a16="http://schemas.microsoft.com/office/drawing/2014/main" id="{42CBA188-3D22-0C7D-2D70-C3E0015F562C}"/>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bwMode="gray">
            <a:xfrm>
              <a:off x="2380481" y="4437532"/>
              <a:ext cx="395721" cy="395721"/>
            </a:xfrm>
            <a:prstGeom prst="rect">
              <a:avLst/>
            </a:prstGeom>
          </p:spPr>
        </p:pic>
        <p:pic>
          <p:nvPicPr>
            <p:cNvPr id="33" name="Graphic 32" descr="Man with cane with solid fill">
              <a:extLst>
                <a:ext uri="{FF2B5EF4-FFF2-40B4-BE49-F238E27FC236}">
                  <a16:creationId xmlns:a16="http://schemas.microsoft.com/office/drawing/2014/main" id="{5E69E4AC-9B26-4816-3BDC-F82C9576A9E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305103" y="5017450"/>
              <a:ext cx="405173" cy="405173"/>
            </a:xfrm>
            <a:prstGeom prst="rect">
              <a:avLst/>
            </a:prstGeom>
          </p:spPr>
        </p:pic>
        <p:pic>
          <p:nvPicPr>
            <p:cNvPr id="34" name="Graphic 33">
              <a:extLst>
                <a:ext uri="{FF2B5EF4-FFF2-40B4-BE49-F238E27FC236}">
                  <a16:creationId xmlns:a16="http://schemas.microsoft.com/office/drawing/2014/main" id="{917B353B-AF7E-2305-ABA8-0B79C679B6EC}"/>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2375122" y="3259594"/>
              <a:ext cx="405173" cy="405173"/>
            </a:xfrm>
            <a:prstGeom prst="rect">
              <a:avLst/>
            </a:prstGeom>
          </p:spPr>
        </p:pic>
        <p:pic>
          <p:nvPicPr>
            <p:cNvPr id="35" name="Graphic 34">
              <a:extLst>
                <a:ext uri="{FF2B5EF4-FFF2-40B4-BE49-F238E27FC236}">
                  <a16:creationId xmlns:a16="http://schemas.microsoft.com/office/drawing/2014/main" id="{80AD2D55-79AB-9295-A913-7CB5A005B0BA}"/>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2384771" y="4974842"/>
              <a:ext cx="405173" cy="405173"/>
            </a:xfrm>
            <a:prstGeom prst="rect">
              <a:avLst/>
            </a:prstGeom>
          </p:spPr>
        </p:pic>
        <p:sp>
          <p:nvSpPr>
            <p:cNvPr id="36" name="Graphic 11">
              <a:extLst>
                <a:ext uri="{FF2B5EF4-FFF2-40B4-BE49-F238E27FC236}">
                  <a16:creationId xmlns:a16="http://schemas.microsoft.com/office/drawing/2014/main" id="{8DBB13CC-4BD3-6446-BD31-FC67AD2C211D}"/>
                </a:ext>
              </a:extLst>
            </p:cNvPr>
            <p:cNvSpPr/>
            <p:nvPr/>
          </p:nvSpPr>
          <p:spPr>
            <a:xfrm>
              <a:off x="5409534" y="4419626"/>
              <a:ext cx="244721" cy="462662"/>
            </a:xfrm>
            <a:custGeom>
              <a:avLst/>
              <a:gdLst>
                <a:gd name="connsiteX0" fmla="*/ 486438 w 517644"/>
                <a:gd name="connsiteY0" fmla="*/ 182157 h 825054"/>
                <a:gd name="connsiteX1" fmla="*/ 486438 w 517644"/>
                <a:gd name="connsiteY1" fmla="*/ 31206 h 825054"/>
                <a:gd name="connsiteX2" fmla="*/ 335487 w 517644"/>
                <a:gd name="connsiteY2" fmla="*/ 31206 h 825054"/>
                <a:gd name="connsiteX3" fmla="*/ 317894 w 517644"/>
                <a:gd name="connsiteY3" fmla="*/ 158756 h 825054"/>
                <a:gd name="connsiteX4" fmla="*/ 234922 w 517644"/>
                <a:gd name="connsiteY4" fmla="*/ 172370 h 825054"/>
                <a:gd name="connsiteX5" fmla="*/ 49913 w 517644"/>
                <a:gd name="connsiteY5" fmla="*/ 298278 h 825054"/>
                <a:gd name="connsiteX6" fmla="*/ 0 w 517644"/>
                <a:gd name="connsiteY6" fmla="*/ 388600 h 825054"/>
                <a:gd name="connsiteX7" fmla="*/ 0 w 517644"/>
                <a:gd name="connsiteY7" fmla="*/ 764796 h 825054"/>
                <a:gd name="connsiteX8" fmla="*/ 52534 w 517644"/>
                <a:gd name="connsiteY8" fmla="*/ 824782 h 825054"/>
                <a:gd name="connsiteX9" fmla="*/ 97374 w 517644"/>
                <a:gd name="connsiteY9" fmla="*/ 809927 h 825054"/>
                <a:gd name="connsiteX10" fmla="*/ 106736 w 517644"/>
                <a:gd name="connsiteY10" fmla="*/ 799011 h 825054"/>
                <a:gd name="connsiteX11" fmla="*/ 116098 w 517644"/>
                <a:gd name="connsiteY11" fmla="*/ 809927 h 825054"/>
                <a:gd name="connsiteX12" fmla="*/ 155376 w 517644"/>
                <a:gd name="connsiteY12" fmla="*/ 825054 h 825054"/>
                <a:gd name="connsiteX13" fmla="*/ 160925 w 517644"/>
                <a:gd name="connsiteY13" fmla="*/ 824791 h 825054"/>
                <a:gd name="connsiteX14" fmla="*/ 213469 w 517644"/>
                <a:gd name="connsiteY14" fmla="*/ 764768 h 825054"/>
                <a:gd name="connsiteX15" fmla="*/ 213469 w 517644"/>
                <a:gd name="connsiteY15" fmla="*/ 617278 h 825054"/>
                <a:gd name="connsiteX16" fmla="*/ 245210 w 517644"/>
                <a:gd name="connsiteY16" fmla="*/ 633646 h 825054"/>
                <a:gd name="connsiteX17" fmla="*/ 311338 w 517644"/>
                <a:gd name="connsiteY17" fmla="*/ 589817 h 825054"/>
                <a:gd name="connsiteX18" fmla="*/ 417840 w 517644"/>
                <a:gd name="connsiteY18" fmla="*/ 320826 h 825054"/>
                <a:gd name="connsiteX19" fmla="*/ 392438 w 517644"/>
                <a:gd name="connsiteY19" fmla="*/ 211680 h 825054"/>
                <a:gd name="connsiteX20" fmla="*/ 410973 w 517644"/>
                <a:gd name="connsiteY20" fmla="*/ 213357 h 825054"/>
                <a:gd name="connsiteX21" fmla="*/ 486442 w 517644"/>
                <a:gd name="connsiteY21" fmla="*/ 182166 h 825054"/>
                <a:gd name="connsiteX22" fmla="*/ 349201 w 517644"/>
                <a:gd name="connsiteY22" fmla="*/ 44928 h 825054"/>
                <a:gd name="connsiteX23" fmla="*/ 410952 w 517644"/>
                <a:gd name="connsiteY23" fmla="*/ 19401 h 825054"/>
                <a:gd name="connsiteX24" fmla="*/ 472703 w 517644"/>
                <a:gd name="connsiteY24" fmla="*/ 44928 h 825054"/>
                <a:gd name="connsiteX25" fmla="*/ 472703 w 517644"/>
                <a:gd name="connsiteY25" fmla="*/ 168443 h 825054"/>
                <a:gd name="connsiteX26" fmla="*/ 349188 w 517644"/>
                <a:gd name="connsiteY26" fmla="*/ 168443 h 825054"/>
                <a:gd name="connsiteX27" fmla="*/ 349198 w 517644"/>
                <a:gd name="connsiteY27" fmla="*/ 44928 h 825054"/>
                <a:gd name="connsiteX28" fmla="*/ 399613 w 517644"/>
                <a:gd name="connsiteY28" fmla="*/ 314162 h 825054"/>
                <a:gd name="connsiteX29" fmla="*/ 293087 w 517644"/>
                <a:gd name="connsiteY29" fmla="*/ 583178 h 825054"/>
                <a:gd name="connsiteX30" fmla="*/ 292736 w 517644"/>
                <a:gd name="connsiteY30" fmla="*/ 584236 h 825054"/>
                <a:gd name="connsiteX31" fmla="*/ 248421 w 517644"/>
                <a:gd name="connsiteY31" fmla="*/ 614502 h 825054"/>
                <a:gd name="connsiteX32" fmla="*/ 222065 w 517644"/>
                <a:gd name="connsiteY32" fmla="*/ 597202 h 825054"/>
                <a:gd name="connsiteX33" fmla="*/ 216989 w 517644"/>
                <a:gd name="connsiteY33" fmla="*/ 566927 h 825054"/>
                <a:gd name="connsiteX34" fmla="*/ 296887 w 517644"/>
                <a:gd name="connsiteY34" fmla="*/ 344034 h 825054"/>
                <a:gd name="connsiteX35" fmla="*/ 294170 w 517644"/>
                <a:gd name="connsiteY35" fmla="*/ 333469 h 825054"/>
                <a:gd name="connsiteX36" fmla="*/ 283352 w 517644"/>
                <a:gd name="connsiteY36" fmla="*/ 332111 h 825054"/>
                <a:gd name="connsiteX37" fmla="*/ 252340 w 517644"/>
                <a:gd name="connsiteY37" fmla="*/ 347917 h 825054"/>
                <a:gd name="connsiteX38" fmla="*/ 194064 w 517644"/>
                <a:gd name="connsiteY38" fmla="*/ 443017 h 825054"/>
                <a:gd name="connsiteX39" fmla="*/ 194064 w 517644"/>
                <a:gd name="connsiteY39" fmla="*/ 764746 h 825054"/>
                <a:gd name="connsiteX40" fmla="*/ 159095 w 517644"/>
                <a:gd name="connsiteY40" fmla="*/ 805451 h 825054"/>
                <a:gd name="connsiteX41" fmla="*/ 129151 w 517644"/>
                <a:gd name="connsiteY41" fmla="*/ 795543 h 825054"/>
                <a:gd name="connsiteX42" fmla="*/ 116441 w 517644"/>
                <a:gd name="connsiteY42" fmla="*/ 766812 h 825054"/>
                <a:gd name="connsiteX43" fmla="*/ 116438 w 517644"/>
                <a:gd name="connsiteY43" fmla="*/ 413353 h 825054"/>
                <a:gd name="connsiteX44" fmla="*/ 106734 w 517644"/>
                <a:gd name="connsiteY44" fmla="*/ 403650 h 825054"/>
                <a:gd name="connsiteX45" fmla="*/ 97031 w 517644"/>
                <a:gd name="connsiteY45" fmla="*/ 413353 h 825054"/>
                <a:gd name="connsiteX46" fmla="*/ 97031 w 517644"/>
                <a:gd name="connsiteY46" fmla="*/ 766836 h 825054"/>
                <a:gd name="connsiteX47" fmla="*/ 84321 w 517644"/>
                <a:gd name="connsiteY47" fmla="*/ 795567 h 825054"/>
                <a:gd name="connsiteX48" fmla="*/ 54367 w 517644"/>
                <a:gd name="connsiteY48" fmla="*/ 805476 h 825054"/>
                <a:gd name="connsiteX49" fmla="*/ 19398 w 517644"/>
                <a:gd name="connsiteY49" fmla="*/ 764808 h 825054"/>
                <a:gd name="connsiteX50" fmla="*/ 19398 w 517644"/>
                <a:gd name="connsiteY50" fmla="*/ 388612 h 825054"/>
                <a:gd name="connsiteX51" fmla="*/ 60520 w 517644"/>
                <a:gd name="connsiteY51" fmla="*/ 314536 h 825054"/>
                <a:gd name="connsiteX52" fmla="*/ 245554 w 517644"/>
                <a:gd name="connsiteY52" fmla="*/ 188595 h 825054"/>
                <a:gd name="connsiteX53" fmla="*/ 353988 w 517644"/>
                <a:gd name="connsiteY53" fmla="*/ 200655 h 825054"/>
                <a:gd name="connsiteX54" fmla="*/ 378410 w 517644"/>
                <a:gd name="connsiteY54" fmla="*/ 225077 h 825054"/>
                <a:gd name="connsiteX55" fmla="*/ 399611 w 517644"/>
                <a:gd name="connsiteY55" fmla="*/ 314162 h 825054"/>
                <a:gd name="connsiteX56" fmla="*/ 213464 w 517644"/>
                <a:gd name="connsiteY56" fmla="*/ 519322 h 825054"/>
                <a:gd name="connsiteX57" fmla="*/ 213464 w 517644"/>
                <a:gd name="connsiteY57" fmla="*/ 443026 h 825054"/>
                <a:gd name="connsiteX58" fmla="*/ 261146 w 517644"/>
                <a:gd name="connsiteY58" fmla="*/ 365207 h 825054"/>
                <a:gd name="connsiteX59" fmla="*/ 270363 w 517644"/>
                <a:gd name="connsiteY59" fmla="*/ 360510 h 82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17644" h="825054">
                  <a:moveTo>
                    <a:pt x="486438" y="182157"/>
                  </a:moveTo>
                  <a:cubicBezTo>
                    <a:pt x="528047" y="140539"/>
                    <a:pt x="528047" y="72825"/>
                    <a:pt x="486438" y="31206"/>
                  </a:cubicBezTo>
                  <a:cubicBezTo>
                    <a:pt x="444830" y="-10402"/>
                    <a:pt x="377114" y="-10402"/>
                    <a:pt x="335487" y="31206"/>
                  </a:cubicBezTo>
                  <a:cubicBezTo>
                    <a:pt x="300992" y="65711"/>
                    <a:pt x="295189" y="118116"/>
                    <a:pt x="317894" y="158756"/>
                  </a:cubicBezTo>
                  <a:cubicBezTo>
                    <a:pt x="290423" y="151934"/>
                    <a:pt x="260567" y="156157"/>
                    <a:pt x="234922" y="172370"/>
                  </a:cubicBezTo>
                  <a:lnTo>
                    <a:pt x="49913" y="298278"/>
                  </a:lnTo>
                  <a:cubicBezTo>
                    <a:pt x="18659" y="317928"/>
                    <a:pt x="0" y="351694"/>
                    <a:pt x="0" y="388600"/>
                  </a:cubicBezTo>
                  <a:lnTo>
                    <a:pt x="0" y="764796"/>
                  </a:lnTo>
                  <a:cubicBezTo>
                    <a:pt x="0" y="795634"/>
                    <a:pt x="23074" y="821987"/>
                    <a:pt x="52534" y="824782"/>
                  </a:cubicBezTo>
                  <a:cubicBezTo>
                    <a:pt x="68934" y="826374"/>
                    <a:pt x="85273" y="820928"/>
                    <a:pt x="97374" y="809927"/>
                  </a:cubicBezTo>
                  <a:cubicBezTo>
                    <a:pt x="100965" y="806667"/>
                    <a:pt x="104099" y="802991"/>
                    <a:pt x="106736" y="799011"/>
                  </a:cubicBezTo>
                  <a:cubicBezTo>
                    <a:pt x="109367" y="802991"/>
                    <a:pt x="112510" y="806667"/>
                    <a:pt x="116098" y="809927"/>
                  </a:cubicBezTo>
                  <a:cubicBezTo>
                    <a:pt x="126822" y="819687"/>
                    <a:pt x="140900" y="825054"/>
                    <a:pt x="155376" y="825054"/>
                  </a:cubicBezTo>
                  <a:cubicBezTo>
                    <a:pt x="157211" y="825054"/>
                    <a:pt x="159071" y="824965"/>
                    <a:pt x="160925" y="824791"/>
                  </a:cubicBezTo>
                  <a:cubicBezTo>
                    <a:pt x="190386" y="821996"/>
                    <a:pt x="213469" y="795625"/>
                    <a:pt x="213469" y="764768"/>
                  </a:cubicBezTo>
                  <a:lnTo>
                    <a:pt x="213469" y="617278"/>
                  </a:lnTo>
                  <a:cubicBezTo>
                    <a:pt x="221987" y="625807"/>
                    <a:pt x="233081" y="631609"/>
                    <a:pt x="245210" y="633646"/>
                  </a:cubicBezTo>
                  <a:cubicBezTo>
                    <a:pt x="274240" y="638536"/>
                    <a:pt x="303139" y="619306"/>
                    <a:pt x="311338" y="589817"/>
                  </a:cubicBezTo>
                  <a:lnTo>
                    <a:pt x="417840" y="320826"/>
                  </a:lnTo>
                  <a:cubicBezTo>
                    <a:pt x="430794" y="282294"/>
                    <a:pt x="421043" y="240530"/>
                    <a:pt x="392438" y="211680"/>
                  </a:cubicBezTo>
                  <a:cubicBezTo>
                    <a:pt x="398572" y="212757"/>
                    <a:pt x="404773" y="213357"/>
                    <a:pt x="410973" y="213357"/>
                  </a:cubicBezTo>
                  <a:cubicBezTo>
                    <a:pt x="438305" y="213379"/>
                    <a:pt x="465637" y="202968"/>
                    <a:pt x="486442" y="182166"/>
                  </a:cubicBezTo>
                  <a:close/>
                  <a:moveTo>
                    <a:pt x="349201" y="44928"/>
                  </a:moveTo>
                  <a:cubicBezTo>
                    <a:pt x="366230" y="27910"/>
                    <a:pt x="388596" y="19401"/>
                    <a:pt x="410952" y="19401"/>
                  </a:cubicBezTo>
                  <a:cubicBezTo>
                    <a:pt x="433309" y="19401"/>
                    <a:pt x="455675" y="27910"/>
                    <a:pt x="472703" y="44928"/>
                  </a:cubicBezTo>
                  <a:cubicBezTo>
                    <a:pt x="506744" y="78978"/>
                    <a:pt x="506744" y="134393"/>
                    <a:pt x="472703" y="168443"/>
                  </a:cubicBezTo>
                  <a:cubicBezTo>
                    <a:pt x="438662" y="202484"/>
                    <a:pt x="383263" y="202503"/>
                    <a:pt x="349188" y="168443"/>
                  </a:cubicBezTo>
                  <a:cubicBezTo>
                    <a:pt x="315170" y="134394"/>
                    <a:pt x="315170" y="78979"/>
                    <a:pt x="349198" y="44928"/>
                  </a:cubicBezTo>
                  <a:close/>
                  <a:moveTo>
                    <a:pt x="399613" y="314162"/>
                  </a:moveTo>
                  <a:lnTo>
                    <a:pt x="293087" y="583178"/>
                  </a:lnTo>
                  <a:cubicBezTo>
                    <a:pt x="292942" y="583529"/>
                    <a:pt x="292834" y="583876"/>
                    <a:pt x="292736" y="584236"/>
                  </a:cubicBezTo>
                  <a:cubicBezTo>
                    <a:pt x="287313" y="604486"/>
                    <a:pt x="267827" y="617772"/>
                    <a:pt x="248421" y="614502"/>
                  </a:cubicBezTo>
                  <a:cubicBezTo>
                    <a:pt x="237407" y="612658"/>
                    <a:pt x="228045" y="606508"/>
                    <a:pt x="222065" y="597202"/>
                  </a:cubicBezTo>
                  <a:cubicBezTo>
                    <a:pt x="216165" y="588014"/>
                    <a:pt x="214399" y="576700"/>
                    <a:pt x="216989" y="566927"/>
                  </a:cubicBezTo>
                  <a:lnTo>
                    <a:pt x="296887" y="344034"/>
                  </a:lnTo>
                  <a:cubicBezTo>
                    <a:pt x="298236" y="340279"/>
                    <a:pt x="297149" y="336106"/>
                    <a:pt x="294170" y="333469"/>
                  </a:cubicBezTo>
                  <a:cubicBezTo>
                    <a:pt x="291173" y="330838"/>
                    <a:pt x="286893" y="330307"/>
                    <a:pt x="283352" y="332111"/>
                  </a:cubicBezTo>
                  <a:lnTo>
                    <a:pt x="252340" y="347917"/>
                  </a:lnTo>
                  <a:cubicBezTo>
                    <a:pt x="216399" y="366228"/>
                    <a:pt x="194064" y="402672"/>
                    <a:pt x="194064" y="443017"/>
                  </a:cubicBezTo>
                  <a:lnTo>
                    <a:pt x="194064" y="764746"/>
                  </a:lnTo>
                  <a:cubicBezTo>
                    <a:pt x="194064" y="785707"/>
                    <a:pt x="178704" y="803587"/>
                    <a:pt x="159095" y="805451"/>
                  </a:cubicBezTo>
                  <a:cubicBezTo>
                    <a:pt x="148033" y="806491"/>
                    <a:pt x="137351" y="802997"/>
                    <a:pt x="129151" y="795543"/>
                  </a:cubicBezTo>
                  <a:cubicBezTo>
                    <a:pt x="121078" y="788196"/>
                    <a:pt x="116441" y="777728"/>
                    <a:pt x="116441" y="766812"/>
                  </a:cubicBezTo>
                  <a:lnTo>
                    <a:pt x="116438" y="413353"/>
                  </a:lnTo>
                  <a:cubicBezTo>
                    <a:pt x="116438" y="407987"/>
                    <a:pt x="112101" y="403650"/>
                    <a:pt x="106734" y="403650"/>
                  </a:cubicBezTo>
                  <a:cubicBezTo>
                    <a:pt x="101368" y="403650"/>
                    <a:pt x="97031" y="407987"/>
                    <a:pt x="97031" y="413353"/>
                  </a:cubicBezTo>
                  <a:lnTo>
                    <a:pt x="97031" y="766836"/>
                  </a:lnTo>
                  <a:cubicBezTo>
                    <a:pt x="97031" y="777752"/>
                    <a:pt x="92394" y="788214"/>
                    <a:pt x="84321" y="795567"/>
                  </a:cubicBezTo>
                  <a:cubicBezTo>
                    <a:pt x="76121" y="803018"/>
                    <a:pt x="65457" y="806531"/>
                    <a:pt x="54367" y="805476"/>
                  </a:cubicBezTo>
                  <a:cubicBezTo>
                    <a:pt x="34755" y="803612"/>
                    <a:pt x="19398" y="785750"/>
                    <a:pt x="19398" y="764808"/>
                  </a:cubicBezTo>
                  <a:lnTo>
                    <a:pt x="19398" y="388612"/>
                  </a:lnTo>
                  <a:cubicBezTo>
                    <a:pt x="19398" y="358425"/>
                    <a:pt x="34661" y="330809"/>
                    <a:pt x="60520" y="314536"/>
                  </a:cubicBezTo>
                  <a:lnTo>
                    <a:pt x="245554" y="188595"/>
                  </a:lnTo>
                  <a:cubicBezTo>
                    <a:pt x="280321" y="166617"/>
                    <a:pt x="324908" y="171577"/>
                    <a:pt x="353988" y="200655"/>
                  </a:cubicBezTo>
                  <a:lnTo>
                    <a:pt x="378410" y="225077"/>
                  </a:lnTo>
                  <a:cubicBezTo>
                    <a:pt x="402014" y="248676"/>
                    <a:pt x="410069" y="282997"/>
                    <a:pt x="399611" y="314162"/>
                  </a:cubicBezTo>
                  <a:close/>
                  <a:moveTo>
                    <a:pt x="213464" y="519322"/>
                  </a:moveTo>
                  <a:lnTo>
                    <a:pt x="213464" y="443026"/>
                  </a:lnTo>
                  <a:cubicBezTo>
                    <a:pt x="213464" y="410016"/>
                    <a:pt x="231736" y="380198"/>
                    <a:pt x="261146" y="365207"/>
                  </a:cubicBezTo>
                  <a:lnTo>
                    <a:pt x="270363" y="360510"/>
                  </a:lnTo>
                  <a:close/>
                </a:path>
              </a:pathLst>
            </a:custGeom>
            <a:solidFill>
              <a:schemeClr val="tx2"/>
            </a:solidFill>
            <a:ln w="12700" cap="flat">
              <a:noFill/>
              <a:prstDash val="solid"/>
              <a:miter/>
            </a:ln>
          </p:spPr>
          <p:txBody>
            <a:bodyPr rtlCol="0" anchor="ctr"/>
            <a:lstStyle/>
            <a:p>
              <a:endParaRPr lang="en-US" sz="1350"/>
            </a:p>
          </p:txBody>
        </p:sp>
        <p:sp>
          <p:nvSpPr>
            <p:cNvPr id="38" name="TextBox 37">
              <a:extLst>
                <a:ext uri="{FF2B5EF4-FFF2-40B4-BE49-F238E27FC236}">
                  <a16:creationId xmlns:a16="http://schemas.microsoft.com/office/drawing/2014/main" id="{34C6FD5A-9949-7FF0-835D-FC0FF29F797C}"/>
                </a:ext>
              </a:extLst>
            </p:cNvPr>
            <p:cNvSpPr txBox="1"/>
            <p:nvPr/>
          </p:nvSpPr>
          <p:spPr>
            <a:xfrm>
              <a:off x="1920460" y="958223"/>
              <a:ext cx="8934396" cy="421342"/>
            </a:xfrm>
            <a:prstGeom prst="rect">
              <a:avLst/>
            </a:prstGeom>
            <a:gradFill>
              <a:gsLst>
                <a:gs pos="0">
                  <a:schemeClr val="bg1">
                    <a:alpha val="0"/>
                  </a:schemeClr>
                </a:gs>
                <a:gs pos="13000">
                  <a:schemeClr val="bg1">
                    <a:alpha val="67000"/>
                  </a:schemeClr>
                </a:gs>
                <a:gs pos="100000">
                  <a:schemeClr val="bg1"/>
                </a:gs>
              </a:gsLst>
              <a:lin ang="0" scaled="1"/>
            </a:gradFill>
          </p:spPr>
          <p:txBody>
            <a:bodyPr wrap="square" lIns="480060" anchor="ctr">
              <a:spAutoFit/>
            </a:bodyPr>
            <a:lstStyle/>
            <a:p>
              <a:r>
                <a:rPr lang="en-US" sz="2000" b="1" err="1">
                  <a:solidFill>
                    <a:schemeClr val="accent1"/>
                  </a:solidFill>
                  <a:latin typeface="+mj-lt"/>
                </a:rPr>
                <a:t>Komorbiditeler</a:t>
              </a:r>
              <a:r>
                <a:rPr lang="en-US" sz="2000" b="1">
                  <a:solidFill>
                    <a:schemeClr val="accent1"/>
                  </a:solidFill>
                  <a:latin typeface="+mj-lt"/>
                </a:rPr>
                <a:t>* </a:t>
              </a:r>
            </a:p>
          </p:txBody>
        </p:sp>
        <p:sp>
          <p:nvSpPr>
            <p:cNvPr id="39" name="TextBox 38">
              <a:extLst>
                <a:ext uri="{FF2B5EF4-FFF2-40B4-BE49-F238E27FC236}">
                  <a16:creationId xmlns:a16="http://schemas.microsoft.com/office/drawing/2014/main" id="{94A557C2-83B3-D69C-AA51-D41F09313112}"/>
                </a:ext>
              </a:extLst>
            </p:cNvPr>
            <p:cNvSpPr txBox="1"/>
            <p:nvPr/>
          </p:nvSpPr>
          <p:spPr>
            <a:xfrm>
              <a:off x="1920459" y="3908285"/>
              <a:ext cx="8934394" cy="421342"/>
            </a:xfrm>
            <a:prstGeom prst="rect">
              <a:avLst/>
            </a:prstGeom>
            <a:gradFill>
              <a:gsLst>
                <a:gs pos="0">
                  <a:schemeClr val="bg1">
                    <a:alpha val="0"/>
                  </a:schemeClr>
                </a:gs>
                <a:gs pos="13000">
                  <a:schemeClr val="bg1">
                    <a:alpha val="67000"/>
                  </a:schemeClr>
                </a:gs>
                <a:gs pos="100000">
                  <a:schemeClr val="bg1"/>
                </a:gs>
              </a:gsLst>
              <a:lin ang="0" scaled="1"/>
            </a:gradFill>
          </p:spPr>
          <p:txBody>
            <a:bodyPr wrap="square" lIns="480060" anchor="ctr">
              <a:spAutoFit/>
            </a:bodyPr>
            <a:lstStyle/>
            <a:p>
              <a:r>
                <a:rPr lang="en-US" sz="2000" b="1">
                  <a:solidFill>
                    <a:schemeClr val="tx2"/>
                  </a:solidFill>
                  <a:latin typeface="+mj-lt"/>
                </a:rPr>
                <a:t> </a:t>
              </a:r>
              <a:r>
                <a:rPr lang="en-US" sz="2000" b="1" err="1">
                  <a:solidFill>
                    <a:schemeClr val="tx2"/>
                  </a:solidFill>
                  <a:latin typeface="+mj-lt"/>
                </a:rPr>
                <a:t>Durumlar</a:t>
              </a:r>
              <a:r>
                <a:rPr lang="en-US" sz="2000" b="1">
                  <a:solidFill>
                    <a:schemeClr val="tx2"/>
                  </a:solidFill>
                  <a:latin typeface="+mj-lt"/>
                </a:rPr>
                <a:t>*</a:t>
              </a:r>
            </a:p>
          </p:txBody>
        </p:sp>
      </p:grpSp>
      <p:sp>
        <p:nvSpPr>
          <p:cNvPr id="52" name="Title 2">
            <a:extLst>
              <a:ext uri="{FF2B5EF4-FFF2-40B4-BE49-F238E27FC236}">
                <a16:creationId xmlns:a16="http://schemas.microsoft.com/office/drawing/2014/main" id="{D25339F8-FCDE-D5E9-B7D5-1A962C8BF0BA}"/>
              </a:ext>
            </a:extLst>
          </p:cNvPr>
          <p:cNvSpPr>
            <a:spLocks noGrp="1"/>
          </p:cNvSpPr>
          <p:nvPr>
            <p:ph type="title"/>
          </p:nvPr>
        </p:nvSpPr>
        <p:spPr/>
        <p:txBody>
          <a:bodyPr vert="horz" lIns="0" tIns="0" rIns="0" bIns="0" rtlCol="0" anchor="t">
            <a:normAutofit/>
          </a:bodyPr>
          <a:lstStyle/>
          <a:p>
            <a:r>
              <a:rPr lang="en-US" dirty="0" err="1"/>
              <a:t>Kronik</a:t>
            </a:r>
            <a:r>
              <a:rPr lang="en-US" dirty="0"/>
              <a:t> </a:t>
            </a:r>
            <a:r>
              <a:rPr lang="en-US" dirty="0" err="1"/>
              <a:t>komorbiditeler</a:t>
            </a:r>
            <a:r>
              <a:rPr lang="en-US" dirty="0"/>
              <a:t> </a:t>
            </a:r>
            <a:r>
              <a:rPr lang="en-US" dirty="0" err="1"/>
              <a:t>ve</a:t>
            </a:r>
            <a:r>
              <a:rPr lang="en-US" dirty="0"/>
              <a:t> </a:t>
            </a:r>
            <a:r>
              <a:rPr lang="en-US" dirty="0" err="1"/>
              <a:t>bazı</a:t>
            </a:r>
            <a:r>
              <a:rPr lang="en-US" dirty="0"/>
              <a:t> </a:t>
            </a:r>
            <a:r>
              <a:rPr lang="en-US" dirty="0" err="1"/>
              <a:t>durumlar</a:t>
            </a:r>
            <a:r>
              <a:rPr lang="en-US" dirty="0"/>
              <a:t>, </a:t>
            </a:r>
            <a:r>
              <a:rPr lang="en-US" dirty="0" err="1"/>
              <a:t>şiddetli</a:t>
            </a:r>
            <a:r>
              <a:rPr lang="en-US" dirty="0"/>
              <a:t> </a:t>
            </a:r>
            <a:r>
              <a:rPr lang="en-US" dirty="0" err="1"/>
              <a:t>solunum</a:t>
            </a:r>
            <a:r>
              <a:rPr lang="en-US" dirty="0"/>
              <a:t> </a:t>
            </a:r>
            <a:r>
              <a:rPr lang="en-US" dirty="0" err="1"/>
              <a:t>yolu</a:t>
            </a:r>
            <a:r>
              <a:rPr lang="en-US" dirty="0"/>
              <a:t> </a:t>
            </a:r>
            <a:r>
              <a:rPr lang="en-US" dirty="0" err="1"/>
              <a:t>enfeksiyonları</a:t>
            </a:r>
            <a:r>
              <a:rPr lang="en-US" dirty="0"/>
              <a:t> </a:t>
            </a:r>
            <a:r>
              <a:rPr lang="en-US" dirty="0" err="1"/>
              <a:t>geliştirme</a:t>
            </a:r>
            <a:r>
              <a:rPr lang="en-US" dirty="0"/>
              <a:t> </a:t>
            </a:r>
            <a:r>
              <a:rPr lang="en-US" dirty="0" err="1"/>
              <a:t>riskini</a:t>
            </a:r>
            <a:r>
              <a:rPr lang="en-US" dirty="0"/>
              <a:t> artırır</a:t>
            </a:r>
            <a:r>
              <a:rPr lang="en-US" baseline="30000" dirty="0"/>
              <a:t>1</a:t>
            </a:r>
          </a:p>
        </p:txBody>
      </p:sp>
      <p:pic>
        <p:nvPicPr>
          <p:cNvPr id="3" name="Picture 2" descr="A yellow and blue logo&#10;&#10;Description automatically generated">
            <a:extLst>
              <a:ext uri="{FF2B5EF4-FFF2-40B4-BE49-F238E27FC236}">
                <a16:creationId xmlns:a16="http://schemas.microsoft.com/office/drawing/2014/main" id="{251DB26C-BD50-91D5-1038-7DE9D86A3F9E}"/>
              </a:ext>
            </a:extLst>
          </p:cNvPr>
          <p:cNvPicPr>
            <a:picLocks noChangeAspect="1"/>
          </p:cNvPicPr>
          <p:nvPr/>
        </p:nvPicPr>
        <p:blipFill>
          <a:blip r:embed="rId2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37" name="Picture 36" descr="A black and blue logo&#10;&#10;AI-generated content may be incorrect.">
            <a:extLst>
              <a:ext uri="{FF2B5EF4-FFF2-40B4-BE49-F238E27FC236}">
                <a16:creationId xmlns:a16="http://schemas.microsoft.com/office/drawing/2014/main" id="{F70F27FC-8C29-5B54-E04E-803D7E566FC6}"/>
              </a:ext>
            </a:extLst>
          </p:cNvPr>
          <p:cNvPicPr>
            <a:picLocks noChangeAspect="1"/>
          </p:cNvPicPr>
          <p:nvPr/>
        </p:nvPicPr>
        <p:blipFill>
          <a:blip r:embed="rId23"/>
          <a:stretch>
            <a:fillRect/>
          </a:stretch>
        </p:blipFill>
        <p:spPr>
          <a:xfrm>
            <a:off x="9513903" y="6494969"/>
            <a:ext cx="981021" cy="204067"/>
          </a:xfrm>
          <a:prstGeom prst="rect">
            <a:avLst/>
          </a:prstGeom>
        </p:spPr>
      </p:pic>
    </p:spTree>
    <p:extLst>
      <p:ext uri="{BB962C8B-B14F-4D97-AF65-F5344CB8AC3E}">
        <p14:creationId xmlns:p14="http://schemas.microsoft.com/office/powerpoint/2010/main" val="1703925513"/>
      </p:ext>
    </p:extLst>
  </p:cSld>
  <p:clrMapOvr>
    <a:masterClrMapping/>
  </p:clrMapOvr>
  <p:extLst>
    <p:ext uri="{6950BFC3-D8DA-4A85-94F7-54DA5524770B}">
      <p188:commentRel xmlns:p188="http://schemas.microsoft.com/office/powerpoint/2018/8/main" r:id="rId3"/>
    </p:ext>
  </p:extLst>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5501C48-7D16-9E4D-D37B-938C0E298E4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CB76661-5EEB-DEBA-638C-A487F06E8D53}"/>
              </a:ext>
            </a:extLst>
          </p:cNvPr>
          <p:cNvSpPr>
            <a:spLocks noGrp="1"/>
          </p:cNvSpPr>
          <p:nvPr>
            <p:ph type="title"/>
          </p:nvPr>
        </p:nvSpPr>
        <p:spPr>
          <a:xfrm>
            <a:off x="613152" y="195684"/>
            <a:ext cx="10969218" cy="842156"/>
          </a:xfrm>
        </p:spPr>
        <p:txBody>
          <a:bodyPr vert="horz" wrap="square" lIns="0" tIns="0" rIns="0" bIns="0" rtlCol="0" anchor="t">
            <a:spAutoFit/>
          </a:bodyPr>
          <a:lstStyle/>
          <a:p>
            <a:r>
              <a:rPr lang="en-GB" err="1"/>
              <a:t>Altta</a:t>
            </a:r>
            <a:r>
              <a:rPr lang="en-GB"/>
              <a:t> </a:t>
            </a:r>
            <a:r>
              <a:rPr lang="en-GB" err="1"/>
              <a:t>yatan</a:t>
            </a:r>
            <a:r>
              <a:rPr lang="en-GB"/>
              <a:t> </a:t>
            </a:r>
            <a:r>
              <a:rPr lang="en-GB" err="1"/>
              <a:t>kronik</a:t>
            </a:r>
            <a:r>
              <a:rPr lang="en-GB"/>
              <a:t> </a:t>
            </a:r>
            <a:r>
              <a:rPr lang="tr-TR"/>
              <a:t>hastalıklar</a:t>
            </a:r>
            <a:r>
              <a:rPr lang="en-GB"/>
              <a:t>, </a:t>
            </a:r>
            <a:r>
              <a:rPr lang="en-GB" err="1"/>
              <a:t>solunum</a:t>
            </a:r>
            <a:r>
              <a:rPr lang="en-GB"/>
              <a:t> </a:t>
            </a:r>
            <a:r>
              <a:rPr lang="en-GB" err="1"/>
              <a:t>yolu</a:t>
            </a:r>
            <a:r>
              <a:rPr lang="en-GB"/>
              <a:t> </a:t>
            </a:r>
            <a:r>
              <a:rPr lang="en-GB" err="1"/>
              <a:t>enfeksiyonları</a:t>
            </a:r>
            <a:r>
              <a:rPr lang="en-GB"/>
              <a:t> </a:t>
            </a:r>
            <a:r>
              <a:rPr lang="en-GB" err="1"/>
              <a:t>ile</a:t>
            </a:r>
            <a:r>
              <a:rPr lang="en-GB"/>
              <a:t> </a:t>
            </a:r>
            <a:r>
              <a:rPr lang="en-GB" err="1"/>
              <a:t>kötüleşebilir</a:t>
            </a:r>
            <a:r>
              <a:rPr lang="en-GB"/>
              <a:t>.</a:t>
            </a:r>
          </a:p>
        </p:txBody>
      </p:sp>
      <p:grpSp>
        <p:nvGrpSpPr>
          <p:cNvPr id="2" name="Group 1">
            <a:extLst>
              <a:ext uri="{FF2B5EF4-FFF2-40B4-BE49-F238E27FC236}">
                <a16:creationId xmlns:a16="http://schemas.microsoft.com/office/drawing/2014/main" id="{229B8639-9ECD-9E68-7F49-333DA446402A}"/>
              </a:ext>
            </a:extLst>
          </p:cNvPr>
          <p:cNvGrpSpPr/>
          <p:nvPr/>
        </p:nvGrpSpPr>
        <p:grpSpPr>
          <a:xfrm>
            <a:off x="4462270" y="1914533"/>
            <a:ext cx="3169900" cy="3012218"/>
            <a:chOff x="4510910" y="1359361"/>
            <a:chExt cx="3169900" cy="3012218"/>
          </a:xfrm>
        </p:grpSpPr>
        <p:sp>
          <p:nvSpPr>
            <p:cNvPr id="12" name="Oval 11">
              <a:extLst>
                <a:ext uri="{FF2B5EF4-FFF2-40B4-BE49-F238E27FC236}">
                  <a16:creationId xmlns:a16="http://schemas.microsoft.com/office/drawing/2014/main" id="{C50FC625-98CA-0496-793C-238F3831AD3F}"/>
                </a:ext>
              </a:extLst>
            </p:cNvPr>
            <p:cNvSpPr/>
            <p:nvPr/>
          </p:nvSpPr>
          <p:spPr>
            <a:xfrm>
              <a:off x="4668592" y="1359361"/>
              <a:ext cx="3012218" cy="3012218"/>
            </a:xfrm>
            <a:prstGeom prst="ellipse">
              <a:avLst/>
            </a:prstGeom>
            <a:solidFill>
              <a:schemeClr val="accent3">
                <a:alpha val="2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88D82CD2-9B14-CBEF-8549-575399C47E75}"/>
                </a:ext>
              </a:extLst>
            </p:cNvPr>
            <p:cNvGrpSpPr/>
            <p:nvPr/>
          </p:nvGrpSpPr>
          <p:grpSpPr>
            <a:xfrm>
              <a:off x="4510910" y="1443040"/>
              <a:ext cx="3082390" cy="2844860"/>
              <a:chOff x="4510910" y="1443040"/>
              <a:chExt cx="3082390" cy="2844860"/>
            </a:xfrm>
          </p:grpSpPr>
          <p:sp>
            <p:nvSpPr>
              <p:cNvPr id="16" name="Oval 15">
                <a:extLst>
                  <a:ext uri="{FF2B5EF4-FFF2-40B4-BE49-F238E27FC236}">
                    <a16:creationId xmlns:a16="http://schemas.microsoft.com/office/drawing/2014/main" id="{65EE9DC7-B5F7-7CDE-9F0F-91F6D7AC35D1}"/>
                  </a:ext>
                </a:extLst>
              </p:cNvPr>
              <p:cNvSpPr/>
              <p:nvPr/>
            </p:nvSpPr>
            <p:spPr>
              <a:xfrm>
                <a:off x="4748440" y="1443040"/>
                <a:ext cx="2844860" cy="2844860"/>
              </a:xfrm>
              <a:prstGeom prst="ellipse">
                <a:avLst/>
              </a:prstGeom>
              <a:solidFill>
                <a:schemeClr val="accent3">
                  <a:alpha val="2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CFED3E26-D3F0-A2C5-F840-9EE3092AC425}"/>
                  </a:ext>
                </a:extLst>
              </p:cNvPr>
              <p:cNvGrpSpPr/>
              <p:nvPr/>
            </p:nvGrpSpPr>
            <p:grpSpPr>
              <a:xfrm>
                <a:off x="4510910" y="1600759"/>
                <a:ext cx="2859995" cy="2453978"/>
                <a:chOff x="4510910" y="1600759"/>
                <a:chExt cx="2859995" cy="2453978"/>
              </a:xfrm>
            </p:grpSpPr>
            <p:grpSp>
              <p:nvGrpSpPr>
                <p:cNvPr id="18" name="Group 17">
                  <a:extLst>
                    <a:ext uri="{FF2B5EF4-FFF2-40B4-BE49-F238E27FC236}">
                      <a16:creationId xmlns:a16="http://schemas.microsoft.com/office/drawing/2014/main" id="{9543D04A-0B74-1090-6A23-010E318E27A7}"/>
                    </a:ext>
                  </a:extLst>
                </p:cNvPr>
                <p:cNvGrpSpPr/>
                <p:nvPr/>
              </p:nvGrpSpPr>
              <p:grpSpPr>
                <a:xfrm>
                  <a:off x="4916927" y="1600759"/>
                  <a:ext cx="2453978" cy="2453978"/>
                  <a:chOff x="3910002" y="2519522"/>
                  <a:chExt cx="3018219" cy="3018219"/>
                </a:xfrm>
              </p:grpSpPr>
              <p:sp>
                <p:nvSpPr>
                  <p:cNvPr id="21" name="Oval 20">
                    <a:extLst>
                      <a:ext uri="{FF2B5EF4-FFF2-40B4-BE49-F238E27FC236}">
                        <a16:creationId xmlns:a16="http://schemas.microsoft.com/office/drawing/2014/main" id="{1CEF43EE-B1EA-5461-055E-48B626E9A059}"/>
                      </a:ext>
                    </a:extLst>
                  </p:cNvPr>
                  <p:cNvSpPr/>
                  <p:nvPr/>
                </p:nvSpPr>
                <p:spPr>
                  <a:xfrm>
                    <a:off x="3910002" y="2519522"/>
                    <a:ext cx="3018219" cy="3018219"/>
                  </a:xfrm>
                  <a:prstGeom prst="ellipse">
                    <a:avLst/>
                  </a:prstGeom>
                  <a:solidFill>
                    <a:schemeClr val="bg1"/>
                  </a:solidFill>
                  <a:ln w="666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A73EA91B-31DC-C936-D34B-E6D660C31FCF}"/>
                      </a:ext>
                    </a:extLst>
                  </p:cNvPr>
                  <p:cNvSpPr/>
                  <p:nvPr/>
                </p:nvSpPr>
                <p:spPr>
                  <a:xfrm>
                    <a:off x="3949484" y="2558192"/>
                    <a:ext cx="2936875" cy="2937083"/>
                  </a:xfrm>
                  <a:custGeom>
                    <a:avLst/>
                    <a:gdLst>
                      <a:gd name="connsiteX0" fmla="*/ 1299991 w 2598842"/>
                      <a:gd name="connsiteY0" fmla="*/ 0 h 2599982"/>
                      <a:gd name="connsiteX1" fmla="*/ 1561984 w 2598842"/>
                      <a:gd name="connsiteY1" fmla="*/ 26411 h 2599982"/>
                      <a:gd name="connsiteX2" fmla="*/ 1574331 w 2598842"/>
                      <a:gd name="connsiteY2" fmla="*/ 29586 h 2599982"/>
                      <a:gd name="connsiteX3" fmla="*/ 1574331 w 2598842"/>
                      <a:gd name="connsiteY3" fmla="*/ 59656 h 2599982"/>
                      <a:gd name="connsiteX4" fmla="*/ 1696859 w 2598842"/>
                      <a:gd name="connsiteY4" fmla="*/ 242570 h 2599982"/>
                      <a:gd name="connsiteX5" fmla="*/ 2210496 w 2598842"/>
                      <a:gd name="connsiteY5" fmla="*/ 453832 h 2599982"/>
                      <a:gd name="connsiteX6" fmla="*/ 2344189 w 2598842"/>
                      <a:gd name="connsiteY6" fmla="*/ 530072 h 2599982"/>
                      <a:gd name="connsiteX7" fmla="*/ 2348723 w 2598842"/>
                      <a:gd name="connsiteY7" fmla="*/ 534050 h 2599982"/>
                      <a:gd name="connsiteX8" fmla="*/ 2377964 w 2598842"/>
                      <a:gd name="connsiteY8" fmla="*/ 573154 h 2599982"/>
                      <a:gd name="connsiteX9" fmla="*/ 2541537 w 2598842"/>
                      <a:gd name="connsiteY9" fmla="*/ 913414 h 2599982"/>
                      <a:gd name="connsiteX10" fmla="*/ 2565041 w 2598842"/>
                      <a:gd name="connsiteY10" fmla="*/ 1004822 h 2599982"/>
                      <a:gd name="connsiteX11" fmla="*/ 2598842 w 2598842"/>
                      <a:gd name="connsiteY11" fmla="*/ 1322567 h 2599982"/>
                      <a:gd name="connsiteX12" fmla="*/ 2593270 w 2598842"/>
                      <a:gd name="connsiteY12" fmla="*/ 1432907 h 2599982"/>
                      <a:gd name="connsiteX13" fmla="*/ 2303127 w 2598842"/>
                      <a:gd name="connsiteY13" fmla="*/ 2126906 h 2599982"/>
                      <a:gd name="connsiteX14" fmla="*/ 2252008 w 2598842"/>
                      <a:gd name="connsiteY14" fmla="*/ 2183151 h 2599982"/>
                      <a:gd name="connsiteX15" fmla="*/ 2152674 w 2598842"/>
                      <a:gd name="connsiteY15" fmla="*/ 1697000 h 2599982"/>
                      <a:gd name="connsiteX16" fmla="*/ 2178581 w 2598842"/>
                      <a:gd name="connsiteY16" fmla="*/ 1598315 h 2599982"/>
                      <a:gd name="connsiteX17" fmla="*/ 2231460 w 2598842"/>
                      <a:gd name="connsiteY17" fmla="*/ 1201447 h 2599982"/>
                      <a:gd name="connsiteX18" fmla="*/ 2231460 w 2598842"/>
                      <a:gd name="connsiteY18" fmla="*/ 929923 h 2599982"/>
                      <a:gd name="connsiteX19" fmla="*/ 2193913 w 2598842"/>
                      <a:gd name="connsiteY19" fmla="*/ 892376 h 2599982"/>
                      <a:gd name="connsiteX20" fmla="*/ 2156367 w 2598842"/>
                      <a:gd name="connsiteY20" fmla="*/ 929923 h 2599982"/>
                      <a:gd name="connsiteX21" fmla="*/ 2156367 w 2598842"/>
                      <a:gd name="connsiteY21" fmla="*/ 1201447 h 2599982"/>
                      <a:gd name="connsiteX22" fmla="*/ 2106241 w 2598842"/>
                      <a:gd name="connsiteY22" fmla="*/ 1578102 h 2599982"/>
                      <a:gd name="connsiteX23" fmla="*/ 2001987 w 2598842"/>
                      <a:gd name="connsiteY23" fmla="*/ 2338484 h 2599982"/>
                      <a:gd name="connsiteX24" fmla="*/ 2001987 w 2598842"/>
                      <a:gd name="connsiteY24" fmla="*/ 2393056 h 2599982"/>
                      <a:gd name="connsiteX25" fmla="*/ 1919644 w 2598842"/>
                      <a:gd name="connsiteY25" fmla="*/ 2443080 h 2599982"/>
                      <a:gd name="connsiteX26" fmla="*/ 1299991 w 2598842"/>
                      <a:gd name="connsiteY26" fmla="*/ 2599982 h 2599982"/>
                      <a:gd name="connsiteX27" fmla="*/ 680338 w 2598842"/>
                      <a:gd name="connsiteY27" fmla="*/ 2443080 h 2599982"/>
                      <a:gd name="connsiteX28" fmla="*/ 585980 w 2598842"/>
                      <a:gd name="connsiteY28" fmla="*/ 2385756 h 2599982"/>
                      <a:gd name="connsiteX29" fmla="*/ 585980 w 2598842"/>
                      <a:gd name="connsiteY29" fmla="*/ 2338484 h 2599982"/>
                      <a:gd name="connsiteX30" fmla="*/ 481725 w 2598842"/>
                      <a:gd name="connsiteY30" fmla="*/ 1578102 h 2599982"/>
                      <a:gd name="connsiteX31" fmla="*/ 431601 w 2598842"/>
                      <a:gd name="connsiteY31" fmla="*/ 1201447 h 2599982"/>
                      <a:gd name="connsiteX32" fmla="*/ 431601 w 2598842"/>
                      <a:gd name="connsiteY32" fmla="*/ 929923 h 2599982"/>
                      <a:gd name="connsiteX33" fmla="*/ 394054 w 2598842"/>
                      <a:gd name="connsiteY33" fmla="*/ 892376 h 2599982"/>
                      <a:gd name="connsiteX34" fmla="*/ 356507 w 2598842"/>
                      <a:gd name="connsiteY34" fmla="*/ 929923 h 2599982"/>
                      <a:gd name="connsiteX35" fmla="*/ 356507 w 2598842"/>
                      <a:gd name="connsiteY35" fmla="*/ 1201447 h 2599982"/>
                      <a:gd name="connsiteX36" fmla="*/ 409385 w 2598842"/>
                      <a:gd name="connsiteY36" fmla="*/ 1598315 h 2599982"/>
                      <a:gd name="connsiteX37" fmla="*/ 435293 w 2598842"/>
                      <a:gd name="connsiteY37" fmla="*/ 1697000 h 2599982"/>
                      <a:gd name="connsiteX38" fmla="*/ 338165 w 2598842"/>
                      <a:gd name="connsiteY38" fmla="*/ 2172358 h 2599982"/>
                      <a:gd name="connsiteX39" fmla="*/ 296855 w 2598842"/>
                      <a:gd name="connsiteY39" fmla="*/ 2126906 h 2599982"/>
                      <a:gd name="connsiteX40" fmla="*/ 0 w 2598842"/>
                      <a:gd name="connsiteY40" fmla="*/ 1299991 h 2599982"/>
                      <a:gd name="connsiteX41" fmla="*/ 222018 w 2598842"/>
                      <a:gd name="connsiteY41" fmla="*/ 573154 h 2599982"/>
                      <a:gd name="connsiteX42" fmla="*/ 264446 w 2598842"/>
                      <a:gd name="connsiteY42" fmla="*/ 516416 h 2599982"/>
                      <a:gd name="connsiteX43" fmla="*/ 307107 w 2598842"/>
                      <a:gd name="connsiteY43" fmla="*/ 488156 h 2599982"/>
                      <a:gd name="connsiteX44" fmla="*/ 377471 w 2598842"/>
                      <a:gd name="connsiteY44" fmla="*/ 453832 h 2599982"/>
                      <a:gd name="connsiteX45" fmla="*/ 891109 w 2598842"/>
                      <a:gd name="connsiteY45" fmla="*/ 242570 h 2599982"/>
                      <a:gd name="connsiteX46" fmla="*/ 1013635 w 2598842"/>
                      <a:gd name="connsiteY46" fmla="*/ 59656 h 2599982"/>
                      <a:gd name="connsiteX47" fmla="*/ 1013635 w 2598842"/>
                      <a:gd name="connsiteY47" fmla="*/ 32675 h 2599982"/>
                      <a:gd name="connsiteX48" fmla="*/ 1037998 w 2598842"/>
                      <a:gd name="connsiteY48" fmla="*/ 26411 h 2599982"/>
                      <a:gd name="connsiteX49" fmla="*/ 1299991 w 2598842"/>
                      <a:gd name="connsiteY49" fmla="*/ 0 h 2599982"/>
                      <a:gd name="connsiteX0" fmla="*/ 1299991 w 2599562"/>
                      <a:gd name="connsiteY0" fmla="*/ 0 h 2599982"/>
                      <a:gd name="connsiteX1" fmla="*/ 1561984 w 2599562"/>
                      <a:gd name="connsiteY1" fmla="*/ 26411 h 2599982"/>
                      <a:gd name="connsiteX2" fmla="*/ 1574331 w 2599562"/>
                      <a:gd name="connsiteY2" fmla="*/ 29586 h 2599982"/>
                      <a:gd name="connsiteX3" fmla="*/ 1574331 w 2599562"/>
                      <a:gd name="connsiteY3" fmla="*/ 59656 h 2599982"/>
                      <a:gd name="connsiteX4" fmla="*/ 1696859 w 2599562"/>
                      <a:gd name="connsiteY4" fmla="*/ 242570 h 2599982"/>
                      <a:gd name="connsiteX5" fmla="*/ 2210496 w 2599562"/>
                      <a:gd name="connsiteY5" fmla="*/ 453832 h 2599982"/>
                      <a:gd name="connsiteX6" fmla="*/ 2344189 w 2599562"/>
                      <a:gd name="connsiteY6" fmla="*/ 530072 h 2599982"/>
                      <a:gd name="connsiteX7" fmla="*/ 2348723 w 2599562"/>
                      <a:gd name="connsiteY7" fmla="*/ 534050 h 2599982"/>
                      <a:gd name="connsiteX8" fmla="*/ 2377964 w 2599562"/>
                      <a:gd name="connsiteY8" fmla="*/ 573154 h 2599982"/>
                      <a:gd name="connsiteX9" fmla="*/ 2541537 w 2599562"/>
                      <a:gd name="connsiteY9" fmla="*/ 913414 h 2599982"/>
                      <a:gd name="connsiteX10" fmla="*/ 2565041 w 2599562"/>
                      <a:gd name="connsiteY10" fmla="*/ 1004822 h 2599982"/>
                      <a:gd name="connsiteX11" fmla="*/ 2598842 w 2599562"/>
                      <a:gd name="connsiteY11" fmla="*/ 1322567 h 2599982"/>
                      <a:gd name="connsiteX12" fmla="*/ 2593270 w 2599562"/>
                      <a:gd name="connsiteY12" fmla="*/ 1432907 h 2599982"/>
                      <a:gd name="connsiteX13" fmla="*/ 2303127 w 2599562"/>
                      <a:gd name="connsiteY13" fmla="*/ 2126906 h 2599982"/>
                      <a:gd name="connsiteX14" fmla="*/ 2252008 w 2599562"/>
                      <a:gd name="connsiteY14" fmla="*/ 2183151 h 2599982"/>
                      <a:gd name="connsiteX15" fmla="*/ 2152674 w 2599562"/>
                      <a:gd name="connsiteY15" fmla="*/ 1697000 h 2599982"/>
                      <a:gd name="connsiteX16" fmla="*/ 2178581 w 2599562"/>
                      <a:gd name="connsiteY16" fmla="*/ 1598315 h 2599982"/>
                      <a:gd name="connsiteX17" fmla="*/ 2231460 w 2599562"/>
                      <a:gd name="connsiteY17" fmla="*/ 1201447 h 2599982"/>
                      <a:gd name="connsiteX18" fmla="*/ 2231460 w 2599562"/>
                      <a:gd name="connsiteY18" fmla="*/ 929923 h 2599982"/>
                      <a:gd name="connsiteX19" fmla="*/ 2193913 w 2599562"/>
                      <a:gd name="connsiteY19" fmla="*/ 892376 h 2599982"/>
                      <a:gd name="connsiteX20" fmla="*/ 2156367 w 2599562"/>
                      <a:gd name="connsiteY20" fmla="*/ 929923 h 2599982"/>
                      <a:gd name="connsiteX21" fmla="*/ 2156367 w 2599562"/>
                      <a:gd name="connsiteY21" fmla="*/ 1201447 h 2599982"/>
                      <a:gd name="connsiteX22" fmla="*/ 2106241 w 2599562"/>
                      <a:gd name="connsiteY22" fmla="*/ 1578102 h 2599982"/>
                      <a:gd name="connsiteX23" fmla="*/ 2001987 w 2599562"/>
                      <a:gd name="connsiteY23" fmla="*/ 2338484 h 2599982"/>
                      <a:gd name="connsiteX24" fmla="*/ 2001987 w 2599562"/>
                      <a:gd name="connsiteY24" fmla="*/ 2393056 h 2599982"/>
                      <a:gd name="connsiteX25" fmla="*/ 1919644 w 2599562"/>
                      <a:gd name="connsiteY25" fmla="*/ 2443080 h 2599982"/>
                      <a:gd name="connsiteX26" fmla="*/ 1299991 w 2599562"/>
                      <a:gd name="connsiteY26" fmla="*/ 2599982 h 2599982"/>
                      <a:gd name="connsiteX27" fmla="*/ 680338 w 2599562"/>
                      <a:gd name="connsiteY27" fmla="*/ 2443080 h 2599982"/>
                      <a:gd name="connsiteX28" fmla="*/ 585980 w 2599562"/>
                      <a:gd name="connsiteY28" fmla="*/ 2385756 h 2599982"/>
                      <a:gd name="connsiteX29" fmla="*/ 585980 w 2599562"/>
                      <a:gd name="connsiteY29" fmla="*/ 2338484 h 2599982"/>
                      <a:gd name="connsiteX30" fmla="*/ 481725 w 2599562"/>
                      <a:gd name="connsiteY30" fmla="*/ 1578102 h 2599982"/>
                      <a:gd name="connsiteX31" fmla="*/ 431601 w 2599562"/>
                      <a:gd name="connsiteY31" fmla="*/ 1201447 h 2599982"/>
                      <a:gd name="connsiteX32" fmla="*/ 431601 w 2599562"/>
                      <a:gd name="connsiteY32" fmla="*/ 929923 h 2599982"/>
                      <a:gd name="connsiteX33" fmla="*/ 394054 w 2599562"/>
                      <a:gd name="connsiteY33" fmla="*/ 892376 h 2599982"/>
                      <a:gd name="connsiteX34" fmla="*/ 356507 w 2599562"/>
                      <a:gd name="connsiteY34" fmla="*/ 929923 h 2599982"/>
                      <a:gd name="connsiteX35" fmla="*/ 356507 w 2599562"/>
                      <a:gd name="connsiteY35" fmla="*/ 1201447 h 2599982"/>
                      <a:gd name="connsiteX36" fmla="*/ 409385 w 2599562"/>
                      <a:gd name="connsiteY36" fmla="*/ 1598315 h 2599982"/>
                      <a:gd name="connsiteX37" fmla="*/ 435293 w 2599562"/>
                      <a:gd name="connsiteY37" fmla="*/ 1697000 h 2599982"/>
                      <a:gd name="connsiteX38" fmla="*/ 338165 w 2599562"/>
                      <a:gd name="connsiteY38" fmla="*/ 2172358 h 2599982"/>
                      <a:gd name="connsiteX39" fmla="*/ 296855 w 2599562"/>
                      <a:gd name="connsiteY39" fmla="*/ 2126906 h 2599982"/>
                      <a:gd name="connsiteX40" fmla="*/ 0 w 2599562"/>
                      <a:gd name="connsiteY40" fmla="*/ 1299991 h 2599982"/>
                      <a:gd name="connsiteX41" fmla="*/ 222018 w 2599562"/>
                      <a:gd name="connsiteY41" fmla="*/ 573154 h 2599982"/>
                      <a:gd name="connsiteX42" fmla="*/ 264446 w 2599562"/>
                      <a:gd name="connsiteY42" fmla="*/ 516416 h 2599982"/>
                      <a:gd name="connsiteX43" fmla="*/ 307107 w 2599562"/>
                      <a:gd name="connsiteY43" fmla="*/ 488156 h 2599982"/>
                      <a:gd name="connsiteX44" fmla="*/ 377471 w 2599562"/>
                      <a:gd name="connsiteY44" fmla="*/ 453832 h 2599982"/>
                      <a:gd name="connsiteX45" fmla="*/ 891109 w 2599562"/>
                      <a:gd name="connsiteY45" fmla="*/ 242570 h 2599982"/>
                      <a:gd name="connsiteX46" fmla="*/ 1013635 w 2599562"/>
                      <a:gd name="connsiteY46" fmla="*/ 59656 h 2599982"/>
                      <a:gd name="connsiteX47" fmla="*/ 1013635 w 2599562"/>
                      <a:gd name="connsiteY47" fmla="*/ 32675 h 2599982"/>
                      <a:gd name="connsiteX48" fmla="*/ 1037998 w 2599562"/>
                      <a:gd name="connsiteY48" fmla="*/ 26411 h 2599982"/>
                      <a:gd name="connsiteX49" fmla="*/ 1299991 w 2599562"/>
                      <a:gd name="connsiteY49" fmla="*/ 0 h 2599982"/>
                      <a:gd name="connsiteX0" fmla="*/ 1299991 w 2599798"/>
                      <a:gd name="connsiteY0" fmla="*/ 0 h 2599982"/>
                      <a:gd name="connsiteX1" fmla="*/ 1561984 w 2599798"/>
                      <a:gd name="connsiteY1" fmla="*/ 26411 h 2599982"/>
                      <a:gd name="connsiteX2" fmla="*/ 1574331 w 2599798"/>
                      <a:gd name="connsiteY2" fmla="*/ 29586 h 2599982"/>
                      <a:gd name="connsiteX3" fmla="*/ 1574331 w 2599798"/>
                      <a:gd name="connsiteY3" fmla="*/ 59656 h 2599982"/>
                      <a:gd name="connsiteX4" fmla="*/ 1696859 w 2599798"/>
                      <a:gd name="connsiteY4" fmla="*/ 242570 h 2599982"/>
                      <a:gd name="connsiteX5" fmla="*/ 2210496 w 2599798"/>
                      <a:gd name="connsiteY5" fmla="*/ 453832 h 2599982"/>
                      <a:gd name="connsiteX6" fmla="*/ 2344189 w 2599798"/>
                      <a:gd name="connsiteY6" fmla="*/ 530072 h 2599982"/>
                      <a:gd name="connsiteX7" fmla="*/ 2348723 w 2599798"/>
                      <a:gd name="connsiteY7" fmla="*/ 534050 h 2599982"/>
                      <a:gd name="connsiteX8" fmla="*/ 2377964 w 2599798"/>
                      <a:gd name="connsiteY8" fmla="*/ 573154 h 2599982"/>
                      <a:gd name="connsiteX9" fmla="*/ 2541537 w 2599798"/>
                      <a:gd name="connsiteY9" fmla="*/ 913414 h 2599982"/>
                      <a:gd name="connsiteX10" fmla="*/ 2565041 w 2599798"/>
                      <a:gd name="connsiteY10" fmla="*/ 1004822 h 2599982"/>
                      <a:gd name="connsiteX11" fmla="*/ 2598842 w 2599798"/>
                      <a:gd name="connsiteY11" fmla="*/ 1322567 h 2599982"/>
                      <a:gd name="connsiteX12" fmla="*/ 2593270 w 2599798"/>
                      <a:gd name="connsiteY12" fmla="*/ 1432907 h 2599982"/>
                      <a:gd name="connsiteX13" fmla="*/ 2303127 w 2599798"/>
                      <a:gd name="connsiteY13" fmla="*/ 2126906 h 2599982"/>
                      <a:gd name="connsiteX14" fmla="*/ 2252008 w 2599798"/>
                      <a:gd name="connsiteY14" fmla="*/ 2183151 h 2599982"/>
                      <a:gd name="connsiteX15" fmla="*/ 2152674 w 2599798"/>
                      <a:gd name="connsiteY15" fmla="*/ 1697000 h 2599982"/>
                      <a:gd name="connsiteX16" fmla="*/ 2178581 w 2599798"/>
                      <a:gd name="connsiteY16" fmla="*/ 1598315 h 2599982"/>
                      <a:gd name="connsiteX17" fmla="*/ 2231460 w 2599798"/>
                      <a:gd name="connsiteY17" fmla="*/ 1201447 h 2599982"/>
                      <a:gd name="connsiteX18" fmla="*/ 2231460 w 2599798"/>
                      <a:gd name="connsiteY18" fmla="*/ 929923 h 2599982"/>
                      <a:gd name="connsiteX19" fmla="*/ 2193913 w 2599798"/>
                      <a:gd name="connsiteY19" fmla="*/ 892376 h 2599982"/>
                      <a:gd name="connsiteX20" fmla="*/ 2156367 w 2599798"/>
                      <a:gd name="connsiteY20" fmla="*/ 929923 h 2599982"/>
                      <a:gd name="connsiteX21" fmla="*/ 2156367 w 2599798"/>
                      <a:gd name="connsiteY21" fmla="*/ 1201447 h 2599982"/>
                      <a:gd name="connsiteX22" fmla="*/ 2106241 w 2599798"/>
                      <a:gd name="connsiteY22" fmla="*/ 1578102 h 2599982"/>
                      <a:gd name="connsiteX23" fmla="*/ 2001987 w 2599798"/>
                      <a:gd name="connsiteY23" fmla="*/ 2338484 h 2599982"/>
                      <a:gd name="connsiteX24" fmla="*/ 2001987 w 2599798"/>
                      <a:gd name="connsiteY24" fmla="*/ 2393056 h 2599982"/>
                      <a:gd name="connsiteX25" fmla="*/ 1919644 w 2599798"/>
                      <a:gd name="connsiteY25" fmla="*/ 2443080 h 2599982"/>
                      <a:gd name="connsiteX26" fmla="*/ 1299991 w 2599798"/>
                      <a:gd name="connsiteY26" fmla="*/ 2599982 h 2599982"/>
                      <a:gd name="connsiteX27" fmla="*/ 680338 w 2599798"/>
                      <a:gd name="connsiteY27" fmla="*/ 2443080 h 2599982"/>
                      <a:gd name="connsiteX28" fmla="*/ 585980 w 2599798"/>
                      <a:gd name="connsiteY28" fmla="*/ 2385756 h 2599982"/>
                      <a:gd name="connsiteX29" fmla="*/ 585980 w 2599798"/>
                      <a:gd name="connsiteY29" fmla="*/ 2338484 h 2599982"/>
                      <a:gd name="connsiteX30" fmla="*/ 481725 w 2599798"/>
                      <a:gd name="connsiteY30" fmla="*/ 1578102 h 2599982"/>
                      <a:gd name="connsiteX31" fmla="*/ 431601 w 2599798"/>
                      <a:gd name="connsiteY31" fmla="*/ 1201447 h 2599982"/>
                      <a:gd name="connsiteX32" fmla="*/ 431601 w 2599798"/>
                      <a:gd name="connsiteY32" fmla="*/ 929923 h 2599982"/>
                      <a:gd name="connsiteX33" fmla="*/ 394054 w 2599798"/>
                      <a:gd name="connsiteY33" fmla="*/ 892376 h 2599982"/>
                      <a:gd name="connsiteX34" fmla="*/ 356507 w 2599798"/>
                      <a:gd name="connsiteY34" fmla="*/ 929923 h 2599982"/>
                      <a:gd name="connsiteX35" fmla="*/ 356507 w 2599798"/>
                      <a:gd name="connsiteY35" fmla="*/ 1201447 h 2599982"/>
                      <a:gd name="connsiteX36" fmla="*/ 409385 w 2599798"/>
                      <a:gd name="connsiteY36" fmla="*/ 1598315 h 2599982"/>
                      <a:gd name="connsiteX37" fmla="*/ 435293 w 2599798"/>
                      <a:gd name="connsiteY37" fmla="*/ 1697000 h 2599982"/>
                      <a:gd name="connsiteX38" fmla="*/ 338165 w 2599798"/>
                      <a:gd name="connsiteY38" fmla="*/ 2172358 h 2599982"/>
                      <a:gd name="connsiteX39" fmla="*/ 296855 w 2599798"/>
                      <a:gd name="connsiteY39" fmla="*/ 2126906 h 2599982"/>
                      <a:gd name="connsiteX40" fmla="*/ 0 w 2599798"/>
                      <a:gd name="connsiteY40" fmla="*/ 1299991 h 2599982"/>
                      <a:gd name="connsiteX41" fmla="*/ 222018 w 2599798"/>
                      <a:gd name="connsiteY41" fmla="*/ 573154 h 2599982"/>
                      <a:gd name="connsiteX42" fmla="*/ 264446 w 2599798"/>
                      <a:gd name="connsiteY42" fmla="*/ 516416 h 2599982"/>
                      <a:gd name="connsiteX43" fmla="*/ 307107 w 2599798"/>
                      <a:gd name="connsiteY43" fmla="*/ 488156 h 2599982"/>
                      <a:gd name="connsiteX44" fmla="*/ 377471 w 2599798"/>
                      <a:gd name="connsiteY44" fmla="*/ 453832 h 2599982"/>
                      <a:gd name="connsiteX45" fmla="*/ 891109 w 2599798"/>
                      <a:gd name="connsiteY45" fmla="*/ 242570 h 2599982"/>
                      <a:gd name="connsiteX46" fmla="*/ 1013635 w 2599798"/>
                      <a:gd name="connsiteY46" fmla="*/ 59656 h 2599982"/>
                      <a:gd name="connsiteX47" fmla="*/ 1013635 w 2599798"/>
                      <a:gd name="connsiteY47" fmla="*/ 32675 h 2599982"/>
                      <a:gd name="connsiteX48" fmla="*/ 1037998 w 2599798"/>
                      <a:gd name="connsiteY48" fmla="*/ 26411 h 2599982"/>
                      <a:gd name="connsiteX49" fmla="*/ 1299991 w 2599798"/>
                      <a:gd name="connsiteY49" fmla="*/ 0 h 259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599798" h="2599982">
                        <a:moveTo>
                          <a:pt x="1299991" y="0"/>
                        </a:moveTo>
                        <a:cubicBezTo>
                          <a:pt x="1389737" y="0"/>
                          <a:pt x="1477358" y="9094"/>
                          <a:pt x="1561984" y="26411"/>
                        </a:cubicBezTo>
                        <a:lnTo>
                          <a:pt x="1574331" y="29586"/>
                        </a:lnTo>
                        <a:lnTo>
                          <a:pt x="1574331" y="59656"/>
                        </a:lnTo>
                        <a:cubicBezTo>
                          <a:pt x="1574331" y="141382"/>
                          <a:pt x="1621265" y="211469"/>
                          <a:pt x="1696859" y="242570"/>
                        </a:cubicBezTo>
                        <a:lnTo>
                          <a:pt x="2210496" y="453832"/>
                        </a:lnTo>
                        <a:cubicBezTo>
                          <a:pt x="2259667" y="474045"/>
                          <a:pt x="2304398" y="499682"/>
                          <a:pt x="2344189" y="530072"/>
                        </a:cubicBezTo>
                        <a:lnTo>
                          <a:pt x="2348723" y="534050"/>
                        </a:lnTo>
                        <a:lnTo>
                          <a:pt x="2377964" y="573154"/>
                        </a:lnTo>
                        <a:cubicBezTo>
                          <a:pt x="2448049" y="676894"/>
                          <a:pt x="2503554" y="791294"/>
                          <a:pt x="2541537" y="913414"/>
                        </a:cubicBezTo>
                        <a:lnTo>
                          <a:pt x="2565041" y="1004822"/>
                        </a:lnTo>
                        <a:cubicBezTo>
                          <a:pt x="2584723" y="1079883"/>
                          <a:pt x="2604404" y="1211042"/>
                          <a:pt x="2598842" y="1322567"/>
                        </a:cubicBezTo>
                        <a:lnTo>
                          <a:pt x="2593270" y="1432907"/>
                        </a:lnTo>
                        <a:cubicBezTo>
                          <a:pt x="2566642" y="1695119"/>
                          <a:pt x="2462086" y="1934293"/>
                          <a:pt x="2303127" y="2126906"/>
                        </a:cubicBezTo>
                        <a:lnTo>
                          <a:pt x="2252008" y="2183151"/>
                        </a:lnTo>
                        <a:lnTo>
                          <a:pt x="2152674" y="1697000"/>
                        </a:lnTo>
                        <a:cubicBezTo>
                          <a:pt x="2160622" y="1664584"/>
                          <a:pt x="2169257" y="1631731"/>
                          <a:pt x="2178581" y="1598315"/>
                        </a:cubicBezTo>
                        <a:cubicBezTo>
                          <a:pt x="2213625" y="1472847"/>
                          <a:pt x="2231460" y="1339369"/>
                          <a:pt x="2231460" y="1201447"/>
                        </a:cubicBezTo>
                        <a:lnTo>
                          <a:pt x="2231460" y="929923"/>
                        </a:lnTo>
                        <a:cubicBezTo>
                          <a:pt x="2231460" y="909210"/>
                          <a:pt x="2214689" y="892376"/>
                          <a:pt x="2193913" y="892376"/>
                        </a:cubicBezTo>
                        <a:cubicBezTo>
                          <a:pt x="2173137" y="892376"/>
                          <a:pt x="2156367" y="909210"/>
                          <a:pt x="2156367" y="929923"/>
                        </a:cubicBezTo>
                        <a:lnTo>
                          <a:pt x="2156367" y="1201447"/>
                        </a:lnTo>
                        <a:cubicBezTo>
                          <a:pt x="2156367" y="1332485"/>
                          <a:pt x="2139470" y="1459267"/>
                          <a:pt x="2106241" y="1578102"/>
                        </a:cubicBezTo>
                        <a:cubicBezTo>
                          <a:pt x="2033151" y="1839615"/>
                          <a:pt x="2001987" y="2066959"/>
                          <a:pt x="2001987" y="2338484"/>
                        </a:cubicBezTo>
                        <a:lnTo>
                          <a:pt x="2001987" y="2393056"/>
                        </a:lnTo>
                        <a:lnTo>
                          <a:pt x="1919644" y="2443080"/>
                        </a:lnTo>
                        <a:cubicBezTo>
                          <a:pt x="1735444" y="2543144"/>
                          <a:pt x="1524355" y="2599982"/>
                          <a:pt x="1299991" y="2599982"/>
                        </a:cubicBezTo>
                        <a:cubicBezTo>
                          <a:pt x="1075627" y="2599982"/>
                          <a:pt x="864538" y="2543144"/>
                          <a:pt x="680338" y="2443080"/>
                        </a:cubicBezTo>
                        <a:lnTo>
                          <a:pt x="585980" y="2385756"/>
                        </a:lnTo>
                        <a:lnTo>
                          <a:pt x="585980" y="2338484"/>
                        </a:lnTo>
                        <a:cubicBezTo>
                          <a:pt x="585980" y="2066959"/>
                          <a:pt x="554816" y="1839615"/>
                          <a:pt x="481725" y="1578102"/>
                        </a:cubicBezTo>
                        <a:cubicBezTo>
                          <a:pt x="448497" y="1459267"/>
                          <a:pt x="431601" y="1332548"/>
                          <a:pt x="431601" y="1201447"/>
                        </a:cubicBezTo>
                        <a:lnTo>
                          <a:pt x="431601" y="929923"/>
                        </a:lnTo>
                        <a:cubicBezTo>
                          <a:pt x="431601" y="909210"/>
                          <a:pt x="414767" y="892376"/>
                          <a:pt x="394054" y="892376"/>
                        </a:cubicBezTo>
                        <a:cubicBezTo>
                          <a:pt x="373341" y="892376"/>
                          <a:pt x="356507" y="909210"/>
                          <a:pt x="356507" y="929923"/>
                        </a:cubicBezTo>
                        <a:lnTo>
                          <a:pt x="356507" y="1201447"/>
                        </a:lnTo>
                        <a:cubicBezTo>
                          <a:pt x="356507" y="1339306"/>
                          <a:pt x="374342" y="1472847"/>
                          <a:pt x="409385" y="1598315"/>
                        </a:cubicBezTo>
                        <a:cubicBezTo>
                          <a:pt x="418710" y="1631731"/>
                          <a:pt x="427345" y="1664522"/>
                          <a:pt x="435293" y="1697000"/>
                        </a:cubicBezTo>
                        <a:lnTo>
                          <a:pt x="338165" y="2172358"/>
                        </a:lnTo>
                        <a:lnTo>
                          <a:pt x="296855" y="2126906"/>
                        </a:lnTo>
                        <a:cubicBezTo>
                          <a:pt x="111404" y="1902191"/>
                          <a:pt x="0" y="1614101"/>
                          <a:pt x="0" y="1299991"/>
                        </a:cubicBezTo>
                        <a:cubicBezTo>
                          <a:pt x="0" y="1030754"/>
                          <a:pt x="81848" y="780634"/>
                          <a:pt x="222018" y="573154"/>
                        </a:cubicBezTo>
                        <a:lnTo>
                          <a:pt x="264446" y="516416"/>
                        </a:lnTo>
                        <a:lnTo>
                          <a:pt x="307107" y="488156"/>
                        </a:lnTo>
                        <a:cubicBezTo>
                          <a:pt x="329410" y="475416"/>
                          <a:pt x="352886" y="463946"/>
                          <a:pt x="377471" y="453832"/>
                        </a:cubicBezTo>
                        <a:lnTo>
                          <a:pt x="891109" y="242570"/>
                        </a:lnTo>
                        <a:cubicBezTo>
                          <a:pt x="966702" y="211531"/>
                          <a:pt x="1013635" y="141382"/>
                          <a:pt x="1013635" y="59656"/>
                        </a:cubicBezTo>
                        <a:lnTo>
                          <a:pt x="1013635" y="32675"/>
                        </a:lnTo>
                        <a:lnTo>
                          <a:pt x="1037998" y="26411"/>
                        </a:lnTo>
                        <a:cubicBezTo>
                          <a:pt x="1122624" y="9094"/>
                          <a:pt x="1210246" y="0"/>
                          <a:pt x="1299991" y="0"/>
                        </a:cubicBezTo>
                        <a:close/>
                      </a:path>
                    </a:pathLst>
                  </a:custGeom>
                  <a:solidFill>
                    <a:srgbClr val="ADADA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3" name="Group 22">
                    <a:extLst>
                      <a:ext uri="{FF2B5EF4-FFF2-40B4-BE49-F238E27FC236}">
                        <a16:creationId xmlns:a16="http://schemas.microsoft.com/office/drawing/2014/main" id="{BFEB2925-A864-F21C-6C0E-29A5F00C04F4}"/>
                      </a:ext>
                    </a:extLst>
                  </p:cNvPr>
                  <p:cNvGrpSpPr/>
                  <p:nvPr/>
                </p:nvGrpSpPr>
                <p:grpSpPr>
                  <a:xfrm>
                    <a:off x="4636939" y="2922530"/>
                    <a:ext cx="1554976" cy="1197362"/>
                    <a:chOff x="1392623" y="2648681"/>
                    <a:chExt cx="1513819" cy="1165670"/>
                  </a:xfrm>
                </p:grpSpPr>
                <p:sp>
                  <p:nvSpPr>
                    <p:cNvPr id="40" name="Freeform: Shape 39">
                      <a:extLst>
                        <a:ext uri="{FF2B5EF4-FFF2-40B4-BE49-F238E27FC236}">
                          <a16:creationId xmlns:a16="http://schemas.microsoft.com/office/drawing/2014/main" id="{47527FE0-DD1B-2FA3-1BBE-F3052115EBD6}"/>
                        </a:ext>
                      </a:extLst>
                    </p:cNvPr>
                    <p:cNvSpPr/>
                    <p:nvPr/>
                  </p:nvSpPr>
                  <p:spPr>
                    <a:xfrm>
                      <a:off x="2459675" y="2907892"/>
                      <a:ext cx="446767" cy="906459"/>
                    </a:xfrm>
                    <a:custGeom>
                      <a:avLst/>
                      <a:gdLst>
                        <a:gd name="connsiteX0" fmla="*/ 82017 w 466994"/>
                        <a:gd name="connsiteY0" fmla="*/ 4616 h 947498"/>
                        <a:gd name="connsiteX1" fmla="*/ 39517 w 466994"/>
                        <a:gd name="connsiteY1" fmla="*/ 11090 h 947498"/>
                        <a:gd name="connsiteX2" fmla="*/ 0 w 466994"/>
                        <a:gd name="connsiteY2" fmla="*/ 125530 h 947498"/>
                        <a:gd name="connsiteX3" fmla="*/ 0 w 466994"/>
                        <a:gd name="connsiteY3" fmla="*/ 188070 h 947498"/>
                        <a:gd name="connsiteX4" fmla="*/ 135888 w 466994"/>
                        <a:gd name="connsiteY4" fmla="*/ 310954 h 947498"/>
                        <a:gd name="connsiteX5" fmla="*/ 249709 w 466994"/>
                        <a:gd name="connsiteY5" fmla="*/ 337918 h 947498"/>
                        <a:gd name="connsiteX6" fmla="*/ 291083 w 466994"/>
                        <a:gd name="connsiteY6" fmla="*/ 361673 h 947498"/>
                        <a:gd name="connsiteX7" fmla="*/ 267385 w 466994"/>
                        <a:gd name="connsiteY7" fmla="*/ 403103 h 947498"/>
                        <a:gd name="connsiteX8" fmla="*/ 235918 w 466994"/>
                        <a:gd name="connsiteY8" fmla="*/ 406875 h 947498"/>
                        <a:gd name="connsiteX9" fmla="*/ 196851 w 466994"/>
                        <a:gd name="connsiteY9" fmla="*/ 403047 h 947498"/>
                        <a:gd name="connsiteX10" fmla="*/ 251116 w 466994"/>
                        <a:gd name="connsiteY10" fmla="*/ 550981 h 947498"/>
                        <a:gd name="connsiteX11" fmla="*/ 371355 w 466994"/>
                        <a:gd name="connsiteY11" fmla="*/ 632773 h 947498"/>
                        <a:gd name="connsiteX12" fmla="*/ 364938 w 466994"/>
                        <a:gd name="connsiteY12" fmla="*/ 680058 h 947498"/>
                        <a:gd name="connsiteX13" fmla="*/ 344504 w 466994"/>
                        <a:gd name="connsiteY13" fmla="*/ 686869 h 947498"/>
                        <a:gd name="connsiteX14" fmla="*/ 317597 w 466994"/>
                        <a:gd name="connsiteY14" fmla="*/ 673471 h 947498"/>
                        <a:gd name="connsiteX15" fmla="*/ 262656 w 466994"/>
                        <a:gd name="connsiteY15" fmla="*/ 628269 h 947498"/>
                        <a:gd name="connsiteX16" fmla="*/ 264514 w 466994"/>
                        <a:gd name="connsiteY16" fmla="*/ 676230 h 947498"/>
                        <a:gd name="connsiteX17" fmla="*/ 264514 w 466994"/>
                        <a:gd name="connsiteY17" fmla="*/ 746313 h 947498"/>
                        <a:gd name="connsiteX18" fmla="*/ 230739 w 466994"/>
                        <a:gd name="connsiteY18" fmla="*/ 780087 h 947498"/>
                        <a:gd name="connsiteX19" fmla="*/ 196964 w 466994"/>
                        <a:gd name="connsiteY19" fmla="*/ 746313 h 947498"/>
                        <a:gd name="connsiteX20" fmla="*/ 196964 w 466994"/>
                        <a:gd name="connsiteY20" fmla="*/ 676230 h 947498"/>
                        <a:gd name="connsiteX21" fmla="*/ 183398 w 466994"/>
                        <a:gd name="connsiteY21" fmla="*/ 557736 h 947498"/>
                        <a:gd name="connsiteX22" fmla="*/ 140841 w 466994"/>
                        <a:gd name="connsiteY22" fmla="*/ 597028 h 947498"/>
                        <a:gd name="connsiteX23" fmla="*/ 123616 w 466994"/>
                        <a:gd name="connsiteY23" fmla="*/ 601869 h 947498"/>
                        <a:gd name="connsiteX24" fmla="*/ 94626 w 466994"/>
                        <a:gd name="connsiteY24" fmla="*/ 585488 h 947498"/>
                        <a:gd name="connsiteX25" fmla="*/ 106109 w 466994"/>
                        <a:gd name="connsiteY25" fmla="*/ 539160 h 947498"/>
                        <a:gd name="connsiteX26" fmla="*/ 153000 w 466994"/>
                        <a:gd name="connsiteY26" fmla="*/ 467501 h 947498"/>
                        <a:gd name="connsiteX27" fmla="*/ 87927 w 466994"/>
                        <a:gd name="connsiteY27" fmla="*/ 359140 h 947498"/>
                        <a:gd name="connsiteX28" fmla="*/ 84719 w 466994"/>
                        <a:gd name="connsiteY28" fmla="*/ 355030 h 947498"/>
                        <a:gd name="connsiteX29" fmla="*/ 113 w 466994"/>
                        <a:gd name="connsiteY29" fmla="*/ 271381 h 947498"/>
                        <a:gd name="connsiteX30" fmla="*/ 113 w 466994"/>
                        <a:gd name="connsiteY30" fmla="*/ 780144 h 947498"/>
                        <a:gd name="connsiteX31" fmla="*/ 82861 w 466994"/>
                        <a:gd name="connsiteY31" fmla="*/ 877247 h 947498"/>
                        <a:gd name="connsiteX32" fmla="*/ 249540 w 466994"/>
                        <a:gd name="connsiteY32" fmla="*/ 929204 h 947498"/>
                        <a:gd name="connsiteX33" fmla="*/ 312305 w 466994"/>
                        <a:gd name="connsiteY33" fmla="*/ 947498 h 947498"/>
                        <a:gd name="connsiteX34" fmla="*/ 466994 w 466994"/>
                        <a:gd name="connsiteY34" fmla="*/ 734097 h 947498"/>
                        <a:gd name="connsiteX35" fmla="*/ 82186 w 466994"/>
                        <a:gd name="connsiteY35" fmla="*/ 4672 h 94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66994" h="947498">
                          <a:moveTo>
                            <a:pt x="82017" y="4616"/>
                          </a:moveTo>
                          <a:cubicBezTo>
                            <a:pt x="67550" y="-3377"/>
                            <a:pt x="51000" y="-844"/>
                            <a:pt x="39517" y="11090"/>
                          </a:cubicBezTo>
                          <a:cubicBezTo>
                            <a:pt x="15818" y="35689"/>
                            <a:pt x="0" y="81735"/>
                            <a:pt x="0" y="125530"/>
                          </a:cubicBezTo>
                          <a:lnTo>
                            <a:pt x="0" y="188070"/>
                          </a:lnTo>
                          <a:cubicBezTo>
                            <a:pt x="52407" y="222408"/>
                            <a:pt x="97947" y="263951"/>
                            <a:pt x="135888" y="310954"/>
                          </a:cubicBezTo>
                          <a:cubicBezTo>
                            <a:pt x="167636" y="329699"/>
                            <a:pt x="226911" y="344110"/>
                            <a:pt x="249709" y="337918"/>
                          </a:cubicBezTo>
                          <a:cubicBezTo>
                            <a:pt x="267891" y="333020"/>
                            <a:pt x="286242" y="343660"/>
                            <a:pt x="291083" y="361673"/>
                          </a:cubicBezTo>
                          <a:cubicBezTo>
                            <a:pt x="296150" y="379686"/>
                            <a:pt x="285567" y="398206"/>
                            <a:pt x="267385" y="403103"/>
                          </a:cubicBezTo>
                          <a:cubicBezTo>
                            <a:pt x="257984" y="405693"/>
                            <a:pt x="247176" y="406875"/>
                            <a:pt x="235918" y="406875"/>
                          </a:cubicBezTo>
                          <a:cubicBezTo>
                            <a:pt x="223477" y="406875"/>
                            <a:pt x="210192" y="405468"/>
                            <a:pt x="196851" y="403047"/>
                          </a:cubicBezTo>
                          <a:cubicBezTo>
                            <a:pt x="221451" y="449375"/>
                            <a:pt x="239633" y="499080"/>
                            <a:pt x="251116" y="550981"/>
                          </a:cubicBezTo>
                          <a:cubicBezTo>
                            <a:pt x="298232" y="564998"/>
                            <a:pt x="343097" y="595114"/>
                            <a:pt x="371355" y="632773"/>
                          </a:cubicBezTo>
                          <a:cubicBezTo>
                            <a:pt x="382613" y="647634"/>
                            <a:pt x="379855" y="668799"/>
                            <a:pt x="364938" y="680058"/>
                          </a:cubicBezTo>
                          <a:cubicBezTo>
                            <a:pt x="358746" y="684673"/>
                            <a:pt x="351597" y="686869"/>
                            <a:pt x="344504" y="686869"/>
                          </a:cubicBezTo>
                          <a:cubicBezTo>
                            <a:pt x="334371" y="686869"/>
                            <a:pt x="324295" y="682253"/>
                            <a:pt x="317597" y="673471"/>
                          </a:cubicBezTo>
                          <a:cubicBezTo>
                            <a:pt x="304030" y="655458"/>
                            <a:pt x="284272" y="639640"/>
                            <a:pt x="262656" y="628269"/>
                          </a:cubicBezTo>
                          <a:cubicBezTo>
                            <a:pt x="263782" y="644144"/>
                            <a:pt x="264514" y="660130"/>
                            <a:pt x="264514" y="676230"/>
                          </a:cubicBezTo>
                          <a:lnTo>
                            <a:pt x="264514" y="746313"/>
                          </a:lnTo>
                          <a:cubicBezTo>
                            <a:pt x="264514" y="764945"/>
                            <a:pt x="249596" y="780087"/>
                            <a:pt x="230739" y="780087"/>
                          </a:cubicBezTo>
                          <a:cubicBezTo>
                            <a:pt x="211881" y="780087"/>
                            <a:pt x="196964" y="764945"/>
                            <a:pt x="196964" y="746313"/>
                          </a:cubicBezTo>
                          <a:lnTo>
                            <a:pt x="196964" y="676230"/>
                          </a:lnTo>
                          <a:cubicBezTo>
                            <a:pt x="196964" y="635700"/>
                            <a:pt x="192348" y="596014"/>
                            <a:pt x="183398" y="557736"/>
                          </a:cubicBezTo>
                          <a:cubicBezTo>
                            <a:pt x="171464" y="573385"/>
                            <a:pt x="157166" y="587233"/>
                            <a:pt x="140841" y="597028"/>
                          </a:cubicBezTo>
                          <a:cubicBezTo>
                            <a:pt x="135325" y="600292"/>
                            <a:pt x="129358" y="601869"/>
                            <a:pt x="123616" y="601869"/>
                          </a:cubicBezTo>
                          <a:cubicBezTo>
                            <a:pt x="112133" y="601869"/>
                            <a:pt x="100874" y="596014"/>
                            <a:pt x="94626" y="585488"/>
                          </a:cubicBezTo>
                          <a:cubicBezTo>
                            <a:pt x="84944" y="569501"/>
                            <a:pt x="90010" y="548729"/>
                            <a:pt x="106109" y="539160"/>
                          </a:cubicBezTo>
                          <a:cubicBezTo>
                            <a:pt x="128401" y="525650"/>
                            <a:pt x="147259" y="493001"/>
                            <a:pt x="153000" y="467501"/>
                          </a:cubicBezTo>
                          <a:cubicBezTo>
                            <a:pt x="136000" y="428885"/>
                            <a:pt x="114159" y="392521"/>
                            <a:pt x="87927" y="359140"/>
                          </a:cubicBezTo>
                          <a:cubicBezTo>
                            <a:pt x="86802" y="357845"/>
                            <a:pt x="85619" y="356494"/>
                            <a:pt x="84719" y="355030"/>
                          </a:cubicBezTo>
                          <a:cubicBezTo>
                            <a:pt x="60119" y="324352"/>
                            <a:pt x="31861" y="296262"/>
                            <a:pt x="113" y="271381"/>
                          </a:cubicBezTo>
                          <a:lnTo>
                            <a:pt x="113" y="780144"/>
                          </a:lnTo>
                          <a:cubicBezTo>
                            <a:pt x="113" y="833058"/>
                            <a:pt x="35070" y="873925"/>
                            <a:pt x="82861" y="877247"/>
                          </a:cubicBezTo>
                          <a:cubicBezTo>
                            <a:pt x="143994" y="881525"/>
                            <a:pt x="196908" y="898018"/>
                            <a:pt x="249540" y="929204"/>
                          </a:cubicBezTo>
                          <a:cubicBezTo>
                            <a:pt x="270256" y="941363"/>
                            <a:pt x="291140" y="947498"/>
                            <a:pt x="312305" y="947498"/>
                          </a:cubicBezTo>
                          <a:cubicBezTo>
                            <a:pt x="426577" y="947498"/>
                            <a:pt x="466994" y="832551"/>
                            <a:pt x="466994" y="734097"/>
                          </a:cubicBezTo>
                          <a:cubicBezTo>
                            <a:pt x="466994" y="489905"/>
                            <a:pt x="308815" y="130259"/>
                            <a:pt x="82186" y="4672"/>
                          </a:cubicBezTo>
                          <a:close/>
                        </a:path>
                      </a:pathLst>
                    </a:custGeom>
                    <a:solidFill>
                      <a:schemeClr val="bg1"/>
                    </a:solidFill>
                    <a:ln w="1905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F121A064-901F-B203-7BF5-BED626A42616}"/>
                        </a:ext>
                      </a:extLst>
                    </p:cNvPr>
                    <p:cNvSpPr/>
                    <p:nvPr/>
                  </p:nvSpPr>
                  <p:spPr>
                    <a:xfrm>
                      <a:off x="1392623" y="2907839"/>
                      <a:ext cx="446444" cy="906404"/>
                    </a:xfrm>
                    <a:custGeom>
                      <a:avLst/>
                      <a:gdLst>
                        <a:gd name="connsiteX0" fmla="*/ 466544 w 466656"/>
                        <a:gd name="connsiteY0" fmla="*/ 780087 h 947441"/>
                        <a:gd name="connsiteX1" fmla="*/ 466544 w 466656"/>
                        <a:gd name="connsiteY1" fmla="*/ 271325 h 947441"/>
                        <a:gd name="connsiteX2" fmla="*/ 382163 w 466656"/>
                        <a:gd name="connsiteY2" fmla="*/ 354974 h 947441"/>
                        <a:gd name="connsiteX3" fmla="*/ 378954 w 466656"/>
                        <a:gd name="connsiteY3" fmla="*/ 359140 h 947441"/>
                        <a:gd name="connsiteX4" fmla="*/ 313656 w 466656"/>
                        <a:gd name="connsiteY4" fmla="*/ 467445 h 947441"/>
                        <a:gd name="connsiteX5" fmla="*/ 360772 w 466656"/>
                        <a:gd name="connsiteY5" fmla="*/ 539104 h 947441"/>
                        <a:gd name="connsiteX6" fmla="*/ 372256 w 466656"/>
                        <a:gd name="connsiteY6" fmla="*/ 585431 h 947441"/>
                        <a:gd name="connsiteX7" fmla="*/ 343266 w 466656"/>
                        <a:gd name="connsiteY7" fmla="*/ 601812 h 947441"/>
                        <a:gd name="connsiteX8" fmla="*/ 326040 w 466656"/>
                        <a:gd name="connsiteY8" fmla="*/ 596971 h 947441"/>
                        <a:gd name="connsiteX9" fmla="*/ 283484 w 466656"/>
                        <a:gd name="connsiteY9" fmla="*/ 557680 h 947441"/>
                        <a:gd name="connsiteX10" fmla="*/ 269693 w 466656"/>
                        <a:gd name="connsiteY10" fmla="*/ 676173 h 947441"/>
                        <a:gd name="connsiteX11" fmla="*/ 269693 w 466656"/>
                        <a:gd name="connsiteY11" fmla="*/ 746256 h 947441"/>
                        <a:gd name="connsiteX12" fmla="*/ 235918 w 466656"/>
                        <a:gd name="connsiteY12" fmla="*/ 780031 h 947441"/>
                        <a:gd name="connsiteX13" fmla="*/ 202143 w 466656"/>
                        <a:gd name="connsiteY13" fmla="*/ 746256 h 947441"/>
                        <a:gd name="connsiteX14" fmla="*/ 202143 w 466656"/>
                        <a:gd name="connsiteY14" fmla="*/ 676173 h 947441"/>
                        <a:gd name="connsiteX15" fmla="*/ 204226 w 466656"/>
                        <a:gd name="connsiteY15" fmla="*/ 628213 h 947441"/>
                        <a:gd name="connsiteX16" fmla="*/ 149285 w 466656"/>
                        <a:gd name="connsiteY16" fmla="*/ 673415 h 947441"/>
                        <a:gd name="connsiteX17" fmla="*/ 122153 w 466656"/>
                        <a:gd name="connsiteY17" fmla="*/ 686812 h 947441"/>
                        <a:gd name="connsiteX18" fmla="*/ 101944 w 466656"/>
                        <a:gd name="connsiteY18" fmla="*/ 680001 h 947441"/>
                        <a:gd name="connsiteX19" fmla="*/ 95302 w 466656"/>
                        <a:gd name="connsiteY19" fmla="*/ 632716 h 947441"/>
                        <a:gd name="connsiteX20" fmla="*/ 215765 w 466656"/>
                        <a:gd name="connsiteY20" fmla="*/ 550925 h 947441"/>
                        <a:gd name="connsiteX21" fmla="*/ 270030 w 466656"/>
                        <a:gd name="connsiteY21" fmla="*/ 402991 h 947441"/>
                        <a:gd name="connsiteX22" fmla="*/ 230964 w 466656"/>
                        <a:gd name="connsiteY22" fmla="*/ 406819 h 947441"/>
                        <a:gd name="connsiteX23" fmla="*/ 199497 w 466656"/>
                        <a:gd name="connsiteY23" fmla="*/ 403047 h 947441"/>
                        <a:gd name="connsiteX24" fmla="*/ 175573 w 466656"/>
                        <a:gd name="connsiteY24" fmla="*/ 361616 h 947441"/>
                        <a:gd name="connsiteX25" fmla="*/ 216947 w 466656"/>
                        <a:gd name="connsiteY25" fmla="*/ 337861 h 947441"/>
                        <a:gd name="connsiteX26" fmla="*/ 330994 w 466656"/>
                        <a:gd name="connsiteY26" fmla="*/ 310898 h 947441"/>
                        <a:gd name="connsiteX27" fmla="*/ 466600 w 466656"/>
                        <a:gd name="connsiteY27" fmla="*/ 188014 h 947441"/>
                        <a:gd name="connsiteX28" fmla="*/ 466600 w 466656"/>
                        <a:gd name="connsiteY28" fmla="*/ 125474 h 947441"/>
                        <a:gd name="connsiteX29" fmla="*/ 427309 w 466656"/>
                        <a:gd name="connsiteY29" fmla="*/ 11033 h 947441"/>
                        <a:gd name="connsiteX30" fmla="*/ 402034 w 466656"/>
                        <a:gd name="connsiteY30" fmla="*/ 0 h 947441"/>
                        <a:gd name="connsiteX31" fmla="*/ 384809 w 466656"/>
                        <a:gd name="connsiteY31" fmla="*/ 4616 h 947441"/>
                        <a:gd name="connsiteX32" fmla="*/ 0 w 466656"/>
                        <a:gd name="connsiteY32" fmla="*/ 734041 h 947441"/>
                        <a:gd name="connsiteX33" fmla="*/ 154689 w 466656"/>
                        <a:gd name="connsiteY33" fmla="*/ 947442 h 947441"/>
                        <a:gd name="connsiteX34" fmla="*/ 217229 w 466656"/>
                        <a:gd name="connsiteY34" fmla="*/ 929147 h 947441"/>
                        <a:gd name="connsiteX35" fmla="*/ 383908 w 466656"/>
                        <a:gd name="connsiteY35" fmla="*/ 877190 h 947441"/>
                        <a:gd name="connsiteX36" fmla="*/ 466656 w 466656"/>
                        <a:gd name="connsiteY36" fmla="*/ 780087 h 94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66656" h="947441">
                          <a:moveTo>
                            <a:pt x="466544" y="780087"/>
                          </a:moveTo>
                          <a:lnTo>
                            <a:pt x="466544" y="271325"/>
                          </a:lnTo>
                          <a:cubicBezTo>
                            <a:pt x="435021" y="296206"/>
                            <a:pt x="406762" y="324239"/>
                            <a:pt x="382163" y="354974"/>
                          </a:cubicBezTo>
                          <a:cubicBezTo>
                            <a:pt x="381262" y="356438"/>
                            <a:pt x="380080" y="357845"/>
                            <a:pt x="378954" y="359140"/>
                          </a:cubicBezTo>
                          <a:cubicBezTo>
                            <a:pt x="352722" y="392521"/>
                            <a:pt x="330881" y="428885"/>
                            <a:pt x="313656" y="467445"/>
                          </a:cubicBezTo>
                          <a:cubicBezTo>
                            <a:pt x="319623" y="492945"/>
                            <a:pt x="338256" y="525650"/>
                            <a:pt x="360772" y="539104"/>
                          </a:cubicBezTo>
                          <a:cubicBezTo>
                            <a:pt x="376646" y="548729"/>
                            <a:pt x="381938" y="569445"/>
                            <a:pt x="372256" y="585431"/>
                          </a:cubicBezTo>
                          <a:cubicBezTo>
                            <a:pt x="366064" y="595958"/>
                            <a:pt x="354805" y="601812"/>
                            <a:pt x="343266" y="601812"/>
                          </a:cubicBezTo>
                          <a:cubicBezTo>
                            <a:pt x="337299" y="601812"/>
                            <a:pt x="331332" y="600236"/>
                            <a:pt x="326040" y="596971"/>
                          </a:cubicBezTo>
                          <a:cubicBezTo>
                            <a:pt x="309491" y="587176"/>
                            <a:pt x="295249" y="573329"/>
                            <a:pt x="283484" y="557680"/>
                          </a:cubicBezTo>
                          <a:cubicBezTo>
                            <a:pt x="274534" y="595958"/>
                            <a:pt x="269693" y="635643"/>
                            <a:pt x="269693" y="676173"/>
                          </a:cubicBezTo>
                          <a:lnTo>
                            <a:pt x="269693" y="746256"/>
                          </a:lnTo>
                          <a:cubicBezTo>
                            <a:pt x="269693" y="764889"/>
                            <a:pt x="254494" y="780031"/>
                            <a:pt x="235918" y="780031"/>
                          </a:cubicBezTo>
                          <a:cubicBezTo>
                            <a:pt x="217341" y="780031"/>
                            <a:pt x="202143" y="764889"/>
                            <a:pt x="202143" y="746256"/>
                          </a:cubicBezTo>
                          <a:lnTo>
                            <a:pt x="202143" y="676173"/>
                          </a:lnTo>
                          <a:cubicBezTo>
                            <a:pt x="202143" y="660018"/>
                            <a:pt x="202818" y="644031"/>
                            <a:pt x="204226" y="628213"/>
                          </a:cubicBezTo>
                          <a:cubicBezTo>
                            <a:pt x="182384" y="639640"/>
                            <a:pt x="162851" y="655458"/>
                            <a:pt x="149285" y="673415"/>
                          </a:cubicBezTo>
                          <a:cubicBezTo>
                            <a:pt x="142643" y="682197"/>
                            <a:pt x="132510" y="686812"/>
                            <a:pt x="122153" y="686812"/>
                          </a:cubicBezTo>
                          <a:cubicBezTo>
                            <a:pt x="115004" y="686812"/>
                            <a:pt x="107911" y="684561"/>
                            <a:pt x="101944" y="680001"/>
                          </a:cubicBezTo>
                          <a:cubicBezTo>
                            <a:pt x="87027" y="668743"/>
                            <a:pt x="83987" y="647577"/>
                            <a:pt x="95302" y="632716"/>
                          </a:cubicBezTo>
                          <a:cubicBezTo>
                            <a:pt x="123785" y="595057"/>
                            <a:pt x="168649" y="564998"/>
                            <a:pt x="215765" y="550925"/>
                          </a:cubicBezTo>
                          <a:cubicBezTo>
                            <a:pt x="227024" y="499024"/>
                            <a:pt x="245431" y="449319"/>
                            <a:pt x="270030" y="402991"/>
                          </a:cubicBezTo>
                          <a:cubicBezTo>
                            <a:pt x="256689" y="405411"/>
                            <a:pt x="243348" y="406819"/>
                            <a:pt x="230964" y="406819"/>
                          </a:cubicBezTo>
                          <a:cubicBezTo>
                            <a:pt x="219481" y="406819"/>
                            <a:pt x="208898" y="405693"/>
                            <a:pt x="199497" y="403047"/>
                          </a:cubicBezTo>
                          <a:cubicBezTo>
                            <a:pt x="181315" y="398150"/>
                            <a:pt x="170788" y="379630"/>
                            <a:pt x="175573" y="361616"/>
                          </a:cubicBezTo>
                          <a:cubicBezTo>
                            <a:pt x="180414" y="343603"/>
                            <a:pt x="199047" y="332964"/>
                            <a:pt x="216947" y="337861"/>
                          </a:cubicBezTo>
                          <a:cubicBezTo>
                            <a:pt x="239914" y="344054"/>
                            <a:pt x="299246" y="329699"/>
                            <a:pt x="330994" y="310898"/>
                          </a:cubicBezTo>
                          <a:cubicBezTo>
                            <a:pt x="368934" y="263951"/>
                            <a:pt x="414418" y="222351"/>
                            <a:pt x="466600" y="188014"/>
                          </a:cubicBezTo>
                          <a:lnTo>
                            <a:pt x="466600" y="125474"/>
                          </a:lnTo>
                          <a:cubicBezTo>
                            <a:pt x="466600" y="81623"/>
                            <a:pt x="450951" y="35632"/>
                            <a:pt x="427309" y="11033"/>
                          </a:cubicBezTo>
                          <a:cubicBezTo>
                            <a:pt x="420160" y="3771"/>
                            <a:pt x="411209" y="0"/>
                            <a:pt x="402034" y="0"/>
                          </a:cubicBezTo>
                          <a:cubicBezTo>
                            <a:pt x="396292" y="0"/>
                            <a:pt x="390325" y="1520"/>
                            <a:pt x="384809" y="4616"/>
                          </a:cubicBezTo>
                          <a:cubicBezTo>
                            <a:pt x="157898" y="130202"/>
                            <a:pt x="0" y="489792"/>
                            <a:pt x="0" y="734041"/>
                          </a:cubicBezTo>
                          <a:cubicBezTo>
                            <a:pt x="0" y="832495"/>
                            <a:pt x="40474" y="947442"/>
                            <a:pt x="154689" y="947442"/>
                          </a:cubicBezTo>
                          <a:cubicBezTo>
                            <a:pt x="175855" y="947442"/>
                            <a:pt x="196739" y="941306"/>
                            <a:pt x="217229" y="929147"/>
                          </a:cubicBezTo>
                          <a:cubicBezTo>
                            <a:pt x="269861" y="897962"/>
                            <a:pt x="323001" y="881468"/>
                            <a:pt x="383908" y="877190"/>
                          </a:cubicBezTo>
                          <a:cubicBezTo>
                            <a:pt x="431981" y="873869"/>
                            <a:pt x="466656" y="833001"/>
                            <a:pt x="466656" y="780087"/>
                          </a:cubicBezTo>
                          <a:close/>
                        </a:path>
                      </a:pathLst>
                    </a:custGeom>
                    <a:solidFill>
                      <a:schemeClr val="bg1"/>
                    </a:solidFill>
                    <a:ln w="1905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D3873A0C-987E-8342-827C-20BAC53923ED}"/>
                        </a:ext>
                      </a:extLst>
                    </p:cNvPr>
                    <p:cNvSpPr/>
                    <p:nvPr/>
                  </p:nvSpPr>
                  <p:spPr>
                    <a:xfrm>
                      <a:off x="1893676" y="2648681"/>
                      <a:ext cx="511123" cy="415333"/>
                    </a:xfrm>
                    <a:custGeom>
                      <a:avLst/>
                      <a:gdLst>
                        <a:gd name="connsiteX0" fmla="*/ 216554 w 534263"/>
                        <a:gd name="connsiteY0" fmla="*/ 0 h 434137"/>
                        <a:gd name="connsiteX1" fmla="*/ 317935 w 534263"/>
                        <a:gd name="connsiteY1" fmla="*/ 0 h 434137"/>
                        <a:gd name="connsiteX2" fmla="*/ 317935 w 534263"/>
                        <a:gd name="connsiteY2" fmla="*/ 178630 h 434137"/>
                        <a:gd name="connsiteX3" fmla="*/ 334710 w 534263"/>
                        <a:gd name="connsiteY3" fmla="*/ 207902 h 434137"/>
                        <a:gd name="connsiteX4" fmla="*/ 534263 w 534263"/>
                        <a:gd name="connsiteY4" fmla="*/ 323130 h 434137"/>
                        <a:gd name="connsiteX5" fmla="*/ 523905 w 534263"/>
                        <a:gd name="connsiteY5" fmla="*/ 396422 h 434137"/>
                        <a:gd name="connsiteX6" fmla="*/ 523905 w 534263"/>
                        <a:gd name="connsiteY6" fmla="*/ 434137 h 434137"/>
                        <a:gd name="connsiteX7" fmla="*/ 284160 w 534263"/>
                        <a:gd name="connsiteY7" fmla="*/ 295604 h 434137"/>
                        <a:gd name="connsiteX8" fmla="*/ 250385 w 534263"/>
                        <a:gd name="connsiteY8" fmla="*/ 295604 h 434137"/>
                        <a:gd name="connsiteX9" fmla="*/ 10358 w 534263"/>
                        <a:gd name="connsiteY9" fmla="*/ 434137 h 434137"/>
                        <a:gd name="connsiteX10" fmla="*/ 10358 w 534263"/>
                        <a:gd name="connsiteY10" fmla="*/ 396422 h 434137"/>
                        <a:gd name="connsiteX11" fmla="*/ 0 w 534263"/>
                        <a:gd name="connsiteY11" fmla="*/ 323130 h 434137"/>
                        <a:gd name="connsiteX12" fmla="*/ 199554 w 534263"/>
                        <a:gd name="connsiteY12" fmla="*/ 207902 h 434137"/>
                        <a:gd name="connsiteX13" fmla="*/ 216554 w 534263"/>
                        <a:gd name="connsiteY13" fmla="*/ 178686 h 434137"/>
                        <a:gd name="connsiteX14" fmla="*/ 216554 w 534263"/>
                        <a:gd name="connsiteY14" fmla="*/ 0 h 43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263" h="434137">
                          <a:moveTo>
                            <a:pt x="216554" y="0"/>
                          </a:moveTo>
                          <a:lnTo>
                            <a:pt x="317935" y="0"/>
                          </a:lnTo>
                          <a:lnTo>
                            <a:pt x="317935" y="178630"/>
                          </a:lnTo>
                          <a:cubicBezTo>
                            <a:pt x="317935" y="190733"/>
                            <a:pt x="324352" y="201878"/>
                            <a:pt x="334710" y="207902"/>
                          </a:cubicBezTo>
                          <a:lnTo>
                            <a:pt x="534263" y="323130"/>
                          </a:lnTo>
                          <a:cubicBezTo>
                            <a:pt x="527564" y="346491"/>
                            <a:pt x="523905" y="371428"/>
                            <a:pt x="523905" y="396422"/>
                          </a:cubicBezTo>
                          <a:lnTo>
                            <a:pt x="523905" y="434137"/>
                          </a:lnTo>
                          <a:lnTo>
                            <a:pt x="284160" y="295604"/>
                          </a:lnTo>
                          <a:cubicBezTo>
                            <a:pt x="273577" y="289581"/>
                            <a:pt x="260743" y="289581"/>
                            <a:pt x="250385" y="295604"/>
                          </a:cubicBezTo>
                          <a:lnTo>
                            <a:pt x="10358" y="434137"/>
                          </a:lnTo>
                          <a:lnTo>
                            <a:pt x="10358" y="396422"/>
                          </a:lnTo>
                          <a:cubicBezTo>
                            <a:pt x="10358" y="371428"/>
                            <a:pt x="6643" y="346491"/>
                            <a:pt x="0" y="323130"/>
                          </a:cubicBezTo>
                          <a:lnTo>
                            <a:pt x="199554" y="207902"/>
                          </a:lnTo>
                          <a:cubicBezTo>
                            <a:pt x="210137" y="201878"/>
                            <a:pt x="216554" y="190733"/>
                            <a:pt x="216554" y="178686"/>
                          </a:cubicBezTo>
                          <a:lnTo>
                            <a:pt x="216554" y="0"/>
                          </a:lnTo>
                          <a:close/>
                        </a:path>
                      </a:pathLst>
                    </a:custGeom>
                    <a:solidFill>
                      <a:schemeClr val="bg1"/>
                    </a:solid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24" name="Group 23">
                    <a:extLst>
                      <a:ext uri="{FF2B5EF4-FFF2-40B4-BE49-F238E27FC236}">
                        <a16:creationId xmlns:a16="http://schemas.microsoft.com/office/drawing/2014/main" id="{9DD5748A-BEDA-6610-68CD-57E78B9CD6A4}"/>
                      </a:ext>
                    </a:extLst>
                  </p:cNvPr>
                  <p:cNvGrpSpPr/>
                  <p:nvPr/>
                </p:nvGrpSpPr>
                <p:grpSpPr>
                  <a:xfrm>
                    <a:off x="4958017" y="4586641"/>
                    <a:ext cx="889593" cy="817671"/>
                    <a:chOff x="-268020" y="4378795"/>
                    <a:chExt cx="1526721" cy="1403288"/>
                  </a:xfrm>
                  <a:solidFill>
                    <a:schemeClr val="accent3"/>
                  </a:solidFill>
                </p:grpSpPr>
                <p:sp>
                  <p:nvSpPr>
                    <p:cNvPr id="33" name="Freeform: Shape 32">
                      <a:extLst>
                        <a:ext uri="{FF2B5EF4-FFF2-40B4-BE49-F238E27FC236}">
                          <a16:creationId xmlns:a16="http://schemas.microsoft.com/office/drawing/2014/main" id="{ED56033F-2B7B-746A-16D4-B5F49A95D618}"/>
                        </a:ext>
                      </a:extLst>
                    </p:cNvPr>
                    <p:cNvSpPr/>
                    <p:nvPr/>
                  </p:nvSpPr>
                  <p:spPr>
                    <a:xfrm flipH="1">
                      <a:off x="-268020" y="4661839"/>
                      <a:ext cx="519796" cy="773666"/>
                    </a:xfrm>
                    <a:custGeom>
                      <a:avLst/>
                      <a:gdLst>
                        <a:gd name="connsiteX0" fmla="*/ 519796 w 519796"/>
                        <a:gd name="connsiteY0" fmla="*/ 312894 h 773666"/>
                        <a:gd name="connsiteX1" fmla="*/ 232565 w 519796"/>
                        <a:gd name="connsiteY1" fmla="*/ 497 h 773666"/>
                        <a:gd name="connsiteX2" fmla="*/ 68766 w 519796"/>
                        <a:gd name="connsiteY2" fmla="*/ 59363 h 773666"/>
                        <a:gd name="connsiteX3" fmla="*/ 0 w 519796"/>
                        <a:gd name="connsiteY3" fmla="*/ 205062 h 773666"/>
                        <a:gd name="connsiteX4" fmla="*/ 10933 w 519796"/>
                        <a:gd name="connsiteY4" fmla="*/ 281928 h 773666"/>
                        <a:gd name="connsiteX5" fmla="*/ 54200 w 519796"/>
                        <a:gd name="connsiteY5" fmla="*/ 376794 h 773666"/>
                        <a:gd name="connsiteX6" fmla="*/ 55033 w 519796"/>
                        <a:gd name="connsiteY6" fmla="*/ 378094 h 773666"/>
                        <a:gd name="connsiteX7" fmla="*/ 74599 w 519796"/>
                        <a:gd name="connsiteY7" fmla="*/ 416994 h 773666"/>
                        <a:gd name="connsiteX8" fmla="*/ 233498 w 519796"/>
                        <a:gd name="connsiteY8" fmla="*/ 322528 h 773666"/>
                        <a:gd name="connsiteX9" fmla="*/ 253498 w 519796"/>
                        <a:gd name="connsiteY9" fmla="*/ 342528 h 773666"/>
                        <a:gd name="connsiteX10" fmla="*/ 233498 w 519796"/>
                        <a:gd name="connsiteY10" fmla="*/ 362527 h 773666"/>
                        <a:gd name="connsiteX11" fmla="*/ 94499 w 519796"/>
                        <a:gd name="connsiteY11" fmla="*/ 478193 h 773666"/>
                        <a:gd name="connsiteX12" fmla="*/ 100733 w 519796"/>
                        <a:gd name="connsiteY12" fmla="*/ 599359 h 773666"/>
                        <a:gd name="connsiteX13" fmla="*/ 100733 w 519796"/>
                        <a:gd name="connsiteY13" fmla="*/ 648692 h 773666"/>
                        <a:gd name="connsiteX14" fmla="*/ 142666 w 519796"/>
                        <a:gd name="connsiteY14" fmla="*/ 742025 h 773666"/>
                        <a:gd name="connsiteX15" fmla="*/ 240298 w 519796"/>
                        <a:gd name="connsiteY15" fmla="*/ 772691 h 773666"/>
                        <a:gd name="connsiteX16" fmla="*/ 519796 w 519796"/>
                        <a:gd name="connsiteY16" fmla="*/ 458060 h 773666"/>
                        <a:gd name="connsiteX17" fmla="*/ 519796 w 519796"/>
                        <a:gd name="connsiteY17" fmla="*/ 312828 h 77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9796" h="773666">
                          <a:moveTo>
                            <a:pt x="519796" y="312894"/>
                          </a:moveTo>
                          <a:cubicBezTo>
                            <a:pt x="519796" y="136962"/>
                            <a:pt x="404364" y="11430"/>
                            <a:pt x="232565" y="497"/>
                          </a:cubicBezTo>
                          <a:cubicBezTo>
                            <a:pt x="169732" y="-3470"/>
                            <a:pt x="114666" y="16330"/>
                            <a:pt x="68766" y="59363"/>
                          </a:cubicBezTo>
                          <a:cubicBezTo>
                            <a:pt x="26366" y="99163"/>
                            <a:pt x="3233" y="148162"/>
                            <a:pt x="0" y="205062"/>
                          </a:cubicBezTo>
                          <a:cubicBezTo>
                            <a:pt x="333" y="230262"/>
                            <a:pt x="4033" y="256128"/>
                            <a:pt x="10933" y="281928"/>
                          </a:cubicBezTo>
                          <a:cubicBezTo>
                            <a:pt x="20333" y="316994"/>
                            <a:pt x="35300" y="349794"/>
                            <a:pt x="54200" y="376794"/>
                          </a:cubicBezTo>
                          <a:cubicBezTo>
                            <a:pt x="54500" y="377227"/>
                            <a:pt x="54766" y="377661"/>
                            <a:pt x="55033" y="378094"/>
                          </a:cubicBezTo>
                          <a:cubicBezTo>
                            <a:pt x="62333" y="390427"/>
                            <a:pt x="68833" y="403460"/>
                            <a:pt x="74599" y="416994"/>
                          </a:cubicBezTo>
                          <a:cubicBezTo>
                            <a:pt x="105933" y="360527"/>
                            <a:pt x="166465" y="322528"/>
                            <a:pt x="233498" y="322528"/>
                          </a:cubicBezTo>
                          <a:cubicBezTo>
                            <a:pt x="244532" y="322528"/>
                            <a:pt x="253498" y="331494"/>
                            <a:pt x="253498" y="342528"/>
                          </a:cubicBezTo>
                          <a:cubicBezTo>
                            <a:pt x="253498" y="353561"/>
                            <a:pt x="244532" y="362527"/>
                            <a:pt x="233498" y="362527"/>
                          </a:cubicBezTo>
                          <a:cubicBezTo>
                            <a:pt x="165932" y="362527"/>
                            <a:pt x="106799" y="411994"/>
                            <a:pt x="94499" y="478193"/>
                          </a:cubicBezTo>
                          <a:cubicBezTo>
                            <a:pt x="104099" y="519660"/>
                            <a:pt x="106266" y="561259"/>
                            <a:pt x="100733" y="599359"/>
                          </a:cubicBezTo>
                          <a:lnTo>
                            <a:pt x="100733" y="648692"/>
                          </a:lnTo>
                          <a:cubicBezTo>
                            <a:pt x="100733" y="685925"/>
                            <a:pt x="114833" y="717325"/>
                            <a:pt x="142666" y="742025"/>
                          </a:cubicBezTo>
                          <a:cubicBezTo>
                            <a:pt x="170499" y="766758"/>
                            <a:pt x="203332" y="777058"/>
                            <a:pt x="240298" y="772691"/>
                          </a:cubicBezTo>
                          <a:cubicBezTo>
                            <a:pt x="399630" y="753858"/>
                            <a:pt x="519796" y="618592"/>
                            <a:pt x="519796" y="458060"/>
                          </a:cubicBezTo>
                          <a:lnTo>
                            <a:pt x="519796" y="312828"/>
                          </a:lnTo>
                          <a:close/>
                        </a:path>
                      </a:pathLst>
                    </a:custGeom>
                    <a:solidFill>
                      <a:schemeClr val="bg1"/>
                    </a:solidFill>
                    <a:ln w="19050" cap="flat">
                      <a:noFill/>
                      <a:prstDash val="solid"/>
                      <a:miter/>
                    </a:ln>
                  </p:spPr>
                  <p:txBody>
                    <a:bodyPr rtlCol="0" anchor="ctr"/>
                    <a:lstStyle/>
                    <a:p>
                      <a:endParaRPr lang="en-US"/>
                    </a:p>
                  </p:txBody>
                </p:sp>
                <p:grpSp>
                  <p:nvGrpSpPr>
                    <p:cNvPr id="34" name="Group 33">
                      <a:extLst>
                        <a:ext uri="{FF2B5EF4-FFF2-40B4-BE49-F238E27FC236}">
                          <a16:creationId xmlns:a16="http://schemas.microsoft.com/office/drawing/2014/main" id="{72DBB056-EF5F-F169-418F-2D625B5EF06B}"/>
                        </a:ext>
                      </a:extLst>
                    </p:cNvPr>
                    <p:cNvGrpSpPr/>
                    <p:nvPr/>
                  </p:nvGrpSpPr>
                  <p:grpSpPr>
                    <a:xfrm>
                      <a:off x="189843" y="4378795"/>
                      <a:ext cx="1068858" cy="1403288"/>
                      <a:chOff x="189843" y="4378795"/>
                      <a:chExt cx="1068858" cy="1403288"/>
                    </a:xfrm>
                    <a:grpFill/>
                  </p:grpSpPr>
                  <p:sp>
                    <p:nvSpPr>
                      <p:cNvPr id="35" name="Freeform: Shape 34">
                        <a:extLst>
                          <a:ext uri="{FF2B5EF4-FFF2-40B4-BE49-F238E27FC236}">
                            <a16:creationId xmlns:a16="http://schemas.microsoft.com/office/drawing/2014/main" id="{710DA6F3-5087-632B-7271-36A96A9BAE3E}"/>
                          </a:ext>
                        </a:extLst>
                      </p:cNvPr>
                      <p:cNvSpPr/>
                      <p:nvPr/>
                    </p:nvSpPr>
                    <p:spPr>
                      <a:xfrm>
                        <a:off x="738905" y="4646696"/>
                        <a:ext cx="519796" cy="773666"/>
                      </a:xfrm>
                      <a:custGeom>
                        <a:avLst/>
                        <a:gdLst>
                          <a:gd name="connsiteX0" fmla="*/ 519796 w 519796"/>
                          <a:gd name="connsiteY0" fmla="*/ 312894 h 773666"/>
                          <a:gd name="connsiteX1" fmla="*/ 232565 w 519796"/>
                          <a:gd name="connsiteY1" fmla="*/ 497 h 773666"/>
                          <a:gd name="connsiteX2" fmla="*/ 68766 w 519796"/>
                          <a:gd name="connsiteY2" fmla="*/ 59363 h 773666"/>
                          <a:gd name="connsiteX3" fmla="*/ 0 w 519796"/>
                          <a:gd name="connsiteY3" fmla="*/ 205062 h 773666"/>
                          <a:gd name="connsiteX4" fmla="*/ 10933 w 519796"/>
                          <a:gd name="connsiteY4" fmla="*/ 281928 h 773666"/>
                          <a:gd name="connsiteX5" fmla="*/ 54200 w 519796"/>
                          <a:gd name="connsiteY5" fmla="*/ 376794 h 773666"/>
                          <a:gd name="connsiteX6" fmla="*/ 55033 w 519796"/>
                          <a:gd name="connsiteY6" fmla="*/ 378094 h 773666"/>
                          <a:gd name="connsiteX7" fmla="*/ 74599 w 519796"/>
                          <a:gd name="connsiteY7" fmla="*/ 416994 h 773666"/>
                          <a:gd name="connsiteX8" fmla="*/ 233498 w 519796"/>
                          <a:gd name="connsiteY8" fmla="*/ 322528 h 773666"/>
                          <a:gd name="connsiteX9" fmla="*/ 253498 w 519796"/>
                          <a:gd name="connsiteY9" fmla="*/ 342528 h 773666"/>
                          <a:gd name="connsiteX10" fmla="*/ 233498 w 519796"/>
                          <a:gd name="connsiteY10" fmla="*/ 362527 h 773666"/>
                          <a:gd name="connsiteX11" fmla="*/ 94499 w 519796"/>
                          <a:gd name="connsiteY11" fmla="*/ 478193 h 773666"/>
                          <a:gd name="connsiteX12" fmla="*/ 100733 w 519796"/>
                          <a:gd name="connsiteY12" fmla="*/ 599359 h 773666"/>
                          <a:gd name="connsiteX13" fmla="*/ 100733 w 519796"/>
                          <a:gd name="connsiteY13" fmla="*/ 648692 h 773666"/>
                          <a:gd name="connsiteX14" fmla="*/ 142666 w 519796"/>
                          <a:gd name="connsiteY14" fmla="*/ 742025 h 773666"/>
                          <a:gd name="connsiteX15" fmla="*/ 240298 w 519796"/>
                          <a:gd name="connsiteY15" fmla="*/ 772691 h 773666"/>
                          <a:gd name="connsiteX16" fmla="*/ 519796 w 519796"/>
                          <a:gd name="connsiteY16" fmla="*/ 458060 h 773666"/>
                          <a:gd name="connsiteX17" fmla="*/ 519796 w 519796"/>
                          <a:gd name="connsiteY17" fmla="*/ 312828 h 77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9796" h="773666">
                            <a:moveTo>
                              <a:pt x="519796" y="312894"/>
                            </a:moveTo>
                            <a:cubicBezTo>
                              <a:pt x="519796" y="136962"/>
                              <a:pt x="404364" y="11430"/>
                              <a:pt x="232565" y="497"/>
                            </a:cubicBezTo>
                            <a:cubicBezTo>
                              <a:pt x="169732" y="-3470"/>
                              <a:pt x="114666" y="16330"/>
                              <a:pt x="68766" y="59363"/>
                            </a:cubicBezTo>
                            <a:cubicBezTo>
                              <a:pt x="26366" y="99163"/>
                              <a:pt x="3233" y="148162"/>
                              <a:pt x="0" y="205062"/>
                            </a:cubicBezTo>
                            <a:cubicBezTo>
                              <a:pt x="333" y="230262"/>
                              <a:pt x="4033" y="256128"/>
                              <a:pt x="10933" y="281928"/>
                            </a:cubicBezTo>
                            <a:cubicBezTo>
                              <a:pt x="20333" y="316994"/>
                              <a:pt x="35300" y="349794"/>
                              <a:pt x="54200" y="376794"/>
                            </a:cubicBezTo>
                            <a:cubicBezTo>
                              <a:pt x="54500" y="377227"/>
                              <a:pt x="54766" y="377661"/>
                              <a:pt x="55033" y="378094"/>
                            </a:cubicBezTo>
                            <a:cubicBezTo>
                              <a:pt x="62333" y="390427"/>
                              <a:pt x="68833" y="403460"/>
                              <a:pt x="74599" y="416994"/>
                            </a:cubicBezTo>
                            <a:cubicBezTo>
                              <a:pt x="105933" y="360527"/>
                              <a:pt x="166465" y="322528"/>
                              <a:pt x="233498" y="322528"/>
                            </a:cubicBezTo>
                            <a:cubicBezTo>
                              <a:pt x="244532" y="322528"/>
                              <a:pt x="253498" y="331494"/>
                              <a:pt x="253498" y="342528"/>
                            </a:cubicBezTo>
                            <a:cubicBezTo>
                              <a:pt x="253498" y="353561"/>
                              <a:pt x="244532" y="362527"/>
                              <a:pt x="233498" y="362527"/>
                            </a:cubicBezTo>
                            <a:cubicBezTo>
                              <a:pt x="165932" y="362527"/>
                              <a:pt x="106799" y="411994"/>
                              <a:pt x="94499" y="478193"/>
                            </a:cubicBezTo>
                            <a:cubicBezTo>
                              <a:pt x="104099" y="519660"/>
                              <a:pt x="106266" y="561259"/>
                              <a:pt x="100733" y="599359"/>
                            </a:cubicBezTo>
                            <a:lnTo>
                              <a:pt x="100733" y="648692"/>
                            </a:lnTo>
                            <a:cubicBezTo>
                              <a:pt x="100733" y="685925"/>
                              <a:pt x="114833" y="717325"/>
                              <a:pt x="142666" y="742025"/>
                            </a:cubicBezTo>
                            <a:cubicBezTo>
                              <a:pt x="170499" y="766758"/>
                              <a:pt x="203332" y="777058"/>
                              <a:pt x="240298" y="772691"/>
                            </a:cubicBezTo>
                            <a:cubicBezTo>
                              <a:pt x="399630" y="753858"/>
                              <a:pt x="519796" y="618592"/>
                              <a:pt x="519796" y="458060"/>
                            </a:cubicBezTo>
                            <a:lnTo>
                              <a:pt x="519796" y="312828"/>
                            </a:lnTo>
                            <a:close/>
                          </a:path>
                        </a:pathLst>
                      </a:custGeom>
                      <a:solidFill>
                        <a:schemeClr val="bg1"/>
                      </a:solidFill>
                      <a:ln w="1905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969E9C11-A811-5C07-5B8B-3BA54C92E7FD}"/>
                          </a:ext>
                        </a:extLst>
                      </p:cNvPr>
                      <p:cNvSpPr/>
                      <p:nvPr/>
                    </p:nvSpPr>
                    <p:spPr>
                      <a:xfrm>
                        <a:off x="572740" y="4378795"/>
                        <a:ext cx="180731" cy="657228"/>
                      </a:xfrm>
                      <a:custGeom>
                        <a:avLst/>
                        <a:gdLst>
                          <a:gd name="connsiteX0" fmla="*/ 139466 w 180731"/>
                          <a:gd name="connsiteY0" fmla="*/ 563562 h 657228"/>
                          <a:gd name="connsiteX1" fmla="*/ 59533 w 180731"/>
                          <a:gd name="connsiteY1" fmla="*/ 391097 h 657228"/>
                          <a:gd name="connsiteX2" fmla="*/ 59533 w 180731"/>
                          <a:gd name="connsiteY2" fmla="*/ 0 h 657228"/>
                          <a:gd name="connsiteX3" fmla="*/ 0 w 180731"/>
                          <a:gd name="connsiteY3" fmla="*/ 0 h 657228"/>
                          <a:gd name="connsiteX4" fmla="*/ 0 w 180731"/>
                          <a:gd name="connsiteY4" fmla="*/ 391097 h 657228"/>
                          <a:gd name="connsiteX5" fmla="*/ 180732 w 180731"/>
                          <a:gd name="connsiteY5" fmla="*/ 657228 h 657228"/>
                          <a:gd name="connsiteX6" fmla="*/ 139466 w 180731"/>
                          <a:gd name="connsiteY6" fmla="*/ 563562 h 65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731" h="657228">
                            <a:moveTo>
                              <a:pt x="139466" y="563562"/>
                            </a:moveTo>
                            <a:cubicBezTo>
                              <a:pt x="88599" y="520096"/>
                              <a:pt x="59533" y="457663"/>
                              <a:pt x="59533" y="391097"/>
                            </a:cubicBezTo>
                            <a:lnTo>
                              <a:pt x="59533" y="0"/>
                            </a:lnTo>
                            <a:lnTo>
                              <a:pt x="0" y="0"/>
                            </a:lnTo>
                            <a:lnTo>
                              <a:pt x="0" y="391097"/>
                            </a:lnTo>
                            <a:cubicBezTo>
                              <a:pt x="0" y="508963"/>
                              <a:pt x="73733" y="614362"/>
                              <a:pt x="180732" y="657228"/>
                            </a:cubicBezTo>
                            <a:cubicBezTo>
                              <a:pt x="163032" y="629529"/>
                              <a:pt x="148899" y="597462"/>
                              <a:pt x="139466" y="563562"/>
                            </a:cubicBezTo>
                            <a:close/>
                          </a:path>
                        </a:pathLst>
                      </a:custGeom>
                      <a:solidFill>
                        <a:schemeClr val="bg1"/>
                      </a:solidFill>
                      <a:ln w="3328"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4E63662B-DB47-474F-4BFE-EF3DE5FBA72F}"/>
                          </a:ext>
                        </a:extLst>
                      </p:cNvPr>
                      <p:cNvSpPr/>
                      <p:nvPr/>
                    </p:nvSpPr>
                    <p:spPr>
                      <a:xfrm>
                        <a:off x="572740" y="5113289"/>
                        <a:ext cx="228198" cy="668794"/>
                      </a:xfrm>
                      <a:custGeom>
                        <a:avLst/>
                        <a:gdLst>
                          <a:gd name="connsiteX0" fmla="*/ 216265 w 228198"/>
                          <a:gd name="connsiteY0" fmla="*/ 0 h 668794"/>
                          <a:gd name="connsiteX1" fmla="*/ 0 w 228198"/>
                          <a:gd name="connsiteY1" fmla="*/ 277698 h 668794"/>
                          <a:gd name="connsiteX2" fmla="*/ 0 w 228198"/>
                          <a:gd name="connsiteY2" fmla="*/ 668795 h 668794"/>
                          <a:gd name="connsiteX3" fmla="*/ 59533 w 228198"/>
                          <a:gd name="connsiteY3" fmla="*/ 668795 h 668794"/>
                          <a:gd name="connsiteX4" fmla="*/ 59533 w 228198"/>
                          <a:gd name="connsiteY4" fmla="*/ 277698 h 668794"/>
                          <a:gd name="connsiteX5" fmla="*/ 228198 w 228198"/>
                          <a:gd name="connsiteY5" fmla="*/ 58366 h 668794"/>
                          <a:gd name="connsiteX6" fmla="*/ 218998 w 228198"/>
                          <a:gd name="connsiteY6" fmla="*/ 9500 h 668794"/>
                          <a:gd name="connsiteX7" fmla="*/ 216298 w 228198"/>
                          <a:gd name="connsiteY7" fmla="*/ 0 h 6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198" h="668794">
                            <a:moveTo>
                              <a:pt x="216265" y="0"/>
                            </a:moveTo>
                            <a:cubicBezTo>
                              <a:pt x="89966" y="31966"/>
                              <a:pt x="0" y="146032"/>
                              <a:pt x="0" y="277698"/>
                            </a:cubicBezTo>
                            <a:lnTo>
                              <a:pt x="0" y="668795"/>
                            </a:lnTo>
                            <a:lnTo>
                              <a:pt x="59533" y="668795"/>
                            </a:lnTo>
                            <a:lnTo>
                              <a:pt x="59533" y="277698"/>
                            </a:lnTo>
                            <a:cubicBezTo>
                              <a:pt x="59533" y="174099"/>
                              <a:pt x="129466" y="84599"/>
                              <a:pt x="228198" y="58366"/>
                            </a:cubicBezTo>
                            <a:cubicBezTo>
                              <a:pt x="226432" y="42233"/>
                              <a:pt x="223365" y="25833"/>
                              <a:pt x="218998" y="9500"/>
                            </a:cubicBezTo>
                            <a:cubicBezTo>
                              <a:pt x="218132" y="6300"/>
                              <a:pt x="217232" y="3133"/>
                              <a:pt x="216298" y="0"/>
                            </a:cubicBezTo>
                            <a:close/>
                          </a:path>
                        </a:pathLst>
                      </a:custGeom>
                      <a:solidFill>
                        <a:schemeClr val="bg1"/>
                      </a:solidFill>
                      <a:ln w="3328"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3CC2D30A-8676-54C3-B813-2D11BEF77FEC}"/>
                          </a:ext>
                        </a:extLst>
                      </p:cNvPr>
                      <p:cNvSpPr/>
                      <p:nvPr/>
                    </p:nvSpPr>
                    <p:spPr>
                      <a:xfrm>
                        <a:off x="189843" y="5113289"/>
                        <a:ext cx="228198" cy="668794"/>
                      </a:xfrm>
                      <a:custGeom>
                        <a:avLst/>
                        <a:gdLst>
                          <a:gd name="connsiteX0" fmla="*/ 228165 w 228198"/>
                          <a:gd name="connsiteY0" fmla="*/ 277698 h 668794"/>
                          <a:gd name="connsiteX1" fmla="*/ 11900 w 228198"/>
                          <a:gd name="connsiteY1" fmla="*/ 0 h 668794"/>
                          <a:gd name="connsiteX2" fmla="*/ 9200 w 228198"/>
                          <a:gd name="connsiteY2" fmla="*/ 9500 h 668794"/>
                          <a:gd name="connsiteX3" fmla="*/ 0 w 228198"/>
                          <a:gd name="connsiteY3" fmla="*/ 58366 h 668794"/>
                          <a:gd name="connsiteX4" fmla="*/ 168665 w 228198"/>
                          <a:gd name="connsiteY4" fmla="*/ 277698 h 668794"/>
                          <a:gd name="connsiteX5" fmla="*/ 168665 w 228198"/>
                          <a:gd name="connsiteY5" fmla="*/ 668795 h 668794"/>
                          <a:gd name="connsiteX6" fmla="*/ 228198 w 228198"/>
                          <a:gd name="connsiteY6" fmla="*/ 668795 h 668794"/>
                          <a:gd name="connsiteX7" fmla="*/ 228198 w 228198"/>
                          <a:gd name="connsiteY7" fmla="*/ 277698 h 6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198" h="668794">
                            <a:moveTo>
                              <a:pt x="228165" y="277698"/>
                            </a:moveTo>
                            <a:cubicBezTo>
                              <a:pt x="228165" y="146032"/>
                              <a:pt x="138199" y="31966"/>
                              <a:pt x="11900" y="0"/>
                            </a:cubicBezTo>
                            <a:cubicBezTo>
                              <a:pt x="10967" y="3167"/>
                              <a:pt x="10033" y="6300"/>
                              <a:pt x="9200" y="9500"/>
                            </a:cubicBezTo>
                            <a:cubicBezTo>
                              <a:pt x="4833" y="25833"/>
                              <a:pt x="1767" y="42233"/>
                              <a:pt x="0" y="58366"/>
                            </a:cubicBezTo>
                            <a:cubicBezTo>
                              <a:pt x="98733" y="84599"/>
                              <a:pt x="168665" y="174099"/>
                              <a:pt x="168665" y="277698"/>
                            </a:cubicBezTo>
                            <a:lnTo>
                              <a:pt x="168665" y="668795"/>
                            </a:lnTo>
                            <a:lnTo>
                              <a:pt x="228198" y="668795"/>
                            </a:lnTo>
                            <a:lnTo>
                              <a:pt x="228198" y="277698"/>
                            </a:lnTo>
                            <a:close/>
                          </a:path>
                        </a:pathLst>
                      </a:custGeom>
                      <a:solidFill>
                        <a:schemeClr val="bg1"/>
                      </a:solidFill>
                      <a:ln w="3328"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F87B6B13-8039-F959-3F92-B3F1C703077A}"/>
                          </a:ext>
                        </a:extLst>
                      </p:cNvPr>
                      <p:cNvSpPr/>
                      <p:nvPr/>
                    </p:nvSpPr>
                    <p:spPr>
                      <a:xfrm>
                        <a:off x="243999" y="4583559"/>
                        <a:ext cx="180731" cy="452496"/>
                      </a:xfrm>
                      <a:custGeom>
                        <a:avLst/>
                        <a:gdLst>
                          <a:gd name="connsiteX0" fmla="*/ 0 w 180731"/>
                          <a:gd name="connsiteY0" fmla="*/ 452497 h 452496"/>
                          <a:gd name="connsiteX1" fmla="*/ 180732 w 180731"/>
                          <a:gd name="connsiteY1" fmla="*/ 186365 h 452496"/>
                          <a:gd name="connsiteX2" fmla="*/ 180732 w 180731"/>
                          <a:gd name="connsiteY2" fmla="*/ 0 h 452496"/>
                          <a:gd name="connsiteX3" fmla="*/ 165665 w 180731"/>
                          <a:gd name="connsiteY3" fmla="*/ 23966 h 452496"/>
                          <a:gd name="connsiteX4" fmla="*/ 121199 w 180731"/>
                          <a:gd name="connsiteY4" fmla="*/ 81933 h 452496"/>
                          <a:gd name="connsiteX5" fmla="*/ 121199 w 180731"/>
                          <a:gd name="connsiteY5" fmla="*/ 186365 h 452496"/>
                          <a:gd name="connsiteX6" fmla="*/ 41266 w 180731"/>
                          <a:gd name="connsiteY6" fmla="*/ 358831 h 452496"/>
                          <a:gd name="connsiteX7" fmla="*/ 0 w 180731"/>
                          <a:gd name="connsiteY7" fmla="*/ 452497 h 452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731" h="452496">
                            <a:moveTo>
                              <a:pt x="0" y="452497"/>
                            </a:moveTo>
                            <a:cubicBezTo>
                              <a:pt x="106999" y="409630"/>
                              <a:pt x="180732" y="304231"/>
                              <a:pt x="180732" y="186365"/>
                            </a:cubicBezTo>
                            <a:lnTo>
                              <a:pt x="180732" y="0"/>
                            </a:lnTo>
                            <a:cubicBezTo>
                              <a:pt x="175999" y="8000"/>
                              <a:pt x="171032" y="15967"/>
                              <a:pt x="165665" y="23966"/>
                            </a:cubicBezTo>
                            <a:cubicBezTo>
                              <a:pt x="152565" y="43466"/>
                              <a:pt x="137732" y="62800"/>
                              <a:pt x="121199" y="81933"/>
                            </a:cubicBezTo>
                            <a:lnTo>
                              <a:pt x="121199" y="186365"/>
                            </a:lnTo>
                            <a:cubicBezTo>
                              <a:pt x="121199" y="252931"/>
                              <a:pt x="92099" y="315364"/>
                              <a:pt x="41266" y="358831"/>
                            </a:cubicBezTo>
                            <a:cubicBezTo>
                              <a:pt x="31833" y="392764"/>
                              <a:pt x="17700" y="424830"/>
                              <a:pt x="0" y="452497"/>
                            </a:cubicBezTo>
                            <a:close/>
                          </a:path>
                        </a:pathLst>
                      </a:custGeom>
                      <a:solidFill>
                        <a:schemeClr val="bg1"/>
                      </a:solidFill>
                      <a:ln w="3328" cap="flat">
                        <a:noFill/>
                        <a:prstDash val="solid"/>
                        <a:miter/>
                      </a:ln>
                    </p:spPr>
                    <p:txBody>
                      <a:bodyPr rtlCol="0" anchor="ctr"/>
                      <a:lstStyle/>
                      <a:p>
                        <a:endParaRPr lang="en-US"/>
                      </a:p>
                    </p:txBody>
                  </p:sp>
                </p:grpSp>
              </p:grpSp>
              <p:grpSp>
                <p:nvGrpSpPr>
                  <p:cNvPr id="25" name="Group 24">
                    <a:extLst>
                      <a:ext uri="{FF2B5EF4-FFF2-40B4-BE49-F238E27FC236}">
                        <a16:creationId xmlns:a16="http://schemas.microsoft.com/office/drawing/2014/main" id="{4EB90A47-BDFD-B915-F068-361994DFB63A}"/>
                      </a:ext>
                    </a:extLst>
                  </p:cNvPr>
                  <p:cNvGrpSpPr/>
                  <p:nvPr/>
                </p:nvGrpSpPr>
                <p:grpSpPr>
                  <a:xfrm>
                    <a:off x="4666994" y="4245059"/>
                    <a:ext cx="927040" cy="969281"/>
                    <a:chOff x="-362028" y="4483802"/>
                    <a:chExt cx="1200390" cy="1255085"/>
                  </a:xfrm>
                </p:grpSpPr>
                <p:sp>
                  <p:nvSpPr>
                    <p:cNvPr id="29" name="Freeform: Shape 28">
                      <a:extLst>
                        <a:ext uri="{FF2B5EF4-FFF2-40B4-BE49-F238E27FC236}">
                          <a16:creationId xmlns:a16="http://schemas.microsoft.com/office/drawing/2014/main" id="{3D991319-78D5-505F-FFB6-1B12D20B7B71}"/>
                        </a:ext>
                      </a:extLst>
                    </p:cNvPr>
                    <p:cNvSpPr/>
                    <p:nvPr/>
                  </p:nvSpPr>
                  <p:spPr>
                    <a:xfrm>
                      <a:off x="-362028" y="4483802"/>
                      <a:ext cx="822136" cy="769767"/>
                    </a:xfrm>
                    <a:custGeom>
                      <a:avLst/>
                      <a:gdLst>
                        <a:gd name="connsiteX0" fmla="*/ 334626 w 822136"/>
                        <a:gd name="connsiteY0" fmla="*/ 0 h 769767"/>
                        <a:gd name="connsiteX1" fmla="*/ 0 w 822136"/>
                        <a:gd name="connsiteY1" fmla="*/ 334653 h 769767"/>
                        <a:gd name="connsiteX2" fmla="*/ 0 w 822136"/>
                        <a:gd name="connsiteY2" fmla="*/ 416700 h 769767"/>
                        <a:gd name="connsiteX3" fmla="*/ 185194 w 822136"/>
                        <a:gd name="connsiteY3" fmla="*/ 769768 h 769767"/>
                        <a:gd name="connsiteX4" fmla="*/ 333173 w 822136"/>
                        <a:gd name="connsiteY4" fmla="*/ 640587 h 769767"/>
                        <a:gd name="connsiteX5" fmla="*/ 496554 w 822136"/>
                        <a:gd name="connsiteY5" fmla="*/ 486003 h 769767"/>
                        <a:gd name="connsiteX6" fmla="*/ 597509 w 822136"/>
                        <a:gd name="connsiteY6" fmla="*/ 425798 h 769767"/>
                        <a:gd name="connsiteX7" fmla="*/ 698683 w 822136"/>
                        <a:gd name="connsiteY7" fmla="*/ 486442 h 769767"/>
                        <a:gd name="connsiteX8" fmla="*/ 715153 w 822136"/>
                        <a:gd name="connsiteY8" fmla="*/ 517161 h 769767"/>
                        <a:gd name="connsiteX9" fmla="*/ 822136 w 822136"/>
                        <a:gd name="connsiteY9" fmla="*/ 669361 h 769767"/>
                        <a:gd name="connsiteX10" fmla="*/ 822136 w 822136"/>
                        <a:gd name="connsiteY10" fmla="*/ 603373 h 769767"/>
                        <a:gd name="connsiteX11" fmla="*/ 708329 w 822136"/>
                        <a:gd name="connsiteY11" fmla="*/ 396805 h 769767"/>
                        <a:gd name="connsiteX12" fmla="*/ 606497 w 822136"/>
                        <a:gd name="connsiteY12" fmla="*/ 412096 h 769767"/>
                        <a:gd name="connsiteX13" fmla="*/ 426620 w 822136"/>
                        <a:gd name="connsiteY13" fmla="*/ 351890 h 769767"/>
                        <a:gd name="connsiteX14" fmla="*/ 370168 w 822136"/>
                        <a:gd name="connsiteY14" fmla="*/ 320842 h 769767"/>
                        <a:gd name="connsiteX15" fmla="*/ 142444 w 822136"/>
                        <a:gd name="connsiteY15" fmla="*/ 516613 h 769767"/>
                        <a:gd name="connsiteX16" fmla="*/ 129647 w 822136"/>
                        <a:gd name="connsiteY16" fmla="*/ 522724 h 769767"/>
                        <a:gd name="connsiteX17" fmla="*/ 119315 w 822136"/>
                        <a:gd name="connsiteY17" fmla="*/ 519052 h 769767"/>
                        <a:gd name="connsiteX18" fmla="*/ 116876 w 822136"/>
                        <a:gd name="connsiteY18" fmla="*/ 495951 h 769767"/>
                        <a:gd name="connsiteX19" fmla="*/ 330707 w 822136"/>
                        <a:gd name="connsiteY19" fmla="*/ 304646 h 769767"/>
                        <a:gd name="connsiteX20" fmla="*/ 307989 w 822136"/>
                        <a:gd name="connsiteY20" fmla="*/ 297987 h 769767"/>
                        <a:gd name="connsiteX21" fmla="*/ 306592 w 822136"/>
                        <a:gd name="connsiteY21" fmla="*/ 298069 h 769767"/>
                        <a:gd name="connsiteX22" fmla="*/ 298179 w 822136"/>
                        <a:gd name="connsiteY22" fmla="*/ 295685 h 769767"/>
                        <a:gd name="connsiteX23" fmla="*/ 118000 w 822136"/>
                        <a:gd name="connsiteY23" fmla="*/ 303687 h 769767"/>
                        <a:gd name="connsiteX24" fmla="*/ 98187 w 822136"/>
                        <a:gd name="connsiteY24" fmla="*/ 291547 h 769767"/>
                        <a:gd name="connsiteX25" fmla="*/ 110327 w 822136"/>
                        <a:gd name="connsiteY25" fmla="*/ 271734 h 769767"/>
                        <a:gd name="connsiteX26" fmla="*/ 288067 w 822136"/>
                        <a:gd name="connsiteY26" fmla="*/ 260389 h 769767"/>
                        <a:gd name="connsiteX27" fmla="*/ 299357 w 822136"/>
                        <a:gd name="connsiteY27" fmla="*/ 198210 h 769767"/>
                        <a:gd name="connsiteX28" fmla="*/ 305167 w 822136"/>
                        <a:gd name="connsiteY28" fmla="*/ 175575 h 769767"/>
                        <a:gd name="connsiteX29" fmla="*/ 324843 w 822136"/>
                        <a:gd name="connsiteY29" fmla="*/ 163189 h 769767"/>
                        <a:gd name="connsiteX30" fmla="*/ 337229 w 822136"/>
                        <a:gd name="connsiteY30" fmla="*/ 182837 h 769767"/>
                        <a:gd name="connsiteX31" fmla="*/ 331091 w 822136"/>
                        <a:gd name="connsiteY31" fmla="*/ 206815 h 769767"/>
                        <a:gd name="connsiteX32" fmla="*/ 321171 w 822136"/>
                        <a:gd name="connsiteY32" fmla="*/ 267405 h 769767"/>
                        <a:gd name="connsiteX33" fmla="*/ 443254 w 822136"/>
                        <a:gd name="connsiteY33" fmla="*/ 323527 h 769767"/>
                        <a:gd name="connsiteX34" fmla="*/ 662072 w 822136"/>
                        <a:gd name="connsiteY34" fmla="*/ 373868 h 769767"/>
                        <a:gd name="connsiteX35" fmla="*/ 606908 w 822136"/>
                        <a:gd name="connsiteY35" fmla="*/ 360604 h 769767"/>
                        <a:gd name="connsiteX36" fmla="*/ 605702 w 822136"/>
                        <a:gd name="connsiteY36" fmla="*/ 360467 h 769767"/>
                        <a:gd name="connsiteX37" fmla="*/ 604689 w 822136"/>
                        <a:gd name="connsiteY37" fmla="*/ 360303 h 769767"/>
                        <a:gd name="connsiteX38" fmla="*/ 603510 w 822136"/>
                        <a:gd name="connsiteY38" fmla="*/ 360084 h 769767"/>
                        <a:gd name="connsiteX39" fmla="*/ 451228 w 822136"/>
                        <a:gd name="connsiteY39" fmla="*/ 177247 h 769767"/>
                        <a:gd name="connsiteX40" fmla="*/ 451228 w 822136"/>
                        <a:gd name="connsiteY40" fmla="*/ 157187 h 769767"/>
                        <a:gd name="connsiteX41" fmla="*/ 505789 w 822136"/>
                        <a:gd name="connsiteY41" fmla="*/ 102627 h 769767"/>
                        <a:gd name="connsiteX42" fmla="*/ 507104 w 822136"/>
                        <a:gd name="connsiteY42" fmla="*/ 102627 h 769767"/>
                        <a:gd name="connsiteX43" fmla="*/ 561665 w 822136"/>
                        <a:gd name="connsiteY43" fmla="*/ 157187 h 769767"/>
                        <a:gd name="connsiteX44" fmla="*/ 561665 w 822136"/>
                        <a:gd name="connsiteY44" fmla="*/ 177247 h 769767"/>
                        <a:gd name="connsiteX45" fmla="*/ 622145 w 822136"/>
                        <a:gd name="connsiteY45" fmla="*/ 251209 h 769767"/>
                        <a:gd name="connsiteX46" fmla="*/ 659194 w 822136"/>
                        <a:gd name="connsiteY46" fmla="*/ 257950 h 769767"/>
                        <a:gd name="connsiteX47" fmla="*/ 629407 w 822136"/>
                        <a:gd name="connsiteY47" fmla="*/ 141183 h 769767"/>
                        <a:gd name="connsiteX48" fmla="*/ 623844 w 822136"/>
                        <a:gd name="connsiteY48" fmla="*/ 71989 h 769767"/>
                        <a:gd name="connsiteX49" fmla="*/ 613101 w 822136"/>
                        <a:gd name="connsiteY49" fmla="*/ 69824 h 769767"/>
                        <a:gd name="connsiteX50" fmla="*/ 486469 w 822136"/>
                        <a:gd name="connsiteY50" fmla="*/ 30802 h 769767"/>
                        <a:gd name="connsiteX51" fmla="*/ 334626 w 822136"/>
                        <a:gd name="connsiteY51" fmla="*/ 0 h 769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22136" h="769767">
                          <a:moveTo>
                            <a:pt x="334626" y="0"/>
                          </a:moveTo>
                          <a:cubicBezTo>
                            <a:pt x="150117" y="0"/>
                            <a:pt x="0" y="150117"/>
                            <a:pt x="0" y="334653"/>
                          </a:cubicBezTo>
                          <a:lnTo>
                            <a:pt x="0" y="416700"/>
                          </a:lnTo>
                          <a:cubicBezTo>
                            <a:pt x="0" y="558212"/>
                            <a:pt x="68948" y="689037"/>
                            <a:pt x="185194" y="769768"/>
                          </a:cubicBezTo>
                          <a:cubicBezTo>
                            <a:pt x="225669" y="716824"/>
                            <a:pt x="279873" y="678349"/>
                            <a:pt x="333173" y="640587"/>
                          </a:cubicBezTo>
                          <a:cubicBezTo>
                            <a:pt x="397188" y="595234"/>
                            <a:pt x="457668" y="552402"/>
                            <a:pt x="496554" y="486003"/>
                          </a:cubicBezTo>
                          <a:cubicBezTo>
                            <a:pt x="518970" y="447748"/>
                            <a:pt x="555773" y="425798"/>
                            <a:pt x="597509" y="425798"/>
                          </a:cubicBezTo>
                          <a:cubicBezTo>
                            <a:pt x="639245" y="425798"/>
                            <a:pt x="677610" y="447912"/>
                            <a:pt x="698683" y="486442"/>
                          </a:cubicBezTo>
                          <a:cubicBezTo>
                            <a:pt x="704246" y="496581"/>
                            <a:pt x="709781" y="507049"/>
                            <a:pt x="715153" y="517161"/>
                          </a:cubicBezTo>
                          <a:cubicBezTo>
                            <a:pt x="744584" y="572571"/>
                            <a:pt x="774920" y="629626"/>
                            <a:pt x="822136" y="669361"/>
                          </a:cubicBezTo>
                          <a:lnTo>
                            <a:pt x="822136" y="603373"/>
                          </a:lnTo>
                          <a:cubicBezTo>
                            <a:pt x="822136" y="517216"/>
                            <a:pt x="777140" y="440431"/>
                            <a:pt x="708329" y="396805"/>
                          </a:cubicBezTo>
                          <a:cubicBezTo>
                            <a:pt x="669717" y="407574"/>
                            <a:pt x="636203" y="412096"/>
                            <a:pt x="606497" y="412096"/>
                          </a:cubicBezTo>
                          <a:cubicBezTo>
                            <a:pt x="529164" y="412096"/>
                            <a:pt x="477289" y="381623"/>
                            <a:pt x="426620" y="351890"/>
                          </a:cubicBezTo>
                          <a:cubicBezTo>
                            <a:pt x="408396" y="341203"/>
                            <a:pt x="390008" y="330406"/>
                            <a:pt x="370168" y="320842"/>
                          </a:cubicBezTo>
                          <a:cubicBezTo>
                            <a:pt x="288122" y="362194"/>
                            <a:pt x="219832" y="420892"/>
                            <a:pt x="142444" y="516613"/>
                          </a:cubicBezTo>
                          <a:cubicBezTo>
                            <a:pt x="139183" y="520641"/>
                            <a:pt x="134442" y="522724"/>
                            <a:pt x="129647" y="522724"/>
                          </a:cubicBezTo>
                          <a:cubicBezTo>
                            <a:pt x="126002" y="522724"/>
                            <a:pt x="122357" y="521518"/>
                            <a:pt x="119315" y="519052"/>
                          </a:cubicBezTo>
                          <a:cubicBezTo>
                            <a:pt x="112245" y="513352"/>
                            <a:pt x="111149" y="502994"/>
                            <a:pt x="116876" y="495951"/>
                          </a:cubicBezTo>
                          <a:cubicBezTo>
                            <a:pt x="189606" y="405985"/>
                            <a:pt x="254991" y="347259"/>
                            <a:pt x="330707" y="304646"/>
                          </a:cubicBezTo>
                          <a:cubicBezTo>
                            <a:pt x="323418" y="302180"/>
                            <a:pt x="315827" y="299960"/>
                            <a:pt x="307989" y="297987"/>
                          </a:cubicBezTo>
                          <a:cubicBezTo>
                            <a:pt x="307524" y="298014"/>
                            <a:pt x="307058" y="298069"/>
                            <a:pt x="306592" y="298069"/>
                          </a:cubicBezTo>
                          <a:cubicBezTo>
                            <a:pt x="303550" y="298069"/>
                            <a:pt x="300673" y="297192"/>
                            <a:pt x="298179" y="295685"/>
                          </a:cubicBezTo>
                          <a:cubicBezTo>
                            <a:pt x="251483" y="285683"/>
                            <a:pt x="194429" y="285299"/>
                            <a:pt x="118000" y="303687"/>
                          </a:cubicBezTo>
                          <a:cubicBezTo>
                            <a:pt x="109176" y="305824"/>
                            <a:pt x="100297" y="300399"/>
                            <a:pt x="98187" y="291547"/>
                          </a:cubicBezTo>
                          <a:cubicBezTo>
                            <a:pt x="96050" y="282723"/>
                            <a:pt x="101476" y="273844"/>
                            <a:pt x="110327" y="271734"/>
                          </a:cubicBezTo>
                          <a:cubicBezTo>
                            <a:pt x="183358" y="254141"/>
                            <a:pt x="240631" y="252798"/>
                            <a:pt x="288067" y="260389"/>
                          </a:cubicBezTo>
                          <a:cubicBezTo>
                            <a:pt x="288286" y="239151"/>
                            <a:pt x="293877" y="218434"/>
                            <a:pt x="299357" y="198210"/>
                          </a:cubicBezTo>
                          <a:cubicBezTo>
                            <a:pt x="301495" y="190346"/>
                            <a:pt x="303495" y="182919"/>
                            <a:pt x="305167" y="175575"/>
                          </a:cubicBezTo>
                          <a:cubicBezTo>
                            <a:pt x="307167" y="166724"/>
                            <a:pt x="315991" y="161161"/>
                            <a:pt x="324843" y="163189"/>
                          </a:cubicBezTo>
                          <a:cubicBezTo>
                            <a:pt x="333694" y="165189"/>
                            <a:pt x="339257" y="173986"/>
                            <a:pt x="337229" y="182837"/>
                          </a:cubicBezTo>
                          <a:cubicBezTo>
                            <a:pt x="335420" y="190866"/>
                            <a:pt x="333228" y="198978"/>
                            <a:pt x="331091" y="206815"/>
                          </a:cubicBezTo>
                          <a:cubicBezTo>
                            <a:pt x="325309" y="228108"/>
                            <a:pt x="319855" y="248386"/>
                            <a:pt x="321171" y="267405"/>
                          </a:cubicBezTo>
                          <a:cubicBezTo>
                            <a:pt x="369785" y="280449"/>
                            <a:pt x="407656" y="302646"/>
                            <a:pt x="443254" y="323527"/>
                          </a:cubicBezTo>
                          <a:cubicBezTo>
                            <a:pt x="505981" y="360358"/>
                            <a:pt x="561144" y="392639"/>
                            <a:pt x="662072" y="373868"/>
                          </a:cubicBezTo>
                          <a:cubicBezTo>
                            <a:pt x="644588" y="367428"/>
                            <a:pt x="626118" y="362934"/>
                            <a:pt x="606908" y="360604"/>
                          </a:cubicBezTo>
                          <a:lnTo>
                            <a:pt x="605702" y="360467"/>
                          </a:lnTo>
                          <a:cubicBezTo>
                            <a:pt x="605374" y="360412"/>
                            <a:pt x="605017" y="360358"/>
                            <a:pt x="604689" y="360303"/>
                          </a:cubicBezTo>
                          <a:lnTo>
                            <a:pt x="603510" y="360084"/>
                          </a:lnTo>
                          <a:cubicBezTo>
                            <a:pt x="515270" y="343806"/>
                            <a:pt x="451228" y="266911"/>
                            <a:pt x="451228" y="177247"/>
                          </a:cubicBezTo>
                          <a:lnTo>
                            <a:pt x="451228" y="157187"/>
                          </a:lnTo>
                          <a:cubicBezTo>
                            <a:pt x="451228" y="127098"/>
                            <a:pt x="475700" y="102627"/>
                            <a:pt x="505789" y="102627"/>
                          </a:cubicBezTo>
                          <a:lnTo>
                            <a:pt x="507104" y="102627"/>
                          </a:lnTo>
                          <a:cubicBezTo>
                            <a:pt x="537193" y="102627"/>
                            <a:pt x="561665" y="127098"/>
                            <a:pt x="561665" y="157187"/>
                          </a:cubicBezTo>
                          <a:lnTo>
                            <a:pt x="561665" y="177247"/>
                          </a:lnTo>
                          <a:cubicBezTo>
                            <a:pt x="561665" y="213036"/>
                            <a:pt x="587068" y="244057"/>
                            <a:pt x="622145" y="251209"/>
                          </a:cubicBezTo>
                          <a:cubicBezTo>
                            <a:pt x="634641" y="252771"/>
                            <a:pt x="647000" y="255046"/>
                            <a:pt x="659194" y="257950"/>
                          </a:cubicBezTo>
                          <a:cubicBezTo>
                            <a:pt x="660839" y="214625"/>
                            <a:pt x="650507" y="173739"/>
                            <a:pt x="629407" y="141183"/>
                          </a:cubicBezTo>
                          <a:cubicBezTo>
                            <a:pt x="615650" y="119918"/>
                            <a:pt x="613896" y="94186"/>
                            <a:pt x="623844" y="71989"/>
                          </a:cubicBezTo>
                          <a:cubicBezTo>
                            <a:pt x="620254" y="71277"/>
                            <a:pt x="616691" y="70592"/>
                            <a:pt x="613101" y="69824"/>
                          </a:cubicBezTo>
                          <a:cubicBezTo>
                            <a:pt x="567831" y="60370"/>
                            <a:pt x="525218" y="47244"/>
                            <a:pt x="486469" y="30802"/>
                          </a:cubicBezTo>
                          <a:cubicBezTo>
                            <a:pt x="436238" y="9509"/>
                            <a:pt x="389406" y="0"/>
                            <a:pt x="334626" y="0"/>
                          </a:cubicBezTo>
                          <a:close/>
                        </a:path>
                      </a:pathLst>
                    </a:custGeom>
                    <a:solidFill>
                      <a:schemeClr val="bg1"/>
                    </a:solidFill>
                    <a:ln w="1905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F9415DEC-25AE-3A8E-6185-9217EBBB552F}"/>
                        </a:ext>
                      </a:extLst>
                    </p:cNvPr>
                    <p:cNvSpPr/>
                    <p:nvPr/>
                  </p:nvSpPr>
                  <p:spPr>
                    <a:xfrm>
                      <a:off x="288339" y="4561628"/>
                      <a:ext cx="550023" cy="196648"/>
                    </a:xfrm>
                    <a:custGeom>
                      <a:avLst/>
                      <a:gdLst>
                        <a:gd name="connsiteX0" fmla="*/ 6635 w 550023"/>
                        <a:gd name="connsiteY0" fmla="*/ 45463 h 196648"/>
                        <a:gd name="connsiteX1" fmla="*/ 41218 w 550023"/>
                        <a:gd name="connsiteY1" fmla="*/ 189441 h 196648"/>
                        <a:gd name="connsiteX2" fmla="*/ 60592 w 550023"/>
                        <a:gd name="connsiteY2" fmla="*/ 196648 h 196648"/>
                        <a:gd name="connsiteX3" fmla="*/ 97779 w 550023"/>
                        <a:gd name="connsiteY3" fmla="*/ 159489 h 196648"/>
                        <a:gd name="connsiteX4" fmla="*/ 112193 w 550023"/>
                        <a:gd name="connsiteY4" fmla="*/ 139238 h 196648"/>
                        <a:gd name="connsiteX5" fmla="*/ 112468 w 550023"/>
                        <a:gd name="connsiteY5" fmla="*/ 138662 h 196648"/>
                        <a:gd name="connsiteX6" fmla="*/ 143653 w 550023"/>
                        <a:gd name="connsiteY6" fmla="*/ 110930 h 196648"/>
                        <a:gd name="connsiteX7" fmla="*/ 185361 w 550023"/>
                        <a:gd name="connsiteY7" fmla="*/ 113314 h 196648"/>
                        <a:gd name="connsiteX8" fmla="*/ 186512 w 550023"/>
                        <a:gd name="connsiteY8" fmla="*/ 113862 h 196648"/>
                        <a:gd name="connsiteX9" fmla="*/ 214272 w 550023"/>
                        <a:gd name="connsiteY9" fmla="*/ 145075 h 196648"/>
                        <a:gd name="connsiteX10" fmla="*/ 217259 w 550023"/>
                        <a:gd name="connsiteY10" fmla="*/ 165134 h 196648"/>
                        <a:gd name="connsiteX11" fmla="*/ 545582 w 550023"/>
                        <a:gd name="connsiteY11" fmla="*/ 60726 h 196648"/>
                        <a:gd name="connsiteX12" fmla="*/ 547254 w 550023"/>
                        <a:gd name="connsiteY12" fmla="*/ 56753 h 196648"/>
                        <a:gd name="connsiteX13" fmla="*/ 543417 w 550023"/>
                        <a:gd name="connsiteY13" fmla="*/ 22252 h 196648"/>
                        <a:gd name="connsiteX14" fmla="*/ 512725 w 550023"/>
                        <a:gd name="connsiteY14" fmla="*/ 6001 h 196648"/>
                        <a:gd name="connsiteX15" fmla="*/ 66731 w 550023"/>
                        <a:gd name="connsiteY15" fmla="*/ 6001 h 196648"/>
                        <a:gd name="connsiteX16" fmla="*/ 65772 w 550023"/>
                        <a:gd name="connsiteY16" fmla="*/ 5974 h 196648"/>
                        <a:gd name="connsiteX17" fmla="*/ 7950 w 550023"/>
                        <a:gd name="connsiteY17" fmla="*/ 0 h 196648"/>
                        <a:gd name="connsiteX18" fmla="*/ 6635 w 550023"/>
                        <a:gd name="connsiteY18" fmla="*/ 45463 h 1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0023" h="196648">
                          <a:moveTo>
                            <a:pt x="6635" y="45463"/>
                          </a:moveTo>
                          <a:cubicBezTo>
                            <a:pt x="32750" y="85746"/>
                            <a:pt x="44835" y="136443"/>
                            <a:pt x="41218" y="189441"/>
                          </a:cubicBezTo>
                          <a:cubicBezTo>
                            <a:pt x="47740" y="191661"/>
                            <a:pt x="54207" y="194045"/>
                            <a:pt x="60592" y="196648"/>
                          </a:cubicBezTo>
                          <a:lnTo>
                            <a:pt x="97779" y="159489"/>
                          </a:lnTo>
                          <a:cubicBezTo>
                            <a:pt x="103698" y="153543"/>
                            <a:pt x="108549" y="146746"/>
                            <a:pt x="112193" y="139238"/>
                          </a:cubicBezTo>
                          <a:lnTo>
                            <a:pt x="112468" y="138662"/>
                          </a:lnTo>
                          <a:cubicBezTo>
                            <a:pt x="118798" y="125563"/>
                            <a:pt x="129869" y="115726"/>
                            <a:pt x="143653" y="110930"/>
                          </a:cubicBezTo>
                          <a:cubicBezTo>
                            <a:pt x="157464" y="106134"/>
                            <a:pt x="172262" y="106984"/>
                            <a:pt x="185361" y="113314"/>
                          </a:cubicBezTo>
                          <a:lnTo>
                            <a:pt x="186512" y="113862"/>
                          </a:lnTo>
                          <a:cubicBezTo>
                            <a:pt x="199611" y="120220"/>
                            <a:pt x="209476" y="131291"/>
                            <a:pt x="214272" y="145075"/>
                          </a:cubicBezTo>
                          <a:cubicBezTo>
                            <a:pt x="216547" y="151624"/>
                            <a:pt x="217506" y="158420"/>
                            <a:pt x="217259" y="165134"/>
                          </a:cubicBezTo>
                          <a:cubicBezTo>
                            <a:pt x="329778" y="105997"/>
                            <a:pt x="439996" y="70921"/>
                            <a:pt x="545582" y="60726"/>
                          </a:cubicBezTo>
                          <a:cubicBezTo>
                            <a:pt x="546130" y="59411"/>
                            <a:pt x="546733" y="58068"/>
                            <a:pt x="547254" y="56753"/>
                          </a:cubicBezTo>
                          <a:cubicBezTo>
                            <a:pt x="551967" y="44805"/>
                            <a:pt x="550652" y="32884"/>
                            <a:pt x="543417" y="22252"/>
                          </a:cubicBezTo>
                          <a:cubicBezTo>
                            <a:pt x="536210" y="11619"/>
                            <a:pt x="525577" y="6001"/>
                            <a:pt x="512725" y="6001"/>
                          </a:cubicBezTo>
                          <a:lnTo>
                            <a:pt x="66731" y="6001"/>
                          </a:lnTo>
                          <a:cubicBezTo>
                            <a:pt x="66402" y="6001"/>
                            <a:pt x="66101" y="6001"/>
                            <a:pt x="65772" y="5974"/>
                          </a:cubicBezTo>
                          <a:cubicBezTo>
                            <a:pt x="46808" y="4878"/>
                            <a:pt x="27489" y="2850"/>
                            <a:pt x="7950" y="0"/>
                          </a:cubicBezTo>
                          <a:cubicBezTo>
                            <a:pt x="-2134" y="13729"/>
                            <a:pt x="-2682" y="31103"/>
                            <a:pt x="6635" y="45463"/>
                          </a:cubicBezTo>
                          <a:close/>
                        </a:path>
                      </a:pathLst>
                    </a:custGeom>
                    <a:solidFill>
                      <a:schemeClr val="bg1"/>
                    </a:solidFill>
                    <a:ln w="1905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95E963F2-A6F5-7A4D-17EB-4F1F7B5CB38D}"/>
                        </a:ext>
                      </a:extLst>
                    </p:cNvPr>
                    <p:cNvSpPr/>
                    <p:nvPr/>
                  </p:nvSpPr>
                  <p:spPr>
                    <a:xfrm>
                      <a:off x="445913" y="4657540"/>
                      <a:ext cx="369373" cy="177027"/>
                    </a:xfrm>
                    <a:custGeom>
                      <a:avLst/>
                      <a:gdLst>
                        <a:gd name="connsiteX0" fmla="*/ 369374 w 369373"/>
                        <a:gd name="connsiteY0" fmla="*/ 0 h 177027"/>
                        <a:gd name="connsiteX1" fmla="*/ 37735 w 369373"/>
                        <a:gd name="connsiteY1" fmla="*/ 118740 h 177027"/>
                        <a:gd name="connsiteX2" fmla="*/ 18278 w 369373"/>
                        <a:gd name="connsiteY2" fmla="*/ 141649 h 177027"/>
                        <a:gd name="connsiteX3" fmla="*/ 0 w 369373"/>
                        <a:gd name="connsiteY3" fmla="*/ 159955 h 177027"/>
                        <a:gd name="connsiteX4" fmla="*/ 18552 w 369373"/>
                        <a:gd name="connsiteY4" fmla="*/ 177027 h 177027"/>
                        <a:gd name="connsiteX5" fmla="*/ 97886 w 369373"/>
                        <a:gd name="connsiteY5" fmla="*/ 116904 h 177027"/>
                        <a:gd name="connsiteX6" fmla="*/ 215995 w 369373"/>
                        <a:gd name="connsiteY6" fmla="*/ 75250 h 177027"/>
                        <a:gd name="connsiteX7" fmla="*/ 216653 w 369373"/>
                        <a:gd name="connsiteY7" fmla="*/ 75250 h 177027"/>
                        <a:gd name="connsiteX8" fmla="*/ 218297 w 369373"/>
                        <a:gd name="connsiteY8" fmla="*/ 75196 h 177027"/>
                        <a:gd name="connsiteX9" fmla="*/ 265706 w 369373"/>
                        <a:gd name="connsiteY9" fmla="*/ 102846 h 177027"/>
                        <a:gd name="connsiteX10" fmla="*/ 369346 w 369373"/>
                        <a:gd name="connsiteY10" fmla="*/ 0 h 17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9373" h="177027">
                          <a:moveTo>
                            <a:pt x="369374" y="0"/>
                          </a:moveTo>
                          <a:cubicBezTo>
                            <a:pt x="263075" y="13784"/>
                            <a:pt x="151679" y="53656"/>
                            <a:pt x="37735" y="118740"/>
                          </a:cubicBezTo>
                          <a:cubicBezTo>
                            <a:pt x="31925" y="126851"/>
                            <a:pt x="25431" y="134524"/>
                            <a:pt x="18278" y="141649"/>
                          </a:cubicBezTo>
                          <a:lnTo>
                            <a:pt x="0" y="159955"/>
                          </a:lnTo>
                          <a:cubicBezTo>
                            <a:pt x="6385" y="165408"/>
                            <a:pt x="12578" y="171136"/>
                            <a:pt x="18552" y="177027"/>
                          </a:cubicBezTo>
                          <a:lnTo>
                            <a:pt x="97886" y="116904"/>
                          </a:lnTo>
                          <a:cubicBezTo>
                            <a:pt x="132113" y="90925"/>
                            <a:pt x="172972" y="76538"/>
                            <a:pt x="215995" y="75250"/>
                          </a:cubicBezTo>
                          <a:lnTo>
                            <a:pt x="216653" y="75250"/>
                          </a:lnTo>
                          <a:cubicBezTo>
                            <a:pt x="217201" y="75250"/>
                            <a:pt x="217749" y="75196"/>
                            <a:pt x="218297" y="75196"/>
                          </a:cubicBezTo>
                          <a:cubicBezTo>
                            <a:pt x="238494" y="75196"/>
                            <a:pt x="256279" y="86294"/>
                            <a:pt x="265706" y="102846"/>
                          </a:cubicBezTo>
                          <a:cubicBezTo>
                            <a:pt x="311716" y="70098"/>
                            <a:pt x="346409" y="35680"/>
                            <a:pt x="369346" y="0"/>
                          </a:cubicBezTo>
                          <a:close/>
                        </a:path>
                      </a:pathLst>
                    </a:custGeom>
                    <a:solidFill>
                      <a:schemeClr val="bg1"/>
                    </a:solidFill>
                    <a:ln w="1905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937DFF15-A3FB-D833-196D-B460B8CF8873}"/>
                        </a:ext>
                      </a:extLst>
                    </p:cNvPr>
                    <p:cNvSpPr/>
                    <p:nvPr/>
                  </p:nvSpPr>
                  <p:spPr>
                    <a:xfrm>
                      <a:off x="122084" y="4619312"/>
                      <a:ext cx="563839" cy="1119575"/>
                    </a:xfrm>
                    <a:custGeom>
                      <a:avLst/>
                      <a:gdLst>
                        <a:gd name="connsiteX0" fmla="*/ 540811 w 563839"/>
                        <a:gd name="connsiteY0" fmla="*/ 146335 h 1119575"/>
                        <a:gd name="connsiteX1" fmla="*/ 441582 w 563839"/>
                        <a:gd name="connsiteY1" fmla="*/ 181330 h 1119575"/>
                        <a:gd name="connsiteX2" fmla="*/ 350684 w 563839"/>
                        <a:gd name="connsiteY2" fmla="*/ 250250 h 1119575"/>
                        <a:gd name="connsiteX3" fmla="*/ 328707 w 563839"/>
                        <a:gd name="connsiteY3" fmla="*/ 248359 h 1119575"/>
                        <a:gd name="connsiteX4" fmla="*/ 289273 w 563839"/>
                        <a:gd name="connsiteY4" fmla="*/ 212460 h 1119575"/>
                        <a:gd name="connsiteX5" fmla="*/ 282915 w 563839"/>
                        <a:gd name="connsiteY5" fmla="*/ 200512 h 1119575"/>
                        <a:gd name="connsiteX6" fmla="*/ 287683 w 563839"/>
                        <a:gd name="connsiteY6" fmla="*/ 187824 h 1119575"/>
                        <a:gd name="connsiteX7" fmla="*/ 318869 w 563839"/>
                        <a:gd name="connsiteY7" fmla="*/ 156639 h 1119575"/>
                        <a:gd name="connsiteX8" fmla="*/ 348245 w 563839"/>
                        <a:gd name="connsiteY8" fmla="*/ 115342 h 1119575"/>
                        <a:gd name="connsiteX9" fmla="*/ 348519 w 563839"/>
                        <a:gd name="connsiteY9" fmla="*/ 114766 h 1119575"/>
                        <a:gd name="connsiteX10" fmla="*/ 349451 w 563839"/>
                        <a:gd name="connsiteY10" fmla="*/ 98187 h 1119575"/>
                        <a:gd name="connsiteX11" fmla="*/ 338435 w 563839"/>
                        <a:gd name="connsiteY11" fmla="*/ 85801 h 1119575"/>
                        <a:gd name="connsiteX12" fmla="*/ 337284 w 563839"/>
                        <a:gd name="connsiteY12" fmla="*/ 85225 h 1119575"/>
                        <a:gd name="connsiteX13" fmla="*/ 320732 w 563839"/>
                        <a:gd name="connsiteY13" fmla="*/ 84294 h 1119575"/>
                        <a:gd name="connsiteX14" fmla="*/ 308318 w 563839"/>
                        <a:gd name="connsiteY14" fmla="*/ 95310 h 1119575"/>
                        <a:gd name="connsiteX15" fmla="*/ 308044 w 563839"/>
                        <a:gd name="connsiteY15" fmla="*/ 95885 h 1119575"/>
                        <a:gd name="connsiteX16" fmla="*/ 287272 w 563839"/>
                        <a:gd name="connsiteY16" fmla="*/ 125043 h 1119575"/>
                        <a:gd name="connsiteX17" fmla="*/ 242248 w 563839"/>
                        <a:gd name="connsiteY17" fmla="*/ 170067 h 1119575"/>
                        <a:gd name="connsiteX18" fmla="*/ 223942 w 563839"/>
                        <a:gd name="connsiteY18" fmla="*/ 173465 h 1119575"/>
                        <a:gd name="connsiteX19" fmla="*/ 133373 w 563839"/>
                        <a:gd name="connsiteY19" fmla="*/ 148254 h 1119575"/>
                        <a:gd name="connsiteX20" fmla="*/ 132223 w 563839"/>
                        <a:gd name="connsiteY20" fmla="*/ 148062 h 1119575"/>
                        <a:gd name="connsiteX21" fmla="*/ 44668 w 563839"/>
                        <a:gd name="connsiteY21" fmla="*/ 41736 h 1119575"/>
                        <a:gd name="connsiteX22" fmla="*/ 44668 w 563839"/>
                        <a:gd name="connsiteY22" fmla="*/ 21676 h 1119575"/>
                        <a:gd name="connsiteX23" fmla="*/ 22992 w 563839"/>
                        <a:gd name="connsiteY23" fmla="*/ 0 h 1119575"/>
                        <a:gd name="connsiteX24" fmla="*/ 21676 w 563839"/>
                        <a:gd name="connsiteY24" fmla="*/ 0 h 1119575"/>
                        <a:gd name="connsiteX25" fmla="*/ 0 w 563839"/>
                        <a:gd name="connsiteY25" fmla="*/ 21676 h 1119575"/>
                        <a:gd name="connsiteX26" fmla="*/ 0 w 563839"/>
                        <a:gd name="connsiteY26" fmla="*/ 41736 h 1119575"/>
                        <a:gd name="connsiteX27" fmla="*/ 125372 w 563839"/>
                        <a:gd name="connsiteY27" fmla="*/ 192236 h 1119575"/>
                        <a:gd name="connsiteX28" fmla="*/ 126742 w 563839"/>
                        <a:gd name="connsiteY28" fmla="*/ 192428 h 1119575"/>
                        <a:gd name="connsiteX29" fmla="*/ 300782 w 563839"/>
                        <a:gd name="connsiteY29" fmla="*/ 284011 h 1119575"/>
                        <a:gd name="connsiteX30" fmla="*/ 370908 w 563839"/>
                        <a:gd name="connsiteY30" fmla="*/ 467862 h 1119575"/>
                        <a:gd name="connsiteX31" fmla="*/ 370908 w 563839"/>
                        <a:gd name="connsiteY31" fmla="*/ 1119575 h 1119575"/>
                        <a:gd name="connsiteX32" fmla="*/ 415603 w 563839"/>
                        <a:gd name="connsiteY32" fmla="*/ 1119575 h 1119575"/>
                        <a:gd name="connsiteX33" fmla="*/ 415603 w 563839"/>
                        <a:gd name="connsiteY33" fmla="*/ 467862 h 1119575"/>
                        <a:gd name="connsiteX34" fmla="*/ 372635 w 563839"/>
                        <a:gd name="connsiteY34" fmla="*/ 307688 h 1119575"/>
                        <a:gd name="connsiteX35" fmla="*/ 376937 w 563839"/>
                        <a:gd name="connsiteY35" fmla="*/ 286368 h 1119575"/>
                        <a:gd name="connsiteX36" fmla="*/ 468575 w 563839"/>
                        <a:gd name="connsiteY36" fmla="*/ 216927 h 1119575"/>
                        <a:gd name="connsiteX37" fmla="*/ 542153 w 563839"/>
                        <a:gd name="connsiteY37" fmla="*/ 191003 h 1119575"/>
                        <a:gd name="connsiteX38" fmla="*/ 542811 w 563839"/>
                        <a:gd name="connsiteY38" fmla="*/ 191003 h 1119575"/>
                        <a:gd name="connsiteX39" fmla="*/ 563830 w 563839"/>
                        <a:gd name="connsiteY39" fmla="*/ 168642 h 1119575"/>
                        <a:gd name="connsiteX40" fmla="*/ 563830 w 563839"/>
                        <a:gd name="connsiteY40" fmla="*/ 167354 h 1119575"/>
                        <a:gd name="connsiteX41" fmla="*/ 541468 w 563839"/>
                        <a:gd name="connsiteY41" fmla="*/ 146335 h 1119575"/>
                        <a:gd name="connsiteX42" fmla="*/ 540811 w 563839"/>
                        <a:gd name="connsiteY42" fmla="*/ 146335 h 111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63839" h="1119575">
                          <a:moveTo>
                            <a:pt x="540811" y="146335"/>
                          </a:moveTo>
                          <a:cubicBezTo>
                            <a:pt x="504665" y="147432"/>
                            <a:pt x="470329" y="159517"/>
                            <a:pt x="441582" y="181330"/>
                          </a:cubicBezTo>
                          <a:lnTo>
                            <a:pt x="350684" y="250250"/>
                          </a:lnTo>
                          <a:cubicBezTo>
                            <a:pt x="343943" y="255347"/>
                            <a:pt x="334461" y="254525"/>
                            <a:pt x="328707" y="248359"/>
                          </a:cubicBezTo>
                          <a:cubicBezTo>
                            <a:pt x="316594" y="235370"/>
                            <a:pt x="303331" y="223285"/>
                            <a:pt x="289273" y="212460"/>
                          </a:cubicBezTo>
                          <a:cubicBezTo>
                            <a:pt x="285518" y="209583"/>
                            <a:pt x="283217" y="205226"/>
                            <a:pt x="282915" y="200512"/>
                          </a:cubicBezTo>
                          <a:cubicBezTo>
                            <a:pt x="282586" y="195771"/>
                            <a:pt x="284340" y="191168"/>
                            <a:pt x="287683" y="187824"/>
                          </a:cubicBezTo>
                          <a:lnTo>
                            <a:pt x="318869" y="156639"/>
                          </a:lnTo>
                          <a:cubicBezTo>
                            <a:pt x="330954" y="144554"/>
                            <a:pt x="340819" y="130660"/>
                            <a:pt x="348245" y="115342"/>
                          </a:cubicBezTo>
                          <a:lnTo>
                            <a:pt x="348519" y="114766"/>
                          </a:lnTo>
                          <a:cubicBezTo>
                            <a:pt x="351041" y="109560"/>
                            <a:pt x="351369" y="103695"/>
                            <a:pt x="349451" y="98187"/>
                          </a:cubicBezTo>
                          <a:cubicBezTo>
                            <a:pt x="347533" y="92706"/>
                            <a:pt x="343642" y="88294"/>
                            <a:pt x="338435" y="85801"/>
                          </a:cubicBezTo>
                          <a:lnTo>
                            <a:pt x="337284" y="85225"/>
                          </a:lnTo>
                          <a:cubicBezTo>
                            <a:pt x="332105" y="82704"/>
                            <a:pt x="326213" y="82375"/>
                            <a:pt x="320732" y="84294"/>
                          </a:cubicBezTo>
                          <a:cubicBezTo>
                            <a:pt x="315224" y="86212"/>
                            <a:pt x="310839" y="90103"/>
                            <a:pt x="308318" y="95310"/>
                          </a:cubicBezTo>
                          <a:lnTo>
                            <a:pt x="308044" y="95885"/>
                          </a:lnTo>
                          <a:cubicBezTo>
                            <a:pt x="302810" y="106682"/>
                            <a:pt x="295822" y="116520"/>
                            <a:pt x="287272" y="125043"/>
                          </a:cubicBezTo>
                          <a:lnTo>
                            <a:pt x="242248" y="170067"/>
                          </a:lnTo>
                          <a:cubicBezTo>
                            <a:pt x="237452" y="174890"/>
                            <a:pt x="230163" y="176233"/>
                            <a:pt x="223942" y="173465"/>
                          </a:cubicBezTo>
                          <a:cubicBezTo>
                            <a:pt x="195169" y="160640"/>
                            <a:pt x="164696" y="152145"/>
                            <a:pt x="133373" y="148254"/>
                          </a:cubicBezTo>
                          <a:cubicBezTo>
                            <a:pt x="132990" y="148199"/>
                            <a:pt x="132606" y="148144"/>
                            <a:pt x="132223" y="148062"/>
                          </a:cubicBezTo>
                          <a:cubicBezTo>
                            <a:pt x="81498" y="138087"/>
                            <a:pt x="44668" y="93392"/>
                            <a:pt x="44668" y="41736"/>
                          </a:cubicBezTo>
                          <a:lnTo>
                            <a:pt x="44668" y="21676"/>
                          </a:lnTo>
                          <a:cubicBezTo>
                            <a:pt x="44668" y="9728"/>
                            <a:pt x="34940" y="0"/>
                            <a:pt x="22992" y="0"/>
                          </a:cubicBezTo>
                          <a:lnTo>
                            <a:pt x="21676" y="0"/>
                          </a:lnTo>
                          <a:cubicBezTo>
                            <a:pt x="9728" y="0"/>
                            <a:pt x="0" y="9728"/>
                            <a:pt x="0" y="21676"/>
                          </a:cubicBezTo>
                          <a:lnTo>
                            <a:pt x="0" y="41736"/>
                          </a:lnTo>
                          <a:cubicBezTo>
                            <a:pt x="0" y="115561"/>
                            <a:pt x="52725" y="178836"/>
                            <a:pt x="125372" y="192236"/>
                          </a:cubicBezTo>
                          <a:lnTo>
                            <a:pt x="126742" y="192428"/>
                          </a:lnTo>
                          <a:cubicBezTo>
                            <a:pt x="193771" y="200540"/>
                            <a:pt x="255566" y="233068"/>
                            <a:pt x="300782" y="284011"/>
                          </a:cubicBezTo>
                          <a:cubicBezTo>
                            <a:pt x="345998" y="335009"/>
                            <a:pt x="370908" y="400312"/>
                            <a:pt x="370908" y="467862"/>
                          </a:cubicBezTo>
                          <a:lnTo>
                            <a:pt x="370908" y="1119575"/>
                          </a:lnTo>
                          <a:lnTo>
                            <a:pt x="415603" y="1119575"/>
                          </a:lnTo>
                          <a:lnTo>
                            <a:pt x="415603" y="467862"/>
                          </a:lnTo>
                          <a:cubicBezTo>
                            <a:pt x="415603" y="411794"/>
                            <a:pt x="400723" y="356412"/>
                            <a:pt x="372635" y="307688"/>
                          </a:cubicBezTo>
                          <a:cubicBezTo>
                            <a:pt x="368497" y="300536"/>
                            <a:pt x="370333" y="291383"/>
                            <a:pt x="376937" y="286368"/>
                          </a:cubicBezTo>
                          <a:lnTo>
                            <a:pt x="468575" y="216927"/>
                          </a:lnTo>
                          <a:cubicBezTo>
                            <a:pt x="489867" y="200759"/>
                            <a:pt x="515325" y="191798"/>
                            <a:pt x="542153" y="191003"/>
                          </a:cubicBezTo>
                          <a:lnTo>
                            <a:pt x="542811" y="191003"/>
                          </a:lnTo>
                          <a:cubicBezTo>
                            <a:pt x="554759" y="190620"/>
                            <a:pt x="564186" y="180590"/>
                            <a:pt x="563830" y="168642"/>
                          </a:cubicBezTo>
                          <a:lnTo>
                            <a:pt x="563830" y="167354"/>
                          </a:lnTo>
                          <a:cubicBezTo>
                            <a:pt x="563446" y="155406"/>
                            <a:pt x="553444" y="146034"/>
                            <a:pt x="541468" y="146335"/>
                          </a:cubicBezTo>
                          <a:lnTo>
                            <a:pt x="540811" y="146335"/>
                          </a:lnTo>
                          <a:close/>
                        </a:path>
                      </a:pathLst>
                    </a:custGeom>
                    <a:solidFill>
                      <a:schemeClr val="bg1"/>
                    </a:solidFill>
                    <a:ln w="2740" cap="flat">
                      <a:noFill/>
                      <a:prstDash val="solid"/>
                      <a:miter/>
                    </a:ln>
                  </p:spPr>
                  <p:txBody>
                    <a:bodyPr rtlCol="0" anchor="ctr"/>
                    <a:lstStyle/>
                    <a:p>
                      <a:endParaRPr lang="en-US"/>
                    </a:p>
                  </p:txBody>
                </p:sp>
              </p:grpSp>
              <p:grpSp>
                <p:nvGrpSpPr>
                  <p:cNvPr id="26" name="Group 25">
                    <a:extLst>
                      <a:ext uri="{FF2B5EF4-FFF2-40B4-BE49-F238E27FC236}">
                        <a16:creationId xmlns:a16="http://schemas.microsoft.com/office/drawing/2014/main" id="{05D3FC54-2000-1DCD-0A19-60E8B6089989}"/>
                      </a:ext>
                    </a:extLst>
                  </p:cNvPr>
                  <p:cNvGrpSpPr/>
                  <p:nvPr/>
                </p:nvGrpSpPr>
                <p:grpSpPr>
                  <a:xfrm>
                    <a:off x="5177246" y="3355952"/>
                    <a:ext cx="496550" cy="752645"/>
                    <a:chOff x="2647424" y="1141064"/>
                    <a:chExt cx="1344300" cy="2037621"/>
                  </a:xfrm>
                  <a:solidFill>
                    <a:schemeClr val="tx2"/>
                  </a:solidFill>
                </p:grpSpPr>
                <p:sp>
                  <p:nvSpPr>
                    <p:cNvPr id="27" name="Freeform: Shape 26">
                      <a:extLst>
                        <a:ext uri="{FF2B5EF4-FFF2-40B4-BE49-F238E27FC236}">
                          <a16:creationId xmlns:a16="http://schemas.microsoft.com/office/drawing/2014/main" id="{5055AF81-A517-345E-FBC2-0F4785D7D7EC}"/>
                        </a:ext>
                      </a:extLst>
                    </p:cNvPr>
                    <p:cNvSpPr/>
                    <p:nvPr/>
                  </p:nvSpPr>
                  <p:spPr>
                    <a:xfrm>
                      <a:off x="2647424" y="1287749"/>
                      <a:ext cx="1344300" cy="1890936"/>
                    </a:xfrm>
                    <a:custGeom>
                      <a:avLst/>
                      <a:gdLst>
                        <a:gd name="connsiteX0" fmla="*/ 1253503 w 1344300"/>
                        <a:gd name="connsiteY0" fmla="*/ 6 h 1890936"/>
                        <a:gd name="connsiteX1" fmla="*/ 1318220 w 1344300"/>
                        <a:gd name="connsiteY1" fmla="*/ 26192 h 1890936"/>
                        <a:gd name="connsiteX2" fmla="*/ 1318320 w 1344300"/>
                        <a:gd name="connsiteY2" fmla="*/ 152028 h 1890936"/>
                        <a:gd name="connsiteX3" fmla="*/ 1204029 w 1344300"/>
                        <a:gd name="connsiteY3" fmla="*/ 266519 h 1890936"/>
                        <a:gd name="connsiteX4" fmla="*/ 1202429 w 1344300"/>
                        <a:gd name="connsiteY4" fmla="*/ 658118 h 1890936"/>
                        <a:gd name="connsiteX5" fmla="*/ 1329414 w 1344300"/>
                        <a:gd name="connsiteY5" fmla="*/ 967809 h 1890936"/>
                        <a:gd name="connsiteX6" fmla="*/ 1329414 w 1344300"/>
                        <a:gd name="connsiteY6" fmla="*/ 1100509 h 1890936"/>
                        <a:gd name="connsiteX7" fmla="*/ 1331643 w 1344300"/>
                        <a:gd name="connsiteY7" fmla="*/ 1112938 h 1890936"/>
                        <a:gd name="connsiteX8" fmla="*/ 1292807 w 1344300"/>
                        <a:gd name="connsiteY8" fmla="*/ 1388947 h 1890936"/>
                        <a:gd name="connsiteX9" fmla="*/ 1119148 w 1344300"/>
                        <a:gd name="connsiteY9" fmla="*/ 1705918 h 1890936"/>
                        <a:gd name="connsiteX10" fmla="*/ 1112968 w 1344300"/>
                        <a:gd name="connsiteY10" fmla="*/ 1709634 h 1890936"/>
                        <a:gd name="connsiteX11" fmla="*/ 1113875 w 1344300"/>
                        <a:gd name="connsiteY11" fmla="*/ 1710928 h 1890936"/>
                        <a:gd name="connsiteX12" fmla="*/ 727123 w 1344300"/>
                        <a:gd name="connsiteY12" fmla="*/ 1890936 h 1890936"/>
                        <a:gd name="connsiteX13" fmla="*/ 311387 w 1344300"/>
                        <a:gd name="connsiteY13" fmla="*/ 1571600 h 1890936"/>
                        <a:gd name="connsiteX14" fmla="*/ 4294 w 1344300"/>
                        <a:gd name="connsiteY14" fmla="*/ 916836 h 1890936"/>
                        <a:gd name="connsiteX15" fmla="*/ 415134 w 1344300"/>
                        <a:gd name="connsiteY15" fmla="*/ 393954 h 1890936"/>
                        <a:gd name="connsiteX16" fmla="*/ 536221 w 1344300"/>
                        <a:gd name="connsiteY16" fmla="*/ 393954 h 1890936"/>
                        <a:gd name="connsiteX17" fmla="*/ 853259 w 1344300"/>
                        <a:gd name="connsiteY17" fmla="*/ 912088 h 1890936"/>
                        <a:gd name="connsiteX18" fmla="*/ 791990 w 1344300"/>
                        <a:gd name="connsiteY18" fmla="*/ 1179651 h 1890936"/>
                        <a:gd name="connsiteX19" fmla="*/ 805683 w 1344300"/>
                        <a:gd name="connsiteY19" fmla="*/ 1219780 h 1890936"/>
                        <a:gd name="connsiteX20" fmla="*/ 818876 w 1344300"/>
                        <a:gd name="connsiteY20" fmla="*/ 1222879 h 1890936"/>
                        <a:gd name="connsiteX21" fmla="*/ 845812 w 1344300"/>
                        <a:gd name="connsiteY21" fmla="*/ 1206137 h 1890936"/>
                        <a:gd name="connsiteX22" fmla="*/ 913228 w 1344300"/>
                        <a:gd name="connsiteY22" fmla="*/ 912088 h 1890936"/>
                        <a:gd name="connsiteX23" fmla="*/ 813979 w 1344300"/>
                        <a:gd name="connsiteY23" fmla="*/ 560918 h 1890936"/>
                        <a:gd name="connsiteX24" fmla="*/ 645615 w 1344300"/>
                        <a:gd name="connsiteY24" fmla="*/ 385708 h 1890936"/>
                        <a:gd name="connsiteX25" fmla="*/ 735319 w 1344300"/>
                        <a:gd name="connsiteY25" fmla="*/ 316993 h 1890936"/>
                        <a:gd name="connsiteX26" fmla="*/ 855208 w 1344300"/>
                        <a:gd name="connsiteY26" fmla="*/ 314345 h 1890936"/>
                        <a:gd name="connsiteX27" fmla="*/ 895787 w 1344300"/>
                        <a:gd name="connsiteY27" fmla="*/ 308198 h 1890936"/>
                        <a:gd name="connsiteX28" fmla="*/ 895787 w 1344300"/>
                        <a:gd name="connsiteY28" fmla="*/ 429336 h 1890936"/>
                        <a:gd name="connsiteX29" fmla="*/ 925771 w 1344300"/>
                        <a:gd name="connsiteY29" fmla="*/ 459320 h 1890936"/>
                        <a:gd name="connsiteX30" fmla="*/ 955756 w 1344300"/>
                        <a:gd name="connsiteY30" fmla="*/ 429336 h 1890936"/>
                        <a:gd name="connsiteX31" fmla="*/ 955756 w 1344300"/>
                        <a:gd name="connsiteY31" fmla="*/ 273066 h 1890936"/>
                        <a:gd name="connsiteX32" fmla="*/ 961003 w 1344300"/>
                        <a:gd name="connsiteY32" fmla="*/ 267818 h 1890936"/>
                        <a:gd name="connsiteX33" fmla="*/ 1192784 w 1344300"/>
                        <a:gd name="connsiteY33" fmla="*/ 25893 h 1890936"/>
                        <a:gd name="connsiteX34" fmla="*/ 1253503 w 1344300"/>
                        <a:gd name="connsiteY34" fmla="*/ 6 h 1890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344300" h="1890936">
                          <a:moveTo>
                            <a:pt x="1253503" y="6"/>
                          </a:moveTo>
                          <a:cubicBezTo>
                            <a:pt x="1277741" y="-294"/>
                            <a:pt x="1301229" y="9301"/>
                            <a:pt x="1318220" y="26192"/>
                          </a:cubicBezTo>
                          <a:cubicBezTo>
                            <a:pt x="1352952" y="60875"/>
                            <a:pt x="1353002" y="117296"/>
                            <a:pt x="1318320" y="152028"/>
                          </a:cubicBezTo>
                          <a:lnTo>
                            <a:pt x="1204029" y="266519"/>
                          </a:lnTo>
                          <a:cubicBezTo>
                            <a:pt x="1096684" y="374064"/>
                            <a:pt x="1095984" y="549724"/>
                            <a:pt x="1202429" y="658118"/>
                          </a:cubicBezTo>
                          <a:cubicBezTo>
                            <a:pt x="1284337" y="741526"/>
                            <a:pt x="1329414" y="851519"/>
                            <a:pt x="1329414" y="967809"/>
                          </a:cubicBezTo>
                          <a:lnTo>
                            <a:pt x="1329414" y="1100509"/>
                          </a:lnTo>
                          <a:lnTo>
                            <a:pt x="1331643" y="1112938"/>
                          </a:lnTo>
                          <a:cubicBezTo>
                            <a:pt x="1336103" y="1190134"/>
                            <a:pt x="1321209" y="1305127"/>
                            <a:pt x="1292807" y="1388947"/>
                          </a:cubicBezTo>
                          <a:cubicBezTo>
                            <a:pt x="1259672" y="1486737"/>
                            <a:pt x="1181985" y="1652414"/>
                            <a:pt x="1119148" y="1705918"/>
                          </a:cubicBezTo>
                          <a:lnTo>
                            <a:pt x="1112968" y="1709634"/>
                          </a:lnTo>
                          <a:lnTo>
                            <a:pt x="1113875" y="1710928"/>
                          </a:lnTo>
                          <a:cubicBezTo>
                            <a:pt x="1005281" y="1827219"/>
                            <a:pt x="868801" y="1890936"/>
                            <a:pt x="727123" y="1890936"/>
                          </a:cubicBezTo>
                          <a:cubicBezTo>
                            <a:pt x="630873" y="1890936"/>
                            <a:pt x="463809" y="1762602"/>
                            <a:pt x="311387" y="1571600"/>
                          </a:cubicBezTo>
                          <a:cubicBezTo>
                            <a:pt x="141174" y="1358309"/>
                            <a:pt x="26383" y="1113535"/>
                            <a:pt x="4294" y="916836"/>
                          </a:cubicBezTo>
                          <a:cubicBezTo>
                            <a:pt x="-26840" y="639928"/>
                            <a:pt x="111439" y="464068"/>
                            <a:pt x="415134" y="393954"/>
                          </a:cubicBezTo>
                          <a:lnTo>
                            <a:pt x="536221" y="393954"/>
                          </a:lnTo>
                          <a:cubicBezTo>
                            <a:pt x="725924" y="476162"/>
                            <a:pt x="853259" y="684055"/>
                            <a:pt x="853259" y="912088"/>
                          </a:cubicBezTo>
                          <a:cubicBezTo>
                            <a:pt x="853259" y="1005690"/>
                            <a:pt x="832070" y="1098193"/>
                            <a:pt x="791990" y="1179651"/>
                          </a:cubicBezTo>
                          <a:cubicBezTo>
                            <a:pt x="784694" y="1194493"/>
                            <a:pt x="790841" y="1212484"/>
                            <a:pt x="805683" y="1219780"/>
                          </a:cubicBezTo>
                          <a:cubicBezTo>
                            <a:pt x="809931" y="1221879"/>
                            <a:pt x="814429" y="1222879"/>
                            <a:pt x="818876" y="1222879"/>
                          </a:cubicBezTo>
                          <a:cubicBezTo>
                            <a:pt x="829971" y="1222879"/>
                            <a:pt x="840615" y="1216732"/>
                            <a:pt x="845812" y="1206137"/>
                          </a:cubicBezTo>
                          <a:cubicBezTo>
                            <a:pt x="889940" y="1116483"/>
                            <a:pt x="913228" y="1014785"/>
                            <a:pt x="913228" y="912088"/>
                          </a:cubicBezTo>
                          <a:cubicBezTo>
                            <a:pt x="913228" y="785703"/>
                            <a:pt x="878895" y="664265"/>
                            <a:pt x="813979" y="560918"/>
                          </a:cubicBezTo>
                          <a:cubicBezTo>
                            <a:pt x="769052" y="489455"/>
                            <a:pt x="711781" y="430085"/>
                            <a:pt x="645615" y="385708"/>
                          </a:cubicBezTo>
                          <a:cubicBezTo>
                            <a:pt x="682796" y="373664"/>
                            <a:pt x="714330" y="349077"/>
                            <a:pt x="735319" y="316993"/>
                          </a:cubicBezTo>
                          <a:lnTo>
                            <a:pt x="855208" y="314345"/>
                          </a:lnTo>
                          <a:cubicBezTo>
                            <a:pt x="869450" y="314045"/>
                            <a:pt x="882943" y="311946"/>
                            <a:pt x="895787" y="308198"/>
                          </a:cubicBezTo>
                          <a:lnTo>
                            <a:pt x="895787" y="429336"/>
                          </a:lnTo>
                          <a:cubicBezTo>
                            <a:pt x="895787" y="445877"/>
                            <a:pt x="909230" y="459320"/>
                            <a:pt x="925771" y="459320"/>
                          </a:cubicBezTo>
                          <a:cubicBezTo>
                            <a:pt x="942313" y="459320"/>
                            <a:pt x="955756" y="445877"/>
                            <a:pt x="955756" y="429336"/>
                          </a:cubicBezTo>
                          <a:lnTo>
                            <a:pt x="955756" y="273066"/>
                          </a:lnTo>
                          <a:cubicBezTo>
                            <a:pt x="957505" y="271367"/>
                            <a:pt x="959254" y="269618"/>
                            <a:pt x="961003" y="267818"/>
                          </a:cubicBezTo>
                          <a:lnTo>
                            <a:pt x="1192784" y="25893"/>
                          </a:lnTo>
                          <a:cubicBezTo>
                            <a:pt x="1208526" y="9451"/>
                            <a:pt x="1230115" y="256"/>
                            <a:pt x="1253503" y="6"/>
                          </a:cubicBez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8" name="Graphic 27">
                      <a:extLst>
                        <a:ext uri="{FF2B5EF4-FFF2-40B4-BE49-F238E27FC236}">
                          <a16:creationId xmlns:a16="http://schemas.microsoft.com/office/drawing/2014/main" id="{5F774A76-A5E8-49D5-ADAE-2B1E87046C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58438" y="1141064"/>
                      <a:ext cx="561136" cy="565355"/>
                    </a:xfrm>
                    <a:prstGeom prst="rect">
                      <a:avLst/>
                    </a:prstGeom>
                  </p:spPr>
                </p:pic>
              </p:grpSp>
            </p:grpSp>
            <p:sp>
              <p:nvSpPr>
                <p:cNvPr id="19" name="Freeform: Shape 18">
                  <a:extLst>
                    <a:ext uri="{FF2B5EF4-FFF2-40B4-BE49-F238E27FC236}">
                      <a16:creationId xmlns:a16="http://schemas.microsoft.com/office/drawing/2014/main" id="{F859463F-0C4B-5C76-094A-CC53ABBE96BE}"/>
                    </a:ext>
                  </a:extLst>
                </p:cNvPr>
                <p:cNvSpPr/>
                <p:nvPr/>
              </p:nvSpPr>
              <p:spPr>
                <a:xfrm flipV="1">
                  <a:off x="4510910" y="3332178"/>
                  <a:ext cx="1145093" cy="230702"/>
                </a:xfrm>
                <a:custGeom>
                  <a:avLst/>
                  <a:gdLst>
                    <a:gd name="connsiteX0" fmla="*/ 0 w 1402916"/>
                    <a:gd name="connsiteY0" fmla="*/ 0 h 563671"/>
                    <a:gd name="connsiteX1" fmla="*/ 1402916 w 1402916"/>
                    <a:gd name="connsiteY1" fmla="*/ 0 h 563671"/>
                    <a:gd name="connsiteX2" fmla="*/ 1402916 w 1402916"/>
                    <a:gd name="connsiteY2" fmla="*/ 563671 h 563671"/>
                  </a:gdLst>
                  <a:ahLst/>
                  <a:cxnLst>
                    <a:cxn ang="0">
                      <a:pos x="connsiteX0" y="connsiteY0"/>
                    </a:cxn>
                    <a:cxn ang="0">
                      <a:pos x="connsiteX1" y="connsiteY1"/>
                    </a:cxn>
                    <a:cxn ang="0">
                      <a:pos x="connsiteX2" y="connsiteY2"/>
                    </a:cxn>
                  </a:cxnLst>
                  <a:rect l="l" t="t" r="r" b="b"/>
                  <a:pathLst>
                    <a:path w="1402916" h="563671">
                      <a:moveTo>
                        <a:pt x="0" y="0"/>
                      </a:moveTo>
                      <a:lnTo>
                        <a:pt x="1402916" y="0"/>
                      </a:lnTo>
                      <a:lnTo>
                        <a:pt x="1402916" y="563671"/>
                      </a:lnTo>
                    </a:path>
                  </a:pathLst>
                </a:custGeom>
                <a:noFill/>
                <a:ln w="34925" cap="rnd">
                  <a:solidFill>
                    <a:schemeClr val="accent2">
                      <a:lumMod val="75000"/>
                    </a:schemeClr>
                  </a:solidFill>
                  <a:prstDash val="sysDash"/>
                  <a:round/>
                  <a:tailEnd type="ova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CF31E2F3-C13B-3355-2A22-CFF463524261}"/>
                    </a:ext>
                  </a:extLst>
                </p:cNvPr>
                <p:cNvSpPr/>
                <p:nvPr/>
              </p:nvSpPr>
              <p:spPr>
                <a:xfrm flipV="1">
                  <a:off x="5448784" y="3607091"/>
                  <a:ext cx="353917" cy="167794"/>
                </a:xfrm>
                <a:custGeom>
                  <a:avLst/>
                  <a:gdLst>
                    <a:gd name="connsiteX0" fmla="*/ 0 w 425884"/>
                    <a:gd name="connsiteY0" fmla="*/ 0 h 626302"/>
                    <a:gd name="connsiteX1" fmla="*/ 425884 w 425884"/>
                    <a:gd name="connsiteY1" fmla="*/ 0 h 626302"/>
                    <a:gd name="connsiteX2" fmla="*/ 425884 w 425884"/>
                    <a:gd name="connsiteY2" fmla="*/ 626302 h 626302"/>
                    <a:gd name="connsiteX0" fmla="*/ 0 w 425884"/>
                    <a:gd name="connsiteY0" fmla="*/ 0 h 626302"/>
                    <a:gd name="connsiteX1" fmla="*/ 73275 w 425884"/>
                    <a:gd name="connsiteY1" fmla="*/ 13277 h 626302"/>
                    <a:gd name="connsiteX2" fmla="*/ 425884 w 425884"/>
                    <a:gd name="connsiteY2" fmla="*/ 0 h 626302"/>
                    <a:gd name="connsiteX3" fmla="*/ 425884 w 425884"/>
                    <a:gd name="connsiteY3" fmla="*/ 626302 h 626302"/>
                    <a:gd name="connsiteX0" fmla="*/ 0 w 353917"/>
                    <a:gd name="connsiteY0" fmla="*/ 675731 h 675731"/>
                    <a:gd name="connsiteX1" fmla="*/ 1308 w 353917"/>
                    <a:gd name="connsiteY1" fmla="*/ 13277 h 675731"/>
                    <a:gd name="connsiteX2" fmla="*/ 353917 w 353917"/>
                    <a:gd name="connsiteY2" fmla="*/ 0 h 675731"/>
                    <a:gd name="connsiteX3" fmla="*/ 353917 w 353917"/>
                    <a:gd name="connsiteY3" fmla="*/ 626302 h 675731"/>
                    <a:gd name="connsiteX0" fmla="*/ 0 w 353917"/>
                    <a:gd name="connsiteY0" fmla="*/ 729789 h 729789"/>
                    <a:gd name="connsiteX1" fmla="*/ 1308 w 353917"/>
                    <a:gd name="connsiteY1" fmla="*/ 13277 h 729789"/>
                    <a:gd name="connsiteX2" fmla="*/ 353917 w 353917"/>
                    <a:gd name="connsiteY2" fmla="*/ 0 h 729789"/>
                    <a:gd name="connsiteX3" fmla="*/ 353917 w 353917"/>
                    <a:gd name="connsiteY3" fmla="*/ 626302 h 729789"/>
                  </a:gdLst>
                  <a:ahLst/>
                  <a:cxnLst>
                    <a:cxn ang="0">
                      <a:pos x="connsiteX0" y="connsiteY0"/>
                    </a:cxn>
                    <a:cxn ang="0">
                      <a:pos x="connsiteX1" y="connsiteY1"/>
                    </a:cxn>
                    <a:cxn ang="0">
                      <a:pos x="connsiteX2" y="connsiteY2"/>
                    </a:cxn>
                    <a:cxn ang="0">
                      <a:pos x="connsiteX3" y="connsiteY3"/>
                    </a:cxn>
                  </a:cxnLst>
                  <a:rect l="l" t="t" r="r" b="b"/>
                  <a:pathLst>
                    <a:path w="353917" h="729789">
                      <a:moveTo>
                        <a:pt x="0" y="729789"/>
                      </a:moveTo>
                      <a:lnTo>
                        <a:pt x="1308" y="13277"/>
                      </a:lnTo>
                      <a:lnTo>
                        <a:pt x="353917" y="0"/>
                      </a:lnTo>
                      <a:lnTo>
                        <a:pt x="353917" y="626302"/>
                      </a:lnTo>
                    </a:path>
                  </a:pathLst>
                </a:custGeom>
                <a:noFill/>
                <a:ln w="34925" cap="rnd">
                  <a:solidFill>
                    <a:schemeClr val="accent2">
                      <a:lumMod val="75000"/>
                    </a:schemeClr>
                  </a:solidFill>
                  <a:prstDash val="sysDash"/>
                  <a:round/>
                  <a:tailEnd type="ova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44" name="Group 43">
            <a:extLst>
              <a:ext uri="{FF2B5EF4-FFF2-40B4-BE49-F238E27FC236}">
                <a16:creationId xmlns:a16="http://schemas.microsoft.com/office/drawing/2014/main" id="{2DB3CA4A-8641-2B25-F916-8ED5413C1648}"/>
              </a:ext>
            </a:extLst>
          </p:cNvPr>
          <p:cNvGrpSpPr/>
          <p:nvPr/>
        </p:nvGrpSpPr>
        <p:grpSpPr>
          <a:xfrm>
            <a:off x="7687388" y="1998212"/>
            <a:ext cx="3519200" cy="1362471"/>
            <a:chOff x="1245551" y="1199958"/>
            <a:chExt cx="3519200" cy="1362471"/>
          </a:xfrm>
        </p:grpSpPr>
        <p:sp>
          <p:nvSpPr>
            <p:cNvPr id="45" name="TextBox 44">
              <a:extLst>
                <a:ext uri="{FF2B5EF4-FFF2-40B4-BE49-F238E27FC236}">
                  <a16:creationId xmlns:a16="http://schemas.microsoft.com/office/drawing/2014/main" id="{0A1DED2F-D63D-5105-0BD0-28F7839D4AD3}"/>
                </a:ext>
              </a:extLst>
            </p:cNvPr>
            <p:cNvSpPr txBox="1"/>
            <p:nvPr/>
          </p:nvSpPr>
          <p:spPr>
            <a:xfrm>
              <a:off x="1245551" y="1199958"/>
              <a:ext cx="3519200" cy="1362471"/>
            </a:xfrm>
            <a:prstGeom prst="roundRect">
              <a:avLst>
                <a:gd name="adj" fmla="val 13015"/>
              </a:avLst>
            </a:prstGeom>
            <a:solidFill>
              <a:srgbClr val="00897C"/>
            </a:solidFill>
          </p:spPr>
          <p:txBody>
            <a:bodyPr wrap="none" lIns="18288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mj-lt"/>
                  <a:ea typeface="+mn-ea"/>
                  <a:cs typeface="+mn-cs"/>
                </a:rPr>
                <a:t>Pnömokok hastalığı</a:t>
              </a:r>
              <a:endParaRPr kumimoji="0" lang="en-US" sz="1800" b="1" i="0" u="none" strike="noStrike" kern="1200" cap="none" spc="0" normalizeH="0" baseline="30000" noProof="0">
                <a:ln>
                  <a:noFill/>
                </a:ln>
                <a:solidFill>
                  <a:srgbClr val="FFFFFF"/>
                </a:solidFill>
                <a:effectLst/>
                <a:uLnTx/>
                <a:uFillTx/>
                <a:latin typeface="+mj-lt"/>
                <a:ea typeface="+mn-ea"/>
                <a:cs typeface="+mn-cs"/>
              </a:endParaRPr>
            </a:p>
          </p:txBody>
        </p:sp>
        <p:sp>
          <p:nvSpPr>
            <p:cNvPr id="46" name="TextBox 45">
              <a:extLst>
                <a:ext uri="{FF2B5EF4-FFF2-40B4-BE49-F238E27FC236}">
                  <a16:creationId xmlns:a16="http://schemas.microsoft.com/office/drawing/2014/main" id="{B8AE8494-9094-A159-4F9D-6E4D049E8AFC}"/>
                </a:ext>
              </a:extLst>
            </p:cNvPr>
            <p:cNvSpPr txBox="1"/>
            <p:nvPr/>
          </p:nvSpPr>
          <p:spPr bwMode="gray">
            <a:xfrm>
              <a:off x="1483511" y="1600922"/>
              <a:ext cx="2914516" cy="707144"/>
            </a:xfrm>
            <a:prstGeom prst="rect">
              <a:avLst/>
            </a:prstGeom>
            <a:noFill/>
            <a:ln w="19050">
              <a:noFill/>
            </a:ln>
          </p:spPr>
          <p:txBody>
            <a:bodyPr spcFirstLastPara="1" wrap="square" lIns="0" tIns="0" rIns="0" bIns="0" rtlCol="0" anchor="t" anchorCtr="0">
              <a:noAutofit/>
            </a:bodyPr>
            <a:lstStyle/>
            <a:p>
              <a:pPr>
                <a:spcAft>
                  <a:spcPts val="200"/>
                </a:spcAft>
                <a:defRPr/>
              </a:pPr>
              <a:r>
                <a:rPr lang="en-GB" sz="1400" b="1" err="1">
                  <a:solidFill>
                    <a:schemeClr val="bg1"/>
                  </a:solidFill>
                </a:rPr>
                <a:t>Toplum</a:t>
              </a:r>
              <a:r>
                <a:rPr lang="en-GB" sz="1400" b="1">
                  <a:solidFill>
                    <a:schemeClr val="bg1"/>
                  </a:solidFill>
                </a:rPr>
                <a:t> </a:t>
              </a:r>
              <a:r>
                <a:rPr lang="en-GB" sz="1400" b="1" err="1">
                  <a:solidFill>
                    <a:schemeClr val="bg1"/>
                  </a:solidFill>
                </a:rPr>
                <a:t>kökenli</a:t>
              </a:r>
              <a:r>
                <a:rPr lang="en-GB" sz="1400" b="1">
                  <a:solidFill>
                    <a:schemeClr val="bg1"/>
                  </a:solidFill>
                </a:rPr>
                <a:t> </a:t>
              </a:r>
              <a:r>
                <a:rPr lang="en-GB" sz="1400" b="1" err="1">
                  <a:solidFill>
                    <a:schemeClr val="bg1"/>
                  </a:solidFill>
                </a:rPr>
                <a:t>pnömoni</a:t>
              </a:r>
              <a:r>
                <a:rPr lang="en-GB" sz="1400" b="1">
                  <a:solidFill>
                    <a:schemeClr val="bg1"/>
                  </a:solidFill>
                </a:rPr>
                <a:t> </a:t>
              </a:r>
              <a:r>
                <a:rPr lang="en-GB" sz="1400" b="1" err="1">
                  <a:solidFill>
                    <a:schemeClr val="bg1"/>
                  </a:solidFill>
                </a:rPr>
                <a:t>tanısı</a:t>
              </a:r>
              <a:r>
                <a:rPr lang="en-GB" sz="1400" b="1">
                  <a:solidFill>
                    <a:schemeClr val="bg1"/>
                  </a:solidFill>
                </a:rPr>
                <a:t> yeni </a:t>
              </a:r>
              <a:r>
                <a:rPr lang="en-GB" sz="1400" b="1" err="1">
                  <a:solidFill>
                    <a:schemeClr val="bg1"/>
                  </a:solidFill>
                </a:rPr>
                <a:t>konmuş</a:t>
              </a:r>
              <a:r>
                <a:rPr lang="en-GB" sz="1400" b="1">
                  <a:solidFill>
                    <a:schemeClr val="bg1"/>
                  </a:solidFill>
                </a:rPr>
                <a:t> </a:t>
              </a:r>
              <a:r>
                <a:rPr lang="en-GB" sz="1400" b="1" err="1">
                  <a:solidFill>
                    <a:schemeClr val="bg1"/>
                  </a:solidFill>
                </a:rPr>
                <a:t>hastalarda</a:t>
              </a:r>
              <a:r>
                <a:rPr lang="en-GB" sz="1400" b="1">
                  <a:solidFill>
                    <a:schemeClr val="bg1"/>
                  </a:solidFill>
                </a:rPr>
                <a:t> </a:t>
              </a:r>
              <a:r>
                <a:rPr lang="en-GB" sz="1400" b="1" err="1">
                  <a:solidFill>
                    <a:schemeClr val="bg1"/>
                  </a:solidFill>
                </a:rPr>
                <a:t>mevcut</a:t>
              </a:r>
              <a:r>
                <a:rPr lang="en-GB" sz="1400" b="1">
                  <a:solidFill>
                    <a:schemeClr val="bg1"/>
                  </a:solidFill>
                </a:rPr>
                <a:t> KOAH, </a:t>
              </a:r>
              <a:r>
                <a:rPr lang="en-GB" sz="1400" b="1" err="1">
                  <a:solidFill>
                    <a:schemeClr val="bg1"/>
                  </a:solidFill>
                </a:rPr>
                <a:t>astım</a:t>
              </a:r>
              <a:r>
                <a:rPr lang="en-GB" sz="1400" b="1">
                  <a:solidFill>
                    <a:schemeClr val="bg1"/>
                  </a:solidFill>
                </a:rPr>
                <a:t> </a:t>
              </a:r>
              <a:r>
                <a:rPr lang="en-GB" sz="1400" b="1" err="1">
                  <a:solidFill>
                    <a:schemeClr val="bg1"/>
                  </a:solidFill>
                </a:rPr>
                <a:t>ve</a:t>
              </a:r>
              <a:r>
                <a:rPr lang="en-GB" sz="1400" b="1">
                  <a:solidFill>
                    <a:schemeClr val="bg1"/>
                  </a:solidFill>
                </a:rPr>
                <a:t> </a:t>
              </a:r>
              <a:r>
                <a:rPr lang="en-GB" sz="1400" b="1" err="1">
                  <a:solidFill>
                    <a:schemeClr val="bg1"/>
                  </a:solidFill>
                </a:rPr>
                <a:t>hipertansiyonun</a:t>
              </a:r>
              <a:r>
                <a:rPr lang="en-GB" sz="1400" b="1">
                  <a:solidFill>
                    <a:schemeClr val="bg1"/>
                  </a:solidFill>
                </a:rPr>
                <a:t> </a:t>
              </a:r>
              <a:r>
                <a:rPr lang="en-GB" sz="1400" b="1" err="1">
                  <a:solidFill>
                    <a:schemeClr val="bg1"/>
                  </a:solidFill>
                </a:rPr>
                <a:t>kötüleştiği</a:t>
              </a:r>
              <a:r>
                <a:rPr lang="en-GB" sz="1400" b="1">
                  <a:solidFill>
                    <a:schemeClr val="bg1"/>
                  </a:solidFill>
                </a:rPr>
                <a:t> </a:t>
              </a:r>
              <a:r>
                <a:rPr lang="en-GB" sz="1400" b="1" err="1">
                  <a:solidFill>
                    <a:schemeClr val="bg1"/>
                  </a:solidFill>
                </a:rPr>
                <a:t>bildirilmiştir</a:t>
              </a:r>
              <a:r>
                <a:rPr lang="en-GB" sz="1400" b="1">
                  <a:solidFill>
                    <a:schemeClr val="bg1"/>
                  </a:solidFill>
                </a:rPr>
                <a:t>. </a:t>
              </a:r>
              <a:r>
                <a:rPr lang="en-GB" sz="1400">
                  <a:solidFill>
                    <a:schemeClr val="bg1"/>
                  </a:solidFill>
                </a:rPr>
                <a:t>*</a:t>
              </a:r>
              <a:r>
                <a:rPr lang="en-GB" sz="1400" baseline="30000">
                  <a:solidFill>
                    <a:schemeClr val="bg1"/>
                  </a:solidFill>
                </a:rPr>
                <a:t>2</a:t>
              </a:r>
              <a:endParaRPr lang="en-GB" sz="1400" b="1">
                <a:solidFill>
                  <a:schemeClr val="bg1"/>
                </a:solidFill>
              </a:endParaRPr>
            </a:p>
          </p:txBody>
        </p:sp>
      </p:grpSp>
      <p:grpSp>
        <p:nvGrpSpPr>
          <p:cNvPr id="47" name="Group 46">
            <a:extLst>
              <a:ext uri="{FF2B5EF4-FFF2-40B4-BE49-F238E27FC236}">
                <a16:creationId xmlns:a16="http://schemas.microsoft.com/office/drawing/2014/main" id="{3843C49D-3AA9-D14B-EEBD-38CFACDC6854}"/>
              </a:ext>
            </a:extLst>
          </p:cNvPr>
          <p:cNvGrpSpPr/>
          <p:nvPr/>
        </p:nvGrpSpPr>
        <p:grpSpPr>
          <a:xfrm>
            <a:off x="7699019" y="3548756"/>
            <a:ext cx="3519660" cy="1362456"/>
            <a:chOff x="5567194" y="1124803"/>
            <a:chExt cx="3519660" cy="1362456"/>
          </a:xfrm>
        </p:grpSpPr>
        <p:sp>
          <p:nvSpPr>
            <p:cNvPr id="48" name="TextBox 47">
              <a:extLst>
                <a:ext uri="{FF2B5EF4-FFF2-40B4-BE49-F238E27FC236}">
                  <a16:creationId xmlns:a16="http://schemas.microsoft.com/office/drawing/2014/main" id="{FE3C8206-D365-0AE6-47E4-21B362B0E57D}"/>
                </a:ext>
              </a:extLst>
            </p:cNvPr>
            <p:cNvSpPr txBox="1"/>
            <p:nvPr/>
          </p:nvSpPr>
          <p:spPr>
            <a:xfrm>
              <a:off x="5567194" y="1124803"/>
              <a:ext cx="3519660" cy="1362456"/>
            </a:xfrm>
            <a:prstGeom prst="roundRect">
              <a:avLst>
                <a:gd name="adj" fmla="val 10689"/>
              </a:avLst>
            </a:prstGeom>
            <a:solidFill>
              <a:srgbClr val="0000C9"/>
            </a:solidFill>
          </p:spPr>
          <p:txBody>
            <a:bodyPr wrap="none" lIns="18288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solidFill>
                    <a:srgbClr val="FFFFFF"/>
                  </a:solidFill>
                  <a:latin typeface="Pfizer Tomorrow"/>
                </a:rPr>
                <a:t>İnfluenza</a:t>
              </a:r>
              <a:endParaRPr kumimoji="0" lang="en-US" sz="1800" b="1" i="0" u="none" strike="noStrike" kern="1200" cap="none" spc="0" normalizeH="0" baseline="30000" noProof="0">
                <a:ln>
                  <a:noFill/>
                </a:ln>
                <a:solidFill>
                  <a:srgbClr val="FFFFFF"/>
                </a:solidFill>
                <a:effectLst/>
                <a:uLnTx/>
                <a:uFillTx/>
                <a:latin typeface="Pfizer Tomorrow"/>
                <a:ea typeface="+mn-ea"/>
                <a:cs typeface="+mn-cs"/>
              </a:endParaRPr>
            </a:p>
          </p:txBody>
        </p:sp>
        <p:sp>
          <p:nvSpPr>
            <p:cNvPr id="49" name="TextBox 48">
              <a:extLst>
                <a:ext uri="{FF2B5EF4-FFF2-40B4-BE49-F238E27FC236}">
                  <a16:creationId xmlns:a16="http://schemas.microsoft.com/office/drawing/2014/main" id="{62EA3F44-E542-73C5-BC94-233D6A9BAD0F}"/>
                </a:ext>
              </a:extLst>
            </p:cNvPr>
            <p:cNvSpPr txBox="1"/>
            <p:nvPr/>
          </p:nvSpPr>
          <p:spPr bwMode="gray">
            <a:xfrm>
              <a:off x="5799968" y="1395831"/>
              <a:ext cx="3042531" cy="845673"/>
            </a:xfrm>
            <a:prstGeom prst="rect">
              <a:avLst/>
            </a:prstGeom>
            <a:noFill/>
            <a:ln w="19050">
              <a:noFill/>
            </a:ln>
          </p:spPr>
          <p:txBody>
            <a:bodyPr spcFirstLastPara="1" wrap="square" lIns="0" tIns="0" rIns="0" bIns="0" rtlCol="0" anchor="t" anchorCtr="0">
              <a:noAutofit/>
            </a:bodyPr>
            <a:lstStyle/>
            <a:p>
              <a:pPr>
                <a:lnSpc>
                  <a:spcPct val="90000"/>
                </a:lnSpc>
                <a:spcBef>
                  <a:spcPts val="600"/>
                </a:spcBef>
                <a:defRPr/>
              </a:pPr>
              <a:r>
                <a:rPr lang="en-GB" sz="1400">
                  <a:solidFill>
                    <a:schemeClr val="bg1"/>
                  </a:solidFill>
                </a:rPr>
                <a:t>İnfluenza </a:t>
              </a:r>
              <a:r>
                <a:rPr lang="en-GB" sz="1400" err="1">
                  <a:solidFill>
                    <a:schemeClr val="bg1"/>
                  </a:solidFill>
                </a:rPr>
                <a:t>virüsleri</a:t>
              </a:r>
              <a:r>
                <a:rPr lang="en-GB" sz="1400">
                  <a:solidFill>
                    <a:schemeClr val="bg1"/>
                  </a:solidFill>
                </a:rPr>
                <a:t>, KOAH </a:t>
              </a:r>
              <a:r>
                <a:rPr lang="en-GB" sz="1400" err="1">
                  <a:solidFill>
                    <a:schemeClr val="bg1"/>
                  </a:solidFill>
                </a:rPr>
                <a:t>alevlenmeleri</a:t>
              </a:r>
              <a:r>
                <a:rPr lang="en-GB" sz="1400">
                  <a:solidFill>
                    <a:schemeClr val="bg1"/>
                  </a:solidFill>
                </a:rPr>
                <a:t>, </a:t>
              </a:r>
              <a:r>
                <a:rPr lang="en-GB" sz="1400" err="1">
                  <a:solidFill>
                    <a:schemeClr val="bg1"/>
                  </a:solidFill>
                </a:rPr>
                <a:t>ventilasyon</a:t>
              </a:r>
              <a:r>
                <a:rPr lang="en-GB" sz="1400">
                  <a:solidFill>
                    <a:schemeClr val="bg1"/>
                  </a:solidFill>
                </a:rPr>
                <a:t> </a:t>
              </a:r>
              <a:r>
                <a:rPr lang="en-GB" sz="1400" err="1">
                  <a:solidFill>
                    <a:schemeClr val="bg1"/>
                  </a:solidFill>
                </a:rPr>
                <a:t>gerektirmeyen</a:t>
              </a:r>
              <a:r>
                <a:rPr lang="en-GB" sz="1400">
                  <a:solidFill>
                    <a:schemeClr val="bg1"/>
                  </a:solidFill>
                </a:rPr>
                <a:t> </a:t>
              </a:r>
              <a:r>
                <a:rPr lang="en-GB" sz="1400" err="1">
                  <a:solidFill>
                    <a:schemeClr val="bg1"/>
                  </a:solidFill>
                </a:rPr>
                <a:t>hastane</a:t>
              </a:r>
              <a:r>
                <a:rPr lang="en-GB" sz="1400">
                  <a:solidFill>
                    <a:schemeClr val="bg1"/>
                  </a:solidFill>
                </a:rPr>
                <a:t> </a:t>
              </a:r>
              <a:r>
                <a:rPr lang="en-GB" sz="1400" err="1">
                  <a:solidFill>
                    <a:schemeClr val="bg1"/>
                  </a:solidFill>
                </a:rPr>
                <a:t>kaynaklı</a:t>
              </a:r>
              <a:r>
                <a:rPr lang="en-GB" sz="1400">
                  <a:solidFill>
                    <a:schemeClr val="bg1"/>
                  </a:solidFill>
                </a:rPr>
                <a:t> </a:t>
              </a:r>
              <a:r>
                <a:rPr lang="en-GB" sz="1400" err="1">
                  <a:solidFill>
                    <a:schemeClr val="bg1"/>
                  </a:solidFill>
                </a:rPr>
                <a:t>pnömoni</a:t>
              </a:r>
              <a:r>
                <a:rPr lang="en-GB" sz="1400">
                  <a:solidFill>
                    <a:schemeClr val="bg1"/>
                  </a:solidFill>
                </a:rPr>
                <a:t> </a:t>
              </a:r>
              <a:r>
                <a:rPr lang="en-GB" sz="1400" err="1">
                  <a:solidFill>
                    <a:schemeClr val="bg1"/>
                  </a:solidFill>
                </a:rPr>
                <a:t>ve</a:t>
              </a:r>
              <a:r>
                <a:rPr lang="en-GB" sz="1400">
                  <a:solidFill>
                    <a:schemeClr val="bg1"/>
                  </a:solidFill>
                </a:rPr>
                <a:t> </a:t>
              </a:r>
              <a:r>
                <a:rPr lang="en-GB" sz="1400" err="1">
                  <a:solidFill>
                    <a:schemeClr val="bg1"/>
                  </a:solidFill>
                </a:rPr>
                <a:t>akut</a:t>
              </a:r>
              <a:r>
                <a:rPr lang="en-GB" sz="1400">
                  <a:solidFill>
                    <a:schemeClr val="bg1"/>
                  </a:solidFill>
                </a:rPr>
                <a:t> </a:t>
              </a:r>
              <a:r>
                <a:rPr lang="en-GB" sz="1400" err="1">
                  <a:solidFill>
                    <a:schemeClr val="bg1"/>
                  </a:solidFill>
                </a:rPr>
                <a:t>solunum</a:t>
              </a:r>
              <a:r>
                <a:rPr lang="en-GB" sz="1400">
                  <a:solidFill>
                    <a:schemeClr val="bg1"/>
                  </a:solidFill>
                </a:rPr>
                <a:t> </a:t>
              </a:r>
              <a:r>
                <a:rPr lang="en-GB" sz="1400" err="1">
                  <a:solidFill>
                    <a:schemeClr val="bg1"/>
                  </a:solidFill>
                </a:rPr>
                <a:t>sıkıntısı</a:t>
              </a:r>
              <a:r>
                <a:rPr lang="en-GB" sz="1400">
                  <a:solidFill>
                    <a:schemeClr val="bg1"/>
                  </a:solidFill>
                </a:rPr>
                <a:t> </a:t>
              </a:r>
              <a:r>
                <a:rPr lang="en-GB" sz="1400" err="1">
                  <a:solidFill>
                    <a:schemeClr val="bg1"/>
                  </a:solidFill>
                </a:rPr>
                <a:t>sendromunda</a:t>
              </a:r>
              <a:r>
                <a:rPr lang="en-GB" sz="1400">
                  <a:solidFill>
                    <a:schemeClr val="bg1"/>
                  </a:solidFill>
                </a:rPr>
                <a:t> </a:t>
              </a:r>
              <a:r>
                <a:rPr lang="en-GB" sz="1400" err="1">
                  <a:solidFill>
                    <a:schemeClr val="bg1"/>
                  </a:solidFill>
                </a:rPr>
                <a:t>rol</a:t>
              </a:r>
              <a:r>
                <a:rPr lang="en-GB" sz="1400">
                  <a:solidFill>
                    <a:schemeClr val="bg1"/>
                  </a:solidFill>
                </a:rPr>
                <a:t> </a:t>
              </a:r>
              <a:r>
                <a:rPr lang="en-GB" sz="1400" err="1">
                  <a:solidFill>
                    <a:schemeClr val="bg1"/>
                  </a:solidFill>
                </a:rPr>
                <a:t>oynar</a:t>
              </a:r>
              <a:r>
                <a:rPr lang="en-GB" sz="1400">
                  <a:solidFill>
                    <a:schemeClr val="bg1"/>
                  </a:solidFill>
                </a:rPr>
                <a:t>.</a:t>
              </a:r>
              <a:r>
                <a:rPr lang="en-GB" sz="1400" baseline="30000">
                  <a:solidFill>
                    <a:schemeClr val="bg1"/>
                  </a:solidFill>
                </a:rPr>
                <a:t> 5</a:t>
              </a:r>
              <a:r>
                <a:rPr lang="en-GB" sz="1400">
                  <a:solidFill>
                    <a:schemeClr val="bg1"/>
                  </a:solidFill>
                </a:rPr>
                <a:t> </a:t>
              </a:r>
            </a:p>
          </p:txBody>
        </p:sp>
      </p:grpSp>
      <p:sp>
        <p:nvSpPr>
          <p:cNvPr id="50" name="Oval 49">
            <a:extLst>
              <a:ext uri="{FF2B5EF4-FFF2-40B4-BE49-F238E27FC236}">
                <a16:creationId xmlns:a16="http://schemas.microsoft.com/office/drawing/2014/main" id="{BFDADDE1-5AAB-AB0D-6512-3A7151008F1F}"/>
              </a:ext>
            </a:extLst>
          </p:cNvPr>
          <p:cNvSpPr/>
          <p:nvPr/>
        </p:nvSpPr>
        <p:spPr>
          <a:xfrm>
            <a:off x="10976484" y="1948546"/>
            <a:ext cx="630449" cy="630449"/>
          </a:xfrm>
          <a:prstGeom prst="ellipse">
            <a:avLst/>
          </a:prstGeom>
          <a:solidFill>
            <a:schemeClr val="bg1"/>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a:extLst>
              <a:ext uri="{FF2B5EF4-FFF2-40B4-BE49-F238E27FC236}">
                <a16:creationId xmlns:a16="http://schemas.microsoft.com/office/drawing/2014/main" id="{8B1E7EC7-66CD-5E0C-84C4-579FB32102B6}"/>
              </a:ext>
            </a:extLst>
          </p:cNvPr>
          <p:cNvGrpSpPr/>
          <p:nvPr/>
        </p:nvGrpSpPr>
        <p:grpSpPr>
          <a:xfrm>
            <a:off x="10978232" y="3505867"/>
            <a:ext cx="630449" cy="630449"/>
            <a:chOff x="5805936" y="1009374"/>
            <a:chExt cx="759021" cy="759021"/>
          </a:xfrm>
        </p:grpSpPr>
        <p:sp>
          <p:nvSpPr>
            <p:cNvPr id="70" name="Oval 69">
              <a:extLst>
                <a:ext uri="{FF2B5EF4-FFF2-40B4-BE49-F238E27FC236}">
                  <a16:creationId xmlns:a16="http://schemas.microsoft.com/office/drawing/2014/main" id="{AB4FF8E1-AF23-71DC-B590-8FF481481E80}"/>
                </a:ext>
              </a:extLst>
            </p:cNvPr>
            <p:cNvSpPr/>
            <p:nvPr/>
          </p:nvSpPr>
          <p:spPr>
            <a:xfrm>
              <a:off x="5805936" y="1009374"/>
              <a:ext cx="759021" cy="759021"/>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1" name="Graphic 99">
              <a:extLst>
                <a:ext uri="{FF2B5EF4-FFF2-40B4-BE49-F238E27FC236}">
                  <a16:creationId xmlns:a16="http://schemas.microsoft.com/office/drawing/2014/main" id="{E0C28003-2E90-69C8-2279-65F7C253ED28}"/>
                </a:ext>
              </a:extLst>
            </p:cNvPr>
            <p:cNvGrpSpPr/>
            <p:nvPr/>
          </p:nvGrpSpPr>
          <p:grpSpPr>
            <a:xfrm>
              <a:off x="5945651" y="1136601"/>
              <a:ext cx="492527" cy="511452"/>
              <a:chOff x="14651672" y="365569"/>
              <a:chExt cx="4240529" cy="4241482"/>
            </a:xfrm>
            <a:solidFill>
              <a:srgbClr val="0000C9"/>
            </a:solidFill>
          </p:grpSpPr>
          <p:sp>
            <p:nvSpPr>
              <p:cNvPr id="72" name="Freeform: Shape 71">
                <a:extLst>
                  <a:ext uri="{FF2B5EF4-FFF2-40B4-BE49-F238E27FC236}">
                    <a16:creationId xmlns:a16="http://schemas.microsoft.com/office/drawing/2014/main" id="{4233D392-D2CC-D4C8-BB6E-01A44B3B9108}"/>
                  </a:ext>
                </a:extLst>
              </p:cNvPr>
              <p:cNvSpPr/>
              <p:nvPr/>
            </p:nvSpPr>
            <p:spPr>
              <a:xfrm>
                <a:off x="17117694" y="1968627"/>
                <a:ext cx="259080" cy="259079"/>
              </a:xfrm>
              <a:custGeom>
                <a:avLst/>
                <a:gdLst>
                  <a:gd name="connsiteX0" fmla="*/ 259080 w 259080"/>
                  <a:gd name="connsiteY0" fmla="*/ 129540 h 259079"/>
                  <a:gd name="connsiteX1" fmla="*/ 129540 w 259080"/>
                  <a:gd name="connsiteY1" fmla="*/ 259080 h 259079"/>
                  <a:gd name="connsiteX2" fmla="*/ 0 w 259080"/>
                  <a:gd name="connsiteY2" fmla="*/ 129540 h 259079"/>
                  <a:gd name="connsiteX3" fmla="*/ 129540 w 259080"/>
                  <a:gd name="connsiteY3" fmla="*/ 0 h 259079"/>
                  <a:gd name="connsiteX4" fmla="*/ 259080 w 259080"/>
                  <a:gd name="connsiteY4" fmla="*/ 129540 h 259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80" h="259079">
                    <a:moveTo>
                      <a:pt x="259080" y="129540"/>
                    </a:moveTo>
                    <a:cubicBezTo>
                      <a:pt x="259080" y="201083"/>
                      <a:pt x="201083" y="259080"/>
                      <a:pt x="129540" y="259080"/>
                    </a:cubicBezTo>
                    <a:cubicBezTo>
                      <a:pt x="57997" y="259080"/>
                      <a:pt x="0" y="201083"/>
                      <a:pt x="0" y="129540"/>
                    </a:cubicBezTo>
                    <a:cubicBezTo>
                      <a:pt x="0" y="57997"/>
                      <a:pt x="57997" y="0"/>
                      <a:pt x="129540" y="0"/>
                    </a:cubicBezTo>
                    <a:cubicBezTo>
                      <a:pt x="201083" y="0"/>
                      <a:pt x="259080" y="57997"/>
                      <a:pt x="259080" y="129540"/>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73" name="Freeform: Shape 72">
                <a:extLst>
                  <a:ext uri="{FF2B5EF4-FFF2-40B4-BE49-F238E27FC236}">
                    <a16:creationId xmlns:a16="http://schemas.microsoft.com/office/drawing/2014/main" id="{6A770280-F922-4341-4B82-EC7C6A89AF07}"/>
                  </a:ext>
                </a:extLst>
              </p:cNvPr>
              <p:cNvSpPr/>
              <p:nvPr/>
            </p:nvSpPr>
            <p:spPr>
              <a:xfrm>
                <a:off x="16167099" y="2919222"/>
                <a:ext cx="259079" cy="259080"/>
              </a:xfrm>
              <a:custGeom>
                <a:avLst/>
                <a:gdLst>
                  <a:gd name="connsiteX0" fmla="*/ 259080 w 259079"/>
                  <a:gd name="connsiteY0" fmla="*/ 129540 h 259080"/>
                  <a:gd name="connsiteX1" fmla="*/ 129540 w 259079"/>
                  <a:gd name="connsiteY1" fmla="*/ 259080 h 259080"/>
                  <a:gd name="connsiteX2" fmla="*/ 0 w 259079"/>
                  <a:gd name="connsiteY2" fmla="*/ 129540 h 259080"/>
                  <a:gd name="connsiteX3" fmla="*/ 129540 w 259079"/>
                  <a:gd name="connsiteY3" fmla="*/ 0 h 259080"/>
                  <a:gd name="connsiteX4" fmla="*/ 259080 w 259079"/>
                  <a:gd name="connsiteY4" fmla="*/ 129540 h 259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79" h="259080">
                    <a:moveTo>
                      <a:pt x="259080" y="129540"/>
                    </a:moveTo>
                    <a:cubicBezTo>
                      <a:pt x="259080" y="201083"/>
                      <a:pt x="201083" y="259080"/>
                      <a:pt x="129540" y="259080"/>
                    </a:cubicBezTo>
                    <a:cubicBezTo>
                      <a:pt x="57997" y="259080"/>
                      <a:pt x="0" y="201083"/>
                      <a:pt x="0" y="129540"/>
                    </a:cubicBezTo>
                    <a:cubicBezTo>
                      <a:pt x="0" y="57997"/>
                      <a:pt x="57997" y="0"/>
                      <a:pt x="129540" y="0"/>
                    </a:cubicBezTo>
                    <a:cubicBezTo>
                      <a:pt x="201083" y="0"/>
                      <a:pt x="259080" y="57997"/>
                      <a:pt x="259080" y="129540"/>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74" name="Freeform: Shape 73">
                <a:extLst>
                  <a:ext uri="{FF2B5EF4-FFF2-40B4-BE49-F238E27FC236}">
                    <a16:creationId xmlns:a16="http://schemas.microsoft.com/office/drawing/2014/main" id="{9C7D7E0B-605C-DEAF-BCB7-2FE3349FD213}"/>
                  </a:ext>
                </a:extLst>
              </p:cNvPr>
              <p:cNvSpPr/>
              <p:nvPr/>
            </p:nvSpPr>
            <p:spPr>
              <a:xfrm>
                <a:off x="16857662" y="2486787"/>
                <a:ext cx="173355" cy="173355"/>
              </a:xfrm>
              <a:custGeom>
                <a:avLst/>
                <a:gdLst>
                  <a:gd name="connsiteX0" fmla="*/ 173355 w 173355"/>
                  <a:gd name="connsiteY0" fmla="*/ 86678 h 173355"/>
                  <a:gd name="connsiteX1" fmla="*/ 86678 w 173355"/>
                  <a:gd name="connsiteY1" fmla="*/ 173355 h 173355"/>
                  <a:gd name="connsiteX2" fmla="*/ 0 w 173355"/>
                  <a:gd name="connsiteY2" fmla="*/ 86678 h 173355"/>
                  <a:gd name="connsiteX3" fmla="*/ 86678 w 173355"/>
                  <a:gd name="connsiteY3" fmla="*/ 0 h 173355"/>
                  <a:gd name="connsiteX4" fmla="*/ 173355 w 173355"/>
                  <a:gd name="connsiteY4" fmla="*/ 86678 h 173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355" h="173355">
                    <a:moveTo>
                      <a:pt x="173355" y="86678"/>
                    </a:moveTo>
                    <a:cubicBezTo>
                      <a:pt x="173355" y="134548"/>
                      <a:pt x="134548" y="173355"/>
                      <a:pt x="86678" y="173355"/>
                    </a:cubicBezTo>
                    <a:cubicBezTo>
                      <a:pt x="38807" y="173355"/>
                      <a:pt x="0" y="134548"/>
                      <a:pt x="0" y="86678"/>
                    </a:cubicBezTo>
                    <a:cubicBezTo>
                      <a:pt x="0" y="38807"/>
                      <a:pt x="38807" y="0"/>
                      <a:pt x="86678" y="0"/>
                    </a:cubicBezTo>
                    <a:cubicBezTo>
                      <a:pt x="134548" y="0"/>
                      <a:pt x="173355" y="38807"/>
                      <a:pt x="173355" y="86678"/>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75" name="Freeform: Shape 74">
                <a:extLst>
                  <a:ext uri="{FF2B5EF4-FFF2-40B4-BE49-F238E27FC236}">
                    <a16:creationId xmlns:a16="http://schemas.microsoft.com/office/drawing/2014/main" id="{4A9483BE-4D7E-494A-D777-8F13F7A22828}"/>
                  </a:ext>
                </a:extLst>
              </p:cNvPr>
              <p:cNvSpPr/>
              <p:nvPr/>
            </p:nvSpPr>
            <p:spPr>
              <a:xfrm>
                <a:off x="15429864" y="1144714"/>
                <a:ext cx="2684144" cy="2684144"/>
              </a:xfrm>
              <a:custGeom>
                <a:avLst/>
                <a:gdLst>
                  <a:gd name="connsiteX0" fmla="*/ 1342073 w 2684144"/>
                  <a:gd name="connsiteY0" fmla="*/ 2684145 h 2684144"/>
                  <a:gd name="connsiteX1" fmla="*/ 0 w 2684144"/>
                  <a:gd name="connsiteY1" fmla="*/ 1342073 h 2684144"/>
                  <a:gd name="connsiteX2" fmla="*/ 1342073 w 2684144"/>
                  <a:gd name="connsiteY2" fmla="*/ 0 h 2684144"/>
                  <a:gd name="connsiteX3" fmla="*/ 2684145 w 2684144"/>
                  <a:gd name="connsiteY3" fmla="*/ 1342073 h 2684144"/>
                  <a:gd name="connsiteX4" fmla="*/ 1342073 w 2684144"/>
                  <a:gd name="connsiteY4" fmla="*/ 2684145 h 2684144"/>
                  <a:gd name="connsiteX5" fmla="*/ 1342073 w 2684144"/>
                  <a:gd name="connsiteY5" fmla="*/ 92393 h 2684144"/>
                  <a:gd name="connsiteX6" fmla="*/ 91440 w 2684144"/>
                  <a:gd name="connsiteY6" fmla="*/ 1343025 h 2684144"/>
                  <a:gd name="connsiteX7" fmla="*/ 1342073 w 2684144"/>
                  <a:gd name="connsiteY7" fmla="*/ 2592705 h 2684144"/>
                  <a:gd name="connsiteX8" fmla="*/ 2592705 w 2684144"/>
                  <a:gd name="connsiteY8" fmla="*/ 1342073 h 2684144"/>
                  <a:gd name="connsiteX9" fmla="*/ 1342073 w 2684144"/>
                  <a:gd name="connsiteY9" fmla="*/ 92393 h 26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4144" h="2684144">
                    <a:moveTo>
                      <a:pt x="1342073" y="2684145"/>
                    </a:moveTo>
                    <a:cubicBezTo>
                      <a:pt x="601980" y="2684145"/>
                      <a:pt x="0" y="2082165"/>
                      <a:pt x="0" y="1342073"/>
                    </a:cubicBezTo>
                    <a:cubicBezTo>
                      <a:pt x="0" y="601980"/>
                      <a:pt x="601980" y="0"/>
                      <a:pt x="1342073" y="0"/>
                    </a:cubicBezTo>
                    <a:cubicBezTo>
                      <a:pt x="2082165" y="0"/>
                      <a:pt x="2684145" y="601980"/>
                      <a:pt x="2684145" y="1342073"/>
                    </a:cubicBezTo>
                    <a:cubicBezTo>
                      <a:pt x="2684145" y="2082165"/>
                      <a:pt x="2082165" y="2684145"/>
                      <a:pt x="1342073" y="2684145"/>
                    </a:cubicBezTo>
                    <a:close/>
                    <a:moveTo>
                      <a:pt x="1342073" y="92393"/>
                    </a:moveTo>
                    <a:cubicBezTo>
                      <a:pt x="652463" y="92393"/>
                      <a:pt x="91440" y="653415"/>
                      <a:pt x="91440" y="1343025"/>
                    </a:cubicBezTo>
                    <a:cubicBezTo>
                      <a:pt x="91440" y="2032635"/>
                      <a:pt x="652463" y="2592705"/>
                      <a:pt x="1342073" y="2592705"/>
                    </a:cubicBezTo>
                    <a:cubicBezTo>
                      <a:pt x="2031683" y="2592705"/>
                      <a:pt x="2592705" y="2031683"/>
                      <a:pt x="2592705" y="1342073"/>
                    </a:cubicBezTo>
                    <a:cubicBezTo>
                      <a:pt x="2592705" y="652463"/>
                      <a:pt x="2031683" y="92393"/>
                      <a:pt x="1342073" y="9239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76" name="Freeform: Shape 75">
                <a:extLst>
                  <a:ext uri="{FF2B5EF4-FFF2-40B4-BE49-F238E27FC236}">
                    <a16:creationId xmlns:a16="http://schemas.microsoft.com/office/drawing/2014/main" id="{63E60E52-BD94-9B48-8A28-E5D804F8E11D}"/>
                  </a:ext>
                </a:extLst>
              </p:cNvPr>
              <p:cNvSpPr/>
              <p:nvPr/>
            </p:nvSpPr>
            <p:spPr>
              <a:xfrm>
                <a:off x="16466184" y="365569"/>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3345 h 611505"/>
                  <a:gd name="connsiteX6" fmla="*/ 92393 w 611505"/>
                  <a:gd name="connsiteY6" fmla="*/ 306705 h 611505"/>
                  <a:gd name="connsiteX7" fmla="*/ 305753 w 611505"/>
                  <a:gd name="connsiteY7" fmla="*/ 520065 h 611505"/>
                  <a:gd name="connsiteX8" fmla="*/ 519113 w 611505"/>
                  <a:gd name="connsiteY8" fmla="*/ 306705 h 611505"/>
                  <a:gd name="connsiteX9" fmla="*/ 305753 w 611505"/>
                  <a:gd name="connsiteY9" fmla="*/ 93345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3345"/>
                    </a:moveTo>
                    <a:cubicBezTo>
                      <a:pt x="188595" y="93345"/>
                      <a:pt x="92393" y="188595"/>
                      <a:pt x="92393" y="306705"/>
                    </a:cubicBezTo>
                    <a:cubicBezTo>
                      <a:pt x="92393" y="424815"/>
                      <a:pt x="187643" y="520065"/>
                      <a:pt x="305753" y="520065"/>
                    </a:cubicBezTo>
                    <a:cubicBezTo>
                      <a:pt x="422910" y="520065"/>
                      <a:pt x="519113" y="424815"/>
                      <a:pt x="519113" y="306705"/>
                    </a:cubicBezTo>
                    <a:cubicBezTo>
                      <a:pt x="519113" y="188595"/>
                      <a:pt x="422910" y="93345"/>
                      <a:pt x="305753" y="93345"/>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77" name="Freeform: Shape 76">
                <a:extLst>
                  <a:ext uri="{FF2B5EF4-FFF2-40B4-BE49-F238E27FC236}">
                    <a16:creationId xmlns:a16="http://schemas.microsoft.com/office/drawing/2014/main" id="{CACFCC36-0601-023D-7332-CB918418E071}"/>
                  </a:ext>
                </a:extLst>
              </p:cNvPr>
              <p:cNvSpPr/>
              <p:nvPr/>
            </p:nvSpPr>
            <p:spPr>
              <a:xfrm>
                <a:off x="16466184" y="3995546"/>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2393 h 611505"/>
                  <a:gd name="connsiteX6" fmla="*/ 92393 w 611505"/>
                  <a:gd name="connsiteY6" fmla="*/ 305753 h 611505"/>
                  <a:gd name="connsiteX7" fmla="*/ 305753 w 611505"/>
                  <a:gd name="connsiteY7" fmla="*/ 519113 h 611505"/>
                  <a:gd name="connsiteX8" fmla="*/ 519113 w 611505"/>
                  <a:gd name="connsiteY8" fmla="*/ 305753 h 611505"/>
                  <a:gd name="connsiteX9" fmla="*/ 305753 w 611505"/>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3" y="187643"/>
                      <a:pt x="92393" y="305753"/>
                    </a:cubicBezTo>
                    <a:cubicBezTo>
                      <a:pt x="92393" y="423863"/>
                      <a:pt x="187643" y="519113"/>
                      <a:pt x="305753" y="519113"/>
                    </a:cubicBezTo>
                    <a:cubicBezTo>
                      <a:pt x="423863" y="519113"/>
                      <a:pt x="519113" y="423863"/>
                      <a:pt x="519113" y="305753"/>
                    </a:cubicBezTo>
                    <a:cubicBezTo>
                      <a:pt x="519113" y="188595"/>
                      <a:pt x="422910" y="92393"/>
                      <a:pt x="305753" y="9239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78" name="Freeform: Shape 77">
                <a:extLst>
                  <a:ext uri="{FF2B5EF4-FFF2-40B4-BE49-F238E27FC236}">
                    <a16:creationId xmlns:a16="http://schemas.microsoft.com/office/drawing/2014/main" id="{9D01FA03-C407-8608-07DE-3C52B8C865C9}"/>
                  </a:ext>
                </a:extLst>
              </p:cNvPr>
              <p:cNvSpPr/>
              <p:nvPr/>
            </p:nvSpPr>
            <p:spPr>
              <a:xfrm>
                <a:off x="16726216" y="885634"/>
                <a:ext cx="91439" cy="351472"/>
              </a:xfrm>
              <a:custGeom>
                <a:avLst/>
                <a:gdLst>
                  <a:gd name="connsiteX0" fmla="*/ 45720 w 91439"/>
                  <a:gd name="connsiteY0" fmla="*/ 351473 h 351472"/>
                  <a:gd name="connsiteX1" fmla="*/ 0 w 91439"/>
                  <a:gd name="connsiteY1" fmla="*/ 305753 h 351472"/>
                  <a:gd name="connsiteX2" fmla="*/ 0 w 91439"/>
                  <a:gd name="connsiteY2" fmla="*/ 45720 h 351472"/>
                  <a:gd name="connsiteX3" fmla="*/ 45720 w 91439"/>
                  <a:gd name="connsiteY3" fmla="*/ 0 h 351472"/>
                  <a:gd name="connsiteX4" fmla="*/ 91440 w 91439"/>
                  <a:gd name="connsiteY4" fmla="*/ 45720 h 351472"/>
                  <a:gd name="connsiteX5" fmla="*/ 91440 w 91439"/>
                  <a:gd name="connsiteY5" fmla="*/ 304800 h 351472"/>
                  <a:gd name="connsiteX6" fmla="*/ 45720 w 91439"/>
                  <a:gd name="connsiteY6" fmla="*/ 351473 h 351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 h="351472">
                    <a:moveTo>
                      <a:pt x="45720" y="351473"/>
                    </a:moveTo>
                    <a:cubicBezTo>
                      <a:pt x="20003" y="351473"/>
                      <a:pt x="0" y="330517"/>
                      <a:pt x="0" y="305753"/>
                    </a:cubicBezTo>
                    <a:lnTo>
                      <a:pt x="0" y="45720"/>
                    </a:lnTo>
                    <a:cubicBezTo>
                      <a:pt x="0" y="20002"/>
                      <a:pt x="20955" y="0"/>
                      <a:pt x="45720" y="0"/>
                    </a:cubicBezTo>
                    <a:cubicBezTo>
                      <a:pt x="70485" y="0"/>
                      <a:pt x="91440" y="20955"/>
                      <a:pt x="91440" y="45720"/>
                    </a:cubicBezTo>
                    <a:lnTo>
                      <a:pt x="91440" y="304800"/>
                    </a:lnTo>
                    <a:cubicBezTo>
                      <a:pt x="91440" y="330517"/>
                      <a:pt x="71438" y="351473"/>
                      <a:pt x="45720" y="35147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79" name="Freeform: Shape 78">
                <a:extLst>
                  <a:ext uri="{FF2B5EF4-FFF2-40B4-BE49-F238E27FC236}">
                    <a16:creationId xmlns:a16="http://schemas.microsoft.com/office/drawing/2014/main" id="{1E762FE8-9719-E59B-4E4C-97B141C1DDB9}"/>
                  </a:ext>
                </a:extLst>
              </p:cNvPr>
              <p:cNvSpPr/>
              <p:nvPr/>
            </p:nvSpPr>
            <p:spPr>
              <a:xfrm>
                <a:off x="16726216" y="3737419"/>
                <a:ext cx="91439" cy="350520"/>
              </a:xfrm>
              <a:custGeom>
                <a:avLst/>
                <a:gdLst>
                  <a:gd name="connsiteX0" fmla="*/ 45720 w 91439"/>
                  <a:gd name="connsiteY0" fmla="*/ 350520 h 350520"/>
                  <a:gd name="connsiteX1" fmla="*/ 0 w 91439"/>
                  <a:gd name="connsiteY1" fmla="*/ 304800 h 350520"/>
                  <a:gd name="connsiteX2" fmla="*/ 0 w 91439"/>
                  <a:gd name="connsiteY2" fmla="*/ 45720 h 350520"/>
                  <a:gd name="connsiteX3" fmla="*/ 45720 w 91439"/>
                  <a:gd name="connsiteY3" fmla="*/ 0 h 350520"/>
                  <a:gd name="connsiteX4" fmla="*/ 91440 w 91439"/>
                  <a:gd name="connsiteY4" fmla="*/ 45720 h 350520"/>
                  <a:gd name="connsiteX5" fmla="*/ 91440 w 91439"/>
                  <a:gd name="connsiteY5" fmla="*/ 304800 h 350520"/>
                  <a:gd name="connsiteX6" fmla="*/ 45720 w 91439"/>
                  <a:gd name="connsiteY6" fmla="*/ 350520 h 35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 h="350520">
                    <a:moveTo>
                      <a:pt x="45720" y="350520"/>
                    </a:moveTo>
                    <a:cubicBezTo>
                      <a:pt x="20003" y="350520"/>
                      <a:pt x="0" y="329565"/>
                      <a:pt x="0" y="304800"/>
                    </a:cubicBezTo>
                    <a:lnTo>
                      <a:pt x="0" y="45720"/>
                    </a:lnTo>
                    <a:cubicBezTo>
                      <a:pt x="0" y="20003"/>
                      <a:pt x="20955" y="0"/>
                      <a:pt x="45720" y="0"/>
                    </a:cubicBezTo>
                    <a:cubicBezTo>
                      <a:pt x="70485" y="0"/>
                      <a:pt x="91440" y="20955"/>
                      <a:pt x="91440" y="45720"/>
                    </a:cubicBezTo>
                    <a:lnTo>
                      <a:pt x="91440" y="304800"/>
                    </a:lnTo>
                    <a:cubicBezTo>
                      <a:pt x="91440" y="330518"/>
                      <a:pt x="71438" y="350520"/>
                      <a:pt x="45720" y="350520"/>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80" name="Freeform: Shape 79">
                <a:extLst>
                  <a:ext uri="{FF2B5EF4-FFF2-40B4-BE49-F238E27FC236}">
                    <a16:creationId xmlns:a16="http://schemas.microsoft.com/office/drawing/2014/main" id="{2127BD8C-2736-A2BA-95F3-65DCAD875EAF}"/>
                  </a:ext>
                </a:extLst>
              </p:cNvPr>
              <p:cNvSpPr/>
              <p:nvPr/>
            </p:nvSpPr>
            <p:spPr>
              <a:xfrm>
                <a:off x="18280696" y="2181034"/>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2393 h 611505"/>
                  <a:gd name="connsiteX6" fmla="*/ 92393 w 611505"/>
                  <a:gd name="connsiteY6" fmla="*/ 305753 h 611505"/>
                  <a:gd name="connsiteX7" fmla="*/ 305753 w 611505"/>
                  <a:gd name="connsiteY7" fmla="*/ 519113 h 611505"/>
                  <a:gd name="connsiteX8" fmla="*/ 519113 w 611505"/>
                  <a:gd name="connsiteY8" fmla="*/ 305753 h 611505"/>
                  <a:gd name="connsiteX9" fmla="*/ 305753 w 611505"/>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3" y="187643"/>
                      <a:pt x="92393" y="305753"/>
                    </a:cubicBezTo>
                    <a:cubicBezTo>
                      <a:pt x="92393" y="423863"/>
                      <a:pt x="187643" y="519113"/>
                      <a:pt x="305753" y="519113"/>
                    </a:cubicBezTo>
                    <a:cubicBezTo>
                      <a:pt x="423863" y="519113"/>
                      <a:pt x="519113" y="423863"/>
                      <a:pt x="519113" y="305753"/>
                    </a:cubicBezTo>
                    <a:cubicBezTo>
                      <a:pt x="519113" y="188595"/>
                      <a:pt x="423863" y="92393"/>
                      <a:pt x="305753" y="9239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81" name="Freeform: Shape 80">
                <a:extLst>
                  <a:ext uri="{FF2B5EF4-FFF2-40B4-BE49-F238E27FC236}">
                    <a16:creationId xmlns:a16="http://schemas.microsoft.com/office/drawing/2014/main" id="{EFD426E0-7719-AFA4-E340-5626B82D5437}"/>
                  </a:ext>
                </a:extLst>
              </p:cNvPr>
              <p:cNvSpPr/>
              <p:nvPr/>
            </p:nvSpPr>
            <p:spPr>
              <a:xfrm>
                <a:off x="14651672" y="2181034"/>
                <a:ext cx="611504" cy="611505"/>
              </a:xfrm>
              <a:custGeom>
                <a:avLst/>
                <a:gdLst>
                  <a:gd name="connsiteX0" fmla="*/ 305753 w 611504"/>
                  <a:gd name="connsiteY0" fmla="*/ 611505 h 611505"/>
                  <a:gd name="connsiteX1" fmla="*/ 0 w 611504"/>
                  <a:gd name="connsiteY1" fmla="*/ 305753 h 611505"/>
                  <a:gd name="connsiteX2" fmla="*/ 305753 w 611504"/>
                  <a:gd name="connsiteY2" fmla="*/ 0 h 611505"/>
                  <a:gd name="connsiteX3" fmla="*/ 611505 w 611504"/>
                  <a:gd name="connsiteY3" fmla="*/ 305753 h 611505"/>
                  <a:gd name="connsiteX4" fmla="*/ 305753 w 611504"/>
                  <a:gd name="connsiteY4" fmla="*/ 611505 h 611505"/>
                  <a:gd name="connsiteX5" fmla="*/ 305753 w 611504"/>
                  <a:gd name="connsiteY5" fmla="*/ 92393 h 611505"/>
                  <a:gd name="connsiteX6" fmla="*/ 92392 w 611504"/>
                  <a:gd name="connsiteY6" fmla="*/ 305753 h 611505"/>
                  <a:gd name="connsiteX7" fmla="*/ 305753 w 611504"/>
                  <a:gd name="connsiteY7" fmla="*/ 519113 h 611505"/>
                  <a:gd name="connsiteX8" fmla="*/ 519113 w 611504"/>
                  <a:gd name="connsiteY8" fmla="*/ 305753 h 611505"/>
                  <a:gd name="connsiteX9" fmla="*/ 305753 w 611504"/>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4"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2" y="187643"/>
                      <a:pt x="92392" y="305753"/>
                    </a:cubicBezTo>
                    <a:cubicBezTo>
                      <a:pt x="92392" y="423863"/>
                      <a:pt x="187642" y="519113"/>
                      <a:pt x="305753" y="519113"/>
                    </a:cubicBezTo>
                    <a:cubicBezTo>
                      <a:pt x="423863" y="519113"/>
                      <a:pt x="519113" y="423863"/>
                      <a:pt x="519113" y="305753"/>
                    </a:cubicBezTo>
                    <a:cubicBezTo>
                      <a:pt x="519113" y="187643"/>
                      <a:pt x="422910" y="92393"/>
                      <a:pt x="305753" y="9239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82" name="Freeform: Shape 81">
                <a:extLst>
                  <a:ext uri="{FF2B5EF4-FFF2-40B4-BE49-F238E27FC236}">
                    <a16:creationId xmlns:a16="http://schemas.microsoft.com/office/drawing/2014/main" id="{B89385C3-A824-048F-6119-D5A51AC31FC7}"/>
                  </a:ext>
                </a:extLst>
              </p:cNvPr>
              <p:cNvSpPr/>
              <p:nvPr/>
            </p:nvSpPr>
            <p:spPr>
              <a:xfrm>
                <a:off x="18022569" y="2441066"/>
                <a:ext cx="350520" cy="91439"/>
              </a:xfrm>
              <a:custGeom>
                <a:avLst/>
                <a:gdLst>
                  <a:gd name="connsiteX0" fmla="*/ 304800 w 350520"/>
                  <a:gd name="connsiteY0" fmla="*/ 91440 h 91439"/>
                  <a:gd name="connsiteX1" fmla="*/ 45720 w 350520"/>
                  <a:gd name="connsiteY1" fmla="*/ 91440 h 91439"/>
                  <a:gd name="connsiteX2" fmla="*/ 0 w 350520"/>
                  <a:gd name="connsiteY2" fmla="*/ 45720 h 91439"/>
                  <a:gd name="connsiteX3" fmla="*/ 45720 w 350520"/>
                  <a:gd name="connsiteY3" fmla="*/ 0 h 91439"/>
                  <a:gd name="connsiteX4" fmla="*/ 304800 w 350520"/>
                  <a:gd name="connsiteY4" fmla="*/ 0 h 91439"/>
                  <a:gd name="connsiteX5" fmla="*/ 350520 w 350520"/>
                  <a:gd name="connsiteY5" fmla="*/ 45720 h 91439"/>
                  <a:gd name="connsiteX6" fmla="*/ 304800 w 350520"/>
                  <a:gd name="connsiteY6" fmla="*/ 91440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20" h="91439">
                    <a:moveTo>
                      <a:pt x="304800" y="91440"/>
                    </a:moveTo>
                    <a:lnTo>
                      <a:pt x="45720" y="91440"/>
                    </a:lnTo>
                    <a:cubicBezTo>
                      <a:pt x="20003" y="91440"/>
                      <a:pt x="0" y="70485"/>
                      <a:pt x="0" y="45720"/>
                    </a:cubicBezTo>
                    <a:cubicBezTo>
                      <a:pt x="0" y="20955"/>
                      <a:pt x="20955" y="0"/>
                      <a:pt x="45720" y="0"/>
                    </a:cubicBezTo>
                    <a:lnTo>
                      <a:pt x="304800" y="0"/>
                    </a:lnTo>
                    <a:cubicBezTo>
                      <a:pt x="330518" y="0"/>
                      <a:pt x="350520" y="20955"/>
                      <a:pt x="350520" y="45720"/>
                    </a:cubicBezTo>
                    <a:cubicBezTo>
                      <a:pt x="350520" y="71438"/>
                      <a:pt x="330518" y="91440"/>
                      <a:pt x="304800" y="91440"/>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87" name="Freeform: Shape 86">
                <a:extLst>
                  <a:ext uri="{FF2B5EF4-FFF2-40B4-BE49-F238E27FC236}">
                    <a16:creationId xmlns:a16="http://schemas.microsoft.com/office/drawing/2014/main" id="{A80334C0-3D0A-B0C9-378B-44722D47BCB2}"/>
                  </a:ext>
                </a:extLst>
              </p:cNvPr>
              <p:cNvSpPr/>
              <p:nvPr/>
            </p:nvSpPr>
            <p:spPr>
              <a:xfrm>
                <a:off x="15170784" y="2441066"/>
                <a:ext cx="350551" cy="91439"/>
              </a:xfrm>
              <a:custGeom>
                <a:avLst/>
                <a:gdLst>
                  <a:gd name="connsiteX0" fmla="*/ 304800 w 350551"/>
                  <a:gd name="connsiteY0" fmla="*/ 91440 h 91439"/>
                  <a:gd name="connsiteX1" fmla="*/ 45720 w 350551"/>
                  <a:gd name="connsiteY1" fmla="*/ 91440 h 91439"/>
                  <a:gd name="connsiteX2" fmla="*/ 0 w 350551"/>
                  <a:gd name="connsiteY2" fmla="*/ 45720 h 91439"/>
                  <a:gd name="connsiteX3" fmla="*/ 45720 w 350551"/>
                  <a:gd name="connsiteY3" fmla="*/ 0 h 91439"/>
                  <a:gd name="connsiteX4" fmla="*/ 304800 w 350551"/>
                  <a:gd name="connsiteY4" fmla="*/ 0 h 91439"/>
                  <a:gd name="connsiteX5" fmla="*/ 350520 w 350551"/>
                  <a:gd name="connsiteY5" fmla="*/ 45720 h 91439"/>
                  <a:gd name="connsiteX6" fmla="*/ 304800 w 350551"/>
                  <a:gd name="connsiteY6" fmla="*/ 91440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51" h="91439">
                    <a:moveTo>
                      <a:pt x="304800" y="91440"/>
                    </a:moveTo>
                    <a:lnTo>
                      <a:pt x="45720" y="91440"/>
                    </a:lnTo>
                    <a:cubicBezTo>
                      <a:pt x="20002" y="91440"/>
                      <a:pt x="0" y="70485"/>
                      <a:pt x="0" y="45720"/>
                    </a:cubicBezTo>
                    <a:cubicBezTo>
                      <a:pt x="0" y="20955"/>
                      <a:pt x="20955" y="0"/>
                      <a:pt x="45720" y="0"/>
                    </a:cubicBezTo>
                    <a:lnTo>
                      <a:pt x="304800" y="0"/>
                    </a:lnTo>
                    <a:cubicBezTo>
                      <a:pt x="330517" y="0"/>
                      <a:pt x="350520" y="20955"/>
                      <a:pt x="350520" y="45720"/>
                    </a:cubicBezTo>
                    <a:cubicBezTo>
                      <a:pt x="351473" y="71438"/>
                      <a:pt x="330517" y="91440"/>
                      <a:pt x="304800" y="91440"/>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88" name="Freeform: Shape 87">
                <a:extLst>
                  <a:ext uri="{FF2B5EF4-FFF2-40B4-BE49-F238E27FC236}">
                    <a16:creationId xmlns:a16="http://schemas.microsoft.com/office/drawing/2014/main" id="{030C6868-2EA2-51B0-5E86-83CD676B1B31}"/>
                  </a:ext>
                </a:extLst>
              </p:cNvPr>
              <p:cNvSpPr/>
              <p:nvPr/>
            </p:nvSpPr>
            <p:spPr>
              <a:xfrm>
                <a:off x="17750392" y="898255"/>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520779 w 610076"/>
                  <a:gd name="connsiteY4" fmla="*/ 520779 h 610076"/>
                  <a:gd name="connsiteX5" fmla="*/ 520779 w 610076"/>
                  <a:gd name="connsiteY5" fmla="*/ 520779 h 610076"/>
                  <a:gd name="connsiteX6" fmla="*/ 89297 w 610076"/>
                  <a:gd name="connsiteY6" fmla="*/ 520779 h 610076"/>
                  <a:gd name="connsiteX7" fmla="*/ 154067 w 610076"/>
                  <a:gd name="connsiteY7" fmla="*/ 155019 h 610076"/>
                  <a:gd name="connsiteX8" fmla="*/ 154067 w 610076"/>
                  <a:gd name="connsiteY8" fmla="*/ 456009 h 610076"/>
                  <a:gd name="connsiteX9" fmla="*/ 455057 w 610076"/>
                  <a:gd name="connsiteY9" fmla="*/ 456009 h 610076"/>
                  <a:gd name="connsiteX10" fmla="*/ 455057 w 610076"/>
                  <a:gd name="connsiteY10" fmla="*/ 456009 h 610076"/>
                  <a:gd name="connsiteX11" fmla="*/ 455057 w 610076"/>
                  <a:gd name="connsiteY11" fmla="*/ 155019 h 610076"/>
                  <a:gd name="connsiteX12" fmla="*/ 154067 w 610076"/>
                  <a:gd name="connsiteY12" fmla="*/ 155019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lnTo>
                      <a:pt x="520779" y="520779"/>
                    </a:lnTo>
                    <a:lnTo>
                      <a:pt x="520779" y="520779"/>
                    </a:lnTo>
                    <a:cubicBezTo>
                      <a:pt x="401717" y="639842"/>
                      <a:pt x="208359" y="639842"/>
                      <a:pt x="89297" y="520779"/>
                    </a:cubicBezTo>
                    <a:close/>
                    <a:moveTo>
                      <a:pt x="154067" y="155019"/>
                    </a:moveTo>
                    <a:cubicBezTo>
                      <a:pt x="71199" y="237887"/>
                      <a:pt x="71199" y="373142"/>
                      <a:pt x="154067" y="456009"/>
                    </a:cubicBezTo>
                    <a:cubicBezTo>
                      <a:pt x="236934" y="538877"/>
                      <a:pt x="372189" y="538877"/>
                      <a:pt x="455057" y="456009"/>
                    </a:cubicBezTo>
                    <a:lnTo>
                      <a:pt x="455057" y="456009"/>
                    </a:lnTo>
                    <a:cubicBezTo>
                      <a:pt x="537924" y="373142"/>
                      <a:pt x="537924" y="237887"/>
                      <a:pt x="455057" y="155019"/>
                    </a:cubicBezTo>
                    <a:cubicBezTo>
                      <a:pt x="372189" y="71199"/>
                      <a:pt x="236934" y="71199"/>
                      <a:pt x="154067" y="155019"/>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89" name="Freeform: Shape 88">
                <a:extLst>
                  <a:ext uri="{FF2B5EF4-FFF2-40B4-BE49-F238E27FC236}">
                    <a16:creationId xmlns:a16="http://schemas.microsoft.com/office/drawing/2014/main" id="{439D4B09-A5F5-B03E-46B2-A3C602DDC6A1}"/>
                  </a:ext>
                </a:extLst>
              </p:cNvPr>
              <p:cNvSpPr/>
              <p:nvPr/>
            </p:nvSpPr>
            <p:spPr>
              <a:xfrm>
                <a:off x="15183405" y="3465242"/>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520779 w 610076"/>
                  <a:gd name="connsiteY4" fmla="*/ 520779 h 610076"/>
                  <a:gd name="connsiteX5" fmla="*/ 89297 w 610076"/>
                  <a:gd name="connsiteY5" fmla="*/ 520779 h 610076"/>
                  <a:gd name="connsiteX6" fmla="*/ 155019 w 610076"/>
                  <a:gd name="connsiteY6" fmla="*/ 154067 h 610076"/>
                  <a:gd name="connsiteX7" fmla="*/ 155019 w 610076"/>
                  <a:gd name="connsiteY7" fmla="*/ 455057 h 610076"/>
                  <a:gd name="connsiteX8" fmla="*/ 456009 w 610076"/>
                  <a:gd name="connsiteY8" fmla="*/ 455057 h 610076"/>
                  <a:gd name="connsiteX9" fmla="*/ 456009 w 610076"/>
                  <a:gd name="connsiteY9" fmla="*/ 154067 h 610076"/>
                  <a:gd name="connsiteX10" fmla="*/ 155019 w 610076"/>
                  <a:gd name="connsiteY10" fmla="*/ 154067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lnTo>
                      <a:pt x="520779" y="520779"/>
                    </a:lnTo>
                    <a:cubicBezTo>
                      <a:pt x="402669" y="639842"/>
                      <a:pt x="208359" y="639842"/>
                      <a:pt x="89297" y="520779"/>
                    </a:cubicBezTo>
                    <a:close/>
                    <a:moveTo>
                      <a:pt x="155019" y="154067"/>
                    </a:moveTo>
                    <a:cubicBezTo>
                      <a:pt x="72152" y="236934"/>
                      <a:pt x="72152" y="372189"/>
                      <a:pt x="155019" y="455057"/>
                    </a:cubicBezTo>
                    <a:cubicBezTo>
                      <a:pt x="237887" y="537924"/>
                      <a:pt x="373142" y="537924"/>
                      <a:pt x="456009" y="455057"/>
                    </a:cubicBezTo>
                    <a:cubicBezTo>
                      <a:pt x="538877" y="372189"/>
                      <a:pt x="538877" y="236934"/>
                      <a:pt x="456009" y="154067"/>
                    </a:cubicBezTo>
                    <a:cubicBezTo>
                      <a:pt x="373142" y="71199"/>
                      <a:pt x="237887" y="71199"/>
                      <a:pt x="155019" y="154067"/>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90" name="Freeform: Shape 89">
                <a:extLst>
                  <a:ext uri="{FF2B5EF4-FFF2-40B4-BE49-F238E27FC236}">
                    <a16:creationId xmlns:a16="http://schemas.microsoft.com/office/drawing/2014/main" id="{4C054ED3-D2A3-463E-A532-1739EDA93088}"/>
                  </a:ext>
                </a:extLst>
              </p:cNvPr>
              <p:cNvSpPr/>
              <p:nvPr/>
            </p:nvSpPr>
            <p:spPr>
              <a:xfrm>
                <a:off x="17642283" y="1341643"/>
                <a:ext cx="274796" cy="274796"/>
              </a:xfrm>
              <a:custGeom>
                <a:avLst/>
                <a:gdLst>
                  <a:gd name="connsiteX0" fmla="*/ 13573 w 274796"/>
                  <a:gd name="connsiteY0" fmla="*/ 261223 h 274796"/>
                  <a:gd name="connsiteX1" fmla="*/ 13573 w 274796"/>
                  <a:gd name="connsiteY1" fmla="*/ 196453 h 274796"/>
                  <a:gd name="connsiteX2" fmla="*/ 196453 w 274796"/>
                  <a:gd name="connsiteY2" fmla="*/ 13573 h 274796"/>
                  <a:gd name="connsiteX3" fmla="*/ 261223 w 274796"/>
                  <a:gd name="connsiteY3" fmla="*/ 13573 h 274796"/>
                  <a:gd name="connsiteX4" fmla="*/ 261223 w 274796"/>
                  <a:gd name="connsiteY4" fmla="*/ 78343 h 274796"/>
                  <a:gd name="connsiteX5" fmla="*/ 78343 w 274796"/>
                  <a:gd name="connsiteY5" fmla="*/ 261223 h 274796"/>
                  <a:gd name="connsiteX6" fmla="*/ 1357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3573" y="261223"/>
                    </a:moveTo>
                    <a:cubicBezTo>
                      <a:pt x="-4524" y="243126"/>
                      <a:pt x="-4524" y="213598"/>
                      <a:pt x="13573" y="196453"/>
                    </a:cubicBezTo>
                    <a:lnTo>
                      <a:pt x="196453" y="13573"/>
                    </a:lnTo>
                    <a:cubicBezTo>
                      <a:pt x="214551" y="-4524"/>
                      <a:pt x="244078" y="-4524"/>
                      <a:pt x="261223" y="13573"/>
                    </a:cubicBezTo>
                    <a:cubicBezTo>
                      <a:pt x="279321" y="31671"/>
                      <a:pt x="279321" y="61198"/>
                      <a:pt x="261223" y="78343"/>
                    </a:cubicBezTo>
                    <a:lnTo>
                      <a:pt x="78343" y="261223"/>
                    </a:lnTo>
                    <a:cubicBezTo>
                      <a:pt x="61198" y="279321"/>
                      <a:pt x="31671" y="279321"/>
                      <a:pt x="13573" y="26122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91" name="Freeform: Shape 90">
                <a:extLst>
                  <a:ext uri="{FF2B5EF4-FFF2-40B4-BE49-F238E27FC236}">
                    <a16:creationId xmlns:a16="http://schemas.microsoft.com/office/drawing/2014/main" id="{AB62E8D5-814D-0186-FA84-930BA261CDAD}"/>
                  </a:ext>
                </a:extLst>
              </p:cNvPr>
              <p:cNvSpPr/>
              <p:nvPr/>
            </p:nvSpPr>
            <p:spPr>
              <a:xfrm>
                <a:off x="15625841" y="3358086"/>
                <a:ext cx="274796" cy="274796"/>
              </a:xfrm>
              <a:custGeom>
                <a:avLst/>
                <a:gdLst>
                  <a:gd name="connsiteX0" fmla="*/ 13573 w 274796"/>
                  <a:gd name="connsiteY0" fmla="*/ 261223 h 274796"/>
                  <a:gd name="connsiteX1" fmla="*/ 13573 w 274796"/>
                  <a:gd name="connsiteY1" fmla="*/ 196453 h 274796"/>
                  <a:gd name="connsiteX2" fmla="*/ 196453 w 274796"/>
                  <a:gd name="connsiteY2" fmla="*/ 13573 h 274796"/>
                  <a:gd name="connsiteX3" fmla="*/ 261223 w 274796"/>
                  <a:gd name="connsiteY3" fmla="*/ 13573 h 274796"/>
                  <a:gd name="connsiteX4" fmla="*/ 261223 w 274796"/>
                  <a:gd name="connsiteY4" fmla="*/ 78343 h 274796"/>
                  <a:gd name="connsiteX5" fmla="*/ 78343 w 274796"/>
                  <a:gd name="connsiteY5" fmla="*/ 261223 h 274796"/>
                  <a:gd name="connsiteX6" fmla="*/ 1357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3573" y="261223"/>
                    </a:moveTo>
                    <a:cubicBezTo>
                      <a:pt x="-4524" y="243126"/>
                      <a:pt x="-4524" y="213598"/>
                      <a:pt x="13573" y="196453"/>
                    </a:cubicBezTo>
                    <a:lnTo>
                      <a:pt x="196453" y="13573"/>
                    </a:lnTo>
                    <a:cubicBezTo>
                      <a:pt x="214551" y="-4524"/>
                      <a:pt x="244078" y="-4524"/>
                      <a:pt x="261223" y="13573"/>
                    </a:cubicBezTo>
                    <a:cubicBezTo>
                      <a:pt x="279321" y="31671"/>
                      <a:pt x="279321" y="61198"/>
                      <a:pt x="261223" y="78343"/>
                    </a:cubicBezTo>
                    <a:lnTo>
                      <a:pt x="78343" y="261223"/>
                    </a:lnTo>
                    <a:cubicBezTo>
                      <a:pt x="61198" y="279321"/>
                      <a:pt x="31671" y="279321"/>
                      <a:pt x="13573" y="26122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92" name="Freeform: Shape 91">
                <a:extLst>
                  <a:ext uri="{FF2B5EF4-FFF2-40B4-BE49-F238E27FC236}">
                    <a16:creationId xmlns:a16="http://schemas.microsoft.com/office/drawing/2014/main" id="{CFC1F31C-0F8D-FF96-337E-04C699E24312}"/>
                  </a:ext>
                </a:extLst>
              </p:cNvPr>
              <p:cNvSpPr/>
              <p:nvPr/>
            </p:nvSpPr>
            <p:spPr>
              <a:xfrm>
                <a:off x="17750392" y="3465242"/>
                <a:ext cx="610076" cy="589372"/>
              </a:xfrm>
              <a:custGeom>
                <a:avLst/>
                <a:gdLst>
                  <a:gd name="connsiteX0" fmla="*/ 89297 w 610076"/>
                  <a:gd name="connsiteY0" fmla="*/ 520779 h 589372"/>
                  <a:gd name="connsiteX1" fmla="*/ 89297 w 610076"/>
                  <a:gd name="connsiteY1" fmla="*/ 89297 h 589372"/>
                  <a:gd name="connsiteX2" fmla="*/ 520779 w 610076"/>
                  <a:gd name="connsiteY2" fmla="*/ 89297 h 589372"/>
                  <a:gd name="connsiteX3" fmla="*/ 520779 w 610076"/>
                  <a:gd name="connsiteY3" fmla="*/ 520779 h 589372"/>
                  <a:gd name="connsiteX4" fmla="*/ 89297 w 610076"/>
                  <a:gd name="connsiteY4" fmla="*/ 520779 h 589372"/>
                  <a:gd name="connsiteX5" fmla="*/ 154067 w 610076"/>
                  <a:gd name="connsiteY5" fmla="*/ 154067 h 589372"/>
                  <a:gd name="connsiteX6" fmla="*/ 154067 w 610076"/>
                  <a:gd name="connsiteY6" fmla="*/ 455057 h 589372"/>
                  <a:gd name="connsiteX7" fmla="*/ 455057 w 610076"/>
                  <a:gd name="connsiteY7" fmla="*/ 455057 h 589372"/>
                  <a:gd name="connsiteX8" fmla="*/ 455057 w 610076"/>
                  <a:gd name="connsiteY8" fmla="*/ 154067 h 589372"/>
                  <a:gd name="connsiteX9" fmla="*/ 154067 w 610076"/>
                  <a:gd name="connsiteY9" fmla="*/ 154067 h 58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076" h="589372">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cubicBezTo>
                      <a:pt x="460772" y="579834"/>
                      <a:pt x="208359" y="639842"/>
                      <a:pt x="89297" y="520779"/>
                    </a:cubicBezTo>
                    <a:close/>
                    <a:moveTo>
                      <a:pt x="154067" y="154067"/>
                    </a:moveTo>
                    <a:cubicBezTo>
                      <a:pt x="71199" y="236934"/>
                      <a:pt x="71199" y="372189"/>
                      <a:pt x="154067" y="455057"/>
                    </a:cubicBezTo>
                    <a:cubicBezTo>
                      <a:pt x="236934" y="537924"/>
                      <a:pt x="372189" y="537924"/>
                      <a:pt x="455057" y="455057"/>
                    </a:cubicBezTo>
                    <a:cubicBezTo>
                      <a:pt x="537924" y="372189"/>
                      <a:pt x="537924" y="236934"/>
                      <a:pt x="455057" y="154067"/>
                    </a:cubicBezTo>
                    <a:cubicBezTo>
                      <a:pt x="414099" y="112157"/>
                      <a:pt x="236934" y="71199"/>
                      <a:pt x="154067" y="154067"/>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93" name="Freeform: Shape 92">
                <a:extLst>
                  <a:ext uri="{FF2B5EF4-FFF2-40B4-BE49-F238E27FC236}">
                    <a16:creationId xmlns:a16="http://schemas.microsoft.com/office/drawing/2014/main" id="{104104A3-BEA5-30D1-03F2-5AAF69AC0986}"/>
                  </a:ext>
                </a:extLst>
              </p:cNvPr>
              <p:cNvSpPr/>
              <p:nvPr/>
            </p:nvSpPr>
            <p:spPr>
              <a:xfrm>
                <a:off x="15183405" y="898255"/>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89297 w 610076"/>
                  <a:gd name="connsiteY4" fmla="*/ 520779 h 610076"/>
                  <a:gd name="connsiteX5" fmla="*/ 155019 w 610076"/>
                  <a:gd name="connsiteY5" fmla="*/ 155019 h 610076"/>
                  <a:gd name="connsiteX6" fmla="*/ 155019 w 610076"/>
                  <a:gd name="connsiteY6" fmla="*/ 456009 h 610076"/>
                  <a:gd name="connsiteX7" fmla="*/ 456009 w 610076"/>
                  <a:gd name="connsiteY7" fmla="*/ 456009 h 610076"/>
                  <a:gd name="connsiteX8" fmla="*/ 456009 w 610076"/>
                  <a:gd name="connsiteY8" fmla="*/ 155019 h 610076"/>
                  <a:gd name="connsiteX9" fmla="*/ 155019 w 610076"/>
                  <a:gd name="connsiteY9" fmla="*/ 155019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cubicBezTo>
                      <a:pt x="402669" y="639842"/>
                      <a:pt x="208359" y="639842"/>
                      <a:pt x="89297" y="520779"/>
                    </a:cubicBezTo>
                    <a:close/>
                    <a:moveTo>
                      <a:pt x="155019" y="155019"/>
                    </a:moveTo>
                    <a:cubicBezTo>
                      <a:pt x="72152" y="237887"/>
                      <a:pt x="72152" y="373142"/>
                      <a:pt x="155019" y="456009"/>
                    </a:cubicBezTo>
                    <a:cubicBezTo>
                      <a:pt x="237887" y="538877"/>
                      <a:pt x="373142" y="538877"/>
                      <a:pt x="456009" y="456009"/>
                    </a:cubicBezTo>
                    <a:cubicBezTo>
                      <a:pt x="538877" y="373142"/>
                      <a:pt x="538877" y="237887"/>
                      <a:pt x="456009" y="155019"/>
                    </a:cubicBezTo>
                    <a:cubicBezTo>
                      <a:pt x="373142" y="71199"/>
                      <a:pt x="237887" y="71199"/>
                      <a:pt x="155019" y="155019"/>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94" name="Freeform: Shape 93">
                <a:extLst>
                  <a:ext uri="{FF2B5EF4-FFF2-40B4-BE49-F238E27FC236}">
                    <a16:creationId xmlns:a16="http://schemas.microsoft.com/office/drawing/2014/main" id="{AEFC0DCA-F015-891F-8CBB-4E89AF6F32C1}"/>
                  </a:ext>
                </a:extLst>
              </p:cNvPr>
              <p:cNvSpPr/>
              <p:nvPr/>
            </p:nvSpPr>
            <p:spPr>
              <a:xfrm>
                <a:off x="17643236" y="3358086"/>
                <a:ext cx="274796" cy="274796"/>
              </a:xfrm>
              <a:custGeom>
                <a:avLst/>
                <a:gdLst>
                  <a:gd name="connsiteX0" fmla="*/ 196453 w 274796"/>
                  <a:gd name="connsiteY0" fmla="*/ 261223 h 274796"/>
                  <a:gd name="connsiteX1" fmla="*/ 13573 w 274796"/>
                  <a:gd name="connsiteY1" fmla="*/ 78343 h 274796"/>
                  <a:gd name="connsiteX2" fmla="*/ 13573 w 274796"/>
                  <a:gd name="connsiteY2" fmla="*/ 13573 h 274796"/>
                  <a:gd name="connsiteX3" fmla="*/ 78343 w 274796"/>
                  <a:gd name="connsiteY3" fmla="*/ 13573 h 274796"/>
                  <a:gd name="connsiteX4" fmla="*/ 261223 w 274796"/>
                  <a:gd name="connsiteY4" fmla="*/ 196453 h 274796"/>
                  <a:gd name="connsiteX5" fmla="*/ 261223 w 274796"/>
                  <a:gd name="connsiteY5" fmla="*/ 261223 h 274796"/>
                  <a:gd name="connsiteX6" fmla="*/ 19645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96453" y="261223"/>
                    </a:moveTo>
                    <a:lnTo>
                      <a:pt x="13573" y="78343"/>
                    </a:lnTo>
                    <a:cubicBezTo>
                      <a:pt x="-4524" y="60246"/>
                      <a:pt x="-4524" y="30718"/>
                      <a:pt x="13573" y="13573"/>
                    </a:cubicBezTo>
                    <a:cubicBezTo>
                      <a:pt x="31671" y="-4524"/>
                      <a:pt x="61198" y="-4524"/>
                      <a:pt x="78343" y="13573"/>
                    </a:cubicBezTo>
                    <a:lnTo>
                      <a:pt x="261223" y="196453"/>
                    </a:lnTo>
                    <a:cubicBezTo>
                      <a:pt x="279321" y="214551"/>
                      <a:pt x="279321" y="244078"/>
                      <a:pt x="261223" y="261223"/>
                    </a:cubicBezTo>
                    <a:cubicBezTo>
                      <a:pt x="243126" y="279321"/>
                      <a:pt x="213598" y="279321"/>
                      <a:pt x="196453" y="26122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99" name="Freeform: Shape 98">
                <a:extLst>
                  <a:ext uri="{FF2B5EF4-FFF2-40B4-BE49-F238E27FC236}">
                    <a16:creationId xmlns:a16="http://schemas.microsoft.com/office/drawing/2014/main" id="{21161F65-269A-7D79-3AD7-075710CC459D}"/>
                  </a:ext>
                </a:extLst>
              </p:cNvPr>
              <p:cNvSpPr/>
              <p:nvPr/>
            </p:nvSpPr>
            <p:spPr>
              <a:xfrm>
                <a:off x="15625841" y="1341643"/>
                <a:ext cx="274796" cy="274796"/>
              </a:xfrm>
              <a:custGeom>
                <a:avLst/>
                <a:gdLst>
                  <a:gd name="connsiteX0" fmla="*/ 196453 w 274796"/>
                  <a:gd name="connsiteY0" fmla="*/ 261223 h 274796"/>
                  <a:gd name="connsiteX1" fmla="*/ 13573 w 274796"/>
                  <a:gd name="connsiteY1" fmla="*/ 78343 h 274796"/>
                  <a:gd name="connsiteX2" fmla="*/ 13573 w 274796"/>
                  <a:gd name="connsiteY2" fmla="*/ 13573 h 274796"/>
                  <a:gd name="connsiteX3" fmla="*/ 78343 w 274796"/>
                  <a:gd name="connsiteY3" fmla="*/ 13573 h 274796"/>
                  <a:gd name="connsiteX4" fmla="*/ 261223 w 274796"/>
                  <a:gd name="connsiteY4" fmla="*/ 196453 h 274796"/>
                  <a:gd name="connsiteX5" fmla="*/ 261223 w 274796"/>
                  <a:gd name="connsiteY5" fmla="*/ 261223 h 274796"/>
                  <a:gd name="connsiteX6" fmla="*/ 19645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96453" y="261223"/>
                    </a:moveTo>
                    <a:lnTo>
                      <a:pt x="13573" y="78343"/>
                    </a:lnTo>
                    <a:cubicBezTo>
                      <a:pt x="-4524" y="60246"/>
                      <a:pt x="-4524" y="30718"/>
                      <a:pt x="13573" y="13573"/>
                    </a:cubicBezTo>
                    <a:cubicBezTo>
                      <a:pt x="31671" y="-4524"/>
                      <a:pt x="61198" y="-4524"/>
                      <a:pt x="78343" y="13573"/>
                    </a:cubicBezTo>
                    <a:lnTo>
                      <a:pt x="261223" y="196453"/>
                    </a:lnTo>
                    <a:cubicBezTo>
                      <a:pt x="279321" y="214551"/>
                      <a:pt x="279321" y="244078"/>
                      <a:pt x="261223" y="261223"/>
                    </a:cubicBezTo>
                    <a:cubicBezTo>
                      <a:pt x="244078" y="279321"/>
                      <a:pt x="214551" y="279321"/>
                      <a:pt x="196453" y="26122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01" name="Freeform: Shape 100">
                <a:extLst>
                  <a:ext uri="{FF2B5EF4-FFF2-40B4-BE49-F238E27FC236}">
                    <a16:creationId xmlns:a16="http://schemas.microsoft.com/office/drawing/2014/main" id="{8EF297A8-32F2-EFD1-0816-A7AE61084FB1}"/>
                  </a:ext>
                </a:extLst>
              </p:cNvPr>
              <p:cNvSpPr/>
              <p:nvPr/>
            </p:nvSpPr>
            <p:spPr>
              <a:xfrm>
                <a:off x="16120427" y="1835277"/>
                <a:ext cx="611504" cy="611504"/>
              </a:xfrm>
              <a:custGeom>
                <a:avLst/>
                <a:gdLst>
                  <a:gd name="connsiteX0" fmla="*/ 305752 w 611504"/>
                  <a:gd name="connsiteY0" fmla="*/ 611505 h 611504"/>
                  <a:gd name="connsiteX1" fmla="*/ 0 w 611504"/>
                  <a:gd name="connsiteY1" fmla="*/ 305752 h 611504"/>
                  <a:gd name="connsiteX2" fmla="*/ 305752 w 611504"/>
                  <a:gd name="connsiteY2" fmla="*/ 0 h 611504"/>
                  <a:gd name="connsiteX3" fmla="*/ 611505 w 611504"/>
                  <a:gd name="connsiteY3" fmla="*/ 305752 h 611504"/>
                  <a:gd name="connsiteX4" fmla="*/ 305752 w 611504"/>
                  <a:gd name="connsiteY4" fmla="*/ 611505 h 611504"/>
                  <a:gd name="connsiteX5" fmla="*/ 305752 w 611504"/>
                  <a:gd name="connsiteY5" fmla="*/ 92392 h 611504"/>
                  <a:gd name="connsiteX6" fmla="*/ 92392 w 611504"/>
                  <a:gd name="connsiteY6" fmla="*/ 305752 h 611504"/>
                  <a:gd name="connsiteX7" fmla="*/ 305752 w 611504"/>
                  <a:gd name="connsiteY7" fmla="*/ 519113 h 611504"/>
                  <a:gd name="connsiteX8" fmla="*/ 519113 w 611504"/>
                  <a:gd name="connsiteY8" fmla="*/ 305752 h 611504"/>
                  <a:gd name="connsiteX9" fmla="*/ 305752 w 611504"/>
                  <a:gd name="connsiteY9" fmla="*/ 92392 h 611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4" h="611504">
                    <a:moveTo>
                      <a:pt x="305752" y="611505"/>
                    </a:moveTo>
                    <a:cubicBezTo>
                      <a:pt x="137160" y="611505"/>
                      <a:pt x="0" y="474345"/>
                      <a:pt x="0" y="305752"/>
                    </a:cubicBezTo>
                    <a:cubicBezTo>
                      <a:pt x="0" y="137160"/>
                      <a:pt x="137160" y="0"/>
                      <a:pt x="305752" y="0"/>
                    </a:cubicBezTo>
                    <a:cubicBezTo>
                      <a:pt x="474345" y="0"/>
                      <a:pt x="611505" y="137160"/>
                      <a:pt x="611505" y="305752"/>
                    </a:cubicBezTo>
                    <a:cubicBezTo>
                      <a:pt x="611505" y="474345"/>
                      <a:pt x="474345" y="611505"/>
                      <a:pt x="305752" y="611505"/>
                    </a:cubicBezTo>
                    <a:close/>
                    <a:moveTo>
                      <a:pt x="305752" y="92392"/>
                    </a:moveTo>
                    <a:cubicBezTo>
                      <a:pt x="188595" y="92392"/>
                      <a:pt x="92392" y="187642"/>
                      <a:pt x="92392" y="305752"/>
                    </a:cubicBezTo>
                    <a:cubicBezTo>
                      <a:pt x="92392" y="423863"/>
                      <a:pt x="187642" y="519113"/>
                      <a:pt x="305752" y="519113"/>
                    </a:cubicBezTo>
                    <a:cubicBezTo>
                      <a:pt x="423863" y="519113"/>
                      <a:pt x="519113" y="423863"/>
                      <a:pt x="519113" y="305752"/>
                    </a:cubicBezTo>
                    <a:cubicBezTo>
                      <a:pt x="519113" y="187642"/>
                      <a:pt x="423863" y="92392"/>
                      <a:pt x="305752" y="92392"/>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02" name="Freeform: Shape 101">
                <a:extLst>
                  <a:ext uri="{FF2B5EF4-FFF2-40B4-BE49-F238E27FC236}">
                    <a16:creationId xmlns:a16="http://schemas.microsoft.com/office/drawing/2014/main" id="{0321601D-C92F-856D-4262-811B5A9776BE}"/>
                  </a:ext>
                </a:extLst>
              </p:cNvPr>
              <p:cNvSpPr/>
              <p:nvPr/>
            </p:nvSpPr>
            <p:spPr>
              <a:xfrm>
                <a:off x="16985296" y="2872549"/>
                <a:ext cx="438150" cy="438150"/>
              </a:xfrm>
              <a:custGeom>
                <a:avLst/>
                <a:gdLst>
                  <a:gd name="connsiteX0" fmla="*/ 219075 w 438150"/>
                  <a:gd name="connsiteY0" fmla="*/ 438150 h 438150"/>
                  <a:gd name="connsiteX1" fmla="*/ 0 w 438150"/>
                  <a:gd name="connsiteY1" fmla="*/ 219075 h 438150"/>
                  <a:gd name="connsiteX2" fmla="*/ 219075 w 438150"/>
                  <a:gd name="connsiteY2" fmla="*/ 0 h 438150"/>
                  <a:gd name="connsiteX3" fmla="*/ 438150 w 438150"/>
                  <a:gd name="connsiteY3" fmla="*/ 219075 h 438150"/>
                  <a:gd name="connsiteX4" fmla="*/ 219075 w 438150"/>
                  <a:gd name="connsiteY4" fmla="*/ 438150 h 438150"/>
                  <a:gd name="connsiteX5" fmla="*/ 219075 w 438150"/>
                  <a:gd name="connsiteY5" fmla="*/ 92393 h 438150"/>
                  <a:gd name="connsiteX6" fmla="*/ 92393 w 438150"/>
                  <a:gd name="connsiteY6" fmla="*/ 219075 h 438150"/>
                  <a:gd name="connsiteX7" fmla="*/ 219075 w 438150"/>
                  <a:gd name="connsiteY7" fmla="*/ 345757 h 438150"/>
                  <a:gd name="connsiteX8" fmla="*/ 345758 w 438150"/>
                  <a:gd name="connsiteY8" fmla="*/ 219075 h 438150"/>
                  <a:gd name="connsiteX9" fmla="*/ 219075 w 438150"/>
                  <a:gd name="connsiteY9" fmla="*/ 92393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150" h="438150">
                    <a:moveTo>
                      <a:pt x="219075" y="438150"/>
                    </a:moveTo>
                    <a:cubicBezTo>
                      <a:pt x="98108" y="438150"/>
                      <a:pt x="0" y="340043"/>
                      <a:pt x="0" y="219075"/>
                    </a:cubicBezTo>
                    <a:cubicBezTo>
                      <a:pt x="0" y="98107"/>
                      <a:pt x="98108" y="0"/>
                      <a:pt x="219075" y="0"/>
                    </a:cubicBezTo>
                    <a:cubicBezTo>
                      <a:pt x="340043" y="0"/>
                      <a:pt x="438150" y="98107"/>
                      <a:pt x="438150" y="219075"/>
                    </a:cubicBezTo>
                    <a:cubicBezTo>
                      <a:pt x="437197" y="340043"/>
                      <a:pt x="339090" y="438150"/>
                      <a:pt x="219075" y="438150"/>
                    </a:cubicBezTo>
                    <a:close/>
                    <a:moveTo>
                      <a:pt x="219075" y="92393"/>
                    </a:moveTo>
                    <a:cubicBezTo>
                      <a:pt x="149543" y="92393"/>
                      <a:pt x="92393" y="149543"/>
                      <a:pt x="92393" y="219075"/>
                    </a:cubicBezTo>
                    <a:cubicBezTo>
                      <a:pt x="92393" y="288607"/>
                      <a:pt x="149543" y="345757"/>
                      <a:pt x="219075" y="345757"/>
                    </a:cubicBezTo>
                    <a:cubicBezTo>
                      <a:pt x="288608" y="345757"/>
                      <a:pt x="345758" y="288607"/>
                      <a:pt x="345758" y="219075"/>
                    </a:cubicBezTo>
                    <a:cubicBezTo>
                      <a:pt x="345758" y="149543"/>
                      <a:pt x="288608" y="92393"/>
                      <a:pt x="219075" y="92393"/>
                    </a:cubicBezTo>
                    <a:close/>
                  </a:path>
                </a:pathLst>
              </a:custGeom>
              <a:grpFill/>
              <a:ln w="12700" cap="flat">
                <a:solidFill>
                  <a:schemeClr val="accent1"/>
                </a:solidFill>
                <a:prstDash val="solid"/>
                <a:miter/>
              </a:ln>
            </p:spPr>
            <p:txBody>
              <a:bodyPr rtlCol="0" anchor="ctr"/>
              <a:lstStyle/>
              <a:p>
                <a:pPr marL="0" marR="0" lvl="0" indent="0" algn="l"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Pfizer Diatype Office"/>
                  <a:ea typeface="+mn-ea"/>
                  <a:cs typeface="+mn-cs"/>
                </a:endParaRPr>
              </a:p>
            </p:txBody>
          </p:sp>
        </p:grpSp>
      </p:grpSp>
      <p:grpSp>
        <p:nvGrpSpPr>
          <p:cNvPr id="106" name="Group 105">
            <a:extLst>
              <a:ext uri="{FF2B5EF4-FFF2-40B4-BE49-F238E27FC236}">
                <a16:creationId xmlns:a16="http://schemas.microsoft.com/office/drawing/2014/main" id="{84D350BF-E88A-175B-B6F9-8AFB79EEC9B6}"/>
              </a:ext>
            </a:extLst>
          </p:cNvPr>
          <p:cNvGrpSpPr/>
          <p:nvPr/>
        </p:nvGrpSpPr>
        <p:grpSpPr>
          <a:xfrm>
            <a:off x="994448" y="3548756"/>
            <a:ext cx="3520440" cy="1362456"/>
            <a:chOff x="619726" y="3856596"/>
            <a:chExt cx="3520440" cy="1362456"/>
          </a:xfrm>
        </p:grpSpPr>
        <p:sp>
          <p:nvSpPr>
            <p:cNvPr id="107" name="TextBox 106">
              <a:extLst>
                <a:ext uri="{FF2B5EF4-FFF2-40B4-BE49-F238E27FC236}">
                  <a16:creationId xmlns:a16="http://schemas.microsoft.com/office/drawing/2014/main" id="{FC74F612-1F7B-A397-7D09-05557E90072B}"/>
                </a:ext>
              </a:extLst>
            </p:cNvPr>
            <p:cNvSpPr txBox="1"/>
            <p:nvPr/>
          </p:nvSpPr>
          <p:spPr>
            <a:xfrm>
              <a:off x="619726" y="3856596"/>
              <a:ext cx="3520440" cy="1362456"/>
            </a:xfrm>
            <a:prstGeom prst="roundRect">
              <a:avLst>
                <a:gd name="adj" fmla="val 11454"/>
              </a:avLst>
            </a:prstGeom>
            <a:solidFill>
              <a:srgbClr val="0070BF"/>
            </a:solidFill>
          </p:spPr>
          <p:txBody>
            <a:bodyPr wrap="none" lIns="27432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solidFill>
                    <a:srgbClr val="FFFFFF"/>
                  </a:solidFill>
                  <a:latin typeface="+mj-lt"/>
                </a:rPr>
                <a:t>COVID-19</a:t>
              </a:r>
            </a:p>
          </p:txBody>
        </p:sp>
        <p:sp>
          <p:nvSpPr>
            <p:cNvPr id="108" name="TextBox 107">
              <a:extLst>
                <a:ext uri="{FF2B5EF4-FFF2-40B4-BE49-F238E27FC236}">
                  <a16:creationId xmlns:a16="http://schemas.microsoft.com/office/drawing/2014/main" id="{3019A63B-BE16-C016-7CA0-82ECAA03BCE9}"/>
                </a:ext>
              </a:extLst>
            </p:cNvPr>
            <p:cNvSpPr txBox="1"/>
            <p:nvPr/>
          </p:nvSpPr>
          <p:spPr bwMode="gray">
            <a:xfrm>
              <a:off x="936512" y="4182140"/>
              <a:ext cx="2944210" cy="913874"/>
            </a:xfrm>
            <a:prstGeom prst="rect">
              <a:avLst/>
            </a:prstGeom>
            <a:noFill/>
            <a:ln w="19050">
              <a:noFill/>
            </a:ln>
          </p:spPr>
          <p:txBody>
            <a:bodyPr spcFirstLastPara="1" wrap="square" lIns="0" tIns="0" rIns="0" bIns="0" rtlCol="0" anchor="t" anchorCtr="0">
              <a:noAutofit/>
            </a:bodyPr>
            <a:lstStyle/>
            <a:p>
              <a:pPr>
                <a:lnSpc>
                  <a:spcPct val="90000"/>
                </a:lnSpc>
                <a:spcBef>
                  <a:spcPts val="600"/>
                </a:spcBef>
                <a:defRPr/>
              </a:pPr>
              <a:r>
                <a:rPr lang="en-GB" sz="1400" err="1">
                  <a:solidFill>
                    <a:schemeClr val="bg1"/>
                  </a:solidFill>
                </a:rPr>
                <a:t>Ağır</a:t>
              </a:r>
              <a:r>
                <a:rPr lang="en-GB" sz="1400">
                  <a:solidFill>
                    <a:schemeClr val="bg1"/>
                  </a:solidFill>
                </a:rPr>
                <a:t> </a:t>
              </a:r>
              <a:r>
                <a:rPr lang="en-GB" sz="1400" err="1">
                  <a:solidFill>
                    <a:schemeClr val="bg1"/>
                  </a:solidFill>
                </a:rPr>
                <a:t>ve</a:t>
              </a:r>
              <a:r>
                <a:rPr lang="en-GB" sz="1400">
                  <a:solidFill>
                    <a:schemeClr val="bg1"/>
                  </a:solidFill>
                </a:rPr>
                <a:t> </a:t>
              </a:r>
              <a:r>
                <a:rPr lang="en-GB" sz="1400" err="1">
                  <a:solidFill>
                    <a:schemeClr val="bg1"/>
                  </a:solidFill>
                </a:rPr>
                <a:t>kritik</a:t>
              </a:r>
              <a:r>
                <a:rPr lang="en-GB" sz="1400">
                  <a:solidFill>
                    <a:schemeClr val="bg1"/>
                  </a:solidFill>
                </a:rPr>
                <a:t> COVID-19 </a:t>
              </a:r>
              <a:r>
                <a:rPr lang="en-GB" sz="1400" err="1">
                  <a:solidFill>
                    <a:schemeClr val="bg1"/>
                  </a:solidFill>
                </a:rPr>
                <a:t>vakaları</a:t>
              </a:r>
              <a:r>
                <a:rPr lang="en-GB" sz="1400">
                  <a:solidFill>
                    <a:schemeClr val="bg1"/>
                  </a:solidFill>
                </a:rPr>
                <a:t>, </a:t>
              </a:r>
              <a:r>
                <a:rPr lang="en-GB" sz="1400" err="1">
                  <a:solidFill>
                    <a:schemeClr val="bg1"/>
                  </a:solidFill>
                </a:rPr>
                <a:t>kronik</a:t>
              </a:r>
              <a:r>
                <a:rPr lang="en-GB" sz="1400">
                  <a:solidFill>
                    <a:schemeClr val="bg1"/>
                  </a:solidFill>
                </a:rPr>
                <a:t> böbrek</a:t>
              </a:r>
              <a:r>
                <a:rPr lang="en-GB" sz="1400" baseline="30000">
                  <a:solidFill>
                    <a:schemeClr val="bg1"/>
                  </a:solidFill>
                </a:rPr>
                <a:t>3</a:t>
              </a:r>
              <a:r>
                <a:rPr lang="en-GB" sz="1400">
                  <a:solidFill>
                    <a:schemeClr val="bg1"/>
                  </a:solidFill>
                </a:rPr>
                <a:t> </a:t>
              </a:r>
              <a:r>
                <a:rPr lang="en-GB" sz="1400" err="1">
                  <a:solidFill>
                    <a:schemeClr val="bg1"/>
                  </a:solidFill>
                </a:rPr>
                <a:t>ve</a:t>
              </a:r>
              <a:r>
                <a:rPr lang="en-GB" sz="1400">
                  <a:solidFill>
                    <a:schemeClr val="bg1"/>
                  </a:solidFill>
                </a:rPr>
                <a:t> karaciğer</a:t>
              </a:r>
              <a:r>
                <a:rPr lang="en-GB" sz="1400" baseline="30000">
                  <a:solidFill>
                    <a:schemeClr val="bg1"/>
                  </a:solidFill>
                </a:rPr>
                <a:t>4</a:t>
              </a:r>
              <a:r>
                <a:rPr lang="en-GB" sz="1400">
                  <a:solidFill>
                    <a:schemeClr val="bg1"/>
                  </a:solidFill>
                </a:rPr>
                <a:t> </a:t>
              </a:r>
              <a:r>
                <a:rPr lang="en-GB" sz="1400" err="1">
                  <a:solidFill>
                    <a:schemeClr val="bg1"/>
                  </a:solidFill>
                </a:rPr>
                <a:t>hastalıklarının</a:t>
              </a:r>
              <a:r>
                <a:rPr lang="en-GB" sz="1400">
                  <a:solidFill>
                    <a:schemeClr val="bg1"/>
                  </a:solidFill>
                </a:rPr>
                <a:t> </a:t>
              </a:r>
              <a:r>
                <a:rPr lang="en-GB" sz="1400" err="1">
                  <a:solidFill>
                    <a:schemeClr val="bg1"/>
                  </a:solidFill>
                </a:rPr>
                <a:t>kötüleşmesi</a:t>
              </a:r>
              <a:r>
                <a:rPr lang="en-GB" sz="1400">
                  <a:solidFill>
                    <a:schemeClr val="bg1"/>
                  </a:solidFill>
                </a:rPr>
                <a:t> </a:t>
              </a:r>
              <a:r>
                <a:rPr lang="en-GB" sz="1400" err="1">
                  <a:solidFill>
                    <a:schemeClr val="bg1"/>
                  </a:solidFill>
                </a:rPr>
                <a:t>veya</a:t>
              </a:r>
              <a:r>
                <a:rPr lang="en-GB" sz="1400">
                  <a:solidFill>
                    <a:schemeClr val="bg1"/>
                  </a:solidFill>
                </a:rPr>
                <a:t> </a:t>
              </a:r>
              <a:r>
                <a:rPr lang="en-GB" sz="1400" err="1">
                  <a:solidFill>
                    <a:schemeClr val="bg1"/>
                  </a:solidFill>
                </a:rPr>
                <a:t>ilerlemesi</a:t>
              </a:r>
              <a:r>
                <a:rPr lang="en-GB" sz="1400">
                  <a:solidFill>
                    <a:schemeClr val="bg1"/>
                  </a:solidFill>
                </a:rPr>
                <a:t> </a:t>
              </a:r>
              <a:r>
                <a:rPr lang="en-GB" sz="1400" err="1">
                  <a:solidFill>
                    <a:schemeClr val="bg1"/>
                  </a:solidFill>
                </a:rPr>
                <a:t>ile</a:t>
              </a:r>
              <a:r>
                <a:rPr lang="en-GB" sz="1400">
                  <a:solidFill>
                    <a:schemeClr val="bg1"/>
                  </a:solidFill>
                </a:rPr>
                <a:t> </a:t>
              </a:r>
              <a:r>
                <a:rPr lang="en-GB" sz="1400" err="1">
                  <a:solidFill>
                    <a:schemeClr val="bg1"/>
                  </a:solidFill>
                </a:rPr>
                <a:t>ilişkilidir</a:t>
              </a:r>
              <a:r>
                <a:rPr lang="en-GB" sz="1400">
                  <a:solidFill>
                    <a:schemeClr val="bg1"/>
                  </a:solidFill>
                </a:rPr>
                <a:t>.</a:t>
              </a:r>
            </a:p>
          </p:txBody>
        </p:sp>
      </p:grpSp>
      <p:grpSp>
        <p:nvGrpSpPr>
          <p:cNvPr id="115" name="Group 114">
            <a:extLst>
              <a:ext uri="{FF2B5EF4-FFF2-40B4-BE49-F238E27FC236}">
                <a16:creationId xmlns:a16="http://schemas.microsoft.com/office/drawing/2014/main" id="{87192013-BD39-7397-7696-65D7BE2E51C6}"/>
              </a:ext>
            </a:extLst>
          </p:cNvPr>
          <p:cNvGrpSpPr/>
          <p:nvPr/>
        </p:nvGrpSpPr>
        <p:grpSpPr>
          <a:xfrm>
            <a:off x="595195" y="3497187"/>
            <a:ext cx="630449" cy="630449"/>
            <a:chOff x="-484407" y="3925652"/>
            <a:chExt cx="759021" cy="759021"/>
          </a:xfrm>
        </p:grpSpPr>
        <p:sp>
          <p:nvSpPr>
            <p:cNvPr id="116" name="Oval 115">
              <a:extLst>
                <a:ext uri="{FF2B5EF4-FFF2-40B4-BE49-F238E27FC236}">
                  <a16:creationId xmlns:a16="http://schemas.microsoft.com/office/drawing/2014/main" id="{A0805C3D-528F-B0E6-A9DB-2B6726BD6CE8}"/>
                </a:ext>
              </a:extLst>
            </p:cNvPr>
            <p:cNvSpPr/>
            <p:nvPr/>
          </p:nvSpPr>
          <p:spPr>
            <a:xfrm>
              <a:off x="-484407" y="3925652"/>
              <a:ext cx="759021" cy="759021"/>
            </a:xfrm>
            <a:prstGeom prst="ellipse">
              <a:avLst/>
            </a:prstGeom>
            <a:solidFill>
              <a:schemeClr val="bg1"/>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Freeform: Shape 111">
              <a:extLst>
                <a:ext uri="{FF2B5EF4-FFF2-40B4-BE49-F238E27FC236}">
                  <a16:creationId xmlns:a16="http://schemas.microsoft.com/office/drawing/2014/main" id="{3C15B61F-0E76-690E-CBD6-B246AF8B2F9F}"/>
                </a:ext>
              </a:extLst>
            </p:cNvPr>
            <p:cNvSpPr/>
            <p:nvPr/>
          </p:nvSpPr>
          <p:spPr>
            <a:xfrm>
              <a:off x="-351378" y="4053828"/>
              <a:ext cx="487571" cy="507040"/>
            </a:xfrm>
            <a:custGeom>
              <a:avLst/>
              <a:gdLst>
                <a:gd name="connsiteX0" fmla="*/ 223488 w 458148"/>
                <a:gd name="connsiteY0" fmla="*/ 574 h 456788"/>
                <a:gd name="connsiteX1" fmla="*/ 254724 w 458148"/>
                <a:gd name="connsiteY1" fmla="*/ 20907 h 456788"/>
                <a:gd name="connsiteX2" fmla="*/ 248755 w 458148"/>
                <a:gd name="connsiteY2" fmla="*/ 43957 h 456788"/>
                <a:gd name="connsiteX3" fmla="*/ 240246 w 458148"/>
                <a:gd name="connsiteY3" fmla="*/ 69040 h 456788"/>
                <a:gd name="connsiteX4" fmla="*/ 252120 w 458148"/>
                <a:gd name="connsiteY4" fmla="*/ 97488 h 456788"/>
                <a:gd name="connsiteX5" fmla="*/ 274409 w 458148"/>
                <a:gd name="connsiteY5" fmla="*/ 103520 h 456788"/>
                <a:gd name="connsiteX6" fmla="*/ 298983 w 458148"/>
                <a:gd name="connsiteY6" fmla="*/ 84788 h 456788"/>
                <a:gd name="connsiteX7" fmla="*/ 304127 w 458148"/>
                <a:gd name="connsiteY7" fmla="*/ 58816 h 456788"/>
                <a:gd name="connsiteX8" fmla="*/ 307048 w 458148"/>
                <a:gd name="connsiteY8" fmla="*/ 40465 h 456788"/>
                <a:gd name="connsiteX9" fmla="*/ 309651 w 458148"/>
                <a:gd name="connsiteY9" fmla="*/ 36737 h 456788"/>
                <a:gd name="connsiteX10" fmla="*/ 346862 w 458148"/>
                <a:gd name="connsiteY10" fmla="*/ 33416 h 456788"/>
                <a:gd name="connsiteX11" fmla="*/ 355181 w 458148"/>
                <a:gd name="connsiteY11" fmla="*/ 61420 h 456788"/>
                <a:gd name="connsiteX12" fmla="*/ 338798 w 458148"/>
                <a:gd name="connsiteY12" fmla="*/ 78438 h 456788"/>
                <a:gd name="connsiteX13" fmla="*/ 318478 w 458148"/>
                <a:gd name="connsiteY13" fmla="*/ 96027 h 456788"/>
                <a:gd name="connsiteX14" fmla="*/ 314477 w 458148"/>
                <a:gd name="connsiteY14" fmla="*/ 126507 h 456788"/>
                <a:gd name="connsiteX15" fmla="*/ 330987 w 458148"/>
                <a:gd name="connsiteY15" fmla="*/ 143081 h 456788"/>
                <a:gd name="connsiteX16" fmla="*/ 361467 w 458148"/>
                <a:gd name="connsiteY16" fmla="*/ 139080 h 456788"/>
                <a:gd name="connsiteX17" fmla="*/ 378866 w 458148"/>
                <a:gd name="connsiteY17" fmla="*/ 119205 h 456788"/>
                <a:gd name="connsiteX18" fmla="*/ 386118 w 458148"/>
                <a:gd name="connsiteY18" fmla="*/ 107984 h 456788"/>
                <a:gd name="connsiteX19" fmla="*/ 423443 w 458148"/>
                <a:gd name="connsiteY19" fmla="*/ 109635 h 456788"/>
                <a:gd name="connsiteX20" fmla="*/ 421792 w 458148"/>
                <a:gd name="connsiteY20" fmla="*/ 146954 h 456788"/>
                <a:gd name="connsiteX21" fmla="*/ 399123 w 458148"/>
                <a:gd name="connsiteY21" fmla="*/ 153304 h 456788"/>
                <a:gd name="connsiteX22" fmla="*/ 372707 w 458148"/>
                <a:gd name="connsiteY22" fmla="*/ 158384 h 456788"/>
                <a:gd name="connsiteX23" fmla="*/ 354116 w 458148"/>
                <a:gd name="connsiteY23" fmla="*/ 182666 h 456788"/>
                <a:gd name="connsiteX24" fmla="*/ 354038 w 458148"/>
                <a:gd name="connsiteY24" fmla="*/ 182387 h 456788"/>
                <a:gd name="connsiteX25" fmla="*/ 354038 w 458148"/>
                <a:gd name="connsiteY25" fmla="*/ 182768 h 456788"/>
                <a:gd name="connsiteX26" fmla="*/ 354116 w 458148"/>
                <a:gd name="connsiteY26" fmla="*/ 182666 h 456788"/>
                <a:gd name="connsiteX27" fmla="*/ 360388 w 458148"/>
                <a:gd name="connsiteY27" fmla="*/ 205184 h 456788"/>
                <a:gd name="connsiteX28" fmla="*/ 388709 w 458148"/>
                <a:gd name="connsiteY28" fmla="*/ 216995 h 456788"/>
                <a:gd name="connsiteX29" fmla="*/ 413791 w 458148"/>
                <a:gd name="connsiteY29" fmla="*/ 208486 h 456788"/>
                <a:gd name="connsiteX30" fmla="*/ 436905 w 458148"/>
                <a:gd name="connsiteY30" fmla="*/ 202453 h 456788"/>
                <a:gd name="connsiteX31" fmla="*/ 457162 w 458148"/>
                <a:gd name="connsiteY31" fmla="*/ 223599 h 456788"/>
                <a:gd name="connsiteX32" fmla="*/ 449872 w 458148"/>
                <a:gd name="connsiteY32" fmla="*/ 249875 h 456788"/>
                <a:gd name="connsiteX33" fmla="*/ 412712 w 458148"/>
                <a:gd name="connsiteY33" fmla="*/ 248745 h 456788"/>
                <a:gd name="connsiteX34" fmla="*/ 387312 w 458148"/>
                <a:gd name="connsiteY34" fmla="*/ 239982 h 456788"/>
                <a:gd name="connsiteX35" fmla="*/ 358991 w 458148"/>
                <a:gd name="connsiteY35" fmla="*/ 251729 h 456788"/>
                <a:gd name="connsiteX36" fmla="*/ 352958 w 458148"/>
                <a:gd name="connsiteY36" fmla="*/ 274335 h 456788"/>
                <a:gd name="connsiteX37" fmla="*/ 371627 w 458148"/>
                <a:gd name="connsiteY37" fmla="*/ 298719 h 456788"/>
                <a:gd name="connsiteX38" fmla="*/ 397599 w 458148"/>
                <a:gd name="connsiteY38" fmla="*/ 303863 h 456788"/>
                <a:gd name="connsiteX39" fmla="*/ 411855 w 458148"/>
                <a:gd name="connsiteY39" fmla="*/ 304593 h 456788"/>
                <a:gd name="connsiteX40" fmla="*/ 428460 w 458148"/>
                <a:gd name="connsiteY40" fmla="*/ 338057 h 456788"/>
                <a:gd name="connsiteX41" fmla="*/ 394995 w 458148"/>
                <a:gd name="connsiteY41" fmla="*/ 354663 h 456788"/>
                <a:gd name="connsiteX42" fmla="*/ 377977 w 458148"/>
                <a:gd name="connsiteY42" fmla="*/ 338280 h 456788"/>
                <a:gd name="connsiteX43" fmla="*/ 360324 w 458148"/>
                <a:gd name="connsiteY43" fmla="*/ 317960 h 456788"/>
                <a:gd name="connsiteX44" fmla="*/ 330035 w 458148"/>
                <a:gd name="connsiteY44" fmla="*/ 313959 h 456788"/>
                <a:gd name="connsiteX45" fmla="*/ 313398 w 458148"/>
                <a:gd name="connsiteY45" fmla="*/ 330596 h 456788"/>
                <a:gd name="connsiteX46" fmla="*/ 317398 w 458148"/>
                <a:gd name="connsiteY46" fmla="*/ 360822 h 456788"/>
                <a:gd name="connsiteX47" fmla="*/ 337337 w 458148"/>
                <a:gd name="connsiteY47" fmla="*/ 378221 h 456788"/>
                <a:gd name="connsiteX48" fmla="*/ 348132 w 458148"/>
                <a:gd name="connsiteY48" fmla="*/ 385200 h 456788"/>
                <a:gd name="connsiteX49" fmla="*/ 346831 w 458148"/>
                <a:gd name="connsiteY49" fmla="*/ 422443 h 456788"/>
                <a:gd name="connsiteX50" fmla="*/ 309588 w 458148"/>
                <a:gd name="connsiteY50" fmla="*/ 421147 h 456788"/>
                <a:gd name="connsiteX51" fmla="*/ 303238 w 458148"/>
                <a:gd name="connsiteY51" fmla="*/ 398478 h 456788"/>
                <a:gd name="connsiteX52" fmla="*/ 298094 w 458148"/>
                <a:gd name="connsiteY52" fmla="*/ 372062 h 456788"/>
                <a:gd name="connsiteX53" fmla="*/ 273837 w 458148"/>
                <a:gd name="connsiteY53" fmla="*/ 353393 h 456788"/>
                <a:gd name="connsiteX54" fmla="*/ 251231 w 458148"/>
                <a:gd name="connsiteY54" fmla="*/ 359743 h 456788"/>
                <a:gd name="connsiteX55" fmla="*/ 239547 w 458148"/>
                <a:gd name="connsiteY55" fmla="*/ 388000 h 456788"/>
                <a:gd name="connsiteX56" fmla="*/ 248056 w 458148"/>
                <a:gd name="connsiteY56" fmla="*/ 413019 h 456788"/>
                <a:gd name="connsiteX57" fmla="*/ 254235 w 458148"/>
                <a:gd name="connsiteY57" fmla="*/ 434971 h 456788"/>
                <a:gd name="connsiteX58" fmla="*/ 223736 w 458148"/>
                <a:gd name="connsiteY58" fmla="*/ 456390 h 456788"/>
                <a:gd name="connsiteX59" fmla="*/ 202527 w 458148"/>
                <a:gd name="connsiteY59" fmla="*/ 436324 h 456788"/>
                <a:gd name="connsiteX60" fmla="*/ 208242 w 458148"/>
                <a:gd name="connsiteY60" fmla="*/ 413400 h 456788"/>
                <a:gd name="connsiteX61" fmla="*/ 217005 w 458148"/>
                <a:gd name="connsiteY61" fmla="*/ 388000 h 456788"/>
                <a:gd name="connsiteX62" fmla="*/ 205321 w 458148"/>
                <a:gd name="connsiteY62" fmla="*/ 359679 h 456788"/>
                <a:gd name="connsiteX63" fmla="*/ 182905 w 458148"/>
                <a:gd name="connsiteY63" fmla="*/ 353647 h 456788"/>
                <a:gd name="connsiteX64" fmla="*/ 158585 w 458148"/>
                <a:gd name="connsiteY64" fmla="*/ 372316 h 456788"/>
                <a:gd name="connsiteX65" fmla="*/ 153441 w 458148"/>
                <a:gd name="connsiteY65" fmla="*/ 398732 h 456788"/>
                <a:gd name="connsiteX66" fmla="*/ 150393 w 458148"/>
                <a:gd name="connsiteY66" fmla="*/ 416575 h 456788"/>
                <a:gd name="connsiteX67" fmla="*/ 136017 w 458148"/>
                <a:gd name="connsiteY67" fmla="*/ 428386 h 456788"/>
                <a:gd name="connsiteX68" fmla="*/ 102597 w 458148"/>
                <a:gd name="connsiteY68" fmla="*/ 411895 h 456788"/>
                <a:gd name="connsiteX69" fmla="*/ 119088 w 458148"/>
                <a:gd name="connsiteY69" fmla="*/ 378475 h 456788"/>
                <a:gd name="connsiteX70" fmla="*/ 139027 w 458148"/>
                <a:gd name="connsiteY70" fmla="*/ 361076 h 456788"/>
                <a:gd name="connsiteX71" fmla="*/ 143027 w 458148"/>
                <a:gd name="connsiteY71" fmla="*/ 330850 h 456788"/>
                <a:gd name="connsiteX72" fmla="*/ 126390 w 458148"/>
                <a:gd name="connsiteY72" fmla="*/ 314213 h 456788"/>
                <a:gd name="connsiteX73" fmla="*/ 96101 w 458148"/>
                <a:gd name="connsiteY73" fmla="*/ 318214 h 456788"/>
                <a:gd name="connsiteX74" fmla="*/ 78448 w 458148"/>
                <a:gd name="connsiteY74" fmla="*/ 338534 h 456788"/>
                <a:gd name="connsiteX75" fmla="*/ 66954 w 458148"/>
                <a:gd name="connsiteY75" fmla="*/ 352504 h 456788"/>
                <a:gd name="connsiteX76" fmla="*/ 48584 w 458148"/>
                <a:gd name="connsiteY76" fmla="*/ 355552 h 456788"/>
                <a:gd name="connsiteX77" fmla="*/ 27889 w 458148"/>
                <a:gd name="connsiteY77" fmla="*/ 324551 h 456788"/>
                <a:gd name="connsiteX78" fmla="*/ 58890 w 458148"/>
                <a:gd name="connsiteY78" fmla="*/ 303863 h 456788"/>
                <a:gd name="connsiteX79" fmla="*/ 84861 w 458148"/>
                <a:gd name="connsiteY79" fmla="*/ 298719 h 456788"/>
                <a:gd name="connsiteX80" fmla="*/ 103467 w 458148"/>
                <a:gd name="connsiteY80" fmla="*/ 274335 h 456788"/>
                <a:gd name="connsiteX81" fmla="*/ 97117 w 458148"/>
                <a:gd name="connsiteY81" fmla="*/ 251729 h 456788"/>
                <a:gd name="connsiteX82" fmla="*/ 68796 w 458148"/>
                <a:gd name="connsiteY82" fmla="*/ 239982 h 456788"/>
                <a:gd name="connsiteX83" fmla="*/ 43396 w 458148"/>
                <a:gd name="connsiteY83" fmla="*/ 248745 h 456788"/>
                <a:gd name="connsiteX84" fmla="*/ 26441 w 458148"/>
                <a:gd name="connsiteY84" fmla="*/ 255095 h 456788"/>
                <a:gd name="connsiteX85" fmla="*/ 641 w 458148"/>
                <a:gd name="connsiteY85" fmla="*/ 234438 h 456788"/>
                <a:gd name="connsiteX86" fmla="*/ 20663 w 458148"/>
                <a:gd name="connsiteY86" fmla="*/ 202898 h 456788"/>
                <a:gd name="connsiteX87" fmla="*/ 43777 w 458148"/>
                <a:gd name="connsiteY87" fmla="*/ 208930 h 456788"/>
                <a:gd name="connsiteX88" fmla="*/ 69177 w 458148"/>
                <a:gd name="connsiteY88" fmla="*/ 217439 h 456788"/>
                <a:gd name="connsiteX89" fmla="*/ 97561 w 458148"/>
                <a:gd name="connsiteY89" fmla="*/ 205628 h 456788"/>
                <a:gd name="connsiteX90" fmla="*/ 103833 w 458148"/>
                <a:gd name="connsiteY90" fmla="*/ 183111 h 456788"/>
                <a:gd name="connsiteX91" fmla="*/ 103911 w 458148"/>
                <a:gd name="connsiteY91" fmla="*/ 183213 h 456788"/>
                <a:gd name="connsiteX92" fmla="*/ 103911 w 458148"/>
                <a:gd name="connsiteY92" fmla="*/ 182832 h 456788"/>
                <a:gd name="connsiteX93" fmla="*/ 103833 w 458148"/>
                <a:gd name="connsiteY93" fmla="*/ 183111 h 456788"/>
                <a:gd name="connsiteX94" fmla="*/ 85242 w 458148"/>
                <a:gd name="connsiteY94" fmla="*/ 158829 h 456788"/>
                <a:gd name="connsiteX95" fmla="*/ 58890 w 458148"/>
                <a:gd name="connsiteY95" fmla="*/ 153749 h 456788"/>
                <a:gd name="connsiteX96" fmla="*/ 41046 w 458148"/>
                <a:gd name="connsiteY96" fmla="*/ 150764 h 456788"/>
                <a:gd name="connsiteX97" fmla="*/ 29096 w 458148"/>
                <a:gd name="connsiteY97" fmla="*/ 120145 h 456788"/>
                <a:gd name="connsiteX98" fmla="*/ 62128 w 458148"/>
                <a:gd name="connsiteY98" fmla="*/ 102695 h 456788"/>
                <a:gd name="connsiteX99" fmla="*/ 79146 w 458148"/>
                <a:gd name="connsiteY99" fmla="*/ 119459 h 456788"/>
                <a:gd name="connsiteX100" fmla="*/ 96609 w 458148"/>
                <a:gd name="connsiteY100" fmla="*/ 139334 h 456788"/>
                <a:gd name="connsiteX101" fmla="*/ 127025 w 458148"/>
                <a:gd name="connsiteY101" fmla="*/ 143335 h 456788"/>
                <a:gd name="connsiteX102" fmla="*/ 143599 w 458148"/>
                <a:gd name="connsiteY102" fmla="*/ 126761 h 456788"/>
                <a:gd name="connsiteX103" fmla="*/ 139598 w 458148"/>
                <a:gd name="connsiteY103" fmla="*/ 96281 h 456788"/>
                <a:gd name="connsiteX104" fmla="*/ 119278 w 458148"/>
                <a:gd name="connsiteY104" fmla="*/ 78692 h 456788"/>
                <a:gd name="connsiteX105" fmla="*/ 108737 w 458148"/>
                <a:gd name="connsiteY105" fmla="*/ 71681 h 456788"/>
                <a:gd name="connsiteX106" fmla="*/ 110369 w 458148"/>
                <a:gd name="connsiteY106" fmla="*/ 34451 h 456788"/>
                <a:gd name="connsiteX107" fmla="*/ 147599 w 458148"/>
                <a:gd name="connsiteY107" fmla="*/ 36083 h 456788"/>
                <a:gd name="connsiteX108" fmla="*/ 153949 w 458148"/>
                <a:gd name="connsiteY108" fmla="*/ 59070 h 456788"/>
                <a:gd name="connsiteX109" fmla="*/ 159156 w 458148"/>
                <a:gd name="connsiteY109" fmla="*/ 85042 h 456788"/>
                <a:gd name="connsiteX110" fmla="*/ 183667 w 458148"/>
                <a:gd name="connsiteY110" fmla="*/ 103774 h 456788"/>
                <a:gd name="connsiteX111" fmla="*/ 206718 w 458148"/>
                <a:gd name="connsiteY111" fmla="*/ 97424 h 456788"/>
                <a:gd name="connsiteX112" fmla="*/ 205956 w 458148"/>
                <a:gd name="connsiteY112" fmla="*/ 97424 h 456788"/>
                <a:gd name="connsiteX113" fmla="*/ 217703 w 458148"/>
                <a:gd name="connsiteY113" fmla="*/ 69040 h 456788"/>
                <a:gd name="connsiteX114" fmla="*/ 208940 w 458148"/>
                <a:gd name="connsiteY114" fmla="*/ 43640 h 456788"/>
                <a:gd name="connsiteX115" fmla="*/ 202590 w 458148"/>
                <a:gd name="connsiteY115" fmla="*/ 26622 h 456788"/>
                <a:gd name="connsiteX116" fmla="*/ 223488 w 458148"/>
                <a:gd name="connsiteY116" fmla="*/ 574 h 456788"/>
                <a:gd name="connsiteX117" fmla="*/ 229387 w 458148"/>
                <a:gd name="connsiteY117" fmla="*/ 124030 h 456788"/>
                <a:gd name="connsiteX118" fmla="*/ 206146 w 458148"/>
                <a:gd name="connsiteY118" fmla="*/ 147144 h 456788"/>
                <a:gd name="connsiteX119" fmla="*/ 206146 w 458148"/>
                <a:gd name="connsiteY119" fmla="*/ 147208 h 456788"/>
                <a:gd name="connsiteX120" fmla="*/ 229197 w 458148"/>
                <a:gd name="connsiteY120" fmla="*/ 170385 h 456788"/>
                <a:gd name="connsiteX121" fmla="*/ 229260 w 458148"/>
                <a:gd name="connsiteY121" fmla="*/ 170385 h 456788"/>
                <a:gd name="connsiteX122" fmla="*/ 252501 w 458148"/>
                <a:gd name="connsiteY122" fmla="*/ 147271 h 456788"/>
                <a:gd name="connsiteX123" fmla="*/ 229387 w 458148"/>
                <a:gd name="connsiteY123" fmla="*/ 124030 h 456788"/>
                <a:gd name="connsiteX124" fmla="*/ 305262 w 458148"/>
                <a:gd name="connsiteY124" fmla="*/ 165197 h 456788"/>
                <a:gd name="connsiteX125" fmla="*/ 287667 w 458148"/>
                <a:gd name="connsiteY125" fmla="*/ 167464 h 456788"/>
                <a:gd name="connsiteX126" fmla="*/ 287553 w 458148"/>
                <a:gd name="connsiteY126" fmla="*/ 167528 h 456788"/>
                <a:gd name="connsiteX127" fmla="*/ 279266 w 458148"/>
                <a:gd name="connsiteY127" fmla="*/ 199151 h 456788"/>
                <a:gd name="connsiteX128" fmla="*/ 310889 w 458148"/>
                <a:gd name="connsiteY128" fmla="*/ 207431 h 456788"/>
                <a:gd name="connsiteX129" fmla="*/ 319303 w 458148"/>
                <a:gd name="connsiteY129" fmla="*/ 176037 h 456788"/>
                <a:gd name="connsiteX130" fmla="*/ 305262 w 458148"/>
                <a:gd name="connsiteY130" fmla="*/ 165197 h 456788"/>
                <a:gd name="connsiteX131" fmla="*/ 153422 w 458148"/>
                <a:gd name="connsiteY131" fmla="*/ 165277 h 456788"/>
                <a:gd name="connsiteX132" fmla="*/ 139420 w 458148"/>
                <a:gd name="connsiteY132" fmla="*/ 176094 h 456788"/>
                <a:gd name="connsiteX133" fmla="*/ 147986 w 458148"/>
                <a:gd name="connsiteY133" fmla="*/ 207641 h 456788"/>
                <a:gd name="connsiteX134" fmla="*/ 179412 w 458148"/>
                <a:gd name="connsiteY134" fmla="*/ 199278 h 456788"/>
                <a:gd name="connsiteX135" fmla="*/ 171062 w 458148"/>
                <a:gd name="connsiteY135" fmla="*/ 167585 h 456788"/>
                <a:gd name="connsiteX136" fmla="*/ 170967 w 458148"/>
                <a:gd name="connsiteY136" fmla="*/ 167528 h 456788"/>
                <a:gd name="connsiteX137" fmla="*/ 153422 w 458148"/>
                <a:gd name="connsiteY137" fmla="*/ 165277 h 456788"/>
                <a:gd name="connsiteX138" fmla="*/ 229260 w 458148"/>
                <a:gd name="connsiteY138" fmla="*/ 198199 h 456788"/>
                <a:gd name="connsiteX139" fmla="*/ 200050 w 458148"/>
                <a:gd name="connsiteY139" fmla="*/ 227409 h 456788"/>
                <a:gd name="connsiteX140" fmla="*/ 229260 w 458148"/>
                <a:gd name="connsiteY140" fmla="*/ 256619 h 456788"/>
                <a:gd name="connsiteX141" fmla="*/ 258470 w 458148"/>
                <a:gd name="connsiteY141" fmla="*/ 227409 h 456788"/>
                <a:gd name="connsiteX142" fmla="*/ 229260 w 458148"/>
                <a:gd name="connsiteY142" fmla="*/ 198199 h 456788"/>
                <a:gd name="connsiteX143" fmla="*/ 293115 w 458148"/>
                <a:gd name="connsiteY143" fmla="*/ 246027 h 456788"/>
                <a:gd name="connsiteX144" fmla="*/ 279139 w 458148"/>
                <a:gd name="connsiteY144" fmla="*/ 256873 h 456788"/>
                <a:gd name="connsiteX145" fmla="*/ 287782 w 458148"/>
                <a:gd name="connsiteY145" fmla="*/ 288400 h 456788"/>
                <a:gd name="connsiteX146" fmla="*/ 319176 w 458148"/>
                <a:gd name="connsiteY146" fmla="*/ 279987 h 456788"/>
                <a:gd name="connsiteX147" fmla="*/ 311004 w 458148"/>
                <a:gd name="connsiteY147" fmla="*/ 248427 h 456788"/>
                <a:gd name="connsiteX148" fmla="*/ 310667 w 458148"/>
                <a:gd name="connsiteY148" fmla="*/ 248237 h 456788"/>
                <a:gd name="connsiteX149" fmla="*/ 293115 w 458148"/>
                <a:gd name="connsiteY149" fmla="*/ 246027 h 456788"/>
                <a:gd name="connsiteX150" fmla="*/ 165604 w 458148"/>
                <a:gd name="connsiteY150" fmla="*/ 245867 h 456788"/>
                <a:gd name="connsiteX151" fmla="*/ 148057 w 458148"/>
                <a:gd name="connsiteY151" fmla="*/ 248116 h 456788"/>
                <a:gd name="connsiteX152" fmla="*/ 147854 w 458148"/>
                <a:gd name="connsiteY152" fmla="*/ 248236 h 456788"/>
                <a:gd name="connsiteX153" fmla="*/ 139611 w 458148"/>
                <a:gd name="connsiteY153" fmla="*/ 279866 h 456788"/>
                <a:gd name="connsiteX154" fmla="*/ 171241 w 458148"/>
                <a:gd name="connsiteY154" fmla="*/ 288108 h 456788"/>
                <a:gd name="connsiteX155" fmla="*/ 179604 w 458148"/>
                <a:gd name="connsiteY155" fmla="*/ 256682 h 456788"/>
                <a:gd name="connsiteX156" fmla="*/ 165604 w 458148"/>
                <a:gd name="connsiteY156" fmla="*/ 245867 h 456788"/>
                <a:gd name="connsiteX157" fmla="*/ 229260 w 458148"/>
                <a:gd name="connsiteY157" fmla="*/ 285447 h 456788"/>
                <a:gd name="connsiteX158" fmla="*/ 206019 w 458148"/>
                <a:gd name="connsiteY158" fmla="*/ 308561 h 456788"/>
                <a:gd name="connsiteX159" fmla="*/ 229133 w 458148"/>
                <a:gd name="connsiteY159" fmla="*/ 331802 h 456788"/>
                <a:gd name="connsiteX160" fmla="*/ 252374 w 458148"/>
                <a:gd name="connsiteY160" fmla="*/ 308688 h 456788"/>
                <a:gd name="connsiteX161" fmla="*/ 252374 w 458148"/>
                <a:gd name="connsiteY161" fmla="*/ 308561 h 456788"/>
                <a:gd name="connsiteX162" fmla="*/ 229260 w 458148"/>
                <a:gd name="connsiteY162" fmla="*/ 285447 h 456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458148" h="456788">
                  <a:moveTo>
                    <a:pt x="223488" y="574"/>
                  </a:moveTo>
                  <a:cubicBezTo>
                    <a:pt x="237731" y="-2436"/>
                    <a:pt x="251714" y="6670"/>
                    <a:pt x="254724" y="20907"/>
                  </a:cubicBezTo>
                  <a:cubicBezTo>
                    <a:pt x="256578" y="29105"/>
                    <a:pt x="254355" y="37690"/>
                    <a:pt x="248755" y="43957"/>
                  </a:cubicBezTo>
                  <a:cubicBezTo>
                    <a:pt x="243072" y="51069"/>
                    <a:pt x="240062" y="59940"/>
                    <a:pt x="240246" y="69040"/>
                  </a:cubicBezTo>
                  <a:cubicBezTo>
                    <a:pt x="239852" y="79803"/>
                    <a:pt x="244195" y="90198"/>
                    <a:pt x="252120" y="97488"/>
                  </a:cubicBezTo>
                  <a:cubicBezTo>
                    <a:pt x="259715" y="98840"/>
                    <a:pt x="267170" y="100860"/>
                    <a:pt x="274409" y="103520"/>
                  </a:cubicBezTo>
                  <a:cubicBezTo>
                    <a:pt x="284937" y="101152"/>
                    <a:pt x="293910" y="94313"/>
                    <a:pt x="298983" y="84788"/>
                  </a:cubicBezTo>
                  <a:cubicBezTo>
                    <a:pt x="303689" y="77003"/>
                    <a:pt x="305511" y="67808"/>
                    <a:pt x="304127" y="58816"/>
                  </a:cubicBezTo>
                  <a:cubicBezTo>
                    <a:pt x="302819" y="52549"/>
                    <a:pt x="303854" y="46015"/>
                    <a:pt x="307048" y="40465"/>
                  </a:cubicBezTo>
                  <a:cubicBezTo>
                    <a:pt x="307810" y="39150"/>
                    <a:pt x="308680" y="37906"/>
                    <a:pt x="309651" y="36737"/>
                  </a:cubicBezTo>
                  <a:cubicBezTo>
                    <a:pt x="319011" y="25549"/>
                    <a:pt x="335667" y="24056"/>
                    <a:pt x="346862" y="33416"/>
                  </a:cubicBezTo>
                  <a:cubicBezTo>
                    <a:pt x="354939" y="40274"/>
                    <a:pt x="358203" y="51260"/>
                    <a:pt x="355181" y="61420"/>
                  </a:cubicBezTo>
                  <a:cubicBezTo>
                    <a:pt x="352730" y="69370"/>
                    <a:pt x="346646" y="75688"/>
                    <a:pt x="338798" y="78438"/>
                  </a:cubicBezTo>
                  <a:cubicBezTo>
                    <a:pt x="330130" y="81664"/>
                    <a:pt x="322910" y="87912"/>
                    <a:pt x="318478" y="96027"/>
                  </a:cubicBezTo>
                  <a:cubicBezTo>
                    <a:pt x="312807" y="105133"/>
                    <a:pt x="311347" y="116246"/>
                    <a:pt x="314477" y="126507"/>
                  </a:cubicBezTo>
                  <a:cubicBezTo>
                    <a:pt x="320465" y="131530"/>
                    <a:pt x="325990" y="137074"/>
                    <a:pt x="330987" y="143081"/>
                  </a:cubicBezTo>
                  <a:cubicBezTo>
                    <a:pt x="341243" y="146243"/>
                    <a:pt x="352374" y="144783"/>
                    <a:pt x="361467" y="139080"/>
                  </a:cubicBezTo>
                  <a:cubicBezTo>
                    <a:pt x="369411" y="134692"/>
                    <a:pt x="375571" y="127663"/>
                    <a:pt x="378866" y="119205"/>
                  </a:cubicBezTo>
                  <a:cubicBezTo>
                    <a:pt x="380282" y="114906"/>
                    <a:pt x="382778" y="111039"/>
                    <a:pt x="386118" y="107984"/>
                  </a:cubicBezTo>
                  <a:cubicBezTo>
                    <a:pt x="396881" y="98135"/>
                    <a:pt x="413594" y="98872"/>
                    <a:pt x="423443" y="109635"/>
                  </a:cubicBezTo>
                  <a:cubicBezTo>
                    <a:pt x="433292" y="120392"/>
                    <a:pt x="432556" y="137105"/>
                    <a:pt x="421792" y="146954"/>
                  </a:cubicBezTo>
                  <a:cubicBezTo>
                    <a:pt x="415684" y="152568"/>
                    <a:pt x="407257" y="154930"/>
                    <a:pt x="399123" y="153304"/>
                  </a:cubicBezTo>
                  <a:cubicBezTo>
                    <a:pt x="389992" y="151793"/>
                    <a:pt x="380625" y="153596"/>
                    <a:pt x="372707" y="158384"/>
                  </a:cubicBezTo>
                  <a:lnTo>
                    <a:pt x="354116" y="182666"/>
                  </a:lnTo>
                  <a:lnTo>
                    <a:pt x="354038" y="182387"/>
                  </a:lnTo>
                  <a:lnTo>
                    <a:pt x="354038" y="182768"/>
                  </a:lnTo>
                  <a:lnTo>
                    <a:pt x="354116" y="182666"/>
                  </a:lnTo>
                  <a:lnTo>
                    <a:pt x="360388" y="205184"/>
                  </a:lnTo>
                  <a:cubicBezTo>
                    <a:pt x="367659" y="213051"/>
                    <a:pt x="378003" y="217363"/>
                    <a:pt x="388709" y="216995"/>
                  </a:cubicBezTo>
                  <a:cubicBezTo>
                    <a:pt x="397808" y="217192"/>
                    <a:pt x="406686" y="214175"/>
                    <a:pt x="413791" y="208486"/>
                  </a:cubicBezTo>
                  <a:cubicBezTo>
                    <a:pt x="420059" y="202840"/>
                    <a:pt x="428676" y="200593"/>
                    <a:pt x="436905" y="202453"/>
                  </a:cubicBezTo>
                  <a:cubicBezTo>
                    <a:pt x="447268" y="204835"/>
                    <a:pt x="455231" y="213140"/>
                    <a:pt x="457162" y="223599"/>
                  </a:cubicBezTo>
                  <a:cubicBezTo>
                    <a:pt x="459822" y="233035"/>
                    <a:pt x="457009" y="243163"/>
                    <a:pt x="449872" y="249875"/>
                  </a:cubicBezTo>
                  <a:cubicBezTo>
                    <a:pt x="439299" y="259825"/>
                    <a:pt x="422662" y="259317"/>
                    <a:pt x="412712" y="248745"/>
                  </a:cubicBezTo>
                  <a:cubicBezTo>
                    <a:pt x="405568" y="242877"/>
                    <a:pt x="396557" y="239766"/>
                    <a:pt x="387312" y="239982"/>
                  </a:cubicBezTo>
                  <a:cubicBezTo>
                    <a:pt x="376618" y="239620"/>
                    <a:pt x="366287" y="243906"/>
                    <a:pt x="358991" y="251729"/>
                  </a:cubicBezTo>
                  <a:cubicBezTo>
                    <a:pt x="357676" y="259432"/>
                    <a:pt x="355657" y="267001"/>
                    <a:pt x="352958" y="274335"/>
                  </a:cubicBezTo>
                  <a:cubicBezTo>
                    <a:pt x="355308" y="284806"/>
                    <a:pt x="362134" y="293715"/>
                    <a:pt x="371627" y="298719"/>
                  </a:cubicBezTo>
                  <a:cubicBezTo>
                    <a:pt x="379406" y="303444"/>
                    <a:pt x="388607" y="305266"/>
                    <a:pt x="397599" y="303863"/>
                  </a:cubicBezTo>
                  <a:cubicBezTo>
                    <a:pt x="402330" y="302796"/>
                    <a:pt x="407264" y="303043"/>
                    <a:pt x="411855" y="304593"/>
                  </a:cubicBezTo>
                  <a:cubicBezTo>
                    <a:pt x="425685" y="309248"/>
                    <a:pt x="433114" y="324233"/>
                    <a:pt x="428460" y="338057"/>
                  </a:cubicBezTo>
                  <a:cubicBezTo>
                    <a:pt x="423805" y="351881"/>
                    <a:pt x="408819" y="359317"/>
                    <a:pt x="394995" y="354663"/>
                  </a:cubicBezTo>
                  <a:cubicBezTo>
                    <a:pt x="387032" y="352231"/>
                    <a:pt x="380714" y="346141"/>
                    <a:pt x="377977" y="338280"/>
                  </a:cubicBezTo>
                  <a:cubicBezTo>
                    <a:pt x="374707" y="329618"/>
                    <a:pt x="368446" y="322411"/>
                    <a:pt x="360324" y="317960"/>
                  </a:cubicBezTo>
                  <a:cubicBezTo>
                    <a:pt x="351282" y="312315"/>
                    <a:pt x="340233" y="310854"/>
                    <a:pt x="330035" y="313959"/>
                  </a:cubicBezTo>
                  <a:cubicBezTo>
                    <a:pt x="324974" y="319973"/>
                    <a:pt x="319411" y="325535"/>
                    <a:pt x="313398" y="330596"/>
                  </a:cubicBezTo>
                  <a:cubicBezTo>
                    <a:pt x="310331" y="340782"/>
                    <a:pt x="311785" y="351792"/>
                    <a:pt x="317398" y="360822"/>
                  </a:cubicBezTo>
                  <a:cubicBezTo>
                    <a:pt x="321805" y="368779"/>
                    <a:pt x="328860" y="374932"/>
                    <a:pt x="337337" y="378221"/>
                  </a:cubicBezTo>
                  <a:cubicBezTo>
                    <a:pt x="341452" y="379618"/>
                    <a:pt x="345161" y="382019"/>
                    <a:pt x="348132" y="385200"/>
                  </a:cubicBezTo>
                  <a:cubicBezTo>
                    <a:pt x="358057" y="395842"/>
                    <a:pt x="357473" y="412518"/>
                    <a:pt x="346831" y="422443"/>
                  </a:cubicBezTo>
                  <a:cubicBezTo>
                    <a:pt x="336188" y="432368"/>
                    <a:pt x="319513" y="431790"/>
                    <a:pt x="309588" y="421147"/>
                  </a:cubicBezTo>
                  <a:cubicBezTo>
                    <a:pt x="303974" y="415039"/>
                    <a:pt x="301612" y="406612"/>
                    <a:pt x="303238" y="398478"/>
                  </a:cubicBezTo>
                  <a:cubicBezTo>
                    <a:pt x="304755" y="389340"/>
                    <a:pt x="302927" y="379961"/>
                    <a:pt x="298094" y="372062"/>
                  </a:cubicBezTo>
                  <a:cubicBezTo>
                    <a:pt x="293084" y="362626"/>
                    <a:pt x="284239" y="355818"/>
                    <a:pt x="273837" y="353393"/>
                  </a:cubicBezTo>
                  <a:cubicBezTo>
                    <a:pt x="266503" y="356161"/>
                    <a:pt x="258940" y="358289"/>
                    <a:pt x="251231" y="359743"/>
                  </a:cubicBezTo>
                  <a:cubicBezTo>
                    <a:pt x="243440" y="367033"/>
                    <a:pt x="239179" y="377339"/>
                    <a:pt x="239547" y="388000"/>
                  </a:cubicBezTo>
                  <a:cubicBezTo>
                    <a:pt x="239363" y="397081"/>
                    <a:pt x="242373" y="405933"/>
                    <a:pt x="248056" y="413019"/>
                  </a:cubicBezTo>
                  <a:cubicBezTo>
                    <a:pt x="253339" y="419020"/>
                    <a:pt x="255613" y="427097"/>
                    <a:pt x="254235" y="434971"/>
                  </a:cubicBezTo>
                  <a:cubicBezTo>
                    <a:pt x="251727" y="449310"/>
                    <a:pt x="238074" y="458898"/>
                    <a:pt x="223736" y="456390"/>
                  </a:cubicBezTo>
                  <a:cubicBezTo>
                    <a:pt x="213309" y="454510"/>
                    <a:pt x="204984" y="446630"/>
                    <a:pt x="202527" y="436324"/>
                  </a:cubicBezTo>
                  <a:cubicBezTo>
                    <a:pt x="200666" y="428208"/>
                    <a:pt x="202787" y="419693"/>
                    <a:pt x="208242" y="413400"/>
                  </a:cubicBezTo>
                  <a:cubicBezTo>
                    <a:pt x="214090" y="406244"/>
                    <a:pt x="217195" y="397239"/>
                    <a:pt x="217005" y="388000"/>
                  </a:cubicBezTo>
                  <a:cubicBezTo>
                    <a:pt x="217360" y="377320"/>
                    <a:pt x="213100" y="367001"/>
                    <a:pt x="205321" y="359679"/>
                  </a:cubicBezTo>
                  <a:cubicBezTo>
                    <a:pt x="197675" y="358365"/>
                    <a:pt x="190176" y="356345"/>
                    <a:pt x="182905" y="353647"/>
                  </a:cubicBezTo>
                  <a:cubicBezTo>
                    <a:pt x="172472" y="356047"/>
                    <a:pt x="163601" y="362861"/>
                    <a:pt x="158585" y="372316"/>
                  </a:cubicBezTo>
                  <a:cubicBezTo>
                    <a:pt x="153778" y="380228"/>
                    <a:pt x="151955" y="389594"/>
                    <a:pt x="153441" y="398732"/>
                  </a:cubicBezTo>
                  <a:cubicBezTo>
                    <a:pt x="154622" y="404853"/>
                    <a:pt x="153536" y="411190"/>
                    <a:pt x="150393" y="416575"/>
                  </a:cubicBezTo>
                  <a:cubicBezTo>
                    <a:pt x="147199" y="422132"/>
                    <a:pt x="142087" y="426329"/>
                    <a:pt x="136017" y="428386"/>
                  </a:cubicBezTo>
                  <a:cubicBezTo>
                    <a:pt x="122237" y="433060"/>
                    <a:pt x="107270" y="425681"/>
                    <a:pt x="102597" y="411895"/>
                  </a:cubicBezTo>
                  <a:cubicBezTo>
                    <a:pt x="97923" y="398116"/>
                    <a:pt x="105302" y="383149"/>
                    <a:pt x="119088" y="378475"/>
                  </a:cubicBezTo>
                  <a:cubicBezTo>
                    <a:pt x="127565" y="375186"/>
                    <a:pt x="134620" y="369033"/>
                    <a:pt x="139027" y="361076"/>
                  </a:cubicBezTo>
                  <a:cubicBezTo>
                    <a:pt x="144672" y="352053"/>
                    <a:pt x="146132" y="341029"/>
                    <a:pt x="143027" y="330850"/>
                  </a:cubicBezTo>
                  <a:cubicBezTo>
                    <a:pt x="137033" y="325777"/>
                    <a:pt x="131464" y="320208"/>
                    <a:pt x="126390" y="314213"/>
                  </a:cubicBezTo>
                  <a:cubicBezTo>
                    <a:pt x="116192" y="311115"/>
                    <a:pt x="105150" y="312575"/>
                    <a:pt x="96101" y="318214"/>
                  </a:cubicBezTo>
                  <a:cubicBezTo>
                    <a:pt x="87992" y="322684"/>
                    <a:pt x="81737" y="329885"/>
                    <a:pt x="78448" y="338534"/>
                  </a:cubicBezTo>
                  <a:cubicBezTo>
                    <a:pt x="76429" y="344427"/>
                    <a:pt x="72345" y="349386"/>
                    <a:pt x="66954" y="352504"/>
                  </a:cubicBezTo>
                  <a:cubicBezTo>
                    <a:pt x="61404" y="355723"/>
                    <a:pt x="54870" y="356803"/>
                    <a:pt x="48584" y="355552"/>
                  </a:cubicBezTo>
                  <a:cubicBezTo>
                    <a:pt x="34309" y="352701"/>
                    <a:pt x="25044" y="338826"/>
                    <a:pt x="27889" y="324551"/>
                  </a:cubicBezTo>
                  <a:cubicBezTo>
                    <a:pt x="30740" y="310276"/>
                    <a:pt x="44615" y="301018"/>
                    <a:pt x="58890" y="303863"/>
                  </a:cubicBezTo>
                  <a:cubicBezTo>
                    <a:pt x="67881" y="305247"/>
                    <a:pt x="77076" y="303425"/>
                    <a:pt x="84861" y="298719"/>
                  </a:cubicBezTo>
                  <a:cubicBezTo>
                    <a:pt x="94323" y="293696"/>
                    <a:pt x="101124" y="284787"/>
                    <a:pt x="103467" y="274335"/>
                  </a:cubicBezTo>
                  <a:cubicBezTo>
                    <a:pt x="100717" y="266995"/>
                    <a:pt x="98590" y="259432"/>
                    <a:pt x="97117" y="251729"/>
                  </a:cubicBezTo>
                  <a:cubicBezTo>
                    <a:pt x="89827" y="243893"/>
                    <a:pt x="79496" y="239601"/>
                    <a:pt x="68796" y="239982"/>
                  </a:cubicBezTo>
                  <a:cubicBezTo>
                    <a:pt x="59557" y="239772"/>
                    <a:pt x="50546" y="242884"/>
                    <a:pt x="43396" y="248745"/>
                  </a:cubicBezTo>
                  <a:cubicBezTo>
                    <a:pt x="38684" y="252815"/>
                    <a:pt x="32671" y="255069"/>
                    <a:pt x="26441" y="255095"/>
                  </a:cubicBezTo>
                  <a:cubicBezTo>
                    <a:pt x="14065" y="255107"/>
                    <a:pt x="3340" y="246516"/>
                    <a:pt x="641" y="234438"/>
                  </a:cubicBezTo>
                  <a:cubicBezTo>
                    <a:pt x="-2540" y="220195"/>
                    <a:pt x="6426" y="206079"/>
                    <a:pt x="20663" y="202898"/>
                  </a:cubicBezTo>
                  <a:cubicBezTo>
                    <a:pt x="28892" y="201037"/>
                    <a:pt x="37509" y="203285"/>
                    <a:pt x="43777" y="208930"/>
                  </a:cubicBezTo>
                  <a:cubicBezTo>
                    <a:pt x="50965" y="214690"/>
                    <a:pt x="59969" y="217706"/>
                    <a:pt x="69177" y="217439"/>
                  </a:cubicBezTo>
                  <a:cubicBezTo>
                    <a:pt x="79902" y="217795"/>
                    <a:pt x="90252" y="213489"/>
                    <a:pt x="97561" y="205628"/>
                  </a:cubicBezTo>
                  <a:lnTo>
                    <a:pt x="103833" y="183111"/>
                  </a:lnTo>
                  <a:lnTo>
                    <a:pt x="103911" y="183213"/>
                  </a:lnTo>
                  <a:lnTo>
                    <a:pt x="103911" y="182832"/>
                  </a:lnTo>
                  <a:lnTo>
                    <a:pt x="103833" y="183111"/>
                  </a:lnTo>
                  <a:lnTo>
                    <a:pt x="85242" y="158829"/>
                  </a:lnTo>
                  <a:cubicBezTo>
                    <a:pt x="77343" y="154047"/>
                    <a:pt x="67996" y="152250"/>
                    <a:pt x="58890" y="153749"/>
                  </a:cubicBezTo>
                  <a:cubicBezTo>
                    <a:pt x="52775" y="154904"/>
                    <a:pt x="46450" y="153850"/>
                    <a:pt x="41046" y="150764"/>
                  </a:cubicBezTo>
                  <a:cubicBezTo>
                    <a:pt x="30423" y="144579"/>
                    <a:pt x="25470" y="131886"/>
                    <a:pt x="29096" y="120145"/>
                  </a:cubicBezTo>
                  <a:cubicBezTo>
                    <a:pt x="33401" y="106206"/>
                    <a:pt x="48190" y="98390"/>
                    <a:pt x="62128" y="102695"/>
                  </a:cubicBezTo>
                  <a:cubicBezTo>
                    <a:pt x="70174" y="105203"/>
                    <a:pt x="76511" y="111451"/>
                    <a:pt x="79146" y="119459"/>
                  </a:cubicBezTo>
                  <a:cubicBezTo>
                    <a:pt x="82442" y="127936"/>
                    <a:pt x="88627" y="134972"/>
                    <a:pt x="96609" y="139334"/>
                  </a:cubicBezTo>
                  <a:cubicBezTo>
                    <a:pt x="105683" y="145036"/>
                    <a:pt x="116789" y="146497"/>
                    <a:pt x="127025" y="143335"/>
                  </a:cubicBezTo>
                  <a:cubicBezTo>
                    <a:pt x="132029" y="137315"/>
                    <a:pt x="137579" y="131765"/>
                    <a:pt x="143599" y="126761"/>
                  </a:cubicBezTo>
                  <a:cubicBezTo>
                    <a:pt x="146698" y="116500"/>
                    <a:pt x="145237" y="105400"/>
                    <a:pt x="139598" y="96281"/>
                  </a:cubicBezTo>
                  <a:cubicBezTo>
                    <a:pt x="135134" y="88185"/>
                    <a:pt x="127927" y="81949"/>
                    <a:pt x="119278" y="78692"/>
                  </a:cubicBezTo>
                  <a:cubicBezTo>
                    <a:pt x="115246" y="77250"/>
                    <a:pt x="111627" y="74844"/>
                    <a:pt x="108737" y="71681"/>
                  </a:cubicBezTo>
                  <a:cubicBezTo>
                    <a:pt x="98907" y="60950"/>
                    <a:pt x="99638" y="44281"/>
                    <a:pt x="110369" y="34451"/>
                  </a:cubicBezTo>
                  <a:cubicBezTo>
                    <a:pt x="121101" y="24622"/>
                    <a:pt x="137769" y="25352"/>
                    <a:pt x="147599" y="36083"/>
                  </a:cubicBezTo>
                  <a:cubicBezTo>
                    <a:pt x="153327" y="42255"/>
                    <a:pt x="155696" y="50834"/>
                    <a:pt x="153949" y="59070"/>
                  </a:cubicBezTo>
                  <a:cubicBezTo>
                    <a:pt x="152616" y="68068"/>
                    <a:pt x="154457" y="77250"/>
                    <a:pt x="159156" y="85042"/>
                  </a:cubicBezTo>
                  <a:cubicBezTo>
                    <a:pt x="164217" y="94548"/>
                    <a:pt x="173164" y="101387"/>
                    <a:pt x="183667" y="103774"/>
                  </a:cubicBezTo>
                  <a:cubicBezTo>
                    <a:pt x="191135" y="100942"/>
                    <a:pt x="198850" y="98821"/>
                    <a:pt x="206718" y="97424"/>
                  </a:cubicBezTo>
                  <a:lnTo>
                    <a:pt x="205956" y="97424"/>
                  </a:lnTo>
                  <a:cubicBezTo>
                    <a:pt x="213792" y="90103"/>
                    <a:pt x="218072" y="79752"/>
                    <a:pt x="217703" y="69040"/>
                  </a:cubicBezTo>
                  <a:cubicBezTo>
                    <a:pt x="217894" y="59800"/>
                    <a:pt x="214789" y="50796"/>
                    <a:pt x="208940" y="43640"/>
                  </a:cubicBezTo>
                  <a:cubicBezTo>
                    <a:pt x="204851" y="38915"/>
                    <a:pt x="202597" y="32870"/>
                    <a:pt x="202590" y="26622"/>
                  </a:cubicBezTo>
                  <a:cubicBezTo>
                    <a:pt x="202463" y="14068"/>
                    <a:pt x="211207" y="3171"/>
                    <a:pt x="223488" y="574"/>
                  </a:cubicBezTo>
                  <a:close/>
                  <a:moveTo>
                    <a:pt x="229387" y="124030"/>
                  </a:moveTo>
                  <a:cubicBezTo>
                    <a:pt x="216585" y="123998"/>
                    <a:pt x="206184" y="134342"/>
                    <a:pt x="206146" y="147144"/>
                  </a:cubicBezTo>
                  <a:cubicBezTo>
                    <a:pt x="206146" y="147163"/>
                    <a:pt x="206146" y="147189"/>
                    <a:pt x="206146" y="147208"/>
                  </a:cubicBezTo>
                  <a:cubicBezTo>
                    <a:pt x="206108" y="159971"/>
                    <a:pt x="216433" y="170347"/>
                    <a:pt x="229197" y="170385"/>
                  </a:cubicBezTo>
                  <a:cubicBezTo>
                    <a:pt x="229216" y="170385"/>
                    <a:pt x="229241" y="170385"/>
                    <a:pt x="229260" y="170385"/>
                  </a:cubicBezTo>
                  <a:cubicBezTo>
                    <a:pt x="242062" y="170423"/>
                    <a:pt x="252463" y="160073"/>
                    <a:pt x="252501" y="147271"/>
                  </a:cubicBezTo>
                  <a:cubicBezTo>
                    <a:pt x="252539" y="134469"/>
                    <a:pt x="242189" y="124068"/>
                    <a:pt x="229387" y="124030"/>
                  </a:cubicBezTo>
                  <a:close/>
                  <a:moveTo>
                    <a:pt x="305262" y="165197"/>
                  </a:moveTo>
                  <a:cubicBezTo>
                    <a:pt x="299537" y="163646"/>
                    <a:pt x="293221" y="164280"/>
                    <a:pt x="287667" y="167464"/>
                  </a:cubicBezTo>
                  <a:cubicBezTo>
                    <a:pt x="287629" y="167483"/>
                    <a:pt x="287591" y="167509"/>
                    <a:pt x="287553" y="167528"/>
                  </a:cubicBezTo>
                  <a:cubicBezTo>
                    <a:pt x="276536" y="173973"/>
                    <a:pt x="272821" y="188127"/>
                    <a:pt x="279266" y="199151"/>
                  </a:cubicBezTo>
                  <a:cubicBezTo>
                    <a:pt x="285712" y="210168"/>
                    <a:pt x="299872" y="213876"/>
                    <a:pt x="310889" y="207431"/>
                  </a:cubicBezTo>
                  <a:cubicBezTo>
                    <a:pt x="321824" y="201043"/>
                    <a:pt x="325571" y="187041"/>
                    <a:pt x="319303" y="176037"/>
                  </a:cubicBezTo>
                  <a:cubicBezTo>
                    <a:pt x="316119" y="170484"/>
                    <a:pt x="310986" y="166748"/>
                    <a:pt x="305262" y="165197"/>
                  </a:cubicBezTo>
                  <a:close/>
                  <a:moveTo>
                    <a:pt x="153422" y="165277"/>
                  </a:moveTo>
                  <a:cubicBezTo>
                    <a:pt x="147713" y="166826"/>
                    <a:pt x="142595" y="170554"/>
                    <a:pt x="139420" y="176094"/>
                  </a:cubicBezTo>
                  <a:cubicBezTo>
                    <a:pt x="133076" y="187169"/>
                    <a:pt x="136905" y="201291"/>
                    <a:pt x="147986" y="207641"/>
                  </a:cubicBezTo>
                  <a:cubicBezTo>
                    <a:pt x="158978" y="213940"/>
                    <a:pt x="172999" y="210213"/>
                    <a:pt x="179412" y="199278"/>
                  </a:cubicBezTo>
                  <a:cubicBezTo>
                    <a:pt x="185858" y="188216"/>
                    <a:pt x="182117" y="174030"/>
                    <a:pt x="171062" y="167585"/>
                  </a:cubicBezTo>
                  <a:cubicBezTo>
                    <a:pt x="171030" y="167566"/>
                    <a:pt x="170999" y="167547"/>
                    <a:pt x="170967" y="167528"/>
                  </a:cubicBezTo>
                  <a:cubicBezTo>
                    <a:pt x="165429" y="164356"/>
                    <a:pt x="159130" y="163727"/>
                    <a:pt x="153422" y="165277"/>
                  </a:cubicBezTo>
                  <a:close/>
                  <a:moveTo>
                    <a:pt x="229260" y="198199"/>
                  </a:moveTo>
                  <a:cubicBezTo>
                    <a:pt x="213125" y="198199"/>
                    <a:pt x="200050" y="211274"/>
                    <a:pt x="200050" y="227409"/>
                  </a:cubicBezTo>
                  <a:cubicBezTo>
                    <a:pt x="200050" y="243544"/>
                    <a:pt x="213125" y="256619"/>
                    <a:pt x="229260" y="256619"/>
                  </a:cubicBezTo>
                  <a:cubicBezTo>
                    <a:pt x="245395" y="256619"/>
                    <a:pt x="258470" y="243544"/>
                    <a:pt x="258470" y="227409"/>
                  </a:cubicBezTo>
                  <a:cubicBezTo>
                    <a:pt x="258470" y="211280"/>
                    <a:pt x="245395" y="198199"/>
                    <a:pt x="229260" y="198199"/>
                  </a:cubicBezTo>
                  <a:close/>
                  <a:moveTo>
                    <a:pt x="293115" y="246027"/>
                  </a:moveTo>
                  <a:cubicBezTo>
                    <a:pt x="287410" y="247590"/>
                    <a:pt x="282302" y="251329"/>
                    <a:pt x="279139" y="256873"/>
                  </a:cubicBezTo>
                  <a:cubicBezTo>
                    <a:pt x="272821" y="267966"/>
                    <a:pt x="276688" y="282082"/>
                    <a:pt x="287782" y="288400"/>
                  </a:cubicBezTo>
                  <a:cubicBezTo>
                    <a:pt x="298780" y="294674"/>
                    <a:pt x="312782" y="290921"/>
                    <a:pt x="319176" y="279987"/>
                  </a:cubicBezTo>
                  <a:cubicBezTo>
                    <a:pt x="325634" y="269014"/>
                    <a:pt x="321970" y="254885"/>
                    <a:pt x="311004" y="248427"/>
                  </a:cubicBezTo>
                  <a:cubicBezTo>
                    <a:pt x="310889" y="248364"/>
                    <a:pt x="310781" y="248300"/>
                    <a:pt x="310667" y="248237"/>
                  </a:cubicBezTo>
                  <a:cubicBezTo>
                    <a:pt x="305121" y="245078"/>
                    <a:pt x="298820" y="244465"/>
                    <a:pt x="293115" y="246027"/>
                  </a:cubicBezTo>
                  <a:close/>
                  <a:moveTo>
                    <a:pt x="165604" y="245867"/>
                  </a:moveTo>
                  <a:cubicBezTo>
                    <a:pt x="159895" y="244317"/>
                    <a:pt x="153594" y="244944"/>
                    <a:pt x="148057" y="248116"/>
                  </a:cubicBezTo>
                  <a:cubicBezTo>
                    <a:pt x="147987" y="248160"/>
                    <a:pt x="147923" y="248198"/>
                    <a:pt x="147854" y="248236"/>
                  </a:cubicBezTo>
                  <a:cubicBezTo>
                    <a:pt x="136843" y="254694"/>
                    <a:pt x="133153" y="268855"/>
                    <a:pt x="139611" y="279866"/>
                  </a:cubicBezTo>
                  <a:cubicBezTo>
                    <a:pt x="146069" y="290877"/>
                    <a:pt x="160230" y="294572"/>
                    <a:pt x="171241" y="288108"/>
                  </a:cubicBezTo>
                  <a:cubicBezTo>
                    <a:pt x="182175" y="281701"/>
                    <a:pt x="185903" y="267680"/>
                    <a:pt x="179604" y="256682"/>
                  </a:cubicBezTo>
                  <a:cubicBezTo>
                    <a:pt x="176432" y="251145"/>
                    <a:pt x="171314" y="247417"/>
                    <a:pt x="165604" y="245867"/>
                  </a:cubicBezTo>
                  <a:close/>
                  <a:moveTo>
                    <a:pt x="229260" y="285447"/>
                  </a:moveTo>
                  <a:cubicBezTo>
                    <a:pt x="216459" y="285409"/>
                    <a:pt x="206057" y="295760"/>
                    <a:pt x="206019" y="308561"/>
                  </a:cubicBezTo>
                  <a:cubicBezTo>
                    <a:pt x="205987" y="321363"/>
                    <a:pt x="216332" y="331764"/>
                    <a:pt x="229133" y="331802"/>
                  </a:cubicBezTo>
                  <a:cubicBezTo>
                    <a:pt x="241935" y="331840"/>
                    <a:pt x="252336" y="321490"/>
                    <a:pt x="252374" y="308688"/>
                  </a:cubicBezTo>
                  <a:cubicBezTo>
                    <a:pt x="252374" y="308644"/>
                    <a:pt x="252374" y="308606"/>
                    <a:pt x="252374" y="308561"/>
                  </a:cubicBezTo>
                  <a:cubicBezTo>
                    <a:pt x="252374" y="295798"/>
                    <a:pt x="242024" y="285447"/>
                    <a:pt x="229260" y="285447"/>
                  </a:cubicBezTo>
                  <a:close/>
                </a:path>
              </a:pathLst>
            </a:custGeom>
            <a:solidFill>
              <a:srgbClr val="0070BF"/>
            </a:solidFill>
            <a:ln w="6350" cap="flat">
              <a:noFill/>
              <a:prstDash val="solid"/>
              <a:miter/>
            </a:ln>
          </p:spPr>
          <p:txBody>
            <a:bodyPr wrap="square" rtlCol="0" anchor="ctr">
              <a:noAutofit/>
            </a:bodyPr>
            <a:lstStyle/>
            <a:p>
              <a:pPr marL="0" marR="0" lvl="0" indent="0" algn="ctr" defTabSz="914104" rtl="0" eaLnBrk="1" fontAlgn="auto" latinLnBrk="0" hangingPunct="1">
                <a:lnSpc>
                  <a:spcPct val="100000"/>
                </a:lnSpc>
                <a:spcBef>
                  <a:spcPts val="0"/>
                </a:spcBef>
                <a:spcAft>
                  <a:spcPts val="0"/>
                </a:spcAft>
                <a:buClr>
                  <a:srgbClr val="000000"/>
                </a:buClr>
                <a:buSzTx/>
                <a:buFontTx/>
                <a:buNone/>
                <a:tabLst/>
                <a:defRPr/>
              </a:pPr>
              <a:endParaRPr kumimoji="0" lang="en-GB" sz="1799" b="0" i="0" u="none" strike="noStrike" kern="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grpSp>
      <p:grpSp>
        <p:nvGrpSpPr>
          <p:cNvPr id="118" name="Group 117">
            <a:extLst>
              <a:ext uri="{FF2B5EF4-FFF2-40B4-BE49-F238E27FC236}">
                <a16:creationId xmlns:a16="http://schemas.microsoft.com/office/drawing/2014/main" id="{FACD0EB9-CF90-95D4-A09F-A70BE36A9518}"/>
              </a:ext>
            </a:extLst>
          </p:cNvPr>
          <p:cNvGrpSpPr/>
          <p:nvPr/>
        </p:nvGrpSpPr>
        <p:grpSpPr>
          <a:xfrm>
            <a:off x="1044971" y="1998212"/>
            <a:ext cx="3520440" cy="1362456"/>
            <a:chOff x="883376" y="2541882"/>
            <a:chExt cx="3520440" cy="1362456"/>
          </a:xfrm>
        </p:grpSpPr>
        <p:sp>
          <p:nvSpPr>
            <p:cNvPr id="119" name="TextBox 118">
              <a:extLst>
                <a:ext uri="{FF2B5EF4-FFF2-40B4-BE49-F238E27FC236}">
                  <a16:creationId xmlns:a16="http://schemas.microsoft.com/office/drawing/2014/main" id="{81920672-4AA3-6A13-EC68-B005CA9DC302}"/>
                </a:ext>
              </a:extLst>
            </p:cNvPr>
            <p:cNvSpPr txBox="1"/>
            <p:nvPr/>
          </p:nvSpPr>
          <p:spPr>
            <a:xfrm>
              <a:off x="883376" y="2541882"/>
              <a:ext cx="3520440" cy="1362456"/>
            </a:xfrm>
            <a:prstGeom prst="roundRect">
              <a:avLst>
                <a:gd name="adj" fmla="val 11314"/>
              </a:avLst>
            </a:prstGeom>
            <a:solidFill>
              <a:srgbClr val="0DBDBA"/>
            </a:solidFill>
          </p:spPr>
          <p:txBody>
            <a:bodyPr wrap="none" lIns="27432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mj-lt"/>
                  <a:ea typeface="+mn-ea"/>
                  <a:cs typeface="+mn-cs"/>
                </a:rPr>
                <a:t>RSV</a:t>
              </a:r>
              <a:endParaRPr kumimoji="0" lang="en-US" sz="1800" b="1" i="0" u="none" strike="noStrike" kern="1200" cap="none" spc="0" normalizeH="0" baseline="30000" noProof="0">
                <a:ln>
                  <a:noFill/>
                </a:ln>
                <a:solidFill>
                  <a:srgbClr val="FFFFFF"/>
                </a:solidFill>
                <a:effectLst/>
                <a:uLnTx/>
                <a:uFillTx/>
                <a:latin typeface="+mj-lt"/>
                <a:ea typeface="+mn-ea"/>
                <a:cs typeface="+mn-cs"/>
              </a:endParaRPr>
            </a:p>
          </p:txBody>
        </p:sp>
        <p:sp>
          <p:nvSpPr>
            <p:cNvPr id="120" name="TextBox 119">
              <a:extLst>
                <a:ext uri="{FF2B5EF4-FFF2-40B4-BE49-F238E27FC236}">
                  <a16:creationId xmlns:a16="http://schemas.microsoft.com/office/drawing/2014/main" id="{AF43B5A6-AF6A-5E30-FC7A-9F416CDC4F96}"/>
                </a:ext>
              </a:extLst>
            </p:cNvPr>
            <p:cNvSpPr txBox="1"/>
            <p:nvPr/>
          </p:nvSpPr>
          <p:spPr bwMode="gray">
            <a:xfrm>
              <a:off x="1195401" y="2922439"/>
              <a:ext cx="2895751" cy="476910"/>
            </a:xfrm>
            <a:prstGeom prst="rect">
              <a:avLst/>
            </a:prstGeom>
            <a:noFill/>
            <a:ln w="19050">
              <a:noFill/>
            </a:ln>
          </p:spPr>
          <p:txBody>
            <a:bodyPr spcFirstLastPara="1" wrap="square" lIns="0" tIns="0" rIns="0" bIns="0" rtlCol="0" anchor="t" anchorCtr="0">
              <a:noAutofit/>
            </a:bodyPr>
            <a:lstStyle/>
            <a:p>
              <a:pPr lvl="0">
                <a:spcAft>
                  <a:spcPts val="200"/>
                </a:spcAft>
                <a:defRPr/>
              </a:pPr>
              <a:r>
                <a:rPr lang="en-US" sz="1400" err="1">
                  <a:solidFill>
                    <a:schemeClr val="bg1"/>
                  </a:solidFill>
                </a:rPr>
                <a:t>Mevcut</a:t>
              </a:r>
              <a:r>
                <a:rPr lang="en-US" sz="1400">
                  <a:solidFill>
                    <a:schemeClr val="bg1"/>
                  </a:solidFill>
                </a:rPr>
                <a:t> </a:t>
              </a:r>
              <a:r>
                <a:rPr lang="en-US" sz="1400" err="1">
                  <a:solidFill>
                    <a:schemeClr val="bg1"/>
                  </a:solidFill>
                </a:rPr>
                <a:t>astım</a:t>
              </a:r>
              <a:r>
                <a:rPr lang="en-US" sz="1400">
                  <a:solidFill>
                    <a:schemeClr val="bg1"/>
                  </a:solidFill>
                </a:rPr>
                <a:t>, </a:t>
              </a:r>
              <a:r>
                <a:rPr lang="en-US" sz="1400" b="1">
                  <a:solidFill>
                    <a:schemeClr val="bg1"/>
                  </a:solidFill>
                </a:rPr>
                <a:t>KOAH</a:t>
              </a:r>
              <a:r>
                <a:rPr lang="en-US" sz="1400">
                  <a:solidFill>
                    <a:schemeClr val="bg1"/>
                  </a:solidFill>
                </a:rPr>
                <a:t> </a:t>
              </a:r>
              <a:r>
                <a:rPr lang="en-US" sz="1400" b="1" err="1">
                  <a:solidFill>
                    <a:schemeClr val="bg1"/>
                  </a:solidFill>
                </a:rPr>
                <a:t>ve</a:t>
              </a:r>
              <a:r>
                <a:rPr lang="en-US" sz="1400" b="1">
                  <a:solidFill>
                    <a:schemeClr val="bg1"/>
                  </a:solidFill>
                </a:rPr>
                <a:t> </a:t>
              </a:r>
              <a:r>
                <a:rPr lang="en-US" sz="1400" b="1" err="1">
                  <a:solidFill>
                    <a:schemeClr val="bg1"/>
                  </a:solidFill>
                </a:rPr>
                <a:t>kronik</a:t>
              </a:r>
              <a:r>
                <a:rPr lang="en-US" sz="1400" b="1">
                  <a:solidFill>
                    <a:schemeClr val="bg1"/>
                  </a:solidFill>
                </a:rPr>
                <a:t> </a:t>
              </a:r>
              <a:r>
                <a:rPr lang="en-US" sz="1400" b="1" err="1">
                  <a:solidFill>
                    <a:schemeClr val="bg1"/>
                  </a:solidFill>
                </a:rPr>
                <a:t>kalp</a:t>
              </a:r>
              <a:r>
                <a:rPr lang="en-US" sz="1400" b="1">
                  <a:solidFill>
                    <a:schemeClr val="bg1"/>
                  </a:solidFill>
                </a:rPr>
                <a:t> </a:t>
              </a:r>
              <a:r>
                <a:rPr lang="en-US" sz="1400" b="1" err="1">
                  <a:solidFill>
                    <a:schemeClr val="bg1"/>
                  </a:solidFill>
                </a:rPr>
                <a:t>yetmezliğinin</a:t>
              </a:r>
              <a:r>
                <a:rPr lang="en-US" sz="1400">
                  <a:solidFill>
                    <a:schemeClr val="bg1"/>
                  </a:solidFill>
                </a:rPr>
                <a:t> </a:t>
              </a:r>
              <a:r>
                <a:rPr lang="en-US" sz="1400" err="1">
                  <a:solidFill>
                    <a:schemeClr val="bg1"/>
                  </a:solidFill>
                </a:rPr>
                <a:t>kötüleşmesi</a:t>
              </a:r>
              <a:r>
                <a:rPr lang="en-US" sz="1400">
                  <a:solidFill>
                    <a:schemeClr val="bg1"/>
                  </a:solidFill>
                </a:rPr>
                <a:t> </a:t>
              </a:r>
              <a:r>
                <a:rPr lang="en-US" sz="1400" err="1">
                  <a:solidFill>
                    <a:schemeClr val="bg1"/>
                  </a:solidFill>
                </a:rPr>
                <a:t>ile</a:t>
              </a:r>
              <a:r>
                <a:rPr lang="en-US" sz="1400">
                  <a:solidFill>
                    <a:schemeClr val="bg1"/>
                  </a:solidFill>
                </a:rPr>
                <a:t> ilişkilendirilmiştir.</a:t>
              </a:r>
              <a:r>
                <a:rPr lang="en-US" sz="1400" baseline="30000">
                  <a:solidFill>
                    <a:schemeClr val="bg1"/>
                  </a:solidFill>
                </a:rPr>
                <a:t>1</a:t>
              </a:r>
              <a:endParaRPr lang="en-US" sz="1400">
                <a:solidFill>
                  <a:schemeClr val="bg1"/>
                </a:solidFill>
              </a:endParaRPr>
            </a:p>
          </p:txBody>
        </p:sp>
      </p:grpSp>
      <p:sp>
        <p:nvSpPr>
          <p:cNvPr id="121" name="Oval 120">
            <a:extLst>
              <a:ext uri="{FF2B5EF4-FFF2-40B4-BE49-F238E27FC236}">
                <a16:creationId xmlns:a16="http://schemas.microsoft.com/office/drawing/2014/main" id="{D6EF199E-6A57-5D15-68B3-45F48B4AE26B}"/>
              </a:ext>
            </a:extLst>
          </p:cNvPr>
          <p:cNvSpPr/>
          <p:nvPr/>
        </p:nvSpPr>
        <p:spPr>
          <a:xfrm>
            <a:off x="607552" y="1937271"/>
            <a:ext cx="630449" cy="630449"/>
          </a:xfrm>
          <a:prstGeom prst="ellipse">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2" name="Group 121">
            <a:extLst>
              <a:ext uri="{FF2B5EF4-FFF2-40B4-BE49-F238E27FC236}">
                <a16:creationId xmlns:a16="http://schemas.microsoft.com/office/drawing/2014/main" id="{75B67012-154D-AE5E-36EF-FC162AC4FF84}"/>
              </a:ext>
            </a:extLst>
          </p:cNvPr>
          <p:cNvGrpSpPr/>
          <p:nvPr/>
        </p:nvGrpSpPr>
        <p:grpSpPr>
          <a:xfrm>
            <a:off x="4565411" y="2283764"/>
            <a:ext cx="1456011" cy="796878"/>
            <a:chOff x="4565411" y="1728592"/>
            <a:chExt cx="1456011" cy="796878"/>
          </a:xfrm>
        </p:grpSpPr>
        <p:sp>
          <p:nvSpPr>
            <p:cNvPr id="123" name="Freeform: Shape 122">
              <a:extLst>
                <a:ext uri="{FF2B5EF4-FFF2-40B4-BE49-F238E27FC236}">
                  <a16:creationId xmlns:a16="http://schemas.microsoft.com/office/drawing/2014/main" id="{A3AE219C-40DF-F401-5E8C-CE1F8C30BDB8}"/>
                </a:ext>
              </a:extLst>
            </p:cNvPr>
            <p:cNvSpPr/>
            <p:nvPr/>
          </p:nvSpPr>
          <p:spPr>
            <a:xfrm>
              <a:off x="4565411" y="1728592"/>
              <a:ext cx="1158984" cy="563671"/>
            </a:xfrm>
            <a:custGeom>
              <a:avLst/>
              <a:gdLst>
                <a:gd name="connsiteX0" fmla="*/ 0 w 1402916"/>
                <a:gd name="connsiteY0" fmla="*/ 0 h 563671"/>
                <a:gd name="connsiteX1" fmla="*/ 1402916 w 1402916"/>
                <a:gd name="connsiteY1" fmla="*/ 0 h 563671"/>
                <a:gd name="connsiteX2" fmla="*/ 1402916 w 1402916"/>
                <a:gd name="connsiteY2" fmla="*/ 563671 h 563671"/>
              </a:gdLst>
              <a:ahLst/>
              <a:cxnLst>
                <a:cxn ang="0">
                  <a:pos x="connsiteX0" y="connsiteY0"/>
                </a:cxn>
                <a:cxn ang="0">
                  <a:pos x="connsiteX1" y="connsiteY1"/>
                </a:cxn>
                <a:cxn ang="0">
                  <a:pos x="connsiteX2" y="connsiteY2"/>
                </a:cxn>
              </a:cxnLst>
              <a:rect l="l" t="t" r="r" b="b"/>
              <a:pathLst>
                <a:path w="1402916" h="563671">
                  <a:moveTo>
                    <a:pt x="0" y="0"/>
                  </a:moveTo>
                  <a:lnTo>
                    <a:pt x="1402916" y="0"/>
                  </a:lnTo>
                  <a:lnTo>
                    <a:pt x="1402916" y="563671"/>
                  </a:lnTo>
                </a:path>
              </a:pathLst>
            </a:custGeom>
            <a:noFill/>
            <a:ln w="34925" cap="rnd">
              <a:solidFill>
                <a:schemeClr val="accent5"/>
              </a:solidFill>
              <a:prstDash val="sysDash"/>
              <a:round/>
              <a:tailEnd type="ova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Freeform: Shape 123">
              <a:extLst>
                <a:ext uri="{FF2B5EF4-FFF2-40B4-BE49-F238E27FC236}">
                  <a16:creationId xmlns:a16="http://schemas.microsoft.com/office/drawing/2014/main" id="{E94AC7F4-7815-33B5-5099-1BCAF8DA9207}"/>
                </a:ext>
              </a:extLst>
            </p:cNvPr>
            <p:cNvSpPr/>
            <p:nvPr/>
          </p:nvSpPr>
          <p:spPr>
            <a:xfrm>
              <a:off x="5724396" y="2004164"/>
              <a:ext cx="297026" cy="521306"/>
            </a:xfrm>
            <a:custGeom>
              <a:avLst/>
              <a:gdLst>
                <a:gd name="connsiteX0" fmla="*/ 0 w 425884"/>
                <a:gd name="connsiteY0" fmla="*/ 0 h 626302"/>
                <a:gd name="connsiteX1" fmla="*/ 425884 w 425884"/>
                <a:gd name="connsiteY1" fmla="*/ 0 h 626302"/>
                <a:gd name="connsiteX2" fmla="*/ 425884 w 425884"/>
                <a:gd name="connsiteY2" fmla="*/ 626302 h 626302"/>
              </a:gdLst>
              <a:ahLst/>
              <a:cxnLst>
                <a:cxn ang="0">
                  <a:pos x="connsiteX0" y="connsiteY0"/>
                </a:cxn>
                <a:cxn ang="0">
                  <a:pos x="connsiteX1" y="connsiteY1"/>
                </a:cxn>
                <a:cxn ang="0">
                  <a:pos x="connsiteX2" y="connsiteY2"/>
                </a:cxn>
              </a:cxnLst>
              <a:rect l="l" t="t" r="r" b="b"/>
              <a:pathLst>
                <a:path w="425884" h="626302">
                  <a:moveTo>
                    <a:pt x="0" y="0"/>
                  </a:moveTo>
                  <a:lnTo>
                    <a:pt x="425884" y="0"/>
                  </a:lnTo>
                  <a:lnTo>
                    <a:pt x="425884" y="626302"/>
                  </a:lnTo>
                </a:path>
              </a:pathLst>
            </a:custGeom>
            <a:noFill/>
            <a:ln w="34925" cap="rnd">
              <a:solidFill>
                <a:schemeClr val="accent5"/>
              </a:solidFill>
              <a:prstDash val="sysDash"/>
              <a:round/>
              <a:tailEnd type="ova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5" name="Group 124">
            <a:extLst>
              <a:ext uri="{FF2B5EF4-FFF2-40B4-BE49-F238E27FC236}">
                <a16:creationId xmlns:a16="http://schemas.microsoft.com/office/drawing/2014/main" id="{B8601C42-2A1D-E216-CF56-1E5402E6772F}"/>
              </a:ext>
            </a:extLst>
          </p:cNvPr>
          <p:cNvGrpSpPr/>
          <p:nvPr/>
        </p:nvGrpSpPr>
        <p:grpSpPr>
          <a:xfrm>
            <a:off x="6224038" y="2283764"/>
            <a:ext cx="1609147" cy="796878"/>
            <a:chOff x="6224038" y="1728592"/>
            <a:chExt cx="1609147" cy="796878"/>
          </a:xfrm>
        </p:grpSpPr>
        <p:sp>
          <p:nvSpPr>
            <p:cNvPr id="126" name="Freeform: Shape 125">
              <a:extLst>
                <a:ext uri="{FF2B5EF4-FFF2-40B4-BE49-F238E27FC236}">
                  <a16:creationId xmlns:a16="http://schemas.microsoft.com/office/drawing/2014/main" id="{FEBB924E-1747-9296-8268-155DFB8E5C1A}"/>
                </a:ext>
              </a:extLst>
            </p:cNvPr>
            <p:cNvSpPr/>
            <p:nvPr/>
          </p:nvSpPr>
          <p:spPr>
            <a:xfrm flipH="1">
              <a:off x="6599835" y="1728592"/>
              <a:ext cx="1233350" cy="677395"/>
            </a:xfrm>
            <a:custGeom>
              <a:avLst/>
              <a:gdLst>
                <a:gd name="connsiteX0" fmla="*/ 0 w 1402916"/>
                <a:gd name="connsiteY0" fmla="*/ 0 h 563671"/>
                <a:gd name="connsiteX1" fmla="*/ 1402916 w 1402916"/>
                <a:gd name="connsiteY1" fmla="*/ 0 h 563671"/>
                <a:gd name="connsiteX2" fmla="*/ 1402916 w 1402916"/>
                <a:gd name="connsiteY2" fmla="*/ 563671 h 563671"/>
              </a:gdLst>
              <a:ahLst/>
              <a:cxnLst>
                <a:cxn ang="0">
                  <a:pos x="connsiteX0" y="connsiteY0"/>
                </a:cxn>
                <a:cxn ang="0">
                  <a:pos x="connsiteX1" y="connsiteY1"/>
                </a:cxn>
                <a:cxn ang="0">
                  <a:pos x="connsiteX2" y="connsiteY2"/>
                </a:cxn>
              </a:cxnLst>
              <a:rect l="l" t="t" r="r" b="b"/>
              <a:pathLst>
                <a:path w="1402916" h="563671">
                  <a:moveTo>
                    <a:pt x="0" y="0"/>
                  </a:moveTo>
                  <a:lnTo>
                    <a:pt x="1402916" y="0"/>
                  </a:lnTo>
                  <a:lnTo>
                    <a:pt x="1402916" y="563671"/>
                  </a:lnTo>
                </a:path>
              </a:pathLst>
            </a:custGeom>
            <a:noFill/>
            <a:ln w="34925" cap="rnd">
              <a:solidFill>
                <a:schemeClr val="accent5">
                  <a:lumMod val="75000"/>
                </a:schemeClr>
              </a:solidFill>
              <a:prstDash val="sysDash"/>
              <a:round/>
              <a:tailEnd type="ova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Freeform: Shape 126">
              <a:extLst>
                <a:ext uri="{FF2B5EF4-FFF2-40B4-BE49-F238E27FC236}">
                  <a16:creationId xmlns:a16="http://schemas.microsoft.com/office/drawing/2014/main" id="{D01EA66A-9663-3034-F492-28576984BBFF}"/>
                </a:ext>
              </a:extLst>
            </p:cNvPr>
            <p:cNvSpPr/>
            <p:nvPr/>
          </p:nvSpPr>
          <p:spPr>
            <a:xfrm flipH="1">
              <a:off x="6224038" y="2004164"/>
              <a:ext cx="349215" cy="521306"/>
            </a:xfrm>
            <a:custGeom>
              <a:avLst/>
              <a:gdLst>
                <a:gd name="connsiteX0" fmla="*/ 0 w 425884"/>
                <a:gd name="connsiteY0" fmla="*/ 0 h 626302"/>
                <a:gd name="connsiteX1" fmla="*/ 425884 w 425884"/>
                <a:gd name="connsiteY1" fmla="*/ 0 h 626302"/>
                <a:gd name="connsiteX2" fmla="*/ 425884 w 425884"/>
                <a:gd name="connsiteY2" fmla="*/ 626302 h 626302"/>
                <a:gd name="connsiteX0" fmla="*/ 0 w 425884"/>
                <a:gd name="connsiteY0" fmla="*/ 6162 h 632464"/>
                <a:gd name="connsiteX1" fmla="*/ 68762 w 425884"/>
                <a:gd name="connsiteY1" fmla="*/ 0 h 632464"/>
                <a:gd name="connsiteX2" fmla="*/ 425884 w 425884"/>
                <a:gd name="connsiteY2" fmla="*/ 6162 h 632464"/>
                <a:gd name="connsiteX3" fmla="*/ 425884 w 425884"/>
                <a:gd name="connsiteY3" fmla="*/ 632464 h 632464"/>
                <a:gd name="connsiteX0" fmla="*/ 1139 w 357122"/>
                <a:gd name="connsiteY0" fmla="*/ 2859427 h 2859427"/>
                <a:gd name="connsiteX1" fmla="*/ 0 w 357122"/>
                <a:gd name="connsiteY1" fmla="*/ 0 h 2859427"/>
                <a:gd name="connsiteX2" fmla="*/ 357122 w 357122"/>
                <a:gd name="connsiteY2" fmla="*/ 6162 h 2859427"/>
                <a:gd name="connsiteX3" fmla="*/ 357122 w 357122"/>
                <a:gd name="connsiteY3" fmla="*/ 632464 h 2859427"/>
                <a:gd name="connsiteX0" fmla="*/ 26 w 360226"/>
                <a:gd name="connsiteY0" fmla="*/ 1041329 h 1041329"/>
                <a:gd name="connsiteX1" fmla="*/ 3104 w 360226"/>
                <a:gd name="connsiteY1" fmla="*/ 0 h 1041329"/>
                <a:gd name="connsiteX2" fmla="*/ 360226 w 360226"/>
                <a:gd name="connsiteY2" fmla="*/ 6162 h 1041329"/>
                <a:gd name="connsiteX3" fmla="*/ 360226 w 360226"/>
                <a:gd name="connsiteY3" fmla="*/ 632464 h 1041329"/>
                <a:gd name="connsiteX0" fmla="*/ 26 w 368661"/>
                <a:gd name="connsiteY0" fmla="*/ 1041329 h 2440170"/>
                <a:gd name="connsiteX1" fmla="*/ 3104 w 368661"/>
                <a:gd name="connsiteY1" fmla="*/ 0 h 2440170"/>
                <a:gd name="connsiteX2" fmla="*/ 360226 w 368661"/>
                <a:gd name="connsiteY2" fmla="*/ 6162 h 2440170"/>
                <a:gd name="connsiteX3" fmla="*/ 368661 w 368661"/>
                <a:gd name="connsiteY3" fmla="*/ 2440170 h 2440170"/>
                <a:gd name="connsiteX0" fmla="*/ 26 w 368661"/>
                <a:gd name="connsiteY0" fmla="*/ 661183 h 2440170"/>
                <a:gd name="connsiteX1" fmla="*/ 3104 w 368661"/>
                <a:gd name="connsiteY1" fmla="*/ 0 h 2440170"/>
                <a:gd name="connsiteX2" fmla="*/ 360226 w 368661"/>
                <a:gd name="connsiteY2" fmla="*/ 6162 h 2440170"/>
                <a:gd name="connsiteX3" fmla="*/ 368661 w 368661"/>
                <a:gd name="connsiteY3" fmla="*/ 2440170 h 2440170"/>
                <a:gd name="connsiteX0" fmla="*/ 59 w 366453"/>
                <a:gd name="connsiteY0" fmla="*/ 661183 h 2440170"/>
                <a:gd name="connsiteX1" fmla="*/ 896 w 366453"/>
                <a:gd name="connsiteY1" fmla="*/ 0 h 2440170"/>
                <a:gd name="connsiteX2" fmla="*/ 358018 w 366453"/>
                <a:gd name="connsiteY2" fmla="*/ 6162 h 2440170"/>
                <a:gd name="connsiteX3" fmla="*/ 366453 w 366453"/>
                <a:gd name="connsiteY3" fmla="*/ 2440170 h 2440170"/>
                <a:gd name="connsiteX0" fmla="*/ 59 w 366453"/>
                <a:gd name="connsiteY0" fmla="*/ 412864 h 2440170"/>
                <a:gd name="connsiteX1" fmla="*/ 896 w 366453"/>
                <a:gd name="connsiteY1" fmla="*/ 0 h 2440170"/>
                <a:gd name="connsiteX2" fmla="*/ 358018 w 366453"/>
                <a:gd name="connsiteY2" fmla="*/ 6162 h 2440170"/>
                <a:gd name="connsiteX3" fmla="*/ 366453 w 366453"/>
                <a:gd name="connsiteY3" fmla="*/ 2440170 h 2440170"/>
                <a:gd name="connsiteX0" fmla="*/ 0 w 365557"/>
                <a:gd name="connsiteY0" fmla="*/ 0 h 2440170"/>
                <a:gd name="connsiteX1" fmla="*/ 357122 w 365557"/>
                <a:gd name="connsiteY1" fmla="*/ 6162 h 2440170"/>
                <a:gd name="connsiteX2" fmla="*/ 365557 w 365557"/>
                <a:gd name="connsiteY2" fmla="*/ 2440170 h 2440170"/>
              </a:gdLst>
              <a:ahLst/>
              <a:cxnLst>
                <a:cxn ang="0">
                  <a:pos x="connsiteX0" y="connsiteY0"/>
                </a:cxn>
                <a:cxn ang="0">
                  <a:pos x="connsiteX1" y="connsiteY1"/>
                </a:cxn>
                <a:cxn ang="0">
                  <a:pos x="connsiteX2" y="connsiteY2"/>
                </a:cxn>
              </a:cxnLst>
              <a:rect l="l" t="t" r="r" b="b"/>
              <a:pathLst>
                <a:path w="365557" h="2440170">
                  <a:moveTo>
                    <a:pt x="0" y="0"/>
                  </a:moveTo>
                  <a:lnTo>
                    <a:pt x="357122" y="6162"/>
                  </a:lnTo>
                  <a:cubicBezTo>
                    <a:pt x="359934" y="817498"/>
                    <a:pt x="362745" y="1628834"/>
                    <a:pt x="365557" y="2440170"/>
                  </a:cubicBezTo>
                </a:path>
              </a:pathLst>
            </a:custGeom>
            <a:noFill/>
            <a:ln w="34925" cap="rnd">
              <a:solidFill>
                <a:schemeClr val="accent5">
                  <a:lumMod val="75000"/>
                </a:schemeClr>
              </a:solidFill>
              <a:prstDash val="sysDash"/>
              <a:round/>
              <a:tailEnd type="ova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9" name="Freeform: Shape 128">
            <a:extLst>
              <a:ext uri="{FF2B5EF4-FFF2-40B4-BE49-F238E27FC236}">
                <a16:creationId xmlns:a16="http://schemas.microsoft.com/office/drawing/2014/main" id="{2C20FF94-9073-D5ED-8A2C-F68E81F8906E}"/>
              </a:ext>
            </a:extLst>
          </p:cNvPr>
          <p:cNvSpPr/>
          <p:nvPr/>
        </p:nvSpPr>
        <p:spPr>
          <a:xfrm flipH="1" flipV="1">
            <a:off x="6588657" y="3350490"/>
            <a:ext cx="1093064" cy="834089"/>
          </a:xfrm>
          <a:custGeom>
            <a:avLst/>
            <a:gdLst>
              <a:gd name="connsiteX0" fmla="*/ 0 w 1402916"/>
              <a:gd name="connsiteY0" fmla="*/ 0 h 563671"/>
              <a:gd name="connsiteX1" fmla="*/ 1402916 w 1402916"/>
              <a:gd name="connsiteY1" fmla="*/ 0 h 563671"/>
              <a:gd name="connsiteX2" fmla="*/ 1402916 w 1402916"/>
              <a:gd name="connsiteY2" fmla="*/ 563671 h 563671"/>
            </a:gdLst>
            <a:ahLst/>
            <a:cxnLst>
              <a:cxn ang="0">
                <a:pos x="connsiteX0" y="connsiteY0"/>
              </a:cxn>
              <a:cxn ang="0">
                <a:pos x="connsiteX1" y="connsiteY1"/>
              </a:cxn>
              <a:cxn ang="0">
                <a:pos x="connsiteX2" y="connsiteY2"/>
              </a:cxn>
            </a:cxnLst>
            <a:rect l="l" t="t" r="r" b="b"/>
            <a:pathLst>
              <a:path w="1402916" h="563671">
                <a:moveTo>
                  <a:pt x="0" y="0"/>
                </a:moveTo>
                <a:lnTo>
                  <a:pt x="1402916" y="0"/>
                </a:lnTo>
                <a:lnTo>
                  <a:pt x="1402916" y="563671"/>
                </a:lnTo>
              </a:path>
            </a:pathLst>
          </a:custGeom>
          <a:noFill/>
          <a:ln w="34925" cap="rnd">
            <a:solidFill>
              <a:schemeClr val="accent1"/>
            </a:solidFill>
            <a:prstDash val="sysDash"/>
            <a:round/>
            <a:tailEnd type="ova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4" name="Graphic 153" descr="Covid-19 outline">
            <a:extLst>
              <a:ext uri="{FF2B5EF4-FFF2-40B4-BE49-F238E27FC236}">
                <a16:creationId xmlns:a16="http://schemas.microsoft.com/office/drawing/2014/main" id="{E95B0F4B-44BA-B3D7-EC21-A67ECF0F3C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644626" y="1963886"/>
            <a:ext cx="541633" cy="541633"/>
          </a:xfrm>
          <a:prstGeom prst="rect">
            <a:avLst/>
          </a:prstGeom>
        </p:spPr>
      </p:pic>
      <p:grpSp>
        <p:nvGrpSpPr>
          <p:cNvPr id="155" name="Group 154">
            <a:extLst>
              <a:ext uri="{FF2B5EF4-FFF2-40B4-BE49-F238E27FC236}">
                <a16:creationId xmlns:a16="http://schemas.microsoft.com/office/drawing/2014/main" id="{B869AF7F-570C-1B87-6A36-9990D3DD851F}"/>
              </a:ext>
            </a:extLst>
          </p:cNvPr>
          <p:cNvGrpSpPr/>
          <p:nvPr/>
        </p:nvGrpSpPr>
        <p:grpSpPr>
          <a:xfrm>
            <a:off x="11071365" y="2065340"/>
            <a:ext cx="391089" cy="397273"/>
            <a:chOff x="6081371" y="4948272"/>
            <a:chExt cx="350330" cy="385235"/>
          </a:xfrm>
        </p:grpSpPr>
        <p:sp>
          <p:nvSpPr>
            <p:cNvPr id="156" name="Oval 155">
              <a:extLst>
                <a:ext uri="{FF2B5EF4-FFF2-40B4-BE49-F238E27FC236}">
                  <a16:creationId xmlns:a16="http://schemas.microsoft.com/office/drawing/2014/main" id="{BBAA490F-1FC2-9D73-F767-F39983BA4EC4}"/>
                </a:ext>
              </a:extLst>
            </p:cNvPr>
            <p:cNvSpPr/>
            <p:nvPr/>
          </p:nvSpPr>
          <p:spPr>
            <a:xfrm>
              <a:off x="6332790" y="5166415"/>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157" name="Oval 156">
              <a:extLst>
                <a:ext uri="{FF2B5EF4-FFF2-40B4-BE49-F238E27FC236}">
                  <a16:creationId xmlns:a16="http://schemas.microsoft.com/office/drawing/2014/main" id="{FB492371-BFBB-B781-0026-9EEA305E893E}"/>
                </a:ext>
              </a:extLst>
            </p:cNvPr>
            <p:cNvSpPr/>
            <p:nvPr/>
          </p:nvSpPr>
          <p:spPr>
            <a:xfrm>
              <a:off x="6368003" y="5135316"/>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158" name="Oval 157">
              <a:extLst>
                <a:ext uri="{FF2B5EF4-FFF2-40B4-BE49-F238E27FC236}">
                  <a16:creationId xmlns:a16="http://schemas.microsoft.com/office/drawing/2014/main" id="{F116FE0C-5F2E-983A-7072-2FA1F2D829BC}"/>
                </a:ext>
              </a:extLst>
            </p:cNvPr>
            <p:cNvSpPr/>
            <p:nvPr/>
          </p:nvSpPr>
          <p:spPr>
            <a:xfrm>
              <a:off x="6214415" y="4996015"/>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159" name="Oval 158">
              <a:extLst>
                <a:ext uri="{FF2B5EF4-FFF2-40B4-BE49-F238E27FC236}">
                  <a16:creationId xmlns:a16="http://schemas.microsoft.com/office/drawing/2014/main" id="{70F10B5C-6DD0-2822-A08D-A5F99E21B7A7}"/>
                </a:ext>
              </a:extLst>
            </p:cNvPr>
            <p:cNvSpPr/>
            <p:nvPr/>
          </p:nvSpPr>
          <p:spPr>
            <a:xfrm>
              <a:off x="6248968" y="4973190"/>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160" name="Oval 159">
              <a:extLst>
                <a:ext uri="{FF2B5EF4-FFF2-40B4-BE49-F238E27FC236}">
                  <a16:creationId xmlns:a16="http://schemas.microsoft.com/office/drawing/2014/main" id="{CE1A738D-3036-B3B6-E1D2-502433C00D9B}"/>
                </a:ext>
              </a:extLst>
            </p:cNvPr>
            <p:cNvSpPr/>
            <p:nvPr/>
          </p:nvSpPr>
          <p:spPr>
            <a:xfrm>
              <a:off x="6130384" y="5254610"/>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161" name="Oval 160">
              <a:extLst>
                <a:ext uri="{FF2B5EF4-FFF2-40B4-BE49-F238E27FC236}">
                  <a16:creationId xmlns:a16="http://schemas.microsoft.com/office/drawing/2014/main" id="{6D55CDAF-5660-0655-8144-1532C8E4A3A0}"/>
                </a:ext>
              </a:extLst>
            </p:cNvPr>
            <p:cNvSpPr/>
            <p:nvPr/>
          </p:nvSpPr>
          <p:spPr>
            <a:xfrm>
              <a:off x="6098535" y="5211731"/>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162" name="Oval 161">
              <a:extLst>
                <a:ext uri="{FF2B5EF4-FFF2-40B4-BE49-F238E27FC236}">
                  <a16:creationId xmlns:a16="http://schemas.microsoft.com/office/drawing/2014/main" id="{09343AE0-8965-ED98-F7F0-320DF54E8F9E}"/>
                </a:ext>
              </a:extLst>
            </p:cNvPr>
            <p:cNvSpPr/>
            <p:nvPr/>
          </p:nvSpPr>
          <p:spPr>
            <a:xfrm>
              <a:off x="6247874" y="5234029"/>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166" name="Oval 165">
              <a:extLst>
                <a:ext uri="{FF2B5EF4-FFF2-40B4-BE49-F238E27FC236}">
                  <a16:creationId xmlns:a16="http://schemas.microsoft.com/office/drawing/2014/main" id="{B7E3BA14-B7B2-D31D-FFD6-945E0C4CBDDE}"/>
                </a:ext>
              </a:extLst>
            </p:cNvPr>
            <p:cNvSpPr/>
            <p:nvPr/>
          </p:nvSpPr>
          <p:spPr>
            <a:xfrm>
              <a:off x="6217346" y="5192304"/>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167" name="Oval 166">
              <a:extLst>
                <a:ext uri="{FF2B5EF4-FFF2-40B4-BE49-F238E27FC236}">
                  <a16:creationId xmlns:a16="http://schemas.microsoft.com/office/drawing/2014/main" id="{1B8D11D6-248C-6964-0133-A986963CB460}"/>
                </a:ext>
              </a:extLst>
            </p:cNvPr>
            <p:cNvSpPr/>
            <p:nvPr/>
          </p:nvSpPr>
          <p:spPr>
            <a:xfrm>
              <a:off x="6194082" y="5147243"/>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170" name="Oval 169">
              <a:extLst>
                <a:ext uri="{FF2B5EF4-FFF2-40B4-BE49-F238E27FC236}">
                  <a16:creationId xmlns:a16="http://schemas.microsoft.com/office/drawing/2014/main" id="{8C8AA348-BBFF-F29B-979A-F4BBA554E7C4}"/>
                </a:ext>
              </a:extLst>
            </p:cNvPr>
            <p:cNvSpPr/>
            <p:nvPr/>
          </p:nvSpPr>
          <p:spPr>
            <a:xfrm>
              <a:off x="6166185" y="5110413"/>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174" name="Oval 173">
              <a:extLst>
                <a:ext uri="{FF2B5EF4-FFF2-40B4-BE49-F238E27FC236}">
                  <a16:creationId xmlns:a16="http://schemas.microsoft.com/office/drawing/2014/main" id="{7404A613-49A5-A244-EAE8-0B3FD572AB48}"/>
                </a:ext>
              </a:extLst>
            </p:cNvPr>
            <p:cNvSpPr/>
            <p:nvPr/>
          </p:nvSpPr>
          <p:spPr>
            <a:xfrm>
              <a:off x="6125392" y="5082572"/>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175" name="Oval 174">
              <a:extLst>
                <a:ext uri="{FF2B5EF4-FFF2-40B4-BE49-F238E27FC236}">
                  <a16:creationId xmlns:a16="http://schemas.microsoft.com/office/drawing/2014/main" id="{0D22BB03-EB03-C9F0-A680-B37404C3C236}"/>
                </a:ext>
              </a:extLst>
            </p:cNvPr>
            <p:cNvSpPr/>
            <p:nvPr/>
          </p:nvSpPr>
          <p:spPr>
            <a:xfrm>
              <a:off x="6081371" y="5052710"/>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182" name="Oval 181">
              <a:extLst>
                <a:ext uri="{FF2B5EF4-FFF2-40B4-BE49-F238E27FC236}">
                  <a16:creationId xmlns:a16="http://schemas.microsoft.com/office/drawing/2014/main" id="{8D242322-C110-66BB-4C3E-385C0A583842}"/>
                </a:ext>
              </a:extLst>
            </p:cNvPr>
            <p:cNvSpPr/>
            <p:nvPr/>
          </p:nvSpPr>
          <p:spPr>
            <a:xfrm>
              <a:off x="6285809" y="5271309"/>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183" name="Oval 182">
              <a:extLst>
                <a:ext uri="{FF2B5EF4-FFF2-40B4-BE49-F238E27FC236}">
                  <a16:creationId xmlns:a16="http://schemas.microsoft.com/office/drawing/2014/main" id="{F04DF228-328A-3789-8F53-F52EC2BEDB65}"/>
                </a:ext>
              </a:extLst>
            </p:cNvPr>
            <p:cNvSpPr/>
            <p:nvPr/>
          </p:nvSpPr>
          <p:spPr>
            <a:xfrm>
              <a:off x="6292902" y="5076993"/>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198" name="Oval 197">
              <a:extLst>
                <a:ext uri="{FF2B5EF4-FFF2-40B4-BE49-F238E27FC236}">
                  <a16:creationId xmlns:a16="http://schemas.microsoft.com/office/drawing/2014/main" id="{52B5FD48-B8DE-BEDA-B813-21BB7FF7C909}"/>
                </a:ext>
              </a:extLst>
            </p:cNvPr>
            <p:cNvSpPr/>
            <p:nvPr/>
          </p:nvSpPr>
          <p:spPr>
            <a:xfrm>
              <a:off x="6313211" y="5037491"/>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199" name="Oval 198">
              <a:extLst>
                <a:ext uri="{FF2B5EF4-FFF2-40B4-BE49-F238E27FC236}">
                  <a16:creationId xmlns:a16="http://schemas.microsoft.com/office/drawing/2014/main" id="{EBCA3126-9A95-A632-1374-F4CBAE230543}"/>
                </a:ext>
              </a:extLst>
            </p:cNvPr>
            <p:cNvSpPr/>
            <p:nvPr/>
          </p:nvSpPr>
          <p:spPr>
            <a:xfrm>
              <a:off x="6332790" y="4990512"/>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sp>
          <p:nvSpPr>
            <p:cNvPr id="200" name="Oval 199">
              <a:extLst>
                <a:ext uri="{FF2B5EF4-FFF2-40B4-BE49-F238E27FC236}">
                  <a16:creationId xmlns:a16="http://schemas.microsoft.com/office/drawing/2014/main" id="{FF2AA212-9676-A3AC-4E88-3DDA6418564B}"/>
                </a:ext>
              </a:extLst>
            </p:cNvPr>
            <p:cNvSpPr/>
            <p:nvPr/>
          </p:nvSpPr>
          <p:spPr>
            <a:xfrm>
              <a:off x="6351375" y="4948272"/>
              <a:ext cx="63698" cy="62198"/>
            </a:xfrm>
            <a:prstGeom prst="ellipse">
              <a:avLst/>
            </a:prstGeom>
            <a:solidFill>
              <a:srgbClr val="00B09F"/>
            </a:solidFill>
            <a:ln w="6350">
              <a:solidFill>
                <a:srgbClr val="0089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Diatype Office"/>
                <a:ea typeface="+mn-ea"/>
                <a:cs typeface="+mn-cs"/>
              </a:endParaRPr>
            </a:p>
          </p:txBody>
        </p:sp>
      </p:grpSp>
      <p:sp>
        <p:nvSpPr>
          <p:cNvPr id="201" name="TextBox 200">
            <a:extLst>
              <a:ext uri="{FF2B5EF4-FFF2-40B4-BE49-F238E27FC236}">
                <a16:creationId xmlns:a16="http://schemas.microsoft.com/office/drawing/2014/main" id="{B32E43AF-9AC2-ABEE-6B97-FACB89EF7A48}"/>
              </a:ext>
            </a:extLst>
          </p:cNvPr>
          <p:cNvSpPr txBox="1"/>
          <p:nvPr/>
        </p:nvSpPr>
        <p:spPr>
          <a:xfrm>
            <a:off x="705690" y="5592808"/>
            <a:ext cx="10861668" cy="692497"/>
          </a:xfrm>
          <a:prstGeom prst="rect">
            <a:avLst/>
          </a:prstGeom>
          <a:noFill/>
        </p:spPr>
        <p:txBody>
          <a:bodyPr wrap="square" lIns="0" tIns="0" rIns="0" bIns="0" rtlCol="0" anchor="b">
            <a:spAutoFit/>
          </a:bodyPr>
          <a:lstStyle/>
          <a:p>
            <a:pPr defTabSz="914400">
              <a:defRPr/>
            </a:pPr>
            <a:r>
              <a:rPr lang="en-GB" sz="900">
                <a:solidFill>
                  <a:schemeClr val="tx1">
                    <a:lumMod val="50000"/>
                    <a:lumOff val="50000"/>
                  </a:schemeClr>
                </a:solidFill>
              </a:rPr>
              <a:t>KOAH, kronik obstrüktif akciğer hastalığı; ASYE, ALT solunum yolu enfeksiyonu; RSV, solunum sinsityal virüsü; </a:t>
            </a:r>
            <a:r>
              <a:rPr lang="en-US" sz="900">
                <a:solidFill>
                  <a:schemeClr val="tx1">
                    <a:lumMod val="50000"/>
                    <a:lumOff val="50000"/>
                  </a:schemeClr>
                </a:solidFill>
              </a:rPr>
              <a:t>SARS-CoV-2, şiddetli akut </a:t>
            </a:r>
            <a:r>
              <a:rPr lang="en-US" sz="900" err="1">
                <a:solidFill>
                  <a:schemeClr val="tx1">
                    <a:lumMod val="50000"/>
                    <a:lumOff val="50000"/>
                  </a:schemeClr>
                </a:solidFill>
              </a:rPr>
              <a:t>solunum</a:t>
            </a:r>
            <a:r>
              <a:rPr lang="en-US" sz="900">
                <a:solidFill>
                  <a:schemeClr val="tx1">
                    <a:lumMod val="50000"/>
                    <a:lumOff val="50000"/>
                  </a:schemeClr>
                </a:solidFill>
              </a:rPr>
              <a:t> </a:t>
            </a:r>
            <a:r>
              <a:rPr lang="en-US" sz="900" err="1">
                <a:solidFill>
                  <a:schemeClr val="tx1">
                    <a:lumMod val="50000"/>
                    <a:lumOff val="50000"/>
                  </a:schemeClr>
                </a:solidFill>
              </a:rPr>
              <a:t>sendromu</a:t>
            </a:r>
            <a:r>
              <a:rPr lang="en-US">
                <a:solidFill>
                  <a:schemeClr val="tx1">
                    <a:lumMod val="50000"/>
                    <a:lumOff val="50000"/>
                  </a:schemeClr>
                </a:solidFill>
              </a:rPr>
              <a:t> </a:t>
            </a:r>
            <a:r>
              <a:rPr lang="en-US" sz="900" err="1">
                <a:solidFill>
                  <a:schemeClr val="tx1">
                    <a:lumMod val="50000"/>
                    <a:lumOff val="50000"/>
                  </a:schemeClr>
                </a:solidFill>
              </a:rPr>
              <a:t>koronavirüs</a:t>
            </a:r>
            <a:r>
              <a:rPr lang="en-US" sz="900">
                <a:solidFill>
                  <a:schemeClr val="tx1">
                    <a:lumMod val="50000"/>
                    <a:lumOff val="50000"/>
                  </a:schemeClr>
                </a:solidFill>
              </a:rPr>
              <a:t> 2. *</a:t>
            </a:r>
            <a:r>
              <a:rPr lang="en-US" sz="900" err="1">
                <a:solidFill>
                  <a:schemeClr val="tx1">
                    <a:lumMod val="50000"/>
                    <a:lumOff val="50000"/>
                  </a:schemeClr>
                </a:solidFill>
              </a:rPr>
              <a:t>Toplum</a:t>
            </a:r>
            <a:r>
              <a:rPr lang="en-US" sz="900">
                <a:solidFill>
                  <a:schemeClr val="tx1">
                    <a:lumMod val="50000"/>
                    <a:lumOff val="50000"/>
                  </a:schemeClr>
                </a:solidFill>
              </a:rPr>
              <a:t> </a:t>
            </a:r>
            <a:r>
              <a:rPr lang="en-US" sz="900" err="1">
                <a:solidFill>
                  <a:schemeClr val="tx1">
                    <a:lumMod val="50000"/>
                    <a:lumOff val="50000"/>
                  </a:schemeClr>
                </a:solidFill>
              </a:rPr>
              <a:t>kaynaklı</a:t>
            </a:r>
            <a:r>
              <a:rPr lang="en-US" sz="900">
                <a:solidFill>
                  <a:schemeClr val="tx1">
                    <a:lumMod val="50000"/>
                    <a:lumOff val="50000"/>
                  </a:schemeClr>
                </a:solidFill>
              </a:rPr>
              <a:t> </a:t>
            </a:r>
            <a:r>
              <a:rPr lang="en-US" sz="900" err="1">
                <a:solidFill>
                  <a:schemeClr val="tx1">
                    <a:lumMod val="50000"/>
                    <a:lumOff val="50000"/>
                  </a:schemeClr>
                </a:solidFill>
              </a:rPr>
              <a:t>pnömoni</a:t>
            </a:r>
            <a:r>
              <a:rPr lang="en-US">
                <a:solidFill>
                  <a:schemeClr val="tx1">
                    <a:lumMod val="50000"/>
                    <a:lumOff val="50000"/>
                  </a:schemeClr>
                </a:solidFill>
              </a:rPr>
              <a:t>, </a:t>
            </a:r>
            <a:r>
              <a:rPr lang="en-US" sz="900" i="1">
                <a:solidFill>
                  <a:schemeClr val="tx1">
                    <a:lumMod val="50000"/>
                    <a:lumOff val="50000"/>
                  </a:schemeClr>
                </a:solidFill>
              </a:rPr>
              <a:t>S. pneumoniae</a:t>
            </a:r>
            <a:r>
              <a:rPr lang="en-US" sz="900">
                <a:solidFill>
                  <a:schemeClr val="tx1">
                    <a:lumMod val="50000"/>
                    <a:lumOff val="50000"/>
                  </a:schemeClr>
                </a:solidFill>
              </a:rPr>
              <a:t> dışında diğer mikroorganizmalardan kaynaklanabilir.</a:t>
            </a:r>
            <a:endParaRPr lang="en-GB" sz="900">
              <a:solidFill>
                <a:schemeClr val="tx1">
                  <a:lumMod val="50000"/>
                  <a:lumOff val="50000"/>
                </a:schemeClr>
              </a:solidFill>
            </a:endParaRPr>
          </a:p>
          <a:p>
            <a:pPr defTabSz="914400">
              <a:defRPr/>
            </a:pPr>
            <a:r>
              <a:rPr lang="en-US">
                <a:solidFill>
                  <a:schemeClr val="tx1">
                    <a:lumMod val="50000"/>
                    <a:lumOff val="50000"/>
                  </a:schemeClr>
                </a:solidFill>
              </a:rPr>
              <a:t>1. Superior Health Council. Vaccination Against RSV (For Older Adults). September 2023. </a:t>
            </a:r>
            <a:r>
              <a:rPr lang="en-US">
                <a:solidFill>
                  <a:schemeClr val="tx1">
                    <a:lumMod val="50000"/>
                    <a:lumOff val="50000"/>
                  </a:schemeClr>
                </a:solidFill>
                <a:hlinkClick r:id="rId7">
                  <a:extLst>
                    <a:ext uri="{A12FA001-AC4F-418D-AE19-62706E023703}">
                      <ahyp:hlinkClr xmlns:ahyp="http://schemas.microsoft.com/office/drawing/2018/hyperlinkcolor" val="tx"/>
                    </a:ext>
                  </a:extLst>
                </a:hlinkClick>
              </a:rPr>
              <a:t>https://www.health.belgium.be/sites/default/files/uploads/fields/fpshealth_theme_file/20230918_shc-9725_rsv_vaccination_adults_vweb_1.pdf</a:t>
            </a:r>
            <a:r>
              <a:rPr lang="en-US">
                <a:solidFill>
                  <a:schemeClr val="tx1">
                    <a:lumMod val="50000"/>
                    <a:lumOff val="50000"/>
                  </a:schemeClr>
                </a:solidFill>
              </a:rPr>
              <a:t>. Accessed 17 March 2025; 2</a:t>
            </a:r>
            <a:r>
              <a:rPr lang="en-GB">
                <a:solidFill>
                  <a:schemeClr val="tx1">
                    <a:lumMod val="50000"/>
                    <a:lumOff val="50000"/>
                  </a:schemeClr>
                </a:solidFill>
              </a:rPr>
              <a:t>. Torres A, et al. </a:t>
            </a:r>
            <a:r>
              <a:rPr lang="en-GB" i="1">
                <a:solidFill>
                  <a:schemeClr val="tx1">
                    <a:lumMod val="50000"/>
                    <a:lumOff val="50000"/>
                  </a:schemeClr>
                </a:solidFill>
              </a:rPr>
              <a:t>Thorax. </a:t>
            </a:r>
            <a:r>
              <a:rPr lang="en-GB">
                <a:solidFill>
                  <a:schemeClr val="tx1">
                    <a:lumMod val="50000"/>
                    <a:lumOff val="50000"/>
                  </a:schemeClr>
                </a:solidFill>
              </a:rPr>
              <a:t>2015;70(10):984-989; 3. </a:t>
            </a:r>
            <a:r>
              <a:rPr lang="en-GB" err="1">
                <a:solidFill>
                  <a:schemeClr val="tx1">
                    <a:lumMod val="50000"/>
                    <a:lumOff val="50000"/>
                  </a:schemeClr>
                </a:solidFill>
              </a:rPr>
              <a:t>Hultström</a:t>
            </a:r>
            <a:r>
              <a:rPr lang="en-GB">
                <a:solidFill>
                  <a:schemeClr val="tx1">
                    <a:lumMod val="50000"/>
                    <a:lumOff val="50000"/>
                  </a:schemeClr>
                </a:solidFill>
              </a:rPr>
              <a:t> M, et al. </a:t>
            </a:r>
            <a:r>
              <a:rPr lang="en-GB" i="1">
                <a:solidFill>
                  <a:schemeClr val="tx1">
                    <a:lumMod val="50000"/>
                    <a:lumOff val="50000"/>
                  </a:schemeClr>
                </a:solidFill>
              </a:rPr>
              <a:t>Crit Care</a:t>
            </a:r>
            <a:r>
              <a:rPr lang="en-GB">
                <a:solidFill>
                  <a:schemeClr val="tx1">
                    <a:lumMod val="50000"/>
                    <a:lumOff val="50000"/>
                  </a:schemeClr>
                </a:solidFill>
              </a:rPr>
              <a:t>. 2021;25(1):37; 4. Hu X, et al. </a:t>
            </a:r>
            <a:r>
              <a:rPr lang="en-GB" i="1">
                <a:solidFill>
                  <a:schemeClr val="tx1">
                    <a:lumMod val="50000"/>
                    <a:lumOff val="50000"/>
                  </a:schemeClr>
                </a:solidFill>
              </a:rPr>
              <a:t>Ann Hepatol</a:t>
            </a:r>
            <a:r>
              <a:rPr lang="en-GB">
                <a:solidFill>
                  <a:schemeClr val="tx1">
                    <a:lumMod val="50000"/>
                    <a:lumOff val="50000"/>
                  </a:schemeClr>
                </a:solidFill>
              </a:rPr>
              <a:t>. 2022;27(1):100653; </a:t>
            </a:r>
            <a:br>
              <a:rPr lang="en-GB">
                <a:solidFill>
                  <a:schemeClr val="tx1">
                    <a:lumMod val="50000"/>
                    <a:lumOff val="50000"/>
                  </a:schemeClr>
                </a:solidFill>
              </a:rPr>
            </a:br>
            <a:r>
              <a:rPr lang="en-GB">
                <a:solidFill>
                  <a:schemeClr val="tx1">
                    <a:lumMod val="50000"/>
                    <a:lumOff val="50000"/>
                  </a:schemeClr>
                </a:solidFill>
              </a:rPr>
              <a:t>5. </a:t>
            </a:r>
            <a:r>
              <a:rPr lang="en-GB" err="1">
                <a:solidFill>
                  <a:schemeClr val="tx1">
                    <a:lumMod val="50000"/>
                    <a:lumOff val="50000"/>
                  </a:schemeClr>
                </a:solidFill>
              </a:rPr>
              <a:t>Cilloniz</a:t>
            </a:r>
            <a:r>
              <a:rPr lang="en-GB">
                <a:solidFill>
                  <a:schemeClr val="tx1">
                    <a:lumMod val="50000"/>
                    <a:lumOff val="50000"/>
                  </a:schemeClr>
                </a:solidFill>
              </a:rPr>
              <a:t> C, et al. </a:t>
            </a:r>
            <a:r>
              <a:rPr lang="en-GB" i="1" err="1">
                <a:solidFill>
                  <a:schemeClr val="tx1">
                    <a:lumMod val="50000"/>
                    <a:lumOff val="50000"/>
                  </a:schemeClr>
                </a:solidFill>
              </a:rPr>
              <a:t>Eur</a:t>
            </a:r>
            <a:r>
              <a:rPr lang="en-GB" i="1">
                <a:solidFill>
                  <a:schemeClr val="tx1">
                    <a:lumMod val="50000"/>
                    <a:lumOff val="50000"/>
                  </a:schemeClr>
                </a:solidFill>
              </a:rPr>
              <a:t> Respir Rev</a:t>
            </a:r>
            <a:r>
              <a:rPr lang="en-GB">
                <a:solidFill>
                  <a:schemeClr val="tx1">
                    <a:lumMod val="50000"/>
                    <a:lumOff val="50000"/>
                  </a:schemeClr>
                </a:solidFill>
              </a:rPr>
              <a:t>.</a:t>
            </a:r>
            <a:r>
              <a:rPr lang="en-GB" i="1">
                <a:solidFill>
                  <a:schemeClr val="tx1">
                    <a:lumMod val="50000"/>
                    <a:lumOff val="50000"/>
                  </a:schemeClr>
                </a:solidFill>
              </a:rPr>
              <a:t> </a:t>
            </a:r>
            <a:r>
              <a:rPr lang="en-GB">
                <a:solidFill>
                  <a:schemeClr val="tx1">
                    <a:lumMod val="50000"/>
                    <a:lumOff val="50000"/>
                  </a:schemeClr>
                </a:solidFill>
              </a:rPr>
              <a:t>2022;31(166):220051</a:t>
            </a:r>
            <a:r>
              <a:rPr lang="en-GB" sz="900">
                <a:solidFill>
                  <a:schemeClr val="tx1">
                    <a:lumMod val="50000"/>
                    <a:lumOff val="50000"/>
                  </a:schemeClr>
                </a:solidFill>
              </a:rPr>
              <a:t>.</a:t>
            </a:r>
            <a:endParaRPr lang="en-US" sz="900">
              <a:solidFill>
                <a:schemeClr val="tx1">
                  <a:lumMod val="50000"/>
                  <a:lumOff val="50000"/>
                </a:schemeClr>
              </a:solidFill>
            </a:endParaRPr>
          </a:p>
        </p:txBody>
      </p:sp>
      <p:pic>
        <p:nvPicPr>
          <p:cNvPr id="203" name="Picture 202" descr="A yellow and blue logo&#10;&#10;Description automatically generated">
            <a:extLst>
              <a:ext uri="{FF2B5EF4-FFF2-40B4-BE49-F238E27FC236}">
                <a16:creationId xmlns:a16="http://schemas.microsoft.com/office/drawing/2014/main" id="{539CAF0A-CB98-EA78-059B-87B92F720FC5}"/>
              </a:ext>
            </a:extLst>
          </p:cNvPr>
          <p:cNvPicPr>
            <a:picLocks noChangeAspect="1"/>
          </p:cNvPicPr>
          <p:nvPr/>
        </p:nvPicPr>
        <p:blipFill>
          <a:blip r:embed="rId8">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204" name="Picture 203" descr="A black and blue logo&#10;&#10;AI-generated content may be incorrect.">
            <a:extLst>
              <a:ext uri="{FF2B5EF4-FFF2-40B4-BE49-F238E27FC236}">
                <a16:creationId xmlns:a16="http://schemas.microsoft.com/office/drawing/2014/main" id="{0A68E92D-DE9F-267F-AE33-BE842B4FA9FC}"/>
              </a:ext>
            </a:extLst>
          </p:cNvPr>
          <p:cNvPicPr>
            <a:picLocks noChangeAspect="1"/>
          </p:cNvPicPr>
          <p:nvPr/>
        </p:nvPicPr>
        <p:blipFill>
          <a:blip r:embed="rId9"/>
          <a:stretch>
            <a:fillRect/>
          </a:stretch>
        </p:blipFill>
        <p:spPr>
          <a:xfrm>
            <a:off x="9513903" y="6494969"/>
            <a:ext cx="981021" cy="204067"/>
          </a:xfrm>
          <a:prstGeom prst="rect">
            <a:avLst/>
          </a:prstGeom>
        </p:spPr>
      </p:pic>
    </p:spTree>
    <p:extLst>
      <p:ext uri="{BB962C8B-B14F-4D97-AF65-F5344CB8AC3E}">
        <p14:creationId xmlns:p14="http://schemas.microsoft.com/office/powerpoint/2010/main" val="18697176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B3A89-206D-27B9-B99A-33570BD8D67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EB0A5DA-4BDA-2AB9-E77C-D64FBAC59E5E}"/>
              </a:ext>
            </a:extLst>
          </p:cNvPr>
          <p:cNvSpPr>
            <a:spLocks noGrp="1"/>
          </p:cNvSpPr>
          <p:nvPr>
            <p:ph type="title"/>
          </p:nvPr>
        </p:nvSpPr>
        <p:spPr>
          <a:xfrm>
            <a:off x="613152" y="195684"/>
            <a:ext cx="10969218" cy="842156"/>
          </a:xfrm>
        </p:spPr>
        <p:txBody>
          <a:bodyPr/>
          <a:lstStyle/>
          <a:p>
            <a:r>
              <a:rPr lang="en-GB" dirty="0"/>
              <a:t>AMD ile ilişkili maliyetlerin ve sağlık yüklerinin </a:t>
            </a:r>
            <a:r>
              <a:rPr lang="en-GB" dirty="0" err="1"/>
              <a:t>artması</a:t>
            </a:r>
            <a:r>
              <a:rPr lang="en-GB" dirty="0"/>
              <a:t> beklenmektedir</a:t>
            </a:r>
            <a:r>
              <a:rPr lang="en-GB" baseline="30000" dirty="0"/>
              <a:t>1</a:t>
            </a:r>
            <a:endParaRPr lang="tr-TR" dirty="0"/>
          </a:p>
        </p:txBody>
      </p:sp>
      <p:sp>
        <p:nvSpPr>
          <p:cNvPr id="25" name="Slide Number Placeholder 39">
            <a:extLst>
              <a:ext uri="{FF2B5EF4-FFF2-40B4-BE49-F238E27FC236}">
                <a16:creationId xmlns:a16="http://schemas.microsoft.com/office/drawing/2014/main" id="{FA34E774-922D-2D94-B52C-2B968EE56828}"/>
              </a:ext>
            </a:extLst>
          </p:cNvPr>
          <p:cNvSpPr>
            <a:spLocks noGrp="1"/>
          </p:cNvSpPr>
          <p:nvPr>
            <p:ph type="sldNum" sz="quarter" idx="4"/>
          </p:nvPr>
        </p:nvSpPr>
        <p:spPr>
          <a:xfrm>
            <a:off x="10438834" y="6508427"/>
            <a:ext cx="1143536" cy="153889"/>
          </a:xfrm>
        </p:spPr>
        <p:txBody>
          <a:bodyPr/>
          <a:lstStyle/>
          <a:p>
            <a:fld id="{2B39012A-6F33-204B-8224-A57BEFB0AAD0}" type="slidenum">
              <a:rPr lang="en-US"/>
              <a:pPr/>
              <a:t>58</a:t>
            </a:fld>
            <a:endParaRPr lang="en-US"/>
          </a:p>
        </p:txBody>
      </p:sp>
      <p:sp>
        <p:nvSpPr>
          <p:cNvPr id="27" name="Text Placeholder 4">
            <a:extLst>
              <a:ext uri="{FF2B5EF4-FFF2-40B4-BE49-F238E27FC236}">
                <a16:creationId xmlns:a16="http://schemas.microsoft.com/office/drawing/2014/main" id="{D2A1FAB8-CC52-8217-DC21-A3BB022993A5}"/>
              </a:ext>
            </a:extLst>
          </p:cNvPr>
          <p:cNvSpPr txBox="1">
            <a:spLocks/>
          </p:cNvSpPr>
          <p:nvPr/>
        </p:nvSpPr>
        <p:spPr bwMode="gray">
          <a:xfrm>
            <a:off x="1071426" y="5162106"/>
            <a:ext cx="10595124" cy="324949"/>
          </a:xfrm>
          <a:prstGeom prst="roundRect">
            <a:avLst/>
          </a:prstGeom>
          <a:solidFill>
            <a:schemeClr val="accent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defTabSz="171390">
              <a:defRPr/>
            </a:pPr>
            <a:r>
              <a:rPr lang="en-GB" sz="1600" err="1">
                <a:solidFill>
                  <a:srgbClr val="FFFFFF"/>
                </a:solidFill>
                <a:latin typeface="Pfizer Tomorrow"/>
              </a:rPr>
              <a:t>AMD’in</a:t>
            </a:r>
            <a:r>
              <a:rPr lang="en-GB" sz="1600">
                <a:solidFill>
                  <a:srgbClr val="FFFFFF"/>
                </a:solidFill>
                <a:latin typeface="Pfizer Tomorrow"/>
              </a:rPr>
              <a:t> 2050 </a:t>
            </a:r>
            <a:r>
              <a:rPr lang="en-GB" sz="1600" err="1">
                <a:solidFill>
                  <a:srgbClr val="FFFFFF"/>
                </a:solidFill>
                <a:latin typeface="Pfizer Tomorrow"/>
              </a:rPr>
              <a:t>yılına</a:t>
            </a:r>
            <a:r>
              <a:rPr lang="en-GB" sz="1600">
                <a:solidFill>
                  <a:srgbClr val="FFFFFF"/>
                </a:solidFill>
                <a:latin typeface="Pfizer Tomorrow"/>
              </a:rPr>
              <a:t> </a:t>
            </a:r>
            <a:r>
              <a:rPr lang="en-GB" sz="1600" err="1">
                <a:solidFill>
                  <a:srgbClr val="FFFFFF"/>
                </a:solidFill>
                <a:latin typeface="Pfizer Tomorrow"/>
              </a:rPr>
              <a:t>kadar</a:t>
            </a:r>
            <a:r>
              <a:rPr lang="en-GB" sz="1600">
                <a:solidFill>
                  <a:srgbClr val="FFFFFF"/>
                </a:solidFill>
                <a:latin typeface="Pfizer Tomorrow"/>
              </a:rPr>
              <a:t> </a:t>
            </a:r>
            <a:r>
              <a:rPr lang="en-GB" sz="1600" err="1">
                <a:solidFill>
                  <a:srgbClr val="FFFFFF"/>
                </a:solidFill>
                <a:latin typeface="Pfizer Tomorrow"/>
              </a:rPr>
              <a:t>küresel</a:t>
            </a:r>
            <a:r>
              <a:rPr lang="en-GB" sz="1600">
                <a:solidFill>
                  <a:srgbClr val="FFFFFF"/>
                </a:solidFill>
                <a:latin typeface="Pfizer Tomorrow"/>
              </a:rPr>
              <a:t> </a:t>
            </a:r>
            <a:r>
              <a:rPr lang="en-GB" sz="1600" err="1">
                <a:solidFill>
                  <a:srgbClr val="FFFFFF"/>
                </a:solidFill>
                <a:latin typeface="Pfizer Tomorrow"/>
              </a:rPr>
              <a:t>ölçekte</a:t>
            </a:r>
            <a:r>
              <a:rPr lang="en-GB" sz="1600">
                <a:solidFill>
                  <a:srgbClr val="FFFFFF"/>
                </a:solidFill>
                <a:latin typeface="Pfizer Tomorrow"/>
              </a:rPr>
              <a:t> </a:t>
            </a:r>
            <a:r>
              <a:rPr lang="en-GB" sz="1600" err="1">
                <a:solidFill>
                  <a:srgbClr val="FFFFFF"/>
                </a:solidFill>
                <a:latin typeface="Pfizer Tomorrow"/>
              </a:rPr>
              <a:t>artması</a:t>
            </a:r>
            <a:r>
              <a:rPr lang="en-GB" sz="1600">
                <a:solidFill>
                  <a:srgbClr val="FFFFFF"/>
                </a:solidFill>
                <a:latin typeface="Pfizer Tomorrow"/>
              </a:rPr>
              <a:t> </a:t>
            </a:r>
            <a:r>
              <a:rPr lang="en-GB" sz="1600" err="1">
                <a:solidFill>
                  <a:srgbClr val="FFFFFF"/>
                </a:solidFill>
                <a:latin typeface="Pfizer Tomorrow"/>
              </a:rPr>
              <a:t>beklenmektedir</a:t>
            </a:r>
            <a:r>
              <a:rPr lang="en-GB" sz="1600">
                <a:solidFill>
                  <a:srgbClr val="FFFFFF"/>
                </a:solidFill>
                <a:latin typeface="Pfizer Tomorrow"/>
              </a:rPr>
              <a:t>.</a:t>
            </a:r>
          </a:p>
        </p:txBody>
      </p:sp>
      <p:sp>
        <p:nvSpPr>
          <p:cNvPr id="57" name="TextBox 56">
            <a:extLst>
              <a:ext uri="{FF2B5EF4-FFF2-40B4-BE49-F238E27FC236}">
                <a16:creationId xmlns:a16="http://schemas.microsoft.com/office/drawing/2014/main" id="{7180C46A-F31E-4A1C-D135-C3F3A385201F}"/>
              </a:ext>
            </a:extLst>
          </p:cNvPr>
          <p:cNvSpPr txBox="1"/>
          <p:nvPr/>
        </p:nvSpPr>
        <p:spPr>
          <a:xfrm>
            <a:off x="10185408" y="3738435"/>
            <a:ext cx="1973392" cy="263149"/>
          </a:xfrm>
          <a:prstGeom prst="rect">
            <a:avLst/>
          </a:prstGeom>
          <a:noFill/>
        </p:spPr>
        <p:txBody>
          <a:bodyPr wrap="square">
            <a:spAutoFit/>
          </a:bodyPr>
          <a:lstStyle/>
          <a:p>
            <a:pPr defTabSz="171390">
              <a:lnSpc>
                <a:spcPct val="90000"/>
              </a:lnSpc>
              <a:spcBef>
                <a:spcPts val="450"/>
              </a:spcBef>
              <a:defRPr/>
            </a:pPr>
            <a:r>
              <a:rPr lang="en-GB" sz="1200">
                <a:solidFill>
                  <a:srgbClr val="02005E"/>
                </a:solidFill>
                <a:latin typeface="Pfizer Diatype Office"/>
              </a:rPr>
              <a:t>y</a:t>
            </a:r>
            <a:r>
              <a:rPr lang="en-GB" sz="1200" err="1">
                <a:solidFill>
                  <a:srgbClr val="02005E"/>
                </a:solidFill>
                <a:latin typeface="Pfizer Diatype Office"/>
              </a:rPr>
              <a:t>ıllık</a:t>
            </a:r>
            <a:r>
              <a:rPr lang="en-GB" sz="1200">
                <a:solidFill>
                  <a:srgbClr val="02005E"/>
                </a:solidFill>
                <a:latin typeface="Pfizer Diatype Office"/>
              </a:rPr>
              <a:t> </a:t>
            </a:r>
            <a:r>
              <a:rPr lang="en-GB" sz="1200" err="1">
                <a:solidFill>
                  <a:srgbClr val="02005E"/>
                </a:solidFill>
                <a:latin typeface="Pfizer Diatype Office"/>
              </a:rPr>
              <a:t>maliyet</a:t>
            </a:r>
            <a:endParaRPr lang="en-GB" sz="1200">
              <a:solidFill>
                <a:srgbClr val="02005E"/>
              </a:solidFill>
              <a:latin typeface="Pfizer Diatype Office"/>
            </a:endParaRPr>
          </a:p>
        </p:txBody>
      </p:sp>
      <p:grpSp>
        <p:nvGrpSpPr>
          <p:cNvPr id="5" name="Group 4">
            <a:extLst>
              <a:ext uri="{FF2B5EF4-FFF2-40B4-BE49-F238E27FC236}">
                <a16:creationId xmlns:a16="http://schemas.microsoft.com/office/drawing/2014/main" id="{B6133E89-D9A0-0A6A-4BB8-D35DFC5AB0F9}"/>
              </a:ext>
            </a:extLst>
          </p:cNvPr>
          <p:cNvGrpSpPr/>
          <p:nvPr/>
        </p:nvGrpSpPr>
        <p:grpSpPr>
          <a:xfrm>
            <a:off x="612775" y="1483205"/>
            <a:ext cx="11245850" cy="3523546"/>
            <a:chOff x="91852" y="1869383"/>
            <a:chExt cx="8958143" cy="2821463"/>
          </a:xfrm>
        </p:grpSpPr>
        <p:sp>
          <p:nvSpPr>
            <p:cNvPr id="28" name="TextBox 10">
              <a:extLst>
                <a:ext uri="{FF2B5EF4-FFF2-40B4-BE49-F238E27FC236}">
                  <a16:creationId xmlns:a16="http://schemas.microsoft.com/office/drawing/2014/main" id="{BF6B9F04-39BD-911E-CEA8-9AAFF53076B7}"/>
                </a:ext>
              </a:extLst>
            </p:cNvPr>
            <p:cNvSpPr txBox="1"/>
            <p:nvPr/>
          </p:nvSpPr>
          <p:spPr>
            <a:xfrm>
              <a:off x="91852" y="1869383"/>
              <a:ext cx="8958143" cy="37583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lc="http://schemas.openxmlformats.org/drawingml/2006/lockedCanvas" xmlns="" val="1"/>
              </a:ext>
            </a:extLst>
          </p:spPr>
          <p:txBody>
            <a:bodyPr wrap="square" lIns="0" tIns="0" rIns="0" bIns="0" anchor="b">
              <a:spAutoFit/>
            </a:bodyPr>
            <a:lstStyle>
              <a:defPPr>
                <a:defRPr lang="en-US"/>
              </a:defPPr>
              <a:lvl1pPr marL="0" algn="l" defTabSz="228520" rtl="0" eaLnBrk="1" latinLnBrk="0" hangingPunct="1">
                <a:defRPr sz="900" kern="1200">
                  <a:solidFill>
                    <a:schemeClr val="tx1"/>
                  </a:solidFill>
                  <a:latin typeface="+mn-lt"/>
                  <a:ea typeface="+mn-ea"/>
                  <a:cs typeface="+mn-cs"/>
                </a:defRPr>
              </a:lvl1pPr>
              <a:lvl2pPr marL="228520" algn="l" defTabSz="228520" rtl="0" eaLnBrk="1" latinLnBrk="0" hangingPunct="1">
                <a:defRPr sz="900" kern="1200">
                  <a:solidFill>
                    <a:schemeClr val="tx1"/>
                  </a:solidFill>
                  <a:latin typeface="+mn-lt"/>
                  <a:ea typeface="+mn-ea"/>
                  <a:cs typeface="+mn-cs"/>
                </a:defRPr>
              </a:lvl2pPr>
              <a:lvl3pPr marL="457041" algn="l" defTabSz="228520" rtl="0" eaLnBrk="1" latinLnBrk="0" hangingPunct="1">
                <a:defRPr sz="900" kern="1200">
                  <a:solidFill>
                    <a:schemeClr val="tx1"/>
                  </a:solidFill>
                  <a:latin typeface="+mn-lt"/>
                  <a:ea typeface="+mn-ea"/>
                  <a:cs typeface="+mn-cs"/>
                </a:defRPr>
              </a:lvl3pPr>
              <a:lvl4pPr marL="685560" algn="l" defTabSz="228520" rtl="0" eaLnBrk="1" latinLnBrk="0" hangingPunct="1">
                <a:defRPr sz="900" kern="1200">
                  <a:solidFill>
                    <a:schemeClr val="tx1"/>
                  </a:solidFill>
                  <a:latin typeface="+mn-lt"/>
                  <a:ea typeface="+mn-ea"/>
                  <a:cs typeface="+mn-cs"/>
                </a:defRPr>
              </a:lvl4pPr>
              <a:lvl5pPr marL="914080" algn="l" defTabSz="228520" rtl="0" eaLnBrk="1" latinLnBrk="0" hangingPunct="1">
                <a:defRPr sz="900" kern="1200">
                  <a:solidFill>
                    <a:schemeClr val="tx1"/>
                  </a:solidFill>
                  <a:latin typeface="+mn-lt"/>
                  <a:ea typeface="+mn-ea"/>
                  <a:cs typeface="+mn-cs"/>
                </a:defRPr>
              </a:lvl5pPr>
              <a:lvl6pPr marL="1142599" algn="l" defTabSz="228520" rtl="0" eaLnBrk="1" latinLnBrk="0" hangingPunct="1">
                <a:defRPr sz="900" kern="1200">
                  <a:solidFill>
                    <a:schemeClr val="tx1"/>
                  </a:solidFill>
                  <a:latin typeface="+mn-lt"/>
                  <a:ea typeface="+mn-ea"/>
                  <a:cs typeface="+mn-cs"/>
                </a:defRPr>
              </a:lvl6pPr>
              <a:lvl7pPr marL="1371120" algn="l" defTabSz="228520" rtl="0" eaLnBrk="1" latinLnBrk="0" hangingPunct="1">
                <a:defRPr sz="900" kern="1200">
                  <a:solidFill>
                    <a:schemeClr val="tx1"/>
                  </a:solidFill>
                  <a:latin typeface="+mn-lt"/>
                  <a:ea typeface="+mn-ea"/>
                  <a:cs typeface="+mn-cs"/>
                </a:defRPr>
              </a:lvl7pPr>
              <a:lvl8pPr marL="1599640" algn="l" defTabSz="228520" rtl="0" eaLnBrk="1" latinLnBrk="0" hangingPunct="1">
                <a:defRPr sz="900" kern="1200">
                  <a:solidFill>
                    <a:schemeClr val="tx1"/>
                  </a:solidFill>
                  <a:latin typeface="+mn-lt"/>
                  <a:ea typeface="+mn-ea"/>
                  <a:cs typeface="+mn-cs"/>
                </a:defRPr>
              </a:lvl8pPr>
              <a:lvl9pPr marL="1828160" algn="l" defTabSz="228520" rtl="0" eaLnBrk="1" latinLnBrk="0" hangingPunct="1">
                <a:defRPr sz="900" kern="1200">
                  <a:solidFill>
                    <a:schemeClr val="tx1"/>
                  </a:solidFill>
                  <a:latin typeface="+mn-lt"/>
                  <a:ea typeface="+mn-ea"/>
                  <a:cs typeface="+mn-cs"/>
                </a:defRPr>
              </a:lvl9pPr>
            </a:lstStyle>
            <a:p>
              <a:pPr marL="130302" indent="-130302" defTabSz="877603">
                <a:spcBef>
                  <a:spcPts val="900"/>
                </a:spcBef>
                <a:buFont typeface="Arial" panose="020B0604020202020204" pitchFamily="34" charset="0"/>
                <a:buChar char="•"/>
                <a:defRPr sz="1900">
                  <a:solidFill>
                    <a:srgbClr val="041E42"/>
                  </a:solidFill>
                  <a:latin typeface="Bogle Regular"/>
                  <a:ea typeface="Bogle Regular"/>
                  <a:cs typeface="Bogle Regular"/>
                  <a:sym typeface="Bogle Regular"/>
                </a:defRPr>
              </a:pPr>
              <a:r>
                <a:rPr lang="en-GB" sz="1400">
                  <a:solidFill>
                    <a:srgbClr val="02005E"/>
                  </a:solidFill>
                  <a:latin typeface="Pfizer Diatype Office" panose="020B0504040202060203" pitchFamily="34" charset="77"/>
                  <a:sym typeface="Bogle Regular"/>
                </a:rPr>
                <a:t>AMD </a:t>
              </a:r>
              <a:r>
                <a:rPr lang="en-GB" sz="1400" err="1">
                  <a:solidFill>
                    <a:srgbClr val="02005E"/>
                  </a:solidFill>
                  <a:latin typeface="Pfizer Diatype Office" panose="020B0504040202060203" pitchFamily="34" charset="77"/>
                  <a:sym typeface="Bogle Regular"/>
                </a:rPr>
                <a:t>ile</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ilişkili</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enfeksiyonlar</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yaygındır</a:t>
              </a:r>
              <a:r>
                <a:rPr lang="en-GB" sz="1400">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ve</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daha</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uzun</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hastanede</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kalış</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sürelerine</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artan</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tıbbi</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maliyetlere</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ve</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daha</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yüksek</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mortaliteye</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sebep</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olur</a:t>
              </a:r>
              <a:r>
                <a:rPr lang="en-GB" sz="1400" b="1">
                  <a:solidFill>
                    <a:srgbClr val="02005E"/>
                  </a:solidFill>
                  <a:latin typeface="Pfizer Diatype Office" panose="020B0504040202060203" pitchFamily="34" charset="77"/>
                  <a:sym typeface="Bogle Regular"/>
                </a:rPr>
                <a:t>.</a:t>
              </a:r>
            </a:p>
            <a:p>
              <a:pPr marL="130302" indent="-130302" defTabSz="877603">
                <a:spcBef>
                  <a:spcPts val="300"/>
                </a:spcBef>
                <a:buFont typeface="Arial" panose="020B0604020202020204" pitchFamily="34" charset="0"/>
                <a:buChar char="•"/>
                <a:defRPr sz="1900">
                  <a:solidFill>
                    <a:srgbClr val="041E42"/>
                  </a:solidFill>
                  <a:latin typeface="Bogle Regular"/>
                  <a:ea typeface="Bogle Regular"/>
                  <a:cs typeface="Bogle Regular"/>
                  <a:sym typeface="Bogle Regular"/>
                </a:defRPr>
              </a:pPr>
              <a:r>
                <a:rPr lang="en-GB" sz="1400">
                  <a:solidFill>
                    <a:srgbClr val="02005E"/>
                  </a:solidFill>
                  <a:latin typeface="Pfizer Diatype Office" panose="020B0504040202060203" pitchFamily="34" charset="77"/>
                  <a:sym typeface="Bogle Regular"/>
                </a:rPr>
                <a:t>AMD </a:t>
              </a:r>
              <a:r>
                <a:rPr lang="en-GB" sz="1400" err="1">
                  <a:solidFill>
                    <a:srgbClr val="02005E"/>
                  </a:solidFill>
                  <a:latin typeface="Pfizer Diatype Office" panose="020B0504040202060203" pitchFamily="34" charset="77"/>
                  <a:sym typeface="Bogle Regular"/>
                </a:rPr>
                <a:t>ile</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ilişkili</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enfeksiyonların</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sağlık</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yükü</a:t>
              </a:r>
              <a:r>
                <a:rPr lang="en-GB" sz="1400">
                  <a:solidFill>
                    <a:srgbClr val="02005E"/>
                  </a:solidFill>
                  <a:latin typeface="Pfizer Diatype Office" panose="020B0504040202060203" pitchFamily="34" charset="77"/>
                  <a:sym typeface="Bogle Regular"/>
                </a:rPr>
                <a:t>; influenza, </a:t>
              </a:r>
              <a:r>
                <a:rPr lang="en-GB" sz="1400" err="1">
                  <a:solidFill>
                    <a:srgbClr val="02005E"/>
                  </a:solidFill>
                  <a:latin typeface="Pfizer Diatype Office" panose="020B0504040202060203" pitchFamily="34" charset="77"/>
                  <a:sym typeface="Bogle Regular"/>
                </a:rPr>
                <a:t>tüberküloz</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ve</a:t>
              </a:r>
              <a:r>
                <a:rPr lang="en-GB" sz="1400">
                  <a:solidFill>
                    <a:srgbClr val="02005E"/>
                  </a:solidFill>
                  <a:latin typeface="Pfizer Diatype Office" panose="020B0504040202060203" pitchFamily="34" charset="77"/>
                  <a:sym typeface="Bogle Regular"/>
                </a:rPr>
                <a:t> HIV/</a:t>
              </a:r>
              <a:r>
                <a:rPr lang="en-GB" sz="1400" err="1">
                  <a:solidFill>
                    <a:srgbClr val="02005E"/>
                  </a:solidFill>
                  <a:latin typeface="Pfizer Diatype Office" panose="020B0504040202060203" pitchFamily="34" charset="77"/>
                  <a:sym typeface="Bogle Regular"/>
                </a:rPr>
                <a:t>AIDS’in</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birleşik</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yüküne</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kıyaslanabilir</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düzeydedir</a:t>
              </a:r>
              <a:r>
                <a:rPr lang="en-GB" sz="1400">
                  <a:solidFill>
                    <a:srgbClr val="02005E"/>
                  </a:solidFill>
                  <a:latin typeface="Pfizer Diatype Office" panose="020B0504040202060203" pitchFamily="34" charset="77"/>
                  <a:sym typeface="Bogle Regular"/>
                </a:rPr>
                <a:t>*</a:t>
              </a:r>
            </a:p>
          </p:txBody>
        </p:sp>
        <p:sp>
          <p:nvSpPr>
            <p:cNvPr id="29" name="Rectangle: Rounded Corners 28">
              <a:extLst>
                <a:ext uri="{FF2B5EF4-FFF2-40B4-BE49-F238E27FC236}">
                  <a16:creationId xmlns:a16="http://schemas.microsoft.com/office/drawing/2014/main" id="{D08CFFAB-EB79-84DA-6178-3EDCA27D2367}"/>
                </a:ext>
              </a:extLst>
            </p:cNvPr>
            <p:cNvSpPr/>
            <p:nvPr/>
          </p:nvSpPr>
          <p:spPr>
            <a:xfrm>
              <a:off x="457201" y="2472386"/>
              <a:ext cx="3996812" cy="2218460"/>
            </a:xfrm>
            <a:prstGeom prst="roundRect">
              <a:avLst>
                <a:gd name="adj" fmla="val 3978"/>
              </a:avLst>
            </a:prstGeom>
            <a:solidFill>
              <a:schemeClr val="accent2">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390">
                <a:defRPr/>
              </a:pPr>
              <a:endParaRPr lang="en-GB" sz="675">
                <a:solidFill>
                  <a:srgbClr val="FFFFFF"/>
                </a:solidFill>
                <a:latin typeface="Pfizer Diatype Office"/>
              </a:endParaRPr>
            </a:p>
          </p:txBody>
        </p:sp>
        <p:sp>
          <p:nvSpPr>
            <p:cNvPr id="30" name="Rectangle: Rounded Corners 29">
              <a:extLst>
                <a:ext uri="{FF2B5EF4-FFF2-40B4-BE49-F238E27FC236}">
                  <a16:creationId xmlns:a16="http://schemas.microsoft.com/office/drawing/2014/main" id="{480E1B12-4D67-6F43-F59D-50B1C37F9BC1}"/>
                </a:ext>
              </a:extLst>
            </p:cNvPr>
            <p:cNvSpPr/>
            <p:nvPr/>
          </p:nvSpPr>
          <p:spPr>
            <a:xfrm>
              <a:off x="4567318" y="2465741"/>
              <a:ext cx="4329675" cy="2218460"/>
            </a:xfrm>
            <a:prstGeom prst="roundRect">
              <a:avLst>
                <a:gd name="adj" fmla="val 3978"/>
              </a:avLst>
            </a:prstGeom>
            <a:solidFill>
              <a:schemeClr val="accent2">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390">
                <a:defRPr/>
              </a:pPr>
              <a:endParaRPr lang="en-GB" sz="675">
                <a:solidFill>
                  <a:srgbClr val="FFFFFF"/>
                </a:solidFill>
                <a:latin typeface="Pfizer Diatype Office"/>
              </a:endParaRPr>
            </a:p>
          </p:txBody>
        </p:sp>
        <p:sp>
          <p:nvSpPr>
            <p:cNvPr id="31" name="TextBox 30">
              <a:extLst>
                <a:ext uri="{FF2B5EF4-FFF2-40B4-BE49-F238E27FC236}">
                  <a16:creationId xmlns:a16="http://schemas.microsoft.com/office/drawing/2014/main" id="{D357AD39-0834-872A-A45F-92F69CFED098}"/>
                </a:ext>
              </a:extLst>
            </p:cNvPr>
            <p:cNvSpPr txBox="1"/>
            <p:nvPr/>
          </p:nvSpPr>
          <p:spPr>
            <a:xfrm>
              <a:off x="560835" y="2551007"/>
              <a:ext cx="3789939" cy="509317"/>
            </a:xfrm>
            <a:prstGeom prst="rect">
              <a:avLst/>
            </a:prstGeom>
            <a:noFill/>
          </p:spPr>
          <p:txBody>
            <a:bodyPr wrap="square">
              <a:spAutoFit/>
            </a:bodyPr>
            <a:lstStyle/>
            <a:p>
              <a:pPr defTabSz="171390">
                <a:lnSpc>
                  <a:spcPct val="90000"/>
                </a:lnSpc>
                <a:spcBef>
                  <a:spcPts val="450"/>
                </a:spcBef>
                <a:defRPr/>
              </a:pPr>
              <a:r>
                <a:rPr lang="en-GB" sz="2400" b="1">
                  <a:solidFill>
                    <a:srgbClr val="0000C9"/>
                  </a:solidFill>
                  <a:latin typeface="Pfizer Tomorrow"/>
                </a:rPr>
                <a:t>2019</a:t>
              </a:r>
            </a:p>
            <a:p>
              <a:pPr defTabSz="171390">
                <a:lnSpc>
                  <a:spcPct val="90000"/>
                </a:lnSpc>
                <a:spcBef>
                  <a:spcPts val="450"/>
                </a:spcBef>
                <a:defRPr/>
              </a:pPr>
              <a:r>
                <a:rPr lang="en-GB" sz="1200" err="1">
                  <a:solidFill>
                    <a:srgbClr val="02005E"/>
                  </a:solidFill>
                  <a:latin typeface="Pfizer Diatype Office"/>
                </a:rPr>
                <a:t>Küresel</a:t>
              </a:r>
              <a:r>
                <a:rPr lang="en-GB" sz="1200">
                  <a:solidFill>
                    <a:srgbClr val="02005E"/>
                  </a:solidFill>
                  <a:latin typeface="Pfizer Diatype Office"/>
                </a:rPr>
                <a:t> </a:t>
              </a:r>
              <a:r>
                <a:rPr lang="en-GB" sz="1200" err="1">
                  <a:solidFill>
                    <a:srgbClr val="02005E"/>
                  </a:solidFill>
                  <a:latin typeface="Pfizer Diatype Office"/>
                </a:rPr>
                <a:t>olarak</a:t>
              </a:r>
              <a:r>
                <a:rPr lang="en-GB" sz="1200">
                  <a:solidFill>
                    <a:srgbClr val="02005E"/>
                  </a:solidFill>
                  <a:latin typeface="Pfizer Diatype Office"/>
                </a:rPr>
                <a:t>, AMD </a:t>
              </a:r>
              <a:r>
                <a:rPr lang="en-GB" sz="1200" err="1">
                  <a:solidFill>
                    <a:srgbClr val="02005E"/>
                  </a:solidFill>
                  <a:latin typeface="Pfizer Diatype Office"/>
                </a:rPr>
                <a:t>ile</a:t>
              </a:r>
              <a:r>
                <a:rPr lang="en-GB" sz="1200">
                  <a:solidFill>
                    <a:srgbClr val="02005E"/>
                  </a:solidFill>
                  <a:latin typeface="Pfizer Diatype Office"/>
                </a:rPr>
                <a:t> </a:t>
              </a:r>
              <a:r>
                <a:rPr lang="en-GB" sz="1200" err="1">
                  <a:solidFill>
                    <a:srgbClr val="02005E"/>
                  </a:solidFill>
                  <a:latin typeface="Pfizer Diatype Office"/>
                </a:rPr>
                <a:t>ilişkili</a:t>
              </a:r>
              <a:r>
                <a:rPr lang="en-GB" sz="1200">
                  <a:solidFill>
                    <a:srgbClr val="02005E"/>
                  </a:solidFill>
                  <a:latin typeface="Pfizer Diatype Office"/>
                </a:rPr>
                <a:t>:</a:t>
              </a:r>
            </a:p>
          </p:txBody>
        </p:sp>
        <p:sp>
          <p:nvSpPr>
            <p:cNvPr id="32" name="TextBox 31">
              <a:extLst>
                <a:ext uri="{FF2B5EF4-FFF2-40B4-BE49-F238E27FC236}">
                  <a16:creationId xmlns:a16="http://schemas.microsoft.com/office/drawing/2014/main" id="{7FCE826D-4654-3D98-554B-E065DE4B03F9}"/>
                </a:ext>
              </a:extLst>
            </p:cNvPr>
            <p:cNvSpPr txBox="1"/>
            <p:nvPr/>
          </p:nvSpPr>
          <p:spPr>
            <a:xfrm>
              <a:off x="4683428" y="2551007"/>
              <a:ext cx="3789939" cy="509317"/>
            </a:xfrm>
            <a:prstGeom prst="rect">
              <a:avLst/>
            </a:prstGeom>
            <a:noFill/>
          </p:spPr>
          <p:txBody>
            <a:bodyPr wrap="square">
              <a:spAutoFit/>
            </a:bodyPr>
            <a:lstStyle/>
            <a:p>
              <a:pPr defTabSz="171390">
                <a:lnSpc>
                  <a:spcPct val="90000"/>
                </a:lnSpc>
                <a:spcBef>
                  <a:spcPts val="450"/>
                </a:spcBef>
                <a:defRPr/>
              </a:pPr>
              <a:r>
                <a:rPr lang="en-GB" sz="2400" b="1">
                  <a:solidFill>
                    <a:srgbClr val="0000C9"/>
                  </a:solidFill>
                  <a:latin typeface="Pfizer Tomorrow"/>
                </a:rPr>
                <a:t>2050</a:t>
              </a:r>
            </a:p>
            <a:p>
              <a:pPr defTabSz="171390">
                <a:lnSpc>
                  <a:spcPct val="90000"/>
                </a:lnSpc>
                <a:spcBef>
                  <a:spcPts val="450"/>
                </a:spcBef>
                <a:defRPr/>
              </a:pPr>
              <a:r>
                <a:rPr lang="en-GB" sz="1200" err="1">
                  <a:solidFill>
                    <a:srgbClr val="02005E"/>
                  </a:solidFill>
                  <a:latin typeface="Pfizer Diatype Office"/>
                </a:rPr>
                <a:t>Küresel</a:t>
              </a:r>
              <a:r>
                <a:rPr lang="en-GB" sz="1200">
                  <a:solidFill>
                    <a:srgbClr val="02005E"/>
                  </a:solidFill>
                  <a:latin typeface="Pfizer Diatype Office"/>
                </a:rPr>
                <a:t> </a:t>
              </a:r>
              <a:r>
                <a:rPr lang="en-GB" sz="1200" err="1">
                  <a:solidFill>
                    <a:srgbClr val="02005E"/>
                  </a:solidFill>
                  <a:latin typeface="Pfizer Diatype Office"/>
                </a:rPr>
                <a:t>olarak</a:t>
              </a:r>
              <a:r>
                <a:rPr lang="en-GB" sz="1200">
                  <a:solidFill>
                    <a:srgbClr val="02005E"/>
                  </a:solidFill>
                  <a:latin typeface="Pfizer Diatype Office"/>
                </a:rPr>
                <a:t>, </a:t>
              </a:r>
              <a:r>
                <a:rPr lang="en-GB" sz="1200" err="1">
                  <a:solidFill>
                    <a:srgbClr val="02005E"/>
                  </a:solidFill>
                  <a:latin typeface="Pfizer Diatype Office"/>
                </a:rPr>
                <a:t>AMD’nin</a:t>
              </a:r>
              <a:r>
                <a:rPr lang="en-GB" sz="1200">
                  <a:solidFill>
                    <a:srgbClr val="02005E"/>
                  </a:solidFill>
                  <a:latin typeface="Pfizer Diatype Office"/>
                </a:rPr>
                <a:t> </a:t>
              </a:r>
              <a:r>
                <a:rPr lang="en-GB" sz="1200" err="1">
                  <a:solidFill>
                    <a:srgbClr val="02005E"/>
                  </a:solidFill>
                  <a:latin typeface="Pfizer Diatype Office"/>
                </a:rPr>
                <a:t>yol</a:t>
              </a:r>
              <a:r>
                <a:rPr lang="en-GB" sz="1200">
                  <a:solidFill>
                    <a:srgbClr val="02005E"/>
                  </a:solidFill>
                  <a:latin typeface="Pfizer Diatype Office"/>
                </a:rPr>
                <a:t> </a:t>
              </a:r>
              <a:r>
                <a:rPr lang="en-GB" sz="1200" err="1">
                  <a:solidFill>
                    <a:srgbClr val="02005E"/>
                  </a:solidFill>
                  <a:latin typeface="Pfizer Diatype Office"/>
                </a:rPr>
                <a:t>açması</a:t>
              </a:r>
              <a:r>
                <a:rPr lang="en-GB" sz="1200">
                  <a:solidFill>
                    <a:srgbClr val="02005E"/>
                  </a:solidFill>
                  <a:latin typeface="Pfizer Diatype Office"/>
                </a:rPr>
                <a:t> </a:t>
              </a:r>
              <a:r>
                <a:rPr lang="en-GB" sz="1200" err="1">
                  <a:solidFill>
                    <a:srgbClr val="02005E"/>
                  </a:solidFill>
                  <a:latin typeface="Pfizer Diatype Office"/>
                </a:rPr>
                <a:t>bekleniyor</a:t>
              </a:r>
              <a:r>
                <a:rPr lang="en-GB" sz="1200">
                  <a:solidFill>
                    <a:srgbClr val="02005E"/>
                  </a:solidFill>
                  <a:latin typeface="Pfizer Diatype Office"/>
                </a:rPr>
                <a:t>:</a:t>
              </a:r>
            </a:p>
          </p:txBody>
        </p:sp>
        <p:sp>
          <p:nvSpPr>
            <p:cNvPr id="34" name="Rectangle: Rounded Corners 33">
              <a:extLst>
                <a:ext uri="{FF2B5EF4-FFF2-40B4-BE49-F238E27FC236}">
                  <a16:creationId xmlns:a16="http://schemas.microsoft.com/office/drawing/2014/main" id="{70FF036F-1FE3-2687-3F20-A270FA5A8EDA}"/>
                </a:ext>
              </a:extLst>
            </p:cNvPr>
            <p:cNvSpPr/>
            <p:nvPr/>
          </p:nvSpPr>
          <p:spPr>
            <a:xfrm>
              <a:off x="981941" y="3132210"/>
              <a:ext cx="1971090" cy="342900"/>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defTabSz="171390">
                <a:defRPr/>
              </a:pPr>
              <a:r>
                <a:rPr lang="en-GB" sz="1200" b="1">
                  <a:solidFill>
                    <a:srgbClr val="FFFFFF"/>
                  </a:solidFill>
                  <a:latin typeface="Pfizer Tomorrow"/>
                </a:rPr>
                <a:t>4,91 </a:t>
              </a:r>
              <a:r>
                <a:rPr lang="en-GB" sz="1200" b="1" err="1">
                  <a:solidFill>
                    <a:srgbClr val="FFFFFF"/>
                  </a:solidFill>
                  <a:latin typeface="Pfizer Tomorrow"/>
                </a:rPr>
                <a:t>milyon</a:t>
              </a:r>
              <a:endParaRPr lang="en-GB" sz="1200" b="1">
                <a:solidFill>
                  <a:srgbClr val="FFFFFF"/>
                </a:solidFill>
                <a:latin typeface="Pfizer Tomorrow"/>
              </a:endParaRPr>
            </a:p>
          </p:txBody>
        </p:sp>
        <p:sp>
          <p:nvSpPr>
            <p:cNvPr id="35" name="Rectangle: Rounded Corners 34">
              <a:extLst>
                <a:ext uri="{FF2B5EF4-FFF2-40B4-BE49-F238E27FC236}">
                  <a16:creationId xmlns:a16="http://schemas.microsoft.com/office/drawing/2014/main" id="{DBD2D707-CC3C-C0FE-B5D3-49F7960C2F5B}"/>
                </a:ext>
              </a:extLst>
            </p:cNvPr>
            <p:cNvSpPr/>
            <p:nvPr/>
          </p:nvSpPr>
          <p:spPr>
            <a:xfrm>
              <a:off x="981940" y="3572525"/>
              <a:ext cx="1971090" cy="3429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390">
                <a:defRPr/>
              </a:pPr>
              <a:r>
                <a:rPr lang="en-US" sz="1200" b="1">
                  <a:solidFill>
                    <a:srgbClr val="FFFFFF"/>
                  </a:solidFill>
                  <a:latin typeface="Pfizer Tomorrow"/>
                </a:rPr>
                <a:t>300 </a:t>
              </a:r>
              <a:r>
                <a:rPr lang="en-US" sz="1200" b="1" err="1">
                  <a:solidFill>
                    <a:srgbClr val="FFFFFF"/>
                  </a:solidFill>
                  <a:latin typeface="Pfizer Tomorrow"/>
                </a:rPr>
                <a:t>milyar</a:t>
              </a:r>
              <a:r>
                <a:rPr lang="en-US" sz="1200" b="1">
                  <a:solidFill>
                    <a:srgbClr val="FFFFFF"/>
                  </a:solidFill>
                  <a:latin typeface="Pfizer Tomorrow"/>
                </a:rPr>
                <a:t> </a:t>
              </a:r>
              <a:r>
                <a:rPr lang="en-US" sz="1200" b="1" err="1">
                  <a:solidFill>
                    <a:srgbClr val="FFFFFF"/>
                  </a:solidFill>
                  <a:latin typeface="Pfizer Tomorrow"/>
                </a:rPr>
                <a:t>dolar</a:t>
              </a:r>
              <a:endParaRPr lang="en-GB" sz="1200" b="1">
                <a:solidFill>
                  <a:srgbClr val="FFFFFF"/>
                </a:solidFill>
                <a:latin typeface="Pfizer Tomorrow"/>
              </a:endParaRPr>
            </a:p>
          </p:txBody>
        </p:sp>
        <p:pic>
          <p:nvPicPr>
            <p:cNvPr id="37" name="Graphic 36">
              <a:extLst>
                <a:ext uri="{FF2B5EF4-FFF2-40B4-BE49-F238E27FC236}">
                  <a16:creationId xmlns:a16="http://schemas.microsoft.com/office/drawing/2014/main" id="{A3F7245B-C735-1B45-8383-8D89210F3F2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73517" y="3141648"/>
              <a:ext cx="322699" cy="322699"/>
            </a:xfrm>
            <a:prstGeom prst="rect">
              <a:avLst/>
            </a:prstGeom>
          </p:spPr>
        </p:pic>
        <p:pic>
          <p:nvPicPr>
            <p:cNvPr id="38" name="Graphic 37">
              <a:extLst>
                <a:ext uri="{FF2B5EF4-FFF2-40B4-BE49-F238E27FC236}">
                  <a16:creationId xmlns:a16="http://schemas.microsoft.com/office/drawing/2014/main" id="{0933F04B-A4CC-EE5D-8391-0CD5415FB22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73517" y="3582626"/>
              <a:ext cx="322699" cy="322699"/>
            </a:xfrm>
            <a:prstGeom prst="rect">
              <a:avLst/>
            </a:prstGeom>
          </p:spPr>
        </p:pic>
        <p:sp>
          <p:nvSpPr>
            <p:cNvPr id="46" name="TextBox 45">
              <a:extLst>
                <a:ext uri="{FF2B5EF4-FFF2-40B4-BE49-F238E27FC236}">
                  <a16:creationId xmlns:a16="http://schemas.microsoft.com/office/drawing/2014/main" id="{A34548EC-3335-40B4-75E1-7258D7007EDE}"/>
                </a:ext>
              </a:extLst>
            </p:cNvPr>
            <p:cNvSpPr txBox="1"/>
            <p:nvPr/>
          </p:nvSpPr>
          <p:spPr>
            <a:xfrm>
              <a:off x="3066336" y="3194304"/>
              <a:ext cx="756212" cy="333828"/>
            </a:xfrm>
            <a:prstGeom prst="rect">
              <a:avLst/>
            </a:prstGeom>
            <a:noFill/>
          </p:spPr>
          <p:txBody>
            <a:bodyPr wrap="square">
              <a:spAutoFit/>
            </a:bodyPr>
            <a:lstStyle/>
            <a:p>
              <a:pPr defTabSz="171390">
                <a:lnSpc>
                  <a:spcPct val="90000"/>
                </a:lnSpc>
                <a:spcBef>
                  <a:spcPts val="450"/>
                </a:spcBef>
                <a:defRPr/>
              </a:pPr>
              <a:r>
                <a:rPr lang="en-GB" sz="1200">
                  <a:solidFill>
                    <a:srgbClr val="02005E"/>
                  </a:solidFill>
                  <a:latin typeface="Pfizer Diatype Office"/>
                </a:rPr>
                <a:t>can </a:t>
              </a:r>
              <a:r>
                <a:rPr lang="en-GB" sz="1200" err="1">
                  <a:solidFill>
                    <a:srgbClr val="02005E"/>
                  </a:solidFill>
                  <a:latin typeface="Pfizer Diatype Office"/>
                </a:rPr>
                <a:t>kaybı</a:t>
              </a:r>
              <a:endParaRPr lang="en-GB" sz="1200">
                <a:solidFill>
                  <a:srgbClr val="02005E"/>
                </a:solidFill>
                <a:latin typeface="Pfizer Diatype Office"/>
              </a:endParaRPr>
            </a:p>
          </p:txBody>
        </p:sp>
        <p:sp>
          <p:nvSpPr>
            <p:cNvPr id="47" name="TextBox 46">
              <a:extLst>
                <a:ext uri="{FF2B5EF4-FFF2-40B4-BE49-F238E27FC236}">
                  <a16:creationId xmlns:a16="http://schemas.microsoft.com/office/drawing/2014/main" id="{5460FEBC-1828-B9D8-4A05-FA502AC87E2A}"/>
                </a:ext>
              </a:extLst>
            </p:cNvPr>
            <p:cNvSpPr txBox="1"/>
            <p:nvPr/>
          </p:nvSpPr>
          <p:spPr>
            <a:xfrm>
              <a:off x="3066336" y="3674398"/>
              <a:ext cx="1644635" cy="204604"/>
            </a:xfrm>
            <a:prstGeom prst="rect">
              <a:avLst/>
            </a:prstGeom>
            <a:noFill/>
          </p:spPr>
          <p:txBody>
            <a:bodyPr wrap="square">
              <a:spAutoFit/>
            </a:bodyPr>
            <a:lstStyle/>
            <a:p>
              <a:pPr defTabSz="171390">
                <a:lnSpc>
                  <a:spcPct val="90000"/>
                </a:lnSpc>
                <a:spcBef>
                  <a:spcPts val="450"/>
                </a:spcBef>
                <a:defRPr/>
              </a:pPr>
              <a:r>
                <a:rPr lang="en-GB" sz="1200" err="1">
                  <a:solidFill>
                    <a:srgbClr val="02005E"/>
                  </a:solidFill>
                  <a:latin typeface="Pfizer Diatype Office"/>
                </a:rPr>
                <a:t>yıllık</a:t>
              </a:r>
              <a:r>
                <a:rPr lang="en-GB" sz="1200">
                  <a:solidFill>
                    <a:srgbClr val="02005E"/>
                  </a:solidFill>
                  <a:latin typeface="Pfizer Diatype Office"/>
                </a:rPr>
                <a:t> </a:t>
              </a:r>
              <a:r>
                <a:rPr lang="en-GB" sz="1200" err="1">
                  <a:solidFill>
                    <a:srgbClr val="02005E"/>
                  </a:solidFill>
                  <a:latin typeface="Pfizer Diatype Office"/>
                </a:rPr>
                <a:t>maliyet</a:t>
              </a:r>
              <a:endParaRPr lang="en-GB" sz="1200">
                <a:solidFill>
                  <a:srgbClr val="02005E"/>
                </a:solidFill>
                <a:latin typeface="Pfizer Diatype Office"/>
              </a:endParaRPr>
            </a:p>
          </p:txBody>
        </p:sp>
        <p:sp>
          <p:nvSpPr>
            <p:cNvPr id="50" name="Rectangle: Rounded Corners 49">
              <a:extLst>
                <a:ext uri="{FF2B5EF4-FFF2-40B4-BE49-F238E27FC236}">
                  <a16:creationId xmlns:a16="http://schemas.microsoft.com/office/drawing/2014/main" id="{3D95C803-ED38-E323-7DA6-0BEC786ACA46}"/>
                </a:ext>
              </a:extLst>
            </p:cNvPr>
            <p:cNvSpPr/>
            <p:nvPr/>
          </p:nvSpPr>
          <p:spPr>
            <a:xfrm>
              <a:off x="5088948" y="3132210"/>
              <a:ext cx="2576840" cy="342900"/>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defTabSz="171390">
                <a:defRPr/>
              </a:pPr>
              <a:r>
                <a:rPr lang="en-GB" sz="1200" b="1">
                  <a:solidFill>
                    <a:srgbClr val="FFFFFF"/>
                  </a:solidFill>
                  <a:latin typeface="Pfizer Tomorrow"/>
                </a:rPr>
                <a:t>10 </a:t>
              </a:r>
              <a:r>
                <a:rPr lang="en-GB" sz="1200" b="1" err="1">
                  <a:solidFill>
                    <a:srgbClr val="FFFFFF"/>
                  </a:solidFill>
                  <a:latin typeface="Pfizer Tomorrow"/>
                </a:rPr>
                <a:t>milyon</a:t>
              </a:r>
              <a:endParaRPr lang="en-GB" sz="1200" b="1">
                <a:solidFill>
                  <a:srgbClr val="FFFFFF"/>
                </a:solidFill>
                <a:latin typeface="Pfizer Tomorrow"/>
              </a:endParaRPr>
            </a:p>
          </p:txBody>
        </p:sp>
        <p:sp>
          <p:nvSpPr>
            <p:cNvPr id="51" name="Rectangle: Rounded Corners 50">
              <a:extLst>
                <a:ext uri="{FF2B5EF4-FFF2-40B4-BE49-F238E27FC236}">
                  <a16:creationId xmlns:a16="http://schemas.microsoft.com/office/drawing/2014/main" id="{C53F5409-A605-C930-D76D-F5B247313444}"/>
                </a:ext>
              </a:extLst>
            </p:cNvPr>
            <p:cNvSpPr/>
            <p:nvPr/>
          </p:nvSpPr>
          <p:spPr>
            <a:xfrm>
              <a:off x="5088948" y="3572525"/>
              <a:ext cx="2576840" cy="3429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defTabSz="171390">
                <a:defRPr/>
              </a:pPr>
              <a:r>
                <a:rPr lang="en-US" sz="1200" b="1">
                  <a:solidFill>
                    <a:srgbClr val="FFFFFF"/>
                  </a:solidFill>
                  <a:latin typeface="Pfizer Tomorrow"/>
                </a:rPr>
                <a:t>&gt;$1 trilyon </a:t>
              </a:r>
              <a:endParaRPr lang="en-GB" sz="1200" b="1">
                <a:solidFill>
                  <a:srgbClr val="FFFFFF"/>
                </a:solidFill>
                <a:latin typeface="Pfizer Tomorrow"/>
              </a:endParaRPr>
            </a:p>
          </p:txBody>
        </p:sp>
        <p:pic>
          <p:nvPicPr>
            <p:cNvPr id="52" name="Graphic 51">
              <a:extLst>
                <a:ext uri="{FF2B5EF4-FFF2-40B4-BE49-F238E27FC236}">
                  <a16:creationId xmlns:a16="http://schemas.microsoft.com/office/drawing/2014/main" id="{37CA001B-45BB-E599-F3B7-895548B7AB14}"/>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680524" y="4253950"/>
              <a:ext cx="322699" cy="322699"/>
            </a:xfrm>
            <a:prstGeom prst="rect">
              <a:avLst/>
            </a:prstGeom>
          </p:spPr>
        </p:pic>
        <p:pic>
          <p:nvPicPr>
            <p:cNvPr id="53" name="Graphic 52">
              <a:extLst>
                <a:ext uri="{FF2B5EF4-FFF2-40B4-BE49-F238E27FC236}">
                  <a16:creationId xmlns:a16="http://schemas.microsoft.com/office/drawing/2014/main" id="{B807E0CE-5643-8469-31CA-F65A895D910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680524" y="3141648"/>
              <a:ext cx="322699" cy="322699"/>
            </a:xfrm>
            <a:prstGeom prst="rect">
              <a:avLst/>
            </a:prstGeom>
          </p:spPr>
        </p:pic>
        <p:pic>
          <p:nvPicPr>
            <p:cNvPr id="54" name="Graphic 53">
              <a:extLst>
                <a:ext uri="{FF2B5EF4-FFF2-40B4-BE49-F238E27FC236}">
                  <a16:creationId xmlns:a16="http://schemas.microsoft.com/office/drawing/2014/main" id="{B8A67E4C-1F19-B35B-3FFF-374969252D2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680524" y="3582626"/>
              <a:ext cx="322699" cy="322699"/>
            </a:xfrm>
            <a:prstGeom prst="rect">
              <a:avLst/>
            </a:prstGeom>
          </p:spPr>
        </p:pic>
        <p:sp>
          <p:nvSpPr>
            <p:cNvPr id="55" name="Rectangle: Rounded Corners 54">
              <a:extLst>
                <a:ext uri="{FF2B5EF4-FFF2-40B4-BE49-F238E27FC236}">
                  <a16:creationId xmlns:a16="http://schemas.microsoft.com/office/drawing/2014/main" id="{7349D273-5E42-FE9A-3B5A-097E75DB0F0E}"/>
                </a:ext>
              </a:extLst>
            </p:cNvPr>
            <p:cNvSpPr/>
            <p:nvPr/>
          </p:nvSpPr>
          <p:spPr>
            <a:xfrm>
              <a:off x="5088947" y="4246635"/>
              <a:ext cx="1536300" cy="342900"/>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defTabSz="171390">
                <a:defRPr/>
              </a:pPr>
              <a:r>
                <a:rPr lang="en-GB" sz="1200" b="1">
                  <a:solidFill>
                    <a:srgbClr val="FFFFFF"/>
                  </a:solidFill>
                  <a:latin typeface="Pfizer Tomorrow"/>
                </a:rPr>
                <a:t>&gt; 569 </a:t>
              </a:r>
              <a:r>
                <a:rPr lang="en-GB" sz="1200" b="1" err="1">
                  <a:solidFill>
                    <a:srgbClr val="FFFFFF"/>
                  </a:solidFill>
                  <a:latin typeface="Pfizer Tomorrow"/>
                </a:rPr>
                <a:t>milyon</a:t>
              </a:r>
              <a:endParaRPr lang="en-GB" sz="1200" b="1">
                <a:solidFill>
                  <a:srgbClr val="FFFFFF"/>
                </a:solidFill>
                <a:latin typeface="Pfizer Tomorrow"/>
              </a:endParaRPr>
            </a:p>
          </p:txBody>
        </p:sp>
        <p:sp>
          <p:nvSpPr>
            <p:cNvPr id="56" name="TextBox 55">
              <a:extLst>
                <a:ext uri="{FF2B5EF4-FFF2-40B4-BE49-F238E27FC236}">
                  <a16:creationId xmlns:a16="http://schemas.microsoft.com/office/drawing/2014/main" id="{312B6BF5-31EC-AE7C-25E3-3015E9F2585A}"/>
                </a:ext>
              </a:extLst>
            </p:cNvPr>
            <p:cNvSpPr txBox="1"/>
            <p:nvPr/>
          </p:nvSpPr>
          <p:spPr>
            <a:xfrm>
              <a:off x="7717155" y="3195828"/>
              <a:ext cx="756212" cy="333828"/>
            </a:xfrm>
            <a:prstGeom prst="rect">
              <a:avLst/>
            </a:prstGeom>
            <a:noFill/>
          </p:spPr>
          <p:txBody>
            <a:bodyPr wrap="square">
              <a:spAutoFit/>
            </a:bodyPr>
            <a:lstStyle/>
            <a:p>
              <a:pPr defTabSz="171390">
                <a:lnSpc>
                  <a:spcPct val="90000"/>
                </a:lnSpc>
                <a:spcBef>
                  <a:spcPts val="450"/>
                </a:spcBef>
                <a:defRPr/>
              </a:pPr>
              <a:r>
                <a:rPr lang="en-GB" sz="1200">
                  <a:solidFill>
                    <a:srgbClr val="02005E"/>
                  </a:solidFill>
                  <a:latin typeface="Pfizer Diatype Office"/>
                </a:rPr>
                <a:t>can </a:t>
              </a:r>
              <a:r>
                <a:rPr lang="en-GB" sz="1200" err="1">
                  <a:solidFill>
                    <a:srgbClr val="02005E"/>
                  </a:solidFill>
                  <a:latin typeface="Pfizer Diatype Office"/>
                </a:rPr>
                <a:t>kaybı</a:t>
              </a:r>
              <a:endParaRPr lang="en-GB" sz="1200">
                <a:solidFill>
                  <a:srgbClr val="02005E"/>
                </a:solidFill>
                <a:latin typeface="Pfizer Diatype Office"/>
              </a:endParaRPr>
            </a:p>
          </p:txBody>
        </p:sp>
        <p:sp>
          <p:nvSpPr>
            <p:cNvPr id="58" name="TextBox 57">
              <a:extLst>
                <a:ext uri="{FF2B5EF4-FFF2-40B4-BE49-F238E27FC236}">
                  <a16:creationId xmlns:a16="http://schemas.microsoft.com/office/drawing/2014/main" id="{4B536300-BFF8-0F72-C16C-8C20334D3110}"/>
                </a:ext>
              </a:extLst>
            </p:cNvPr>
            <p:cNvSpPr txBox="1"/>
            <p:nvPr/>
          </p:nvSpPr>
          <p:spPr>
            <a:xfrm>
              <a:off x="6698887" y="4242281"/>
              <a:ext cx="1868486" cy="333828"/>
            </a:xfrm>
            <a:prstGeom prst="rect">
              <a:avLst/>
            </a:prstGeom>
            <a:noFill/>
          </p:spPr>
          <p:txBody>
            <a:bodyPr wrap="square">
              <a:spAutoFit/>
            </a:bodyPr>
            <a:lstStyle/>
            <a:p>
              <a:pPr defTabSz="171390">
                <a:lnSpc>
                  <a:spcPct val="90000"/>
                </a:lnSpc>
                <a:spcBef>
                  <a:spcPts val="450"/>
                </a:spcBef>
                <a:defRPr/>
              </a:pPr>
              <a:r>
                <a:rPr lang="en-GB" sz="1200" err="1">
                  <a:solidFill>
                    <a:srgbClr val="02005E"/>
                  </a:solidFill>
                  <a:latin typeface="Pfizer Diatype Office"/>
                </a:rPr>
                <a:t>yıllık</a:t>
              </a:r>
              <a:r>
                <a:rPr lang="en-GB" sz="1200">
                  <a:solidFill>
                    <a:srgbClr val="02005E"/>
                  </a:solidFill>
                  <a:latin typeface="Pfizer Diatype Office"/>
                </a:rPr>
                <a:t> </a:t>
              </a:r>
              <a:r>
                <a:rPr lang="en-GB" sz="1200" err="1">
                  <a:solidFill>
                    <a:srgbClr val="02005E"/>
                  </a:solidFill>
                  <a:latin typeface="Pfizer Diatype Office"/>
                </a:rPr>
                <a:t>fazladan</a:t>
              </a:r>
              <a:r>
                <a:rPr lang="en-GB" sz="1200">
                  <a:solidFill>
                    <a:srgbClr val="02005E"/>
                  </a:solidFill>
                  <a:latin typeface="Pfizer Diatype Office"/>
                </a:rPr>
                <a:t> </a:t>
              </a:r>
              <a:r>
                <a:rPr lang="en-GB" sz="1200" err="1">
                  <a:solidFill>
                    <a:srgbClr val="02005E"/>
                  </a:solidFill>
                  <a:latin typeface="Pfizer Diatype Office"/>
                </a:rPr>
                <a:t>hastane</a:t>
              </a:r>
              <a:r>
                <a:rPr lang="en-GB" sz="1200">
                  <a:solidFill>
                    <a:srgbClr val="02005E"/>
                  </a:solidFill>
                  <a:latin typeface="Pfizer Diatype Office"/>
                </a:rPr>
                <a:t> </a:t>
              </a:r>
              <a:r>
                <a:rPr lang="en-GB" sz="1200" err="1">
                  <a:solidFill>
                    <a:srgbClr val="02005E"/>
                  </a:solidFill>
                  <a:latin typeface="Pfizer Diatype Office"/>
                </a:rPr>
                <a:t>yatış</a:t>
              </a:r>
              <a:r>
                <a:rPr lang="en-GB" sz="1200">
                  <a:solidFill>
                    <a:srgbClr val="02005E"/>
                  </a:solidFill>
                  <a:latin typeface="Pfizer Diatype Office"/>
                </a:rPr>
                <a:t> </a:t>
              </a:r>
              <a:r>
                <a:rPr lang="en-GB" sz="1200" err="1">
                  <a:solidFill>
                    <a:srgbClr val="02005E"/>
                  </a:solidFill>
                  <a:latin typeface="Pfizer Diatype Office"/>
                </a:rPr>
                <a:t>günü</a:t>
              </a:r>
              <a:r>
                <a:rPr lang="en-GB" sz="1200">
                  <a:solidFill>
                    <a:srgbClr val="02005E"/>
                  </a:solidFill>
                  <a:latin typeface="Pfizer Diatype Office"/>
                </a:rPr>
                <a:t> (AB)</a:t>
              </a:r>
            </a:p>
          </p:txBody>
        </p:sp>
      </p:grpSp>
      <p:sp>
        <p:nvSpPr>
          <p:cNvPr id="2" name="TextBox 1">
            <a:extLst>
              <a:ext uri="{FF2B5EF4-FFF2-40B4-BE49-F238E27FC236}">
                <a16:creationId xmlns:a16="http://schemas.microsoft.com/office/drawing/2014/main" id="{92FA8A34-7962-2BC5-D1BE-DC10504C066A}"/>
              </a:ext>
            </a:extLst>
          </p:cNvPr>
          <p:cNvSpPr txBox="1"/>
          <p:nvPr/>
        </p:nvSpPr>
        <p:spPr>
          <a:xfrm>
            <a:off x="1071425" y="5713803"/>
            <a:ext cx="8958143" cy="215444"/>
          </a:xfrm>
          <a:prstGeom prst="rect">
            <a:avLst/>
          </a:prstGeom>
          <a:noFill/>
        </p:spPr>
        <p:txBody>
          <a:bodyPr wrap="square" lIns="0" tIns="0" rIns="0" bIns="0" rtlCol="0" anchor="b">
            <a:spAutoFit/>
          </a:bodyPr>
          <a:lstStyle/>
          <a:p>
            <a:pPr lvl="0" algn="r">
              <a:defRPr/>
            </a:pPr>
            <a:r>
              <a:rPr lang="en-GB" sz="700" dirty="0"/>
              <a:t>.</a:t>
            </a:r>
          </a:p>
          <a:p>
            <a:pPr lvl="0" algn="r">
              <a:defRPr/>
            </a:pPr>
            <a:r>
              <a:rPr lang="en-GB" sz="700" dirty="0"/>
              <a:t>1. Vaccines Europe. Vaccines Europe pipeline review 2023. Innovating for tomorrow, today. </a:t>
            </a:r>
            <a:r>
              <a:rPr lang="en-GB" sz="700" dirty="0">
                <a:hlinkClick r:id="rId9">
                  <a:extLst>
                    <a:ext uri="{A12FA001-AC4F-418D-AE19-62706E023703}">
                      <ahyp:hlinkClr xmlns:ahyp="http://schemas.microsoft.com/office/drawing/2018/hyperlinkcolor" val="tx"/>
                    </a:ext>
                  </a:extLst>
                </a:hlinkClick>
              </a:rPr>
              <a:t>https://www.vaccineseurope.eu/wp-content/uploads/2023/11/VaccinesEurope-PipelineReview2023.pdf</a:t>
            </a:r>
            <a:r>
              <a:rPr lang="en-GB" sz="700" dirty="0"/>
              <a:t>. Accessed 13 March 2025.</a:t>
            </a:r>
            <a:r>
              <a:rPr lang="en-GB" sz="700" dirty="0">
                <a:latin typeface="Pfizer Diatype Office"/>
              </a:rPr>
              <a:t>.</a:t>
            </a:r>
          </a:p>
        </p:txBody>
      </p:sp>
      <p:sp>
        <p:nvSpPr>
          <p:cNvPr id="4" name="TextBox 3">
            <a:extLst>
              <a:ext uri="{FF2B5EF4-FFF2-40B4-BE49-F238E27FC236}">
                <a16:creationId xmlns:a16="http://schemas.microsoft.com/office/drawing/2014/main" id="{DAC4FBE3-1415-23E6-A2EB-FEF3E84265D8}"/>
              </a:ext>
            </a:extLst>
          </p:cNvPr>
          <p:cNvSpPr txBox="1"/>
          <p:nvPr/>
        </p:nvSpPr>
        <p:spPr>
          <a:xfrm>
            <a:off x="1071426" y="5565268"/>
            <a:ext cx="8958143" cy="200055"/>
          </a:xfrm>
          <a:prstGeom prst="rect">
            <a:avLst/>
          </a:prstGeom>
          <a:noFill/>
        </p:spPr>
        <p:txBody>
          <a:bodyPr wrap="square">
            <a:spAutoFit/>
          </a:bodyPr>
          <a:lstStyle/>
          <a:p>
            <a:r>
              <a:rPr lang="en-GB" sz="700" dirty="0"/>
              <a:t>*AB </a:t>
            </a:r>
            <a:r>
              <a:rPr lang="en-GB" sz="700" dirty="0" err="1"/>
              <a:t>ve</a:t>
            </a:r>
            <a:r>
              <a:rPr lang="en-GB" sz="700" dirty="0"/>
              <a:t> </a:t>
            </a:r>
            <a:r>
              <a:rPr lang="en-GB" sz="700" dirty="0" err="1"/>
              <a:t>AEA’da</a:t>
            </a:r>
            <a:r>
              <a:rPr lang="en-GB" sz="700" dirty="0"/>
              <a:t>. AIDS, </a:t>
            </a:r>
            <a:r>
              <a:rPr lang="en-GB" sz="700" dirty="0" err="1"/>
              <a:t>edilnilmiş</a:t>
            </a:r>
            <a:r>
              <a:rPr lang="en-GB" sz="700" dirty="0"/>
              <a:t> </a:t>
            </a:r>
            <a:r>
              <a:rPr lang="en-GB" sz="700" dirty="0" err="1"/>
              <a:t>immünyetmezlik</a:t>
            </a:r>
            <a:r>
              <a:rPr lang="en-GB" sz="700" dirty="0"/>
              <a:t> </a:t>
            </a:r>
            <a:r>
              <a:rPr lang="en-GB" sz="700" dirty="0" err="1"/>
              <a:t>sendromu</a:t>
            </a:r>
            <a:r>
              <a:rPr lang="en-GB" sz="700" dirty="0"/>
              <a:t>; AMD, </a:t>
            </a:r>
            <a:r>
              <a:rPr lang="en-GB" sz="700" dirty="0" err="1"/>
              <a:t>antimikrobiyal</a:t>
            </a:r>
            <a:r>
              <a:rPr lang="en-GB" sz="700" dirty="0"/>
              <a:t> </a:t>
            </a:r>
            <a:r>
              <a:rPr lang="en-GB" sz="700" dirty="0" err="1"/>
              <a:t>direnç</a:t>
            </a:r>
            <a:r>
              <a:rPr lang="en-GB" sz="700" dirty="0"/>
              <a:t>; EEA, </a:t>
            </a:r>
            <a:r>
              <a:rPr lang="en-GB" sz="700" dirty="0" err="1"/>
              <a:t>Avrupa</a:t>
            </a:r>
            <a:r>
              <a:rPr lang="en-GB" sz="700" dirty="0"/>
              <a:t> Ekonomi </a:t>
            </a:r>
            <a:r>
              <a:rPr lang="en-GB" sz="700" dirty="0" err="1"/>
              <a:t>Areası</a:t>
            </a:r>
            <a:r>
              <a:rPr lang="en-GB" sz="700" dirty="0"/>
              <a:t>; AB, </a:t>
            </a:r>
            <a:r>
              <a:rPr lang="en-GB" sz="700" dirty="0" err="1"/>
              <a:t>Avrupa</a:t>
            </a:r>
            <a:r>
              <a:rPr lang="en-GB" sz="700" dirty="0"/>
              <a:t> </a:t>
            </a:r>
            <a:r>
              <a:rPr lang="en-GB" sz="700" dirty="0" err="1"/>
              <a:t>Birliği</a:t>
            </a:r>
            <a:r>
              <a:rPr lang="en-GB" sz="700" dirty="0"/>
              <a:t>; HIV, </a:t>
            </a:r>
            <a:r>
              <a:rPr lang="en-GB" sz="700" dirty="0" err="1"/>
              <a:t>insan</a:t>
            </a:r>
            <a:r>
              <a:rPr lang="en-GB" sz="700" dirty="0"/>
              <a:t> </a:t>
            </a:r>
            <a:r>
              <a:rPr lang="en-GB" sz="700" dirty="0" err="1"/>
              <a:t>bağışıklıkyetmezliği</a:t>
            </a:r>
            <a:r>
              <a:rPr lang="en-GB" sz="700" dirty="0"/>
              <a:t> </a:t>
            </a:r>
            <a:r>
              <a:rPr lang="en-GB" sz="700" dirty="0" err="1"/>
              <a:t>virüsü</a:t>
            </a:r>
            <a:endParaRPr lang="en-TR" sz="700" dirty="0"/>
          </a:p>
        </p:txBody>
      </p:sp>
      <p:pic>
        <p:nvPicPr>
          <p:cNvPr id="10" name="Picture 9" descr="A yellow and blue logo&#10;&#10;Description automatically generated">
            <a:extLst>
              <a:ext uri="{FF2B5EF4-FFF2-40B4-BE49-F238E27FC236}">
                <a16:creationId xmlns:a16="http://schemas.microsoft.com/office/drawing/2014/main" id="{EEF44AA8-712B-AEF2-E7BD-314CE8547803}"/>
              </a:ext>
            </a:extLst>
          </p:cNvPr>
          <p:cNvPicPr>
            <a:picLocks noChangeAspect="1"/>
          </p:cNvPicPr>
          <p:nvPr/>
        </p:nvPicPr>
        <p:blipFill>
          <a:blip r:embed="rId10">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11" name="Picture 10" descr="A black and blue logo&#10;&#10;AI-generated content may be incorrect.">
            <a:extLst>
              <a:ext uri="{FF2B5EF4-FFF2-40B4-BE49-F238E27FC236}">
                <a16:creationId xmlns:a16="http://schemas.microsoft.com/office/drawing/2014/main" id="{6F2B7A68-2AF9-C8D3-F6EE-068320C03679}"/>
              </a:ext>
            </a:extLst>
          </p:cNvPr>
          <p:cNvPicPr>
            <a:picLocks noChangeAspect="1"/>
          </p:cNvPicPr>
          <p:nvPr/>
        </p:nvPicPr>
        <p:blipFill>
          <a:blip r:embed="rId11"/>
          <a:stretch>
            <a:fillRect/>
          </a:stretch>
        </p:blipFill>
        <p:spPr>
          <a:xfrm>
            <a:off x="9513903" y="6494969"/>
            <a:ext cx="981021" cy="204067"/>
          </a:xfrm>
          <a:prstGeom prst="rect">
            <a:avLst/>
          </a:prstGeom>
        </p:spPr>
      </p:pic>
    </p:spTree>
    <p:extLst>
      <p:ext uri="{BB962C8B-B14F-4D97-AF65-F5344CB8AC3E}">
        <p14:creationId xmlns:p14="http://schemas.microsoft.com/office/powerpoint/2010/main" val="13790288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9A3CD5-6FFE-4D14-DADB-353D1C693D7D}"/>
            </a:ext>
          </a:extLst>
        </p:cNvPr>
        <p:cNvGrpSpPr/>
        <p:nvPr/>
      </p:nvGrpSpPr>
      <p:grpSpPr>
        <a:xfrm>
          <a:off x="0" y="0"/>
          <a:ext cx="0" cy="0"/>
          <a:chOff x="0" y="0"/>
          <a:chExt cx="0" cy="0"/>
        </a:xfrm>
      </p:grpSpPr>
      <p:grpSp>
        <p:nvGrpSpPr>
          <p:cNvPr id="17" name="Group 16">
            <a:extLst>
              <a:ext uri="{FF2B5EF4-FFF2-40B4-BE49-F238E27FC236}">
                <a16:creationId xmlns:a16="http://schemas.microsoft.com/office/drawing/2014/main" id="{296509E0-5D40-8817-1D0D-F54DD7E2B680}"/>
              </a:ext>
            </a:extLst>
          </p:cNvPr>
          <p:cNvGrpSpPr/>
          <p:nvPr/>
        </p:nvGrpSpPr>
        <p:grpSpPr>
          <a:xfrm>
            <a:off x="613151" y="1313778"/>
            <a:ext cx="11324715" cy="4185329"/>
            <a:chOff x="613151" y="1313778"/>
            <a:chExt cx="11324715" cy="4185329"/>
          </a:xfrm>
        </p:grpSpPr>
        <p:sp>
          <p:nvSpPr>
            <p:cNvPr id="22" name="Title 3">
              <a:extLst>
                <a:ext uri="{FF2B5EF4-FFF2-40B4-BE49-F238E27FC236}">
                  <a16:creationId xmlns:a16="http://schemas.microsoft.com/office/drawing/2014/main" id="{F5559D5B-1EA1-F614-519A-B13ED8BC3D3F}"/>
                </a:ext>
              </a:extLst>
            </p:cNvPr>
            <p:cNvSpPr txBox="1">
              <a:spLocks/>
            </p:cNvSpPr>
            <p:nvPr/>
          </p:nvSpPr>
          <p:spPr>
            <a:xfrm>
              <a:off x="635245" y="1313778"/>
              <a:ext cx="11302621" cy="880500"/>
            </a:xfrm>
            <a:prstGeom prst="rect">
              <a:avLst/>
            </a:prstGeom>
          </p:spPr>
          <p:txBody>
            <a:bodyPr lIns="0" tIns="27000" rIns="0" bIns="27000"/>
            <a:lstStyle>
              <a:lvl1pPr algn="l" defTabSz="913897" rtl="0" eaLnBrk="1" latinLnBrk="0" hangingPunct="1">
                <a:lnSpc>
                  <a:spcPct val="90000"/>
                </a:lnSpc>
                <a:spcBef>
                  <a:spcPct val="0"/>
                </a:spcBef>
                <a:buNone/>
                <a:defRPr lang="en-US" sz="2698" b="1" kern="1200" spc="-25" dirty="0">
                  <a:solidFill>
                    <a:schemeClr val="accent1"/>
                  </a:solidFill>
                  <a:latin typeface="Pfizer Tomorrow" panose="02010503040201060303" pitchFamily="2" charset="77"/>
                  <a:ea typeface="+mj-ea"/>
                  <a:cs typeface="+mj-cs"/>
                </a:defRPr>
              </a:lvl1pPr>
            </a:lstStyle>
            <a:p>
              <a:pPr defTabSz="685423">
                <a:lnSpc>
                  <a:spcPct val="100000"/>
                </a:lnSpc>
                <a:defRPr/>
              </a:pPr>
              <a:r>
                <a:rPr lang="en-GB" sz="1600" b="0" spc="-19" dirty="0" err="1">
                  <a:solidFill>
                    <a:srgbClr val="02005E"/>
                  </a:solidFill>
                  <a:latin typeface="Pfizer Diatype Office"/>
                </a:rPr>
                <a:t>Aşılar</a:t>
              </a:r>
              <a:r>
                <a:rPr lang="en-GB" sz="1600" b="0" dirty="0">
                  <a:solidFill>
                    <a:srgbClr val="02005E"/>
                  </a:solidFill>
                  <a:latin typeface="Pfizer Diatype Office"/>
                </a:rPr>
                <a:t> </a:t>
              </a:r>
              <a:r>
                <a:rPr lang="en-GB" sz="1600" b="0" dirty="0" err="1">
                  <a:solidFill>
                    <a:srgbClr val="02005E"/>
                  </a:solidFill>
                  <a:latin typeface="Pfizer Diatype Office"/>
                </a:rPr>
                <a:t>aşağıdaki</a:t>
              </a:r>
              <a:r>
                <a:rPr lang="en-GB" sz="1600" b="0" dirty="0">
                  <a:solidFill>
                    <a:srgbClr val="02005E"/>
                  </a:solidFill>
                  <a:latin typeface="Pfizer Diatype Office"/>
                </a:rPr>
                <a:t> </a:t>
              </a:r>
              <a:r>
                <a:rPr lang="en-GB" sz="1600" b="0" dirty="0" err="1">
                  <a:solidFill>
                    <a:srgbClr val="02005E"/>
                  </a:solidFill>
                  <a:latin typeface="Pfizer Diatype Office"/>
                </a:rPr>
                <a:t>yollarla</a:t>
              </a:r>
              <a:r>
                <a:rPr lang="en-GB" sz="1600" b="0" dirty="0">
                  <a:solidFill>
                    <a:srgbClr val="02005E"/>
                  </a:solidFill>
                  <a:latin typeface="Pfizer Diatype Office"/>
                </a:rPr>
                <a:t> </a:t>
              </a:r>
              <a:r>
                <a:rPr lang="en-GB" sz="1600" b="0" dirty="0" err="1">
                  <a:solidFill>
                    <a:srgbClr val="02005E"/>
                  </a:solidFill>
                  <a:latin typeface="Pfizer Diatype Office"/>
                </a:rPr>
                <a:t>antibiyotiklerin</a:t>
              </a:r>
              <a:r>
                <a:rPr lang="en-GB" sz="1600" b="0" dirty="0">
                  <a:solidFill>
                    <a:srgbClr val="02005E"/>
                  </a:solidFill>
                  <a:latin typeface="Pfizer Diatype Office"/>
                </a:rPr>
                <a:t> </a:t>
              </a:r>
              <a:r>
                <a:rPr lang="en-GB" sz="1600" b="0" dirty="0" err="1">
                  <a:solidFill>
                    <a:srgbClr val="02005E"/>
                  </a:solidFill>
                  <a:latin typeface="Pfizer Diatype Office"/>
                </a:rPr>
                <a:t>aşırı</a:t>
              </a:r>
              <a:r>
                <a:rPr lang="en-GB" sz="1600" b="0" dirty="0">
                  <a:solidFill>
                    <a:srgbClr val="02005E"/>
                  </a:solidFill>
                  <a:latin typeface="Pfizer Diatype Office"/>
                </a:rPr>
                <a:t> </a:t>
              </a:r>
              <a:r>
                <a:rPr lang="en-GB" sz="1600" b="0" dirty="0" err="1">
                  <a:solidFill>
                    <a:srgbClr val="02005E"/>
                  </a:solidFill>
                  <a:latin typeface="Pfizer Diatype Office"/>
                </a:rPr>
                <a:t>veya</a:t>
              </a:r>
              <a:r>
                <a:rPr lang="en-GB" sz="1600" b="0" dirty="0">
                  <a:solidFill>
                    <a:srgbClr val="02005E"/>
                  </a:solidFill>
                  <a:latin typeface="Pfizer Diatype Office"/>
                </a:rPr>
                <a:t> </a:t>
              </a:r>
              <a:r>
                <a:rPr lang="en-GB" sz="1600" b="0" dirty="0" err="1">
                  <a:solidFill>
                    <a:srgbClr val="02005E"/>
                  </a:solidFill>
                  <a:latin typeface="Pfizer Diatype Office"/>
                </a:rPr>
                <a:t>yanlış</a:t>
              </a:r>
              <a:r>
                <a:rPr lang="en-GB" sz="1600" b="0" dirty="0">
                  <a:solidFill>
                    <a:srgbClr val="02005E"/>
                  </a:solidFill>
                  <a:latin typeface="Pfizer Diatype Office"/>
                </a:rPr>
                <a:t> </a:t>
              </a:r>
              <a:r>
                <a:rPr lang="en-GB" sz="1600" b="0" dirty="0" err="1">
                  <a:solidFill>
                    <a:srgbClr val="02005E"/>
                  </a:solidFill>
                  <a:latin typeface="Pfizer Diatype Office"/>
                </a:rPr>
                <a:t>kullanımını</a:t>
              </a:r>
              <a:r>
                <a:rPr lang="en-GB" sz="1600" b="0" dirty="0">
                  <a:solidFill>
                    <a:srgbClr val="02005E"/>
                  </a:solidFill>
                  <a:latin typeface="Pfizer Diatype Office"/>
                </a:rPr>
                <a:t> </a:t>
              </a:r>
              <a:r>
                <a:rPr lang="en-GB" sz="1600" b="0" dirty="0" err="1">
                  <a:solidFill>
                    <a:srgbClr val="02005E"/>
                  </a:solidFill>
                  <a:latin typeface="Pfizer Diatype Office"/>
                </a:rPr>
                <a:t>azaltmaya</a:t>
              </a:r>
              <a:r>
                <a:rPr lang="en-GB" sz="1600" b="0" dirty="0">
                  <a:solidFill>
                    <a:srgbClr val="02005E"/>
                  </a:solidFill>
                  <a:latin typeface="Pfizer Diatype Office"/>
                </a:rPr>
                <a:t> </a:t>
              </a:r>
              <a:r>
                <a:rPr lang="en-GB" sz="1600" b="0" dirty="0" err="1">
                  <a:solidFill>
                    <a:srgbClr val="02005E"/>
                  </a:solidFill>
                  <a:latin typeface="Pfizer Diatype Office"/>
                </a:rPr>
                <a:t>yardımcı</a:t>
              </a:r>
              <a:r>
                <a:rPr lang="en-GB" sz="1600" b="0" dirty="0">
                  <a:solidFill>
                    <a:srgbClr val="02005E"/>
                  </a:solidFill>
                  <a:latin typeface="Pfizer Diatype Office"/>
                </a:rPr>
                <a:t> olabilir</a:t>
              </a:r>
              <a:r>
                <a:rPr lang="en-GB" sz="1600" b="0" spc="-19" dirty="0">
                  <a:solidFill>
                    <a:srgbClr val="02005E"/>
                  </a:solidFill>
                  <a:latin typeface="Pfizer Diatype Office"/>
                </a:rPr>
                <a:t>:</a:t>
              </a:r>
              <a:r>
                <a:rPr lang="en-GB" sz="1600" b="0" spc="-19" baseline="30000" dirty="0">
                  <a:solidFill>
                    <a:srgbClr val="02005E"/>
                  </a:solidFill>
                  <a:latin typeface="Pfizer Diatype Office"/>
                </a:rPr>
                <a:t>1</a:t>
              </a:r>
            </a:p>
            <a:p>
              <a:pPr marL="130302" indent="-130302" defTabSz="877603">
                <a:lnSpc>
                  <a:spcPct val="100000"/>
                </a:lnSpc>
                <a:spcBef>
                  <a:spcPts val="450"/>
                </a:spcBef>
                <a:buFont typeface="Arial" panose="020B0604020202020204" pitchFamily="34" charset="0"/>
                <a:buChar char="•"/>
                <a:defRPr sz="1900">
                  <a:solidFill>
                    <a:srgbClr val="041E42"/>
                  </a:solidFill>
                  <a:latin typeface="Bogle Regular"/>
                  <a:ea typeface="Bogle Regular"/>
                  <a:cs typeface="Bogle Regular"/>
                  <a:sym typeface="Bogle Regular"/>
                </a:defRPr>
              </a:pPr>
              <a:r>
                <a:rPr lang="en-GB" sz="1600" b="0" spc="-19" dirty="0">
                  <a:solidFill>
                    <a:srgbClr val="02005E"/>
                  </a:solidFill>
                  <a:latin typeface="Pfizer Diatype Office" panose="020B0504040202060203" pitchFamily="34" charset="77"/>
                  <a:sym typeface="Bogle Regular"/>
                </a:rPr>
                <a:t>Viral </a:t>
              </a:r>
              <a:r>
                <a:rPr lang="en-GB" sz="1600" b="0" spc="-19" dirty="0" err="1">
                  <a:solidFill>
                    <a:srgbClr val="02005E"/>
                  </a:solidFill>
                  <a:latin typeface="Pfizer Diatype Office" panose="020B0504040202060203" pitchFamily="34" charset="77"/>
                  <a:sym typeface="Bogle Regular"/>
                </a:rPr>
                <a:t>enfeksiyonların</a:t>
              </a:r>
              <a:r>
                <a:rPr lang="en-GB" sz="1600" b="0" spc="-19" dirty="0">
                  <a:solidFill>
                    <a:srgbClr val="02005E"/>
                  </a:solidFill>
                  <a:latin typeface="Pfizer Diatype Office" panose="020B0504040202060203" pitchFamily="34" charset="77"/>
                  <a:sym typeface="Bogle Regular"/>
                </a:rPr>
                <a:t> </a:t>
              </a:r>
              <a:r>
                <a:rPr lang="en-GB" sz="1600" b="0" spc="-19" dirty="0" err="1">
                  <a:solidFill>
                    <a:srgbClr val="02005E"/>
                  </a:solidFill>
                  <a:latin typeface="Pfizer Diatype Office" panose="020B0504040202060203" pitchFamily="34" charset="77"/>
                  <a:sym typeface="Bogle Regular"/>
                </a:rPr>
                <a:t>antibiyotikle</a:t>
              </a:r>
              <a:r>
                <a:rPr lang="en-GB" sz="1600" b="0" spc="-19" dirty="0">
                  <a:solidFill>
                    <a:srgbClr val="02005E"/>
                  </a:solidFill>
                  <a:latin typeface="Pfizer Diatype Office" panose="020B0504040202060203" pitchFamily="34" charset="77"/>
                  <a:sym typeface="Bogle Regular"/>
                </a:rPr>
                <a:t> </a:t>
              </a:r>
              <a:r>
                <a:rPr lang="en-GB" sz="1600" b="0" spc="-19" dirty="0" err="1">
                  <a:solidFill>
                    <a:srgbClr val="02005E"/>
                  </a:solidFill>
                  <a:latin typeface="Pfizer Diatype Office" panose="020B0504040202060203" pitchFamily="34" charset="77"/>
                  <a:sym typeface="Bogle Regular"/>
                </a:rPr>
                <a:t>tedavi</a:t>
              </a:r>
              <a:r>
                <a:rPr lang="en-GB" sz="1600" b="0" spc="-19" dirty="0">
                  <a:solidFill>
                    <a:srgbClr val="02005E"/>
                  </a:solidFill>
                  <a:latin typeface="Pfizer Diatype Office" panose="020B0504040202060203" pitchFamily="34" charset="77"/>
                  <a:sym typeface="Bogle Regular"/>
                </a:rPr>
                <a:t> </a:t>
              </a:r>
              <a:r>
                <a:rPr lang="en-GB" sz="1600" b="0" spc="-19" dirty="0" err="1">
                  <a:solidFill>
                    <a:srgbClr val="02005E"/>
                  </a:solidFill>
                  <a:latin typeface="Pfizer Diatype Office" panose="020B0504040202060203" pitchFamily="34" charset="77"/>
                  <a:sym typeface="Bogle Regular"/>
                </a:rPr>
                <a:t>reçetelerinin</a:t>
              </a:r>
              <a:r>
                <a:rPr lang="en-GB" sz="1600" b="0" spc="-19" dirty="0">
                  <a:solidFill>
                    <a:srgbClr val="02005E"/>
                  </a:solidFill>
                  <a:latin typeface="Pfizer Diatype Office" panose="020B0504040202060203" pitchFamily="34" charset="77"/>
                  <a:sym typeface="Bogle Regular"/>
                </a:rPr>
                <a:t> </a:t>
              </a:r>
              <a:r>
                <a:rPr lang="en-GB" sz="1600" b="0" spc="-19" dirty="0" err="1">
                  <a:solidFill>
                    <a:srgbClr val="02005E"/>
                  </a:solidFill>
                  <a:latin typeface="Pfizer Diatype Office" panose="020B0504040202060203" pitchFamily="34" charset="77"/>
                  <a:sym typeface="Bogle Regular"/>
                </a:rPr>
                <a:t>azaltılması</a:t>
              </a:r>
              <a:endParaRPr lang="en-GB" sz="1600" b="0" spc="-19" dirty="0">
                <a:solidFill>
                  <a:srgbClr val="02005E"/>
                </a:solidFill>
                <a:latin typeface="Pfizer Diatype Office" panose="020B0504040202060203" pitchFamily="34" charset="77"/>
                <a:sym typeface="Bogle Regular"/>
              </a:endParaRPr>
            </a:p>
            <a:p>
              <a:pPr marL="130302" indent="-130302" defTabSz="877603">
                <a:lnSpc>
                  <a:spcPct val="100000"/>
                </a:lnSpc>
                <a:spcBef>
                  <a:spcPts val="450"/>
                </a:spcBef>
                <a:buFont typeface="Arial" panose="020B0604020202020204" pitchFamily="34" charset="0"/>
                <a:buChar char="•"/>
                <a:defRPr sz="1900">
                  <a:solidFill>
                    <a:srgbClr val="041E42"/>
                  </a:solidFill>
                  <a:latin typeface="Bogle Regular"/>
                  <a:ea typeface="Bogle Regular"/>
                  <a:cs typeface="Bogle Regular"/>
                  <a:sym typeface="Bogle Regular"/>
                </a:defRPr>
              </a:pPr>
              <a:r>
                <a:rPr lang="en-GB" sz="1600" b="0" spc="-19" dirty="0" err="1">
                  <a:solidFill>
                    <a:srgbClr val="02005E"/>
                  </a:solidFill>
                  <a:latin typeface="Pfizer Diatype Office" panose="020B0504040202060203" pitchFamily="34" charset="77"/>
                  <a:sym typeface="Bogle Regular"/>
                </a:rPr>
                <a:t>Sekonder</a:t>
              </a:r>
              <a:r>
                <a:rPr lang="en-GB" sz="1600" b="0" spc="-19" dirty="0">
                  <a:solidFill>
                    <a:srgbClr val="02005E"/>
                  </a:solidFill>
                  <a:latin typeface="Pfizer Diatype Office" panose="020B0504040202060203" pitchFamily="34" charset="77"/>
                  <a:sym typeface="Bogle Regular"/>
                </a:rPr>
                <a:t> </a:t>
              </a:r>
              <a:r>
                <a:rPr lang="en-GB" sz="1600" b="0" spc="-19" dirty="0" err="1">
                  <a:solidFill>
                    <a:srgbClr val="02005E"/>
                  </a:solidFill>
                  <a:latin typeface="Pfizer Diatype Office" panose="020B0504040202060203" pitchFamily="34" charset="77"/>
                  <a:sym typeface="Bogle Regular"/>
                </a:rPr>
                <a:t>bakteriyel</a:t>
              </a:r>
              <a:r>
                <a:rPr lang="en-GB" sz="1600" b="0" spc="-19" dirty="0">
                  <a:solidFill>
                    <a:srgbClr val="02005E"/>
                  </a:solidFill>
                  <a:latin typeface="Pfizer Diatype Office" panose="020B0504040202060203" pitchFamily="34" charset="77"/>
                  <a:sym typeface="Bogle Regular"/>
                </a:rPr>
                <a:t> </a:t>
              </a:r>
              <a:r>
                <a:rPr lang="en-GB" sz="1600" b="0" spc="-19" dirty="0" err="1">
                  <a:solidFill>
                    <a:srgbClr val="02005E"/>
                  </a:solidFill>
                  <a:latin typeface="Pfizer Diatype Office" panose="020B0504040202060203" pitchFamily="34" charset="77"/>
                  <a:sym typeface="Bogle Regular"/>
                </a:rPr>
                <a:t>enfeksiyonların</a:t>
              </a:r>
              <a:r>
                <a:rPr lang="en-GB" sz="1600" b="0" spc="-19" dirty="0">
                  <a:solidFill>
                    <a:srgbClr val="02005E"/>
                  </a:solidFill>
                  <a:latin typeface="Pfizer Diatype Office" panose="020B0504040202060203" pitchFamily="34" charset="77"/>
                  <a:sym typeface="Bogle Regular"/>
                </a:rPr>
                <a:t> </a:t>
              </a:r>
              <a:r>
                <a:rPr lang="en-GB" sz="1600" b="0" spc="-19" dirty="0" err="1">
                  <a:solidFill>
                    <a:srgbClr val="02005E"/>
                  </a:solidFill>
                  <a:latin typeface="Pfizer Diatype Office" panose="020B0504040202060203" pitchFamily="34" charset="77"/>
                  <a:sym typeface="Bogle Regular"/>
                </a:rPr>
                <a:t>önlenmesi</a:t>
              </a:r>
              <a:endParaRPr lang="en-GB" sz="1600" b="0" spc="-19" dirty="0">
                <a:solidFill>
                  <a:srgbClr val="02005E"/>
                </a:solidFill>
                <a:latin typeface="Pfizer Diatype Office" panose="020B0504040202060203" pitchFamily="34" charset="77"/>
                <a:sym typeface="Bogle Regular"/>
              </a:endParaRPr>
            </a:p>
            <a:p>
              <a:pPr defTabSz="685423">
                <a:lnSpc>
                  <a:spcPct val="100000"/>
                </a:lnSpc>
                <a:defRPr/>
              </a:pPr>
              <a:endParaRPr lang="en-GB" sz="1600" b="0" spc="-19" baseline="30000" dirty="0">
                <a:solidFill>
                  <a:srgbClr val="02005E"/>
                </a:solidFill>
                <a:latin typeface="Pfizer Diatype Office"/>
              </a:endParaRPr>
            </a:p>
          </p:txBody>
        </p:sp>
        <p:sp>
          <p:nvSpPr>
            <p:cNvPr id="27" name="TextBox 26">
              <a:extLst>
                <a:ext uri="{FF2B5EF4-FFF2-40B4-BE49-F238E27FC236}">
                  <a16:creationId xmlns:a16="http://schemas.microsoft.com/office/drawing/2014/main" id="{AB7BF7E2-C1BD-7D3C-CCC8-EE8930B1AA49}"/>
                </a:ext>
              </a:extLst>
            </p:cNvPr>
            <p:cNvSpPr txBox="1"/>
            <p:nvPr/>
          </p:nvSpPr>
          <p:spPr>
            <a:xfrm>
              <a:off x="613152" y="3144945"/>
              <a:ext cx="11302622" cy="731520"/>
            </a:xfrm>
            <a:prstGeom prst="roundRect">
              <a:avLst>
                <a:gd name="adj" fmla="val 9297"/>
              </a:avLst>
            </a:prstGeom>
            <a:solidFill>
              <a:srgbClr val="00897C"/>
            </a:solidFill>
          </p:spPr>
          <p:txBody>
            <a:bodyPr wrap="none" lIns="68580" tIns="0" rIns="0" bIns="0" rtlCol="0" anchor="ctr" anchorCtr="0">
              <a:noAutofit/>
            </a:bodyPr>
            <a:lstStyle/>
            <a:p>
              <a:pPr marL="800100" defTabSz="685800">
                <a:defRPr/>
              </a:pPr>
              <a:r>
                <a:rPr lang="en-US" sz="1400" dirty="0" err="1">
                  <a:solidFill>
                    <a:srgbClr val="FFFFFF"/>
                  </a:solidFill>
                  <a:latin typeface="Pfizer Tomorrow"/>
                </a:rPr>
                <a:t>Pnömokok</a:t>
              </a:r>
              <a:r>
                <a:rPr lang="en-US" sz="1400" dirty="0">
                  <a:solidFill>
                    <a:srgbClr val="FFFFFF"/>
                  </a:solidFill>
                  <a:latin typeface="Pfizer Tomorrow"/>
                </a:rPr>
                <a:t> </a:t>
              </a:r>
              <a:br>
                <a:rPr lang="en-US" sz="1400" dirty="0">
                  <a:solidFill>
                    <a:srgbClr val="FFFFFF"/>
                  </a:solidFill>
                  <a:latin typeface="Pfizer Tomorrow"/>
                </a:rPr>
              </a:br>
              <a:r>
                <a:rPr lang="en-US" sz="1400" dirty="0">
                  <a:solidFill>
                    <a:srgbClr val="FFFFFF"/>
                  </a:solidFill>
                  <a:latin typeface="Pfizer Tomorrow"/>
                </a:rPr>
                <a:t>hastalık</a:t>
              </a:r>
              <a:r>
                <a:rPr lang="en-US" sz="1400" baseline="30000" dirty="0">
                  <a:solidFill>
                    <a:srgbClr val="FFFFFF"/>
                  </a:solidFill>
                  <a:latin typeface="Pfizer Tomorrow"/>
                </a:rPr>
                <a:t>3</a:t>
              </a:r>
            </a:p>
          </p:txBody>
        </p:sp>
        <p:grpSp>
          <p:nvGrpSpPr>
            <p:cNvPr id="80" name="Group 79">
              <a:extLst>
                <a:ext uri="{FF2B5EF4-FFF2-40B4-BE49-F238E27FC236}">
                  <a16:creationId xmlns:a16="http://schemas.microsoft.com/office/drawing/2014/main" id="{3A2F6C94-8B20-8203-876E-F07DFB7D3448}"/>
                </a:ext>
              </a:extLst>
            </p:cNvPr>
            <p:cNvGrpSpPr/>
            <p:nvPr/>
          </p:nvGrpSpPr>
          <p:grpSpPr>
            <a:xfrm>
              <a:off x="756605" y="3236385"/>
              <a:ext cx="548640" cy="548640"/>
              <a:chOff x="9266843" y="-916962"/>
              <a:chExt cx="864347" cy="767143"/>
            </a:xfrm>
            <a:solidFill>
              <a:schemeClr val="bg1"/>
            </a:solidFill>
          </p:grpSpPr>
          <p:sp>
            <p:nvSpPr>
              <p:cNvPr id="81" name="Freeform: Shape 80">
                <a:extLst>
                  <a:ext uri="{FF2B5EF4-FFF2-40B4-BE49-F238E27FC236}">
                    <a16:creationId xmlns:a16="http://schemas.microsoft.com/office/drawing/2014/main" id="{72CDBB3B-9ECA-2E77-B54E-B6D59671F300}"/>
                  </a:ext>
                </a:extLst>
              </p:cNvPr>
              <p:cNvSpPr/>
              <p:nvPr/>
            </p:nvSpPr>
            <p:spPr>
              <a:xfrm>
                <a:off x="9480081" y="-461800"/>
                <a:ext cx="59397" cy="59388"/>
              </a:xfrm>
              <a:custGeom>
                <a:avLst/>
                <a:gdLst>
                  <a:gd name="connsiteX0" fmla="*/ 29708 w 59397"/>
                  <a:gd name="connsiteY0" fmla="*/ 0 h 59388"/>
                  <a:gd name="connsiteX1" fmla="*/ 0 w 59397"/>
                  <a:gd name="connsiteY1" fmla="*/ 29699 h 59388"/>
                  <a:gd name="connsiteX2" fmla="*/ 29708 w 59397"/>
                  <a:gd name="connsiteY2" fmla="*/ 59388 h 59388"/>
                  <a:gd name="connsiteX3" fmla="*/ 59398 w 59397"/>
                  <a:gd name="connsiteY3" fmla="*/ 29699 h 59388"/>
                  <a:gd name="connsiteX4" fmla="*/ 29708 w 59397"/>
                  <a:gd name="connsiteY4" fmla="*/ 0 h 59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97" h="59388">
                    <a:moveTo>
                      <a:pt x="29708" y="0"/>
                    </a:moveTo>
                    <a:cubicBezTo>
                      <a:pt x="13325" y="0"/>
                      <a:pt x="0" y="13325"/>
                      <a:pt x="0" y="29699"/>
                    </a:cubicBezTo>
                    <a:cubicBezTo>
                      <a:pt x="0" y="46072"/>
                      <a:pt x="13325" y="59388"/>
                      <a:pt x="29708" y="59388"/>
                    </a:cubicBezTo>
                    <a:cubicBezTo>
                      <a:pt x="46082" y="59388"/>
                      <a:pt x="59398" y="46072"/>
                      <a:pt x="59398" y="29699"/>
                    </a:cubicBezTo>
                    <a:cubicBezTo>
                      <a:pt x="59398" y="13325"/>
                      <a:pt x="46082" y="0"/>
                      <a:pt x="29708" y="0"/>
                    </a:cubicBezTo>
                    <a:close/>
                  </a:path>
                </a:pathLst>
              </a:custGeom>
              <a:grpFill/>
              <a:ln w="9525" cap="flat">
                <a:noFill/>
                <a:prstDash val="solid"/>
                <a:miter/>
              </a:ln>
            </p:spPr>
            <p:txBody>
              <a:bodyPr rtlCol="0" anchor="ctr"/>
              <a:lstStyle/>
              <a:p>
                <a:pPr defTabSz="171390">
                  <a:defRPr/>
                </a:pPr>
                <a:endParaRPr lang="en-US" sz="800">
                  <a:solidFill>
                    <a:srgbClr val="000000"/>
                  </a:solidFill>
                  <a:latin typeface="Pfizer Diatype Office"/>
                </a:endParaRPr>
              </a:p>
            </p:txBody>
          </p:sp>
          <p:sp>
            <p:nvSpPr>
              <p:cNvPr id="82" name="Freeform: Shape 81">
                <a:extLst>
                  <a:ext uri="{FF2B5EF4-FFF2-40B4-BE49-F238E27FC236}">
                    <a16:creationId xmlns:a16="http://schemas.microsoft.com/office/drawing/2014/main" id="{AF4A1321-A893-0142-0FEF-333D4FD7DD4E}"/>
                  </a:ext>
                </a:extLst>
              </p:cNvPr>
              <p:cNvSpPr/>
              <p:nvPr/>
            </p:nvSpPr>
            <p:spPr>
              <a:xfrm>
                <a:off x="9847298" y="-723233"/>
                <a:ext cx="59397" cy="59388"/>
              </a:xfrm>
              <a:custGeom>
                <a:avLst/>
                <a:gdLst>
                  <a:gd name="connsiteX0" fmla="*/ 59398 w 59397"/>
                  <a:gd name="connsiteY0" fmla="*/ 29699 h 59388"/>
                  <a:gd name="connsiteX1" fmla="*/ 29709 w 59397"/>
                  <a:gd name="connsiteY1" fmla="*/ 0 h 59388"/>
                  <a:gd name="connsiteX2" fmla="*/ 0 w 59397"/>
                  <a:gd name="connsiteY2" fmla="*/ 29699 h 59388"/>
                  <a:gd name="connsiteX3" fmla="*/ 29709 w 59397"/>
                  <a:gd name="connsiteY3" fmla="*/ 59388 h 59388"/>
                  <a:gd name="connsiteX4" fmla="*/ 59398 w 59397"/>
                  <a:gd name="connsiteY4" fmla="*/ 29699 h 59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97" h="59388">
                    <a:moveTo>
                      <a:pt x="59398" y="29699"/>
                    </a:moveTo>
                    <a:cubicBezTo>
                      <a:pt x="59398" y="13325"/>
                      <a:pt x="46082" y="0"/>
                      <a:pt x="29709" y="0"/>
                    </a:cubicBezTo>
                    <a:cubicBezTo>
                      <a:pt x="13325" y="0"/>
                      <a:pt x="0" y="13325"/>
                      <a:pt x="0" y="29699"/>
                    </a:cubicBezTo>
                    <a:cubicBezTo>
                      <a:pt x="0" y="46072"/>
                      <a:pt x="13325" y="59388"/>
                      <a:pt x="29709" y="59388"/>
                    </a:cubicBezTo>
                    <a:cubicBezTo>
                      <a:pt x="46072" y="59388"/>
                      <a:pt x="59398" y="46063"/>
                      <a:pt x="59398" y="29699"/>
                    </a:cubicBezTo>
                    <a:close/>
                  </a:path>
                </a:pathLst>
              </a:custGeom>
              <a:grpFill/>
              <a:ln w="9525" cap="flat">
                <a:noFill/>
                <a:prstDash val="solid"/>
                <a:miter/>
              </a:ln>
            </p:spPr>
            <p:txBody>
              <a:bodyPr rtlCol="0" anchor="ctr"/>
              <a:lstStyle/>
              <a:p>
                <a:pPr defTabSz="171390">
                  <a:defRPr/>
                </a:pPr>
                <a:endParaRPr lang="en-US" sz="800">
                  <a:solidFill>
                    <a:srgbClr val="000000"/>
                  </a:solidFill>
                  <a:latin typeface="Pfizer Diatype Office"/>
                </a:endParaRPr>
              </a:p>
            </p:txBody>
          </p:sp>
          <p:sp>
            <p:nvSpPr>
              <p:cNvPr id="83" name="Freeform: Shape 82">
                <a:extLst>
                  <a:ext uri="{FF2B5EF4-FFF2-40B4-BE49-F238E27FC236}">
                    <a16:creationId xmlns:a16="http://schemas.microsoft.com/office/drawing/2014/main" id="{43E2911E-DCF1-D7EB-0EAF-B4DE0E30E49D}"/>
                  </a:ext>
                </a:extLst>
              </p:cNvPr>
              <p:cNvSpPr/>
              <p:nvPr/>
            </p:nvSpPr>
            <p:spPr>
              <a:xfrm>
                <a:off x="9371439" y="-507110"/>
                <a:ext cx="59397" cy="59388"/>
              </a:xfrm>
              <a:custGeom>
                <a:avLst/>
                <a:gdLst>
                  <a:gd name="connsiteX0" fmla="*/ 29708 w 59397"/>
                  <a:gd name="connsiteY0" fmla="*/ 59388 h 59388"/>
                  <a:gd name="connsiteX1" fmla="*/ 59398 w 59397"/>
                  <a:gd name="connsiteY1" fmla="*/ 29699 h 59388"/>
                  <a:gd name="connsiteX2" fmla="*/ 29708 w 59397"/>
                  <a:gd name="connsiteY2" fmla="*/ 0 h 59388"/>
                  <a:gd name="connsiteX3" fmla="*/ 0 w 59397"/>
                  <a:gd name="connsiteY3" fmla="*/ 29699 h 59388"/>
                  <a:gd name="connsiteX4" fmla="*/ 29708 w 59397"/>
                  <a:gd name="connsiteY4" fmla="*/ 59388 h 59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97" h="59388">
                    <a:moveTo>
                      <a:pt x="29708" y="59388"/>
                    </a:moveTo>
                    <a:cubicBezTo>
                      <a:pt x="46082" y="59388"/>
                      <a:pt x="59398" y="46072"/>
                      <a:pt x="59398" y="29699"/>
                    </a:cubicBezTo>
                    <a:cubicBezTo>
                      <a:pt x="59398" y="13325"/>
                      <a:pt x="46082" y="0"/>
                      <a:pt x="29708" y="0"/>
                    </a:cubicBezTo>
                    <a:cubicBezTo>
                      <a:pt x="13325" y="0"/>
                      <a:pt x="0" y="13325"/>
                      <a:pt x="0" y="29699"/>
                    </a:cubicBezTo>
                    <a:cubicBezTo>
                      <a:pt x="0" y="46063"/>
                      <a:pt x="13335" y="59388"/>
                      <a:pt x="29708" y="59388"/>
                    </a:cubicBezTo>
                    <a:close/>
                  </a:path>
                </a:pathLst>
              </a:custGeom>
              <a:grpFill/>
              <a:ln w="9525" cap="flat">
                <a:noFill/>
                <a:prstDash val="solid"/>
                <a:miter/>
              </a:ln>
            </p:spPr>
            <p:txBody>
              <a:bodyPr rtlCol="0" anchor="ctr"/>
              <a:lstStyle/>
              <a:p>
                <a:pPr defTabSz="171390">
                  <a:defRPr/>
                </a:pPr>
                <a:endParaRPr lang="en-US" sz="800">
                  <a:solidFill>
                    <a:srgbClr val="000000"/>
                  </a:solidFill>
                  <a:latin typeface="Pfizer Diatype Office"/>
                </a:endParaRPr>
              </a:p>
            </p:txBody>
          </p:sp>
          <p:sp>
            <p:nvSpPr>
              <p:cNvPr id="84" name="Freeform: Shape 83">
                <a:extLst>
                  <a:ext uri="{FF2B5EF4-FFF2-40B4-BE49-F238E27FC236}">
                    <a16:creationId xmlns:a16="http://schemas.microsoft.com/office/drawing/2014/main" id="{4CBFBC2C-EB87-E26E-9F36-E97916A28FC1}"/>
                  </a:ext>
                </a:extLst>
              </p:cNvPr>
              <p:cNvSpPr/>
              <p:nvPr/>
            </p:nvSpPr>
            <p:spPr>
              <a:xfrm>
                <a:off x="9371439" y="-340023"/>
                <a:ext cx="59416" cy="59397"/>
              </a:xfrm>
              <a:custGeom>
                <a:avLst/>
                <a:gdLst>
                  <a:gd name="connsiteX0" fmla="*/ 29708 w 59416"/>
                  <a:gd name="connsiteY0" fmla="*/ 0 h 59397"/>
                  <a:gd name="connsiteX1" fmla="*/ 0 w 59416"/>
                  <a:gd name="connsiteY1" fmla="*/ 29699 h 59397"/>
                  <a:gd name="connsiteX2" fmla="*/ 29708 w 59416"/>
                  <a:gd name="connsiteY2" fmla="*/ 59398 h 59397"/>
                  <a:gd name="connsiteX3" fmla="*/ 59417 w 59416"/>
                  <a:gd name="connsiteY3" fmla="*/ 29699 h 59397"/>
                  <a:gd name="connsiteX4" fmla="*/ 29708 w 59416"/>
                  <a:gd name="connsiteY4" fmla="*/ 0 h 59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16" h="59397">
                    <a:moveTo>
                      <a:pt x="29708" y="0"/>
                    </a:moveTo>
                    <a:cubicBezTo>
                      <a:pt x="13325" y="0"/>
                      <a:pt x="0" y="13325"/>
                      <a:pt x="0" y="29699"/>
                    </a:cubicBezTo>
                    <a:cubicBezTo>
                      <a:pt x="0" y="46072"/>
                      <a:pt x="13325" y="59398"/>
                      <a:pt x="29708" y="59398"/>
                    </a:cubicBezTo>
                    <a:cubicBezTo>
                      <a:pt x="46091" y="59398"/>
                      <a:pt x="59417" y="46072"/>
                      <a:pt x="59417" y="29699"/>
                    </a:cubicBezTo>
                    <a:cubicBezTo>
                      <a:pt x="59417" y="13325"/>
                      <a:pt x="46082" y="0"/>
                      <a:pt x="29708" y="0"/>
                    </a:cubicBezTo>
                    <a:close/>
                  </a:path>
                </a:pathLst>
              </a:custGeom>
              <a:grpFill/>
              <a:ln w="9525" cap="flat">
                <a:noFill/>
                <a:prstDash val="solid"/>
                <a:miter/>
              </a:ln>
            </p:spPr>
            <p:txBody>
              <a:bodyPr rtlCol="0" anchor="ctr"/>
              <a:lstStyle/>
              <a:p>
                <a:pPr defTabSz="171390">
                  <a:defRPr/>
                </a:pPr>
                <a:endParaRPr lang="en-US" sz="800">
                  <a:solidFill>
                    <a:srgbClr val="000000"/>
                  </a:solidFill>
                  <a:latin typeface="Pfizer Diatype Office"/>
                </a:endParaRPr>
              </a:p>
            </p:txBody>
          </p:sp>
          <p:sp>
            <p:nvSpPr>
              <p:cNvPr id="85" name="Freeform: Shape 84">
                <a:extLst>
                  <a:ext uri="{FF2B5EF4-FFF2-40B4-BE49-F238E27FC236}">
                    <a16:creationId xmlns:a16="http://schemas.microsoft.com/office/drawing/2014/main" id="{F57CCFE3-E89D-32B3-7D8D-8FF789FA482C}"/>
                  </a:ext>
                </a:extLst>
              </p:cNvPr>
              <p:cNvSpPr/>
              <p:nvPr/>
            </p:nvSpPr>
            <p:spPr>
              <a:xfrm>
                <a:off x="9266843" y="-916962"/>
                <a:ext cx="864347" cy="767143"/>
              </a:xfrm>
              <a:custGeom>
                <a:avLst/>
                <a:gdLst>
                  <a:gd name="connsiteX0" fmla="*/ 821217 w 864346"/>
                  <a:gd name="connsiteY0" fmla="*/ 334061 h 767143"/>
                  <a:gd name="connsiteX1" fmla="*/ 813073 w 864346"/>
                  <a:gd name="connsiteY1" fmla="*/ 315535 h 767143"/>
                  <a:gd name="connsiteX2" fmla="*/ 864346 w 864346"/>
                  <a:gd name="connsiteY2" fmla="*/ 235229 h 767143"/>
                  <a:gd name="connsiteX3" fmla="*/ 775516 w 864346"/>
                  <a:gd name="connsiteY3" fmla="*/ 146418 h 767143"/>
                  <a:gd name="connsiteX4" fmla="*/ 713365 w 864346"/>
                  <a:gd name="connsiteY4" fmla="*/ 172155 h 767143"/>
                  <a:gd name="connsiteX5" fmla="*/ 640185 w 864346"/>
                  <a:gd name="connsiteY5" fmla="*/ 119805 h 767143"/>
                  <a:gd name="connsiteX6" fmla="*/ 603952 w 864346"/>
                  <a:gd name="connsiteY6" fmla="*/ 111957 h 767143"/>
                  <a:gd name="connsiteX7" fmla="*/ 517598 w 864346"/>
                  <a:gd name="connsiteY7" fmla="*/ 198444 h 767143"/>
                  <a:gd name="connsiteX8" fmla="*/ 517598 w 864346"/>
                  <a:gd name="connsiteY8" fmla="*/ 237268 h 767143"/>
                  <a:gd name="connsiteX9" fmla="*/ 452685 w 864346"/>
                  <a:gd name="connsiteY9" fmla="*/ 201073 h 767143"/>
                  <a:gd name="connsiteX10" fmla="*/ 452685 w 864346"/>
                  <a:gd name="connsiteY10" fmla="*/ 14288 h 767143"/>
                  <a:gd name="connsiteX11" fmla="*/ 438398 w 864346"/>
                  <a:gd name="connsiteY11" fmla="*/ 0 h 767143"/>
                  <a:gd name="connsiteX12" fmla="*/ 424110 w 864346"/>
                  <a:gd name="connsiteY12" fmla="*/ 14288 h 767143"/>
                  <a:gd name="connsiteX13" fmla="*/ 424110 w 864346"/>
                  <a:gd name="connsiteY13" fmla="*/ 201063 h 767143"/>
                  <a:gd name="connsiteX14" fmla="*/ 359216 w 864346"/>
                  <a:gd name="connsiteY14" fmla="*/ 237249 h 767143"/>
                  <a:gd name="connsiteX15" fmla="*/ 359216 w 864346"/>
                  <a:gd name="connsiteY15" fmla="*/ 198444 h 767143"/>
                  <a:gd name="connsiteX16" fmla="*/ 272882 w 864346"/>
                  <a:gd name="connsiteY16" fmla="*/ 111957 h 767143"/>
                  <a:gd name="connsiteX17" fmla="*/ 236601 w 864346"/>
                  <a:gd name="connsiteY17" fmla="*/ 119825 h 767143"/>
                  <a:gd name="connsiteX18" fmla="*/ 117262 w 864346"/>
                  <a:gd name="connsiteY18" fmla="*/ 225733 h 767143"/>
                  <a:gd name="connsiteX19" fmla="*/ 88830 w 864346"/>
                  <a:gd name="connsiteY19" fmla="*/ 220942 h 767143"/>
                  <a:gd name="connsiteX20" fmla="*/ 0 w 864346"/>
                  <a:gd name="connsiteY20" fmla="*/ 309629 h 767143"/>
                  <a:gd name="connsiteX21" fmla="*/ 39148 w 864346"/>
                  <a:gd name="connsiteY21" fmla="*/ 383200 h 767143"/>
                  <a:gd name="connsiteX22" fmla="*/ 18574 w 864346"/>
                  <a:gd name="connsiteY22" fmla="*/ 496986 h 767143"/>
                  <a:gd name="connsiteX23" fmla="*/ 21146 w 864346"/>
                  <a:gd name="connsiteY23" fmla="*/ 681447 h 767143"/>
                  <a:gd name="connsiteX24" fmla="*/ 107623 w 864346"/>
                  <a:gd name="connsiteY24" fmla="*/ 767144 h 767143"/>
                  <a:gd name="connsiteX25" fmla="*/ 186842 w 864346"/>
                  <a:gd name="connsiteY25" fmla="*/ 715242 h 767143"/>
                  <a:gd name="connsiteX26" fmla="*/ 275206 w 864346"/>
                  <a:gd name="connsiteY26" fmla="*/ 651129 h 767143"/>
                  <a:gd name="connsiteX27" fmla="*/ 359207 w 864346"/>
                  <a:gd name="connsiteY27" fmla="*/ 564671 h 767143"/>
                  <a:gd name="connsiteX28" fmla="*/ 359207 w 864346"/>
                  <a:gd name="connsiteY28" fmla="*/ 269967 h 767143"/>
                  <a:gd name="connsiteX29" fmla="*/ 438388 w 864346"/>
                  <a:gd name="connsiteY29" fmla="*/ 225809 h 767143"/>
                  <a:gd name="connsiteX30" fmla="*/ 517589 w 864346"/>
                  <a:gd name="connsiteY30" fmla="*/ 269977 h 767143"/>
                  <a:gd name="connsiteX31" fmla="*/ 517589 w 864346"/>
                  <a:gd name="connsiteY31" fmla="*/ 479298 h 767143"/>
                  <a:gd name="connsiteX32" fmla="*/ 425491 w 864346"/>
                  <a:gd name="connsiteY32" fmla="*/ 586064 h 767143"/>
                  <a:gd name="connsiteX33" fmla="*/ 533791 w 864346"/>
                  <a:gd name="connsiteY33" fmla="*/ 694363 h 767143"/>
                  <a:gd name="connsiteX34" fmla="*/ 616067 w 864346"/>
                  <a:gd name="connsiteY34" fmla="*/ 656454 h 767143"/>
                  <a:gd name="connsiteX35" fmla="*/ 689982 w 864346"/>
                  <a:gd name="connsiteY35" fmla="*/ 715223 h 767143"/>
                  <a:gd name="connsiteX36" fmla="*/ 769201 w 864346"/>
                  <a:gd name="connsiteY36" fmla="*/ 767124 h 767143"/>
                  <a:gd name="connsiteX37" fmla="*/ 855688 w 864346"/>
                  <a:gd name="connsiteY37" fmla="*/ 681428 h 767143"/>
                  <a:gd name="connsiteX38" fmla="*/ 858250 w 864346"/>
                  <a:gd name="connsiteY38" fmla="*/ 496919 h 767143"/>
                  <a:gd name="connsiteX39" fmla="*/ 821217 w 864346"/>
                  <a:gd name="connsiteY39" fmla="*/ 334061 h 767143"/>
                  <a:gd name="connsiteX40" fmla="*/ 28556 w 864346"/>
                  <a:gd name="connsiteY40" fmla="*/ 309620 h 767143"/>
                  <a:gd name="connsiteX41" fmla="*/ 88811 w 864346"/>
                  <a:gd name="connsiteY41" fmla="*/ 249507 h 767143"/>
                  <a:gd name="connsiteX42" fmla="*/ 115729 w 864346"/>
                  <a:gd name="connsiteY42" fmla="*/ 255946 h 767143"/>
                  <a:gd name="connsiteX43" fmla="*/ 148914 w 864346"/>
                  <a:gd name="connsiteY43" fmla="*/ 309620 h 767143"/>
                  <a:gd name="connsiteX44" fmla="*/ 88802 w 864346"/>
                  <a:gd name="connsiteY44" fmla="*/ 369865 h 767143"/>
                  <a:gd name="connsiteX45" fmla="*/ 62055 w 864346"/>
                  <a:gd name="connsiteY45" fmla="*/ 363464 h 767143"/>
                  <a:gd name="connsiteX46" fmla="*/ 28556 w 864346"/>
                  <a:gd name="connsiteY46" fmla="*/ 309620 h 767143"/>
                  <a:gd name="connsiteX47" fmla="*/ 330622 w 864346"/>
                  <a:gd name="connsiteY47" fmla="*/ 564652 h 767143"/>
                  <a:gd name="connsiteX48" fmla="*/ 272863 w 864346"/>
                  <a:gd name="connsiteY48" fmla="*/ 622564 h 767143"/>
                  <a:gd name="connsiteX49" fmla="*/ 268557 w 864346"/>
                  <a:gd name="connsiteY49" fmla="*/ 623230 h 767143"/>
                  <a:gd name="connsiteX50" fmla="*/ 162125 w 864346"/>
                  <a:gd name="connsiteY50" fmla="*/ 700821 h 767143"/>
                  <a:gd name="connsiteX51" fmla="*/ 161001 w 864346"/>
                  <a:gd name="connsiteY51" fmla="*/ 702964 h 767143"/>
                  <a:gd name="connsiteX52" fmla="*/ 107613 w 864346"/>
                  <a:gd name="connsiteY52" fmla="*/ 738549 h 767143"/>
                  <a:gd name="connsiteX53" fmla="*/ 49701 w 864346"/>
                  <a:gd name="connsiteY53" fmla="*/ 680638 h 767143"/>
                  <a:gd name="connsiteX54" fmla="*/ 49625 w 864346"/>
                  <a:gd name="connsiteY54" fmla="*/ 679113 h 767143"/>
                  <a:gd name="connsiteX55" fmla="*/ 47054 w 864346"/>
                  <a:gd name="connsiteY55" fmla="*/ 499148 h 767143"/>
                  <a:gd name="connsiteX56" fmla="*/ 65456 w 864346"/>
                  <a:gd name="connsiteY56" fmla="*/ 395164 h 767143"/>
                  <a:gd name="connsiteX57" fmla="*/ 88821 w 864346"/>
                  <a:gd name="connsiteY57" fmla="*/ 398440 h 767143"/>
                  <a:gd name="connsiteX58" fmla="*/ 177508 w 864346"/>
                  <a:gd name="connsiteY58" fmla="*/ 309620 h 767143"/>
                  <a:gd name="connsiteX59" fmla="*/ 142580 w 864346"/>
                  <a:gd name="connsiteY59" fmla="*/ 239373 h 767143"/>
                  <a:gd name="connsiteX60" fmla="*/ 248984 w 864346"/>
                  <a:gd name="connsiteY60" fmla="*/ 145580 h 767143"/>
                  <a:gd name="connsiteX61" fmla="*/ 272872 w 864346"/>
                  <a:gd name="connsiteY61" fmla="*/ 140532 h 767143"/>
                  <a:gd name="connsiteX62" fmla="*/ 330632 w 864346"/>
                  <a:gd name="connsiteY62" fmla="*/ 198444 h 767143"/>
                  <a:gd name="connsiteX63" fmla="*/ 330632 w 864346"/>
                  <a:gd name="connsiteY63" fmla="*/ 253184 h 767143"/>
                  <a:gd name="connsiteX64" fmla="*/ 259642 w 864346"/>
                  <a:gd name="connsiteY64" fmla="*/ 292770 h 767143"/>
                  <a:gd name="connsiteX65" fmla="*/ 254127 w 864346"/>
                  <a:gd name="connsiteY65" fmla="*/ 312210 h 767143"/>
                  <a:gd name="connsiteX66" fmla="*/ 266624 w 864346"/>
                  <a:gd name="connsiteY66" fmla="*/ 319545 h 767143"/>
                  <a:gd name="connsiteX67" fmla="*/ 273568 w 864346"/>
                  <a:gd name="connsiteY67" fmla="*/ 317735 h 767143"/>
                  <a:gd name="connsiteX68" fmla="*/ 330641 w 864346"/>
                  <a:gd name="connsiteY68" fmla="*/ 285912 h 767143"/>
                  <a:gd name="connsiteX69" fmla="*/ 330641 w 864346"/>
                  <a:gd name="connsiteY69" fmla="*/ 564652 h 767143"/>
                  <a:gd name="connsiteX70" fmla="*/ 775506 w 864346"/>
                  <a:gd name="connsiteY70" fmla="*/ 174984 h 767143"/>
                  <a:gd name="connsiteX71" fmla="*/ 835762 w 864346"/>
                  <a:gd name="connsiteY71" fmla="*/ 235220 h 767143"/>
                  <a:gd name="connsiteX72" fmla="*/ 789508 w 864346"/>
                  <a:gd name="connsiteY72" fmla="*/ 293618 h 767143"/>
                  <a:gd name="connsiteX73" fmla="*/ 789442 w 864346"/>
                  <a:gd name="connsiteY73" fmla="*/ 293627 h 767143"/>
                  <a:gd name="connsiteX74" fmla="*/ 775506 w 864346"/>
                  <a:gd name="connsiteY74" fmla="*/ 295323 h 767143"/>
                  <a:gd name="connsiteX75" fmla="*/ 715394 w 864346"/>
                  <a:gd name="connsiteY75" fmla="*/ 235210 h 767143"/>
                  <a:gd name="connsiteX76" fmla="*/ 725967 w 864346"/>
                  <a:gd name="connsiteY76" fmla="*/ 201235 h 767143"/>
                  <a:gd name="connsiteX77" fmla="*/ 775506 w 864346"/>
                  <a:gd name="connsiteY77" fmla="*/ 174984 h 767143"/>
                  <a:gd name="connsiteX78" fmla="*/ 533791 w 864346"/>
                  <a:gd name="connsiteY78" fmla="*/ 665788 h 767143"/>
                  <a:gd name="connsiteX79" fmla="*/ 454066 w 864346"/>
                  <a:gd name="connsiteY79" fmla="*/ 586064 h 767143"/>
                  <a:gd name="connsiteX80" fmla="*/ 532143 w 864346"/>
                  <a:gd name="connsiteY80" fmla="*/ 506597 h 767143"/>
                  <a:gd name="connsiteX81" fmla="*/ 533867 w 864346"/>
                  <a:gd name="connsiteY81" fmla="*/ 506463 h 767143"/>
                  <a:gd name="connsiteX82" fmla="*/ 613524 w 864346"/>
                  <a:gd name="connsiteY82" fmla="*/ 586064 h 767143"/>
                  <a:gd name="connsiteX83" fmla="*/ 599570 w 864346"/>
                  <a:gd name="connsiteY83" fmla="*/ 631231 h 767143"/>
                  <a:gd name="connsiteX84" fmla="*/ 533791 w 864346"/>
                  <a:gd name="connsiteY84" fmla="*/ 665788 h 767143"/>
                  <a:gd name="connsiteX85" fmla="*/ 827199 w 864346"/>
                  <a:gd name="connsiteY85" fmla="*/ 679123 h 767143"/>
                  <a:gd name="connsiteX86" fmla="*/ 827113 w 864346"/>
                  <a:gd name="connsiteY86" fmla="*/ 680638 h 767143"/>
                  <a:gd name="connsiteX87" fmla="*/ 769201 w 864346"/>
                  <a:gd name="connsiteY87" fmla="*/ 738549 h 767143"/>
                  <a:gd name="connsiteX88" fmla="*/ 715813 w 864346"/>
                  <a:gd name="connsiteY88" fmla="*/ 702955 h 767143"/>
                  <a:gd name="connsiteX89" fmla="*/ 714689 w 864346"/>
                  <a:gd name="connsiteY89" fmla="*/ 700821 h 767143"/>
                  <a:gd name="connsiteX90" fmla="*/ 631936 w 864346"/>
                  <a:gd name="connsiteY90" fmla="*/ 632003 h 767143"/>
                  <a:gd name="connsiteX91" fmla="*/ 642109 w 864346"/>
                  <a:gd name="connsiteY91" fmla="*/ 586064 h 767143"/>
                  <a:gd name="connsiteX92" fmla="*/ 546173 w 864346"/>
                  <a:gd name="connsiteY92" fmla="*/ 478641 h 767143"/>
                  <a:gd name="connsiteX93" fmla="*/ 546173 w 864346"/>
                  <a:gd name="connsiteY93" fmla="*/ 285921 h 767143"/>
                  <a:gd name="connsiteX94" fmla="*/ 603209 w 864346"/>
                  <a:gd name="connsiteY94" fmla="*/ 317725 h 767143"/>
                  <a:gd name="connsiteX95" fmla="*/ 610152 w 864346"/>
                  <a:gd name="connsiteY95" fmla="*/ 319535 h 767143"/>
                  <a:gd name="connsiteX96" fmla="*/ 622649 w 864346"/>
                  <a:gd name="connsiteY96" fmla="*/ 312201 h 767143"/>
                  <a:gd name="connsiteX97" fmla="*/ 617125 w 864346"/>
                  <a:gd name="connsiteY97" fmla="*/ 292760 h 767143"/>
                  <a:gd name="connsiteX98" fmla="*/ 546173 w 864346"/>
                  <a:gd name="connsiteY98" fmla="*/ 253194 h 767143"/>
                  <a:gd name="connsiteX99" fmla="*/ 546173 w 864346"/>
                  <a:gd name="connsiteY99" fmla="*/ 198434 h 767143"/>
                  <a:gd name="connsiteX100" fmla="*/ 603952 w 864346"/>
                  <a:gd name="connsiteY100" fmla="*/ 140522 h 767143"/>
                  <a:gd name="connsiteX101" fmla="*/ 627812 w 864346"/>
                  <a:gd name="connsiteY101" fmla="*/ 145552 h 767143"/>
                  <a:gd name="connsiteX102" fmla="*/ 696335 w 864346"/>
                  <a:gd name="connsiteY102" fmla="*/ 195482 h 767143"/>
                  <a:gd name="connsiteX103" fmla="*/ 686829 w 864346"/>
                  <a:gd name="connsiteY103" fmla="*/ 235210 h 767143"/>
                  <a:gd name="connsiteX104" fmla="*/ 775516 w 864346"/>
                  <a:gd name="connsiteY104" fmla="*/ 323898 h 767143"/>
                  <a:gd name="connsiteX105" fmla="*/ 785136 w 864346"/>
                  <a:gd name="connsiteY105" fmla="*/ 323317 h 767143"/>
                  <a:gd name="connsiteX106" fmla="*/ 794623 w 864346"/>
                  <a:gd name="connsiteY106" fmla="*/ 344481 h 767143"/>
                  <a:gd name="connsiteX107" fmla="*/ 829770 w 864346"/>
                  <a:gd name="connsiteY107" fmla="*/ 499167 h 767143"/>
                  <a:gd name="connsiteX108" fmla="*/ 827199 w 864346"/>
                  <a:gd name="connsiteY108" fmla="*/ 679123 h 76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864346" h="767143">
                    <a:moveTo>
                      <a:pt x="821217" y="334061"/>
                    </a:moveTo>
                    <a:cubicBezTo>
                      <a:pt x="821055" y="333670"/>
                      <a:pt x="818312" y="326717"/>
                      <a:pt x="813073" y="315535"/>
                    </a:cubicBezTo>
                    <a:cubicBezTo>
                      <a:pt x="843925" y="301314"/>
                      <a:pt x="864346" y="270396"/>
                      <a:pt x="864346" y="235229"/>
                    </a:cubicBezTo>
                    <a:cubicBezTo>
                      <a:pt x="864346" y="186252"/>
                      <a:pt x="824494" y="146418"/>
                      <a:pt x="775516" y="146418"/>
                    </a:cubicBezTo>
                    <a:cubicBezTo>
                      <a:pt x="751932" y="146418"/>
                      <a:pt x="729729" y="155915"/>
                      <a:pt x="713365" y="172155"/>
                    </a:cubicBezTo>
                    <a:cubicBezTo>
                      <a:pt x="690077" y="149628"/>
                      <a:pt x="665531" y="132036"/>
                      <a:pt x="640185" y="119805"/>
                    </a:cubicBezTo>
                    <a:cubicBezTo>
                      <a:pt x="634060" y="116872"/>
                      <a:pt x="621221" y="111957"/>
                      <a:pt x="603952" y="111957"/>
                    </a:cubicBezTo>
                    <a:cubicBezTo>
                      <a:pt x="556336" y="111957"/>
                      <a:pt x="517598" y="150752"/>
                      <a:pt x="517598" y="198444"/>
                    </a:cubicBezTo>
                    <a:lnTo>
                      <a:pt x="517598" y="237268"/>
                    </a:lnTo>
                    <a:lnTo>
                      <a:pt x="452685" y="201073"/>
                    </a:lnTo>
                    <a:lnTo>
                      <a:pt x="452685" y="14288"/>
                    </a:lnTo>
                    <a:cubicBezTo>
                      <a:pt x="452685" y="6391"/>
                      <a:pt x="446284" y="0"/>
                      <a:pt x="438398" y="0"/>
                    </a:cubicBezTo>
                    <a:cubicBezTo>
                      <a:pt x="430501" y="0"/>
                      <a:pt x="424110" y="6391"/>
                      <a:pt x="424110" y="14288"/>
                    </a:cubicBezTo>
                    <a:lnTo>
                      <a:pt x="424110" y="201063"/>
                    </a:lnTo>
                    <a:lnTo>
                      <a:pt x="359216" y="237249"/>
                    </a:lnTo>
                    <a:lnTo>
                      <a:pt x="359216" y="198444"/>
                    </a:lnTo>
                    <a:cubicBezTo>
                      <a:pt x="359216" y="150752"/>
                      <a:pt x="320488" y="111957"/>
                      <a:pt x="272882" y="111957"/>
                    </a:cubicBezTo>
                    <a:cubicBezTo>
                      <a:pt x="255613" y="111957"/>
                      <a:pt x="242773" y="116872"/>
                      <a:pt x="236601" y="119825"/>
                    </a:cubicBezTo>
                    <a:cubicBezTo>
                      <a:pt x="193424" y="140675"/>
                      <a:pt x="153353" y="176393"/>
                      <a:pt x="117262" y="225733"/>
                    </a:cubicBezTo>
                    <a:cubicBezTo>
                      <a:pt x="108137" y="222609"/>
                      <a:pt x="98631" y="220942"/>
                      <a:pt x="88830" y="220942"/>
                    </a:cubicBezTo>
                    <a:cubicBezTo>
                      <a:pt x="39843" y="220942"/>
                      <a:pt x="0" y="260728"/>
                      <a:pt x="0" y="309629"/>
                    </a:cubicBezTo>
                    <a:cubicBezTo>
                      <a:pt x="0" y="339871"/>
                      <a:pt x="14830" y="367122"/>
                      <a:pt x="39148" y="383200"/>
                    </a:cubicBezTo>
                    <a:cubicBezTo>
                      <a:pt x="28527" y="420376"/>
                      <a:pt x="21479" y="458562"/>
                      <a:pt x="18574" y="496986"/>
                    </a:cubicBezTo>
                    <a:cubicBezTo>
                      <a:pt x="13811" y="558527"/>
                      <a:pt x="14678" y="620592"/>
                      <a:pt x="21146" y="681447"/>
                    </a:cubicBezTo>
                    <a:cubicBezTo>
                      <a:pt x="21574" y="728777"/>
                      <a:pt x="60208" y="767144"/>
                      <a:pt x="107623" y="767144"/>
                    </a:cubicBezTo>
                    <a:cubicBezTo>
                      <a:pt x="142075" y="767144"/>
                      <a:pt x="173031" y="746817"/>
                      <a:pt x="186842" y="715242"/>
                    </a:cubicBezTo>
                    <a:cubicBezTo>
                      <a:pt x="206597" y="684724"/>
                      <a:pt x="234744" y="664293"/>
                      <a:pt x="275206" y="651129"/>
                    </a:cubicBezTo>
                    <a:cubicBezTo>
                      <a:pt x="321745" y="649891"/>
                      <a:pt x="359207" y="611581"/>
                      <a:pt x="359207" y="564671"/>
                    </a:cubicBezTo>
                    <a:lnTo>
                      <a:pt x="359207" y="269967"/>
                    </a:lnTo>
                    <a:lnTo>
                      <a:pt x="438388" y="225809"/>
                    </a:lnTo>
                    <a:lnTo>
                      <a:pt x="517589" y="269977"/>
                    </a:lnTo>
                    <a:lnTo>
                      <a:pt x="517589" y="479298"/>
                    </a:lnTo>
                    <a:cubicBezTo>
                      <a:pt x="465696" y="487166"/>
                      <a:pt x="425491" y="532352"/>
                      <a:pt x="425491" y="586064"/>
                    </a:cubicBezTo>
                    <a:cubicBezTo>
                      <a:pt x="425491" y="645785"/>
                      <a:pt x="474078" y="694363"/>
                      <a:pt x="533791" y="694363"/>
                    </a:cubicBezTo>
                    <a:cubicBezTo>
                      <a:pt x="565690" y="694363"/>
                      <a:pt x="595636" y="680323"/>
                      <a:pt x="616067" y="656454"/>
                    </a:cubicBezTo>
                    <a:cubicBezTo>
                      <a:pt x="648900" y="669636"/>
                      <a:pt x="672646" y="688458"/>
                      <a:pt x="689982" y="715223"/>
                    </a:cubicBezTo>
                    <a:cubicBezTo>
                      <a:pt x="703821" y="746789"/>
                      <a:pt x="734768" y="767124"/>
                      <a:pt x="769201" y="767124"/>
                    </a:cubicBezTo>
                    <a:cubicBezTo>
                      <a:pt x="816626" y="767124"/>
                      <a:pt x="855259" y="728748"/>
                      <a:pt x="855688" y="681428"/>
                    </a:cubicBezTo>
                    <a:cubicBezTo>
                      <a:pt x="862146" y="620468"/>
                      <a:pt x="863003" y="558403"/>
                      <a:pt x="858250" y="496919"/>
                    </a:cubicBezTo>
                    <a:cubicBezTo>
                      <a:pt x="853564" y="438893"/>
                      <a:pt x="841448" y="385610"/>
                      <a:pt x="821217" y="334061"/>
                    </a:cubicBezTo>
                    <a:close/>
                    <a:moveTo>
                      <a:pt x="28556" y="309620"/>
                    </a:moveTo>
                    <a:cubicBezTo>
                      <a:pt x="28556" y="276482"/>
                      <a:pt x="55588" y="249507"/>
                      <a:pt x="88811" y="249507"/>
                    </a:cubicBezTo>
                    <a:cubicBezTo>
                      <a:pt x="98241" y="249507"/>
                      <a:pt x="107280" y="251670"/>
                      <a:pt x="115729" y="255946"/>
                    </a:cubicBezTo>
                    <a:cubicBezTo>
                      <a:pt x="136198" y="266252"/>
                      <a:pt x="148914" y="286817"/>
                      <a:pt x="148914" y="309620"/>
                    </a:cubicBezTo>
                    <a:cubicBezTo>
                      <a:pt x="148914" y="342843"/>
                      <a:pt x="121949" y="369865"/>
                      <a:pt x="88802" y="369865"/>
                    </a:cubicBezTo>
                    <a:cubicBezTo>
                      <a:pt x="79477" y="369865"/>
                      <a:pt x="70342" y="367703"/>
                      <a:pt x="62055" y="363464"/>
                    </a:cubicBezTo>
                    <a:cubicBezTo>
                      <a:pt x="41405" y="353473"/>
                      <a:pt x="28556" y="332842"/>
                      <a:pt x="28556" y="309620"/>
                    </a:cubicBezTo>
                    <a:close/>
                    <a:moveTo>
                      <a:pt x="330622" y="564652"/>
                    </a:moveTo>
                    <a:cubicBezTo>
                      <a:pt x="330622" y="596589"/>
                      <a:pt x="304705" y="622564"/>
                      <a:pt x="272863" y="622564"/>
                    </a:cubicBezTo>
                    <a:cubicBezTo>
                      <a:pt x="271405" y="622564"/>
                      <a:pt x="269948" y="622783"/>
                      <a:pt x="268557" y="623230"/>
                    </a:cubicBezTo>
                    <a:cubicBezTo>
                      <a:pt x="220513" y="638432"/>
                      <a:pt x="185699" y="663816"/>
                      <a:pt x="162125" y="700821"/>
                    </a:cubicBezTo>
                    <a:cubicBezTo>
                      <a:pt x="161687" y="701507"/>
                      <a:pt x="161315" y="702221"/>
                      <a:pt x="161001" y="702964"/>
                    </a:cubicBezTo>
                    <a:cubicBezTo>
                      <a:pt x="151914" y="724586"/>
                      <a:pt x="130959" y="738549"/>
                      <a:pt x="107613" y="738549"/>
                    </a:cubicBezTo>
                    <a:cubicBezTo>
                      <a:pt x="75676" y="738549"/>
                      <a:pt x="49701" y="712565"/>
                      <a:pt x="49701" y="680638"/>
                    </a:cubicBezTo>
                    <a:cubicBezTo>
                      <a:pt x="49701" y="680133"/>
                      <a:pt x="49673" y="679628"/>
                      <a:pt x="49625" y="679113"/>
                    </a:cubicBezTo>
                    <a:cubicBezTo>
                      <a:pt x="43272" y="619763"/>
                      <a:pt x="42405" y="559222"/>
                      <a:pt x="47054" y="499148"/>
                    </a:cubicBezTo>
                    <a:cubicBezTo>
                      <a:pt x="49701" y="464048"/>
                      <a:pt x="56026" y="429177"/>
                      <a:pt x="65456" y="395164"/>
                    </a:cubicBezTo>
                    <a:cubicBezTo>
                      <a:pt x="73009" y="397250"/>
                      <a:pt x="80867" y="398440"/>
                      <a:pt x="88821" y="398440"/>
                    </a:cubicBezTo>
                    <a:cubicBezTo>
                      <a:pt x="137722" y="398440"/>
                      <a:pt x="177508" y="358597"/>
                      <a:pt x="177508" y="309620"/>
                    </a:cubicBezTo>
                    <a:cubicBezTo>
                      <a:pt x="177508" y="281559"/>
                      <a:pt x="164363" y="255946"/>
                      <a:pt x="142580" y="239373"/>
                    </a:cubicBezTo>
                    <a:cubicBezTo>
                      <a:pt x="166964" y="206721"/>
                      <a:pt x="203178" y="167697"/>
                      <a:pt x="248984" y="145580"/>
                    </a:cubicBezTo>
                    <a:cubicBezTo>
                      <a:pt x="252917" y="143694"/>
                      <a:pt x="261252" y="140532"/>
                      <a:pt x="272872" y="140532"/>
                    </a:cubicBezTo>
                    <a:cubicBezTo>
                      <a:pt x="304724" y="140532"/>
                      <a:pt x="330632" y="166516"/>
                      <a:pt x="330632" y="198444"/>
                    </a:cubicBezTo>
                    <a:lnTo>
                      <a:pt x="330632" y="253184"/>
                    </a:lnTo>
                    <a:lnTo>
                      <a:pt x="259642" y="292770"/>
                    </a:lnTo>
                    <a:cubicBezTo>
                      <a:pt x="252746" y="296608"/>
                      <a:pt x="250288" y="305314"/>
                      <a:pt x="254127" y="312210"/>
                    </a:cubicBezTo>
                    <a:cubicBezTo>
                      <a:pt x="256737" y="316897"/>
                      <a:pt x="261604" y="319545"/>
                      <a:pt x="266624" y="319545"/>
                    </a:cubicBezTo>
                    <a:cubicBezTo>
                      <a:pt x="268976" y="319545"/>
                      <a:pt x="271367" y="318954"/>
                      <a:pt x="273568" y="317735"/>
                    </a:cubicBezTo>
                    <a:lnTo>
                      <a:pt x="330641" y="285912"/>
                    </a:lnTo>
                    <a:lnTo>
                      <a:pt x="330641" y="564652"/>
                    </a:lnTo>
                    <a:close/>
                    <a:moveTo>
                      <a:pt x="775506" y="174984"/>
                    </a:moveTo>
                    <a:cubicBezTo>
                      <a:pt x="808730" y="174984"/>
                      <a:pt x="835762" y="202006"/>
                      <a:pt x="835762" y="235220"/>
                    </a:cubicBezTo>
                    <a:cubicBezTo>
                      <a:pt x="835762" y="263081"/>
                      <a:pt x="816902" y="287055"/>
                      <a:pt x="789508" y="293618"/>
                    </a:cubicBezTo>
                    <a:cubicBezTo>
                      <a:pt x="789480" y="293627"/>
                      <a:pt x="789461" y="293627"/>
                      <a:pt x="789442" y="293627"/>
                    </a:cubicBezTo>
                    <a:cubicBezTo>
                      <a:pt x="785222" y="294761"/>
                      <a:pt x="780659" y="295323"/>
                      <a:pt x="775506" y="295323"/>
                    </a:cubicBezTo>
                    <a:cubicBezTo>
                      <a:pt x="742369" y="295323"/>
                      <a:pt x="715394" y="268357"/>
                      <a:pt x="715394" y="235210"/>
                    </a:cubicBezTo>
                    <a:cubicBezTo>
                      <a:pt x="715394" y="223009"/>
                      <a:pt x="719033" y="211293"/>
                      <a:pt x="725967" y="201235"/>
                    </a:cubicBezTo>
                    <a:cubicBezTo>
                      <a:pt x="737140" y="184804"/>
                      <a:pt x="755656" y="174984"/>
                      <a:pt x="775506" y="174984"/>
                    </a:cubicBezTo>
                    <a:close/>
                    <a:moveTo>
                      <a:pt x="533791" y="665788"/>
                    </a:moveTo>
                    <a:cubicBezTo>
                      <a:pt x="489833" y="665788"/>
                      <a:pt x="454066" y="630022"/>
                      <a:pt x="454066" y="586064"/>
                    </a:cubicBezTo>
                    <a:cubicBezTo>
                      <a:pt x="454066" y="543049"/>
                      <a:pt x="489099" y="507406"/>
                      <a:pt x="532143" y="506597"/>
                    </a:cubicBezTo>
                    <a:cubicBezTo>
                      <a:pt x="532724" y="506587"/>
                      <a:pt x="533295" y="506540"/>
                      <a:pt x="533867" y="506463"/>
                    </a:cubicBezTo>
                    <a:cubicBezTo>
                      <a:pt x="577796" y="506501"/>
                      <a:pt x="613524" y="542192"/>
                      <a:pt x="613524" y="586064"/>
                    </a:cubicBezTo>
                    <a:cubicBezTo>
                      <a:pt x="613524" y="602399"/>
                      <a:pt x="608705" y="618001"/>
                      <a:pt x="599570" y="631231"/>
                    </a:cubicBezTo>
                    <a:cubicBezTo>
                      <a:pt x="584711" y="652872"/>
                      <a:pt x="560127" y="665788"/>
                      <a:pt x="533791" y="665788"/>
                    </a:cubicBezTo>
                    <a:close/>
                    <a:moveTo>
                      <a:pt x="827199" y="679123"/>
                    </a:moveTo>
                    <a:cubicBezTo>
                      <a:pt x="827142" y="679628"/>
                      <a:pt x="827113" y="680133"/>
                      <a:pt x="827113" y="680638"/>
                    </a:cubicBezTo>
                    <a:cubicBezTo>
                      <a:pt x="827113" y="712575"/>
                      <a:pt x="801129" y="738549"/>
                      <a:pt x="769201" y="738549"/>
                    </a:cubicBezTo>
                    <a:cubicBezTo>
                      <a:pt x="745874" y="738549"/>
                      <a:pt x="724910" y="724576"/>
                      <a:pt x="715813" y="702955"/>
                    </a:cubicBezTo>
                    <a:cubicBezTo>
                      <a:pt x="715499" y="702212"/>
                      <a:pt x="715128" y="701497"/>
                      <a:pt x="714689" y="700821"/>
                    </a:cubicBezTo>
                    <a:cubicBezTo>
                      <a:pt x="695144" y="670141"/>
                      <a:pt x="667969" y="647519"/>
                      <a:pt x="631936" y="632003"/>
                    </a:cubicBezTo>
                    <a:cubicBezTo>
                      <a:pt x="638594" y="617772"/>
                      <a:pt x="642109" y="602180"/>
                      <a:pt x="642109" y="586064"/>
                    </a:cubicBezTo>
                    <a:cubicBezTo>
                      <a:pt x="642109" y="530590"/>
                      <a:pt x="600085" y="484803"/>
                      <a:pt x="546173" y="478641"/>
                    </a:cubicBezTo>
                    <a:lnTo>
                      <a:pt x="546173" y="285921"/>
                    </a:lnTo>
                    <a:lnTo>
                      <a:pt x="603209" y="317725"/>
                    </a:lnTo>
                    <a:cubicBezTo>
                      <a:pt x="605409" y="318954"/>
                      <a:pt x="607790" y="319535"/>
                      <a:pt x="610152" y="319535"/>
                    </a:cubicBezTo>
                    <a:cubicBezTo>
                      <a:pt x="615153" y="319535"/>
                      <a:pt x="620020" y="316887"/>
                      <a:pt x="622649" y="312201"/>
                    </a:cubicBezTo>
                    <a:cubicBezTo>
                      <a:pt x="626488" y="305305"/>
                      <a:pt x="624021" y="296608"/>
                      <a:pt x="617125" y="292760"/>
                    </a:cubicBezTo>
                    <a:lnTo>
                      <a:pt x="546173" y="253194"/>
                    </a:lnTo>
                    <a:lnTo>
                      <a:pt x="546173" y="198434"/>
                    </a:lnTo>
                    <a:cubicBezTo>
                      <a:pt x="546173" y="166497"/>
                      <a:pt x="572100" y="140522"/>
                      <a:pt x="603952" y="140522"/>
                    </a:cubicBezTo>
                    <a:cubicBezTo>
                      <a:pt x="615572" y="140522"/>
                      <a:pt x="623916" y="143685"/>
                      <a:pt x="627812" y="145552"/>
                    </a:cubicBezTo>
                    <a:cubicBezTo>
                      <a:pt x="651386" y="156924"/>
                      <a:pt x="674389" y="173726"/>
                      <a:pt x="696335" y="195482"/>
                    </a:cubicBezTo>
                    <a:cubicBezTo>
                      <a:pt x="690143" y="207740"/>
                      <a:pt x="686829" y="221256"/>
                      <a:pt x="686829" y="235210"/>
                    </a:cubicBezTo>
                    <a:cubicBezTo>
                      <a:pt x="686829" y="284112"/>
                      <a:pt x="726615" y="323898"/>
                      <a:pt x="775516" y="323898"/>
                    </a:cubicBezTo>
                    <a:cubicBezTo>
                      <a:pt x="778831" y="323898"/>
                      <a:pt x="782022" y="323650"/>
                      <a:pt x="785136" y="323317"/>
                    </a:cubicBezTo>
                    <a:cubicBezTo>
                      <a:pt x="791328" y="336185"/>
                      <a:pt x="794585" y="344376"/>
                      <a:pt x="794623" y="344481"/>
                    </a:cubicBezTo>
                    <a:cubicBezTo>
                      <a:pt x="813826" y="393402"/>
                      <a:pt x="825322" y="444008"/>
                      <a:pt x="829770" y="499167"/>
                    </a:cubicBezTo>
                    <a:cubicBezTo>
                      <a:pt x="834390" y="559118"/>
                      <a:pt x="833533" y="619668"/>
                      <a:pt x="827199" y="679123"/>
                    </a:cubicBezTo>
                    <a:close/>
                  </a:path>
                </a:pathLst>
              </a:custGeom>
              <a:grpFill/>
              <a:ln w="9525" cap="flat">
                <a:noFill/>
                <a:prstDash val="solid"/>
                <a:miter/>
              </a:ln>
            </p:spPr>
            <p:txBody>
              <a:bodyPr rtlCol="0" anchor="ctr"/>
              <a:lstStyle/>
              <a:p>
                <a:pPr defTabSz="171390">
                  <a:defRPr/>
                </a:pPr>
                <a:endParaRPr lang="en-US" sz="800">
                  <a:solidFill>
                    <a:srgbClr val="000000"/>
                  </a:solidFill>
                  <a:latin typeface="Pfizer Diatype Office"/>
                </a:endParaRPr>
              </a:p>
            </p:txBody>
          </p:sp>
          <p:sp>
            <p:nvSpPr>
              <p:cNvPr id="86" name="Freeform: Shape 85">
                <a:extLst>
                  <a:ext uri="{FF2B5EF4-FFF2-40B4-BE49-F238E27FC236}">
                    <a16:creationId xmlns:a16="http://schemas.microsoft.com/office/drawing/2014/main" id="{AFDF6B4B-B36E-01D1-E1AF-48289522EDD9}"/>
                  </a:ext>
                </a:extLst>
              </p:cNvPr>
              <p:cNvSpPr/>
              <p:nvPr/>
            </p:nvSpPr>
            <p:spPr>
              <a:xfrm>
                <a:off x="9892742" y="-547154"/>
                <a:ext cx="59397" cy="59397"/>
              </a:xfrm>
              <a:custGeom>
                <a:avLst/>
                <a:gdLst>
                  <a:gd name="connsiteX0" fmla="*/ 29709 w 59397"/>
                  <a:gd name="connsiteY0" fmla="*/ 0 h 59397"/>
                  <a:gd name="connsiteX1" fmla="*/ 0 w 59397"/>
                  <a:gd name="connsiteY1" fmla="*/ 29699 h 59397"/>
                  <a:gd name="connsiteX2" fmla="*/ 29709 w 59397"/>
                  <a:gd name="connsiteY2" fmla="*/ 59398 h 59397"/>
                  <a:gd name="connsiteX3" fmla="*/ 59398 w 59397"/>
                  <a:gd name="connsiteY3" fmla="*/ 29699 h 59397"/>
                  <a:gd name="connsiteX4" fmla="*/ 29709 w 59397"/>
                  <a:gd name="connsiteY4" fmla="*/ 0 h 59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97" h="59397">
                    <a:moveTo>
                      <a:pt x="29709" y="0"/>
                    </a:moveTo>
                    <a:cubicBezTo>
                      <a:pt x="13325" y="0"/>
                      <a:pt x="0" y="13325"/>
                      <a:pt x="0" y="29699"/>
                    </a:cubicBezTo>
                    <a:cubicBezTo>
                      <a:pt x="0" y="46072"/>
                      <a:pt x="13325" y="59398"/>
                      <a:pt x="29709" y="59398"/>
                    </a:cubicBezTo>
                    <a:cubicBezTo>
                      <a:pt x="46082" y="59398"/>
                      <a:pt x="59398" y="46072"/>
                      <a:pt x="59398" y="29699"/>
                    </a:cubicBezTo>
                    <a:cubicBezTo>
                      <a:pt x="59398" y="13325"/>
                      <a:pt x="46082" y="0"/>
                      <a:pt x="29709" y="0"/>
                    </a:cubicBezTo>
                    <a:close/>
                  </a:path>
                </a:pathLst>
              </a:custGeom>
              <a:grpFill/>
              <a:ln w="9525" cap="flat">
                <a:noFill/>
                <a:prstDash val="solid"/>
                <a:miter/>
              </a:ln>
            </p:spPr>
            <p:txBody>
              <a:bodyPr rtlCol="0" anchor="ctr"/>
              <a:lstStyle/>
              <a:p>
                <a:pPr defTabSz="171390">
                  <a:defRPr/>
                </a:pPr>
                <a:endParaRPr lang="en-US" sz="800">
                  <a:solidFill>
                    <a:srgbClr val="000000"/>
                  </a:solidFill>
                  <a:latin typeface="Pfizer Diatype Office"/>
                </a:endParaRPr>
              </a:p>
            </p:txBody>
          </p:sp>
          <p:sp>
            <p:nvSpPr>
              <p:cNvPr id="87" name="Freeform: Shape 86">
                <a:extLst>
                  <a:ext uri="{FF2B5EF4-FFF2-40B4-BE49-F238E27FC236}">
                    <a16:creationId xmlns:a16="http://schemas.microsoft.com/office/drawing/2014/main" id="{6EAB331D-1E74-12E5-B34C-8DE434C0F310}"/>
                  </a:ext>
                </a:extLst>
              </p:cNvPr>
              <p:cNvSpPr/>
              <p:nvPr/>
            </p:nvSpPr>
            <p:spPr>
              <a:xfrm>
                <a:off x="9975209" y="-375942"/>
                <a:ext cx="59397" cy="59397"/>
              </a:xfrm>
              <a:custGeom>
                <a:avLst/>
                <a:gdLst>
                  <a:gd name="connsiteX0" fmla="*/ 29689 w 59397"/>
                  <a:gd name="connsiteY0" fmla="*/ 0 h 59397"/>
                  <a:gd name="connsiteX1" fmla="*/ 0 w 59397"/>
                  <a:gd name="connsiteY1" fmla="*/ 29699 h 59397"/>
                  <a:gd name="connsiteX2" fmla="*/ 29689 w 59397"/>
                  <a:gd name="connsiteY2" fmla="*/ 59398 h 59397"/>
                  <a:gd name="connsiteX3" fmla="*/ 59398 w 59397"/>
                  <a:gd name="connsiteY3" fmla="*/ 29699 h 59397"/>
                  <a:gd name="connsiteX4" fmla="*/ 29689 w 59397"/>
                  <a:gd name="connsiteY4" fmla="*/ 0 h 59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97" h="59397">
                    <a:moveTo>
                      <a:pt x="29689" y="0"/>
                    </a:moveTo>
                    <a:cubicBezTo>
                      <a:pt x="13316" y="0"/>
                      <a:pt x="0" y="13325"/>
                      <a:pt x="0" y="29699"/>
                    </a:cubicBezTo>
                    <a:cubicBezTo>
                      <a:pt x="0" y="46072"/>
                      <a:pt x="13316" y="59398"/>
                      <a:pt x="29689" y="59398"/>
                    </a:cubicBezTo>
                    <a:cubicBezTo>
                      <a:pt x="46072" y="59398"/>
                      <a:pt x="59398" y="46072"/>
                      <a:pt x="59398" y="29699"/>
                    </a:cubicBezTo>
                    <a:cubicBezTo>
                      <a:pt x="59398" y="13325"/>
                      <a:pt x="46072" y="0"/>
                      <a:pt x="29689" y="0"/>
                    </a:cubicBezTo>
                    <a:close/>
                  </a:path>
                </a:pathLst>
              </a:custGeom>
              <a:grpFill/>
              <a:ln w="9525" cap="flat">
                <a:noFill/>
                <a:prstDash val="solid"/>
                <a:miter/>
              </a:ln>
            </p:spPr>
            <p:txBody>
              <a:bodyPr rtlCol="0" anchor="ctr"/>
              <a:lstStyle/>
              <a:p>
                <a:pPr defTabSz="171390">
                  <a:defRPr/>
                </a:pPr>
                <a:endParaRPr lang="en-US" sz="800">
                  <a:solidFill>
                    <a:srgbClr val="000000"/>
                  </a:solidFill>
                  <a:latin typeface="Pfizer Diatype Office"/>
                </a:endParaRPr>
              </a:p>
            </p:txBody>
          </p:sp>
        </p:grpSp>
        <p:sp>
          <p:nvSpPr>
            <p:cNvPr id="95" name="TextBox 94">
              <a:extLst>
                <a:ext uri="{FF2B5EF4-FFF2-40B4-BE49-F238E27FC236}">
                  <a16:creationId xmlns:a16="http://schemas.microsoft.com/office/drawing/2014/main" id="{F4487E09-A528-BD04-1A2F-D327DB1D89DC}"/>
                </a:ext>
              </a:extLst>
            </p:cNvPr>
            <p:cNvSpPr txBox="1"/>
            <p:nvPr/>
          </p:nvSpPr>
          <p:spPr bwMode="gray">
            <a:xfrm>
              <a:off x="2691113" y="3398951"/>
              <a:ext cx="9072262" cy="279564"/>
            </a:xfrm>
            <a:prstGeom prst="rect">
              <a:avLst/>
            </a:prstGeom>
            <a:noFill/>
            <a:ln w="19050">
              <a:noFill/>
            </a:ln>
          </p:spPr>
          <p:txBody>
            <a:bodyPr spcFirstLastPara="1" wrap="square" lIns="0" tIns="0" rIns="0" bIns="0" rtlCol="0" anchor="ctr" anchorCtr="0">
              <a:spAutoFit/>
            </a:bodyPr>
            <a:lstStyle/>
            <a:p>
              <a:pPr marL="130302" indent="-130302" defTabSz="171390">
                <a:spcAft>
                  <a:spcPts val="450"/>
                </a:spcAft>
                <a:buFont typeface="Arial" panose="020B0604020202020204" pitchFamily="34" charset="0"/>
                <a:buChar char="•"/>
                <a:defRPr/>
              </a:pPr>
              <a:r>
                <a:rPr lang="en-US" sz="1400" b="1" dirty="0" err="1">
                  <a:solidFill>
                    <a:srgbClr val="FFFFFF"/>
                  </a:solidFill>
                  <a:latin typeface="Pfizer Diatype Office"/>
                </a:rPr>
                <a:t>Pnömokok</a:t>
              </a:r>
              <a:r>
                <a:rPr lang="en-US" sz="1400" b="1" dirty="0">
                  <a:solidFill>
                    <a:srgbClr val="FFFFFF"/>
                  </a:solidFill>
                  <a:latin typeface="Pfizer Diatype Office"/>
                </a:rPr>
                <a:t> </a:t>
              </a:r>
              <a:r>
                <a:rPr lang="en-US" sz="1400" b="1" dirty="0" err="1">
                  <a:solidFill>
                    <a:srgbClr val="FFFFFF"/>
                  </a:solidFill>
                  <a:latin typeface="Pfizer Diatype Office"/>
                </a:rPr>
                <a:t>aşısının</a:t>
              </a:r>
              <a:r>
                <a:rPr lang="en-US" sz="1400" b="1" dirty="0">
                  <a:solidFill>
                    <a:srgbClr val="FFFFFF"/>
                  </a:solidFill>
                  <a:latin typeface="Pfizer Diatype Office"/>
                </a:rPr>
                <a:t>, </a:t>
              </a:r>
              <a:r>
                <a:rPr lang="en-US" sz="1400" b="1" dirty="0" err="1">
                  <a:solidFill>
                    <a:srgbClr val="FFFFFF"/>
                  </a:solidFill>
                  <a:latin typeface="Pfizer Diatype Office"/>
                </a:rPr>
                <a:t>antibiyotik</a:t>
              </a:r>
              <a:r>
                <a:rPr lang="en-US" sz="1400" b="1" dirty="0">
                  <a:solidFill>
                    <a:srgbClr val="FFFFFF"/>
                  </a:solidFill>
                  <a:latin typeface="Pfizer Diatype Office"/>
                </a:rPr>
                <a:t> </a:t>
              </a:r>
              <a:r>
                <a:rPr lang="en-US" sz="1400" b="1" dirty="0" err="1">
                  <a:solidFill>
                    <a:srgbClr val="FFFFFF"/>
                  </a:solidFill>
                  <a:latin typeface="Pfizer Diatype Office"/>
                </a:rPr>
                <a:t>reçetelerini</a:t>
              </a:r>
              <a:r>
                <a:rPr lang="en-US" sz="1400" b="1" dirty="0">
                  <a:solidFill>
                    <a:srgbClr val="FFFFFF"/>
                  </a:solidFill>
                  <a:latin typeface="Pfizer Diatype Office"/>
                </a:rPr>
                <a:t> </a:t>
              </a:r>
              <a:r>
                <a:rPr lang="en-US" sz="1400" b="1" dirty="0" err="1">
                  <a:solidFill>
                    <a:srgbClr val="FFFFFF"/>
                  </a:solidFill>
                  <a:latin typeface="Pfizer Diatype Office"/>
                </a:rPr>
                <a:t>ve</a:t>
              </a:r>
              <a:r>
                <a:rPr lang="en-US" sz="1400" b="1" dirty="0">
                  <a:solidFill>
                    <a:srgbClr val="FFFFFF"/>
                  </a:solidFill>
                  <a:latin typeface="Pfizer Diatype Office"/>
                </a:rPr>
                <a:t> </a:t>
              </a:r>
              <a:r>
                <a:rPr lang="en-US" sz="1400" b="1" dirty="0" err="1">
                  <a:solidFill>
                    <a:srgbClr val="FFFFFF"/>
                  </a:solidFill>
                  <a:latin typeface="Pfizer Diatype Office"/>
                </a:rPr>
                <a:t>antibiyotik</a:t>
              </a:r>
              <a:r>
                <a:rPr lang="en-US" sz="1400" b="1" dirty="0">
                  <a:solidFill>
                    <a:srgbClr val="FFFFFF"/>
                  </a:solidFill>
                  <a:latin typeface="Pfizer Diatype Office"/>
                </a:rPr>
                <a:t> </a:t>
              </a:r>
              <a:r>
                <a:rPr lang="en-US" sz="1400" b="1" dirty="0" err="1">
                  <a:solidFill>
                    <a:srgbClr val="FFFFFF"/>
                  </a:solidFill>
                  <a:latin typeface="Pfizer Diatype Office"/>
                </a:rPr>
                <a:t>kullanım</a:t>
              </a:r>
              <a:r>
                <a:rPr lang="en-US" sz="1400" b="1" dirty="0">
                  <a:solidFill>
                    <a:srgbClr val="FFFFFF"/>
                  </a:solidFill>
                  <a:latin typeface="Pfizer Diatype Office"/>
                </a:rPr>
                <a:t> </a:t>
              </a:r>
              <a:r>
                <a:rPr lang="en-US" sz="1400" b="1" dirty="0" err="1">
                  <a:solidFill>
                    <a:srgbClr val="FFFFFF"/>
                  </a:solidFill>
                  <a:latin typeface="Pfizer Diatype Office"/>
                </a:rPr>
                <a:t>süresini</a:t>
              </a:r>
              <a:r>
                <a:rPr lang="en-US" sz="1400" b="1" dirty="0">
                  <a:solidFill>
                    <a:srgbClr val="FFFFFF"/>
                  </a:solidFill>
                  <a:latin typeface="Pfizer Diatype Office"/>
                </a:rPr>
                <a:t> </a:t>
              </a:r>
              <a:r>
                <a:rPr lang="en-US" sz="1400" b="1" dirty="0" err="1">
                  <a:solidFill>
                    <a:srgbClr val="FFFFFF"/>
                  </a:solidFill>
                  <a:latin typeface="Pfizer Diatype Office"/>
                </a:rPr>
                <a:t>azalttığı</a:t>
              </a:r>
              <a:r>
                <a:rPr lang="en-US" sz="1400" b="1" dirty="0">
                  <a:solidFill>
                    <a:srgbClr val="FFFFFF"/>
                  </a:solidFill>
                  <a:latin typeface="Pfizer Diatype Office"/>
                </a:rPr>
                <a:t> </a:t>
              </a:r>
              <a:r>
                <a:rPr lang="en-US" sz="1400" b="1" dirty="0" err="1">
                  <a:solidFill>
                    <a:srgbClr val="FFFFFF"/>
                  </a:solidFill>
                  <a:latin typeface="Pfizer Diatype Office"/>
                </a:rPr>
                <a:t>gösterilmiştir</a:t>
              </a:r>
              <a:r>
                <a:rPr lang="en-US" sz="1400" b="1" dirty="0">
                  <a:solidFill>
                    <a:srgbClr val="FFFFFF"/>
                  </a:solidFill>
                  <a:latin typeface="Pfizer Diatype Office"/>
                </a:rPr>
                <a:t>*</a:t>
              </a:r>
              <a:endParaRPr lang="en-IN" sz="1400" b="1" baseline="30000" dirty="0">
                <a:solidFill>
                  <a:srgbClr val="FFFFFF"/>
                </a:solidFill>
                <a:latin typeface="Pfizer Diatype Office"/>
              </a:endParaRPr>
            </a:p>
          </p:txBody>
        </p:sp>
        <p:sp>
          <p:nvSpPr>
            <p:cNvPr id="26" name="TextBox 25">
              <a:extLst>
                <a:ext uri="{FF2B5EF4-FFF2-40B4-BE49-F238E27FC236}">
                  <a16:creationId xmlns:a16="http://schemas.microsoft.com/office/drawing/2014/main" id="{1B6C0342-E69D-1774-7D0A-80F3215DC793}"/>
                </a:ext>
              </a:extLst>
            </p:cNvPr>
            <p:cNvSpPr txBox="1"/>
            <p:nvPr/>
          </p:nvSpPr>
          <p:spPr>
            <a:xfrm>
              <a:off x="613151" y="4767587"/>
              <a:ext cx="11302622" cy="731520"/>
            </a:xfrm>
            <a:prstGeom prst="roundRect">
              <a:avLst>
                <a:gd name="adj" fmla="val 8951"/>
              </a:avLst>
            </a:prstGeom>
            <a:solidFill>
              <a:srgbClr val="0000C9"/>
            </a:solidFill>
          </p:spPr>
          <p:txBody>
            <a:bodyPr wrap="none" lIns="68580" tIns="0" rIns="0" bIns="0" rtlCol="0" anchor="ctr" anchorCtr="0">
              <a:noAutofit/>
            </a:bodyPr>
            <a:lstStyle/>
            <a:p>
              <a:pPr marL="800100" defTabSz="685800">
                <a:defRPr/>
              </a:pPr>
              <a:r>
                <a:rPr lang="en-US" sz="1400" dirty="0">
                  <a:solidFill>
                    <a:srgbClr val="FFFFFF"/>
                  </a:solidFill>
                  <a:latin typeface="Pfizer Tomorrow"/>
                </a:rPr>
                <a:t>Influenza</a:t>
              </a:r>
              <a:r>
                <a:rPr lang="en-US" sz="1400" baseline="30000" dirty="0">
                  <a:solidFill>
                    <a:srgbClr val="FFFFFF"/>
                  </a:solidFill>
                  <a:latin typeface="Pfizer Tomorrow"/>
                </a:rPr>
                <a:t>3</a:t>
              </a:r>
            </a:p>
          </p:txBody>
        </p:sp>
        <p:grpSp>
          <p:nvGrpSpPr>
            <p:cNvPr id="28" name="Graphic 99">
              <a:extLst>
                <a:ext uri="{FF2B5EF4-FFF2-40B4-BE49-F238E27FC236}">
                  <a16:creationId xmlns:a16="http://schemas.microsoft.com/office/drawing/2014/main" id="{B4827D0D-5A36-7352-4020-DE0DCAAB5FE6}"/>
                </a:ext>
              </a:extLst>
            </p:cNvPr>
            <p:cNvGrpSpPr/>
            <p:nvPr/>
          </p:nvGrpSpPr>
          <p:grpSpPr>
            <a:xfrm>
              <a:off x="751438" y="4859027"/>
              <a:ext cx="548640" cy="548640"/>
              <a:chOff x="14651672" y="365569"/>
              <a:chExt cx="4240529" cy="4241482"/>
            </a:xfrm>
            <a:solidFill>
              <a:schemeClr val="bg1"/>
            </a:solidFill>
          </p:grpSpPr>
          <p:sp>
            <p:nvSpPr>
              <p:cNvPr id="29" name="Freeform: Shape 28">
                <a:extLst>
                  <a:ext uri="{FF2B5EF4-FFF2-40B4-BE49-F238E27FC236}">
                    <a16:creationId xmlns:a16="http://schemas.microsoft.com/office/drawing/2014/main" id="{00A0C77E-254A-C194-F720-0028380E30CB}"/>
                  </a:ext>
                </a:extLst>
              </p:cNvPr>
              <p:cNvSpPr/>
              <p:nvPr/>
            </p:nvSpPr>
            <p:spPr>
              <a:xfrm>
                <a:off x="17117694" y="1968627"/>
                <a:ext cx="259080" cy="259079"/>
              </a:xfrm>
              <a:custGeom>
                <a:avLst/>
                <a:gdLst>
                  <a:gd name="connsiteX0" fmla="*/ 259080 w 259080"/>
                  <a:gd name="connsiteY0" fmla="*/ 129540 h 259079"/>
                  <a:gd name="connsiteX1" fmla="*/ 129540 w 259080"/>
                  <a:gd name="connsiteY1" fmla="*/ 259080 h 259079"/>
                  <a:gd name="connsiteX2" fmla="*/ 0 w 259080"/>
                  <a:gd name="connsiteY2" fmla="*/ 129540 h 259079"/>
                  <a:gd name="connsiteX3" fmla="*/ 129540 w 259080"/>
                  <a:gd name="connsiteY3" fmla="*/ 0 h 259079"/>
                  <a:gd name="connsiteX4" fmla="*/ 259080 w 259080"/>
                  <a:gd name="connsiteY4" fmla="*/ 129540 h 259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80" h="259079">
                    <a:moveTo>
                      <a:pt x="259080" y="129540"/>
                    </a:moveTo>
                    <a:cubicBezTo>
                      <a:pt x="259080" y="201083"/>
                      <a:pt x="201083" y="259080"/>
                      <a:pt x="129540" y="259080"/>
                    </a:cubicBezTo>
                    <a:cubicBezTo>
                      <a:pt x="57997" y="259080"/>
                      <a:pt x="0" y="201083"/>
                      <a:pt x="0" y="129540"/>
                    </a:cubicBezTo>
                    <a:cubicBezTo>
                      <a:pt x="0" y="57997"/>
                      <a:pt x="57997" y="0"/>
                      <a:pt x="129540" y="0"/>
                    </a:cubicBezTo>
                    <a:cubicBezTo>
                      <a:pt x="201083" y="0"/>
                      <a:pt x="259080" y="57997"/>
                      <a:pt x="259080" y="129540"/>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56" name="Freeform: Shape 55">
                <a:extLst>
                  <a:ext uri="{FF2B5EF4-FFF2-40B4-BE49-F238E27FC236}">
                    <a16:creationId xmlns:a16="http://schemas.microsoft.com/office/drawing/2014/main" id="{6DF4459A-95D8-7CAE-F38B-EB44A0D9DABD}"/>
                  </a:ext>
                </a:extLst>
              </p:cNvPr>
              <p:cNvSpPr/>
              <p:nvPr/>
            </p:nvSpPr>
            <p:spPr>
              <a:xfrm>
                <a:off x="16167099" y="2919222"/>
                <a:ext cx="259079" cy="259080"/>
              </a:xfrm>
              <a:custGeom>
                <a:avLst/>
                <a:gdLst>
                  <a:gd name="connsiteX0" fmla="*/ 259080 w 259079"/>
                  <a:gd name="connsiteY0" fmla="*/ 129540 h 259080"/>
                  <a:gd name="connsiteX1" fmla="*/ 129540 w 259079"/>
                  <a:gd name="connsiteY1" fmla="*/ 259080 h 259080"/>
                  <a:gd name="connsiteX2" fmla="*/ 0 w 259079"/>
                  <a:gd name="connsiteY2" fmla="*/ 129540 h 259080"/>
                  <a:gd name="connsiteX3" fmla="*/ 129540 w 259079"/>
                  <a:gd name="connsiteY3" fmla="*/ 0 h 259080"/>
                  <a:gd name="connsiteX4" fmla="*/ 259080 w 259079"/>
                  <a:gd name="connsiteY4" fmla="*/ 129540 h 259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79" h="259080">
                    <a:moveTo>
                      <a:pt x="259080" y="129540"/>
                    </a:moveTo>
                    <a:cubicBezTo>
                      <a:pt x="259080" y="201083"/>
                      <a:pt x="201083" y="259080"/>
                      <a:pt x="129540" y="259080"/>
                    </a:cubicBezTo>
                    <a:cubicBezTo>
                      <a:pt x="57997" y="259080"/>
                      <a:pt x="0" y="201083"/>
                      <a:pt x="0" y="129540"/>
                    </a:cubicBezTo>
                    <a:cubicBezTo>
                      <a:pt x="0" y="57997"/>
                      <a:pt x="57997" y="0"/>
                      <a:pt x="129540" y="0"/>
                    </a:cubicBezTo>
                    <a:cubicBezTo>
                      <a:pt x="201083" y="0"/>
                      <a:pt x="259080" y="57997"/>
                      <a:pt x="259080" y="129540"/>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57" name="Freeform: Shape 56">
                <a:extLst>
                  <a:ext uri="{FF2B5EF4-FFF2-40B4-BE49-F238E27FC236}">
                    <a16:creationId xmlns:a16="http://schemas.microsoft.com/office/drawing/2014/main" id="{9C73B5C4-386C-C121-5E8D-68014AE9064E}"/>
                  </a:ext>
                </a:extLst>
              </p:cNvPr>
              <p:cNvSpPr/>
              <p:nvPr/>
            </p:nvSpPr>
            <p:spPr>
              <a:xfrm>
                <a:off x="16857662" y="2486787"/>
                <a:ext cx="173355" cy="173355"/>
              </a:xfrm>
              <a:custGeom>
                <a:avLst/>
                <a:gdLst>
                  <a:gd name="connsiteX0" fmla="*/ 173355 w 173355"/>
                  <a:gd name="connsiteY0" fmla="*/ 86678 h 173355"/>
                  <a:gd name="connsiteX1" fmla="*/ 86678 w 173355"/>
                  <a:gd name="connsiteY1" fmla="*/ 173355 h 173355"/>
                  <a:gd name="connsiteX2" fmla="*/ 0 w 173355"/>
                  <a:gd name="connsiteY2" fmla="*/ 86678 h 173355"/>
                  <a:gd name="connsiteX3" fmla="*/ 86678 w 173355"/>
                  <a:gd name="connsiteY3" fmla="*/ 0 h 173355"/>
                  <a:gd name="connsiteX4" fmla="*/ 173355 w 173355"/>
                  <a:gd name="connsiteY4" fmla="*/ 86678 h 173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355" h="173355">
                    <a:moveTo>
                      <a:pt x="173355" y="86678"/>
                    </a:moveTo>
                    <a:cubicBezTo>
                      <a:pt x="173355" y="134548"/>
                      <a:pt x="134548" y="173355"/>
                      <a:pt x="86678" y="173355"/>
                    </a:cubicBezTo>
                    <a:cubicBezTo>
                      <a:pt x="38807" y="173355"/>
                      <a:pt x="0" y="134548"/>
                      <a:pt x="0" y="86678"/>
                    </a:cubicBezTo>
                    <a:cubicBezTo>
                      <a:pt x="0" y="38807"/>
                      <a:pt x="38807" y="0"/>
                      <a:pt x="86678" y="0"/>
                    </a:cubicBezTo>
                    <a:cubicBezTo>
                      <a:pt x="134548" y="0"/>
                      <a:pt x="173355" y="38807"/>
                      <a:pt x="173355" y="86678"/>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58" name="Freeform: Shape 57">
                <a:extLst>
                  <a:ext uri="{FF2B5EF4-FFF2-40B4-BE49-F238E27FC236}">
                    <a16:creationId xmlns:a16="http://schemas.microsoft.com/office/drawing/2014/main" id="{2F567F8C-2833-E60A-4652-A0972ADA1B67}"/>
                  </a:ext>
                </a:extLst>
              </p:cNvPr>
              <p:cNvSpPr/>
              <p:nvPr/>
            </p:nvSpPr>
            <p:spPr>
              <a:xfrm>
                <a:off x="15429864" y="1144714"/>
                <a:ext cx="2684144" cy="2684144"/>
              </a:xfrm>
              <a:custGeom>
                <a:avLst/>
                <a:gdLst>
                  <a:gd name="connsiteX0" fmla="*/ 1342073 w 2684144"/>
                  <a:gd name="connsiteY0" fmla="*/ 2684145 h 2684144"/>
                  <a:gd name="connsiteX1" fmla="*/ 0 w 2684144"/>
                  <a:gd name="connsiteY1" fmla="*/ 1342073 h 2684144"/>
                  <a:gd name="connsiteX2" fmla="*/ 1342073 w 2684144"/>
                  <a:gd name="connsiteY2" fmla="*/ 0 h 2684144"/>
                  <a:gd name="connsiteX3" fmla="*/ 2684145 w 2684144"/>
                  <a:gd name="connsiteY3" fmla="*/ 1342073 h 2684144"/>
                  <a:gd name="connsiteX4" fmla="*/ 1342073 w 2684144"/>
                  <a:gd name="connsiteY4" fmla="*/ 2684145 h 2684144"/>
                  <a:gd name="connsiteX5" fmla="*/ 1342073 w 2684144"/>
                  <a:gd name="connsiteY5" fmla="*/ 92393 h 2684144"/>
                  <a:gd name="connsiteX6" fmla="*/ 91440 w 2684144"/>
                  <a:gd name="connsiteY6" fmla="*/ 1343025 h 2684144"/>
                  <a:gd name="connsiteX7" fmla="*/ 1342073 w 2684144"/>
                  <a:gd name="connsiteY7" fmla="*/ 2592705 h 2684144"/>
                  <a:gd name="connsiteX8" fmla="*/ 2592705 w 2684144"/>
                  <a:gd name="connsiteY8" fmla="*/ 1342073 h 2684144"/>
                  <a:gd name="connsiteX9" fmla="*/ 1342073 w 2684144"/>
                  <a:gd name="connsiteY9" fmla="*/ 92393 h 26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4144" h="2684144">
                    <a:moveTo>
                      <a:pt x="1342073" y="2684145"/>
                    </a:moveTo>
                    <a:cubicBezTo>
                      <a:pt x="601980" y="2684145"/>
                      <a:pt x="0" y="2082165"/>
                      <a:pt x="0" y="1342073"/>
                    </a:cubicBezTo>
                    <a:cubicBezTo>
                      <a:pt x="0" y="601980"/>
                      <a:pt x="601980" y="0"/>
                      <a:pt x="1342073" y="0"/>
                    </a:cubicBezTo>
                    <a:cubicBezTo>
                      <a:pt x="2082165" y="0"/>
                      <a:pt x="2684145" y="601980"/>
                      <a:pt x="2684145" y="1342073"/>
                    </a:cubicBezTo>
                    <a:cubicBezTo>
                      <a:pt x="2684145" y="2082165"/>
                      <a:pt x="2082165" y="2684145"/>
                      <a:pt x="1342073" y="2684145"/>
                    </a:cubicBezTo>
                    <a:close/>
                    <a:moveTo>
                      <a:pt x="1342073" y="92393"/>
                    </a:moveTo>
                    <a:cubicBezTo>
                      <a:pt x="652463" y="92393"/>
                      <a:pt x="91440" y="653415"/>
                      <a:pt x="91440" y="1343025"/>
                    </a:cubicBezTo>
                    <a:cubicBezTo>
                      <a:pt x="91440" y="2032635"/>
                      <a:pt x="652463" y="2592705"/>
                      <a:pt x="1342073" y="2592705"/>
                    </a:cubicBezTo>
                    <a:cubicBezTo>
                      <a:pt x="2031683" y="2592705"/>
                      <a:pt x="2592705" y="2031683"/>
                      <a:pt x="2592705" y="1342073"/>
                    </a:cubicBezTo>
                    <a:cubicBezTo>
                      <a:pt x="2592705" y="652463"/>
                      <a:pt x="2031683" y="92393"/>
                      <a:pt x="1342073" y="9239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59" name="Freeform: Shape 58">
                <a:extLst>
                  <a:ext uri="{FF2B5EF4-FFF2-40B4-BE49-F238E27FC236}">
                    <a16:creationId xmlns:a16="http://schemas.microsoft.com/office/drawing/2014/main" id="{510B42FB-351D-2FFA-C5C8-B712590DD6FE}"/>
                  </a:ext>
                </a:extLst>
              </p:cNvPr>
              <p:cNvSpPr/>
              <p:nvPr/>
            </p:nvSpPr>
            <p:spPr>
              <a:xfrm>
                <a:off x="16466184" y="365569"/>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3345 h 611505"/>
                  <a:gd name="connsiteX6" fmla="*/ 92393 w 611505"/>
                  <a:gd name="connsiteY6" fmla="*/ 306705 h 611505"/>
                  <a:gd name="connsiteX7" fmla="*/ 305753 w 611505"/>
                  <a:gd name="connsiteY7" fmla="*/ 520065 h 611505"/>
                  <a:gd name="connsiteX8" fmla="*/ 519113 w 611505"/>
                  <a:gd name="connsiteY8" fmla="*/ 306705 h 611505"/>
                  <a:gd name="connsiteX9" fmla="*/ 305753 w 611505"/>
                  <a:gd name="connsiteY9" fmla="*/ 93345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3345"/>
                    </a:moveTo>
                    <a:cubicBezTo>
                      <a:pt x="188595" y="93345"/>
                      <a:pt x="92393" y="188595"/>
                      <a:pt x="92393" y="306705"/>
                    </a:cubicBezTo>
                    <a:cubicBezTo>
                      <a:pt x="92393" y="424815"/>
                      <a:pt x="187643" y="520065"/>
                      <a:pt x="305753" y="520065"/>
                    </a:cubicBezTo>
                    <a:cubicBezTo>
                      <a:pt x="422910" y="520065"/>
                      <a:pt x="519113" y="424815"/>
                      <a:pt x="519113" y="306705"/>
                    </a:cubicBezTo>
                    <a:cubicBezTo>
                      <a:pt x="519113" y="188595"/>
                      <a:pt x="422910" y="93345"/>
                      <a:pt x="305753" y="93345"/>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1" name="Freeform: Shape 60">
                <a:extLst>
                  <a:ext uri="{FF2B5EF4-FFF2-40B4-BE49-F238E27FC236}">
                    <a16:creationId xmlns:a16="http://schemas.microsoft.com/office/drawing/2014/main" id="{BF442EB3-CF9C-C0CD-84B3-F3C5E3096174}"/>
                  </a:ext>
                </a:extLst>
              </p:cNvPr>
              <p:cNvSpPr/>
              <p:nvPr/>
            </p:nvSpPr>
            <p:spPr>
              <a:xfrm>
                <a:off x="16466184" y="3995546"/>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2393 h 611505"/>
                  <a:gd name="connsiteX6" fmla="*/ 92393 w 611505"/>
                  <a:gd name="connsiteY6" fmla="*/ 305753 h 611505"/>
                  <a:gd name="connsiteX7" fmla="*/ 305753 w 611505"/>
                  <a:gd name="connsiteY7" fmla="*/ 519113 h 611505"/>
                  <a:gd name="connsiteX8" fmla="*/ 519113 w 611505"/>
                  <a:gd name="connsiteY8" fmla="*/ 305753 h 611505"/>
                  <a:gd name="connsiteX9" fmla="*/ 305753 w 611505"/>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3" y="187643"/>
                      <a:pt x="92393" y="305753"/>
                    </a:cubicBezTo>
                    <a:cubicBezTo>
                      <a:pt x="92393" y="423863"/>
                      <a:pt x="187643" y="519113"/>
                      <a:pt x="305753" y="519113"/>
                    </a:cubicBezTo>
                    <a:cubicBezTo>
                      <a:pt x="423863" y="519113"/>
                      <a:pt x="519113" y="423863"/>
                      <a:pt x="519113" y="305753"/>
                    </a:cubicBezTo>
                    <a:cubicBezTo>
                      <a:pt x="519113" y="188595"/>
                      <a:pt x="422910" y="92393"/>
                      <a:pt x="305753" y="9239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2" name="Freeform: Shape 61">
                <a:extLst>
                  <a:ext uri="{FF2B5EF4-FFF2-40B4-BE49-F238E27FC236}">
                    <a16:creationId xmlns:a16="http://schemas.microsoft.com/office/drawing/2014/main" id="{5E1CAF5E-F444-C55B-59B8-347C14679C6F}"/>
                  </a:ext>
                </a:extLst>
              </p:cNvPr>
              <p:cNvSpPr/>
              <p:nvPr/>
            </p:nvSpPr>
            <p:spPr>
              <a:xfrm>
                <a:off x="16726216" y="885634"/>
                <a:ext cx="91439" cy="351472"/>
              </a:xfrm>
              <a:custGeom>
                <a:avLst/>
                <a:gdLst>
                  <a:gd name="connsiteX0" fmla="*/ 45720 w 91439"/>
                  <a:gd name="connsiteY0" fmla="*/ 351473 h 351472"/>
                  <a:gd name="connsiteX1" fmla="*/ 0 w 91439"/>
                  <a:gd name="connsiteY1" fmla="*/ 305753 h 351472"/>
                  <a:gd name="connsiteX2" fmla="*/ 0 w 91439"/>
                  <a:gd name="connsiteY2" fmla="*/ 45720 h 351472"/>
                  <a:gd name="connsiteX3" fmla="*/ 45720 w 91439"/>
                  <a:gd name="connsiteY3" fmla="*/ 0 h 351472"/>
                  <a:gd name="connsiteX4" fmla="*/ 91440 w 91439"/>
                  <a:gd name="connsiteY4" fmla="*/ 45720 h 351472"/>
                  <a:gd name="connsiteX5" fmla="*/ 91440 w 91439"/>
                  <a:gd name="connsiteY5" fmla="*/ 304800 h 351472"/>
                  <a:gd name="connsiteX6" fmla="*/ 45720 w 91439"/>
                  <a:gd name="connsiteY6" fmla="*/ 351473 h 351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 h="351472">
                    <a:moveTo>
                      <a:pt x="45720" y="351473"/>
                    </a:moveTo>
                    <a:cubicBezTo>
                      <a:pt x="20003" y="351473"/>
                      <a:pt x="0" y="330517"/>
                      <a:pt x="0" y="305753"/>
                    </a:cubicBezTo>
                    <a:lnTo>
                      <a:pt x="0" y="45720"/>
                    </a:lnTo>
                    <a:cubicBezTo>
                      <a:pt x="0" y="20002"/>
                      <a:pt x="20955" y="0"/>
                      <a:pt x="45720" y="0"/>
                    </a:cubicBezTo>
                    <a:cubicBezTo>
                      <a:pt x="70485" y="0"/>
                      <a:pt x="91440" y="20955"/>
                      <a:pt x="91440" y="45720"/>
                    </a:cubicBezTo>
                    <a:lnTo>
                      <a:pt x="91440" y="304800"/>
                    </a:lnTo>
                    <a:cubicBezTo>
                      <a:pt x="91440" y="330517"/>
                      <a:pt x="71438" y="351473"/>
                      <a:pt x="45720" y="35147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3" name="Freeform: Shape 62">
                <a:extLst>
                  <a:ext uri="{FF2B5EF4-FFF2-40B4-BE49-F238E27FC236}">
                    <a16:creationId xmlns:a16="http://schemas.microsoft.com/office/drawing/2014/main" id="{AE8DCFEA-C371-82B5-6961-8450DC2F472D}"/>
                  </a:ext>
                </a:extLst>
              </p:cNvPr>
              <p:cNvSpPr/>
              <p:nvPr/>
            </p:nvSpPr>
            <p:spPr>
              <a:xfrm>
                <a:off x="16726216" y="3737419"/>
                <a:ext cx="91439" cy="350520"/>
              </a:xfrm>
              <a:custGeom>
                <a:avLst/>
                <a:gdLst>
                  <a:gd name="connsiteX0" fmla="*/ 45720 w 91439"/>
                  <a:gd name="connsiteY0" fmla="*/ 350520 h 350520"/>
                  <a:gd name="connsiteX1" fmla="*/ 0 w 91439"/>
                  <a:gd name="connsiteY1" fmla="*/ 304800 h 350520"/>
                  <a:gd name="connsiteX2" fmla="*/ 0 w 91439"/>
                  <a:gd name="connsiteY2" fmla="*/ 45720 h 350520"/>
                  <a:gd name="connsiteX3" fmla="*/ 45720 w 91439"/>
                  <a:gd name="connsiteY3" fmla="*/ 0 h 350520"/>
                  <a:gd name="connsiteX4" fmla="*/ 91440 w 91439"/>
                  <a:gd name="connsiteY4" fmla="*/ 45720 h 350520"/>
                  <a:gd name="connsiteX5" fmla="*/ 91440 w 91439"/>
                  <a:gd name="connsiteY5" fmla="*/ 304800 h 350520"/>
                  <a:gd name="connsiteX6" fmla="*/ 45720 w 91439"/>
                  <a:gd name="connsiteY6" fmla="*/ 350520 h 35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 h="350520">
                    <a:moveTo>
                      <a:pt x="45720" y="350520"/>
                    </a:moveTo>
                    <a:cubicBezTo>
                      <a:pt x="20003" y="350520"/>
                      <a:pt x="0" y="329565"/>
                      <a:pt x="0" y="304800"/>
                    </a:cubicBezTo>
                    <a:lnTo>
                      <a:pt x="0" y="45720"/>
                    </a:lnTo>
                    <a:cubicBezTo>
                      <a:pt x="0" y="20003"/>
                      <a:pt x="20955" y="0"/>
                      <a:pt x="45720" y="0"/>
                    </a:cubicBezTo>
                    <a:cubicBezTo>
                      <a:pt x="70485" y="0"/>
                      <a:pt x="91440" y="20955"/>
                      <a:pt x="91440" y="45720"/>
                    </a:cubicBezTo>
                    <a:lnTo>
                      <a:pt x="91440" y="304800"/>
                    </a:lnTo>
                    <a:cubicBezTo>
                      <a:pt x="91440" y="330518"/>
                      <a:pt x="71438" y="350520"/>
                      <a:pt x="45720" y="350520"/>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4" name="Freeform: Shape 63">
                <a:extLst>
                  <a:ext uri="{FF2B5EF4-FFF2-40B4-BE49-F238E27FC236}">
                    <a16:creationId xmlns:a16="http://schemas.microsoft.com/office/drawing/2014/main" id="{4232A1C9-5537-D33A-43AF-D6A5EA219532}"/>
                  </a:ext>
                </a:extLst>
              </p:cNvPr>
              <p:cNvSpPr/>
              <p:nvPr/>
            </p:nvSpPr>
            <p:spPr>
              <a:xfrm>
                <a:off x="18280696" y="2181034"/>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2393 h 611505"/>
                  <a:gd name="connsiteX6" fmla="*/ 92393 w 611505"/>
                  <a:gd name="connsiteY6" fmla="*/ 305753 h 611505"/>
                  <a:gd name="connsiteX7" fmla="*/ 305753 w 611505"/>
                  <a:gd name="connsiteY7" fmla="*/ 519113 h 611505"/>
                  <a:gd name="connsiteX8" fmla="*/ 519113 w 611505"/>
                  <a:gd name="connsiteY8" fmla="*/ 305753 h 611505"/>
                  <a:gd name="connsiteX9" fmla="*/ 305753 w 611505"/>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3" y="187643"/>
                      <a:pt x="92393" y="305753"/>
                    </a:cubicBezTo>
                    <a:cubicBezTo>
                      <a:pt x="92393" y="423863"/>
                      <a:pt x="187643" y="519113"/>
                      <a:pt x="305753" y="519113"/>
                    </a:cubicBezTo>
                    <a:cubicBezTo>
                      <a:pt x="423863" y="519113"/>
                      <a:pt x="519113" y="423863"/>
                      <a:pt x="519113" y="305753"/>
                    </a:cubicBezTo>
                    <a:cubicBezTo>
                      <a:pt x="519113" y="188595"/>
                      <a:pt x="423863" y="92393"/>
                      <a:pt x="305753" y="9239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5" name="Freeform: Shape 64">
                <a:extLst>
                  <a:ext uri="{FF2B5EF4-FFF2-40B4-BE49-F238E27FC236}">
                    <a16:creationId xmlns:a16="http://schemas.microsoft.com/office/drawing/2014/main" id="{26596A26-8B8C-2DF9-CC67-DE5E30AC7EEC}"/>
                  </a:ext>
                </a:extLst>
              </p:cNvPr>
              <p:cNvSpPr/>
              <p:nvPr/>
            </p:nvSpPr>
            <p:spPr>
              <a:xfrm>
                <a:off x="14651672" y="2181034"/>
                <a:ext cx="611504" cy="611505"/>
              </a:xfrm>
              <a:custGeom>
                <a:avLst/>
                <a:gdLst>
                  <a:gd name="connsiteX0" fmla="*/ 305753 w 611504"/>
                  <a:gd name="connsiteY0" fmla="*/ 611505 h 611505"/>
                  <a:gd name="connsiteX1" fmla="*/ 0 w 611504"/>
                  <a:gd name="connsiteY1" fmla="*/ 305753 h 611505"/>
                  <a:gd name="connsiteX2" fmla="*/ 305753 w 611504"/>
                  <a:gd name="connsiteY2" fmla="*/ 0 h 611505"/>
                  <a:gd name="connsiteX3" fmla="*/ 611505 w 611504"/>
                  <a:gd name="connsiteY3" fmla="*/ 305753 h 611505"/>
                  <a:gd name="connsiteX4" fmla="*/ 305753 w 611504"/>
                  <a:gd name="connsiteY4" fmla="*/ 611505 h 611505"/>
                  <a:gd name="connsiteX5" fmla="*/ 305753 w 611504"/>
                  <a:gd name="connsiteY5" fmla="*/ 92393 h 611505"/>
                  <a:gd name="connsiteX6" fmla="*/ 92392 w 611504"/>
                  <a:gd name="connsiteY6" fmla="*/ 305753 h 611505"/>
                  <a:gd name="connsiteX7" fmla="*/ 305753 w 611504"/>
                  <a:gd name="connsiteY7" fmla="*/ 519113 h 611505"/>
                  <a:gd name="connsiteX8" fmla="*/ 519113 w 611504"/>
                  <a:gd name="connsiteY8" fmla="*/ 305753 h 611505"/>
                  <a:gd name="connsiteX9" fmla="*/ 305753 w 611504"/>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4"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2" y="187643"/>
                      <a:pt x="92392" y="305753"/>
                    </a:cubicBezTo>
                    <a:cubicBezTo>
                      <a:pt x="92392" y="423863"/>
                      <a:pt x="187642" y="519113"/>
                      <a:pt x="305753" y="519113"/>
                    </a:cubicBezTo>
                    <a:cubicBezTo>
                      <a:pt x="423863" y="519113"/>
                      <a:pt x="519113" y="423863"/>
                      <a:pt x="519113" y="305753"/>
                    </a:cubicBezTo>
                    <a:cubicBezTo>
                      <a:pt x="519113" y="187643"/>
                      <a:pt x="422910" y="92393"/>
                      <a:pt x="305753" y="9239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6" name="Freeform: Shape 65">
                <a:extLst>
                  <a:ext uri="{FF2B5EF4-FFF2-40B4-BE49-F238E27FC236}">
                    <a16:creationId xmlns:a16="http://schemas.microsoft.com/office/drawing/2014/main" id="{BC595F24-7E79-DF6C-1851-885E97A16AFA}"/>
                  </a:ext>
                </a:extLst>
              </p:cNvPr>
              <p:cNvSpPr/>
              <p:nvPr/>
            </p:nvSpPr>
            <p:spPr>
              <a:xfrm>
                <a:off x="18022569" y="2441066"/>
                <a:ext cx="350520" cy="91439"/>
              </a:xfrm>
              <a:custGeom>
                <a:avLst/>
                <a:gdLst>
                  <a:gd name="connsiteX0" fmla="*/ 304800 w 350520"/>
                  <a:gd name="connsiteY0" fmla="*/ 91440 h 91439"/>
                  <a:gd name="connsiteX1" fmla="*/ 45720 w 350520"/>
                  <a:gd name="connsiteY1" fmla="*/ 91440 h 91439"/>
                  <a:gd name="connsiteX2" fmla="*/ 0 w 350520"/>
                  <a:gd name="connsiteY2" fmla="*/ 45720 h 91439"/>
                  <a:gd name="connsiteX3" fmla="*/ 45720 w 350520"/>
                  <a:gd name="connsiteY3" fmla="*/ 0 h 91439"/>
                  <a:gd name="connsiteX4" fmla="*/ 304800 w 350520"/>
                  <a:gd name="connsiteY4" fmla="*/ 0 h 91439"/>
                  <a:gd name="connsiteX5" fmla="*/ 350520 w 350520"/>
                  <a:gd name="connsiteY5" fmla="*/ 45720 h 91439"/>
                  <a:gd name="connsiteX6" fmla="*/ 304800 w 350520"/>
                  <a:gd name="connsiteY6" fmla="*/ 91440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20" h="91439">
                    <a:moveTo>
                      <a:pt x="304800" y="91440"/>
                    </a:moveTo>
                    <a:lnTo>
                      <a:pt x="45720" y="91440"/>
                    </a:lnTo>
                    <a:cubicBezTo>
                      <a:pt x="20003" y="91440"/>
                      <a:pt x="0" y="70485"/>
                      <a:pt x="0" y="45720"/>
                    </a:cubicBezTo>
                    <a:cubicBezTo>
                      <a:pt x="0" y="20955"/>
                      <a:pt x="20955" y="0"/>
                      <a:pt x="45720" y="0"/>
                    </a:cubicBezTo>
                    <a:lnTo>
                      <a:pt x="304800" y="0"/>
                    </a:lnTo>
                    <a:cubicBezTo>
                      <a:pt x="330518" y="0"/>
                      <a:pt x="350520" y="20955"/>
                      <a:pt x="350520" y="45720"/>
                    </a:cubicBezTo>
                    <a:cubicBezTo>
                      <a:pt x="350520" y="71438"/>
                      <a:pt x="330518" y="91440"/>
                      <a:pt x="304800" y="91440"/>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7" name="Freeform: Shape 66">
                <a:extLst>
                  <a:ext uri="{FF2B5EF4-FFF2-40B4-BE49-F238E27FC236}">
                    <a16:creationId xmlns:a16="http://schemas.microsoft.com/office/drawing/2014/main" id="{4A27B2C7-E4B2-54C6-293C-216AC6D060D0}"/>
                  </a:ext>
                </a:extLst>
              </p:cNvPr>
              <p:cNvSpPr/>
              <p:nvPr/>
            </p:nvSpPr>
            <p:spPr>
              <a:xfrm>
                <a:off x="15170784" y="2441066"/>
                <a:ext cx="350551" cy="91439"/>
              </a:xfrm>
              <a:custGeom>
                <a:avLst/>
                <a:gdLst>
                  <a:gd name="connsiteX0" fmla="*/ 304800 w 350551"/>
                  <a:gd name="connsiteY0" fmla="*/ 91440 h 91439"/>
                  <a:gd name="connsiteX1" fmla="*/ 45720 w 350551"/>
                  <a:gd name="connsiteY1" fmla="*/ 91440 h 91439"/>
                  <a:gd name="connsiteX2" fmla="*/ 0 w 350551"/>
                  <a:gd name="connsiteY2" fmla="*/ 45720 h 91439"/>
                  <a:gd name="connsiteX3" fmla="*/ 45720 w 350551"/>
                  <a:gd name="connsiteY3" fmla="*/ 0 h 91439"/>
                  <a:gd name="connsiteX4" fmla="*/ 304800 w 350551"/>
                  <a:gd name="connsiteY4" fmla="*/ 0 h 91439"/>
                  <a:gd name="connsiteX5" fmla="*/ 350520 w 350551"/>
                  <a:gd name="connsiteY5" fmla="*/ 45720 h 91439"/>
                  <a:gd name="connsiteX6" fmla="*/ 304800 w 350551"/>
                  <a:gd name="connsiteY6" fmla="*/ 91440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51" h="91439">
                    <a:moveTo>
                      <a:pt x="304800" y="91440"/>
                    </a:moveTo>
                    <a:lnTo>
                      <a:pt x="45720" y="91440"/>
                    </a:lnTo>
                    <a:cubicBezTo>
                      <a:pt x="20002" y="91440"/>
                      <a:pt x="0" y="70485"/>
                      <a:pt x="0" y="45720"/>
                    </a:cubicBezTo>
                    <a:cubicBezTo>
                      <a:pt x="0" y="20955"/>
                      <a:pt x="20955" y="0"/>
                      <a:pt x="45720" y="0"/>
                    </a:cubicBezTo>
                    <a:lnTo>
                      <a:pt x="304800" y="0"/>
                    </a:lnTo>
                    <a:cubicBezTo>
                      <a:pt x="330517" y="0"/>
                      <a:pt x="350520" y="20955"/>
                      <a:pt x="350520" y="45720"/>
                    </a:cubicBezTo>
                    <a:cubicBezTo>
                      <a:pt x="351473" y="71438"/>
                      <a:pt x="330517" y="91440"/>
                      <a:pt x="304800" y="91440"/>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8" name="Freeform: Shape 67">
                <a:extLst>
                  <a:ext uri="{FF2B5EF4-FFF2-40B4-BE49-F238E27FC236}">
                    <a16:creationId xmlns:a16="http://schemas.microsoft.com/office/drawing/2014/main" id="{C366D238-CE63-4DC9-0473-64405B7EB81B}"/>
                  </a:ext>
                </a:extLst>
              </p:cNvPr>
              <p:cNvSpPr/>
              <p:nvPr/>
            </p:nvSpPr>
            <p:spPr>
              <a:xfrm>
                <a:off x="17750392" y="898255"/>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520779 w 610076"/>
                  <a:gd name="connsiteY4" fmla="*/ 520779 h 610076"/>
                  <a:gd name="connsiteX5" fmla="*/ 520779 w 610076"/>
                  <a:gd name="connsiteY5" fmla="*/ 520779 h 610076"/>
                  <a:gd name="connsiteX6" fmla="*/ 89297 w 610076"/>
                  <a:gd name="connsiteY6" fmla="*/ 520779 h 610076"/>
                  <a:gd name="connsiteX7" fmla="*/ 154067 w 610076"/>
                  <a:gd name="connsiteY7" fmla="*/ 155019 h 610076"/>
                  <a:gd name="connsiteX8" fmla="*/ 154067 w 610076"/>
                  <a:gd name="connsiteY8" fmla="*/ 456009 h 610076"/>
                  <a:gd name="connsiteX9" fmla="*/ 455057 w 610076"/>
                  <a:gd name="connsiteY9" fmla="*/ 456009 h 610076"/>
                  <a:gd name="connsiteX10" fmla="*/ 455057 w 610076"/>
                  <a:gd name="connsiteY10" fmla="*/ 456009 h 610076"/>
                  <a:gd name="connsiteX11" fmla="*/ 455057 w 610076"/>
                  <a:gd name="connsiteY11" fmla="*/ 155019 h 610076"/>
                  <a:gd name="connsiteX12" fmla="*/ 154067 w 610076"/>
                  <a:gd name="connsiteY12" fmla="*/ 155019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lnTo>
                      <a:pt x="520779" y="520779"/>
                    </a:lnTo>
                    <a:lnTo>
                      <a:pt x="520779" y="520779"/>
                    </a:lnTo>
                    <a:cubicBezTo>
                      <a:pt x="401717" y="639842"/>
                      <a:pt x="208359" y="639842"/>
                      <a:pt x="89297" y="520779"/>
                    </a:cubicBezTo>
                    <a:close/>
                    <a:moveTo>
                      <a:pt x="154067" y="155019"/>
                    </a:moveTo>
                    <a:cubicBezTo>
                      <a:pt x="71199" y="237887"/>
                      <a:pt x="71199" y="373142"/>
                      <a:pt x="154067" y="456009"/>
                    </a:cubicBezTo>
                    <a:cubicBezTo>
                      <a:pt x="236934" y="538877"/>
                      <a:pt x="372189" y="538877"/>
                      <a:pt x="455057" y="456009"/>
                    </a:cubicBezTo>
                    <a:lnTo>
                      <a:pt x="455057" y="456009"/>
                    </a:lnTo>
                    <a:cubicBezTo>
                      <a:pt x="537924" y="373142"/>
                      <a:pt x="537924" y="237887"/>
                      <a:pt x="455057" y="155019"/>
                    </a:cubicBezTo>
                    <a:cubicBezTo>
                      <a:pt x="372189" y="71199"/>
                      <a:pt x="236934" y="71199"/>
                      <a:pt x="154067" y="155019"/>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9" name="Freeform: Shape 68">
                <a:extLst>
                  <a:ext uri="{FF2B5EF4-FFF2-40B4-BE49-F238E27FC236}">
                    <a16:creationId xmlns:a16="http://schemas.microsoft.com/office/drawing/2014/main" id="{2AE9C7B5-A2C5-1EFF-6E1A-F41A6DDA6D91}"/>
                  </a:ext>
                </a:extLst>
              </p:cNvPr>
              <p:cNvSpPr/>
              <p:nvPr/>
            </p:nvSpPr>
            <p:spPr>
              <a:xfrm>
                <a:off x="15183405" y="3465242"/>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520779 w 610076"/>
                  <a:gd name="connsiteY4" fmla="*/ 520779 h 610076"/>
                  <a:gd name="connsiteX5" fmla="*/ 89297 w 610076"/>
                  <a:gd name="connsiteY5" fmla="*/ 520779 h 610076"/>
                  <a:gd name="connsiteX6" fmla="*/ 155019 w 610076"/>
                  <a:gd name="connsiteY6" fmla="*/ 154067 h 610076"/>
                  <a:gd name="connsiteX7" fmla="*/ 155019 w 610076"/>
                  <a:gd name="connsiteY7" fmla="*/ 455057 h 610076"/>
                  <a:gd name="connsiteX8" fmla="*/ 456009 w 610076"/>
                  <a:gd name="connsiteY8" fmla="*/ 455057 h 610076"/>
                  <a:gd name="connsiteX9" fmla="*/ 456009 w 610076"/>
                  <a:gd name="connsiteY9" fmla="*/ 154067 h 610076"/>
                  <a:gd name="connsiteX10" fmla="*/ 155019 w 610076"/>
                  <a:gd name="connsiteY10" fmla="*/ 154067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lnTo>
                      <a:pt x="520779" y="520779"/>
                    </a:lnTo>
                    <a:cubicBezTo>
                      <a:pt x="402669" y="639842"/>
                      <a:pt x="208359" y="639842"/>
                      <a:pt x="89297" y="520779"/>
                    </a:cubicBezTo>
                    <a:close/>
                    <a:moveTo>
                      <a:pt x="155019" y="154067"/>
                    </a:moveTo>
                    <a:cubicBezTo>
                      <a:pt x="72152" y="236934"/>
                      <a:pt x="72152" y="372189"/>
                      <a:pt x="155019" y="455057"/>
                    </a:cubicBezTo>
                    <a:cubicBezTo>
                      <a:pt x="237887" y="537924"/>
                      <a:pt x="373142" y="537924"/>
                      <a:pt x="456009" y="455057"/>
                    </a:cubicBezTo>
                    <a:cubicBezTo>
                      <a:pt x="538877" y="372189"/>
                      <a:pt x="538877" y="236934"/>
                      <a:pt x="456009" y="154067"/>
                    </a:cubicBezTo>
                    <a:cubicBezTo>
                      <a:pt x="373142" y="71199"/>
                      <a:pt x="237887" y="71199"/>
                      <a:pt x="155019" y="154067"/>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70" name="Freeform: Shape 69">
                <a:extLst>
                  <a:ext uri="{FF2B5EF4-FFF2-40B4-BE49-F238E27FC236}">
                    <a16:creationId xmlns:a16="http://schemas.microsoft.com/office/drawing/2014/main" id="{CB2BF404-CC9E-2AAA-5237-B8770ABC82FB}"/>
                  </a:ext>
                </a:extLst>
              </p:cNvPr>
              <p:cNvSpPr/>
              <p:nvPr/>
            </p:nvSpPr>
            <p:spPr>
              <a:xfrm>
                <a:off x="17642283" y="1341643"/>
                <a:ext cx="274796" cy="274796"/>
              </a:xfrm>
              <a:custGeom>
                <a:avLst/>
                <a:gdLst>
                  <a:gd name="connsiteX0" fmla="*/ 13573 w 274796"/>
                  <a:gd name="connsiteY0" fmla="*/ 261223 h 274796"/>
                  <a:gd name="connsiteX1" fmla="*/ 13573 w 274796"/>
                  <a:gd name="connsiteY1" fmla="*/ 196453 h 274796"/>
                  <a:gd name="connsiteX2" fmla="*/ 196453 w 274796"/>
                  <a:gd name="connsiteY2" fmla="*/ 13573 h 274796"/>
                  <a:gd name="connsiteX3" fmla="*/ 261223 w 274796"/>
                  <a:gd name="connsiteY3" fmla="*/ 13573 h 274796"/>
                  <a:gd name="connsiteX4" fmla="*/ 261223 w 274796"/>
                  <a:gd name="connsiteY4" fmla="*/ 78343 h 274796"/>
                  <a:gd name="connsiteX5" fmla="*/ 78343 w 274796"/>
                  <a:gd name="connsiteY5" fmla="*/ 261223 h 274796"/>
                  <a:gd name="connsiteX6" fmla="*/ 1357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3573" y="261223"/>
                    </a:moveTo>
                    <a:cubicBezTo>
                      <a:pt x="-4524" y="243126"/>
                      <a:pt x="-4524" y="213598"/>
                      <a:pt x="13573" y="196453"/>
                    </a:cubicBezTo>
                    <a:lnTo>
                      <a:pt x="196453" y="13573"/>
                    </a:lnTo>
                    <a:cubicBezTo>
                      <a:pt x="214551" y="-4524"/>
                      <a:pt x="244078" y="-4524"/>
                      <a:pt x="261223" y="13573"/>
                    </a:cubicBezTo>
                    <a:cubicBezTo>
                      <a:pt x="279321" y="31671"/>
                      <a:pt x="279321" y="61198"/>
                      <a:pt x="261223" y="78343"/>
                    </a:cubicBezTo>
                    <a:lnTo>
                      <a:pt x="78343" y="261223"/>
                    </a:lnTo>
                    <a:cubicBezTo>
                      <a:pt x="61198" y="279321"/>
                      <a:pt x="31671" y="279321"/>
                      <a:pt x="13573" y="26122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71" name="Freeform: Shape 70">
                <a:extLst>
                  <a:ext uri="{FF2B5EF4-FFF2-40B4-BE49-F238E27FC236}">
                    <a16:creationId xmlns:a16="http://schemas.microsoft.com/office/drawing/2014/main" id="{B7B5AE68-F9FF-04F0-5563-864DFCE0F05E}"/>
                  </a:ext>
                </a:extLst>
              </p:cNvPr>
              <p:cNvSpPr/>
              <p:nvPr/>
            </p:nvSpPr>
            <p:spPr>
              <a:xfrm>
                <a:off x="15625841" y="3358086"/>
                <a:ext cx="274796" cy="274796"/>
              </a:xfrm>
              <a:custGeom>
                <a:avLst/>
                <a:gdLst>
                  <a:gd name="connsiteX0" fmla="*/ 13573 w 274796"/>
                  <a:gd name="connsiteY0" fmla="*/ 261223 h 274796"/>
                  <a:gd name="connsiteX1" fmla="*/ 13573 w 274796"/>
                  <a:gd name="connsiteY1" fmla="*/ 196453 h 274796"/>
                  <a:gd name="connsiteX2" fmla="*/ 196453 w 274796"/>
                  <a:gd name="connsiteY2" fmla="*/ 13573 h 274796"/>
                  <a:gd name="connsiteX3" fmla="*/ 261223 w 274796"/>
                  <a:gd name="connsiteY3" fmla="*/ 13573 h 274796"/>
                  <a:gd name="connsiteX4" fmla="*/ 261223 w 274796"/>
                  <a:gd name="connsiteY4" fmla="*/ 78343 h 274796"/>
                  <a:gd name="connsiteX5" fmla="*/ 78343 w 274796"/>
                  <a:gd name="connsiteY5" fmla="*/ 261223 h 274796"/>
                  <a:gd name="connsiteX6" fmla="*/ 1357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3573" y="261223"/>
                    </a:moveTo>
                    <a:cubicBezTo>
                      <a:pt x="-4524" y="243126"/>
                      <a:pt x="-4524" y="213598"/>
                      <a:pt x="13573" y="196453"/>
                    </a:cubicBezTo>
                    <a:lnTo>
                      <a:pt x="196453" y="13573"/>
                    </a:lnTo>
                    <a:cubicBezTo>
                      <a:pt x="214551" y="-4524"/>
                      <a:pt x="244078" y="-4524"/>
                      <a:pt x="261223" y="13573"/>
                    </a:cubicBezTo>
                    <a:cubicBezTo>
                      <a:pt x="279321" y="31671"/>
                      <a:pt x="279321" y="61198"/>
                      <a:pt x="261223" y="78343"/>
                    </a:cubicBezTo>
                    <a:lnTo>
                      <a:pt x="78343" y="261223"/>
                    </a:lnTo>
                    <a:cubicBezTo>
                      <a:pt x="61198" y="279321"/>
                      <a:pt x="31671" y="279321"/>
                      <a:pt x="13573" y="26122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72" name="Freeform: Shape 71">
                <a:extLst>
                  <a:ext uri="{FF2B5EF4-FFF2-40B4-BE49-F238E27FC236}">
                    <a16:creationId xmlns:a16="http://schemas.microsoft.com/office/drawing/2014/main" id="{DDE6A798-6A19-AC79-5989-AE2165430245}"/>
                  </a:ext>
                </a:extLst>
              </p:cNvPr>
              <p:cNvSpPr/>
              <p:nvPr/>
            </p:nvSpPr>
            <p:spPr>
              <a:xfrm>
                <a:off x="17750392" y="3465242"/>
                <a:ext cx="610076" cy="589372"/>
              </a:xfrm>
              <a:custGeom>
                <a:avLst/>
                <a:gdLst>
                  <a:gd name="connsiteX0" fmla="*/ 89297 w 610076"/>
                  <a:gd name="connsiteY0" fmla="*/ 520779 h 589372"/>
                  <a:gd name="connsiteX1" fmla="*/ 89297 w 610076"/>
                  <a:gd name="connsiteY1" fmla="*/ 89297 h 589372"/>
                  <a:gd name="connsiteX2" fmla="*/ 520779 w 610076"/>
                  <a:gd name="connsiteY2" fmla="*/ 89297 h 589372"/>
                  <a:gd name="connsiteX3" fmla="*/ 520779 w 610076"/>
                  <a:gd name="connsiteY3" fmla="*/ 520779 h 589372"/>
                  <a:gd name="connsiteX4" fmla="*/ 89297 w 610076"/>
                  <a:gd name="connsiteY4" fmla="*/ 520779 h 589372"/>
                  <a:gd name="connsiteX5" fmla="*/ 154067 w 610076"/>
                  <a:gd name="connsiteY5" fmla="*/ 154067 h 589372"/>
                  <a:gd name="connsiteX6" fmla="*/ 154067 w 610076"/>
                  <a:gd name="connsiteY6" fmla="*/ 455057 h 589372"/>
                  <a:gd name="connsiteX7" fmla="*/ 455057 w 610076"/>
                  <a:gd name="connsiteY7" fmla="*/ 455057 h 589372"/>
                  <a:gd name="connsiteX8" fmla="*/ 455057 w 610076"/>
                  <a:gd name="connsiteY8" fmla="*/ 154067 h 589372"/>
                  <a:gd name="connsiteX9" fmla="*/ 154067 w 610076"/>
                  <a:gd name="connsiteY9" fmla="*/ 154067 h 58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076" h="589372">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cubicBezTo>
                      <a:pt x="460772" y="579834"/>
                      <a:pt x="208359" y="639842"/>
                      <a:pt x="89297" y="520779"/>
                    </a:cubicBezTo>
                    <a:close/>
                    <a:moveTo>
                      <a:pt x="154067" y="154067"/>
                    </a:moveTo>
                    <a:cubicBezTo>
                      <a:pt x="71199" y="236934"/>
                      <a:pt x="71199" y="372189"/>
                      <a:pt x="154067" y="455057"/>
                    </a:cubicBezTo>
                    <a:cubicBezTo>
                      <a:pt x="236934" y="537924"/>
                      <a:pt x="372189" y="537924"/>
                      <a:pt x="455057" y="455057"/>
                    </a:cubicBezTo>
                    <a:cubicBezTo>
                      <a:pt x="537924" y="372189"/>
                      <a:pt x="537924" y="236934"/>
                      <a:pt x="455057" y="154067"/>
                    </a:cubicBezTo>
                    <a:cubicBezTo>
                      <a:pt x="414099" y="112157"/>
                      <a:pt x="236934" y="71199"/>
                      <a:pt x="154067" y="154067"/>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73" name="Freeform: Shape 72">
                <a:extLst>
                  <a:ext uri="{FF2B5EF4-FFF2-40B4-BE49-F238E27FC236}">
                    <a16:creationId xmlns:a16="http://schemas.microsoft.com/office/drawing/2014/main" id="{B6EC6E5A-C68B-0A58-6703-EF104D07C385}"/>
                  </a:ext>
                </a:extLst>
              </p:cNvPr>
              <p:cNvSpPr/>
              <p:nvPr/>
            </p:nvSpPr>
            <p:spPr>
              <a:xfrm>
                <a:off x="15183405" y="898255"/>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89297 w 610076"/>
                  <a:gd name="connsiteY4" fmla="*/ 520779 h 610076"/>
                  <a:gd name="connsiteX5" fmla="*/ 155019 w 610076"/>
                  <a:gd name="connsiteY5" fmla="*/ 155019 h 610076"/>
                  <a:gd name="connsiteX6" fmla="*/ 155019 w 610076"/>
                  <a:gd name="connsiteY6" fmla="*/ 456009 h 610076"/>
                  <a:gd name="connsiteX7" fmla="*/ 456009 w 610076"/>
                  <a:gd name="connsiteY7" fmla="*/ 456009 h 610076"/>
                  <a:gd name="connsiteX8" fmla="*/ 456009 w 610076"/>
                  <a:gd name="connsiteY8" fmla="*/ 155019 h 610076"/>
                  <a:gd name="connsiteX9" fmla="*/ 155019 w 610076"/>
                  <a:gd name="connsiteY9" fmla="*/ 155019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cubicBezTo>
                      <a:pt x="402669" y="639842"/>
                      <a:pt x="208359" y="639842"/>
                      <a:pt x="89297" y="520779"/>
                    </a:cubicBezTo>
                    <a:close/>
                    <a:moveTo>
                      <a:pt x="155019" y="155019"/>
                    </a:moveTo>
                    <a:cubicBezTo>
                      <a:pt x="72152" y="237887"/>
                      <a:pt x="72152" y="373142"/>
                      <a:pt x="155019" y="456009"/>
                    </a:cubicBezTo>
                    <a:cubicBezTo>
                      <a:pt x="237887" y="538877"/>
                      <a:pt x="373142" y="538877"/>
                      <a:pt x="456009" y="456009"/>
                    </a:cubicBezTo>
                    <a:cubicBezTo>
                      <a:pt x="538877" y="373142"/>
                      <a:pt x="538877" y="237887"/>
                      <a:pt x="456009" y="155019"/>
                    </a:cubicBezTo>
                    <a:cubicBezTo>
                      <a:pt x="373142" y="71199"/>
                      <a:pt x="237887" y="71199"/>
                      <a:pt x="155019" y="155019"/>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74" name="Freeform: Shape 73">
                <a:extLst>
                  <a:ext uri="{FF2B5EF4-FFF2-40B4-BE49-F238E27FC236}">
                    <a16:creationId xmlns:a16="http://schemas.microsoft.com/office/drawing/2014/main" id="{DB2A178F-C585-40B2-7626-4871ED3B75A8}"/>
                  </a:ext>
                </a:extLst>
              </p:cNvPr>
              <p:cNvSpPr/>
              <p:nvPr/>
            </p:nvSpPr>
            <p:spPr>
              <a:xfrm>
                <a:off x="17643236" y="3358086"/>
                <a:ext cx="274796" cy="274796"/>
              </a:xfrm>
              <a:custGeom>
                <a:avLst/>
                <a:gdLst>
                  <a:gd name="connsiteX0" fmla="*/ 196453 w 274796"/>
                  <a:gd name="connsiteY0" fmla="*/ 261223 h 274796"/>
                  <a:gd name="connsiteX1" fmla="*/ 13573 w 274796"/>
                  <a:gd name="connsiteY1" fmla="*/ 78343 h 274796"/>
                  <a:gd name="connsiteX2" fmla="*/ 13573 w 274796"/>
                  <a:gd name="connsiteY2" fmla="*/ 13573 h 274796"/>
                  <a:gd name="connsiteX3" fmla="*/ 78343 w 274796"/>
                  <a:gd name="connsiteY3" fmla="*/ 13573 h 274796"/>
                  <a:gd name="connsiteX4" fmla="*/ 261223 w 274796"/>
                  <a:gd name="connsiteY4" fmla="*/ 196453 h 274796"/>
                  <a:gd name="connsiteX5" fmla="*/ 261223 w 274796"/>
                  <a:gd name="connsiteY5" fmla="*/ 261223 h 274796"/>
                  <a:gd name="connsiteX6" fmla="*/ 19645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96453" y="261223"/>
                    </a:moveTo>
                    <a:lnTo>
                      <a:pt x="13573" y="78343"/>
                    </a:lnTo>
                    <a:cubicBezTo>
                      <a:pt x="-4524" y="60246"/>
                      <a:pt x="-4524" y="30718"/>
                      <a:pt x="13573" y="13573"/>
                    </a:cubicBezTo>
                    <a:cubicBezTo>
                      <a:pt x="31671" y="-4524"/>
                      <a:pt x="61198" y="-4524"/>
                      <a:pt x="78343" y="13573"/>
                    </a:cubicBezTo>
                    <a:lnTo>
                      <a:pt x="261223" y="196453"/>
                    </a:lnTo>
                    <a:cubicBezTo>
                      <a:pt x="279321" y="214551"/>
                      <a:pt x="279321" y="244078"/>
                      <a:pt x="261223" y="261223"/>
                    </a:cubicBezTo>
                    <a:cubicBezTo>
                      <a:pt x="243126" y="279321"/>
                      <a:pt x="213598" y="279321"/>
                      <a:pt x="196453" y="26122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75" name="Freeform: Shape 74">
                <a:extLst>
                  <a:ext uri="{FF2B5EF4-FFF2-40B4-BE49-F238E27FC236}">
                    <a16:creationId xmlns:a16="http://schemas.microsoft.com/office/drawing/2014/main" id="{3C5C809E-4046-CF86-ED5B-E1427240C799}"/>
                  </a:ext>
                </a:extLst>
              </p:cNvPr>
              <p:cNvSpPr/>
              <p:nvPr/>
            </p:nvSpPr>
            <p:spPr>
              <a:xfrm>
                <a:off x="15625841" y="1341643"/>
                <a:ext cx="274796" cy="274796"/>
              </a:xfrm>
              <a:custGeom>
                <a:avLst/>
                <a:gdLst>
                  <a:gd name="connsiteX0" fmla="*/ 196453 w 274796"/>
                  <a:gd name="connsiteY0" fmla="*/ 261223 h 274796"/>
                  <a:gd name="connsiteX1" fmla="*/ 13573 w 274796"/>
                  <a:gd name="connsiteY1" fmla="*/ 78343 h 274796"/>
                  <a:gd name="connsiteX2" fmla="*/ 13573 w 274796"/>
                  <a:gd name="connsiteY2" fmla="*/ 13573 h 274796"/>
                  <a:gd name="connsiteX3" fmla="*/ 78343 w 274796"/>
                  <a:gd name="connsiteY3" fmla="*/ 13573 h 274796"/>
                  <a:gd name="connsiteX4" fmla="*/ 261223 w 274796"/>
                  <a:gd name="connsiteY4" fmla="*/ 196453 h 274796"/>
                  <a:gd name="connsiteX5" fmla="*/ 261223 w 274796"/>
                  <a:gd name="connsiteY5" fmla="*/ 261223 h 274796"/>
                  <a:gd name="connsiteX6" fmla="*/ 19645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96453" y="261223"/>
                    </a:moveTo>
                    <a:lnTo>
                      <a:pt x="13573" y="78343"/>
                    </a:lnTo>
                    <a:cubicBezTo>
                      <a:pt x="-4524" y="60246"/>
                      <a:pt x="-4524" y="30718"/>
                      <a:pt x="13573" y="13573"/>
                    </a:cubicBezTo>
                    <a:cubicBezTo>
                      <a:pt x="31671" y="-4524"/>
                      <a:pt x="61198" y="-4524"/>
                      <a:pt x="78343" y="13573"/>
                    </a:cubicBezTo>
                    <a:lnTo>
                      <a:pt x="261223" y="196453"/>
                    </a:lnTo>
                    <a:cubicBezTo>
                      <a:pt x="279321" y="214551"/>
                      <a:pt x="279321" y="244078"/>
                      <a:pt x="261223" y="261223"/>
                    </a:cubicBezTo>
                    <a:cubicBezTo>
                      <a:pt x="244078" y="279321"/>
                      <a:pt x="214551" y="279321"/>
                      <a:pt x="196453" y="26122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76" name="Freeform: Shape 75">
                <a:extLst>
                  <a:ext uri="{FF2B5EF4-FFF2-40B4-BE49-F238E27FC236}">
                    <a16:creationId xmlns:a16="http://schemas.microsoft.com/office/drawing/2014/main" id="{13059534-3DC3-A5A6-6DEB-77CF9A1E67B2}"/>
                  </a:ext>
                </a:extLst>
              </p:cNvPr>
              <p:cNvSpPr/>
              <p:nvPr/>
            </p:nvSpPr>
            <p:spPr>
              <a:xfrm>
                <a:off x="16120427" y="1835277"/>
                <a:ext cx="611504" cy="611504"/>
              </a:xfrm>
              <a:custGeom>
                <a:avLst/>
                <a:gdLst>
                  <a:gd name="connsiteX0" fmla="*/ 305752 w 611504"/>
                  <a:gd name="connsiteY0" fmla="*/ 611505 h 611504"/>
                  <a:gd name="connsiteX1" fmla="*/ 0 w 611504"/>
                  <a:gd name="connsiteY1" fmla="*/ 305752 h 611504"/>
                  <a:gd name="connsiteX2" fmla="*/ 305752 w 611504"/>
                  <a:gd name="connsiteY2" fmla="*/ 0 h 611504"/>
                  <a:gd name="connsiteX3" fmla="*/ 611505 w 611504"/>
                  <a:gd name="connsiteY3" fmla="*/ 305752 h 611504"/>
                  <a:gd name="connsiteX4" fmla="*/ 305752 w 611504"/>
                  <a:gd name="connsiteY4" fmla="*/ 611505 h 611504"/>
                  <a:gd name="connsiteX5" fmla="*/ 305752 w 611504"/>
                  <a:gd name="connsiteY5" fmla="*/ 92392 h 611504"/>
                  <a:gd name="connsiteX6" fmla="*/ 92392 w 611504"/>
                  <a:gd name="connsiteY6" fmla="*/ 305752 h 611504"/>
                  <a:gd name="connsiteX7" fmla="*/ 305752 w 611504"/>
                  <a:gd name="connsiteY7" fmla="*/ 519113 h 611504"/>
                  <a:gd name="connsiteX8" fmla="*/ 519113 w 611504"/>
                  <a:gd name="connsiteY8" fmla="*/ 305752 h 611504"/>
                  <a:gd name="connsiteX9" fmla="*/ 305752 w 611504"/>
                  <a:gd name="connsiteY9" fmla="*/ 92392 h 611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4" h="611504">
                    <a:moveTo>
                      <a:pt x="305752" y="611505"/>
                    </a:moveTo>
                    <a:cubicBezTo>
                      <a:pt x="137160" y="611505"/>
                      <a:pt x="0" y="474345"/>
                      <a:pt x="0" y="305752"/>
                    </a:cubicBezTo>
                    <a:cubicBezTo>
                      <a:pt x="0" y="137160"/>
                      <a:pt x="137160" y="0"/>
                      <a:pt x="305752" y="0"/>
                    </a:cubicBezTo>
                    <a:cubicBezTo>
                      <a:pt x="474345" y="0"/>
                      <a:pt x="611505" y="137160"/>
                      <a:pt x="611505" y="305752"/>
                    </a:cubicBezTo>
                    <a:cubicBezTo>
                      <a:pt x="611505" y="474345"/>
                      <a:pt x="474345" y="611505"/>
                      <a:pt x="305752" y="611505"/>
                    </a:cubicBezTo>
                    <a:close/>
                    <a:moveTo>
                      <a:pt x="305752" y="92392"/>
                    </a:moveTo>
                    <a:cubicBezTo>
                      <a:pt x="188595" y="92392"/>
                      <a:pt x="92392" y="187642"/>
                      <a:pt x="92392" y="305752"/>
                    </a:cubicBezTo>
                    <a:cubicBezTo>
                      <a:pt x="92392" y="423863"/>
                      <a:pt x="187642" y="519113"/>
                      <a:pt x="305752" y="519113"/>
                    </a:cubicBezTo>
                    <a:cubicBezTo>
                      <a:pt x="423863" y="519113"/>
                      <a:pt x="519113" y="423863"/>
                      <a:pt x="519113" y="305752"/>
                    </a:cubicBezTo>
                    <a:cubicBezTo>
                      <a:pt x="519113" y="187642"/>
                      <a:pt x="423863" y="92392"/>
                      <a:pt x="305752" y="92392"/>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77" name="Freeform: Shape 76">
                <a:extLst>
                  <a:ext uri="{FF2B5EF4-FFF2-40B4-BE49-F238E27FC236}">
                    <a16:creationId xmlns:a16="http://schemas.microsoft.com/office/drawing/2014/main" id="{C30212B3-DA36-BBBE-CE5B-B0E1C56C98B6}"/>
                  </a:ext>
                </a:extLst>
              </p:cNvPr>
              <p:cNvSpPr/>
              <p:nvPr/>
            </p:nvSpPr>
            <p:spPr>
              <a:xfrm>
                <a:off x="16985296" y="2872549"/>
                <a:ext cx="438150" cy="438150"/>
              </a:xfrm>
              <a:custGeom>
                <a:avLst/>
                <a:gdLst>
                  <a:gd name="connsiteX0" fmla="*/ 219075 w 438150"/>
                  <a:gd name="connsiteY0" fmla="*/ 438150 h 438150"/>
                  <a:gd name="connsiteX1" fmla="*/ 0 w 438150"/>
                  <a:gd name="connsiteY1" fmla="*/ 219075 h 438150"/>
                  <a:gd name="connsiteX2" fmla="*/ 219075 w 438150"/>
                  <a:gd name="connsiteY2" fmla="*/ 0 h 438150"/>
                  <a:gd name="connsiteX3" fmla="*/ 438150 w 438150"/>
                  <a:gd name="connsiteY3" fmla="*/ 219075 h 438150"/>
                  <a:gd name="connsiteX4" fmla="*/ 219075 w 438150"/>
                  <a:gd name="connsiteY4" fmla="*/ 438150 h 438150"/>
                  <a:gd name="connsiteX5" fmla="*/ 219075 w 438150"/>
                  <a:gd name="connsiteY5" fmla="*/ 92393 h 438150"/>
                  <a:gd name="connsiteX6" fmla="*/ 92393 w 438150"/>
                  <a:gd name="connsiteY6" fmla="*/ 219075 h 438150"/>
                  <a:gd name="connsiteX7" fmla="*/ 219075 w 438150"/>
                  <a:gd name="connsiteY7" fmla="*/ 345757 h 438150"/>
                  <a:gd name="connsiteX8" fmla="*/ 345758 w 438150"/>
                  <a:gd name="connsiteY8" fmla="*/ 219075 h 438150"/>
                  <a:gd name="connsiteX9" fmla="*/ 219075 w 438150"/>
                  <a:gd name="connsiteY9" fmla="*/ 92393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150" h="438150">
                    <a:moveTo>
                      <a:pt x="219075" y="438150"/>
                    </a:moveTo>
                    <a:cubicBezTo>
                      <a:pt x="98108" y="438150"/>
                      <a:pt x="0" y="340043"/>
                      <a:pt x="0" y="219075"/>
                    </a:cubicBezTo>
                    <a:cubicBezTo>
                      <a:pt x="0" y="98107"/>
                      <a:pt x="98108" y="0"/>
                      <a:pt x="219075" y="0"/>
                    </a:cubicBezTo>
                    <a:cubicBezTo>
                      <a:pt x="340043" y="0"/>
                      <a:pt x="438150" y="98107"/>
                      <a:pt x="438150" y="219075"/>
                    </a:cubicBezTo>
                    <a:cubicBezTo>
                      <a:pt x="437197" y="340043"/>
                      <a:pt x="339090" y="438150"/>
                      <a:pt x="219075" y="438150"/>
                    </a:cubicBezTo>
                    <a:close/>
                    <a:moveTo>
                      <a:pt x="219075" y="92393"/>
                    </a:moveTo>
                    <a:cubicBezTo>
                      <a:pt x="149543" y="92393"/>
                      <a:pt x="92393" y="149543"/>
                      <a:pt x="92393" y="219075"/>
                    </a:cubicBezTo>
                    <a:cubicBezTo>
                      <a:pt x="92393" y="288607"/>
                      <a:pt x="149543" y="345757"/>
                      <a:pt x="219075" y="345757"/>
                    </a:cubicBezTo>
                    <a:cubicBezTo>
                      <a:pt x="288608" y="345757"/>
                      <a:pt x="345758" y="288607"/>
                      <a:pt x="345758" y="219075"/>
                    </a:cubicBezTo>
                    <a:cubicBezTo>
                      <a:pt x="345758" y="149543"/>
                      <a:pt x="288608" y="92393"/>
                      <a:pt x="219075" y="9239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grpSp>
        <p:sp>
          <p:nvSpPr>
            <p:cNvPr id="105" name="TextBox 104">
              <a:extLst>
                <a:ext uri="{FF2B5EF4-FFF2-40B4-BE49-F238E27FC236}">
                  <a16:creationId xmlns:a16="http://schemas.microsoft.com/office/drawing/2014/main" id="{FBB3A329-6FD1-EA7D-00E5-08899937B90B}"/>
                </a:ext>
              </a:extLst>
            </p:cNvPr>
            <p:cNvSpPr txBox="1"/>
            <p:nvPr/>
          </p:nvSpPr>
          <p:spPr bwMode="gray">
            <a:xfrm>
              <a:off x="2691113" y="5043525"/>
              <a:ext cx="9072262" cy="279564"/>
            </a:xfrm>
            <a:prstGeom prst="rect">
              <a:avLst/>
            </a:prstGeom>
            <a:noFill/>
            <a:ln w="19050">
              <a:noFill/>
            </a:ln>
          </p:spPr>
          <p:txBody>
            <a:bodyPr spcFirstLastPara="1" wrap="square" lIns="0" tIns="0" rIns="0" bIns="0" rtlCol="0" anchor="b" anchorCtr="0">
              <a:spAutoFit/>
            </a:bodyPr>
            <a:lstStyle/>
            <a:p>
              <a:pPr marL="130302" indent="-130302" defTabSz="171390">
                <a:spcAft>
                  <a:spcPts val="450"/>
                </a:spcAft>
                <a:buFont typeface="Arial" panose="020B0604020202020204" pitchFamily="34" charset="0"/>
                <a:buChar char="•"/>
                <a:defRPr/>
              </a:pPr>
              <a:r>
                <a:rPr lang="en-US" sz="1400" b="1" dirty="0">
                  <a:solidFill>
                    <a:srgbClr val="FFFFFF"/>
                  </a:solidFill>
                  <a:latin typeface="Pfizer Diatype Office"/>
                </a:rPr>
                <a:t>İnfluenza </a:t>
              </a:r>
              <a:r>
                <a:rPr lang="en-US" sz="1400" b="1" dirty="0" err="1">
                  <a:solidFill>
                    <a:srgbClr val="FFFFFF"/>
                  </a:solidFill>
                  <a:latin typeface="Pfizer Diatype Office"/>
                </a:rPr>
                <a:t>aşısı</a:t>
              </a:r>
              <a:r>
                <a:rPr lang="en-US" sz="1400" b="1" dirty="0">
                  <a:solidFill>
                    <a:srgbClr val="FFFFFF"/>
                  </a:solidFill>
                  <a:latin typeface="Pfizer Diatype Office"/>
                </a:rPr>
                <a:t>, </a:t>
              </a:r>
              <a:r>
                <a:rPr lang="en-US" sz="1400" b="1" dirty="0" err="1">
                  <a:solidFill>
                    <a:srgbClr val="FFFFFF"/>
                  </a:solidFill>
                  <a:latin typeface="Pfizer Diatype Office"/>
                </a:rPr>
                <a:t>antibiyotik</a:t>
              </a:r>
              <a:r>
                <a:rPr lang="en-US" sz="1400" b="1" dirty="0">
                  <a:solidFill>
                    <a:srgbClr val="FFFFFF"/>
                  </a:solidFill>
                  <a:latin typeface="Pfizer Diatype Office"/>
                </a:rPr>
                <a:t> </a:t>
              </a:r>
              <a:r>
                <a:rPr lang="en-US" sz="1400" b="1" dirty="0" err="1">
                  <a:solidFill>
                    <a:srgbClr val="FFFFFF"/>
                  </a:solidFill>
                  <a:latin typeface="Pfizer Diatype Office"/>
                </a:rPr>
                <a:t>reçetelerini</a:t>
              </a:r>
              <a:r>
                <a:rPr lang="en-US" sz="1400" b="1" dirty="0">
                  <a:solidFill>
                    <a:srgbClr val="FFFFFF"/>
                  </a:solidFill>
                  <a:latin typeface="Pfizer Diatype Office"/>
                </a:rPr>
                <a:t> </a:t>
              </a:r>
              <a:r>
                <a:rPr lang="en-US" sz="1400" b="1" dirty="0" err="1">
                  <a:solidFill>
                    <a:srgbClr val="FFFFFF"/>
                  </a:solidFill>
                  <a:latin typeface="Pfizer Diatype Office"/>
                </a:rPr>
                <a:t>veya</a:t>
              </a:r>
              <a:r>
                <a:rPr lang="en-US" sz="1400" b="1" dirty="0">
                  <a:solidFill>
                    <a:srgbClr val="FFFFFF"/>
                  </a:solidFill>
                  <a:latin typeface="Pfizer Diatype Office"/>
                </a:rPr>
                <a:t> </a:t>
              </a:r>
              <a:r>
                <a:rPr lang="en-US" sz="1400" b="1" dirty="0" err="1">
                  <a:solidFill>
                    <a:srgbClr val="FFFFFF"/>
                  </a:solidFill>
                  <a:latin typeface="Pfizer Diatype Office"/>
                </a:rPr>
                <a:t>antibiyotik</a:t>
              </a:r>
              <a:r>
                <a:rPr lang="en-US" sz="1400" b="1" dirty="0">
                  <a:solidFill>
                    <a:srgbClr val="FFFFFF"/>
                  </a:solidFill>
                  <a:latin typeface="Pfizer Diatype Office"/>
                </a:rPr>
                <a:t> </a:t>
              </a:r>
              <a:r>
                <a:rPr lang="en-US" sz="1400" b="1" dirty="0" err="1">
                  <a:solidFill>
                    <a:srgbClr val="FFFFFF"/>
                  </a:solidFill>
                  <a:latin typeface="Pfizer Diatype Office"/>
                </a:rPr>
                <a:t>kullanım</a:t>
              </a:r>
              <a:r>
                <a:rPr lang="en-US" sz="1400" b="1" dirty="0">
                  <a:solidFill>
                    <a:srgbClr val="FFFFFF"/>
                  </a:solidFill>
                  <a:latin typeface="Pfizer Diatype Office"/>
                </a:rPr>
                <a:t> </a:t>
              </a:r>
              <a:r>
                <a:rPr lang="en-US" sz="1400" b="1" dirty="0" err="1">
                  <a:solidFill>
                    <a:srgbClr val="FFFFFF"/>
                  </a:solidFill>
                  <a:latin typeface="Pfizer Diatype Office"/>
                </a:rPr>
                <a:t>süresini</a:t>
              </a:r>
              <a:r>
                <a:rPr lang="en-US" sz="1400" b="1" dirty="0">
                  <a:solidFill>
                    <a:srgbClr val="FFFFFF"/>
                  </a:solidFill>
                  <a:latin typeface="Pfizer Diatype Office"/>
                </a:rPr>
                <a:t> </a:t>
              </a:r>
              <a:r>
                <a:rPr lang="en-US" sz="1400" b="1" dirty="0" err="1">
                  <a:solidFill>
                    <a:srgbClr val="FFFFFF"/>
                  </a:solidFill>
                  <a:latin typeface="Pfizer Diatype Office"/>
                </a:rPr>
                <a:t>anlamlı</a:t>
              </a:r>
              <a:r>
                <a:rPr lang="en-US" sz="1400" b="1" dirty="0">
                  <a:solidFill>
                    <a:srgbClr val="FFFFFF"/>
                  </a:solidFill>
                  <a:latin typeface="Pfizer Diatype Office"/>
                </a:rPr>
                <a:t> </a:t>
              </a:r>
              <a:r>
                <a:rPr lang="en-US" sz="1400" b="1" dirty="0" err="1">
                  <a:solidFill>
                    <a:srgbClr val="FFFFFF"/>
                  </a:solidFill>
                  <a:latin typeface="Pfizer Diatype Office"/>
                </a:rPr>
                <a:t>derecede</a:t>
              </a:r>
              <a:r>
                <a:rPr lang="en-US" sz="1400" b="1" dirty="0">
                  <a:solidFill>
                    <a:srgbClr val="FFFFFF"/>
                  </a:solidFill>
                  <a:latin typeface="Pfizer Diatype Office"/>
                </a:rPr>
                <a:t> </a:t>
              </a:r>
              <a:r>
                <a:rPr lang="en-US" sz="1400" b="1" dirty="0" err="1">
                  <a:solidFill>
                    <a:srgbClr val="FFFFFF"/>
                  </a:solidFill>
                  <a:latin typeface="Pfizer Diatype Office"/>
                </a:rPr>
                <a:t>azaltmıştır</a:t>
              </a:r>
              <a:r>
                <a:rPr lang="en-US" sz="1400" b="1" dirty="0">
                  <a:solidFill>
                    <a:srgbClr val="FFFFFF"/>
                  </a:solidFill>
                  <a:latin typeface="Pfizer Diatype Office"/>
                </a:rPr>
                <a:t>*</a:t>
              </a:r>
              <a:endParaRPr lang="en-IN" sz="1400" b="1" baseline="30000" dirty="0">
                <a:solidFill>
                  <a:srgbClr val="FFFFFF"/>
                </a:solidFill>
                <a:latin typeface="Pfizer Diatype Office"/>
              </a:endParaRPr>
            </a:p>
          </p:txBody>
        </p:sp>
        <p:sp>
          <p:nvSpPr>
            <p:cNvPr id="25" name="TextBox 24">
              <a:extLst>
                <a:ext uri="{FF2B5EF4-FFF2-40B4-BE49-F238E27FC236}">
                  <a16:creationId xmlns:a16="http://schemas.microsoft.com/office/drawing/2014/main" id="{55B10AB4-4D96-94F0-9D16-9AAA625B4E4E}"/>
                </a:ext>
              </a:extLst>
            </p:cNvPr>
            <p:cNvSpPr txBox="1"/>
            <p:nvPr/>
          </p:nvSpPr>
          <p:spPr>
            <a:xfrm>
              <a:off x="635246" y="2333624"/>
              <a:ext cx="11234174" cy="731520"/>
            </a:xfrm>
            <a:prstGeom prst="roundRect">
              <a:avLst>
                <a:gd name="adj" fmla="val 9293"/>
              </a:avLst>
            </a:prstGeom>
            <a:solidFill>
              <a:srgbClr val="0DBDBA"/>
            </a:solidFill>
          </p:spPr>
          <p:txBody>
            <a:bodyPr wrap="square" lIns="68580" tIns="0" rIns="0" bIns="0" rtlCol="0" anchor="ctr" anchorCtr="0">
              <a:noAutofit/>
            </a:bodyPr>
            <a:lstStyle/>
            <a:p>
              <a:pPr marL="800100" defTabSz="685800">
                <a:defRPr/>
              </a:pPr>
              <a:r>
                <a:rPr lang="en-US" sz="1400" dirty="0">
                  <a:solidFill>
                    <a:srgbClr val="FFFFFF"/>
                  </a:solidFill>
                  <a:latin typeface="Pfizer Tomorrow"/>
                </a:rPr>
                <a:t>RSV</a:t>
              </a:r>
              <a:r>
                <a:rPr lang="en-US" sz="1400" baseline="30000" dirty="0">
                  <a:solidFill>
                    <a:srgbClr val="FFFFFF"/>
                  </a:solidFill>
                  <a:latin typeface="Pfizer Tomorrow"/>
                </a:rPr>
                <a:t>2</a:t>
              </a:r>
            </a:p>
          </p:txBody>
        </p:sp>
        <p:sp>
          <p:nvSpPr>
            <p:cNvPr id="79" name="Graphic 43">
              <a:extLst>
                <a:ext uri="{FF2B5EF4-FFF2-40B4-BE49-F238E27FC236}">
                  <a16:creationId xmlns:a16="http://schemas.microsoft.com/office/drawing/2014/main" id="{D40FA0C4-B0DA-3CC9-3CC8-A272E3DBADAC}"/>
                </a:ext>
              </a:extLst>
            </p:cNvPr>
            <p:cNvSpPr/>
            <p:nvPr/>
          </p:nvSpPr>
          <p:spPr>
            <a:xfrm>
              <a:off x="770189" y="2425064"/>
              <a:ext cx="548640" cy="548640"/>
            </a:xfrm>
            <a:custGeom>
              <a:avLst/>
              <a:gdLst>
                <a:gd name="connsiteX0" fmla="*/ 153989 w 782516"/>
                <a:gd name="connsiteY0" fmla="*/ 357935 h 761260"/>
                <a:gd name="connsiteX1" fmla="*/ 145981 w 782516"/>
                <a:gd name="connsiteY1" fmla="*/ 349927 h 761260"/>
                <a:gd name="connsiteX2" fmla="*/ 142592 w 782516"/>
                <a:gd name="connsiteY2" fmla="*/ 349927 h 761260"/>
                <a:gd name="connsiteX3" fmla="*/ 142592 w 782516"/>
                <a:gd name="connsiteY3" fmla="*/ 337500 h 761260"/>
                <a:gd name="connsiteX4" fmla="*/ 169972 w 782516"/>
                <a:gd name="connsiteY4" fmla="*/ 326103 h 761260"/>
                <a:gd name="connsiteX5" fmla="*/ 178745 w 782516"/>
                <a:gd name="connsiteY5" fmla="*/ 334875 h 761260"/>
                <a:gd name="connsiteX6" fmla="*/ 176352 w 782516"/>
                <a:gd name="connsiteY6" fmla="*/ 337334 h 761260"/>
                <a:gd name="connsiteX7" fmla="*/ 176352 w 782516"/>
                <a:gd name="connsiteY7" fmla="*/ 348632 h 761260"/>
                <a:gd name="connsiteX8" fmla="*/ 181968 w 782516"/>
                <a:gd name="connsiteY8" fmla="*/ 350924 h 761260"/>
                <a:gd name="connsiteX9" fmla="*/ 187583 w 782516"/>
                <a:gd name="connsiteY9" fmla="*/ 348532 h 761260"/>
                <a:gd name="connsiteX10" fmla="*/ 203732 w 782516"/>
                <a:gd name="connsiteY10" fmla="*/ 332383 h 761260"/>
                <a:gd name="connsiteX11" fmla="*/ 203732 w 782516"/>
                <a:gd name="connsiteY11" fmla="*/ 321085 h 761260"/>
                <a:gd name="connsiteX12" fmla="*/ 192434 w 782516"/>
                <a:gd name="connsiteY12" fmla="*/ 321085 h 761260"/>
                <a:gd name="connsiteX13" fmla="*/ 189975 w 782516"/>
                <a:gd name="connsiteY13" fmla="*/ 323478 h 761260"/>
                <a:gd name="connsiteX14" fmla="*/ 181203 w 782516"/>
                <a:gd name="connsiteY14" fmla="*/ 314705 h 761260"/>
                <a:gd name="connsiteX15" fmla="*/ 192600 w 782516"/>
                <a:gd name="connsiteY15" fmla="*/ 287325 h 761260"/>
                <a:gd name="connsiteX16" fmla="*/ 205027 w 782516"/>
                <a:gd name="connsiteY16" fmla="*/ 287325 h 761260"/>
                <a:gd name="connsiteX17" fmla="*/ 205027 w 782516"/>
                <a:gd name="connsiteY17" fmla="*/ 290714 h 761260"/>
                <a:gd name="connsiteX18" fmla="*/ 213035 w 782516"/>
                <a:gd name="connsiteY18" fmla="*/ 298723 h 761260"/>
                <a:gd name="connsiteX19" fmla="*/ 221044 w 782516"/>
                <a:gd name="connsiteY19" fmla="*/ 290714 h 761260"/>
                <a:gd name="connsiteX20" fmla="*/ 221044 w 782516"/>
                <a:gd name="connsiteY20" fmla="*/ 267920 h 761260"/>
                <a:gd name="connsiteX21" fmla="*/ 213035 w 782516"/>
                <a:gd name="connsiteY21" fmla="*/ 259912 h 761260"/>
                <a:gd name="connsiteX22" fmla="*/ 205027 w 782516"/>
                <a:gd name="connsiteY22" fmla="*/ 267920 h 761260"/>
                <a:gd name="connsiteX23" fmla="*/ 205027 w 782516"/>
                <a:gd name="connsiteY23" fmla="*/ 271310 h 761260"/>
                <a:gd name="connsiteX24" fmla="*/ 192600 w 782516"/>
                <a:gd name="connsiteY24" fmla="*/ 271310 h 761260"/>
                <a:gd name="connsiteX25" fmla="*/ 181203 w 782516"/>
                <a:gd name="connsiteY25" fmla="*/ 243930 h 761260"/>
                <a:gd name="connsiteX26" fmla="*/ 189975 w 782516"/>
                <a:gd name="connsiteY26" fmla="*/ 235157 h 761260"/>
                <a:gd name="connsiteX27" fmla="*/ 192434 w 782516"/>
                <a:gd name="connsiteY27" fmla="*/ 237616 h 761260"/>
                <a:gd name="connsiteX28" fmla="*/ 203732 w 782516"/>
                <a:gd name="connsiteY28" fmla="*/ 237616 h 761260"/>
                <a:gd name="connsiteX29" fmla="*/ 203732 w 782516"/>
                <a:gd name="connsiteY29" fmla="*/ 226318 h 761260"/>
                <a:gd name="connsiteX30" fmla="*/ 187583 w 782516"/>
                <a:gd name="connsiteY30" fmla="*/ 210169 h 761260"/>
                <a:gd name="connsiteX31" fmla="*/ 176285 w 782516"/>
                <a:gd name="connsiteY31" fmla="*/ 210169 h 761260"/>
                <a:gd name="connsiteX32" fmla="*/ 176285 w 782516"/>
                <a:gd name="connsiteY32" fmla="*/ 221467 h 761260"/>
                <a:gd name="connsiteX33" fmla="*/ 178678 w 782516"/>
                <a:gd name="connsiteY33" fmla="*/ 223860 h 761260"/>
                <a:gd name="connsiteX34" fmla="*/ 169906 w 782516"/>
                <a:gd name="connsiteY34" fmla="*/ 232632 h 761260"/>
                <a:gd name="connsiteX35" fmla="*/ 142526 w 782516"/>
                <a:gd name="connsiteY35" fmla="*/ 221235 h 761260"/>
                <a:gd name="connsiteX36" fmla="*/ 142526 w 782516"/>
                <a:gd name="connsiteY36" fmla="*/ 208807 h 761260"/>
                <a:gd name="connsiteX37" fmla="*/ 145915 w 782516"/>
                <a:gd name="connsiteY37" fmla="*/ 208807 h 761260"/>
                <a:gd name="connsiteX38" fmla="*/ 153923 w 782516"/>
                <a:gd name="connsiteY38" fmla="*/ 200799 h 761260"/>
                <a:gd name="connsiteX39" fmla="*/ 145915 w 782516"/>
                <a:gd name="connsiteY39" fmla="*/ 192791 h 761260"/>
                <a:gd name="connsiteX40" fmla="*/ 123120 w 782516"/>
                <a:gd name="connsiteY40" fmla="*/ 192791 h 761260"/>
                <a:gd name="connsiteX41" fmla="*/ 115112 w 782516"/>
                <a:gd name="connsiteY41" fmla="*/ 200799 h 761260"/>
                <a:gd name="connsiteX42" fmla="*/ 123120 w 782516"/>
                <a:gd name="connsiteY42" fmla="*/ 208807 h 761260"/>
                <a:gd name="connsiteX43" fmla="*/ 126509 w 782516"/>
                <a:gd name="connsiteY43" fmla="*/ 208807 h 761260"/>
                <a:gd name="connsiteX44" fmla="*/ 126509 w 782516"/>
                <a:gd name="connsiteY44" fmla="*/ 221235 h 761260"/>
                <a:gd name="connsiteX45" fmla="*/ 99129 w 782516"/>
                <a:gd name="connsiteY45" fmla="*/ 232632 h 761260"/>
                <a:gd name="connsiteX46" fmla="*/ 90357 w 782516"/>
                <a:gd name="connsiteY46" fmla="*/ 223860 h 761260"/>
                <a:gd name="connsiteX47" fmla="*/ 92749 w 782516"/>
                <a:gd name="connsiteY47" fmla="*/ 221401 h 761260"/>
                <a:gd name="connsiteX48" fmla="*/ 92749 w 782516"/>
                <a:gd name="connsiteY48" fmla="*/ 210103 h 761260"/>
                <a:gd name="connsiteX49" fmla="*/ 81451 w 782516"/>
                <a:gd name="connsiteY49" fmla="*/ 210103 h 761260"/>
                <a:gd name="connsiteX50" fmla="*/ 65303 w 782516"/>
                <a:gd name="connsiteY50" fmla="*/ 226252 h 761260"/>
                <a:gd name="connsiteX51" fmla="*/ 65303 w 782516"/>
                <a:gd name="connsiteY51" fmla="*/ 237550 h 761260"/>
                <a:gd name="connsiteX52" fmla="*/ 76601 w 782516"/>
                <a:gd name="connsiteY52" fmla="*/ 237550 h 761260"/>
                <a:gd name="connsiteX53" fmla="*/ 79060 w 782516"/>
                <a:gd name="connsiteY53" fmla="*/ 235091 h 761260"/>
                <a:gd name="connsiteX54" fmla="*/ 87832 w 782516"/>
                <a:gd name="connsiteY54" fmla="*/ 243863 h 761260"/>
                <a:gd name="connsiteX55" fmla="*/ 76435 w 782516"/>
                <a:gd name="connsiteY55" fmla="*/ 271243 h 761260"/>
                <a:gd name="connsiteX56" fmla="*/ 64008 w 782516"/>
                <a:gd name="connsiteY56" fmla="*/ 271243 h 761260"/>
                <a:gd name="connsiteX57" fmla="*/ 64008 w 782516"/>
                <a:gd name="connsiteY57" fmla="*/ 267854 h 761260"/>
                <a:gd name="connsiteX58" fmla="*/ 55999 w 782516"/>
                <a:gd name="connsiteY58" fmla="*/ 259846 h 761260"/>
                <a:gd name="connsiteX59" fmla="*/ 47991 w 782516"/>
                <a:gd name="connsiteY59" fmla="*/ 267854 h 761260"/>
                <a:gd name="connsiteX60" fmla="*/ 47991 w 782516"/>
                <a:gd name="connsiteY60" fmla="*/ 290649 h 761260"/>
                <a:gd name="connsiteX61" fmla="*/ 55999 w 782516"/>
                <a:gd name="connsiteY61" fmla="*/ 298657 h 761260"/>
                <a:gd name="connsiteX62" fmla="*/ 64008 w 782516"/>
                <a:gd name="connsiteY62" fmla="*/ 290649 h 761260"/>
                <a:gd name="connsiteX63" fmla="*/ 64008 w 782516"/>
                <a:gd name="connsiteY63" fmla="*/ 287259 h 761260"/>
                <a:gd name="connsiteX64" fmla="*/ 76568 w 782516"/>
                <a:gd name="connsiteY64" fmla="*/ 287259 h 761260"/>
                <a:gd name="connsiteX65" fmla="*/ 87965 w 782516"/>
                <a:gd name="connsiteY65" fmla="*/ 314639 h 761260"/>
                <a:gd name="connsiteX66" fmla="*/ 79126 w 782516"/>
                <a:gd name="connsiteY66" fmla="*/ 323677 h 761260"/>
                <a:gd name="connsiteX67" fmla="*/ 76667 w 782516"/>
                <a:gd name="connsiteY67" fmla="*/ 321284 h 761260"/>
                <a:gd name="connsiteX68" fmla="*/ 65369 w 782516"/>
                <a:gd name="connsiteY68" fmla="*/ 321284 h 761260"/>
                <a:gd name="connsiteX69" fmla="*/ 65369 w 782516"/>
                <a:gd name="connsiteY69" fmla="*/ 332582 h 761260"/>
                <a:gd name="connsiteX70" fmla="*/ 81518 w 782516"/>
                <a:gd name="connsiteY70" fmla="*/ 348731 h 761260"/>
                <a:gd name="connsiteX71" fmla="*/ 87134 w 782516"/>
                <a:gd name="connsiteY71" fmla="*/ 351024 h 761260"/>
                <a:gd name="connsiteX72" fmla="*/ 92749 w 782516"/>
                <a:gd name="connsiteY72" fmla="*/ 348632 h 761260"/>
                <a:gd name="connsiteX73" fmla="*/ 92749 w 782516"/>
                <a:gd name="connsiteY73" fmla="*/ 337334 h 761260"/>
                <a:gd name="connsiteX74" fmla="*/ 90290 w 782516"/>
                <a:gd name="connsiteY74" fmla="*/ 334942 h 761260"/>
                <a:gd name="connsiteX75" fmla="*/ 99063 w 782516"/>
                <a:gd name="connsiteY75" fmla="*/ 326169 h 761260"/>
                <a:gd name="connsiteX76" fmla="*/ 126443 w 782516"/>
                <a:gd name="connsiteY76" fmla="*/ 337567 h 761260"/>
                <a:gd name="connsiteX77" fmla="*/ 126443 w 782516"/>
                <a:gd name="connsiteY77" fmla="*/ 349994 h 761260"/>
                <a:gd name="connsiteX78" fmla="*/ 123054 w 782516"/>
                <a:gd name="connsiteY78" fmla="*/ 349994 h 761260"/>
                <a:gd name="connsiteX79" fmla="*/ 115045 w 782516"/>
                <a:gd name="connsiteY79" fmla="*/ 358002 h 761260"/>
                <a:gd name="connsiteX80" fmla="*/ 123054 w 782516"/>
                <a:gd name="connsiteY80" fmla="*/ 366010 h 761260"/>
                <a:gd name="connsiteX81" fmla="*/ 145848 w 782516"/>
                <a:gd name="connsiteY81" fmla="*/ 366010 h 761260"/>
                <a:gd name="connsiteX82" fmla="*/ 153989 w 782516"/>
                <a:gd name="connsiteY82" fmla="*/ 357935 h 761260"/>
                <a:gd name="connsiteX83" fmla="*/ 91952 w 782516"/>
                <a:gd name="connsiteY83" fmla="*/ 279520 h 761260"/>
                <a:gd name="connsiteX84" fmla="*/ 134584 w 782516"/>
                <a:gd name="connsiteY84" fmla="*/ 236888 h 761260"/>
                <a:gd name="connsiteX85" fmla="*/ 177216 w 782516"/>
                <a:gd name="connsiteY85" fmla="*/ 279520 h 761260"/>
                <a:gd name="connsiteX86" fmla="*/ 134584 w 782516"/>
                <a:gd name="connsiteY86" fmla="*/ 322152 h 761260"/>
                <a:gd name="connsiteX87" fmla="*/ 91952 w 782516"/>
                <a:gd name="connsiteY87" fmla="*/ 279520 h 761260"/>
                <a:gd name="connsiteX88" fmla="*/ 121658 w 782516"/>
                <a:gd name="connsiteY88" fmla="*/ 279453 h 761260"/>
                <a:gd name="connsiteX89" fmla="*/ 108798 w 782516"/>
                <a:gd name="connsiteY89" fmla="*/ 266594 h 761260"/>
                <a:gd name="connsiteX90" fmla="*/ 121658 w 782516"/>
                <a:gd name="connsiteY90" fmla="*/ 253734 h 761260"/>
                <a:gd name="connsiteX91" fmla="*/ 134517 w 782516"/>
                <a:gd name="connsiteY91" fmla="*/ 266594 h 761260"/>
                <a:gd name="connsiteX92" fmla="*/ 121658 w 782516"/>
                <a:gd name="connsiteY92" fmla="*/ 279453 h 761260"/>
                <a:gd name="connsiteX93" fmla="*/ 131094 w 782516"/>
                <a:gd name="connsiteY93" fmla="*/ 305305 h 761260"/>
                <a:gd name="connsiteX94" fmla="*/ 122156 w 782516"/>
                <a:gd name="connsiteY94" fmla="*/ 296367 h 761260"/>
                <a:gd name="connsiteX95" fmla="*/ 131094 w 782516"/>
                <a:gd name="connsiteY95" fmla="*/ 287429 h 761260"/>
                <a:gd name="connsiteX96" fmla="*/ 140032 w 782516"/>
                <a:gd name="connsiteY96" fmla="*/ 296367 h 761260"/>
                <a:gd name="connsiteX97" fmla="*/ 131094 w 782516"/>
                <a:gd name="connsiteY97" fmla="*/ 305305 h 761260"/>
                <a:gd name="connsiteX98" fmla="*/ 140365 w 782516"/>
                <a:gd name="connsiteY98" fmla="*/ 277825 h 761260"/>
                <a:gd name="connsiteX99" fmla="*/ 150400 w 782516"/>
                <a:gd name="connsiteY99" fmla="*/ 267790 h 761260"/>
                <a:gd name="connsiteX100" fmla="*/ 160434 w 782516"/>
                <a:gd name="connsiteY100" fmla="*/ 277825 h 761260"/>
                <a:gd name="connsiteX101" fmla="*/ 150400 w 782516"/>
                <a:gd name="connsiteY101" fmla="*/ 287860 h 761260"/>
                <a:gd name="connsiteX102" fmla="*/ 140365 w 782516"/>
                <a:gd name="connsiteY102" fmla="*/ 277825 h 761260"/>
                <a:gd name="connsiteX103" fmla="*/ 733951 w 782516"/>
                <a:gd name="connsiteY103" fmla="*/ 523250 h 761260"/>
                <a:gd name="connsiteX104" fmla="*/ 548603 w 782516"/>
                <a:gd name="connsiteY104" fmla="*/ 237186 h 761260"/>
                <a:gd name="connsiteX105" fmla="*/ 471117 w 782516"/>
                <a:gd name="connsiteY105" fmla="*/ 225290 h 761260"/>
                <a:gd name="connsiteX106" fmla="*/ 448389 w 782516"/>
                <a:gd name="connsiteY106" fmla="*/ 265596 h 761260"/>
                <a:gd name="connsiteX107" fmla="*/ 447359 w 782516"/>
                <a:gd name="connsiteY107" fmla="*/ 329892 h 761260"/>
                <a:gd name="connsiteX108" fmla="*/ 419215 w 782516"/>
                <a:gd name="connsiteY108" fmla="*/ 303509 h 761260"/>
                <a:gd name="connsiteX109" fmla="*/ 419215 w 782516"/>
                <a:gd name="connsiteY109" fmla="*/ 27978 h 761260"/>
                <a:gd name="connsiteX110" fmla="*/ 391236 w 782516"/>
                <a:gd name="connsiteY110" fmla="*/ 0 h 761260"/>
                <a:gd name="connsiteX111" fmla="*/ 363258 w 782516"/>
                <a:gd name="connsiteY111" fmla="*/ 27978 h 761260"/>
                <a:gd name="connsiteX112" fmla="*/ 363258 w 782516"/>
                <a:gd name="connsiteY112" fmla="*/ 303509 h 761260"/>
                <a:gd name="connsiteX113" fmla="*/ 335114 w 782516"/>
                <a:gd name="connsiteY113" fmla="*/ 329892 h 761260"/>
                <a:gd name="connsiteX114" fmla="*/ 334084 w 782516"/>
                <a:gd name="connsiteY114" fmla="*/ 265596 h 761260"/>
                <a:gd name="connsiteX115" fmla="*/ 314512 w 782516"/>
                <a:gd name="connsiteY115" fmla="*/ 227051 h 761260"/>
                <a:gd name="connsiteX116" fmla="*/ 257526 w 782516"/>
                <a:gd name="connsiteY116" fmla="*/ 225190 h 761260"/>
                <a:gd name="connsiteX117" fmla="*/ 134444 w 782516"/>
                <a:gd name="connsiteY117" fmla="*/ 144875 h 761260"/>
                <a:gd name="connsiteX118" fmla="*/ 0 w 782516"/>
                <a:gd name="connsiteY118" fmla="*/ 279518 h 761260"/>
                <a:gd name="connsiteX119" fmla="*/ 88722 w 782516"/>
                <a:gd name="connsiteY119" fmla="*/ 405916 h 761260"/>
                <a:gd name="connsiteX120" fmla="*/ 43299 w 782516"/>
                <a:gd name="connsiteY120" fmla="*/ 616550 h 761260"/>
                <a:gd name="connsiteX121" fmla="*/ 120722 w 782516"/>
                <a:gd name="connsiteY121" fmla="*/ 693110 h 761260"/>
                <a:gd name="connsiteX122" fmla="*/ 123613 w 782516"/>
                <a:gd name="connsiteY122" fmla="*/ 693110 h 761260"/>
                <a:gd name="connsiteX123" fmla="*/ 251039 w 782516"/>
                <a:gd name="connsiteY123" fmla="*/ 654729 h 761260"/>
                <a:gd name="connsiteX124" fmla="*/ 328094 w 782516"/>
                <a:gd name="connsiteY124" fmla="*/ 557408 h 761260"/>
                <a:gd name="connsiteX125" fmla="*/ 335337 w 782516"/>
                <a:gd name="connsiteY125" fmla="*/ 406157 h 761260"/>
                <a:gd name="connsiteX126" fmla="*/ 391294 w 782516"/>
                <a:gd name="connsiteY126" fmla="*/ 353623 h 761260"/>
                <a:gd name="connsiteX127" fmla="*/ 447251 w 782516"/>
                <a:gd name="connsiteY127" fmla="*/ 406024 h 761260"/>
                <a:gd name="connsiteX128" fmla="*/ 454495 w 782516"/>
                <a:gd name="connsiteY128" fmla="*/ 557276 h 761260"/>
                <a:gd name="connsiteX129" fmla="*/ 514472 w 782516"/>
                <a:gd name="connsiteY129" fmla="*/ 643368 h 761260"/>
                <a:gd name="connsiteX130" fmla="*/ 647945 w 782516"/>
                <a:gd name="connsiteY130" fmla="*/ 761261 h 761260"/>
                <a:gd name="connsiteX131" fmla="*/ 782516 w 782516"/>
                <a:gd name="connsiteY131" fmla="*/ 626688 h 761260"/>
                <a:gd name="connsiteX132" fmla="*/ 733937 w 782516"/>
                <a:gd name="connsiteY132" fmla="*/ 523250 h 761260"/>
                <a:gd name="connsiteX133" fmla="*/ 16008 w 782516"/>
                <a:gd name="connsiteY133" fmla="*/ 279526 h 761260"/>
                <a:gd name="connsiteX134" fmla="*/ 134595 w 782516"/>
                <a:gd name="connsiteY134" fmla="*/ 160940 h 761260"/>
                <a:gd name="connsiteX135" fmla="*/ 253182 w 782516"/>
                <a:gd name="connsiteY135" fmla="*/ 279526 h 761260"/>
                <a:gd name="connsiteX136" fmla="*/ 134595 w 782516"/>
                <a:gd name="connsiteY136" fmla="*/ 398113 h 761260"/>
                <a:gd name="connsiteX137" fmla="*/ 16008 w 782516"/>
                <a:gd name="connsiteY137" fmla="*/ 279526 h 761260"/>
                <a:gd name="connsiteX138" fmla="*/ 312202 w 782516"/>
                <a:gd name="connsiteY138" fmla="*/ 554958 h 761260"/>
                <a:gd name="connsiteX139" fmla="*/ 123196 w 782516"/>
                <a:gd name="connsiteY139" fmla="*/ 677040 h 761260"/>
                <a:gd name="connsiteX140" fmla="*/ 59232 w 782516"/>
                <a:gd name="connsiteY140" fmla="*/ 615202 h 761260"/>
                <a:gd name="connsiteX141" fmla="*/ 104322 w 782516"/>
                <a:gd name="connsiteY141" fmla="*/ 410544 h 761260"/>
                <a:gd name="connsiteX142" fmla="*/ 134593 w 782516"/>
                <a:gd name="connsiteY142" fmla="*/ 414133 h 761260"/>
                <a:gd name="connsiteX143" fmla="*/ 269165 w 782516"/>
                <a:gd name="connsiteY143" fmla="*/ 279561 h 761260"/>
                <a:gd name="connsiteX144" fmla="*/ 263284 w 782516"/>
                <a:gd name="connsiteY144" fmla="*/ 240186 h 761260"/>
                <a:gd name="connsiteX145" fmla="*/ 306082 w 782516"/>
                <a:gd name="connsiteY145" fmla="*/ 240684 h 761260"/>
                <a:gd name="connsiteX146" fmla="*/ 318176 w 782516"/>
                <a:gd name="connsiteY146" fmla="*/ 266037 h 761260"/>
                <a:gd name="connsiteX147" fmla="*/ 319273 w 782516"/>
                <a:gd name="connsiteY147" fmla="*/ 344821 h 761260"/>
                <a:gd name="connsiteX148" fmla="*/ 206038 w 782516"/>
                <a:gd name="connsiteY148" fmla="*/ 450684 h 761260"/>
                <a:gd name="connsiteX149" fmla="*/ 197199 w 782516"/>
                <a:gd name="connsiteY149" fmla="*/ 470089 h 761260"/>
                <a:gd name="connsiteX150" fmla="*/ 204676 w 782516"/>
                <a:gd name="connsiteY150" fmla="*/ 490093 h 761260"/>
                <a:gd name="connsiteX151" fmla="*/ 224081 w 782516"/>
                <a:gd name="connsiteY151" fmla="*/ 498932 h 761260"/>
                <a:gd name="connsiteX152" fmla="*/ 225011 w 782516"/>
                <a:gd name="connsiteY152" fmla="*/ 498932 h 761260"/>
                <a:gd name="connsiteX153" fmla="*/ 243985 w 782516"/>
                <a:gd name="connsiteY153" fmla="*/ 491455 h 761260"/>
                <a:gd name="connsiteX154" fmla="*/ 319082 w 782516"/>
                <a:gd name="connsiteY154" fmla="*/ 421177 h 761260"/>
                <a:gd name="connsiteX155" fmla="*/ 312204 w 782516"/>
                <a:gd name="connsiteY155" fmla="*/ 554955 h 761260"/>
                <a:gd name="connsiteX156" fmla="*/ 385868 w 782516"/>
                <a:gd name="connsiteY156" fmla="*/ 336881 h 761260"/>
                <a:gd name="connsiteX157" fmla="*/ 233184 w 782516"/>
                <a:gd name="connsiteY157" fmla="*/ 479697 h 761260"/>
                <a:gd name="connsiteX158" fmla="*/ 224678 w 782516"/>
                <a:gd name="connsiteY158" fmla="*/ 482920 h 761260"/>
                <a:gd name="connsiteX159" fmla="*/ 216437 w 782516"/>
                <a:gd name="connsiteY159" fmla="*/ 479165 h 761260"/>
                <a:gd name="connsiteX160" fmla="*/ 217036 w 782516"/>
                <a:gd name="connsiteY160" fmla="*/ 462418 h 761260"/>
                <a:gd name="connsiteX161" fmla="*/ 376865 w 782516"/>
                <a:gd name="connsiteY161" fmla="*/ 312889 h 761260"/>
                <a:gd name="connsiteX162" fmla="*/ 379423 w 782516"/>
                <a:gd name="connsiteY162" fmla="*/ 307008 h 761260"/>
                <a:gd name="connsiteX163" fmla="*/ 379423 w 782516"/>
                <a:gd name="connsiteY163" fmla="*/ 27990 h 761260"/>
                <a:gd name="connsiteX164" fmla="*/ 391418 w 782516"/>
                <a:gd name="connsiteY164" fmla="*/ 15994 h 761260"/>
                <a:gd name="connsiteX165" fmla="*/ 403414 w 782516"/>
                <a:gd name="connsiteY165" fmla="*/ 27990 h 761260"/>
                <a:gd name="connsiteX166" fmla="*/ 403414 w 782516"/>
                <a:gd name="connsiteY166" fmla="*/ 306909 h 761260"/>
                <a:gd name="connsiteX167" fmla="*/ 405973 w 782516"/>
                <a:gd name="connsiteY167" fmla="*/ 312790 h 761260"/>
                <a:gd name="connsiteX168" fmla="*/ 565695 w 782516"/>
                <a:gd name="connsiteY168" fmla="*/ 462348 h 761260"/>
                <a:gd name="connsiteX169" fmla="*/ 569450 w 782516"/>
                <a:gd name="connsiteY169" fmla="*/ 470588 h 761260"/>
                <a:gd name="connsiteX170" fmla="*/ 566227 w 782516"/>
                <a:gd name="connsiteY170" fmla="*/ 479095 h 761260"/>
                <a:gd name="connsiteX171" fmla="*/ 549480 w 782516"/>
                <a:gd name="connsiteY171" fmla="*/ 479693 h 761260"/>
                <a:gd name="connsiteX172" fmla="*/ 396761 w 782516"/>
                <a:gd name="connsiteY172" fmla="*/ 336877 h 761260"/>
                <a:gd name="connsiteX173" fmla="*/ 385862 w 782516"/>
                <a:gd name="connsiteY173" fmla="*/ 336877 h 761260"/>
                <a:gd name="connsiteX174" fmla="*/ 470436 w 782516"/>
                <a:gd name="connsiteY174" fmla="*/ 554958 h 761260"/>
                <a:gd name="connsiteX175" fmla="*/ 463458 w 782516"/>
                <a:gd name="connsiteY175" fmla="*/ 421081 h 761260"/>
                <a:gd name="connsiteX176" fmla="*/ 538556 w 782516"/>
                <a:gd name="connsiteY176" fmla="*/ 491359 h 761260"/>
                <a:gd name="connsiteX177" fmla="*/ 577931 w 782516"/>
                <a:gd name="connsiteY177" fmla="*/ 490096 h 761260"/>
                <a:gd name="connsiteX178" fmla="*/ 585408 w 782516"/>
                <a:gd name="connsiteY178" fmla="*/ 470093 h 761260"/>
                <a:gd name="connsiteX179" fmla="*/ 576569 w 782516"/>
                <a:gd name="connsiteY179" fmla="*/ 450687 h 761260"/>
                <a:gd name="connsiteX180" fmla="*/ 463298 w 782516"/>
                <a:gd name="connsiteY180" fmla="*/ 344690 h 761260"/>
                <a:gd name="connsiteX181" fmla="*/ 464395 w 782516"/>
                <a:gd name="connsiteY181" fmla="*/ 265906 h 761260"/>
                <a:gd name="connsiteX182" fmla="*/ 478417 w 782516"/>
                <a:gd name="connsiteY182" fmla="*/ 239457 h 761260"/>
                <a:gd name="connsiteX183" fmla="*/ 539657 w 782516"/>
                <a:gd name="connsiteY183" fmla="*/ 250356 h 761260"/>
                <a:gd name="connsiteX184" fmla="*/ 714904 w 782516"/>
                <a:gd name="connsiteY184" fmla="*/ 510064 h 761260"/>
                <a:gd name="connsiteX185" fmla="*/ 647949 w 782516"/>
                <a:gd name="connsiteY185" fmla="*/ 492021 h 761260"/>
                <a:gd name="connsiteX186" fmla="*/ 513540 w 782516"/>
                <a:gd name="connsiteY186" fmla="*/ 622510 h 761260"/>
                <a:gd name="connsiteX187" fmla="*/ 470443 w 782516"/>
                <a:gd name="connsiteY187" fmla="*/ 554957 h 761260"/>
                <a:gd name="connsiteX188" fmla="*/ 648043 w 782516"/>
                <a:gd name="connsiteY188" fmla="*/ 745361 h 761260"/>
                <a:gd name="connsiteX189" fmla="*/ 529457 w 782516"/>
                <a:gd name="connsiteY189" fmla="*/ 626773 h 761260"/>
                <a:gd name="connsiteX190" fmla="*/ 648043 w 782516"/>
                <a:gd name="connsiteY190" fmla="*/ 508187 h 761260"/>
                <a:gd name="connsiteX191" fmla="*/ 766630 w 782516"/>
                <a:gd name="connsiteY191" fmla="*/ 626773 h 761260"/>
                <a:gd name="connsiteX192" fmla="*/ 648043 w 782516"/>
                <a:gd name="connsiteY192" fmla="*/ 745361 h 761260"/>
                <a:gd name="connsiteX193" fmla="*/ 726459 w 782516"/>
                <a:gd name="connsiteY193" fmla="*/ 607301 h 761260"/>
                <a:gd name="connsiteX194" fmla="*/ 718448 w 782516"/>
                <a:gd name="connsiteY194" fmla="*/ 615309 h 761260"/>
                <a:gd name="connsiteX195" fmla="*/ 718448 w 782516"/>
                <a:gd name="connsiteY195" fmla="*/ 618698 h 761260"/>
                <a:gd name="connsiteX196" fmla="*/ 706057 w 782516"/>
                <a:gd name="connsiteY196" fmla="*/ 618698 h 761260"/>
                <a:gd name="connsiteX197" fmla="*/ 694659 w 782516"/>
                <a:gd name="connsiteY197" fmla="*/ 591318 h 761260"/>
                <a:gd name="connsiteX198" fmla="*/ 703435 w 782516"/>
                <a:gd name="connsiteY198" fmla="*/ 582546 h 761260"/>
                <a:gd name="connsiteX199" fmla="*/ 705887 w 782516"/>
                <a:gd name="connsiteY199" fmla="*/ 585005 h 761260"/>
                <a:gd name="connsiteX200" fmla="*/ 717187 w 782516"/>
                <a:gd name="connsiteY200" fmla="*/ 585005 h 761260"/>
                <a:gd name="connsiteX201" fmla="*/ 717187 w 782516"/>
                <a:gd name="connsiteY201" fmla="*/ 573707 h 761260"/>
                <a:gd name="connsiteX202" fmla="*/ 701039 w 782516"/>
                <a:gd name="connsiteY202" fmla="*/ 557558 h 761260"/>
                <a:gd name="connsiteX203" fmla="*/ 689739 w 782516"/>
                <a:gd name="connsiteY203" fmla="*/ 557558 h 761260"/>
                <a:gd name="connsiteX204" fmla="*/ 689739 w 782516"/>
                <a:gd name="connsiteY204" fmla="*/ 568856 h 761260"/>
                <a:gd name="connsiteX205" fmla="*/ 692199 w 782516"/>
                <a:gd name="connsiteY205" fmla="*/ 571248 h 761260"/>
                <a:gd name="connsiteX206" fmla="*/ 683430 w 782516"/>
                <a:gd name="connsiteY206" fmla="*/ 580021 h 761260"/>
                <a:gd name="connsiteX207" fmla="*/ 656049 w 782516"/>
                <a:gd name="connsiteY207" fmla="*/ 568623 h 761260"/>
                <a:gd name="connsiteX208" fmla="*/ 656049 w 782516"/>
                <a:gd name="connsiteY208" fmla="*/ 556196 h 761260"/>
                <a:gd name="connsiteX209" fmla="*/ 659438 w 782516"/>
                <a:gd name="connsiteY209" fmla="*/ 556196 h 761260"/>
                <a:gd name="connsiteX210" fmla="*/ 667446 w 782516"/>
                <a:gd name="connsiteY210" fmla="*/ 548188 h 761260"/>
                <a:gd name="connsiteX211" fmla="*/ 659438 w 782516"/>
                <a:gd name="connsiteY211" fmla="*/ 540180 h 761260"/>
                <a:gd name="connsiteX212" fmla="*/ 636643 w 782516"/>
                <a:gd name="connsiteY212" fmla="*/ 540180 h 761260"/>
                <a:gd name="connsiteX213" fmla="*/ 628635 w 782516"/>
                <a:gd name="connsiteY213" fmla="*/ 548188 h 761260"/>
                <a:gd name="connsiteX214" fmla="*/ 636643 w 782516"/>
                <a:gd name="connsiteY214" fmla="*/ 556196 h 761260"/>
                <a:gd name="connsiteX215" fmla="*/ 640033 w 782516"/>
                <a:gd name="connsiteY215" fmla="*/ 556196 h 761260"/>
                <a:gd name="connsiteX216" fmla="*/ 640033 w 782516"/>
                <a:gd name="connsiteY216" fmla="*/ 568623 h 761260"/>
                <a:gd name="connsiteX217" fmla="*/ 612652 w 782516"/>
                <a:gd name="connsiteY217" fmla="*/ 580021 h 761260"/>
                <a:gd name="connsiteX218" fmla="*/ 603880 w 782516"/>
                <a:gd name="connsiteY218" fmla="*/ 571248 h 761260"/>
                <a:gd name="connsiteX219" fmla="*/ 606273 w 782516"/>
                <a:gd name="connsiteY219" fmla="*/ 568789 h 761260"/>
                <a:gd name="connsiteX220" fmla="*/ 606273 w 782516"/>
                <a:gd name="connsiteY220" fmla="*/ 557491 h 761260"/>
                <a:gd name="connsiteX221" fmla="*/ 594975 w 782516"/>
                <a:gd name="connsiteY221" fmla="*/ 557491 h 761260"/>
                <a:gd name="connsiteX222" fmla="*/ 578826 w 782516"/>
                <a:gd name="connsiteY222" fmla="*/ 573640 h 761260"/>
                <a:gd name="connsiteX223" fmla="*/ 578826 w 782516"/>
                <a:gd name="connsiteY223" fmla="*/ 584938 h 761260"/>
                <a:gd name="connsiteX224" fmla="*/ 590124 w 782516"/>
                <a:gd name="connsiteY224" fmla="*/ 584938 h 761260"/>
                <a:gd name="connsiteX225" fmla="*/ 592583 w 782516"/>
                <a:gd name="connsiteY225" fmla="*/ 582480 h 761260"/>
                <a:gd name="connsiteX226" fmla="*/ 601355 w 782516"/>
                <a:gd name="connsiteY226" fmla="*/ 591252 h 761260"/>
                <a:gd name="connsiteX227" fmla="*/ 589958 w 782516"/>
                <a:gd name="connsiteY227" fmla="*/ 618632 h 761260"/>
                <a:gd name="connsiteX228" fmla="*/ 577597 w 782516"/>
                <a:gd name="connsiteY228" fmla="*/ 618599 h 761260"/>
                <a:gd name="connsiteX229" fmla="*/ 577597 w 782516"/>
                <a:gd name="connsiteY229" fmla="*/ 615210 h 761260"/>
                <a:gd name="connsiteX230" fmla="*/ 569589 w 782516"/>
                <a:gd name="connsiteY230" fmla="*/ 607202 h 761260"/>
                <a:gd name="connsiteX231" fmla="*/ 561580 w 782516"/>
                <a:gd name="connsiteY231" fmla="*/ 615210 h 761260"/>
                <a:gd name="connsiteX232" fmla="*/ 561580 w 782516"/>
                <a:gd name="connsiteY232" fmla="*/ 638004 h 761260"/>
                <a:gd name="connsiteX233" fmla="*/ 569589 w 782516"/>
                <a:gd name="connsiteY233" fmla="*/ 646012 h 761260"/>
                <a:gd name="connsiteX234" fmla="*/ 577597 w 782516"/>
                <a:gd name="connsiteY234" fmla="*/ 638004 h 761260"/>
                <a:gd name="connsiteX235" fmla="*/ 577597 w 782516"/>
                <a:gd name="connsiteY235" fmla="*/ 634614 h 761260"/>
                <a:gd name="connsiteX236" fmla="*/ 590024 w 782516"/>
                <a:gd name="connsiteY236" fmla="*/ 634614 h 761260"/>
                <a:gd name="connsiteX237" fmla="*/ 601421 w 782516"/>
                <a:gd name="connsiteY237" fmla="*/ 661994 h 761260"/>
                <a:gd name="connsiteX238" fmla="*/ 592649 w 782516"/>
                <a:gd name="connsiteY238" fmla="*/ 670767 h 761260"/>
                <a:gd name="connsiteX239" fmla="*/ 590190 w 782516"/>
                <a:gd name="connsiteY239" fmla="*/ 668307 h 761260"/>
                <a:gd name="connsiteX240" fmla="*/ 578892 w 782516"/>
                <a:gd name="connsiteY240" fmla="*/ 668307 h 761260"/>
                <a:gd name="connsiteX241" fmla="*/ 578892 w 782516"/>
                <a:gd name="connsiteY241" fmla="*/ 679606 h 761260"/>
                <a:gd name="connsiteX242" fmla="*/ 595041 w 782516"/>
                <a:gd name="connsiteY242" fmla="*/ 695754 h 761260"/>
                <a:gd name="connsiteX243" fmla="*/ 600656 w 782516"/>
                <a:gd name="connsiteY243" fmla="*/ 698044 h 761260"/>
                <a:gd name="connsiteX244" fmla="*/ 606272 w 782516"/>
                <a:gd name="connsiteY244" fmla="*/ 695655 h 761260"/>
                <a:gd name="connsiteX245" fmla="*/ 606272 w 782516"/>
                <a:gd name="connsiteY245" fmla="*/ 684356 h 761260"/>
                <a:gd name="connsiteX246" fmla="*/ 603879 w 782516"/>
                <a:gd name="connsiteY246" fmla="*/ 681967 h 761260"/>
                <a:gd name="connsiteX247" fmla="*/ 612652 w 782516"/>
                <a:gd name="connsiteY247" fmla="*/ 673191 h 761260"/>
                <a:gd name="connsiteX248" fmla="*/ 640032 w 782516"/>
                <a:gd name="connsiteY248" fmla="*/ 684590 h 761260"/>
                <a:gd name="connsiteX249" fmla="*/ 640032 w 782516"/>
                <a:gd name="connsiteY249" fmla="*/ 697016 h 761260"/>
                <a:gd name="connsiteX250" fmla="*/ 636643 w 782516"/>
                <a:gd name="connsiteY250" fmla="*/ 697016 h 761260"/>
                <a:gd name="connsiteX251" fmla="*/ 628635 w 782516"/>
                <a:gd name="connsiteY251" fmla="*/ 705026 h 761260"/>
                <a:gd name="connsiteX252" fmla="*/ 636643 w 782516"/>
                <a:gd name="connsiteY252" fmla="*/ 713037 h 761260"/>
                <a:gd name="connsiteX253" fmla="*/ 659437 w 782516"/>
                <a:gd name="connsiteY253" fmla="*/ 713037 h 761260"/>
                <a:gd name="connsiteX254" fmla="*/ 667445 w 782516"/>
                <a:gd name="connsiteY254" fmla="*/ 705026 h 761260"/>
                <a:gd name="connsiteX255" fmla="*/ 659437 w 782516"/>
                <a:gd name="connsiteY255" fmla="*/ 697016 h 761260"/>
                <a:gd name="connsiteX256" fmla="*/ 656047 w 782516"/>
                <a:gd name="connsiteY256" fmla="*/ 697016 h 761260"/>
                <a:gd name="connsiteX257" fmla="*/ 656047 w 782516"/>
                <a:gd name="connsiteY257" fmla="*/ 684590 h 761260"/>
                <a:gd name="connsiteX258" fmla="*/ 683430 w 782516"/>
                <a:gd name="connsiteY258" fmla="*/ 673191 h 761260"/>
                <a:gd name="connsiteX259" fmla="*/ 692199 w 782516"/>
                <a:gd name="connsiteY259" fmla="*/ 681967 h 761260"/>
                <a:gd name="connsiteX260" fmla="*/ 689810 w 782516"/>
                <a:gd name="connsiteY260" fmla="*/ 684356 h 761260"/>
                <a:gd name="connsiteX261" fmla="*/ 689810 w 782516"/>
                <a:gd name="connsiteY261" fmla="*/ 695655 h 761260"/>
                <a:gd name="connsiteX262" fmla="*/ 695424 w 782516"/>
                <a:gd name="connsiteY262" fmla="*/ 697945 h 761260"/>
                <a:gd name="connsiteX263" fmla="*/ 701039 w 782516"/>
                <a:gd name="connsiteY263" fmla="*/ 695655 h 761260"/>
                <a:gd name="connsiteX264" fmla="*/ 717187 w 782516"/>
                <a:gd name="connsiteY264" fmla="*/ 679507 h 761260"/>
                <a:gd name="connsiteX265" fmla="*/ 717187 w 782516"/>
                <a:gd name="connsiteY265" fmla="*/ 668208 h 761260"/>
                <a:gd name="connsiteX266" fmla="*/ 705887 w 782516"/>
                <a:gd name="connsiteY266" fmla="*/ 668208 h 761260"/>
                <a:gd name="connsiteX267" fmla="*/ 703428 w 782516"/>
                <a:gd name="connsiteY267" fmla="*/ 670667 h 761260"/>
                <a:gd name="connsiteX268" fmla="*/ 694659 w 782516"/>
                <a:gd name="connsiteY268" fmla="*/ 661895 h 761260"/>
                <a:gd name="connsiteX269" fmla="*/ 706057 w 782516"/>
                <a:gd name="connsiteY269" fmla="*/ 634515 h 761260"/>
                <a:gd name="connsiteX270" fmla="*/ 718484 w 782516"/>
                <a:gd name="connsiteY270" fmla="*/ 634515 h 761260"/>
                <a:gd name="connsiteX271" fmla="*/ 718484 w 782516"/>
                <a:gd name="connsiteY271" fmla="*/ 637904 h 761260"/>
                <a:gd name="connsiteX272" fmla="*/ 726494 w 782516"/>
                <a:gd name="connsiteY272" fmla="*/ 645912 h 761260"/>
                <a:gd name="connsiteX273" fmla="*/ 734497 w 782516"/>
                <a:gd name="connsiteY273" fmla="*/ 637904 h 761260"/>
                <a:gd name="connsiteX274" fmla="*/ 734497 w 782516"/>
                <a:gd name="connsiteY274" fmla="*/ 615110 h 761260"/>
                <a:gd name="connsiteX275" fmla="*/ 726459 w 782516"/>
                <a:gd name="connsiteY275" fmla="*/ 607301 h 761260"/>
                <a:gd name="connsiteX276" fmla="*/ 648043 w 782516"/>
                <a:gd name="connsiteY276" fmla="*/ 669306 h 761260"/>
                <a:gd name="connsiteX277" fmla="*/ 605411 w 782516"/>
                <a:gd name="connsiteY277" fmla="*/ 626673 h 761260"/>
                <a:gd name="connsiteX278" fmla="*/ 648043 w 782516"/>
                <a:gd name="connsiteY278" fmla="*/ 584041 h 761260"/>
                <a:gd name="connsiteX279" fmla="*/ 690675 w 782516"/>
                <a:gd name="connsiteY279" fmla="*/ 626673 h 761260"/>
                <a:gd name="connsiteX280" fmla="*/ 648043 w 782516"/>
                <a:gd name="connsiteY280" fmla="*/ 669306 h 761260"/>
                <a:gd name="connsiteX281" fmla="*/ 635018 w 782516"/>
                <a:gd name="connsiteY281" fmla="*/ 626607 h 761260"/>
                <a:gd name="connsiteX282" fmla="*/ 622158 w 782516"/>
                <a:gd name="connsiteY282" fmla="*/ 613747 h 761260"/>
                <a:gd name="connsiteX283" fmla="*/ 635018 w 782516"/>
                <a:gd name="connsiteY283" fmla="*/ 600888 h 761260"/>
                <a:gd name="connsiteX284" fmla="*/ 647878 w 782516"/>
                <a:gd name="connsiteY284" fmla="*/ 613747 h 761260"/>
                <a:gd name="connsiteX285" fmla="*/ 635018 w 782516"/>
                <a:gd name="connsiteY285" fmla="*/ 626607 h 761260"/>
                <a:gd name="connsiteX286" fmla="*/ 653393 w 782516"/>
                <a:gd name="connsiteY286" fmla="*/ 643520 h 761260"/>
                <a:gd name="connsiteX287" fmla="*/ 644455 w 782516"/>
                <a:gd name="connsiteY287" fmla="*/ 652458 h 761260"/>
                <a:gd name="connsiteX288" fmla="*/ 635517 w 782516"/>
                <a:gd name="connsiteY288" fmla="*/ 643520 h 761260"/>
                <a:gd name="connsiteX289" fmla="*/ 644455 w 782516"/>
                <a:gd name="connsiteY289" fmla="*/ 634582 h 761260"/>
                <a:gd name="connsiteX290" fmla="*/ 653393 w 782516"/>
                <a:gd name="connsiteY290" fmla="*/ 643520 h 761260"/>
                <a:gd name="connsiteX291" fmla="*/ 673829 w 782516"/>
                <a:gd name="connsiteY291" fmla="*/ 624979 h 761260"/>
                <a:gd name="connsiteX292" fmla="*/ 663794 w 782516"/>
                <a:gd name="connsiteY292" fmla="*/ 635013 h 761260"/>
                <a:gd name="connsiteX293" fmla="*/ 653759 w 782516"/>
                <a:gd name="connsiteY293" fmla="*/ 624979 h 761260"/>
                <a:gd name="connsiteX294" fmla="*/ 663794 w 782516"/>
                <a:gd name="connsiteY294" fmla="*/ 614944 h 761260"/>
                <a:gd name="connsiteX295" fmla="*/ 673829 w 782516"/>
                <a:gd name="connsiteY295" fmla="*/ 624979 h 761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Lst>
              <a:rect l="l" t="t" r="r" b="b"/>
              <a:pathLst>
                <a:path w="782516" h="761260">
                  <a:moveTo>
                    <a:pt x="153989" y="357935"/>
                  </a:moveTo>
                  <a:cubicBezTo>
                    <a:pt x="153989" y="353516"/>
                    <a:pt x="150401" y="349927"/>
                    <a:pt x="145981" y="349927"/>
                  </a:cubicBezTo>
                  <a:lnTo>
                    <a:pt x="142592" y="349927"/>
                  </a:lnTo>
                  <a:lnTo>
                    <a:pt x="142592" y="337500"/>
                  </a:lnTo>
                  <a:cubicBezTo>
                    <a:pt x="152794" y="336137"/>
                    <a:pt x="162163" y="332050"/>
                    <a:pt x="169972" y="326103"/>
                  </a:cubicBezTo>
                  <a:lnTo>
                    <a:pt x="178745" y="334875"/>
                  </a:lnTo>
                  <a:lnTo>
                    <a:pt x="176352" y="337334"/>
                  </a:lnTo>
                  <a:cubicBezTo>
                    <a:pt x="173196" y="340491"/>
                    <a:pt x="173196" y="345508"/>
                    <a:pt x="176352" y="348632"/>
                  </a:cubicBezTo>
                  <a:cubicBezTo>
                    <a:pt x="177880" y="350160"/>
                    <a:pt x="179940" y="350924"/>
                    <a:pt x="181968" y="350924"/>
                  </a:cubicBezTo>
                  <a:cubicBezTo>
                    <a:pt x="183994" y="350924"/>
                    <a:pt x="186054" y="350160"/>
                    <a:pt x="187583" y="348532"/>
                  </a:cubicBezTo>
                  <a:lnTo>
                    <a:pt x="203732" y="332383"/>
                  </a:lnTo>
                  <a:cubicBezTo>
                    <a:pt x="206889" y="329227"/>
                    <a:pt x="206889" y="324209"/>
                    <a:pt x="203732" y="321085"/>
                  </a:cubicBezTo>
                  <a:cubicBezTo>
                    <a:pt x="200576" y="317929"/>
                    <a:pt x="195558" y="317929"/>
                    <a:pt x="192434" y="321085"/>
                  </a:cubicBezTo>
                  <a:lnTo>
                    <a:pt x="189975" y="323478"/>
                  </a:lnTo>
                  <a:lnTo>
                    <a:pt x="181203" y="314705"/>
                  </a:lnTo>
                  <a:cubicBezTo>
                    <a:pt x="187150" y="306864"/>
                    <a:pt x="191171" y="297527"/>
                    <a:pt x="192600" y="287325"/>
                  </a:cubicBezTo>
                  <a:lnTo>
                    <a:pt x="205027" y="287325"/>
                  </a:lnTo>
                  <a:lnTo>
                    <a:pt x="205027" y="290714"/>
                  </a:lnTo>
                  <a:cubicBezTo>
                    <a:pt x="205027" y="295134"/>
                    <a:pt x="208616" y="298723"/>
                    <a:pt x="213035" y="298723"/>
                  </a:cubicBezTo>
                  <a:cubicBezTo>
                    <a:pt x="217455" y="298723"/>
                    <a:pt x="221044" y="295134"/>
                    <a:pt x="221044" y="290714"/>
                  </a:cubicBezTo>
                  <a:lnTo>
                    <a:pt x="221044" y="267920"/>
                  </a:lnTo>
                  <a:cubicBezTo>
                    <a:pt x="221044" y="263501"/>
                    <a:pt x="217455" y="259912"/>
                    <a:pt x="213035" y="259912"/>
                  </a:cubicBezTo>
                  <a:cubicBezTo>
                    <a:pt x="208616" y="259912"/>
                    <a:pt x="205027" y="263501"/>
                    <a:pt x="205027" y="267920"/>
                  </a:cubicBezTo>
                  <a:lnTo>
                    <a:pt x="205027" y="271310"/>
                  </a:lnTo>
                  <a:lnTo>
                    <a:pt x="192600" y="271310"/>
                  </a:lnTo>
                  <a:cubicBezTo>
                    <a:pt x="191238" y="261109"/>
                    <a:pt x="187150" y="251739"/>
                    <a:pt x="181203" y="243930"/>
                  </a:cubicBezTo>
                  <a:lnTo>
                    <a:pt x="189975" y="235157"/>
                  </a:lnTo>
                  <a:lnTo>
                    <a:pt x="192434" y="237616"/>
                  </a:lnTo>
                  <a:cubicBezTo>
                    <a:pt x="195591" y="240772"/>
                    <a:pt x="200608" y="240772"/>
                    <a:pt x="203732" y="237616"/>
                  </a:cubicBezTo>
                  <a:cubicBezTo>
                    <a:pt x="206889" y="234459"/>
                    <a:pt x="206889" y="229442"/>
                    <a:pt x="203732" y="226318"/>
                  </a:cubicBezTo>
                  <a:lnTo>
                    <a:pt x="187583" y="210169"/>
                  </a:lnTo>
                  <a:cubicBezTo>
                    <a:pt x="184427" y="207013"/>
                    <a:pt x="179409" y="207013"/>
                    <a:pt x="176285" y="210169"/>
                  </a:cubicBezTo>
                  <a:cubicBezTo>
                    <a:pt x="173129" y="213326"/>
                    <a:pt x="173129" y="218343"/>
                    <a:pt x="176285" y="221467"/>
                  </a:cubicBezTo>
                  <a:lnTo>
                    <a:pt x="178678" y="223860"/>
                  </a:lnTo>
                  <a:lnTo>
                    <a:pt x="169906" y="232632"/>
                  </a:lnTo>
                  <a:cubicBezTo>
                    <a:pt x="162064" y="226684"/>
                    <a:pt x="152727" y="222664"/>
                    <a:pt x="142526" y="221235"/>
                  </a:cubicBezTo>
                  <a:lnTo>
                    <a:pt x="142526" y="208807"/>
                  </a:lnTo>
                  <a:lnTo>
                    <a:pt x="145915" y="208807"/>
                  </a:lnTo>
                  <a:cubicBezTo>
                    <a:pt x="150334" y="208807"/>
                    <a:pt x="153923" y="205219"/>
                    <a:pt x="153923" y="200799"/>
                  </a:cubicBezTo>
                  <a:cubicBezTo>
                    <a:pt x="153923" y="196380"/>
                    <a:pt x="150334" y="192791"/>
                    <a:pt x="145915" y="192791"/>
                  </a:cubicBezTo>
                  <a:lnTo>
                    <a:pt x="123120" y="192791"/>
                  </a:lnTo>
                  <a:cubicBezTo>
                    <a:pt x="118700" y="192791"/>
                    <a:pt x="115112" y="196380"/>
                    <a:pt x="115112" y="200799"/>
                  </a:cubicBezTo>
                  <a:cubicBezTo>
                    <a:pt x="115112" y="205219"/>
                    <a:pt x="118700" y="208807"/>
                    <a:pt x="123120" y="208807"/>
                  </a:cubicBezTo>
                  <a:lnTo>
                    <a:pt x="126509" y="208807"/>
                  </a:lnTo>
                  <a:lnTo>
                    <a:pt x="126509" y="221235"/>
                  </a:lnTo>
                  <a:cubicBezTo>
                    <a:pt x="116308" y="222597"/>
                    <a:pt x="106938" y="226684"/>
                    <a:pt x="99129" y="232632"/>
                  </a:cubicBezTo>
                  <a:lnTo>
                    <a:pt x="90357" y="223860"/>
                  </a:lnTo>
                  <a:lnTo>
                    <a:pt x="92749" y="221401"/>
                  </a:lnTo>
                  <a:cubicBezTo>
                    <a:pt x="95906" y="218245"/>
                    <a:pt x="95906" y="213227"/>
                    <a:pt x="92749" y="210103"/>
                  </a:cubicBezTo>
                  <a:cubicBezTo>
                    <a:pt x="89593" y="206946"/>
                    <a:pt x="84575" y="206946"/>
                    <a:pt x="81451" y="210103"/>
                  </a:cubicBezTo>
                  <a:lnTo>
                    <a:pt x="65303" y="226252"/>
                  </a:lnTo>
                  <a:cubicBezTo>
                    <a:pt x="62146" y="229409"/>
                    <a:pt x="62146" y="234426"/>
                    <a:pt x="65303" y="237550"/>
                  </a:cubicBezTo>
                  <a:cubicBezTo>
                    <a:pt x="68459" y="240707"/>
                    <a:pt x="73477" y="240707"/>
                    <a:pt x="76601" y="237550"/>
                  </a:cubicBezTo>
                  <a:lnTo>
                    <a:pt x="79060" y="235091"/>
                  </a:lnTo>
                  <a:lnTo>
                    <a:pt x="87832" y="243863"/>
                  </a:lnTo>
                  <a:cubicBezTo>
                    <a:pt x="81884" y="251705"/>
                    <a:pt x="77864" y="261042"/>
                    <a:pt x="76435" y="271243"/>
                  </a:cubicBezTo>
                  <a:lnTo>
                    <a:pt x="64008" y="271243"/>
                  </a:lnTo>
                  <a:lnTo>
                    <a:pt x="64008" y="267854"/>
                  </a:lnTo>
                  <a:cubicBezTo>
                    <a:pt x="64008" y="263434"/>
                    <a:pt x="60419" y="259846"/>
                    <a:pt x="55999" y="259846"/>
                  </a:cubicBezTo>
                  <a:cubicBezTo>
                    <a:pt x="51580" y="259846"/>
                    <a:pt x="47991" y="263434"/>
                    <a:pt x="47991" y="267854"/>
                  </a:cubicBezTo>
                  <a:lnTo>
                    <a:pt x="47991" y="290649"/>
                  </a:lnTo>
                  <a:cubicBezTo>
                    <a:pt x="47991" y="295068"/>
                    <a:pt x="51580" y="298657"/>
                    <a:pt x="55999" y="298657"/>
                  </a:cubicBezTo>
                  <a:cubicBezTo>
                    <a:pt x="60419" y="298657"/>
                    <a:pt x="64008" y="295068"/>
                    <a:pt x="64008" y="290649"/>
                  </a:cubicBezTo>
                  <a:lnTo>
                    <a:pt x="64008" y="287259"/>
                  </a:lnTo>
                  <a:lnTo>
                    <a:pt x="76568" y="287259"/>
                  </a:lnTo>
                  <a:cubicBezTo>
                    <a:pt x="77930" y="297460"/>
                    <a:pt x="82017" y="306830"/>
                    <a:pt x="87965" y="314639"/>
                  </a:cubicBezTo>
                  <a:lnTo>
                    <a:pt x="79126" y="323677"/>
                  </a:lnTo>
                  <a:lnTo>
                    <a:pt x="76667" y="321284"/>
                  </a:lnTo>
                  <a:cubicBezTo>
                    <a:pt x="73511" y="318128"/>
                    <a:pt x="68493" y="318128"/>
                    <a:pt x="65369" y="321284"/>
                  </a:cubicBezTo>
                  <a:cubicBezTo>
                    <a:pt x="62213" y="324441"/>
                    <a:pt x="62213" y="329458"/>
                    <a:pt x="65369" y="332582"/>
                  </a:cubicBezTo>
                  <a:lnTo>
                    <a:pt x="81518" y="348731"/>
                  </a:lnTo>
                  <a:cubicBezTo>
                    <a:pt x="83046" y="350260"/>
                    <a:pt x="85107" y="351024"/>
                    <a:pt x="87134" y="351024"/>
                  </a:cubicBezTo>
                  <a:cubicBezTo>
                    <a:pt x="89160" y="351024"/>
                    <a:pt x="91221" y="350260"/>
                    <a:pt x="92749" y="348632"/>
                  </a:cubicBezTo>
                  <a:cubicBezTo>
                    <a:pt x="95906" y="345475"/>
                    <a:pt x="95906" y="340458"/>
                    <a:pt x="92749" y="337334"/>
                  </a:cubicBezTo>
                  <a:lnTo>
                    <a:pt x="90290" y="334942"/>
                  </a:lnTo>
                  <a:lnTo>
                    <a:pt x="99063" y="326169"/>
                  </a:lnTo>
                  <a:cubicBezTo>
                    <a:pt x="106904" y="332117"/>
                    <a:pt x="116241" y="336137"/>
                    <a:pt x="126443" y="337567"/>
                  </a:cubicBezTo>
                  <a:lnTo>
                    <a:pt x="126443" y="349994"/>
                  </a:lnTo>
                  <a:lnTo>
                    <a:pt x="123054" y="349994"/>
                  </a:lnTo>
                  <a:cubicBezTo>
                    <a:pt x="118634" y="349994"/>
                    <a:pt x="115045" y="353582"/>
                    <a:pt x="115045" y="358002"/>
                  </a:cubicBezTo>
                  <a:cubicBezTo>
                    <a:pt x="115045" y="362421"/>
                    <a:pt x="118634" y="366010"/>
                    <a:pt x="123054" y="366010"/>
                  </a:cubicBezTo>
                  <a:lnTo>
                    <a:pt x="145848" y="366010"/>
                  </a:lnTo>
                  <a:cubicBezTo>
                    <a:pt x="150400" y="365877"/>
                    <a:pt x="153989" y="362288"/>
                    <a:pt x="153989" y="357935"/>
                  </a:cubicBezTo>
                  <a:close/>
                  <a:moveTo>
                    <a:pt x="91952" y="279520"/>
                  </a:moveTo>
                  <a:cubicBezTo>
                    <a:pt x="91952" y="256027"/>
                    <a:pt x="111091" y="236888"/>
                    <a:pt x="134584" y="236888"/>
                  </a:cubicBezTo>
                  <a:cubicBezTo>
                    <a:pt x="158077" y="236888"/>
                    <a:pt x="177216" y="256027"/>
                    <a:pt x="177216" y="279520"/>
                  </a:cubicBezTo>
                  <a:cubicBezTo>
                    <a:pt x="177216" y="303013"/>
                    <a:pt x="158077" y="322152"/>
                    <a:pt x="134584" y="322152"/>
                  </a:cubicBezTo>
                  <a:cubicBezTo>
                    <a:pt x="111091" y="322152"/>
                    <a:pt x="91952" y="303013"/>
                    <a:pt x="91952" y="279520"/>
                  </a:cubicBezTo>
                  <a:close/>
                  <a:moveTo>
                    <a:pt x="121658" y="279453"/>
                  </a:moveTo>
                  <a:cubicBezTo>
                    <a:pt x="114614" y="279453"/>
                    <a:pt x="108798" y="273672"/>
                    <a:pt x="108798" y="266594"/>
                  </a:cubicBezTo>
                  <a:cubicBezTo>
                    <a:pt x="108798" y="259550"/>
                    <a:pt x="114580" y="253734"/>
                    <a:pt x="121658" y="253734"/>
                  </a:cubicBezTo>
                  <a:cubicBezTo>
                    <a:pt x="128703" y="253734"/>
                    <a:pt x="134517" y="259516"/>
                    <a:pt x="134517" y="266594"/>
                  </a:cubicBezTo>
                  <a:cubicBezTo>
                    <a:pt x="134484" y="273672"/>
                    <a:pt x="128703" y="279453"/>
                    <a:pt x="121658" y="279453"/>
                  </a:cubicBezTo>
                  <a:close/>
                  <a:moveTo>
                    <a:pt x="131094" y="305305"/>
                  </a:moveTo>
                  <a:cubicBezTo>
                    <a:pt x="126176" y="305305"/>
                    <a:pt x="122156" y="301318"/>
                    <a:pt x="122156" y="296367"/>
                  </a:cubicBezTo>
                  <a:cubicBezTo>
                    <a:pt x="122156" y="291450"/>
                    <a:pt x="126144" y="287429"/>
                    <a:pt x="131094" y="287429"/>
                  </a:cubicBezTo>
                  <a:cubicBezTo>
                    <a:pt x="136012" y="287429"/>
                    <a:pt x="140032" y="291416"/>
                    <a:pt x="140032" y="296367"/>
                  </a:cubicBezTo>
                  <a:cubicBezTo>
                    <a:pt x="140032" y="301318"/>
                    <a:pt x="136012" y="305305"/>
                    <a:pt x="131094" y="305305"/>
                  </a:cubicBezTo>
                  <a:close/>
                  <a:moveTo>
                    <a:pt x="140365" y="277825"/>
                  </a:moveTo>
                  <a:cubicBezTo>
                    <a:pt x="140365" y="272309"/>
                    <a:pt x="144884" y="267790"/>
                    <a:pt x="150400" y="267790"/>
                  </a:cubicBezTo>
                  <a:cubicBezTo>
                    <a:pt x="155915" y="267790"/>
                    <a:pt x="160434" y="272309"/>
                    <a:pt x="160434" y="277825"/>
                  </a:cubicBezTo>
                  <a:cubicBezTo>
                    <a:pt x="160434" y="283341"/>
                    <a:pt x="155915" y="287860"/>
                    <a:pt x="150400" y="287860"/>
                  </a:cubicBezTo>
                  <a:cubicBezTo>
                    <a:pt x="144884" y="287860"/>
                    <a:pt x="140365" y="283341"/>
                    <a:pt x="140365" y="277825"/>
                  </a:cubicBezTo>
                  <a:close/>
                  <a:moveTo>
                    <a:pt x="733951" y="523250"/>
                  </a:moveTo>
                  <a:cubicBezTo>
                    <a:pt x="712785" y="409774"/>
                    <a:pt x="642075" y="300388"/>
                    <a:pt x="548603" y="237186"/>
                  </a:cubicBezTo>
                  <a:cubicBezTo>
                    <a:pt x="522586" y="219574"/>
                    <a:pt x="491451" y="214823"/>
                    <a:pt x="471117" y="225290"/>
                  </a:cubicBezTo>
                  <a:cubicBezTo>
                    <a:pt x="461082" y="230474"/>
                    <a:pt x="448986" y="241705"/>
                    <a:pt x="448389" y="265596"/>
                  </a:cubicBezTo>
                  <a:cubicBezTo>
                    <a:pt x="448123" y="278023"/>
                    <a:pt x="447625" y="301250"/>
                    <a:pt x="447359" y="329892"/>
                  </a:cubicBezTo>
                  <a:lnTo>
                    <a:pt x="419215" y="303509"/>
                  </a:lnTo>
                  <a:lnTo>
                    <a:pt x="419215" y="27978"/>
                  </a:lnTo>
                  <a:cubicBezTo>
                    <a:pt x="419215" y="12594"/>
                    <a:pt x="406721" y="0"/>
                    <a:pt x="391236" y="0"/>
                  </a:cubicBezTo>
                  <a:cubicBezTo>
                    <a:pt x="375752" y="0"/>
                    <a:pt x="363258" y="12494"/>
                    <a:pt x="363258" y="27978"/>
                  </a:cubicBezTo>
                  <a:lnTo>
                    <a:pt x="363258" y="303509"/>
                  </a:lnTo>
                  <a:lnTo>
                    <a:pt x="335114" y="329892"/>
                  </a:lnTo>
                  <a:cubicBezTo>
                    <a:pt x="334848" y="301150"/>
                    <a:pt x="334349" y="277990"/>
                    <a:pt x="334084" y="265596"/>
                  </a:cubicBezTo>
                  <a:cubicBezTo>
                    <a:pt x="333585" y="243665"/>
                    <a:pt x="323185" y="232500"/>
                    <a:pt x="314512" y="227051"/>
                  </a:cubicBezTo>
                  <a:cubicBezTo>
                    <a:pt x="300058" y="217946"/>
                    <a:pt x="279124" y="217348"/>
                    <a:pt x="257526" y="225190"/>
                  </a:cubicBezTo>
                  <a:cubicBezTo>
                    <a:pt x="236592" y="177973"/>
                    <a:pt x="189374" y="144875"/>
                    <a:pt x="134444" y="144875"/>
                  </a:cubicBezTo>
                  <a:cubicBezTo>
                    <a:pt x="60410" y="144942"/>
                    <a:pt x="0" y="205251"/>
                    <a:pt x="0" y="279518"/>
                  </a:cubicBezTo>
                  <a:cubicBezTo>
                    <a:pt x="0" y="337601"/>
                    <a:pt x="37083" y="387110"/>
                    <a:pt x="88722" y="405916"/>
                  </a:cubicBezTo>
                  <a:cubicBezTo>
                    <a:pt x="53832" y="475231"/>
                    <a:pt x="37684" y="549661"/>
                    <a:pt x="43299" y="616550"/>
                  </a:cubicBezTo>
                  <a:cubicBezTo>
                    <a:pt x="47553" y="667322"/>
                    <a:pt x="73570" y="693110"/>
                    <a:pt x="120722" y="693110"/>
                  </a:cubicBezTo>
                  <a:lnTo>
                    <a:pt x="123613" y="693110"/>
                  </a:lnTo>
                  <a:cubicBezTo>
                    <a:pt x="164617" y="692174"/>
                    <a:pt x="212264" y="677891"/>
                    <a:pt x="251039" y="654729"/>
                  </a:cubicBezTo>
                  <a:cubicBezTo>
                    <a:pt x="295432" y="628180"/>
                    <a:pt x="322848" y="593656"/>
                    <a:pt x="328094" y="557408"/>
                  </a:cubicBezTo>
                  <a:cubicBezTo>
                    <a:pt x="332447" y="527802"/>
                    <a:pt x="334806" y="476930"/>
                    <a:pt x="335337" y="406157"/>
                  </a:cubicBezTo>
                  <a:lnTo>
                    <a:pt x="391294" y="353623"/>
                  </a:lnTo>
                  <a:lnTo>
                    <a:pt x="447251" y="406024"/>
                  </a:lnTo>
                  <a:cubicBezTo>
                    <a:pt x="447749" y="476801"/>
                    <a:pt x="450242" y="527673"/>
                    <a:pt x="454495" y="557276"/>
                  </a:cubicBezTo>
                  <a:cubicBezTo>
                    <a:pt x="459081" y="588743"/>
                    <a:pt x="479848" y="618349"/>
                    <a:pt x="514472" y="643368"/>
                  </a:cubicBezTo>
                  <a:cubicBezTo>
                    <a:pt x="522712" y="709726"/>
                    <a:pt x="579367" y="761261"/>
                    <a:pt x="647945" y="761261"/>
                  </a:cubicBezTo>
                  <a:cubicBezTo>
                    <a:pt x="722106" y="761261"/>
                    <a:pt x="782516" y="700851"/>
                    <a:pt x="782516" y="626688"/>
                  </a:cubicBezTo>
                  <a:cubicBezTo>
                    <a:pt x="782580" y="585153"/>
                    <a:pt x="763611" y="547905"/>
                    <a:pt x="733937" y="523250"/>
                  </a:cubicBezTo>
                  <a:close/>
                  <a:moveTo>
                    <a:pt x="16008" y="279526"/>
                  </a:moveTo>
                  <a:cubicBezTo>
                    <a:pt x="16008" y="214100"/>
                    <a:pt x="69273" y="160940"/>
                    <a:pt x="134595" y="160940"/>
                  </a:cubicBezTo>
                  <a:cubicBezTo>
                    <a:pt x="199921" y="160940"/>
                    <a:pt x="253182" y="214205"/>
                    <a:pt x="253182" y="279526"/>
                  </a:cubicBezTo>
                  <a:cubicBezTo>
                    <a:pt x="253182" y="344953"/>
                    <a:pt x="199916" y="398113"/>
                    <a:pt x="134595" y="398113"/>
                  </a:cubicBezTo>
                  <a:cubicBezTo>
                    <a:pt x="69268" y="398113"/>
                    <a:pt x="16008" y="344948"/>
                    <a:pt x="16008" y="279526"/>
                  </a:cubicBezTo>
                  <a:close/>
                  <a:moveTo>
                    <a:pt x="312202" y="554958"/>
                  </a:moveTo>
                  <a:cubicBezTo>
                    <a:pt x="302499" y="621548"/>
                    <a:pt x="202646" y="675310"/>
                    <a:pt x="123196" y="677040"/>
                  </a:cubicBezTo>
                  <a:cubicBezTo>
                    <a:pt x="82625" y="677905"/>
                    <a:pt x="62787" y="658830"/>
                    <a:pt x="59232" y="615202"/>
                  </a:cubicBezTo>
                  <a:cubicBezTo>
                    <a:pt x="53782" y="550374"/>
                    <a:pt x="69865" y="477901"/>
                    <a:pt x="104322" y="410544"/>
                  </a:cubicBezTo>
                  <a:cubicBezTo>
                    <a:pt x="114091" y="412837"/>
                    <a:pt x="124226" y="414133"/>
                    <a:pt x="134593" y="414133"/>
                  </a:cubicBezTo>
                  <a:cubicBezTo>
                    <a:pt x="208755" y="414133"/>
                    <a:pt x="269165" y="353724"/>
                    <a:pt x="269165" y="279561"/>
                  </a:cubicBezTo>
                  <a:cubicBezTo>
                    <a:pt x="269165" y="265871"/>
                    <a:pt x="267039" y="252580"/>
                    <a:pt x="263284" y="240186"/>
                  </a:cubicBezTo>
                  <a:cubicBezTo>
                    <a:pt x="280031" y="234237"/>
                    <a:pt x="295947" y="234304"/>
                    <a:pt x="306082" y="240684"/>
                  </a:cubicBezTo>
                  <a:cubicBezTo>
                    <a:pt x="313824" y="245601"/>
                    <a:pt x="317911" y="254108"/>
                    <a:pt x="318176" y="266037"/>
                  </a:cubicBezTo>
                  <a:cubicBezTo>
                    <a:pt x="318509" y="280425"/>
                    <a:pt x="319107" y="309434"/>
                    <a:pt x="319273" y="344821"/>
                  </a:cubicBezTo>
                  <a:lnTo>
                    <a:pt x="206038" y="450684"/>
                  </a:lnTo>
                  <a:cubicBezTo>
                    <a:pt x="200588" y="455801"/>
                    <a:pt x="197432" y="462679"/>
                    <a:pt x="197199" y="470089"/>
                  </a:cubicBezTo>
                  <a:cubicBezTo>
                    <a:pt x="196933" y="477499"/>
                    <a:pt x="199592" y="484643"/>
                    <a:pt x="204676" y="490093"/>
                  </a:cubicBezTo>
                  <a:cubicBezTo>
                    <a:pt x="209793" y="495542"/>
                    <a:pt x="216671" y="498699"/>
                    <a:pt x="224081" y="498932"/>
                  </a:cubicBezTo>
                  <a:lnTo>
                    <a:pt x="225011" y="498932"/>
                  </a:lnTo>
                  <a:cubicBezTo>
                    <a:pt x="232056" y="498932"/>
                    <a:pt x="238801" y="496307"/>
                    <a:pt x="243985" y="491455"/>
                  </a:cubicBezTo>
                  <a:lnTo>
                    <a:pt x="319082" y="421177"/>
                  </a:lnTo>
                  <a:cubicBezTo>
                    <a:pt x="318418" y="483247"/>
                    <a:pt x="316126" y="528273"/>
                    <a:pt x="312204" y="554955"/>
                  </a:cubicBezTo>
                  <a:close/>
                  <a:moveTo>
                    <a:pt x="385868" y="336881"/>
                  </a:moveTo>
                  <a:lnTo>
                    <a:pt x="233184" y="479697"/>
                  </a:lnTo>
                  <a:cubicBezTo>
                    <a:pt x="230892" y="481824"/>
                    <a:pt x="227735" y="483020"/>
                    <a:pt x="224678" y="482920"/>
                  </a:cubicBezTo>
                  <a:cubicBezTo>
                    <a:pt x="221521" y="482821"/>
                    <a:pt x="218564" y="481459"/>
                    <a:pt x="216437" y="479165"/>
                  </a:cubicBezTo>
                  <a:cubicBezTo>
                    <a:pt x="211918" y="474414"/>
                    <a:pt x="212184" y="466837"/>
                    <a:pt x="217036" y="462418"/>
                  </a:cubicBezTo>
                  <a:lnTo>
                    <a:pt x="376865" y="312889"/>
                  </a:lnTo>
                  <a:cubicBezTo>
                    <a:pt x="378493" y="311361"/>
                    <a:pt x="379423" y="309234"/>
                    <a:pt x="379423" y="307008"/>
                  </a:cubicBezTo>
                  <a:lnTo>
                    <a:pt x="379423" y="27990"/>
                  </a:lnTo>
                  <a:cubicBezTo>
                    <a:pt x="379423" y="21344"/>
                    <a:pt x="384773" y="15994"/>
                    <a:pt x="391418" y="15994"/>
                  </a:cubicBezTo>
                  <a:cubicBezTo>
                    <a:pt x="398064" y="15994"/>
                    <a:pt x="403414" y="21344"/>
                    <a:pt x="403414" y="27990"/>
                  </a:cubicBezTo>
                  <a:lnTo>
                    <a:pt x="403414" y="306909"/>
                  </a:lnTo>
                  <a:cubicBezTo>
                    <a:pt x="403414" y="309135"/>
                    <a:pt x="404345" y="311262"/>
                    <a:pt x="405973" y="312790"/>
                  </a:cubicBezTo>
                  <a:lnTo>
                    <a:pt x="565695" y="462348"/>
                  </a:lnTo>
                  <a:cubicBezTo>
                    <a:pt x="567988" y="464474"/>
                    <a:pt x="569350" y="467465"/>
                    <a:pt x="569450" y="470588"/>
                  </a:cubicBezTo>
                  <a:cubicBezTo>
                    <a:pt x="569550" y="473745"/>
                    <a:pt x="568420" y="476802"/>
                    <a:pt x="566227" y="479095"/>
                  </a:cubicBezTo>
                  <a:cubicBezTo>
                    <a:pt x="561708" y="483846"/>
                    <a:pt x="554232" y="484112"/>
                    <a:pt x="549480" y="479693"/>
                  </a:cubicBezTo>
                  <a:lnTo>
                    <a:pt x="396761" y="336877"/>
                  </a:lnTo>
                  <a:cubicBezTo>
                    <a:pt x="393704" y="333986"/>
                    <a:pt x="388920" y="333986"/>
                    <a:pt x="385862" y="336877"/>
                  </a:cubicBezTo>
                  <a:close/>
                  <a:moveTo>
                    <a:pt x="470436" y="554958"/>
                  </a:moveTo>
                  <a:cubicBezTo>
                    <a:pt x="466515" y="528242"/>
                    <a:pt x="464222" y="483149"/>
                    <a:pt x="463458" y="421081"/>
                  </a:cubicBezTo>
                  <a:lnTo>
                    <a:pt x="538556" y="491359"/>
                  </a:lnTo>
                  <a:cubicBezTo>
                    <a:pt x="549787" y="501826"/>
                    <a:pt x="567398" y="501228"/>
                    <a:pt x="577931" y="490096"/>
                  </a:cubicBezTo>
                  <a:cubicBezTo>
                    <a:pt x="583049" y="484647"/>
                    <a:pt x="585674" y="477602"/>
                    <a:pt x="585408" y="470093"/>
                  </a:cubicBezTo>
                  <a:cubicBezTo>
                    <a:pt x="585142" y="462683"/>
                    <a:pt x="582019" y="455805"/>
                    <a:pt x="576569" y="450687"/>
                  </a:cubicBezTo>
                  <a:lnTo>
                    <a:pt x="463298" y="344690"/>
                  </a:lnTo>
                  <a:cubicBezTo>
                    <a:pt x="463564" y="309402"/>
                    <a:pt x="464163" y="280293"/>
                    <a:pt x="464395" y="265906"/>
                  </a:cubicBezTo>
                  <a:cubicBezTo>
                    <a:pt x="464661" y="252981"/>
                    <a:pt x="469412" y="244142"/>
                    <a:pt x="478417" y="239457"/>
                  </a:cubicBezTo>
                  <a:cubicBezTo>
                    <a:pt x="493469" y="231715"/>
                    <a:pt x="518657" y="236134"/>
                    <a:pt x="539657" y="250356"/>
                  </a:cubicBezTo>
                  <a:cubicBezTo>
                    <a:pt x="625225" y="308272"/>
                    <a:pt x="691150" y="406463"/>
                    <a:pt x="714904" y="510064"/>
                  </a:cubicBezTo>
                  <a:cubicBezTo>
                    <a:pt x="695169" y="498667"/>
                    <a:pt x="672372" y="492021"/>
                    <a:pt x="647949" y="492021"/>
                  </a:cubicBezTo>
                  <a:cubicBezTo>
                    <a:pt x="575148" y="492021"/>
                    <a:pt x="515766" y="550204"/>
                    <a:pt x="513540" y="622510"/>
                  </a:cubicBezTo>
                  <a:cubicBezTo>
                    <a:pt x="494168" y="606527"/>
                    <a:pt x="474596" y="583733"/>
                    <a:pt x="470443" y="554957"/>
                  </a:cubicBezTo>
                  <a:close/>
                  <a:moveTo>
                    <a:pt x="648043" y="745361"/>
                  </a:moveTo>
                  <a:cubicBezTo>
                    <a:pt x="582617" y="745361"/>
                    <a:pt x="529457" y="692097"/>
                    <a:pt x="529457" y="626773"/>
                  </a:cubicBezTo>
                  <a:cubicBezTo>
                    <a:pt x="529457" y="561347"/>
                    <a:pt x="582722" y="508187"/>
                    <a:pt x="648043" y="508187"/>
                  </a:cubicBezTo>
                  <a:cubicBezTo>
                    <a:pt x="713373" y="508187"/>
                    <a:pt x="766630" y="561452"/>
                    <a:pt x="766630" y="626773"/>
                  </a:cubicBezTo>
                  <a:cubicBezTo>
                    <a:pt x="766630" y="692104"/>
                    <a:pt x="713465" y="745361"/>
                    <a:pt x="648043" y="745361"/>
                  </a:cubicBezTo>
                  <a:close/>
                  <a:moveTo>
                    <a:pt x="726459" y="607301"/>
                  </a:moveTo>
                  <a:cubicBezTo>
                    <a:pt x="722042" y="607301"/>
                    <a:pt x="718448" y="610890"/>
                    <a:pt x="718448" y="615309"/>
                  </a:cubicBezTo>
                  <a:lnTo>
                    <a:pt x="718448" y="618698"/>
                  </a:lnTo>
                  <a:lnTo>
                    <a:pt x="706057" y="618698"/>
                  </a:lnTo>
                  <a:cubicBezTo>
                    <a:pt x="704696" y="608497"/>
                    <a:pt x="700606" y="599127"/>
                    <a:pt x="694659" y="591318"/>
                  </a:cubicBezTo>
                  <a:lnTo>
                    <a:pt x="703435" y="582546"/>
                  </a:lnTo>
                  <a:lnTo>
                    <a:pt x="705887" y="585005"/>
                  </a:lnTo>
                  <a:cubicBezTo>
                    <a:pt x="709049" y="588161"/>
                    <a:pt x="714068" y="588161"/>
                    <a:pt x="717187" y="585005"/>
                  </a:cubicBezTo>
                  <a:cubicBezTo>
                    <a:pt x="720348" y="581848"/>
                    <a:pt x="720348" y="576831"/>
                    <a:pt x="717187" y="573707"/>
                  </a:cubicBezTo>
                  <a:lnTo>
                    <a:pt x="701039" y="557558"/>
                  </a:lnTo>
                  <a:cubicBezTo>
                    <a:pt x="697884" y="554401"/>
                    <a:pt x="692865" y="554401"/>
                    <a:pt x="689739" y="557558"/>
                  </a:cubicBezTo>
                  <a:cubicBezTo>
                    <a:pt x="686585" y="560715"/>
                    <a:pt x="686585" y="565732"/>
                    <a:pt x="689739" y="568856"/>
                  </a:cubicBezTo>
                  <a:lnTo>
                    <a:pt x="692199" y="571248"/>
                  </a:lnTo>
                  <a:lnTo>
                    <a:pt x="683430" y="580021"/>
                  </a:lnTo>
                  <a:cubicBezTo>
                    <a:pt x="675590" y="574073"/>
                    <a:pt x="666250" y="570052"/>
                    <a:pt x="656049" y="568623"/>
                  </a:cubicBezTo>
                  <a:lnTo>
                    <a:pt x="656049" y="556196"/>
                  </a:lnTo>
                  <a:lnTo>
                    <a:pt x="659438" y="556196"/>
                  </a:lnTo>
                  <a:cubicBezTo>
                    <a:pt x="663857" y="556196"/>
                    <a:pt x="667446" y="552608"/>
                    <a:pt x="667446" y="548188"/>
                  </a:cubicBezTo>
                  <a:cubicBezTo>
                    <a:pt x="667446" y="543769"/>
                    <a:pt x="663857" y="540180"/>
                    <a:pt x="659438" y="540180"/>
                  </a:cubicBezTo>
                  <a:lnTo>
                    <a:pt x="636643" y="540180"/>
                  </a:lnTo>
                  <a:cubicBezTo>
                    <a:pt x="632224" y="540180"/>
                    <a:pt x="628635" y="543769"/>
                    <a:pt x="628635" y="548188"/>
                  </a:cubicBezTo>
                  <a:cubicBezTo>
                    <a:pt x="628635" y="552608"/>
                    <a:pt x="632224" y="556196"/>
                    <a:pt x="636643" y="556196"/>
                  </a:cubicBezTo>
                  <a:lnTo>
                    <a:pt x="640033" y="556196"/>
                  </a:lnTo>
                  <a:lnTo>
                    <a:pt x="640033" y="568623"/>
                  </a:lnTo>
                  <a:cubicBezTo>
                    <a:pt x="629831" y="569986"/>
                    <a:pt x="620461" y="574073"/>
                    <a:pt x="612652" y="580021"/>
                  </a:cubicBezTo>
                  <a:lnTo>
                    <a:pt x="603880" y="571248"/>
                  </a:lnTo>
                  <a:lnTo>
                    <a:pt x="606273" y="568789"/>
                  </a:lnTo>
                  <a:cubicBezTo>
                    <a:pt x="609429" y="565633"/>
                    <a:pt x="609429" y="560615"/>
                    <a:pt x="606273" y="557491"/>
                  </a:cubicBezTo>
                  <a:cubicBezTo>
                    <a:pt x="603116" y="554335"/>
                    <a:pt x="598099" y="554335"/>
                    <a:pt x="594975" y="557491"/>
                  </a:cubicBezTo>
                  <a:lnTo>
                    <a:pt x="578826" y="573640"/>
                  </a:lnTo>
                  <a:cubicBezTo>
                    <a:pt x="575669" y="576797"/>
                    <a:pt x="575669" y="581814"/>
                    <a:pt x="578826" y="584938"/>
                  </a:cubicBezTo>
                  <a:cubicBezTo>
                    <a:pt x="581982" y="588095"/>
                    <a:pt x="587000" y="588095"/>
                    <a:pt x="590124" y="584938"/>
                  </a:cubicBezTo>
                  <a:lnTo>
                    <a:pt x="592583" y="582480"/>
                  </a:lnTo>
                  <a:lnTo>
                    <a:pt x="601355" y="591252"/>
                  </a:lnTo>
                  <a:cubicBezTo>
                    <a:pt x="595407" y="599093"/>
                    <a:pt x="591387" y="608431"/>
                    <a:pt x="589958" y="618632"/>
                  </a:cubicBezTo>
                  <a:lnTo>
                    <a:pt x="577597" y="618599"/>
                  </a:lnTo>
                  <a:lnTo>
                    <a:pt x="577597" y="615210"/>
                  </a:lnTo>
                  <a:cubicBezTo>
                    <a:pt x="577597" y="610790"/>
                    <a:pt x="574008" y="607202"/>
                    <a:pt x="569589" y="607202"/>
                  </a:cubicBezTo>
                  <a:cubicBezTo>
                    <a:pt x="565169" y="607202"/>
                    <a:pt x="561580" y="610790"/>
                    <a:pt x="561580" y="615210"/>
                  </a:cubicBezTo>
                  <a:lnTo>
                    <a:pt x="561580" y="638004"/>
                  </a:lnTo>
                  <a:cubicBezTo>
                    <a:pt x="561580" y="642423"/>
                    <a:pt x="565169" y="646012"/>
                    <a:pt x="569589" y="646012"/>
                  </a:cubicBezTo>
                  <a:cubicBezTo>
                    <a:pt x="574008" y="646012"/>
                    <a:pt x="577597" y="642423"/>
                    <a:pt x="577597" y="638004"/>
                  </a:cubicBezTo>
                  <a:lnTo>
                    <a:pt x="577597" y="634614"/>
                  </a:lnTo>
                  <a:lnTo>
                    <a:pt x="590024" y="634614"/>
                  </a:lnTo>
                  <a:cubicBezTo>
                    <a:pt x="591386" y="644816"/>
                    <a:pt x="595473" y="654185"/>
                    <a:pt x="601421" y="661994"/>
                  </a:cubicBezTo>
                  <a:lnTo>
                    <a:pt x="592649" y="670767"/>
                  </a:lnTo>
                  <a:lnTo>
                    <a:pt x="590190" y="668307"/>
                  </a:lnTo>
                  <a:cubicBezTo>
                    <a:pt x="587033" y="665152"/>
                    <a:pt x="582016" y="665152"/>
                    <a:pt x="578892" y="668307"/>
                  </a:cubicBezTo>
                  <a:cubicBezTo>
                    <a:pt x="575735" y="671461"/>
                    <a:pt x="575735" y="676480"/>
                    <a:pt x="578892" y="679606"/>
                  </a:cubicBezTo>
                  <a:lnTo>
                    <a:pt x="595041" y="695754"/>
                  </a:lnTo>
                  <a:cubicBezTo>
                    <a:pt x="596569" y="697285"/>
                    <a:pt x="598629" y="698044"/>
                    <a:pt x="600656" y="698044"/>
                  </a:cubicBezTo>
                  <a:cubicBezTo>
                    <a:pt x="602683" y="698044"/>
                    <a:pt x="604743" y="697285"/>
                    <a:pt x="606272" y="695655"/>
                  </a:cubicBezTo>
                  <a:cubicBezTo>
                    <a:pt x="609428" y="692501"/>
                    <a:pt x="609428" y="687482"/>
                    <a:pt x="606272" y="684356"/>
                  </a:cubicBezTo>
                  <a:lnTo>
                    <a:pt x="603879" y="681967"/>
                  </a:lnTo>
                  <a:lnTo>
                    <a:pt x="612652" y="673191"/>
                  </a:lnTo>
                  <a:cubicBezTo>
                    <a:pt x="620493" y="679138"/>
                    <a:pt x="629830" y="683158"/>
                    <a:pt x="640032" y="684590"/>
                  </a:cubicBezTo>
                  <a:lnTo>
                    <a:pt x="640032" y="697016"/>
                  </a:lnTo>
                  <a:lnTo>
                    <a:pt x="636643" y="697016"/>
                  </a:lnTo>
                  <a:cubicBezTo>
                    <a:pt x="632223" y="697016"/>
                    <a:pt x="628635" y="700603"/>
                    <a:pt x="628635" y="705026"/>
                  </a:cubicBezTo>
                  <a:cubicBezTo>
                    <a:pt x="628635" y="709443"/>
                    <a:pt x="632223" y="713037"/>
                    <a:pt x="636643" y="713037"/>
                  </a:cubicBezTo>
                  <a:lnTo>
                    <a:pt x="659437" y="713037"/>
                  </a:lnTo>
                  <a:cubicBezTo>
                    <a:pt x="663856" y="713037"/>
                    <a:pt x="667445" y="709443"/>
                    <a:pt x="667445" y="705026"/>
                  </a:cubicBezTo>
                  <a:cubicBezTo>
                    <a:pt x="667445" y="700603"/>
                    <a:pt x="663856" y="697016"/>
                    <a:pt x="659437" y="697016"/>
                  </a:cubicBezTo>
                  <a:lnTo>
                    <a:pt x="656047" y="697016"/>
                  </a:lnTo>
                  <a:lnTo>
                    <a:pt x="656047" y="684590"/>
                  </a:lnTo>
                  <a:cubicBezTo>
                    <a:pt x="666249" y="683229"/>
                    <a:pt x="675619" y="679138"/>
                    <a:pt x="683430" y="673191"/>
                  </a:cubicBezTo>
                  <a:lnTo>
                    <a:pt x="692199" y="681967"/>
                  </a:lnTo>
                  <a:lnTo>
                    <a:pt x="689810" y="684356"/>
                  </a:lnTo>
                  <a:cubicBezTo>
                    <a:pt x="686649" y="687517"/>
                    <a:pt x="686649" y="692529"/>
                    <a:pt x="689810" y="695655"/>
                  </a:cubicBezTo>
                  <a:cubicBezTo>
                    <a:pt x="691334" y="697186"/>
                    <a:pt x="693397" y="697945"/>
                    <a:pt x="695424" y="697945"/>
                  </a:cubicBezTo>
                  <a:cubicBezTo>
                    <a:pt x="697452" y="697945"/>
                    <a:pt x="699507" y="697186"/>
                    <a:pt x="701039" y="695655"/>
                  </a:cubicBezTo>
                  <a:lnTo>
                    <a:pt x="717187" y="679507"/>
                  </a:lnTo>
                  <a:cubicBezTo>
                    <a:pt x="720341" y="676353"/>
                    <a:pt x="720341" y="671334"/>
                    <a:pt x="717187" y="668208"/>
                  </a:cubicBezTo>
                  <a:cubicBezTo>
                    <a:pt x="714032" y="665053"/>
                    <a:pt x="709013" y="665053"/>
                    <a:pt x="705887" y="668208"/>
                  </a:cubicBezTo>
                  <a:lnTo>
                    <a:pt x="703428" y="670667"/>
                  </a:lnTo>
                  <a:lnTo>
                    <a:pt x="694659" y="661895"/>
                  </a:lnTo>
                  <a:cubicBezTo>
                    <a:pt x="700606" y="654054"/>
                    <a:pt x="704625" y="644716"/>
                    <a:pt x="706057" y="634515"/>
                  </a:cubicBezTo>
                  <a:lnTo>
                    <a:pt x="718484" y="634515"/>
                  </a:lnTo>
                  <a:lnTo>
                    <a:pt x="718484" y="637904"/>
                  </a:lnTo>
                  <a:cubicBezTo>
                    <a:pt x="718484" y="642323"/>
                    <a:pt x="722071" y="645912"/>
                    <a:pt x="726494" y="645912"/>
                  </a:cubicBezTo>
                  <a:cubicBezTo>
                    <a:pt x="730910" y="645912"/>
                    <a:pt x="734497" y="642323"/>
                    <a:pt x="734497" y="637904"/>
                  </a:cubicBezTo>
                  <a:lnTo>
                    <a:pt x="734497" y="615110"/>
                  </a:lnTo>
                  <a:cubicBezTo>
                    <a:pt x="734363" y="610856"/>
                    <a:pt x="730811" y="607301"/>
                    <a:pt x="726459" y="607301"/>
                  </a:cubicBezTo>
                  <a:close/>
                  <a:moveTo>
                    <a:pt x="648043" y="669306"/>
                  </a:moveTo>
                  <a:cubicBezTo>
                    <a:pt x="624551" y="669306"/>
                    <a:pt x="605411" y="650165"/>
                    <a:pt x="605411" y="626673"/>
                  </a:cubicBezTo>
                  <a:cubicBezTo>
                    <a:pt x="605411" y="603180"/>
                    <a:pt x="624551" y="584041"/>
                    <a:pt x="648043" y="584041"/>
                  </a:cubicBezTo>
                  <a:cubicBezTo>
                    <a:pt x="671536" y="584041"/>
                    <a:pt x="690675" y="603180"/>
                    <a:pt x="690675" y="626673"/>
                  </a:cubicBezTo>
                  <a:cubicBezTo>
                    <a:pt x="690675" y="650265"/>
                    <a:pt x="671536" y="669306"/>
                    <a:pt x="648043" y="669306"/>
                  </a:cubicBezTo>
                  <a:close/>
                  <a:moveTo>
                    <a:pt x="635018" y="626607"/>
                  </a:moveTo>
                  <a:cubicBezTo>
                    <a:pt x="627973" y="626607"/>
                    <a:pt x="622158" y="620825"/>
                    <a:pt x="622158" y="613747"/>
                  </a:cubicBezTo>
                  <a:cubicBezTo>
                    <a:pt x="622158" y="606703"/>
                    <a:pt x="627940" y="600888"/>
                    <a:pt x="635018" y="600888"/>
                  </a:cubicBezTo>
                  <a:cubicBezTo>
                    <a:pt x="642062" y="600888"/>
                    <a:pt x="647878" y="606669"/>
                    <a:pt x="647878" y="613747"/>
                  </a:cubicBezTo>
                  <a:cubicBezTo>
                    <a:pt x="647878" y="620825"/>
                    <a:pt x="642162" y="626607"/>
                    <a:pt x="635018" y="626607"/>
                  </a:cubicBezTo>
                  <a:close/>
                  <a:moveTo>
                    <a:pt x="653393" y="643520"/>
                  </a:moveTo>
                  <a:cubicBezTo>
                    <a:pt x="653393" y="648438"/>
                    <a:pt x="649406" y="652458"/>
                    <a:pt x="644455" y="652458"/>
                  </a:cubicBezTo>
                  <a:cubicBezTo>
                    <a:pt x="639537" y="652458"/>
                    <a:pt x="635517" y="648471"/>
                    <a:pt x="635517" y="643520"/>
                  </a:cubicBezTo>
                  <a:cubicBezTo>
                    <a:pt x="635517" y="638602"/>
                    <a:pt x="639504" y="634582"/>
                    <a:pt x="644455" y="634582"/>
                  </a:cubicBezTo>
                  <a:cubicBezTo>
                    <a:pt x="649406" y="634615"/>
                    <a:pt x="653393" y="638602"/>
                    <a:pt x="653393" y="643520"/>
                  </a:cubicBezTo>
                  <a:close/>
                  <a:moveTo>
                    <a:pt x="673829" y="624979"/>
                  </a:moveTo>
                  <a:cubicBezTo>
                    <a:pt x="673829" y="630494"/>
                    <a:pt x="669310" y="635013"/>
                    <a:pt x="663794" y="635013"/>
                  </a:cubicBezTo>
                  <a:cubicBezTo>
                    <a:pt x="658278" y="635013"/>
                    <a:pt x="653759" y="630494"/>
                    <a:pt x="653759" y="624979"/>
                  </a:cubicBezTo>
                  <a:cubicBezTo>
                    <a:pt x="653759" y="619463"/>
                    <a:pt x="658278" y="614944"/>
                    <a:pt x="663794" y="614944"/>
                  </a:cubicBezTo>
                  <a:cubicBezTo>
                    <a:pt x="669310" y="614944"/>
                    <a:pt x="673829" y="619463"/>
                    <a:pt x="673829" y="624979"/>
                  </a:cubicBezTo>
                  <a:close/>
                </a:path>
              </a:pathLst>
            </a:custGeom>
            <a:solidFill>
              <a:schemeClr val="bg1"/>
            </a:solidFill>
            <a:ln w="706" cap="flat">
              <a:noFill/>
              <a:prstDash val="solid"/>
              <a:miter/>
            </a:ln>
          </p:spPr>
          <p:txBody>
            <a:bodyPr rtlCol="0" anchor="ctr"/>
            <a:lstStyle/>
            <a:p>
              <a:pPr defTabSz="171390">
                <a:defRPr/>
              </a:pPr>
              <a:endParaRPr lang="en-GB" sz="800">
                <a:solidFill>
                  <a:srgbClr val="000000"/>
                </a:solidFill>
                <a:latin typeface="Pfizer Diatype Office"/>
              </a:endParaRPr>
            </a:p>
          </p:txBody>
        </p:sp>
        <p:sp>
          <p:nvSpPr>
            <p:cNvPr id="106" name="TextBox 105">
              <a:extLst>
                <a:ext uri="{FF2B5EF4-FFF2-40B4-BE49-F238E27FC236}">
                  <a16:creationId xmlns:a16="http://schemas.microsoft.com/office/drawing/2014/main" id="{A8A9A66B-B6D5-99EA-1745-FF89AB9FAC7D}"/>
                </a:ext>
              </a:extLst>
            </p:cNvPr>
            <p:cNvSpPr txBox="1"/>
            <p:nvPr/>
          </p:nvSpPr>
          <p:spPr bwMode="gray">
            <a:xfrm>
              <a:off x="2691113" y="2451880"/>
              <a:ext cx="9072262" cy="495007"/>
            </a:xfrm>
            <a:prstGeom prst="rect">
              <a:avLst/>
            </a:prstGeom>
            <a:noFill/>
            <a:ln w="19050">
              <a:noFill/>
            </a:ln>
          </p:spPr>
          <p:txBody>
            <a:bodyPr spcFirstLastPara="1" wrap="square" lIns="0" tIns="0" rIns="0" bIns="0" rtlCol="0" anchor="ctr" anchorCtr="0">
              <a:spAutoFit/>
            </a:bodyPr>
            <a:lstStyle/>
            <a:p>
              <a:pPr marL="130302" indent="-130302" defTabSz="171390">
                <a:spcAft>
                  <a:spcPts val="450"/>
                </a:spcAft>
                <a:buFont typeface="Arial" panose="020B0604020202020204" pitchFamily="34" charset="0"/>
                <a:buChar char="•"/>
                <a:defRPr/>
              </a:pPr>
              <a:r>
                <a:rPr lang="en-US" sz="1400" b="1" dirty="0">
                  <a:solidFill>
                    <a:srgbClr val="FFFFFF"/>
                  </a:solidFill>
                  <a:latin typeface="Pfizer Diatype Office"/>
                </a:rPr>
                <a:t>RSV </a:t>
              </a:r>
              <a:r>
                <a:rPr lang="en-US" sz="1400" b="1" dirty="0" err="1">
                  <a:solidFill>
                    <a:srgbClr val="FFFFFF"/>
                  </a:solidFill>
                  <a:latin typeface="Pfizer Diatype Office"/>
                </a:rPr>
                <a:t>nedeniyle</a:t>
              </a:r>
              <a:r>
                <a:rPr lang="en-US" sz="1400" b="1" dirty="0">
                  <a:solidFill>
                    <a:srgbClr val="FFFFFF"/>
                  </a:solidFill>
                  <a:latin typeface="Pfizer Diatype Office"/>
                </a:rPr>
                <a:t> </a:t>
              </a:r>
              <a:r>
                <a:rPr lang="en-US" sz="1400" b="1" dirty="0" err="1">
                  <a:solidFill>
                    <a:srgbClr val="FFFFFF"/>
                  </a:solidFill>
                  <a:latin typeface="Pfizer Diatype Office"/>
                </a:rPr>
                <a:t>verilen</a:t>
              </a:r>
              <a:r>
                <a:rPr lang="en-US" sz="1400" b="1" dirty="0">
                  <a:solidFill>
                    <a:srgbClr val="FFFFFF"/>
                  </a:solidFill>
                  <a:latin typeface="Pfizer Diatype Office"/>
                </a:rPr>
                <a:t> </a:t>
              </a:r>
              <a:r>
                <a:rPr lang="en-US" sz="1400" b="1" dirty="0" err="1">
                  <a:solidFill>
                    <a:srgbClr val="FFFFFF"/>
                  </a:solidFill>
                  <a:latin typeface="Pfizer Diatype Office"/>
                </a:rPr>
                <a:t>antibiyotik</a:t>
              </a:r>
              <a:r>
                <a:rPr lang="en-US" sz="1400" b="1" dirty="0">
                  <a:solidFill>
                    <a:srgbClr val="FFFFFF"/>
                  </a:solidFill>
                  <a:latin typeface="Pfizer Diatype Office"/>
                </a:rPr>
                <a:t> </a:t>
              </a:r>
              <a:r>
                <a:rPr lang="en-US" sz="1400" b="1" dirty="0" err="1">
                  <a:solidFill>
                    <a:srgbClr val="FFFFFF"/>
                  </a:solidFill>
                  <a:latin typeface="Pfizer Diatype Office"/>
                </a:rPr>
                <a:t>reçeteleri</a:t>
              </a:r>
              <a:r>
                <a:rPr lang="en-US" sz="1400" b="1" dirty="0">
                  <a:solidFill>
                    <a:srgbClr val="FFFFFF"/>
                  </a:solidFill>
                  <a:latin typeface="Pfizer Diatype Office"/>
                </a:rPr>
                <a:t>, </a:t>
              </a:r>
              <a:r>
                <a:rPr lang="en-US" sz="1400" b="1" dirty="0" err="1">
                  <a:solidFill>
                    <a:srgbClr val="FFFFFF"/>
                  </a:solidFill>
                  <a:latin typeface="Pfizer Diatype Office"/>
                </a:rPr>
                <a:t>İngltere’de</a:t>
              </a:r>
              <a:r>
                <a:rPr lang="en-US" sz="1400" b="1" dirty="0">
                  <a:solidFill>
                    <a:srgbClr val="FFFFFF"/>
                  </a:solidFill>
                  <a:latin typeface="Pfizer Diatype Office"/>
                </a:rPr>
                <a:t> 75 </a:t>
              </a:r>
              <a:r>
                <a:rPr lang="en-US" sz="1400" b="1" dirty="0" err="1">
                  <a:solidFill>
                    <a:srgbClr val="FFFFFF"/>
                  </a:solidFill>
                  <a:latin typeface="Pfizer Diatype Office"/>
                </a:rPr>
                <a:t>yaş</a:t>
              </a:r>
              <a:r>
                <a:rPr lang="en-US" sz="1400" b="1" dirty="0">
                  <a:solidFill>
                    <a:srgbClr val="FFFFFF"/>
                  </a:solidFill>
                  <a:latin typeface="Pfizer Diatype Office"/>
                </a:rPr>
                <a:t> </a:t>
              </a:r>
              <a:r>
                <a:rPr lang="en-US" sz="1400" b="1" dirty="0" err="1">
                  <a:solidFill>
                    <a:srgbClr val="FFFFFF"/>
                  </a:solidFill>
                  <a:latin typeface="Pfizer Diatype Office"/>
                </a:rPr>
                <a:t>ve</a:t>
              </a:r>
              <a:r>
                <a:rPr lang="en-US" sz="1400" b="1" dirty="0">
                  <a:solidFill>
                    <a:srgbClr val="FFFFFF"/>
                  </a:solidFill>
                  <a:latin typeface="Pfizer Diatype Office"/>
                </a:rPr>
                <a:t> </a:t>
              </a:r>
              <a:r>
                <a:rPr lang="en-US" sz="1400" b="1" dirty="0" err="1">
                  <a:solidFill>
                    <a:srgbClr val="FFFFFF"/>
                  </a:solidFill>
                  <a:latin typeface="Pfizer Diatype Office"/>
                </a:rPr>
                <a:t>üzeri</a:t>
              </a:r>
              <a:r>
                <a:rPr lang="en-US" sz="1400" b="1" dirty="0">
                  <a:solidFill>
                    <a:srgbClr val="FFFFFF"/>
                  </a:solidFill>
                  <a:latin typeface="Pfizer Diatype Office"/>
                </a:rPr>
                <a:t> </a:t>
              </a:r>
              <a:r>
                <a:rPr lang="en-US" sz="1400" b="1" dirty="0" err="1">
                  <a:solidFill>
                    <a:srgbClr val="FFFFFF"/>
                  </a:solidFill>
                  <a:latin typeface="Pfizer Diatype Office"/>
                </a:rPr>
                <a:t>yetişkinlerde</a:t>
              </a:r>
              <a:r>
                <a:rPr lang="en-US" sz="1400" b="1" dirty="0">
                  <a:solidFill>
                    <a:srgbClr val="FFFFFF"/>
                  </a:solidFill>
                  <a:latin typeface="Pfizer Diatype Office"/>
                </a:rPr>
                <a:t> </a:t>
              </a:r>
              <a:r>
                <a:rPr lang="en-US" sz="1400" b="1" dirty="0" err="1">
                  <a:solidFill>
                    <a:srgbClr val="FFFFFF"/>
                  </a:solidFill>
                  <a:latin typeface="Pfizer Diatype Office"/>
                </a:rPr>
                <a:t>en</a:t>
              </a:r>
              <a:r>
                <a:rPr lang="en-US" sz="1400" b="1" dirty="0">
                  <a:solidFill>
                    <a:srgbClr val="FFFFFF"/>
                  </a:solidFill>
                  <a:latin typeface="Pfizer Diatype Office"/>
                </a:rPr>
                <a:t> </a:t>
              </a:r>
              <a:r>
                <a:rPr lang="en-US" sz="1400" b="1" dirty="0" err="1">
                  <a:solidFill>
                    <a:srgbClr val="FFFFFF"/>
                  </a:solidFill>
                  <a:latin typeface="Pfizer Diatype Office"/>
                </a:rPr>
                <a:t>yüksek</a:t>
              </a:r>
              <a:r>
                <a:rPr lang="en-US" sz="1400" b="1" dirty="0">
                  <a:solidFill>
                    <a:srgbClr val="FFFFFF"/>
                  </a:solidFill>
                  <a:latin typeface="Pfizer Diatype Office"/>
                </a:rPr>
                <a:t> </a:t>
              </a:r>
              <a:r>
                <a:rPr lang="en-US" sz="1400" b="1" dirty="0" err="1">
                  <a:solidFill>
                    <a:srgbClr val="FFFFFF"/>
                  </a:solidFill>
                  <a:latin typeface="Pfizer Diatype Office"/>
                </a:rPr>
                <a:t>düzeydedir</a:t>
              </a:r>
              <a:r>
                <a:rPr lang="en-US" sz="1400" b="1" dirty="0">
                  <a:solidFill>
                    <a:srgbClr val="FFFFFF"/>
                  </a:solidFill>
                  <a:latin typeface="Pfizer Diatype Office"/>
                </a:rPr>
                <a:t> </a:t>
              </a:r>
              <a:r>
                <a:rPr lang="en-US" sz="1400" b="1" dirty="0" err="1">
                  <a:solidFill>
                    <a:srgbClr val="FFFFFF"/>
                  </a:solidFill>
                  <a:latin typeface="Pfizer Diatype Office"/>
                </a:rPr>
                <a:t>ve</a:t>
              </a:r>
              <a:r>
                <a:rPr lang="en-US" sz="1400" b="1" dirty="0">
                  <a:solidFill>
                    <a:srgbClr val="FFFFFF"/>
                  </a:solidFill>
                  <a:latin typeface="Pfizer Diatype Office"/>
                </a:rPr>
                <a:t> </a:t>
              </a:r>
              <a:r>
                <a:rPr lang="en-US" sz="1400" b="1" dirty="0" err="1">
                  <a:solidFill>
                    <a:srgbClr val="FFFFFF"/>
                  </a:solidFill>
                  <a:latin typeface="Pfizer Diatype Office"/>
                </a:rPr>
                <a:t>aşı</a:t>
              </a:r>
              <a:r>
                <a:rPr lang="en-US" sz="1400" b="1" dirty="0">
                  <a:solidFill>
                    <a:srgbClr val="FFFFFF"/>
                  </a:solidFill>
                  <a:latin typeface="Pfizer Diatype Office"/>
                </a:rPr>
                <a:t> </a:t>
              </a:r>
              <a:r>
                <a:rPr lang="en-US" sz="1400" b="1" dirty="0" err="1">
                  <a:solidFill>
                    <a:srgbClr val="FFFFFF"/>
                  </a:solidFill>
                  <a:latin typeface="Pfizer Diatype Office"/>
                </a:rPr>
                <a:t>gibi</a:t>
              </a:r>
              <a:r>
                <a:rPr lang="en-US" sz="1400" b="1" dirty="0">
                  <a:solidFill>
                    <a:srgbClr val="FFFFFF"/>
                  </a:solidFill>
                  <a:latin typeface="Pfizer Diatype Office"/>
                </a:rPr>
                <a:t> </a:t>
              </a:r>
              <a:r>
                <a:rPr lang="en-US" sz="1400" b="1" dirty="0" err="1">
                  <a:solidFill>
                    <a:srgbClr val="FFFFFF"/>
                  </a:solidFill>
                  <a:latin typeface="Pfizer Diatype Office"/>
                </a:rPr>
                <a:t>müdahalelerin</a:t>
              </a:r>
              <a:r>
                <a:rPr lang="en-US" sz="1400" b="1" dirty="0">
                  <a:solidFill>
                    <a:srgbClr val="FFFFFF"/>
                  </a:solidFill>
                  <a:latin typeface="Pfizer Diatype Office"/>
                </a:rPr>
                <a:t>, </a:t>
              </a:r>
              <a:r>
                <a:rPr lang="en-US" sz="1400" b="1" dirty="0" err="1">
                  <a:solidFill>
                    <a:srgbClr val="FFFFFF"/>
                  </a:solidFill>
                  <a:latin typeface="Pfizer Diatype Office"/>
                </a:rPr>
                <a:t>antibiyotik</a:t>
              </a:r>
              <a:r>
                <a:rPr lang="en-US" sz="1400" b="1" dirty="0">
                  <a:solidFill>
                    <a:srgbClr val="FFFFFF"/>
                  </a:solidFill>
                  <a:latin typeface="Pfizer Diatype Office"/>
                </a:rPr>
                <a:t> </a:t>
              </a:r>
              <a:r>
                <a:rPr lang="en-US" sz="1400" b="1" dirty="0" err="1">
                  <a:solidFill>
                    <a:srgbClr val="FFFFFF"/>
                  </a:solidFill>
                  <a:latin typeface="Pfizer Diatype Office"/>
                </a:rPr>
                <a:t>kullanımını</a:t>
              </a:r>
              <a:r>
                <a:rPr lang="en-US" sz="1400" b="1" dirty="0">
                  <a:solidFill>
                    <a:srgbClr val="FFFFFF"/>
                  </a:solidFill>
                  <a:latin typeface="Pfizer Diatype Office"/>
                </a:rPr>
                <a:t> </a:t>
              </a:r>
              <a:r>
                <a:rPr lang="en-US" sz="1400" b="1" dirty="0" err="1">
                  <a:solidFill>
                    <a:srgbClr val="FFFFFF"/>
                  </a:solidFill>
                  <a:latin typeface="Pfizer Diatype Office"/>
                </a:rPr>
                <a:t>azaltma</a:t>
              </a:r>
              <a:r>
                <a:rPr lang="en-US" sz="1400" b="1" dirty="0">
                  <a:solidFill>
                    <a:srgbClr val="FFFFFF"/>
                  </a:solidFill>
                  <a:latin typeface="Pfizer Diatype Office"/>
                </a:rPr>
                <a:t> </a:t>
              </a:r>
              <a:r>
                <a:rPr lang="en-US" sz="1400" b="1" dirty="0" err="1">
                  <a:solidFill>
                    <a:srgbClr val="FFFFFF"/>
                  </a:solidFill>
                  <a:latin typeface="Pfizer Diatype Office"/>
                </a:rPr>
                <a:t>çabalarını</a:t>
              </a:r>
              <a:r>
                <a:rPr lang="en-US" sz="1400" b="1" dirty="0">
                  <a:solidFill>
                    <a:srgbClr val="FFFFFF"/>
                  </a:solidFill>
                  <a:latin typeface="Pfizer Diatype Office"/>
                </a:rPr>
                <a:t> </a:t>
              </a:r>
              <a:r>
                <a:rPr lang="en-US" sz="1400" b="1" dirty="0" err="1">
                  <a:solidFill>
                    <a:srgbClr val="FFFFFF"/>
                  </a:solidFill>
                  <a:latin typeface="Pfizer Diatype Office"/>
                </a:rPr>
                <a:t>detekleyeceği</a:t>
              </a:r>
              <a:r>
                <a:rPr lang="en-US" sz="1400" b="1" dirty="0">
                  <a:solidFill>
                    <a:srgbClr val="FFFFFF"/>
                  </a:solidFill>
                  <a:latin typeface="Pfizer Diatype Office"/>
                </a:rPr>
                <a:t> </a:t>
              </a:r>
              <a:r>
                <a:rPr lang="en-US" sz="1400" b="1" dirty="0" err="1">
                  <a:solidFill>
                    <a:srgbClr val="FFFFFF"/>
                  </a:solidFill>
                  <a:latin typeface="Pfizer Diatype Office"/>
                </a:rPr>
                <a:t>öne</a:t>
              </a:r>
              <a:r>
                <a:rPr lang="en-US" sz="1400" b="1" dirty="0">
                  <a:solidFill>
                    <a:srgbClr val="FFFFFF"/>
                  </a:solidFill>
                  <a:latin typeface="Pfizer Diatype Office"/>
                </a:rPr>
                <a:t> </a:t>
              </a:r>
              <a:r>
                <a:rPr lang="en-US" sz="1400" b="1" dirty="0" err="1">
                  <a:solidFill>
                    <a:srgbClr val="FFFFFF"/>
                  </a:solidFill>
                  <a:latin typeface="Pfizer Diatype Office"/>
                </a:rPr>
                <a:t>sürülmektedir</a:t>
              </a:r>
              <a:r>
                <a:rPr lang="en-US" sz="1400" b="1" dirty="0">
                  <a:solidFill>
                    <a:srgbClr val="FFFFFF"/>
                  </a:solidFill>
                  <a:latin typeface="Pfizer Diatype Office"/>
                </a:rPr>
                <a:t>.</a:t>
              </a:r>
            </a:p>
          </p:txBody>
        </p:sp>
        <p:sp>
          <p:nvSpPr>
            <p:cNvPr id="46" name="TextBox 45">
              <a:extLst>
                <a:ext uri="{FF2B5EF4-FFF2-40B4-BE49-F238E27FC236}">
                  <a16:creationId xmlns:a16="http://schemas.microsoft.com/office/drawing/2014/main" id="{E04B9E38-C364-C48D-CC57-80A83515F804}"/>
                </a:ext>
              </a:extLst>
            </p:cNvPr>
            <p:cNvSpPr txBox="1"/>
            <p:nvPr/>
          </p:nvSpPr>
          <p:spPr>
            <a:xfrm>
              <a:off x="613152" y="3956266"/>
              <a:ext cx="11302622" cy="731520"/>
            </a:xfrm>
            <a:prstGeom prst="roundRect">
              <a:avLst>
                <a:gd name="adj" fmla="val 9297"/>
              </a:avLst>
            </a:prstGeom>
            <a:solidFill>
              <a:srgbClr val="0070BF"/>
            </a:solidFill>
          </p:spPr>
          <p:txBody>
            <a:bodyPr wrap="square" lIns="68580" tIns="0" rIns="0" bIns="0" rtlCol="0" anchor="ctr" anchorCtr="0">
              <a:noAutofit/>
            </a:bodyPr>
            <a:lstStyle>
              <a:defPPr>
                <a:defRPr lang="en-US"/>
              </a:defPPr>
              <a:lvl1pPr marL="630238" marR="0" lvl="0" indent="0" defTabSz="914400" fontAlgn="auto">
                <a:lnSpc>
                  <a:spcPct val="100000"/>
                </a:lnSpc>
                <a:spcBef>
                  <a:spcPts val="0"/>
                </a:spcBef>
                <a:spcAft>
                  <a:spcPts val="0"/>
                </a:spcAft>
                <a:buClrTx/>
                <a:buSzTx/>
                <a:buFontTx/>
                <a:buNone/>
                <a:tabLst/>
                <a:defRPr kumimoji="0" sz="1800" b="1" i="0" u="none" strike="noStrike" cap="none" spc="0" normalizeH="0" baseline="0">
                  <a:ln>
                    <a:noFill/>
                  </a:ln>
                  <a:solidFill>
                    <a:srgbClr val="FFFFFF"/>
                  </a:solidFill>
                  <a:effectLst/>
                  <a:uLnTx/>
                  <a:uFillTx/>
                  <a:latin typeface="Pfizer Tomorrow"/>
                </a:defRPr>
              </a:lvl1pPr>
            </a:lstStyle>
            <a:p>
              <a:pPr marL="800100" defTabSz="685800">
                <a:defRPr/>
              </a:pPr>
              <a:r>
                <a:rPr lang="en-US" sz="1400" b="0" dirty="0"/>
                <a:t>COVID-19</a:t>
              </a:r>
              <a:r>
                <a:rPr lang="en-US" sz="1400" b="0" baseline="30000" dirty="0"/>
                <a:t>4</a:t>
              </a:r>
            </a:p>
          </p:txBody>
        </p:sp>
        <p:sp>
          <p:nvSpPr>
            <p:cNvPr id="55" name="TextBox 54">
              <a:extLst>
                <a:ext uri="{FF2B5EF4-FFF2-40B4-BE49-F238E27FC236}">
                  <a16:creationId xmlns:a16="http://schemas.microsoft.com/office/drawing/2014/main" id="{69919A72-8C00-0D5D-4AD1-8D89FD0E37C7}"/>
                </a:ext>
              </a:extLst>
            </p:cNvPr>
            <p:cNvSpPr txBox="1"/>
            <p:nvPr/>
          </p:nvSpPr>
          <p:spPr bwMode="gray">
            <a:xfrm>
              <a:off x="2691113" y="4119903"/>
              <a:ext cx="9072262" cy="495007"/>
            </a:xfrm>
            <a:prstGeom prst="rect">
              <a:avLst/>
            </a:prstGeom>
            <a:noFill/>
            <a:ln w="19050">
              <a:noFill/>
            </a:ln>
          </p:spPr>
          <p:txBody>
            <a:bodyPr spcFirstLastPara="1" wrap="square" lIns="0" tIns="0" rIns="0" bIns="0" rtlCol="0" anchor="ctr" anchorCtr="0">
              <a:spAutoFit/>
            </a:bodyPr>
            <a:lstStyle/>
            <a:p>
              <a:pPr marL="130302" indent="-130302" defTabSz="171390">
                <a:spcAft>
                  <a:spcPts val="450"/>
                </a:spcAft>
                <a:buFont typeface="Arial" panose="020B0604020202020204" pitchFamily="34" charset="0"/>
                <a:buChar char="•"/>
                <a:defRPr/>
              </a:pPr>
              <a:r>
                <a:rPr lang="en-US" sz="1400" b="1" dirty="0">
                  <a:solidFill>
                    <a:srgbClr val="FFFFFF"/>
                  </a:solidFill>
                  <a:latin typeface="Pfizer Diatype Office"/>
                </a:rPr>
                <a:t>65 </a:t>
              </a:r>
              <a:r>
                <a:rPr lang="en-US" sz="1400" b="1" dirty="0" err="1">
                  <a:solidFill>
                    <a:srgbClr val="FFFFFF"/>
                  </a:solidFill>
                  <a:latin typeface="Pfizer Diatype Office"/>
                </a:rPr>
                <a:t>yaş</a:t>
              </a:r>
              <a:r>
                <a:rPr lang="en-US" sz="1400" b="1" dirty="0">
                  <a:solidFill>
                    <a:srgbClr val="FFFFFF"/>
                  </a:solidFill>
                  <a:latin typeface="Pfizer Diatype Office"/>
                </a:rPr>
                <a:t> </a:t>
              </a:r>
              <a:r>
                <a:rPr lang="en-US" sz="1400" b="1" dirty="0" err="1">
                  <a:solidFill>
                    <a:srgbClr val="FFFFFF"/>
                  </a:solidFill>
                  <a:latin typeface="Pfizer Diatype Office"/>
                </a:rPr>
                <a:t>ve</a:t>
              </a:r>
              <a:r>
                <a:rPr lang="en-US" sz="1400" b="1" dirty="0">
                  <a:solidFill>
                    <a:srgbClr val="FFFFFF"/>
                  </a:solidFill>
                  <a:latin typeface="Pfizer Diatype Office"/>
                </a:rPr>
                <a:t> </a:t>
              </a:r>
              <a:r>
                <a:rPr lang="en-US" sz="1400" b="1" dirty="0" err="1">
                  <a:solidFill>
                    <a:srgbClr val="FFFFFF"/>
                  </a:solidFill>
                  <a:latin typeface="Pfizer Diatype Office"/>
                </a:rPr>
                <a:t>üzeri</a:t>
              </a:r>
              <a:r>
                <a:rPr lang="en-US" sz="1400" b="1" dirty="0">
                  <a:solidFill>
                    <a:srgbClr val="FFFFFF"/>
                  </a:solidFill>
                  <a:latin typeface="Pfizer Diatype Office"/>
                </a:rPr>
                <a:t> </a:t>
              </a:r>
              <a:r>
                <a:rPr lang="en-US" sz="1400" b="1" dirty="0" err="1">
                  <a:solidFill>
                    <a:srgbClr val="FFFFFF"/>
                  </a:solidFill>
                  <a:latin typeface="Pfizer Diatype Office"/>
                </a:rPr>
                <a:t>yetişkinlerde</a:t>
              </a:r>
              <a:r>
                <a:rPr lang="en-US" sz="1400" b="1" dirty="0">
                  <a:solidFill>
                    <a:srgbClr val="FFFFFF"/>
                  </a:solidFill>
                  <a:latin typeface="Pfizer Diatype Office"/>
                </a:rPr>
                <a:t>, COVID-19 </a:t>
              </a:r>
              <a:r>
                <a:rPr lang="en-US" sz="1400" b="1" dirty="0" err="1">
                  <a:solidFill>
                    <a:srgbClr val="FFFFFF"/>
                  </a:solidFill>
                  <a:latin typeface="Pfizer Diatype Office"/>
                </a:rPr>
                <a:t>aşılaması</a:t>
              </a:r>
              <a:r>
                <a:rPr lang="en-US" sz="1400" b="1" dirty="0">
                  <a:solidFill>
                    <a:srgbClr val="FFFFFF"/>
                  </a:solidFill>
                  <a:latin typeface="Pfizer Diatype Office"/>
                </a:rPr>
                <a:t> </a:t>
              </a:r>
              <a:r>
                <a:rPr lang="en-US" sz="1400" b="1" dirty="0" err="1">
                  <a:solidFill>
                    <a:srgbClr val="FFFFFF"/>
                  </a:solidFill>
                  <a:latin typeface="Pfizer Diatype Office"/>
                </a:rPr>
                <a:t>sonrası</a:t>
              </a:r>
              <a:r>
                <a:rPr lang="en-US" sz="1400" b="1" dirty="0">
                  <a:solidFill>
                    <a:srgbClr val="FFFFFF"/>
                  </a:solidFill>
                  <a:latin typeface="Pfizer Diatype Office"/>
                </a:rPr>
                <a:t> </a:t>
              </a:r>
              <a:r>
                <a:rPr lang="en-US" sz="1400" b="1" dirty="0" err="1">
                  <a:solidFill>
                    <a:srgbClr val="FFFFFF"/>
                  </a:solidFill>
                  <a:latin typeface="Pfizer Diatype Office"/>
                </a:rPr>
                <a:t>dönemde</a:t>
              </a:r>
              <a:r>
                <a:rPr lang="en-US" sz="1400" b="1" dirty="0">
                  <a:solidFill>
                    <a:srgbClr val="FFFFFF"/>
                  </a:solidFill>
                  <a:latin typeface="Pfizer Diatype Office"/>
                </a:rPr>
                <a:t> </a:t>
              </a:r>
              <a:r>
                <a:rPr lang="en-US" sz="1400" b="1" dirty="0" err="1">
                  <a:solidFill>
                    <a:srgbClr val="FFFFFF"/>
                  </a:solidFill>
                  <a:latin typeface="Pfizer Diatype Office"/>
                </a:rPr>
                <a:t>solunum</a:t>
              </a:r>
              <a:r>
                <a:rPr lang="en-US" sz="1400" b="1" dirty="0">
                  <a:solidFill>
                    <a:srgbClr val="FFFFFF"/>
                  </a:solidFill>
                  <a:latin typeface="Pfizer Diatype Office"/>
                </a:rPr>
                <a:t> </a:t>
              </a:r>
              <a:r>
                <a:rPr lang="en-US" sz="1400" b="1" dirty="0" err="1">
                  <a:solidFill>
                    <a:srgbClr val="FFFFFF"/>
                  </a:solidFill>
                  <a:latin typeface="Pfizer Diatype Office"/>
                </a:rPr>
                <a:t>yolu</a:t>
              </a:r>
              <a:r>
                <a:rPr lang="en-US" sz="1400" b="1" dirty="0">
                  <a:solidFill>
                    <a:srgbClr val="FFFFFF"/>
                  </a:solidFill>
                  <a:latin typeface="Pfizer Diatype Office"/>
                </a:rPr>
                <a:t> </a:t>
              </a:r>
              <a:r>
                <a:rPr lang="en-US" sz="1400" b="1" dirty="0" err="1">
                  <a:solidFill>
                    <a:srgbClr val="FFFFFF"/>
                  </a:solidFill>
                  <a:latin typeface="Pfizer Diatype Office"/>
                </a:rPr>
                <a:t>antibiyotiği</a:t>
              </a:r>
              <a:r>
                <a:rPr lang="en-US" sz="1400" b="1" dirty="0">
                  <a:solidFill>
                    <a:srgbClr val="FFFFFF"/>
                  </a:solidFill>
                  <a:latin typeface="Pfizer Diatype Office"/>
                </a:rPr>
                <a:t> </a:t>
              </a:r>
              <a:r>
                <a:rPr lang="en-US" sz="1400" b="1" dirty="0" err="1">
                  <a:solidFill>
                    <a:srgbClr val="FFFFFF"/>
                  </a:solidFill>
                  <a:latin typeface="Pfizer Diatype Office"/>
                </a:rPr>
                <a:t>reçetesi</a:t>
              </a:r>
              <a:r>
                <a:rPr lang="en-US" sz="1400" b="1" dirty="0">
                  <a:solidFill>
                    <a:srgbClr val="FFFFFF"/>
                  </a:solidFill>
                  <a:latin typeface="Pfizer Diatype Office"/>
                </a:rPr>
                <a:t> alma </a:t>
              </a:r>
              <a:r>
                <a:rPr lang="en-US" sz="1400" b="1" dirty="0" err="1">
                  <a:solidFill>
                    <a:srgbClr val="FFFFFF"/>
                  </a:solidFill>
                  <a:latin typeface="Pfizer Diatype Office"/>
                </a:rPr>
                <a:t>olasılığı</a:t>
              </a:r>
              <a:r>
                <a:rPr lang="en-US" sz="1400" b="1" dirty="0">
                  <a:solidFill>
                    <a:srgbClr val="FFFFFF"/>
                  </a:solidFill>
                  <a:latin typeface="Pfizer Diatype Office"/>
                </a:rPr>
                <a:t> </a:t>
              </a:r>
              <a:r>
                <a:rPr lang="en-US" sz="1400" b="1" dirty="0" err="1">
                  <a:solidFill>
                    <a:srgbClr val="FFFFFF"/>
                  </a:solidFill>
                  <a:latin typeface="Pfizer Diatype Office"/>
                </a:rPr>
                <a:t>azalmıştır</a:t>
              </a:r>
              <a:r>
                <a:rPr lang="en-US" sz="1400" b="1" baseline="30000" dirty="0">
                  <a:solidFill>
                    <a:srgbClr val="FFFFFF"/>
                  </a:solidFill>
                  <a:latin typeface="Pfizer Diatype Office"/>
                </a:rPr>
                <a:t>†</a:t>
              </a:r>
              <a:endParaRPr lang="en-IN" sz="1400" b="1" baseline="30000" dirty="0">
                <a:solidFill>
                  <a:srgbClr val="FFFFFF"/>
                </a:solidFill>
                <a:latin typeface="Pfizer Diatype Office"/>
              </a:endParaRPr>
            </a:p>
          </p:txBody>
        </p:sp>
        <p:sp>
          <p:nvSpPr>
            <p:cNvPr id="60" name="Freeform: Shape 111">
              <a:extLst>
                <a:ext uri="{FF2B5EF4-FFF2-40B4-BE49-F238E27FC236}">
                  <a16:creationId xmlns:a16="http://schemas.microsoft.com/office/drawing/2014/main" id="{3615C2E4-111C-503A-96A5-DF1AD3D84B66}"/>
                </a:ext>
              </a:extLst>
            </p:cNvPr>
            <p:cNvSpPr/>
            <p:nvPr/>
          </p:nvSpPr>
          <p:spPr>
            <a:xfrm>
              <a:off x="747471" y="4047706"/>
              <a:ext cx="548640" cy="548640"/>
            </a:xfrm>
            <a:custGeom>
              <a:avLst/>
              <a:gdLst>
                <a:gd name="connsiteX0" fmla="*/ 223488 w 458148"/>
                <a:gd name="connsiteY0" fmla="*/ 574 h 456788"/>
                <a:gd name="connsiteX1" fmla="*/ 254724 w 458148"/>
                <a:gd name="connsiteY1" fmla="*/ 20907 h 456788"/>
                <a:gd name="connsiteX2" fmla="*/ 248755 w 458148"/>
                <a:gd name="connsiteY2" fmla="*/ 43957 h 456788"/>
                <a:gd name="connsiteX3" fmla="*/ 240246 w 458148"/>
                <a:gd name="connsiteY3" fmla="*/ 69040 h 456788"/>
                <a:gd name="connsiteX4" fmla="*/ 252120 w 458148"/>
                <a:gd name="connsiteY4" fmla="*/ 97488 h 456788"/>
                <a:gd name="connsiteX5" fmla="*/ 274409 w 458148"/>
                <a:gd name="connsiteY5" fmla="*/ 103520 h 456788"/>
                <a:gd name="connsiteX6" fmla="*/ 298983 w 458148"/>
                <a:gd name="connsiteY6" fmla="*/ 84788 h 456788"/>
                <a:gd name="connsiteX7" fmla="*/ 304127 w 458148"/>
                <a:gd name="connsiteY7" fmla="*/ 58816 h 456788"/>
                <a:gd name="connsiteX8" fmla="*/ 307048 w 458148"/>
                <a:gd name="connsiteY8" fmla="*/ 40465 h 456788"/>
                <a:gd name="connsiteX9" fmla="*/ 309651 w 458148"/>
                <a:gd name="connsiteY9" fmla="*/ 36737 h 456788"/>
                <a:gd name="connsiteX10" fmla="*/ 346862 w 458148"/>
                <a:gd name="connsiteY10" fmla="*/ 33416 h 456788"/>
                <a:gd name="connsiteX11" fmla="*/ 355181 w 458148"/>
                <a:gd name="connsiteY11" fmla="*/ 61420 h 456788"/>
                <a:gd name="connsiteX12" fmla="*/ 338798 w 458148"/>
                <a:gd name="connsiteY12" fmla="*/ 78438 h 456788"/>
                <a:gd name="connsiteX13" fmla="*/ 318478 w 458148"/>
                <a:gd name="connsiteY13" fmla="*/ 96027 h 456788"/>
                <a:gd name="connsiteX14" fmla="*/ 314477 w 458148"/>
                <a:gd name="connsiteY14" fmla="*/ 126507 h 456788"/>
                <a:gd name="connsiteX15" fmla="*/ 330987 w 458148"/>
                <a:gd name="connsiteY15" fmla="*/ 143081 h 456788"/>
                <a:gd name="connsiteX16" fmla="*/ 361467 w 458148"/>
                <a:gd name="connsiteY16" fmla="*/ 139080 h 456788"/>
                <a:gd name="connsiteX17" fmla="*/ 378866 w 458148"/>
                <a:gd name="connsiteY17" fmla="*/ 119205 h 456788"/>
                <a:gd name="connsiteX18" fmla="*/ 386118 w 458148"/>
                <a:gd name="connsiteY18" fmla="*/ 107984 h 456788"/>
                <a:gd name="connsiteX19" fmla="*/ 423443 w 458148"/>
                <a:gd name="connsiteY19" fmla="*/ 109635 h 456788"/>
                <a:gd name="connsiteX20" fmla="*/ 421792 w 458148"/>
                <a:gd name="connsiteY20" fmla="*/ 146954 h 456788"/>
                <a:gd name="connsiteX21" fmla="*/ 399123 w 458148"/>
                <a:gd name="connsiteY21" fmla="*/ 153304 h 456788"/>
                <a:gd name="connsiteX22" fmla="*/ 372707 w 458148"/>
                <a:gd name="connsiteY22" fmla="*/ 158384 h 456788"/>
                <a:gd name="connsiteX23" fmla="*/ 354116 w 458148"/>
                <a:gd name="connsiteY23" fmla="*/ 182666 h 456788"/>
                <a:gd name="connsiteX24" fmla="*/ 354038 w 458148"/>
                <a:gd name="connsiteY24" fmla="*/ 182387 h 456788"/>
                <a:gd name="connsiteX25" fmla="*/ 354038 w 458148"/>
                <a:gd name="connsiteY25" fmla="*/ 182768 h 456788"/>
                <a:gd name="connsiteX26" fmla="*/ 354116 w 458148"/>
                <a:gd name="connsiteY26" fmla="*/ 182666 h 456788"/>
                <a:gd name="connsiteX27" fmla="*/ 360388 w 458148"/>
                <a:gd name="connsiteY27" fmla="*/ 205184 h 456788"/>
                <a:gd name="connsiteX28" fmla="*/ 388709 w 458148"/>
                <a:gd name="connsiteY28" fmla="*/ 216995 h 456788"/>
                <a:gd name="connsiteX29" fmla="*/ 413791 w 458148"/>
                <a:gd name="connsiteY29" fmla="*/ 208486 h 456788"/>
                <a:gd name="connsiteX30" fmla="*/ 436905 w 458148"/>
                <a:gd name="connsiteY30" fmla="*/ 202453 h 456788"/>
                <a:gd name="connsiteX31" fmla="*/ 457162 w 458148"/>
                <a:gd name="connsiteY31" fmla="*/ 223599 h 456788"/>
                <a:gd name="connsiteX32" fmla="*/ 449872 w 458148"/>
                <a:gd name="connsiteY32" fmla="*/ 249875 h 456788"/>
                <a:gd name="connsiteX33" fmla="*/ 412712 w 458148"/>
                <a:gd name="connsiteY33" fmla="*/ 248745 h 456788"/>
                <a:gd name="connsiteX34" fmla="*/ 387312 w 458148"/>
                <a:gd name="connsiteY34" fmla="*/ 239982 h 456788"/>
                <a:gd name="connsiteX35" fmla="*/ 358991 w 458148"/>
                <a:gd name="connsiteY35" fmla="*/ 251729 h 456788"/>
                <a:gd name="connsiteX36" fmla="*/ 352958 w 458148"/>
                <a:gd name="connsiteY36" fmla="*/ 274335 h 456788"/>
                <a:gd name="connsiteX37" fmla="*/ 371627 w 458148"/>
                <a:gd name="connsiteY37" fmla="*/ 298719 h 456788"/>
                <a:gd name="connsiteX38" fmla="*/ 397599 w 458148"/>
                <a:gd name="connsiteY38" fmla="*/ 303863 h 456788"/>
                <a:gd name="connsiteX39" fmla="*/ 411855 w 458148"/>
                <a:gd name="connsiteY39" fmla="*/ 304593 h 456788"/>
                <a:gd name="connsiteX40" fmla="*/ 428460 w 458148"/>
                <a:gd name="connsiteY40" fmla="*/ 338057 h 456788"/>
                <a:gd name="connsiteX41" fmla="*/ 394995 w 458148"/>
                <a:gd name="connsiteY41" fmla="*/ 354663 h 456788"/>
                <a:gd name="connsiteX42" fmla="*/ 377977 w 458148"/>
                <a:gd name="connsiteY42" fmla="*/ 338280 h 456788"/>
                <a:gd name="connsiteX43" fmla="*/ 360324 w 458148"/>
                <a:gd name="connsiteY43" fmla="*/ 317960 h 456788"/>
                <a:gd name="connsiteX44" fmla="*/ 330035 w 458148"/>
                <a:gd name="connsiteY44" fmla="*/ 313959 h 456788"/>
                <a:gd name="connsiteX45" fmla="*/ 313398 w 458148"/>
                <a:gd name="connsiteY45" fmla="*/ 330596 h 456788"/>
                <a:gd name="connsiteX46" fmla="*/ 317398 w 458148"/>
                <a:gd name="connsiteY46" fmla="*/ 360822 h 456788"/>
                <a:gd name="connsiteX47" fmla="*/ 337337 w 458148"/>
                <a:gd name="connsiteY47" fmla="*/ 378221 h 456788"/>
                <a:gd name="connsiteX48" fmla="*/ 348132 w 458148"/>
                <a:gd name="connsiteY48" fmla="*/ 385200 h 456788"/>
                <a:gd name="connsiteX49" fmla="*/ 346831 w 458148"/>
                <a:gd name="connsiteY49" fmla="*/ 422443 h 456788"/>
                <a:gd name="connsiteX50" fmla="*/ 309588 w 458148"/>
                <a:gd name="connsiteY50" fmla="*/ 421147 h 456788"/>
                <a:gd name="connsiteX51" fmla="*/ 303238 w 458148"/>
                <a:gd name="connsiteY51" fmla="*/ 398478 h 456788"/>
                <a:gd name="connsiteX52" fmla="*/ 298094 w 458148"/>
                <a:gd name="connsiteY52" fmla="*/ 372062 h 456788"/>
                <a:gd name="connsiteX53" fmla="*/ 273837 w 458148"/>
                <a:gd name="connsiteY53" fmla="*/ 353393 h 456788"/>
                <a:gd name="connsiteX54" fmla="*/ 251231 w 458148"/>
                <a:gd name="connsiteY54" fmla="*/ 359743 h 456788"/>
                <a:gd name="connsiteX55" fmla="*/ 239547 w 458148"/>
                <a:gd name="connsiteY55" fmla="*/ 388000 h 456788"/>
                <a:gd name="connsiteX56" fmla="*/ 248056 w 458148"/>
                <a:gd name="connsiteY56" fmla="*/ 413019 h 456788"/>
                <a:gd name="connsiteX57" fmla="*/ 254235 w 458148"/>
                <a:gd name="connsiteY57" fmla="*/ 434971 h 456788"/>
                <a:gd name="connsiteX58" fmla="*/ 223736 w 458148"/>
                <a:gd name="connsiteY58" fmla="*/ 456390 h 456788"/>
                <a:gd name="connsiteX59" fmla="*/ 202527 w 458148"/>
                <a:gd name="connsiteY59" fmla="*/ 436324 h 456788"/>
                <a:gd name="connsiteX60" fmla="*/ 208242 w 458148"/>
                <a:gd name="connsiteY60" fmla="*/ 413400 h 456788"/>
                <a:gd name="connsiteX61" fmla="*/ 217005 w 458148"/>
                <a:gd name="connsiteY61" fmla="*/ 388000 h 456788"/>
                <a:gd name="connsiteX62" fmla="*/ 205321 w 458148"/>
                <a:gd name="connsiteY62" fmla="*/ 359679 h 456788"/>
                <a:gd name="connsiteX63" fmla="*/ 182905 w 458148"/>
                <a:gd name="connsiteY63" fmla="*/ 353647 h 456788"/>
                <a:gd name="connsiteX64" fmla="*/ 158585 w 458148"/>
                <a:gd name="connsiteY64" fmla="*/ 372316 h 456788"/>
                <a:gd name="connsiteX65" fmla="*/ 153441 w 458148"/>
                <a:gd name="connsiteY65" fmla="*/ 398732 h 456788"/>
                <a:gd name="connsiteX66" fmla="*/ 150393 w 458148"/>
                <a:gd name="connsiteY66" fmla="*/ 416575 h 456788"/>
                <a:gd name="connsiteX67" fmla="*/ 136017 w 458148"/>
                <a:gd name="connsiteY67" fmla="*/ 428386 h 456788"/>
                <a:gd name="connsiteX68" fmla="*/ 102597 w 458148"/>
                <a:gd name="connsiteY68" fmla="*/ 411895 h 456788"/>
                <a:gd name="connsiteX69" fmla="*/ 119088 w 458148"/>
                <a:gd name="connsiteY69" fmla="*/ 378475 h 456788"/>
                <a:gd name="connsiteX70" fmla="*/ 139027 w 458148"/>
                <a:gd name="connsiteY70" fmla="*/ 361076 h 456788"/>
                <a:gd name="connsiteX71" fmla="*/ 143027 w 458148"/>
                <a:gd name="connsiteY71" fmla="*/ 330850 h 456788"/>
                <a:gd name="connsiteX72" fmla="*/ 126390 w 458148"/>
                <a:gd name="connsiteY72" fmla="*/ 314213 h 456788"/>
                <a:gd name="connsiteX73" fmla="*/ 96101 w 458148"/>
                <a:gd name="connsiteY73" fmla="*/ 318214 h 456788"/>
                <a:gd name="connsiteX74" fmla="*/ 78448 w 458148"/>
                <a:gd name="connsiteY74" fmla="*/ 338534 h 456788"/>
                <a:gd name="connsiteX75" fmla="*/ 66954 w 458148"/>
                <a:gd name="connsiteY75" fmla="*/ 352504 h 456788"/>
                <a:gd name="connsiteX76" fmla="*/ 48584 w 458148"/>
                <a:gd name="connsiteY76" fmla="*/ 355552 h 456788"/>
                <a:gd name="connsiteX77" fmla="*/ 27889 w 458148"/>
                <a:gd name="connsiteY77" fmla="*/ 324551 h 456788"/>
                <a:gd name="connsiteX78" fmla="*/ 58890 w 458148"/>
                <a:gd name="connsiteY78" fmla="*/ 303863 h 456788"/>
                <a:gd name="connsiteX79" fmla="*/ 84861 w 458148"/>
                <a:gd name="connsiteY79" fmla="*/ 298719 h 456788"/>
                <a:gd name="connsiteX80" fmla="*/ 103467 w 458148"/>
                <a:gd name="connsiteY80" fmla="*/ 274335 h 456788"/>
                <a:gd name="connsiteX81" fmla="*/ 97117 w 458148"/>
                <a:gd name="connsiteY81" fmla="*/ 251729 h 456788"/>
                <a:gd name="connsiteX82" fmla="*/ 68796 w 458148"/>
                <a:gd name="connsiteY82" fmla="*/ 239982 h 456788"/>
                <a:gd name="connsiteX83" fmla="*/ 43396 w 458148"/>
                <a:gd name="connsiteY83" fmla="*/ 248745 h 456788"/>
                <a:gd name="connsiteX84" fmla="*/ 26441 w 458148"/>
                <a:gd name="connsiteY84" fmla="*/ 255095 h 456788"/>
                <a:gd name="connsiteX85" fmla="*/ 641 w 458148"/>
                <a:gd name="connsiteY85" fmla="*/ 234438 h 456788"/>
                <a:gd name="connsiteX86" fmla="*/ 20663 w 458148"/>
                <a:gd name="connsiteY86" fmla="*/ 202898 h 456788"/>
                <a:gd name="connsiteX87" fmla="*/ 43777 w 458148"/>
                <a:gd name="connsiteY87" fmla="*/ 208930 h 456788"/>
                <a:gd name="connsiteX88" fmla="*/ 69177 w 458148"/>
                <a:gd name="connsiteY88" fmla="*/ 217439 h 456788"/>
                <a:gd name="connsiteX89" fmla="*/ 97561 w 458148"/>
                <a:gd name="connsiteY89" fmla="*/ 205628 h 456788"/>
                <a:gd name="connsiteX90" fmla="*/ 103833 w 458148"/>
                <a:gd name="connsiteY90" fmla="*/ 183111 h 456788"/>
                <a:gd name="connsiteX91" fmla="*/ 103911 w 458148"/>
                <a:gd name="connsiteY91" fmla="*/ 183213 h 456788"/>
                <a:gd name="connsiteX92" fmla="*/ 103911 w 458148"/>
                <a:gd name="connsiteY92" fmla="*/ 182832 h 456788"/>
                <a:gd name="connsiteX93" fmla="*/ 103833 w 458148"/>
                <a:gd name="connsiteY93" fmla="*/ 183111 h 456788"/>
                <a:gd name="connsiteX94" fmla="*/ 85242 w 458148"/>
                <a:gd name="connsiteY94" fmla="*/ 158829 h 456788"/>
                <a:gd name="connsiteX95" fmla="*/ 58890 w 458148"/>
                <a:gd name="connsiteY95" fmla="*/ 153749 h 456788"/>
                <a:gd name="connsiteX96" fmla="*/ 41046 w 458148"/>
                <a:gd name="connsiteY96" fmla="*/ 150764 h 456788"/>
                <a:gd name="connsiteX97" fmla="*/ 29096 w 458148"/>
                <a:gd name="connsiteY97" fmla="*/ 120145 h 456788"/>
                <a:gd name="connsiteX98" fmla="*/ 62128 w 458148"/>
                <a:gd name="connsiteY98" fmla="*/ 102695 h 456788"/>
                <a:gd name="connsiteX99" fmla="*/ 79146 w 458148"/>
                <a:gd name="connsiteY99" fmla="*/ 119459 h 456788"/>
                <a:gd name="connsiteX100" fmla="*/ 96609 w 458148"/>
                <a:gd name="connsiteY100" fmla="*/ 139334 h 456788"/>
                <a:gd name="connsiteX101" fmla="*/ 127025 w 458148"/>
                <a:gd name="connsiteY101" fmla="*/ 143335 h 456788"/>
                <a:gd name="connsiteX102" fmla="*/ 143599 w 458148"/>
                <a:gd name="connsiteY102" fmla="*/ 126761 h 456788"/>
                <a:gd name="connsiteX103" fmla="*/ 139598 w 458148"/>
                <a:gd name="connsiteY103" fmla="*/ 96281 h 456788"/>
                <a:gd name="connsiteX104" fmla="*/ 119278 w 458148"/>
                <a:gd name="connsiteY104" fmla="*/ 78692 h 456788"/>
                <a:gd name="connsiteX105" fmla="*/ 108737 w 458148"/>
                <a:gd name="connsiteY105" fmla="*/ 71681 h 456788"/>
                <a:gd name="connsiteX106" fmla="*/ 110369 w 458148"/>
                <a:gd name="connsiteY106" fmla="*/ 34451 h 456788"/>
                <a:gd name="connsiteX107" fmla="*/ 147599 w 458148"/>
                <a:gd name="connsiteY107" fmla="*/ 36083 h 456788"/>
                <a:gd name="connsiteX108" fmla="*/ 153949 w 458148"/>
                <a:gd name="connsiteY108" fmla="*/ 59070 h 456788"/>
                <a:gd name="connsiteX109" fmla="*/ 159156 w 458148"/>
                <a:gd name="connsiteY109" fmla="*/ 85042 h 456788"/>
                <a:gd name="connsiteX110" fmla="*/ 183667 w 458148"/>
                <a:gd name="connsiteY110" fmla="*/ 103774 h 456788"/>
                <a:gd name="connsiteX111" fmla="*/ 206718 w 458148"/>
                <a:gd name="connsiteY111" fmla="*/ 97424 h 456788"/>
                <a:gd name="connsiteX112" fmla="*/ 205956 w 458148"/>
                <a:gd name="connsiteY112" fmla="*/ 97424 h 456788"/>
                <a:gd name="connsiteX113" fmla="*/ 217703 w 458148"/>
                <a:gd name="connsiteY113" fmla="*/ 69040 h 456788"/>
                <a:gd name="connsiteX114" fmla="*/ 208940 w 458148"/>
                <a:gd name="connsiteY114" fmla="*/ 43640 h 456788"/>
                <a:gd name="connsiteX115" fmla="*/ 202590 w 458148"/>
                <a:gd name="connsiteY115" fmla="*/ 26622 h 456788"/>
                <a:gd name="connsiteX116" fmla="*/ 223488 w 458148"/>
                <a:gd name="connsiteY116" fmla="*/ 574 h 456788"/>
                <a:gd name="connsiteX117" fmla="*/ 229387 w 458148"/>
                <a:gd name="connsiteY117" fmla="*/ 124030 h 456788"/>
                <a:gd name="connsiteX118" fmla="*/ 206146 w 458148"/>
                <a:gd name="connsiteY118" fmla="*/ 147144 h 456788"/>
                <a:gd name="connsiteX119" fmla="*/ 206146 w 458148"/>
                <a:gd name="connsiteY119" fmla="*/ 147208 h 456788"/>
                <a:gd name="connsiteX120" fmla="*/ 229197 w 458148"/>
                <a:gd name="connsiteY120" fmla="*/ 170385 h 456788"/>
                <a:gd name="connsiteX121" fmla="*/ 229260 w 458148"/>
                <a:gd name="connsiteY121" fmla="*/ 170385 h 456788"/>
                <a:gd name="connsiteX122" fmla="*/ 252501 w 458148"/>
                <a:gd name="connsiteY122" fmla="*/ 147271 h 456788"/>
                <a:gd name="connsiteX123" fmla="*/ 229387 w 458148"/>
                <a:gd name="connsiteY123" fmla="*/ 124030 h 456788"/>
                <a:gd name="connsiteX124" fmla="*/ 305262 w 458148"/>
                <a:gd name="connsiteY124" fmla="*/ 165197 h 456788"/>
                <a:gd name="connsiteX125" fmla="*/ 287667 w 458148"/>
                <a:gd name="connsiteY125" fmla="*/ 167464 h 456788"/>
                <a:gd name="connsiteX126" fmla="*/ 287553 w 458148"/>
                <a:gd name="connsiteY126" fmla="*/ 167528 h 456788"/>
                <a:gd name="connsiteX127" fmla="*/ 279266 w 458148"/>
                <a:gd name="connsiteY127" fmla="*/ 199151 h 456788"/>
                <a:gd name="connsiteX128" fmla="*/ 310889 w 458148"/>
                <a:gd name="connsiteY128" fmla="*/ 207431 h 456788"/>
                <a:gd name="connsiteX129" fmla="*/ 319303 w 458148"/>
                <a:gd name="connsiteY129" fmla="*/ 176037 h 456788"/>
                <a:gd name="connsiteX130" fmla="*/ 305262 w 458148"/>
                <a:gd name="connsiteY130" fmla="*/ 165197 h 456788"/>
                <a:gd name="connsiteX131" fmla="*/ 153422 w 458148"/>
                <a:gd name="connsiteY131" fmla="*/ 165277 h 456788"/>
                <a:gd name="connsiteX132" fmla="*/ 139420 w 458148"/>
                <a:gd name="connsiteY132" fmla="*/ 176094 h 456788"/>
                <a:gd name="connsiteX133" fmla="*/ 147986 w 458148"/>
                <a:gd name="connsiteY133" fmla="*/ 207641 h 456788"/>
                <a:gd name="connsiteX134" fmla="*/ 179412 w 458148"/>
                <a:gd name="connsiteY134" fmla="*/ 199278 h 456788"/>
                <a:gd name="connsiteX135" fmla="*/ 171062 w 458148"/>
                <a:gd name="connsiteY135" fmla="*/ 167585 h 456788"/>
                <a:gd name="connsiteX136" fmla="*/ 170967 w 458148"/>
                <a:gd name="connsiteY136" fmla="*/ 167528 h 456788"/>
                <a:gd name="connsiteX137" fmla="*/ 153422 w 458148"/>
                <a:gd name="connsiteY137" fmla="*/ 165277 h 456788"/>
                <a:gd name="connsiteX138" fmla="*/ 229260 w 458148"/>
                <a:gd name="connsiteY138" fmla="*/ 198199 h 456788"/>
                <a:gd name="connsiteX139" fmla="*/ 200050 w 458148"/>
                <a:gd name="connsiteY139" fmla="*/ 227409 h 456788"/>
                <a:gd name="connsiteX140" fmla="*/ 229260 w 458148"/>
                <a:gd name="connsiteY140" fmla="*/ 256619 h 456788"/>
                <a:gd name="connsiteX141" fmla="*/ 258470 w 458148"/>
                <a:gd name="connsiteY141" fmla="*/ 227409 h 456788"/>
                <a:gd name="connsiteX142" fmla="*/ 229260 w 458148"/>
                <a:gd name="connsiteY142" fmla="*/ 198199 h 456788"/>
                <a:gd name="connsiteX143" fmla="*/ 293115 w 458148"/>
                <a:gd name="connsiteY143" fmla="*/ 246027 h 456788"/>
                <a:gd name="connsiteX144" fmla="*/ 279139 w 458148"/>
                <a:gd name="connsiteY144" fmla="*/ 256873 h 456788"/>
                <a:gd name="connsiteX145" fmla="*/ 287782 w 458148"/>
                <a:gd name="connsiteY145" fmla="*/ 288400 h 456788"/>
                <a:gd name="connsiteX146" fmla="*/ 319176 w 458148"/>
                <a:gd name="connsiteY146" fmla="*/ 279987 h 456788"/>
                <a:gd name="connsiteX147" fmla="*/ 311004 w 458148"/>
                <a:gd name="connsiteY147" fmla="*/ 248427 h 456788"/>
                <a:gd name="connsiteX148" fmla="*/ 310667 w 458148"/>
                <a:gd name="connsiteY148" fmla="*/ 248237 h 456788"/>
                <a:gd name="connsiteX149" fmla="*/ 293115 w 458148"/>
                <a:gd name="connsiteY149" fmla="*/ 246027 h 456788"/>
                <a:gd name="connsiteX150" fmla="*/ 165604 w 458148"/>
                <a:gd name="connsiteY150" fmla="*/ 245867 h 456788"/>
                <a:gd name="connsiteX151" fmla="*/ 148057 w 458148"/>
                <a:gd name="connsiteY151" fmla="*/ 248116 h 456788"/>
                <a:gd name="connsiteX152" fmla="*/ 147854 w 458148"/>
                <a:gd name="connsiteY152" fmla="*/ 248236 h 456788"/>
                <a:gd name="connsiteX153" fmla="*/ 139611 w 458148"/>
                <a:gd name="connsiteY153" fmla="*/ 279866 h 456788"/>
                <a:gd name="connsiteX154" fmla="*/ 171241 w 458148"/>
                <a:gd name="connsiteY154" fmla="*/ 288108 h 456788"/>
                <a:gd name="connsiteX155" fmla="*/ 179604 w 458148"/>
                <a:gd name="connsiteY155" fmla="*/ 256682 h 456788"/>
                <a:gd name="connsiteX156" fmla="*/ 165604 w 458148"/>
                <a:gd name="connsiteY156" fmla="*/ 245867 h 456788"/>
                <a:gd name="connsiteX157" fmla="*/ 229260 w 458148"/>
                <a:gd name="connsiteY157" fmla="*/ 285447 h 456788"/>
                <a:gd name="connsiteX158" fmla="*/ 206019 w 458148"/>
                <a:gd name="connsiteY158" fmla="*/ 308561 h 456788"/>
                <a:gd name="connsiteX159" fmla="*/ 229133 w 458148"/>
                <a:gd name="connsiteY159" fmla="*/ 331802 h 456788"/>
                <a:gd name="connsiteX160" fmla="*/ 252374 w 458148"/>
                <a:gd name="connsiteY160" fmla="*/ 308688 h 456788"/>
                <a:gd name="connsiteX161" fmla="*/ 252374 w 458148"/>
                <a:gd name="connsiteY161" fmla="*/ 308561 h 456788"/>
                <a:gd name="connsiteX162" fmla="*/ 229260 w 458148"/>
                <a:gd name="connsiteY162" fmla="*/ 285447 h 456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458148" h="456788">
                  <a:moveTo>
                    <a:pt x="223488" y="574"/>
                  </a:moveTo>
                  <a:cubicBezTo>
                    <a:pt x="237731" y="-2436"/>
                    <a:pt x="251714" y="6670"/>
                    <a:pt x="254724" y="20907"/>
                  </a:cubicBezTo>
                  <a:cubicBezTo>
                    <a:pt x="256578" y="29105"/>
                    <a:pt x="254355" y="37690"/>
                    <a:pt x="248755" y="43957"/>
                  </a:cubicBezTo>
                  <a:cubicBezTo>
                    <a:pt x="243072" y="51069"/>
                    <a:pt x="240062" y="59940"/>
                    <a:pt x="240246" y="69040"/>
                  </a:cubicBezTo>
                  <a:cubicBezTo>
                    <a:pt x="239852" y="79803"/>
                    <a:pt x="244195" y="90198"/>
                    <a:pt x="252120" y="97488"/>
                  </a:cubicBezTo>
                  <a:cubicBezTo>
                    <a:pt x="259715" y="98840"/>
                    <a:pt x="267170" y="100860"/>
                    <a:pt x="274409" y="103520"/>
                  </a:cubicBezTo>
                  <a:cubicBezTo>
                    <a:pt x="284937" y="101152"/>
                    <a:pt x="293910" y="94313"/>
                    <a:pt x="298983" y="84788"/>
                  </a:cubicBezTo>
                  <a:cubicBezTo>
                    <a:pt x="303689" y="77003"/>
                    <a:pt x="305511" y="67808"/>
                    <a:pt x="304127" y="58816"/>
                  </a:cubicBezTo>
                  <a:cubicBezTo>
                    <a:pt x="302819" y="52549"/>
                    <a:pt x="303854" y="46015"/>
                    <a:pt x="307048" y="40465"/>
                  </a:cubicBezTo>
                  <a:cubicBezTo>
                    <a:pt x="307810" y="39150"/>
                    <a:pt x="308680" y="37906"/>
                    <a:pt x="309651" y="36737"/>
                  </a:cubicBezTo>
                  <a:cubicBezTo>
                    <a:pt x="319011" y="25549"/>
                    <a:pt x="335667" y="24056"/>
                    <a:pt x="346862" y="33416"/>
                  </a:cubicBezTo>
                  <a:cubicBezTo>
                    <a:pt x="354939" y="40274"/>
                    <a:pt x="358203" y="51260"/>
                    <a:pt x="355181" y="61420"/>
                  </a:cubicBezTo>
                  <a:cubicBezTo>
                    <a:pt x="352730" y="69370"/>
                    <a:pt x="346646" y="75688"/>
                    <a:pt x="338798" y="78438"/>
                  </a:cubicBezTo>
                  <a:cubicBezTo>
                    <a:pt x="330130" y="81664"/>
                    <a:pt x="322910" y="87912"/>
                    <a:pt x="318478" y="96027"/>
                  </a:cubicBezTo>
                  <a:cubicBezTo>
                    <a:pt x="312807" y="105133"/>
                    <a:pt x="311347" y="116246"/>
                    <a:pt x="314477" y="126507"/>
                  </a:cubicBezTo>
                  <a:cubicBezTo>
                    <a:pt x="320465" y="131530"/>
                    <a:pt x="325990" y="137074"/>
                    <a:pt x="330987" y="143081"/>
                  </a:cubicBezTo>
                  <a:cubicBezTo>
                    <a:pt x="341243" y="146243"/>
                    <a:pt x="352374" y="144783"/>
                    <a:pt x="361467" y="139080"/>
                  </a:cubicBezTo>
                  <a:cubicBezTo>
                    <a:pt x="369411" y="134692"/>
                    <a:pt x="375571" y="127663"/>
                    <a:pt x="378866" y="119205"/>
                  </a:cubicBezTo>
                  <a:cubicBezTo>
                    <a:pt x="380282" y="114906"/>
                    <a:pt x="382778" y="111039"/>
                    <a:pt x="386118" y="107984"/>
                  </a:cubicBezTo>
                  <a:cubicBezTo>
                    <a:pt x="396881" y="98135"/>
                    <a:pt x="413594" y="98872"/>
                    <a:pt x="423443" y="109635"/>
                  </a:cubicBezTo>
                  <a:cubicBezTo>
                    <a:pt x="433292" y="120392"/>
                    <a:pt x="432556" y="137105"/>
                    <a:pt x="421792" y="146954"/>
                  </a:cubicBezTo>
                  <a:cubicBezTo>
                    <a:pt x="415684" y="152568"/>
                    <a:pt x="407257" y="154930"/>
                    <a:pt x="399123" y="153304"/>
                  </a:cubicBezTo>
                  <a:cubicBezTo>
                    <a:pt x="389992" y="151793"/>
                    <a:pt x="380625" y="153596"/>
                    <a:pt x="372707" y="158384"/>
                  </a:cubicBezTo>
                  <a:lnTo>
                    <a:pt x="354116" y="182666"/>
                  </a:lnTo>
                  <a:lnTo>
                    <a:pt x="354038" y="182387"/>
                  </a:lnTo>
                  <a:lnTo>
                    <a:pt x="354038" y="182768"/>
                  </a:lnTo>
                  <a:lnTo>
                    <a:pt x="354116" y="182666"/>
                  </a:lnTo>
                  <a:lnTo>
                    <a:pt x="360388" y="205184"/>
                  </a:lnTo>
                  <a:cubicBezTo>
                    <a:pt x="367659" y="213051"/>
                    <a:pt x="378003" y="217363"/>
                    <a:pt x="388709" y="216995"/>
                  </a:cubicBezTo>
                  <a:cubicBezTo>
                    <a:pt x="397808" y="217192"/>
                    <a:pt x="406686" y="214175"/>
                    <a:pt x="413791" y="208486"/>
                  </a:cubicBezTo>
                  <a:cubicBezTo>
                    <a:pt x="420059" y="202840"/>
                    <a:pt x="428676" y="200593"/>
                    <a:pt x="436905" y="202453"/>
                  </a:cubicBezTo>
                  <a:cubicBezTo>
                    <a:pt x="447268" y="204835"/>
                    <a:pt x="455231" y="213140"/>
                    <a:pt x="457162" y="223599"/>
                  </a:cubicBezTo>
                  <a:cubicBezTo>
                    <a:pt x="459822" y="233035"/>
                    <a:pt x="457009" y="243163"/>
                    <a:pt x="449872" y="249875"/>
                  </a:cubicBezTo>
                  <a:cubicBezTo>
                    <a:pt x="439299" y="259825"/>
                    <a:pt x="422662" y="259317"/>
                    <a:pt x="412712" y="248745"/>
                  </a:cubicBezTo>
                  <a:cubicBezTo>
                    <a:pt x="405568" y="242877"/>
                    <a:pt x="396557" y="239766"/>
                    <a:pt x="387312" y="239982"/>
                  </a:cubicBezTo>
                  <a:cubicBezTo>
                    <a:pt x="376618" y="239620"/>
                    <a:pt x="366287" y="243906"/>
                    <a:pt x="358991" y="251729"/>
                  </a:cubicBezTo>
                  <a:cubicBezTo>
                    <a:pt x="357676" y="259432"/>
                    <a:pt x="355657" y="267001"/>
                    <a:pt x="352958" y="274335"/>
                  </a:cubicBezTo>
                  <a:cubicBezTo>
                    <a:pt x="355308" y="284806"/>
                    <a:pt x="362134" y="293715"/>
                    <a:pt x="371627" y="298719"/>
                  </a:cubicBezTo>
                  <a:cubicBezTo>
                    <a:pt x="379406" y="303444"/>
                    <a:pt x="388607" y="305266"/>
                    <a:pt x="397599" y="303863"/>
                  </a:cubicBezTo>
                  <a:cubicBezTo>
                    <a:pt x="402330" y="302796"/>
                    <a:pt x="407264" y="303043"/>
                    <a:pt x="411855" y="304593"/>
                  </a:cubicBezTo>
                  <a:cubicBezTo>
                    <a:pt x="425685" y="309248"/>
                    <a:pt x="433114" y="324233"/>
                    <a:pt x="428460" y="338057"/>
                  </a:cubicBezTo>
                  <a:cubicBezTo>
                    <a:pt x="423805" y="351881"/>
                    <a:pt x="408819" y="359317"/>
                    <a:pt x="394995" y="354663"/>
                  </a:cubicBezTo>
                  <a:cubicBezTo>
                    <a:pt x="387032" y="352231"/>
                    <a:pt x="380714" y="346141"/>
                    <a:pt x="377977" y="338280"/>
                  </a:cubicBezTo>
                  <a:cubicBezTo>
                    <a:pt x="374707" y="329618"/>
                    <a:pt x="368446" y="322411"/>
                    <a:pt x="360324" y="317960"/>
                  </a:cubicBezTo>
                  <a:cubicBezTo>
                    <a:pt x="351282" y="312315"/>
                    <a:pt x="340233" y="310854"/>
                    <a:pt x="330035" y="313959"/>
                  </a:cubicBezTo>
                  <a:cubicBezTo>
                    <a:pt x="324974" y="319973"/>
                    <a:pt x="319411" y="325535"/>
                    <a:pt x="313398" y="330596"/>
                  </a:cubicBezTo>
                  <a:cubicBezTo>
                    <a:pt x="310331" y="340782"/>
                    <a:pt x="311785" y="351792"/>
                    <a:pt x="317398" y="360822"/>
                  </a:cubicBezTo>
                  <a:cubicBezTo>
                    <a:pt x="321805" y="368779"/>
                    <a:pt x="328860" y="374932"/>
                    <a:pt x="337337" y="378221"/>
                  </a:cubicBezTo>
                  <a:cubicBezTo>
                    <a:pt x="341452" y="379618"/>
                    <a:pt x="345161" y="382019"/>
                    <a:pt x="348132" y="385200"/>
                  </a:cubicBezTo>
                  <a:cubicBezTo>
                    <a:pt x="358057" y="395842"/>
                    <a:pt x="357473" y="412518"/>
                    <a:pt x="346831" y="422443"/>
                  </a:cubicBezTo>
                  <a:cubicBezTo>
                    <a:pt x="336188" y="432368"/>
                    <a:pt x="319513" y="431790"/>
                    <a:pt x="309588" y="421147"/>
                  </a:cubicBezTo>
                  <a:cubicBezTo>
                    <a:pt x="303974" y="415039"/>
                    <a:pt x="301612" y="406612"/>
                    <a:pt x="303238" y="398478"/>
                  </a:cubicBezTo>
                  <a:cubicBezTo>
                    <a:pt x="304755" y="389340"/>
                    <a:pt x="302927" y="379961"/>
                    <a:pt x="298094" y="372062"/>
                  </a:cubicBezTo>
                  <a:cubicBezTo>
                    <a:pt x="293084" y="362626"/>
                    <a:pt x="284239" y="355818"/>
                    <a:pt x="273837" y="353393"/>
                  </a:cubicBezTo>
                  <a:cubicBezTo>
                    <a:pt x="266503" y="356161"/>
                    <a:pt x="258940" y="358289"/>
                    <a:pt x="251231" y="359743"/>
                  </a:cubicBezTo>
                  <a:cubicBezTo>
                    <a:pt x="243440" y="367033"/>
                    <a:pt x="239179" y="377339"/>
                    <a:pt x="239547" y="388000"/>
                  </a:cubicBezTo>
                  <a:cubicBezTo>
                    <a:pt x="239363" y="397081"/>
                    <a:pt x="242373" y="405933"/>
                    <a:pt x="248056" y="413019"/>
                  </a:cubicBezTo>
                  <a:cubicBezTo>
                    <a:pt x="253339" y="419020"/>
                    <a:pt x="255613" y="427097"/>
                    <a:pt x="254235" y="434971"/>
                  </a:cubicBezTo>
                  <a:cubicBezTo>
                    <a:pt x="251727" y="449310"/>
                    <a:pt x="238074" y="458898"/>
                    <a:pt x="223736" y="456390"/>
                  </a:cubicBezTo>
                  <a:cubicBezTo>
                    <a:pt x="213309" y="454510"/>
                    <a:pt x="204984" y="446630"/>
                    <a:pt x="202527" y="436324"/>
                  </a:cubicBezTo>
                  <a:cubicBezTo>
                    <a:pt x="200666" y="428208"/>
                    <a:pt x="202787" y="419693"/>
                    <a:pt x="208242" y="413400"/>
                  </a:cubicBezTo>
                  <a:cubicBezTo>
                    <a:pt x="214090" y="406244"/>
                    <a:pt x="217195" y="397239"/>
                    <a:pt x="217005" y="388000"/>
                  </a:cubicBezTo>
                  <a:cubicBezTo>
                    <a:pt x="217360" y="377320"/>
                    <a:pt x="213100" y="367001"/>
                    <a:pt x="205321" y="359679"/>
                  </a:cubicBezTo>
                  <a:cubicBezTo>
                    <a:pt x="197675" y="358365"/>
                    <a:pt x="190176" y="356345"/>
                    <a:pt x="182905" y="353647"/>
                  </a:cubicBezTo>
                  <a:cubicBezTo>
                    <a:pt x="172472" y="356047"/>
                    <a:pt x="163601" y="362861"/>
                    <a:pt x="158585" y="372316"/>
                  </a:cubicBezTo>
                  <a:cubicBezTo>
                    <a:pt x="153778" y="380228"/>
                    <a:pt x="151955" y="389594"/>
                    <a:pt x="153441" y="398732"/>
                  </a:cubicBezTo>
                  <a:cubicBezTo>
                    <a:pt x="154622" y="404853"/>
                    <a:pt x="153536" y="411190"/>
                    <a:pt x="150393" y="416575"/>
                  </a:cubicBezTo>
                  <a:cubicBezTo>
                    <a:pt x="147199" y="422132"/>
                    <a:pt x="142087" y="426329"/>
                    <a:pt x="136017" y="428386"/>
                  </a:cubicBezTo>
                  <a:cubicBezTo>
                    <a:pt x="122237" y="433060"/>
                    <a:pt x="107270" y="425681"/>
                    <a:pt x="102597" y="411895"/>
                  </a:cubicBezTo>
                  <a:cubicBezTo>
                    <a:pt x="97923" y="398116"/>
                    <a:pt x="105302" y="383149"/>
                    <a:pt x="119088" y="378475"/>
                  </a:cubicBezTo>
                  <a:cubicBezTo>
                    <a:pt x="127565" y="375186"/>
                    <a:pt x="134620" y="369033"/>
                    <a:pt x="139027" y="361076"/>
                  </a:cubicBezTo>
                  <a:cubicBezTo>
                    <a:pt x="144672" y="352053"/>
                    <a:pt x="146132" y="341029"/>
                    <a:pt x="143027" y="330850"/>
                  </a:cubicBezTo>
                  <a:cubicBezTo>
                    <a:pt x="137033" y="325777"/>
                    <a:pt x="131464" y="320208"/>
                    <a:pt x="126390" y="314213"/>
                  </a:cubicBezTo>
                  <a:cubicBezTo>
                    <a:pt x="116192" y="311115"/>
                    <a:pt x="105150" y="312575"/>
                    <a:pt x="96101" y="318214"/>
                  </a:cubicBezTo>
                  <a:cubicBezTo>
                    <a:pt x="87992" y="322684"/>
                    <a:pt x="81737" y="329885"/>
                    <a:pt x="78448" y="338534"/>
                  </a:cubicBezTo>
                  <a:cubicBezTo>
                    <a:pt x="76429" y="344427"/>
                    <a:pt x="72345" y="349386"/>
                    <a:pt x="66954" y="352504"/>
                  </a:cubicBezTo>
                  <a:cubicBezTo>
                    <a:pt x="61404" y="355723"/>
                    <a:pt x="54870" y="356803"/>
                    <a:pt x="48584" y="355552"/>
                  </a:cubicBezTo>
                  <a:cubicBezTo>
                    <a:pt x="34309" y="352701"/>
                    <a:pt x="25044" y="338826"/>
                    <a:pt x="27889" y="324551"/>
                  </a:cubicBezTo>
                  <a:cubicBezTo>
                    <a:pt x="30740" y="310276"/>
                    <a:pt x="44615" y="301018"/>
                    <a:pt x="58890" y="303863"/>
                  </a:cubicBezTo>
                  <a:cubicBezTo>
                    <a:pt x="67881" y="305247"/>
                    <a:pt x="77076" y="303425"/>
                    <a:pt x="84861" y="298719"/>
                  </a:cubicBezTo>
                  <a:cubicBezTo>
                    <a:pt x="94323" y="293696"/>
                    <a:pt x="101124" y="284787"/>
                    <a:pt x="103467" y="274335"/>
                  </a:cubicBezTo>
                  <a:cubicBezTo>
                    <a:pt x="100717" y="266995"/>
                    <a:pt x="98590" y="259432"/>
                    <a:pt x="97117" y="251729"/>
                  </a:cubicBezTo>
                  <a:cubicBezTo>
                    <a:pt x="89827" y="243893"/>
                    <a:pt x="79496" y="239601"/>
                    <a:pt x="68796" y="239982"/>
                  </a:cubicBezTo>
                  <a:cubicBezTo>
                    <a:pt x="59557" y="239772"/>
                    <a:pt x="50546" y="242884"/>
                    <a:pt x="43396" y="248745"/>
                  </a:cubicBezTo>
                  <a:cubicBezTo>
                    <a:pt x="38684" y="252815"/>
                    <a:pt x="32671" y="255069"/>
                    <a:pt x="26441" y="255095"/>
                  </a:cubicBezTo>
                  <a:cubicBezTo>
                    <a:pt x="14065" y="255107"/>
                    <a:pt x="3340" y="246516"/>
                    <a:pt x="641" y="234438"/>
                  </a:cubicBezTo>
                  <a:cubicBezTo>
                    <a:pt x="-2540" y="220195"/>
                    <a:pt x="6426" y="206079"/>
                    <a:pt x="20663" y="202898"/>
                  </a:cubicBezTo>
                  <a:cubicBezTo>
                    <a:pt x="28892" y="201037"/>
                    <a:pt x="37509" y="203285"/>
                    <a:pt x="43777" y="208930"/>
                  </a:cubicBezTo>
                  <a:cubicBezTo>
                    <a:pt x="50965" y="214690"/>
                    <a:pt x="59969" y="217706"/>
                    <a:pt x="69177" y="217439"/>
                  </a:cubicBezTo>
                  <a:cubicBezTo>
                    <a:pt x="79902" y="217795"/>
                    <a:pt x="90252" y="213489"/>
                    <a:pt x="97561" y="205628"/>
                  </a:cubicBezTo>
                  <a:lnTo>
                    <a:pt x="103833" y="183111"/>
                  </a:lnTo>
                  <a:lnTo>
                    <a:pt x="103911" y="183213"/>
                  </a:lnTo>
                  <a:lnTo>
                    <a:pt x="103911" y="182832"/>
                  </a:lnTo>
                  <a:lnTo>
                    <a:pt x="103833" y="183111"/>
                  </a:lnTo>
                  <a:lnTo>
                    <a:pt x="85242" y="158829"/>
                  </a:lnTo>
                  <a:cubicBezTo>
                    <a:pt x="77343" y="154047"/>
                    <a:pt x="67996" y="152250"/>
                    <a:pt x="58890" y="153749"/>
                  </a:cubicBezTo>
                  <a:cubicBezTo>
                    <a:pt x="52775" y="154904"/>
                    <a:pt x="46450" y="153850"/>
                    <a:pt x="41046" y="150764"/>
                  </a:cubicBezTo>
                  <a:cubicBezTo>
                    <a:pt x="30423" y="144579"/>
                    <a:pt x="25470" y="131886"/>
                    <a:pt x="29096" y="120145"/>
                  </a:cubicBezTo>
                  <a:cubicBezTo>
                    <a:pt x="33401" y="106206"/>
                    <a:pt x="48190" y="98390"/>
                    <a:pt x="62128" y="102695"/>
                  </a:cubicBezTo>
                  <a:cubicBezTo>
                    <a:pt x="70174" y="105203"/>
                    <a:pt x="76511" y="111451"/>
                    <a:pt x="79146" y="119459"/>
                  </a:cubicBezTo>
                  <a:cubicBezTo>
                    <a:pt x="82442" y="127936"/>
                    <a:pt x="88627" y="134972"/>
                    <a:pt x="96609" y="139334"/>
                  </a:cubicBezTo>
                  <a:cubicBezTo>
                    <a:pt x="105683" y="145036"/>
                    <a:pt x="116789" y="146497"/>
                    <a:pt x="127025" y="143335"/>
                  </a:cubicBezTo>
                  <a:cubicBezTo>
                    <a:pt x="132029" y="137315"/>
                    <a:pt x="137579" y="131765"/>
                    <a:pt x="143599" y="126761"/>
                  </a:cubicBezTo>
                  <a:cubicBezTo>
                    <a:pt x="146698" y="116500"/>
                    <a:pt x="145237" y="105400"/>
                    <a:pt x="139598" y="96281"/>
                  </a:cubicBezTo>
                  <a:cubicBezTo>
                    <a:pt x="135134" y="88185"/>
                    <a:pt x="127927" y="81949"/>
                    <a:pt x="119278" y="78692"/>
                  </a:cubicBezTo>
                  <a:cubicBezTo>
                    <a:pt x="115246" y="77250"/>
                    <a:pt x="111627" y="74844"/>
                    <a:pt x="108737" y="71681"/>
                  </a:cubicBezTo>
                  <a:cubicBezTo>
                    <a:pt x="98907" y="60950"/>
                    <a:pt x="99638" y="44281"/>
                    <a:pt x="110369" y="34451"/>
                  </a:cubicBezTo>
                  <a:cubicBezTo>
                    <a:pt x="121101" y="24622"/>
                    <a:pt x="137769" y="25352"/>
                    <a:pt x="147599" y="36083"/>
                  </a:cubicBezTo>
                  <a:cubicBezTo>
                    <a:pt x="153327" y="42255"/>
                    <a:pt x="155696" y="50834"/>
                    <a:pt x="153949" y="59070"/>
                  </a:cubicBezTo>
                  <a:cubicBezTo>
                    <a:pt x="152616" y="68068"/>
                    <a:pt x="154457" y="77250"/>
                    <a:pt x="159156" y="85042"/>
                  </a:cubicBezTo>
                  <a:cubicBezTo>
                    <a:pt x="164217" y="94548"/>
                    <a:pt x="173164" y="101387"/>
                    <a:pt x="183667" y="103774"/>
                  </a:cubicBezTo>
                  <a:cubicBezTo>
                    <a:pt x="191135" y="100942"/>
                    <a:pt x="198850" y="98821"/>
                    <a:pt x="206718" y="97424"/>
                  </a:cubicBezTo>
                  <a:lnTo>
                    <a:pt x="205956" y="97424"/>
                  </a:lnTo>
                  <a:cubicBezTo>
                    <a:pt x="213792" y="90103"/>
                    <a:pt x="218072" y="79752"/>
                    <a:pt x="217703" y="69040"/>
                  </a:cubicBezTo>
                  <a:cubicBezTo>
                    <a:pt x="217894" y="59800"/>
                    <a:pt x="214789" y="50796"/>
                    <a:pt x="208940" y="43640"/>
                  </a:cubicBezTo>
                  <a:cubicBezTo>
                    <a:pt x="204851" y="38915"/>
                    <a:pt x="202597" y="32870"/>
                    <a:pt x="202590" y="26622"/>
                  </a:cubicBezTo>
                  <a:cubicBezTo>
                    <a:pt x="202463" y="14068"/>
                    <a:pt x="211207" y="3171"/>
                    <a:pt x="223488" y="574"/>
                  </a:cubicBezTo>
                  <a:close/>
                  <a:moveTo>
                    <a:pt x="229387" y="124030"/>
                  </a:moveTo>
                  <a:cubicBezTo>
                    <a:pt x="216585" y="123998"/>
                    <a:pt x="206184" y="134342"/>
                    <a:pt x="206146" y="147144"/>
                  </a:cubicBezTo>
                  <a:cubicBezTo>
                    <a:pt x="206146" y="147163"/>
                    <a:pt x="206146" y="147189"/>
                    <a:pt x="206146" y="147208"/>
                  </a:cubicBezTo>
                  <a:cubicBezTo>
                    <a:pt x="206108" y="159971"/>
                    <a:pt x="216433" y="170347"/>
                    <a:pt x="229197" y="170385"/>
                  </a:cubicBezTo>
                  <a:cubicBezTo>
                    <a:pt x="229216" y="170385"/>
                    <a:pt x="229241" y="170385"/>
                    <a:pt x="229260" y="170385"/>
                  </a:cubicBezTo>
                  <a:cubicBezTo>
                    <a:pt x="242062" y="170423"/>
                    <a:pt x="252463" y="160073"/>
                    <a:pt x="252501" y="147271"/>
                  </a:cubicBezTo>
                  <a:cubicBezTo>
                    <a:pt x="252539" y="134469"/>
                    <a:pt x="242189" y="124068"/>
                    <a:pt x="229387" y="124030"/>
                  </a:cubicBezTo>
                  <a:close/>
                  <a:moveTo>
                    <a:pt x="305262" y="165197"/>
                  </a:moveTo>
                  <a:cubicBezTo>
                    <a:pt x="299537" y="163646"/>
                    <a:pt x="293221" y="164280"/>
                    <a:pt x="287667" y="167464"/>
                  </a:cubicBezTo>
                  <a:cubicBezTo>
                    <a:pt x="287629" y="167483"/>
                    <a:pt x="287591" y="167509"/>
                    <a:pt x="287553" y="167528"/>
                  </a:cubicBezTo>
                  <a:cubicBezTo>
                    <a:pt x="276536" y="173973"/>
                    <a:pt x="272821" y="188127"/>
                    <a:pt x="279266" y="199151"/>
                  </a:cubicBezTo>
                  <a:cubicBezTo>
                    <a:pt x="285712" y="210168"/>
                    <a:pt x="299872" y="213876"/>
                    <a:pt x="310889" y="207431"/>
                  </a:cubicBezTo>
                  <a:cubicBezTo>
                    <a:pt x="321824" y="201043"/>
                    <a:pt x="325571" y="187041"/>
                    <a:pt x="319303" y="176037"/>
                  </a:cubicBezTo>
                  <a:cubicBezTo>
                    <a:pt x="316119" y="170484"/>
                    <a:pt x="310986" y="166748"/>
                    <a:pt x="305262" y="165197"/>
                  </a:cubicBezTo>
                  <a:close/>
                  <a:moveTo>
                    <a:pt x="153422" y="165277"/>
                  </a:moveTo>
                  <a:cubicBezTo>
                    <a:pt x="147713" y="166826"/>
                    <a:pt x="142595" y="170554"/>
                    <a:pt x="139420" y="176094"/>
                  </a:cubicBezTo>
                  <a:cubicBezTo>
                    <a:pt x="133076" y="187169"/>
                    <a:pt x="136905" y="201291"/>
                    <a:pt x="147986" y="207641"/>
                  </a:cubicBezTo>
                  <a:cubicBezTo>
                    <a:pt x="158978" y="213940"/>
                    <a:pt x="172999" y="210213"/>
                    <a:pt x="179412" y="199278"/>
                  </a:cubicBezTo>
                  <a:cubicBezTo>
                    <a:pt x="185858" y="188216"/>
                    <a:pt x="182117" y="174030"/>
                    <a:pt x="171062" y="167585"/>
                  </a:cubicBezTo>
                  <a:cubicBezTo>
                    <a:pt x="171030" y="167566"/>
                    <a:pt x="170999" y="167547"/>
                    <a:pt x="170967" y="167528"/>
                  </a:cubicBezTo>
                  <a:cubicBezTo>
                    <a:pt x="165429" y="164356"/>
                    <a:pt x="159130" y="163727"/>
                    <a:pt x="153422" y="165277"/>
                  </a:cubicBezTo>
                  <a:close/>
                  <a:moveTo>
                    <a:pt x="229260" y="198199"/>
                  </a:moveTo>
                  <a:cubicBezTo>
                    <a:pt x="213125" y="198199"/>
                    <a:pt x="200050" y="211274"/>
                    <a:pt x="200050" y="227409"/>
                  </a:cubicBezTo>
                  <a:cubicBezTo>
                    <a:pt x="200050" y="243544"/>
                    <a:pt x="213125" y="256619"/>
                    <a:pt x="229260" y="256619"/>
                  </a:cubicBezTo>
                  <a:cubicBezTo>
                    <a:pt x="245395" y="256619"/>
                    <a:pt x="258470" y="243544"/>
                    <a:pt x="258470" y="227409"/>
                  </a:cubicBezTo>
                  <a:cubicBezTo>
                    <a:pt x="258470" y="211280"/>
                    <a:pt x="245395" y="198199"/>
                    <a:pt x="229260" y="198199"/>
                  </a:cubicBezTo>
                  <a:close/>
                  <a:moveTo>
                    <a:pt x="293115" y="246027"/>
                  </a:moveTo>
                  <a:cubicBezTo>
                    <a:pt x="287410" y="247590"/>
                    <a:pt x="282302" y="251329"/>
                    <a:pt x="279139" y="256873"/>
                  </a:cubicBezTo>
                  <a:cubicBezTo>
                    <a:pt x="272821" y="267966"/>
                    <a:pt x="276688" y="282082"/>
                    <a:pt x="287782" y="288400"/>
                  </a:cubicBezTo>
                  <a:cubicBezTo>
                    <a:pt x="298780" y="294674"/>
                    <a:pt x="312782" y="290921"/>
                    <a:pt x="319176" y="279987"/>
                  </a:cubicBezTo>
                  <a:cubicBezTo>
                    <a:pt x="325634" y="269014"/>
                    <a:pt x="321970" y="254885"/>
                    <a:pt x="311004" y="248427"/>
                  </a:cubicBezTo>
                  <a:cubicBezTo>
                    <a:pt x="310889" y="248364"/>
                    <a:pt x="310781" y="248300"/>
                    <a:pt x="310667" y="248237"/>
                  </a:cubicBezTo>
                  <a:cubicBezTo>
                    <a:pt x="305121" y="245078"/>
                    <a:pt x="298820" y="244465"/>
                    <a:pt x="293115" y="246027"/>
                  </a:cubicBezTo>
                  <a:close/>
                  <a:moveTo>
                    <a:pt x="165604" y="245867"/>
                  </a:moveTo>
                  <a:cubicBezTo>
                    <a:pt x="159895" y="244317"/>
                    <a:pt x="153594" y="244944"/>
                    <a:pt x="148057" y="248116"/>
                  </a:cubicBezTo>
                  <a:cubicBezTo>
                    <a:pt x="147987" y="248160"/>
                    <a:pt x="147923" y="248198"/>
                    <a:pt x="147854" y="248236"/>
                  </a:cubicBezTo>
                  <a:cubicBezTo>
                    <a:pt x="136843" y="254694"/>
                    <a:pt x="133153" y="268855"/>
                    <a:pt x="139611" y="279866"/>
                  </a:cubicBezTo>
                  <a:cubicBezTo>
                    <a:pt x="146069" y="290877"/>
                    <a:pt x="160230" y="294572"/>
                    <a:pt x="171241" y="288108"/>
                  </a:cubicBezTo>
                  <a:cubicBezTo>
                    <a:pt x="182175" y="281701"/>
                    <a:pt x="185903" y="267680"/>
                    <a:pt x="179604" y="256682"/>
                  </a:cubicBezTo>
                  <a:cubicBezTo>
                    <a:pt x="176432" y="251145"/>
                    <a:pt x="171314" y="247417"/>
                    <a:pt x="165604" y="245867"/>
                  </a:cubicBezTo>
                  <a:close/>
                  <a:moveTo>
                    <a:pt x="229260" y="285447"/>
                  </a:moveTo>
                  <a:cubicBezTo>
                    <a:pt x="216459" y="285409"/>
                    <a:pt x="206057" y="295760"/>
                    <a:pt x="206019" y="308561"/>
                  </a:cubicBezTo>
                  <a:cubicBezTo>
                    <a:pt x="205987" y="321363"/>
                    <a:pt x="216332" y="331764"/>
                    <a:pt x="229133" y="331802"/>
                  </a:cubicBezTo>
                  <a:cubicBezTo>
                    <a:pt x="241935" y="331840"/>
                    <a:pt x="252336" y="321490"/>
                    <a:pt x="252374" y="308688"/>
                  </a:cubicBezTo>
                  <a:cubicBezTo>
                    <a:pt x="252374" y="308644"/>
                    <a:pt x="252374" y="308606"/>
                    <a:pt x="252374" y="308561"/>
                  </a:cubicBezTo>
                  <a:cubicBezTo>
                    <a:pt x="252374" y="295798"/>
                    <a:pt x="242024" y="285447"/>
                    <a:pt x="229260" y="285447"/>
                  </a:cubicBezTo>
                  <a:close/>
                </a:path>
              </a:pathLst>
            </a:custGeom>
            <a:solidFill>
              <a:schemeClr val="bg1"/>
            </a:solidFill>
            <a:ln w="6350" cap="flat">
              <a:noFill/>
              <a:prstDash val="solid"/>
              <a:miter/>
            </a:ln>
          </p:spPr>
          <p:txBody>
            <a:bodyPr wrap="square" rtlCol="0" anchor="ctr">
              <a:noAutofit/>
            </a:bodyPr>
            <a:lstStyle/>
            <a:p>
              <a:pPr algn="ctr" defTabSz="685578">
                <a:buClr>
                  <a:srgbClr val="000000"/>
                </a:buClr>
                <a:defRPr/>
              </a:pPr>
              <a:endParaRPr lang="en-GB" sz="1400" kern="0">
                <a:solidFill>
                  <a:prstClr val="black"/>
                </a:solidFill>
                <a:latin typeface="Calibri" panose="020F0502020204030204" pitchFamily="34" charset="0"/>
                <a:ea typeface="Calibri" panose="020F0502020204030204" pitchFamily="34" charset="0"/>
                <a:cs typeface="Calibri" panose="020F0502020204030204" pitchFamily="34" charset="0"/>
                <a:sym typeface="Arial"/>
              </a:endParaRPr>
            </a:p>
          </p:txBody>
        </p:sp>
      </p:grpSp>
      <p:sp>
        <p:nvSpPr>
          <p:cNvPr id="2" name="TextBox 1">
            <a:extLst>
              <a:ext uri="{FF2B5EF4-FFF2-40B4-BE49-F238E27FC236}">
                <a16:creationId xmlns:a16="http://schemas.microsoft.com/office/drawing/2014/main" id="{D973BE0B-2F49-8F59-1455-69E4E3637970}"/>
              </a:ext>
            </a:extLst>
          </p:cNvPr>
          <p:cNvSpPr txBox="1"/>
          <p:nvPr/>
        </p:nvSpPr>
        <p:spPr>
          <a:xfrm>
            <a:off x="613151" y="5938959"/>
            <a:ext cx="8146251" cy="184666"/>
          </a:xfrm>
          <a:prstGeom prst="rect">
            <a:avLst/>
          </a:prstGeom>
          <a:noFill/>
        </p:spPr>
        <p:txBody>
          <a:bodyPr wrap="square" lIns="0" tIns="0" rIns="0" bIns="0" rtlCol="0" anchor="b">
            <a:spAutoFit/>
          </a:bodyPr>
          <a:lstStyle/>
          <a:p>
            <a:pPr lvl="0">
              <a:defRPr/>
            </a:pPr>
            <a:r>
              <a:rPr lang="en-GB" sz="600" dirty="0"/>
              <a:t>1. Vaccines Europe. Vaccines Europe pipeline review 2023. Innovating for tomorrow, today. </a:t>
            </a:r>
            <a:r>
              <a:rPr lang="en-GB" sz="600" dirty="0">
                <a:hlinkClick r:id="rId3">
                  <a:extLst>
                    <a:ext uri="{A12FA001-AC4F-418D-AE19-62706E023703}">
                      <ahyp:hlinkClr xmlns:ahyp="http://schemas.microsoft.com/office/drawing/2018/hyperlinkcolor" val="tx"/>
                    </a:ext>
                  </a:extLst>
                </a:hlinkClick>
              </a:rPr>
              <a:t>https://www.vaccineseurope.eu/wp-content/uploads/2023/11/VaccinesEurope-PipelineReview2023.pdf</a:t>
            </a:r>
            <a:r>
              <a:rPr lang="en-GB" sz="600" dirty="0"/>
              <a:t>. Accessed 13 March 2025; 2. Miller L, et al. </a:t>
            </a:r>
            <a:r>
              <a:rPr lang="en-GB" sz="600" i="1" dirty="0"/>
              <a:t>J </a:t>
            </a:r>
            <a:r>
              <a:rPr lang="en-GB" sz="600" i="1" dirty="0" err="1"/>
              <a:t>Antimicrob</a:t>
            </a:r>
            <a:r>
              <a:rPr lang="en-GB" sz="600" i="1" dirty="0"/>
              <a:t> </a:t>
            </a:r>
            <a:r>
              <a:rPr lang="en-GB" sz="600" i="1" dirty="0" err="1"/>
              <a:t>Chemother</a:t>
            </a:r>
            <a:r>
              <a:rPr lang="en-GB" sz="600" dirty="0"/>
              <a:t>. 2025;80(4):1116-1126; 3. van Heuvel L, et al. </a:t>
            </a:r>
            <a:r>
              <a:rPr lang="en-GB" sz="600" i="1" dirty="0" err="1"/>
              <a:t>Antimicrob</a:t>
            </a:r>
            <a:r>
              <a:rPr lang="en-GB" sz="600" i="1" dirty="0"/>
              <a:t> Resist Infect Control</a:t>
            </a:r>
            <a:r>
              <a:rPr lang="en-GB" sz="600" dirty="0"/>
              <a:t>. 2023;12(1):70; 4. </a:t>
            </a:r>
            <a:r>
              <a:rPr lang="fr-FR" sz="600" dirty="0"/>
              <a:t>Jorgensen SCJ, et al. </a:t>
            </a:r>
            <a:r>
              <a:rPr lang="fr-FR" sz="600" i="1" dirty="0"/>
              <a:t>Clin Infect Dis</a:t>
            </a:r>
            <a:r>
              <a:rPr lang="fr-FR" sz="600" dirty="0"/>
              <a:t>. 2024;79(2):375-381.</a:t>
            </a:r>
            <a:endParaRPr lang="en-GB" sz="600" dirty="0"/>
          </a:p>
        </p:txBody>
      </p:sp>
      <p:sp>
        <p:nvSpPr>
          <p:cNvPr id="5" name="TextBox 4">
            <a:extLst>
              <a:ext uri="{FF2B5EF4-FFF2-40B4-BE49-F238E27FC236}">
                <a16:creationId xmlns:a16="http://schemas.microsoft.com/office/drawing/2014/main" id="{66C2738A-BDDD-067F-24B3-15AFECAC5FC8}"/>
              </a:ext>
            </a:extLst>
          </p:cNvPr>
          <p:cNvSpPr txBox="1"/>
          <p:nvPr/>
        </p:nvSpPr>
        <p:spPr>
          <a:xfrm>
            <a:off x="613151" y="5638453"/>
            <a:ext cx="8990175" cy="276999"/>
          </a:xfrm>
          <a:prstGeom prst="rect">
            <a:avLst/>
          </a:prstGeom>
          <a:noFill/>
        </p:spPr>
        <p:txBody>
          <a:bodyPr wrap="square">
            <a:spAutoFit/>
          </a:bodyPr>
          <a:lstStyle/>
          <a:p>
            <a:pPr lvl="0">
              <a:defRPr/>
            </a:pPr>
            <a:r>
              <a:rPr lang="en-GB" sz="600" dirty="0">
                <a:latin typeface="Pfizer Diatype Office"/>
              </a:rPr>
              <a:t>*</a:t>
            </a:r>
            <a:r>
              <a:rPr lang="en-GB" sz="600" dirty="0" err="1">
                <a:latin typeface="Pfizer Diatype Office"/>
              </a:rPr>
              <a:t>Sistematik</a:t>
            </a:r>
            <a:r>
              <a:rPr lang="en-GB" sz="600" dirty="0">
                <a:latin typeface="Pfizer Diatype Office"/>
              </a:rPr>
              <a:t> </a:t>
            </a:r>
            <a:r>
              <a:rPr lang="en-GB" sz="600" dirty="0" err="1">
                <a:latin typeface="Pfizer Diatype Office"/>
              </a:rPr>
              <a:t>literatür</a:t>
            </a:r>
            <a:r>
              <a:rPr lang="en-GB" sz="600" dirty="0">
                <a:latin typeface="Pfizer Diatype Office"/>
              </a:rPr>
              <a:t> </a:t>
            </a:r>
            <a:r>
              <a:rPr lang="en-GB" sz="600" dirty="0" err="1">
                <a:latin typeface="Pfizer Diatype Office"/>
              </a:rPr>
              <a:t>incelemesi</a:t>
            </a:r>
            <a:r>
              <a:rPr lang="en-GB" sz="600" dirty="0">
                <a:latin typeface="Pfizer Diatype Office"/>
              </a:rPr>
              <a:t> </a:t>
            </a:r>
            <a:r>
              <a:rPr lang="en-GB" sz="600" dirty="0" err="1">
                <a:latin typeface="Pfizer Diatype Office"/>
              </a:rPr>
              <a:t>ve</a:t>
            </a:r>
            <a:r>
              <a:rPr lang="en-GB" sz="600" dirty="0">
                <a:latin typeface="Pfizer Diatype Office"/>
              </a:rPr>
              <a:t> randomize </a:t>
            </a:r>
            <a:r>
              <a:rPr lang="en-GB" sz="600" dirty="0" err="1">
                <a:latin typeface="Pfizer Diatype Office"/>
              </a:rPr>
              <a:t>kontrollü</a:t>
            </a:r>
            <a:r>
              <a:rPr lang="en-GB" sz="600" dirty="0">
                <a:latin typeface="Pfizer Diatype Office"/>
              </a:rPr>
              <a:t> </a:t>
            </a:r>
            <a:r>
              <a:rPr lang="en-GB" sz="600" dirty="0" err="1">
                <a:latin typeface="Pfizer Diatype Office"/>
              </a:rPr>
              <a:t>çalışmaların</a:t>
            </a:r>
            <a:r>
              <a:rPr lang="en-GB" sz="600" dirty="0">
                <a:latin typeface="Pfizer Diatype Office"/>
              </a:rPr>
              <a:t> meta </a:t>
            </a:r>
            <a:r>
              <a:rPr lang="en-GB" sz="600" dirty="0" err="1">
                <a:latin typeface="Pfizer Diatype Office"/>
              </a:rPr>
              <a:t>analizi</a:t>
            </a:r>
            <a:r>
              <a:rPr lang="en-GB" sz="600" dirty="0">
                <a:latin typeface="Pfizer Diatype Office"/>
              </a:rPr>
              <a:t>; </a:t>
            </a:r>
            <a:r>
              <a:rPr lang="en-GB" sz="600" baseline="30000" dirty="0"/>
              <a:t> </a:t>
            </a:r>
            <a:r>
              <a:rPr lang="en-GB" sz="600" dirty="0">
                <a:latin typeface="Pfizer Diatype Office"/>
              </a:rPr>
              <a:t>COVID</a:t>
            </a:r>
            <a:r>
              <a:rPr lang="en-GB" sz="600" baseline="30000" dirty="0">
                <a:latin typeface="Pfizer Diatype Office"/>
              </a:rPr>
              <a:t>-</a:t>
            </a:r>
            <a:r>
              <a:rPr lang="en-GB" sz="600" dirty="0">
                <a:latin typeface="Pfizer Diatype Office"/>
              </a:rPr>
              <a:t>19 </a:t>
            </a:r>
            <a:r>
              <a:rPr lang="en-GB" sz="600" dirty="0" err="1">
                <a:latin typeface="Pfizer Diatype Office"/>
              </a:rPr>
              <a:t>aşılama</a:t>
            </a:r>
            <a:r>
              <a:rPr lang="en-GB" sz="600" dirty="0">
                <a:latin typeface="Pfizer Diatype Office"/>
              </a:rPr>
              <a:t> </a:t>
            </a:r>
            <a:r>
              <a:rPr lang="en-GB" sz="600" dirty="0" err="1">
                <a:latin typeface="Pfizer Diatype Office"/>
              </a:rPr>
              <a:t>öncesi</a:t>
            </a:r>
            <a:r>
              <a:rPr lang="en-GB" sz="600" dirty="0">
                <a:latin typeface="Pfizer Diatype Office"/>
              </a:rPr>
              <a:t> </a:t>
            </a:r>
            <a:r>
              <a:rPr lang="en-GB" sz="600" dirty="0" err="1">
                <a:latin typeface="Pfizer Diatype Office"/>
              </a:rPr>
              <a:t>dönemle</a:t>
            </a:r>
            <a:r>
              <a:rPr lang="en-GB" sz="600" dirty="0">
                <a:latin typeface="Pfizer Diatype Office"/>
              </a:rPr>
              <a:t> </a:t>
            </a:r>
            <a:r>
              <a:rPr lang="en-GB" sz="600" dirty="0" err="1">
                <a:latin typeface="Pfizer Diatype Office"/>
              </a:rPr>
              <a:t>karşılaştırıldığında</a:t>
            </a:r>
            <a:r>
              <a:rPr lang="en-GB" sz="600" dirty="0">
                <a:latin typeface="Pfizer Diatype Office"/>
              </a:rPr>
              <a:t>.</a:t>
            </a:r>
            <a:br>
              <a:rPr lang="en-GB" sz="600" dirty="0">
                <a:latin typeface="Pfizer Diatype Office"/>
              </a:rPr>
            </a:br>
            <a:r>
              <a:rPr lang="en-GB" sz="600" dirty="0">
                <a:latin typeface="Pfizer Diatype Office"/>
              </a:rPr>
              <a:t>AMD, </a:t>
            </a:r>
            <a:r>
              <a:rPr lang="en-GB" sz="600" dirty="0" err="1">
                <a:latin typeface="Pfizer Diatype Office"/>
              </a:rPr>
              <a:t>antimikrobiyal</a:t>
            </a:r>
            <a:r>
              <a:rPr lang="en-GB" sz="600" dirty="0">
                <a:latin typeface="Pfizer Diatype Office"/>
              </a:rPr>
              <a:t> </a:t>
            </a:r>
            <a:r>
              <a:rPr lang="en-GB" sz="600" dirty="0" err="1">
                <a:latin typeface="Pfizer Diatype Office"/>
              </a:rPr>
              <a:t>direnç</a:t>
            </a:r>
            <a:r>
              <a:rPr lang="en-GB" sz="600" dirty="0">
                <a:latin typeface="Pfizer Diatype Office"/>
              </a:rPr>
              <a:t>; RSV, </a:t>
            </a:r>
            <a:r>
              <a:rPr lang="en-GB" sz="600" dirty="0" err="1">
                <a:latin typeface="Pfizer Diatype Office"/>
              </a:rPr>
              <a:t>solunum</a:t>
            </a:r>
            <a:r>
              <a:rPr lang="en-GB" sz="600" dirty="0">
                <a:latin typeface="Pfizer Diatype Office"/>
              </a:rPr>
              <a:t> </a:t>
            </a:r>
            <a:r>
              <a:rPr lang="en-GB" sz="600" dirty="0" err="1">
                <a:latin typeface="Pfizer Diatype Office"/>
              </a:rPr>
              <a:t>sinsityal</a:t>
            </a:r>
            <a:r>
              <a:rPr lang="en-GB" sz="600" dirty="0">
                <a:latin typeface="Pfizer Diatype Office"/>
              </a:rPr>
              <a:t> </a:t>
            </a:r>
            <a:r>
              <a:rPr lang="en-GB" sz="600" dirty="0" err="1">
                <a:latin typeface="Pfizer Diatype Office"/>
              </a:rPr>
              <a:t>virüsü</a:t>
            </a:r>
            <a:r>
              <a:rPr lang="en-GB" sz="600" dirty="0">
                <a:latin typeface="Pfizer Diatype Office"/>
              </a:rPr>
              <a:t>. </a:t>
            </a:r>
          </a:p>
        </p:txBody>
      </p:sp>
      <p:sp>
        <p:nvSpPr>
          <p:cNvPr id="7" name="Title 6">
            <a:extLst>
              <a:ext uri="{FF2B5EF4-FFF2-40B4-BE49-F238E27FC236}">
                <a16:creationId xmlns:a16="http://schemas.microsoft.com/office/drawing/2014/main" id="{A4054E9A-772C-D2BF-AE86-A9134B25FB97}"/>
              </a:ext>
            </a:extLst>
          </p:cNvPr>
          <p:cNvSpPr>
            <a:spLocks noGrp="1"/>
          </p:cNvSpPr>
          <p:nvPr>
            <p:ph type="title"/>
          </p:nvPr>
        </p:nvSpPr>
        <p:spPr>
          <a:xfrm>
            <a:off x="613152" y="195684"/>
            <a:ext cx="11256268" cy="842156"/>
          </a:xfrm>
        </p:spPr>
        <p:txBody>
          <a:bodyPr>
            <a:normAutofit/>
          </a:bodyPr>
          <a:lstStyle/>
          <a:p>
            <a:r>
              <a:rPr lang="tr-TR" dirty="0"/>
              <a:t>Aşılama, AMD ile mücadeleye doğrudan ve dolaylı olarak katkı sağlayabilir</a:t>
            </a:r>
          </a:p>
        </p:txBody>
      </p:sp>
      <p:pic>
        <p:nvPicPr>
          <p:cNvPr id="18" name="Picture 17" descr="A yellow and blue logo&#10;&#10;Description automatically generated">
            <a:extLst>
              <a:ext uri="{FF2B5EF4-FFF2-40B4-BE49-F238E27FC236}">
                <a16:creationId xmlns:a16="http://schemas.microsoft.com/office/drawing/2014/main" id="{93C41EFE-39F5-85A6-9FBF-52A7AA48040B}"/>
              </a:ext>
            </a:extLst>
          </p:cNvPr>
          <p:cNvPicPr>
            <a:picLocks noChangeAspect="1"/>
          </p:cNvPicPr>
          <p:nvPr/>
        </p:nvPicPr>
        <p:blipFill>
          <a:blip r:embed="rId4">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19" name="Picture 18" descr="A black and blue logo&#10;&#10;AI-generated content may be incorrect.">
            <a:extLst>
              <a:ext uri="{FF2B5EF4-FFF2-40B4-BE49-F238E27FC236}">
                <a16:creationId xmlns:a16="http://schemas.microsoft.com/office/drawing/2014/main" id="{7FC25BA2-6CEA-6662-E790-82B5C6FC047B}"/>
              </a:ext>
            </a:extLst>
          </p:cNvPr>
          <p:cNvPicPr>
            <a:picLocks noChangeAspect="1"/>
          </p:cNvPicPr>
          <p:nvPr/>
        </p:nvPicPr>
        <p:blipFill>
          <a:blip r:embed="rId5"/>
          <a:stretch>
            <a:fillRect/>
          </a:stretch>
        </p:blipFill>
        <p:spPr>
          <a:xfrm>
            <a:off x="9513903" y="6494969"/>
            <a:ext cx="981021" cy="204067"/>
          </a:xfrm>
          <a:prstGeom prst="rect">
            <a:avLst/>
          </a:prstGeom>
        </p:spPr>
      </p:pic>
    </p:spTree>
    <p:extLst>
      <p:ext uri="{BB962C8B-B14F-4D97-AF65-F5344CB8AC3E}">
        <p14:creationId xmlns:p14="http://schemas.microsoft.com/office/powerpoint/2010/main" val="972846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B82C37-9DFC-1C5C-70FA-F38777C77526}"/>
            </a:ext>
          </a:extLst>
        </p:cNvPr>
        <p:cNvGrpSpPr/>
        <p:nvPr/>
      </p:nvGrpSpPr>
      <p:grpSpPr>
        <a:xfrm>
          <a:off x="0" y="0"/>
          <a:ext cx="0" cy="0"/>
          <a:chOff x="0" y="0"/>
          <a:chExt cx="0" cy="0"/>
        </a:xfrm>
      </p:grpSpPr>
      <p:sp>
        <p:nvSpPr>
          <p:cNvPr id="38" name="Title 2">
            <a:extLst>
              <a:ext uri="{FF2B5EF4-FFF2-40B4-BE49-F238E27FC236}">
                <a16:creationId xmlns:a16="http://schemas.microsoft.com/office/drawing/2014/main" id="{DF58AEC1-5916-23D8-F8C3-4B9AF99DF3AC}"/>
              </a:ext>
            </a:extLst>
          </p:cNvPr>
          <p:cNvSpPr>
            <a:spLocks noGrp="1"/>
          </p:cNvSpPr>
          <p:nvPr>
            <p:ph type="title"/>
          </p:nvPr>
        </p:nvSpPr>
        <p:spPr>
          <a:xfrm>
            <a:off x="613152" y="195684"/>
            <a:ext cx="10969218" cy="842156"/>
          </a:xfrm>
        </p:spPr>
        <p:txBody>
          <a:bodyPr vert="horz" lIns="0" tIns="0" rIns="0" bIns="0" rtlCol="0" anchor="ctr">
            <a:noAutofit/>
          </a:bodyPr>
          <a:lstStyle/>
          <a:p>
            <a:r>
              <a:rPr lang="en-US" err="1"/>
              <a:t>Dünyanın</a:t>
            </a:r>
            <a:r>
              <a:rPr lang="en-US"/>
              <a:t> </a:t>
            </a:r>
            <a:r>
              <a:rPr lang="en-US" err="1"/>
              <a:t>yaşlı</a:t>
            </a:r>
            <a:r>
              <a:rPr lang="en-US"/>
              <a:t> </a:t>
            </a:r>
            <a:r>
              <a:rPr lang="en-US" err="1"/>
              <a:t>nüfusu</a:t>
            </a:r>
            <a:r>
              <a:rPr lang="en-US"/>
              <a:t> </a:t>
            </a:r>
            <a:r>
              <a:rPr lang="en-US" err="1"/>
              <a:t>benzeri</a:t>
            </a:r>
            <a:r>
              <a:rPr lang="en-US"/>
              <a:t> </a:t>
            </a:r>
            <a:r>
              <a:rPr lang="en-US" err="1"/>
              <a:t>görülmemiş</a:t>
            </a:r>
            <a:r>
              <a:rPr lang="en-US"/>
              <a:t> </a:t>
            </a:r>
            <a:r>
              <a:rPr lang="en-US" err="1"/>
              <a:t>oranlarda</a:t>
            </a:r>
            <a:r>
              <a:rPr lang="en-US"/>
              <a:t> </a:t>
            </a:r>
            <a:r>
              <a:rPr lang="en-US" err="1"/>
              <a:t>artmaktadır</a:t>
            </a:r>
            <a:endParaRPr lang="pt-PT"/>
          </a:p>
        </p:txBody>
      </p:sp>
      <p:sp>
        <p:nvSpPr>
          <p:cNvPr id="2" name="Slide Number Placeholder 1">
            <a:extLst>
              <a:ext uri="{FF2B5EF4-FFF2-40B4-BE49-F238E27FC236}">
                <a16:creationId xmlns:a16="http://schemas.microsoft.com/office/drawing/2014/main" id="{CF310D8C-817B-1329-A182-E15A99C6266B}"/>
              </a:ext>
            </a:extLst>
          </p:cNvPr>
          <p:cNvSpPr>
            <a:spLocks noGrp="1"/>
          </p:cNvSpPr>
          <p:nvPr>
            <p:ph type="sldNum" sz="quarter" idx="4"/>
          </p:nvPr>
        </p:nvSpPr>
        <p:spPr>
          <a:xfrm>
            <a:off x="10438834" y="6508427"/>
            <a:ext cx="1143536" cy="153889"/>
          </a:xfrm>
        </p:spPr>
        <p:txBody>
          <a:bodyPr/>
          <a:lstStyle/>
          <a:p>
            <a:pPr lvl="0"/>
            <a:fld id="{2B39012A-6F33-204B-8224-A57BEFB0AAD0}" type="slidenum">
              <a:rPr lang="en-US" noProof="0" smtClean="0"/>
              <a:pPr lvl="0"/>
              <a:t>6</a:t>
            </a:fld>
            <a:endParaRPr lang="en-US" noProof="0"/>
          </a:p>
        </p:txBody>
      </p:sp>
      <p:grpSp>
        <p:nvGrpSpPr>
          <p:cNvPr id="32" name="Group 31">
            <a:extLst>
              <a:ext uri="{FF2B5EF4-FFF2-40B4-BE49-F238E27FC236}">
                <a16:creationId xmlns:a16="http://schemas.microsoft.com/office/drawing/2014/main" id="{AFE5186F-1D8F-2B64-2756-C9885C96B9E1}"/>
              </a:ext>
            </a:extLst>
          </p:cNvPr>
          <p:cNvGrpSpPr>
            <a:grpSpLocks noChangeAspect="1"/>
          </p:cNvGrpSpPr>
          <p:nvPr/>
        </p:nvGrpSpPr>
        <p:grpSpPr>
          <a:xfrm>
            <a:off x="870919" y="1753203"/>
            <a:ext cx="9856102" cy="3506660"/>
            <a:chOff x="398504" y="1318994"/>
            <a:chExt cx="11328854" cy="4030638"/>
          </a:xfrm>
        </p:grpSpPr>
        <p:sp>
          <p:nvSpPr>
            <p:cNvPr id="14" name="Text Placeholder 7">
              <a:extLst>
                <a:ext uri="{FF2B5EF4-FFF2-40B4-BE49-F238E27FC236}">
                  <a16:creationId xmlns:a16="http://schemas.microsoft.com/office/drawing/2014/main" id="{3E0989BE-CEDD-768F-216F-F8FE520BE1A5}"/>
                </a:ext>
              </a:extLst>
            </p:cNvPr>
            <p:cNvSpPr txBox="1">
              <a:spLocks/>
            </p:cNvSpPr>
            <p:nvPr/>
          </p:nvSpPr>
          <p:spPr bwMode="gray">
            <a:xfrm>
              <a:off x="398504" y="4930474"/>
              <a:ext cx="8045597" cy="419158"/>
            </a:xfrm>
            <a:prstGeom prst="rect">
              <a:avLst/>
            </a:prstGeom>
          </p:spPr>
          <p:txBody>
            <a:bodyPr vert="horz" lIns="0" tIns="0" rIns="0" bIns="0" rtlCol="0" anchor="b">
              <a:noAutofit/>
            </a:bodyPr>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Clr>
                  <a:srgbClr val="0095FF"/>
                </a:buClr>
                <a:tabLst/>
                <a:defRPr/>
              </a:pPr>
              <a:r>
                <a:rPr lang="en-US">
                  <a:solidFill>
                    <a:srgbClr val="7C7C7C"/>
                  </a:solidFill>
                </a:rPr>
                <a:t>Our World in </a:t>
              </a:r>
              <a:r>
                <a:rPr lang="en-US" err="1">
                  <a:solidFill>
                    <a:srgbClr val="7C7C7C"/>
                  </a:solidFill>
                </a:rPr>
                <a:t>Data’dan</a:t>
              </a:r>
              <a:r>
                <a:rPr lang="en-US">
                  <a:solidFill>
                    <a:srgbClr val="7C7C7C"/>
                  </a:solidFill>
                </a:rPr>
                <a:t> uyarlanmıştır</a:t>
              </a:r>
              <a:r>
                <a:rPr lang="en-US" sz="700">
                  <a:solidFill>
                    <a:srgbClr val="7C7C7C"/>
                  </a:solidFill>
                </a:rPr>
                <a:t>.</a:t>
              </a:r>
              <a:r>
                <a:rPr lang="en-US" sz="700" baseline="30000">
                  <a:solidFill>
                    <a:srgbClr val="7C7C7C"/>
                  </a:solidFill>
                </a:rPr>
                <a:t>1</a:t>
              </a:r>
            </a:p>
          </p:txBody>
        </p:sp>
        <p:pic>
          <p:nvPicPr>
            <p:cNvPr id="9" name="Graphic 8">
              <a:extLst>
                <a:ext uri="{FF2B5EF4-FFF2-40B4-BE49-F238E27FC236}">
                  <a16:creationId xmlns:a16="http://schemas.microsoft.com/office/drawing/2014/main" id="{7191CE95-E939-B340-28F3-A7014D97A2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2058" y="1446378"/>
              <a:ext cx="11275300" cy="3427379"/>
            </a:xfrm>
            <a:prstGeom prst="rect">
              <a:avLst/>
            </a:prstGeom>
          </p:spPr>
        </p:pic>
        <p:grpSp>
          <p:nvGrpSpPr>
            <p:cNvPr id="11" name="Group 10">
              <a:extLst>
                <a:ext uri="{FF2B5EF4-FFF2-40B4-BE49-F238E27FC236}">
                  <a16:creationId xmlns:a16="http://schemas.microsoft.com/office/drawing/2014/main" id="{9C6DCB7F-95DF-3CE5-CCEE-E3C6BDED2622}"/>
                </a:ext>
              </a:extLst>
            </p:cNvPr>
            <p:cNvGrpSpPr/>
            <p:nvPr/>
          </p:nvGrpSpPr>
          <p:grpSpPr>
            <a:xfrm>
              <a:off x="434794" y="1623929"/>
              <a:ext cx="962206" cy="2755793"/>
              <a:chOff x="434794" y="1594112"/>
              <a:chExt cx="962206" cy="2755793"/>
            </a:xfrm>
          </p:grpSpPr>
          <p:sp>
            <p:nvSpPr>
              <p:cNvPr id="16" name="TextBox 15">
                <a:extLst>
                  <a:ext uri="{FF2B5EF4-FFF2-40B4-BE49-F238E27FC236}">
                    <a16:creationId xmlns:a16="http://schemas.microsoft.com/office/drawing/2014/main" id="{23933480-36F4-8A83-BA48-FBA9308839F2}"/>
                  </a:ext>
                </a:extLst>
              </p:cNvPr>
              <p:cNvSpPr txBox="1"/>
              <p:nvPr/>
            </p:nvSpPr>
            <p:spPr>
              <a:xfrm>
                <a:off x="434794" y="1594112"/>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90 yıl</a:t>
                </a:r>
              </a:p>
            </p:txBody>
          </p:sp>
          <p:sp>
            <p:nvSpPr>
              <p:cNvPr id="17" name="TextBox 16">
                <a:extLst>
                  <a:ext uri="{FF2B5EF4-FFF2-40B4-BE49-F238E27FC236}">
                    <a16:creationId xmlns:a16="http://schemas.microsoft.com/office/drawing/2014/main" id="{32A5D5F1-AEDE-C710-CD8D-05D3EE93C7FE}"/>
                  </a:ext>
                </a:extLst>
              </p:cNvPr>
              <p:cNvSpPr txBox="1"/>
              <p:nvPr/>
            </p:nvSpPr>
            <p:spPr>
              <a:xfrm>
                <a:off x="434794" y="1945952"/>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80 yıl</a:t>
                </a:r>
              </a:p>
            </p:txBody>
          </p:sp>
          <p:sp>
            <p:nvSpPr>
              <p:cNvPr id="18" name="TextBox 17">
                <a:extLst>
                  <a:ext uri="{FF2B5EF4-FFF2-40B4-BE49-F238E27FC236}">
                    <a16:creationId xmlns:a16="http://schemas.microsoft.com/office/drawing/2014/main" id="{1B0CFC77-E16D-4923-28BE-31F942B0907D}"/>
                  </a:ext>
                </a:extLst>
              </p:cNvPr>
              <p:cNvSpPr txBox="1"/>
              <p:nvPr/>
            </p:nvSpPr>
            <p:spPr>
              <a:xfrm>
                <a:off x="434794" y="2271040"/>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70 yıl</a:t>
                </a:r>
              </a:p>
            </p:txBody>
          </p:sp>
          <p:sp>
            <p:nvSpPr>
              <p:cNvPr id="19" name="TextBox 18">
                <a:extLst>
                  <a:ext uri="{FF2B5EF4-FFF2-40B4-BE49-F238E27FC236}">
                    <a16:creationId xmlns:a16="http://schemas.microsoft.com/office/drawing/2014/main" id="{5C956EA0-95AD-BCE6-CEDB-9FCD2F29A251}"/>
                  </a:ext>
                </a:extLst>
              </p:cNvPr>
              <p:cNvSpPr txBox="1"/>
              <p:nvPr/>
            </p:nvSpPr>
            <p:spPr>
              <a:xfrm>
                <a:off x="434794" y="2596128"/>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60 yıl</a:t>
                </a:r>
              </a:p>
            </p:txBody>
          </p:sp>
          <p:sp>
            <p:nvSpPr>
              <p:cNvPr id="20" name="TextBox 19">
                <a:extLst>
                  <a:ext uri="{FF2B5EF4-FFF2-40B4-BE49-F238E27FC236}">
                    <a16:creationId xmlns:a16="http://schemas.microsoft.com/office/drawing/2014/main" id="{B7E785FC-5154-AE18-49ED-2965FFCC2D78}"/>
                  </a:ext>
                </a:extLst>
              </p:cNvPr>
              <p:cNvSpPr txBox="1"/>
              <p:nvPr/>
            </p:nvSpPr>
            <p:spPr>
              <a:xfrm>
                <a:off x="434794" y="2931441"/>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50 yıl</a:t>
                </a:r>
              </a:p>
            </p:txBody>
          </p:sp>
          <p:sp>
            <p:nvSpPr>
              <p:cNvPr id="21" name="TextBox 20">
                <a:extLst>
                  <a:ext uri="{FF2B5EF4-FFF2-40B4-BE49-F238E27FC236}">
                    <a16:creationId xmlns:a16="http://schemas.microsoft.com/office/drawing/2014/main" id="{B029263E-AD70-EE08-5951-749411D13235}"/>
                  </a:ext>
                </a:extLst>
              </p:cNvPr>
              <p:cNvSpPr txBox="1"/>
              <p:nvPr/>
            </p:nvSpPr>
            <p:spPr>
              <a:xfrm>
                <a:off x="434794" y="3246304"/>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40 yıl</a:t>
                </a:r>
              </a:p>
            </p:txBody>
          </p:sp>
          <p:sp>
            <p:nvSpPr>
              <p:cNvPr id="22" name="TextBox 21">
                <a:extLst>
                  <a:ext uri="{FF2B5EF4-FFF2-40B4-BE49-F238E27FC236}">
                    <a16:creationId xmlns:a16="http://schemas.microsoft.com/office/drawing/2014/main" id="{0D3BC998-AA92-3426-562E-7D6A52E8403E}"/>
                  </a:ext>
                </a:extLst>
              </p:cNvPr>
              <p:cNvSpPr txBox="1"/>
              <p:nvPr/>
            </p:nvSpPr>
            <p:spPr>
              <a:xfrm>
                <a:off x="434794" y="3586513"/>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30 yıl</a:t>
                </a:r>
              </a:p>
            </p:txBody>
          </p:sp>
          <p:sp>
            <p:nvSpPr>
              <p:cNvPr id="23" name="TextBox 22">
                <a:extLst>
                  <a:ext uri="{FF2B5EF4-FFF2-40B4-BE49-F238E27FC236}">
                    <a16:creationId xmlns:a16="http://schemas.microsoft.com/office/drawing/2014/main" id="{5A9821C2-4E4B-EEFF-1BB5-DE483D740B1D}"/>
                  </a:ext>
                </a:extLst>
              </p:cNvPr>
              <p:cNvSpPr txBox="1"/>
              <p:nvPr/>
            </p:nvSpPr>
            <p:spPr>
              <a:xfrm>
                <a:off x="434794" y="3911601"/>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20 yıl</a:t>
                </a:r>
              </a:p>
            </p:txBody>
          </p:sp>
          <p:sp>
            <p:nvSpPr>
              <p:cNvPr id="24" name="TextBox 23">
                <a:extLst>
                  <a:ext uri="{FF2B5EF4-FFF2-40B4-BE49-F238E27FC236}">
                    <a16:creationId xmlns:a16="http://schemas.microsoft.com/office/drawing/2014/main" id="{0CE2F73D-8FD2-4659-8932-5ADCCEF3A2F1}"/>
                  </a:ext>
                </a:extLst>
              </p:cNvPr>
              <p:cNvSpPr txBox="1"/>
              <p:nvPr/>
            </p:nvSpPr>
            <p:spPr>
              <a:xfrm>
                <a:off x="434794" y="4226794"/>
                <a:ext cx="962206" cy="123111"/>
              </a:xfrm>
              <a:prstGeom prst="rect">
                <a:avLst/>
              </a:prstGeom>
              <a:noFill/>
            </p:spPr>
            <p:txBody>
              <a:bodyPr wrap="square" lIns="0" t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10 yıl</a:t>
                </a:r>
              </a:p>
            </p:txBody>
          </p:sp>
        </p:grpSp>
        <p:sp>
          <p:nvSpPr>
            <p:cNvPr id="25" name="TextBox 24">
              <a:extLst>
                <a:ext uri="{FF2B5EF4-FFF2-40B4-BE49-F238E27FC236}">
                  <a16:creationId xmlns:a16="http://schemas.microsoft.com/office/drawing/2014/main" id="{8E41C240-E8FB-8538-B86C-D599BAFC279C}"/>
                </a:ext>
              </a:extLst>
            </p:cNvPr>
            <p:cNvSpPr txBox="1"/>
            <p:nvPr/>
          </p:nvSpPr>
          <p:spPr>
            <a:xfrm rot="20700000">
              <a:off x="2051838" y="2117988"/>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2100</a:t>
              </a:r>
            </a:p>
          </p:txBody>
        </p:sp>
        <p:sp>
          <p:nvSpPr>
            <p:cNvPr id="26" name="TextBox 25">
              <a:extLst>
                <a:ext uri="{FF2B5EF4-FFF2-40B4-BE49-F238E27FC236}">
                  <a16:creationId xmlns:a16="http://schemas.microsoft.com/office/drawing/2014/main" id="{054A90F9-C696-29B0-4484-9C86D6C55DD9}"/>
                </a:ext>
              </a:extLst>
            </p:cNvPr>
            <p:cNvSpPr txBox="1"/>
            <p:nvPr/>
          </p:nvSpPr>
          <p:spPr>
            <a:xfrm rot="20700000">
              <a:off x="2110574" y="2285468"/>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2075</a:t>
              </a:r>
            </a:p>
          </p:txBody>
        </p:sp>
        <p:sp>
          <p:nvSpPr>
            <p:cNvPr id="27" name="TextBox 26">
              <a:extLst>
                <a:ext uri="{FF2B5EF4-FFF2-40B4-BE49-F238E27FC236}">
                  <a16:creationId xmlns:a16="http://schemas.microsoft.com/office/drawing/2014/main" id="{39105817-7BD0-64D3-CBAC-969EA24F5EF8}"/>
                </a:ext>
              </a:extLst>
            </p:cNvPr>
            <p:cNvSpPr txBox="1"/>
            <p:nvPr/>
          </p:nvSpPr>
          <p:spPr>
            <a:xfrm rot="20700000">
              <a:off x="2154041" y="2439482"/>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2050</a:t>
              </a:r>
            </a:p>
          </p:txBody>
        </p:sp>
        <p:sp>
          <p:nvSpPr>
            <p:cNvPr id="28" name="TextBox 27">
              <a:extLst>
                <a:ext uri="{FF2B5EF4-FFF2-40B4-BE49-F238E27FC236}">
                  <a16:creationId xmlns:a16="http://schemas.microsoft.com/office/drawing/2014/main" id="{8209C3BB-6D9C-88A8-BEA4-6FA6A7E2FCF7}"/>
                </a:ext>
              </a:extLst>
            </p:cNvPr>
            <p:cNvSpPr txBox="1"/>
            <p:nvPr/>
          </p:nvSpPr>
          <p:spPr>
            <a:xfrm rot="20150888">
              <a:off x="2368095" y="2858777"/>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2018</a:t>
              </a:r>
            </a:p>
          </p:txBody>
        </p:sp>
        <p:sp>
          <p:nvSpPr>
            <p:cNvPr id="29" name="TextBox 28">
              <a:extLst>
                <a:ext uri="{FF2B5EF4-FFF2-40B4-BE49-F238E27FC236}">
                  <a16:creationId xmlns:a16="http://schemas.microsoft.com/office/drawing/2014/main" id="{AD394D99-E45C-4833-CD59-D20AA0A1E4F0}"/>
                </a:ext>
              </a:extLst>
            </p:cNvPr>
            <p:cNvSpPr txBox="1"/>
            <p:nvPr/>
          </p:nvSpPr>
          <p:spPr>
            <a:xfrm rot="20382363">
              <a:off x="3150489" y="3293886"/>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1990</a:t>
              </a:r>
            </a:p>
          </p:txBody>
        </p:sp>
        <p:sp>
          <p:nvSpPr>
            <p:cNvPr id="30" name="TextBox 29">
              <a:extLst>
                <a:ext uri="{FF2B5EF4-FFF2-40B4-BE49-F238E27FC236}">
                  <a16:creationId xmlns:a16="http://schemas.microsoft.com/office/drawing/2014/main" id="{1EECD79D-55D7-BF12-EF20-962469A55A1B}"/>
                </a:ext>
              </a:extLst>
            </p:cNvPr>
            <p:cNvSpPr txBox="1"/>
            <p:nvPr/>
          </p:nvSpPr>
          <p:spPr>
            <a:xfrm rot="20568704">
              <a:off x="3146167" y="3580798"/>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1980</a:t>
              </a:r>
            </a:p>
          </p:txBody>
        </p:sp>
        <p:sp>
          <p:nvSpPr>
            <p:cNvPr id="31" name="TextBox 30">
              <a:extLst>
                <a:ext uri="{FF2B5EF4-FFF2-40B4-BE49-F238E27FC236}">
                  <a16:creationId xmlns:a16="http://schemas.microsoft.com/office/drawing/2014/main" id="{5D61EB96-9301-20FF-8501-5DA8172A5DAB}"/>
                </a:ext>
              </a:extLst>
            </p:cNvPr>
            <p:cNvSpPr txBox="1"/>
            <p:nvPr/>
          </p:nvSpPr>
          <p:spPr>
            <a:xfrm rot="20568704">
              <a:off x="3160801" y="3884517"/>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1970</a:t>
              </a:r>
            </a:p>
          </p:txBody>
        </p:sp>
        <p:sp>
          <p:nvSpPr>
            <p:cNvPr id="160" name="TextBox 159">
              <a:extLst>
                <a:ext uri="{FF2B5EF4-FFF2-40B4-BE49-F238E27FC236}">
                  <a16:creationId xmlns:a16="http://schemas.microsoft.com/office/drawing/2014/main" id="{E1832324-68B9-29EB-525E-1258A376ED12}"/>
                </a:ext>
              </a:extLst>
            </p:cNvPr>
            <p:cNvSpPr txBox="1"/>
            <p:nvPr/>
          </p:nvSpPr>
          <p:spPr>
            <a:xfrm rot="20568704">
              <a:off x="3086084" y="4195573"/>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Pfizer Tomorrow"/>
                  <a:ea typeface="+mn-ea"/>
                  <a:cs typeface="+mn-cs"/>
                </a:rPr>
                <a:t>1960</a:t>
              </a:r>
            </a:p>
          </p:txBody>
        </p:sp>
        <p:sp>
          <p:nvSpPr>
            <p:cNvPr id="162" name="TextBox 161">
              <a:extLst>
                <a:ext uri="{FF2B5EF4-FFF2-40B4-BE49-F238E27FC236}">
                  <a16:creationId xmlns:a16="http://schemas.microsoft.com/office/drawing/2014/main" id="{841FE7DA-6230-4FCF-4AA2-C28D0F902207}"/>
                </a:ext>
              </a:extLst>
            </p:cNvPr>
            <p:cNvSpPr txBox="1"/>
            <p:nvPr/>
          </p:nvSpPr>
          <p:spPr>
            <a:xfrm rot="20568704">
              <a:off x="3234250" y="4436191"/>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Pfizer Tomorrow"/>
                  <a:ea typeface="+mn-ea"/>
                  <a:cs typeface="+mn-cs"/>
                </a:rPr>
                <a:t>1950</a:t>
              </a:r>
            </a:p>
          </p:txBody>
        </p:sp>
        <p:sp>
          <p:nvSpPr>
            <p:cNvPr id="163" name="TextBox 162">
              <a:extLst>
                <a:ext uri="{FF2B5EF4-FFF2-40B4-BE49-F238E27FC236}">
                  <a16:creationId xmlns:a16="http://schemas.microsoft.com/office/drawing/2014/main" id="{99B57E12-5899-0448-C2FB-1CE520A425E9}"/>
                </a:ext>
              </a:extLst>
            </p:cNvPr>
            <p:cNvSpPr txBox="1"/>
            <p:nvPr/>
          </p:nvSpPr>
          <p:spPr>
            <a:xfrm rot="850775">
              <a:off x="9009405" y="1935216"/>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2100</a:t>
              </a:r>
            </a:p>
          </p:txBody>
        </p:sp>
        <p:sp>
          <p:nvSpPr>
            <p:cNvPr id="164" name="TextBox 163">
              <a:extLst>
                <a:ext uri="{FF2B5EF4-FFF2-40B4-BE49-F238E27FC236}">
                  <a16:creationId xmlns:a16="http://schemas.microsoft.com/office/drawing/2014/main" id="{88437FAA-2416-C9C5-0591-4F5DE79E9111}"/>
                </a:ext>
              </a:extLst>
            </p:cNvPr>
            <p:cNvSpPr txBox="1"/>
            <p:nvPr/>
          </p:nvSpPr>
          <p:spPr>
            <a:xfrm rot="850775">
              <a:off x="8828263" y="2078097"/>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2075</a:t>
              </a:r>
            </a:p>
          </p:txBody>
        </p:sp>
        <p:sp>
          <p:nvSpPr>
            <p:cNvPr id="165" name="TextBox 164">
              <a:extLst>
                <a:ext uri="{FF2B5EF4-FFF2-40B4-BE49-F238E27FC236}">
                  <a16:creationId xmlns:a16="http://schemas.microsoft.com/office/drawing/2014/main" id="{A1976FF9-CC04-2DDE-4832-CE6D53FAF5CE}"/>
                </a:ext>
              </a:extLst>
            </p:cNvPr>
            <p:cNvSpPr txBox="1"/>
            <p:nvPr/>
          </p:nvSpPr>
          <p:spPr>
            <a:xfrm rot="850775">
              <a:off x="8713129" y="2253675"/>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2050</a:t>
              </a:r>
            </a:p>
          </p:txBody>
        </p:sp>
        <p:sp>
          <p:nvSpPr>
            <p:cNvPr id="166" name="TextBox 165">
              <a:extLst>
                <a:ext uri="{FF2B5EF4-FFF2-40B4-BE49-F238E27FC236}">
                  <a16:creationId xmlns:a16="http://schemas.microsoft.com/office/drawing/2014/main" id="{E35D4DC3-DDD6-CA11-5862-C8C97B0A06EE}"/>
                </a:ext>
              </a:extLst>
            </p:cNvPr>
            <p:cNvSpPr txBox="1"/>
            <p:nvPr/>
          </p:nvSpPr>
          <p:spPr>
            <a:xfrm rot="1262369">
              <a:off x="8464161" y="2666651"/>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2018</a:t>
              </a:r>
            </a:p>
          </p:txBody>
        </p:sp>
        <p:sp>
          <p:nvSpPr>
            <p:cNvPr id="167" name="TextBox 166">
              <a:extLst>
                <a:ext uri="{FF2B5EF4-FFF2-40B4-BE49-F238E27FC236}">
                  <a16:creationId xmlns:a16="http://schemas.microsoft.com/office/drawing/2014/main" id="{D8820F40-9F58-C634-F2DC-4097383323F5}"/>
                </a:ext>
              </a:extLst>
            </p:cNvPr>
            <p:cNvSpPr txBox="1"/>
            <p:nvPr/>
          </p:nvSpPr>
          <p:spPr>
            <a:xfrm rot="1065725">
              <a:off x="8069662" y="3260733"/>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1990</a:t>
              </a:r>
            </a:p>
          </p:txBody>
        </p:sp>
        <p:sp>
          <p:nvSpPr>
            <p:cNvPr id="168" name="TextBox 167">
              <a:extLst>
                <a:ext uri="{FF2B5EF4-FFF2-40B4-BE49-F238E27FC236}">
                  <a16:creationId xmlns:a16="http://schemas.microsoft.com/office/drawing/2014/main" id="{230DB59E-32C0-508A-3441-99631850D2A1}"/>
                </a:ext>
              </a:extLst>
            </p:cNvPr>
            <p:cNvSpPr txBox="1"/>
            <p:nvPr/>
          </p:nvSpPr>
          <p:spPr>
            <a:xfrm rot="1060899">
              <a:off x="8100575" y="3584679"/>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1980</a:t>
              </a:r>
            </a:p>
          </p:txBody>
        </p:sp>
        <p:sp>
          <p:nvSpPr>
            <p:cNvPr id="169" name="TextBox 168">
              <a:extLst>
                <a:ext uri="{FF2B5EF4-FFF2-40B4-BE49-F238E27FC236}">
                  <a16:creationId xmlns:a16="http://schemas.microsoft.com/office/drawing/2014/main" id="{619D17F2-DAB5-8FAF-D212-57EE9C37F480}"/>
                </a:ext>
              </a:extLst>
            </p:cNvPr>
            <p:cNvSpPr txBox="1"/>
            <p:nvPr/>
          </p:nvSpPr>
          <p:spPr>
            <a:xfrm rot="719479">
              <a:off x="8188439" y="3901432"/>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67"/>
                  </a:solidFill>
                  <a:effectLst/>
                  <a:uLnTx/>
                  <a:uFillTx/>
                  <a:latin typeface="Pfizer Tomorrow"/>
                  <a:ea typeface="+mn-ea"/>
                  <a:cs typeface="+mn-cs"/>
                </a:rPr>
                <a:t>1970</a:t>
              </a:r>
            </a:p>
          </p:txBody>
        </p:sp>
        <p:sp>
          <p:nvSpPr>
            <p:cNvPr id="170" name="TextBox 169">
              <a:extLst>
                <a:ext uri="{FF2B5EF4-FFF2-40B4-BE49-F238E27FC236}">
                  <a16:creationId xmlns:a16="http://schemas.microsoft.com/office/drawing/2014/main" id="{783DCD6E-EC56-BBED-9D8A-080C71C12019}"/>
                </a:ext>
              </a:extLst>
            </p:cNvPr>
            <p:cNvSpPr txBox="1"/>
            <p:nvPr/>
          </p:nvSpPr>
          <p:spPr>
            <a:xfrm rot="1214434">
              <a:off x="8121592" y="4174701"/>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Pfizer Tomorrow"/>
                  <a:ea typeface="+mn-ea"/>
                  <a:cs typeface="+mn-cs"/>
                </a:rPr>
                <a:t>1960</a:t>
              </a:r>
            </a:p>
          </p:txBody>
        </p:sp>
        <p:sp>
          <p:nvSpPr>
            <p:cNvPr id="171" name="TextBox 170">
              <a:extLst>
                <a:ext uri="{FF2B5EF4-FFF2-40B4-BE49-F238E27FC236}">
                  <a16:creationId xmlns:a16="http://schemas.microsoft.com/office/drawing/2014/main" id="{7705E822-59F3-81CB-BEB9-B36D60663208}"/>
                </a:ext>
              </a:extLst>
            </p:cNvPr>
            <p:cNvSpPr txBox="1"/>
            <p:nvPr/>
          </p:nvSpPr>
          <p:spPr>
            <a:xfrm rot="992005">
              <a:off x="8071765" y="4436191"/>
              <a:ext cx="962206" cy="184666"/>
            </a:xfrm>
            <a:prstGeom prst="rect">
              <a:avLst/>
            </a:prstGeom>
            <a:noFill/>
          </p:spPr>
          <p:txBody>
            <a:bodyPr wrap="square" lIns="0" t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Pfizer Tomorrow"/>
                  <a:ea typeface="+mn-ea"/>
                  <a:cs typeface="+mn-cs"/>
                </a:rPr>
                <a:t>1950</a:t>
              </a:r>
            </a:p>
          </p:txBody>
        </p:sp>
        <p:sp>
          <p:nvSpPr>
            <p:cNvPr id="172" name="TextBox 171">
              <a:extLst>
                <a:ext uri="{FF2B5EF4-FFF2-40B4-BE49-F238E27FC236}">
                  <a16:creationId xmlns:a16="http://schemas.microsoft.com/office/drawing/2014/main" id="{E6C1ED16-ED52-91F3-AAEF-EEB66D8C5590}"/>
                </a:ext>
              </a:extLst>
            </p:cNvPr>
            <p:cNvSpPr txBox="1"/>
            <p:nvPr/>
          </p:nvSpPr>
          <p:spPr>
            <a:xfrm>
              <a:off x="3206704" y="4755665"/>
              <a:ext cx="1991101" cy="369332"/>
            </a:xfrm>
            <a:prstGeom prst="rect">
              <a:avLst/>
            </a:prstGeom>
            <a:noFill/>
          </p:spPr>
          <p:txBody>
            <a:bodyPr wrap="square"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67"/>
                  </a:solidFill>
                  <a:effectLst/>
                  <a:uLnTx/>
                  <a:uFillTx/>
                  <a:latin typeface="Pfizer Tomorrow"/>
                  <a:ea typeface="+mn-ea"/>
                  <a:cs typeface="+mn-cs"/>
                </a:rPr>
                <a:t>Erkekler</a:t>
              </a:r>
            </a:p>
          </p:txBody>
        </p:sp>
        <p:sp>
          <p:nvSpPr>
            <p:cNvPr id="173" name="TextBox 172">
              <a:extLst>
                <a:ext uri="{FF2B5EF4-FFF2-40B4-BE49-F238E27FC236}">
                  <a16:creationId xmlns:a16="http://schemas.microsoft.com/office/drawing/2014/main" id="{66B169CC-CF7F-D6C7-B9C4-BA02D31A6112}"/>
                </a:ext>
              </a:extLst>
            </p:cNvPr>
            <p:cNvSpPr txBox="1"/>
            <p:nvPr/>
          </p:nvSpPr>
          <p:spPr>
            <a:xfrm>
              <a:off x="6475839" y="4755665"/>
              <a:ext cx="1991101" cy="369332"/>
            </a:xfrm>
            <a:prstGeom prst="rect">
              <a:avLst/>
            </a:prstGeom>
            <a:noFill/>
          </p:spPr>
          <p:txBody>
            <a:bodyPr wrap="square"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67"/>
                  </a:solidFill>
                  <a:effectLst/>
                  <a:uLnTx/>
                  <a:uFillTx/>
                  <a:latin typeface="Pfizer Tomorrow"/>
                  <a:ea typeface="+mn-ea"/>
                  <a:cs typeface="+mn-cs"/>
                </a:rPr>
                <a:t>Kadınlar</a:t>
              </a:r>
            </a:p>
          </p:txBody>
        </p:sp>
        <p:sp>
          <p:nvSpPr>
            <p:cNvPr id="174" name="TextBox 173">
              <a:extLst>
                <a:ext uri="{FF2B5EF4-FFF2-40B4-BE49-F238E27FC236}">
                  <a16:creationId xmlns:a16="http://schemas.microsoft.com/office/drawing/2014/main" id="{A5EF0624-2AF6-781D-71DD-B4242102EDFC}"/>
                </a:ext>
              </a:extLst>
            </p:cNvPr>
            <p:cNvSpPr txBox="1"/>
            <p:nvPr/>
          </p:nvSpPr>
          <p:spPr>
            <a:xfrm rot="16200000">
              <a:off x="574759" y="4892809"/>
              <a:ext cx="296171" cy="123111"/>
            </a:xfrm>
            <a:prstGeom prst="rect">
              <a:avLst/>
            </a:prstGeom>
            <a:noFill/>
          </p:spPr>
          <p:txBody>
            <a:bodyPr wrap="square" lIns="0" tIns="0" rIns="0" bIns="0" rtlCol="0">
              <a:spAutoFit/>
            </a:bodyPr>
            <a:lstStyle/>
            <a:p>
              <a:pPr marL="0" marR="0" lvl="0" indent="0" algn="r"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8FF4FF"/>
                  </a:solidFill>
                  <a:effectLst/>
                  <a:uLnTx/>
                  <a:uFillTx/>
                  <a:latin typeface="Pfizer Diatype Office"/>
                  <a:ea typeface="+mn-ea"/>
                  <a:cs typeface="+mn-cs"/>
                </a:rPr>
                <a:t>2050</a:t>
              </a:r>
            </a:p>
          </p:txBody>
        </p:sp>
        <p:sp>
          <p:nvSpPr>
            <p:cNvPr id="175" name="TextBox 174">
              <a:extLst>
                <a:ext uri="{FF2B5EF4-FFF2-40B4-BE49-F238E27FC236}">
                  <a16:creationId xmlns:a16="http://schemas.microsoft.com/office/drawing/2014/main" id="{DBACA8E1-20D1-7EBD-B32B-5FD249795BCF}"/>
                </a:ext>
              </a:extLst>
            </p:cNvPr>
            <p:cNvSpPr txBox="1"/>
            <p:nvPr/>
          </p:nvSpPr>
          <p:spPr>
            <a:xfrm rot="16200000">
              <a:off x="712043" y="4892809"/>
              <a:ext cx="296171" cy="123111"/>
            </a:xfrm>
            <a:prstGeom prst="rect">
              <a:avLst/>
            </a:prstGeom>
            <a:noFill/>
          </p:spPr>
          <p:txBody>
            <a:bodyPr wrap="square" lIns="0" tIns="0" rIns="0" bIns="0" rtlCol="0">
              <a:spAutoFit/>
            </a:bodyPr>
            <a:lstStyle/>
            <a:p>
              <a:pPr marL="0" marR="0" lvl="0" indent="0" algn="r"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8DABFF"/>
                  </a:solidFill>
                  <a:effectLst/>
                  <a:uLnTx/>
                  <a:uFillTx/>
                  <a:latin typeface="Pfizer Diatype Office"/>
                  <a:ea typeface="+mn-ea"/>
                  <a:cs typeface="+mn-cs"/>
                </a:rPr>
                <a:t>2075</a:t>
              </a:r>
            </a:p>
          </p:txBody>
        </p:sp>
        <p:sp>
          <p:nvSpPr>
            <p:cNvPr id="176" name="TextBox 175">
              <a:extLst>
                <a:ext uri="{FF2B5EF4-FFF2-40B4-BE49-F238E27FC236}">
                  <a16:creationId xmlns:a16="http://schemas.microsoft.com/office/drawing/2014/main" id="{0F935526-7112-464E-EDB2-347C54ACDD27}"/>
                </a:ext>
              </a:extLst>
            </p:cNvPr>
            <p:cNvSpPr txBox="1"/>
            <p:nvPr/>
          </p:nvSpPr>
          <p:spPr>
            <a:xfrm rot="16200000">
              <a:off x="817793" y="4892809"/>
              <a:ext cx="296171" cy="123111"/>
            </a:xfrm>
            <a:prstGeom prst="rect">
              <a:avLst/>
            </a:prstGeom>
            <a:noFill/>
          </p:spPr>
          <p:txBody>
            <a:bodyPr wrap="square" lIns="0" tIns="0" rIns="0" bIns="0" rtlCol="0">
              <a:spAutoFit/>
            </a:bodyPr>
            <a:lstStyle/>
            <a:p>
              <a:pPr marL="0" marR="0" lvl="0" indent="0" algn="r"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92FF92"/>
                  </a:solidFill>
                  <a:effectLst/>
                  <a:uLnTx/>
                  <a:uFillTx/>
                  <a:latin typeface="Pfizer Diatype Office"/>
                  <a:ea typeface="+mn-ea"/>
                  <a:cs typeface="+mn-cs"/>
                </a:rPr>
                <a:t>2018</a:t>
              </a:r>
            </a:p>
          </p:txBody>
        </p:sp>
        <p:sp>
          <p:nvSpPr>
            <p:cNvPr id="177" name="TextBox 176">
              <a:extLst>
                <a:ext uri="{FF2B5EF4-FFF2-40B4-BE49-F238E27FC236}">
                  <a16:creationId xmlns:a16="http://schemas.microsoft.com/office/drawing/2014/main" id="{E7812BE6-990A-4B2F-C5EE-4982736DC340}"/>
                </a:ext>
              </a:extLst>
            </p:cNvPr>
            <p:cNvSpPr txBox="1"/>
            <p:nvPr/>
          </p:nvSpPr>
          <p:spPr>
            <a:xfrm rot="16200000">
              <a:off x="926111" y="4892809"/>
              <a:ext cx="296171" cy="123111"/>
            </a:xfrm>
            <a:prstGeom prst="rect">
              <a:avLst/>
            </a:prstGeom>
            <a:noFill/>
          </p:spPr>
          <p:txBody>
            <a:bodyPr wrap="square" lIns="0" tIns="0" rIns="0" bIns="0" rtlCol="0">
              <a:spAutoFit/>
            </a:bodyPr>
            <a:lstStyle/>
            <a:p>
              <a:pPr marL="0" marR="0" lvl="0" indent="0" algn="r"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B7A5"/>
                  </a:solidFill>
                  <a:effectLst/>
                  <a:uLnTx/>
                  <a:uFillTx/>
                  <a:latin typeface="Pfizer Diatype Office"/>
                  <a:ea typeface="+mn-ea"/>
                  <a:cs typeface="+mn-cs"/>
                </a:rPr>
                <a:t>1990</a:t>
              </a:r>
            </a:p>
          </p:txBody>
        </p:sp>
        <p:sp>
          <p:nvSpPr>
            <p:cNvPr id="178" name="TextBox 177">
              <a:extLst>
                <a:ext uri="{FF2B5EF4-FFF2-40B4-BE49-F238E27FC236}">
                  <a16:creationId xmlns:a16="http://schemas.microsoft.com/office/drawing/2014/main" id="{1ECB91E9-2233-97A9-ECAD-B130504C62CA}"/>
                </a:ext>
              </a:extLst>
            </p:cNvPr>
            <p:cNvSpPr txBox="1"/>
            <p:nvPr/>
          </p:nvSpPr>
          <p:spPr>
            <a:xfrm rot="16200000">
              <a:off x="1730156" y="4892809"/>
              <a:ext cx="296171" cy="123111"/>
            </a:xfrm>
            <a:prstGeom prst="rect">
              <a:avLst/>
            </a:prstGeom>
            <a:noFill/>
          </p:spPr>
          <p:txBody>
            <a:bodyPr wrap="square" lIns="0" tIns="0" rIns="0" bIns="0" rtlCol="0">
              <a:spAutoFit/>
            </a:bodyPr>
            <a:lstStyle/>
            <a:p>
              <a:pPr marL="0" marR="0" lvl="0" indent="0" algn="r"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95FF"/>
                  </a:solidFill>
                  <a:effectLst/>
                  <a:uLnTx/>
                  <a:uFillTx/>
                  <a:latin typeface="Pfizer Diatype Office"/>
                  <a:ea typeface="+mn-ea"/>
                  <a:cs typeface="+mn-cs"/>
                </a:rPr>
                <a:t>1980</a:t>
              </a:r>
            </a:p>
          </p:txBody>
        </p:sp>
        <p:sp>
          <p:nvSpPr>
            <p:cNvPr id="179" name="TextBox 178">
              <a:extLst>
                <a:ext uri="{FF2B5EF4-FFF2-40B4-BE49-F238E27FC236}">
                  <a16:creationId xmlns:a16="http://schemas.microsoft.com/office/drawing/2014/main" id="{1E716AF3-CBD2-1EC0-F367-C59B5A5AA6DD}"/>
                </a:ext>
              </a:extLst>
            </p:cNvPr>
            <p:cNvSpPr txBox="1"/>
            <p:nvPr/>
          </p:nvSpPr>
          <p:spPr>
            <a:xfrm rot="16200000">
              <a:off x="1914799" y="4892809"/>
              <a:ext cx="296171" cy="123111"/>
            </a:xfrm>
            <a:prstGeom prst="rect">
              <a:avLst/>
            </a:prstGeom>
            <a:noFill/>
          </p:spPr>
          <p:txBody>
            <a:bodyPr wrap="square" lIns="0" tIns="0" rIns="0" bIns="0" rtlCol="0">
              <a:spAutoFit/>
            </a:bodyPr>
            <a:lstStyle/>
            <a:p>
              <a:pPr marL="0" marR="0" lvl="0" indent="0" algn="r"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5FC6"/>
                  </a:solidFill>
                  <a:effectLst/>
                  <a:uLnTx/>
                  <a:uFillTx/>
                  <a:latin typeface="Pfizer Diatype Office"/>
                  <a:ea typeface="+mn-ea"/>
                  <a:cs typeface="+mn-cs"/>
                </a:rPr>
                <a:t>1970</a:t>
              </a:r>
            </a:p>
          </p:txBody>
        </p:sp>
        <p:sp>
          <p:nvSpPr>
            <p:cNvPr id="180" name="TextBox 179">
              <a:extLst>
                <a:ext uri="{FF2B5EF4-FFF2-40B4-BE49-F238E27FC236}">
                  <a16:creationId xmlns:a16="http://schemas.microsoft.com/office/drawing/2014/main" id="{F1812485-6385-9D13-ACA6-8D0260339A4E}"/>
                </a:ext>
              </a:extLst>
            </p:cNvPr>
            <p:cNvSpPr txBox="1"/>
            <p:nvPr/>
          </p:nvSpPr>
          <p:spPr>
            <a:xfrm rot="16200000">
              <a:off x="2683751" y="4892809"/>
              <a:ext cx="296171" cy="123111"/>
            </a:xfrm>
            <a:prstGeom prst="rect">
              <a:avLst/>
            </a:prstGeom>
            <a:noFill/>
          </p:spPr>
          <p:txBody>
            <a:bodyPr wrap="square" lIns="0" tIns="0" rIns="0" bIns="0" rtlCol="0">
              <a:spAutoFit/>
            </a:bodyPr>
            <a:lstStyle/>
            <a:p>
              <a:pPr marL="0" marR="0" lvl="0" indent="0" algn="r"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C9"/>
                  </a:solidFill>
                  <a:effectLst/>
                  <a:uLnTx/>
                  <a:uFillTx/>
                  <a:latin typeface="Pfizer Diatype Office"/>
                  <a:ea typeface="+mn-ea"/>
                  <a:cs typeface="+mn-cs"/>
                </a:rPr>
                <a:t>1960</a:t>
              </a:r>
            </a:p>
          </p:txBody>
        </p:sp>
        <p:sp>
          <p:nvSpPr>
            <p:cNvPr id="181" name="TextBox 180">
              <a:extLst>
                <a:ext uri="{FF2B5EF4-FFF2-40B4-BE49-F238E27FC236}">
                  <a16:creationId xmlns:a16="http://schemas.microsoft.com/office/drawing/2014/main" id="{EC51BF73-EE8D-08FB-9F0F-C12336F8B94A}"/>
                </a:ext>
              </a:extLst>
            </p:cNvPr>
            <p:cNvSpPr txBox="1"/>
            <p:nvPr/>
          </p:nvSpPr>
          <p:spPr>
            <a:xfrm rot="16200000">
              <a:off x="3156633" y="4892809"/>
              <a:ext cx="296171" cy="123111"/>
            </a:xfrm>
            <a:prstGeom prst="rect">
              <a:avLst/>
            </a:prstGeom>
            <a:noFill/>
          </p:spPr>
          <p:txBody>
            <a:bodyPr wrap="square" lIns="0" tIns="0" rIns="0" bIns="0" rtlCol="0">
              <a:spAutoFit/>
            </a:bodyPr>
            <a:lstStyle/>
            <a:p>
              <a:pPr marL="0" marR="0" lvl="0" indent="0" algn="r"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67"/>
                  </a:solidFill>
                  <a:effectLst/>
                  <a:uLnTx/>
                  <a:uFillTx/>
                  <a:latin typeface="Pfizer Diatype Office"/>
                  <a:ea typeface="+mn-ea"/>
                  <a:cs typeface="+mn-cs"/>
                </a:rPr>
                <a:t>1950</a:t>
              </a:r>
            </a:p>
          </p:txBody>
        </p:sp>
        <p:sp>
          <p:nvSpPr>
            <p:cNvPr id="182" name="TextBox 181">
              <a:extLst>
                <a:ext uri="{FF2B5EF4-FFF2-40B4-BE49-F238E27FC236}">
                  <a16:creationId xmlns:a16="http://schemas.microsoft.com/office/drawing/2014/main" id="{B865D6E1-F51D-41C4-59DC-FB199ED8434F}"/>
                </a:ext>
              </a:extLst>
            </p:cNvPr>
            <p:cNvSpPr txBox="1"/>
            <p:nvPr/>
          </p:nvSpPr>
          <p:spPr>
            <a:xfrm rot="5400000">
              <a:off x="11163538" y="4892809"/>
              <a:ext cx="296171" cy="123111"/>
            </a:xfrm>
            <a:prstGeom prst="rect">
              <a:avLst/>
            </a:prstGeom>
            <a:noFill/>
          </p:spPr>
          <p:txBody>
            <a:bodyPr wrap="square" lIns="0" tIns="0" r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8FF4FF"/>
                  </a:solidFill>
                  <a:effectLst/>
                  <a:uLnTx/>
                  <a:uFillTx/>
                  <a:latin typeface="Pfizer Diatype Office"/>
                  <a:ea typeface="+mn-ea"/>
                  <a:cs typeface="+mn-cs"/>
                </a:rPr>
                <a:t>2050</a:t>
              </a:r>
            </a:p>
          </p:txBody>
        </p:sp>
        <p:sp>
          <p:nvSpPr>
            <p:cNvPr id="183" name="TextBox 182">
              <a:extLst>
                <a:ext uri="{FF2B5EF4-FFF2-40B4-BE49-F238E27FC236}">
                  <a16:creationId xmlns:a16="http://schemas.microsoft.com/office/drawing/2014/main" id="{7D824DD0-F852-34D0-852A-CA38A1227710}"/>
                </a:ext>
              </a:extLst>
            </p:cNvPr>
            <p:cNvSpPr txBox="1"/>
            <p:nvPr/>
          </p:nvSpPr>
          <p:spPr>
            <a:xfrm rot="5400000">
              <a:off x="11066462" y="4892809"/>
              <a:ext cx="296171" cy="123111"/>
            </a:xfrm>
            <a:prstGeom prst="rect">
              <a:avLst/>
            </a:prstGeom>
            <a:noFill/>
          </p:spPr>
          <p:txBody>
            <a:bodyPr wrap="square" lIns="0" tIns="0" r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8DABFF"/>
                  </a:solidFill>
                  <a:effectLst/>
                  <a:uLnTx/>
                  <a:uFillTx/>
                  <a:latin typeface="Pfizer Diatype Office"/>
                  <a:ea typeface="+mn-ea"/>
                  <a:cs typeface="+mn-cs"/>
                </a:rPr>
                <a:t>2075</a:t>
              </a:r>
            </a:p>
          </p:txBody>
        </p:sp>
        <p:sp>
          <p:nvSpPr>
            <p:cNvPr id="184" name="TextBox 183">
              <a:extLst>
                <a:ext uri="{FF2B5EF4-FFF2-40B4-BE49-F238E27FC236}">
                  <a16:creationId xmlns:a16="http://schemas.microsoft.com/office/drawing/2014/main" id="{DD2FEDAB-B335-A3AC-9A37-6A2FAB72BEFA}"/>
                </a:ext>
              </a:extLst>
            </p:cNvPr>
            <p:cNvSpPr txBox="1"/>
            <p:nvPr/>
          </p:nvSpPr>
          <p:spPr>
            <a:xfrm rot="5400000">
              <a:off x="10967214" y="4892809"/>
              <a:ext cx="296171" cy="123111"/>
            </a:xfrm>
            <a:prstGeom prst="rect">
              <a:avLst/>
            </a:prstGeom>
            <a:noFill/>
          </p:spPr>
          <p:txBody>
            <a:bodyPr wrap="square" lIns="0" tIns="0" r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92FF92"/>
                  </a:solidFill>
                  <a:effectLst/>
                  <a:uLnTx/>
                  <a:uFillTx/>
                  <a:latin typeface="Pfizer Diatype Office"/>
                  <a:ea typeface="+mn-ea"/>
                  <a:cs typeface="+mn-cs"/>
                </a:rPr>
                <a:t>2018</a:t>
              </a:r>
            </a:p>
          </p:txBody>
        </p:sp>
        <p:sp>
          <p:nvSpPr>
            <p:cNvPr id="185" name="TextBox 184">
              <a:extLst>
                <a:ext uri="{FF2B5EF4-FFF2-40B4-BE49-F238E27FC236}">
                  <a16:creationId xmlns:a16="http://schemas.microsoft.com/office/drawing/2014/main" id="{16632C0E-A156-8830-4313-CE98D1D701D5}"/>
                </a:ext>
              </a:extLst>
            </p:cNvPr>
            <p:cNvSpPr txBox="1"/>
            <p:nvPr/>
          </p:nvSpPr>
          <p:spPr>
            <a:xfrm rot="5400000">
              <a:off x="10855531" y="4883612"/>
              <a:ext cx="296171" cy="141507"/>
            </a:xfrm>
            <a:prstGeom prst="rect">
              <a:avLst/>
            </a:prstGeom>
            <a:solidFill>
              <a:srgbClr val="FFFFFF"/>
            </a:solidFill>
          </p:spPr>
          <p:txBody>
            <a:bodyPr wrap="square" lIns="0" tIns="0" r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B7A5"/>
                  </a:solidFill>
                  <a:effectLst/>
                  <a:uLnTx/>
                  <a:uFillTx/>
                  <a:latin typeface="Pfizer Diatype Office"/>
                  <a:ea typeface="+mn-ea"/>
                  <a:cs typeface="+mn-cs"/>
                </a:rPr>
                <a:t>1990</a:t>
              </a:r>
            </a:p>
          </p:txBody>
        </p:sp>
        <p:sp>
          <p:nvSpPr>
            <p:cNvPr id="186" name="TextBox 185">
              <a:extLst>
                <a:ext uri="{FF2B5EF4-FFF2-40B4-BE49-F238E27FC236}">
                  <a16:creationId xmlns:a16="http://schemas.microsoft.com/office/drawing/2014/main" id="{86347793-F9F1-17D0-9AE7-84ABAB0745BF}"/>
                </a:ext>
              </a:extLst>
            </p:cNvPr>
            <p:cNvSpPr txBox="1"/>
            <p:nvPr/>
          </p:nvSpPr>
          <p:spPr>
            <a:xfrm rot="5400000">
              <a:off x="10688510" y="4883612"/>
              <a:ext cx="296171" cy="141507"/>
            </a:xfrm>
            <a:prstGeom prst="rect">
              <a:avLst/>
            </a:prstGeom>
            <a:noFill/>
          </p:spPr>
          <p:txBody>
            <a:bodyPr wrap="square" lIns="0" tIns="0" r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7030A0"/>
                  </a:solidFill>
                  <a:effectLst/>
                  <a:uLnTx/>
                  <a:uFillTx/>
                  <a:latin typeface="Pfizer Diatype Office"/>
                  <a:ea typeface="+mn-ea"/>
                  <a:cs typeface="+mn-cs"/>
                </a:rPr>
                <a:t>2100</a:t>
              </a:r>
            </a:p>
          </p:txBody>
        </p:sp>
        <p:sp>
          <p:nvSpPr>
            <p:cNvPr id="187" name="TextBox 186">
              <a:extLst>
                <a:ext uri="{FF2B5EF4-FFF2-40B4-BE49-F238E27FC236}">
                  <a16:creationId xmlns:a16="http://schemas.microsoft.com/office/drawing/2014/main" id="{730607E4-C812-89E0-540F-76B6CE3F0153}"/>
                </a:ext>
              </a:extLst>
            </p:cNvPr>
            <p:cNvSpPr txBox="1"/>
            <p:nvPr/>
          </p:nvSpPr>
          <p:spPr>
            <a:xfrm rot="5400000">
              <a:off x="10152865" y="4892809"/>
              <a:ext cx="296171" cy="123111"/>
            </a:xfrm>
            <a:prstGeom prst="rect">
              <a:avLst/>
            </a:prstGeom>
            <a:noFill/>
          </p:spPr>
          <p:txBody>
            <a:bodyPr wrap="square" lIns="0" tIns="0" r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95FF"/>
                  </a:solidFill>
                  <a:effectLst/>
                  <a:uLnTx/>
                  <a:uFillTx/>
                  <a:latin typeface="Pfizer Diatype Office"/>
                  <a:ea typeface="+mn-ea"/>
                  <a:cs typeface="+mn-cs"/>
                </a:rPr>
                <a:t>1980</a:t>
              </a:r>
            </a:p>
          </p:txBody>
        </p:sp>
        <p:sp>
          <p:nvSpPr>
            <p:cNvPr id="188" name="TextBox 187">
              <a:extLst>
                <a:ext uri="{FF2B5EF4-FFF2-40B4-BE49-F238E27FC236}">
                  <a16:creationId xmlns:a16="http://schemas.microsoft.com/office/drawing/2014/main" id="{9A4154FA-2BF4-58EA-9191-59B5EC6F4020}"/>
                </a:ext>
              </a:extLst>
            </p:cNvPr>
            <p:cNvSpPr txBox="1"/>
            <p:nvPr/>
          </p:nvSpPr>
          <p:spPr>
            <a:xfrm rot="5400000">
              <a:off x="10026461" y="4892809"/>
              <a:ext cx="296171" cy="123111"/>
            </a:xfrm>
            <a:prstGeom prst="rect">
              <a:avLst/>
            </a:prstGeom>
            <a:noFill/>
          </p:spPr>
          <p:txBody>
            <a:bodyPr wrap="square" lIns="0" tIns="0" r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5FC6"/>
                  </a:solidFill>
                  <a:effectLst/>
                  <a:uLnTx/>
                  <a:uFillTx/>
                  <a:latin typeface="Pfizer Diatype Office"/>
                  <a:ea typeface="+mn-ea"/>
                  <a:cs typeface="+mn-cs"/>
                </a:rPr>
                <a:t>1970</a:t>
              </a:r>
            </a:p>
          </p:txBody>
        </p:sp>
        <p:sp>
          <p:nvSpPr>
            <p:cNvPr id="189" name="TextBox 188">
              <a:extLst>
                <a:ext uri="{FF2B5EF4-FFF2-40B4-BE49-F238E27FC236}">
                  <a16:creationId xmlns:a16="http://schemas.microsoft.com/office/drawing/2014/main" id="{5E7DB124-9B18-61A0-F593-582EACC237CD}"/>
                </a:ext>
              </a:extLst>
            </p:cNvPr>
            <p:cNvSpPr txBox="1"/>
            <p:nvPr/>
          </p:nvSpPr>
          <p:spPr>
            <a:xfrm rot="5400000">
              <a:off x="8889149" y="4892809"/>
              <a:ext cx="296171" cy="123111"/>
            </a:xfrm>
            <a:prstGeom prst="rect">
              <a:avLst/>
            </a:prstGeom>
            <a:noFill/>
          </p:spPr>
          <p:txBody>
            <a:bodyPr wrap="square" lIns="0" tIns="0" r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67"/>
                  </a:solidFill>
                  <a:effectLst/>
                  <a:uLnTx/>
                  <a:uFillTx/>
                  <a:latin typeface="Pfizer Diatype Office"/>
                  <a:ea typeface="+mn-ea"/>
                  <a:cs typeface="+mn-cs"/>
                </a:rPr>
                <a:t>1950</a:t>
              </a:r>
            </a:p>
          </p:txBody>
        </p:sp>
        <p:sp>
          <p:nvSpPr>
            <p:cNvPr id="190" name="TextBox 189">
              <a:extLst>
                <a:ext uri="{FF2B5EF4-FFF2-40B4-BE49-F238E27FC236}">
                  <a16:creationId xmlns:a16="http://schemas.microsoft.com/office/drawing/2014/main" id="{331CD73D-C195-5F12-6B39-FC79A13E175A}"/>
                </a:ext>
              </a:extLst>
            </p:cNvPr>
            <p:cNvSpPr txBox="1"/>
            <p:nvPr/>
          </p:nvSpPr>
          <p:spPr>
            <a:xfrm rot="5400000">
              <a:off x="9230722" y="4892809"/>
              <a:ext cx="296171" cy="123111"/>
            </a:xfrm>
            <a:prstGeom prst="rect">
              <a:avLst/>
            </a:prstGeom>
            <a:noFill/>
          </p:spPr>
          <p:txBody>
            <a:bodyPr wrap="square" lIns="0" tIns="0" rIns="0" bIns="0" rtlCol="0">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C9"/>
                  </a:solidFill>
                  <a:effectLst/>
                  <a:uLnTx/>
                  <a:uFillTx/>
                  <a:latin typeface="Pfizer Diatype Office"/>
                  <a:ea typeface="+mn-ea"/>
                  <a:cs typeface="+mn-cs"/>
                </a:rPr>
                <a:t>1960</a:t>
              </a:r>
            </a:p>
          </p:txBody>
        </p:sp>
        <p:sp>
          <p:nvSpPr>
            <p:cNvPr id="191" name="TextBox 190">
              <a:extLst>
                <a:ext uri="{FF2B5EF4-FFF2-40B4-BE49-F238E27FC236}">
                  <a16:creationId xmlns:a16="http://schemas.microsoft.com/office/drawing/2014/main" id="{C04CAFAF-7ADA-3698-837A-40B48438DC0C}"/>
                </a:ext>
              </a:extLst>
            </p:cNvPr>
            <p:cNvSpPr txBox="1"/>
            <p:nvPr/>
          </p:nvSpPr>
          <p:spPr>
            <a:xfrm>
              <a:off x="929835" y="1318994"/>
              <a:ext cx="620172" cy="123111"/>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70 Milyon</a:t>
              </a:r>
            </a:p>
          </p:txBody>
        </p:sp>
        <p:sp>
          <p:nvSpPr>
            <p:cNvPr id="192" name="TextBox 191">
              <a:extLst>
                <a:ext uri="{FF2B5EF4-FFF2-40B4-BE49-F238E27FC236}">
                  <a16:creationId xmlns:a16="http://schemas.microsoft.com/office/drawing/2014/main" id="{77BCD564-BC75-4C83-9860-E31C64333251}"/>
                </a:ext>
              </a:extLst>
            </p:cNvPr>
            <p:cNvSpPr txBox="1"/>
            <p:nvPr/>
          </p:nvSpPr>
          <p:spPr>
            <a:xfrm>
              <a:off x="1691243" y="1318994"/>
              <a:ext cx="620172" cy="123111"/>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60 Milyon</a:t>
              </a:r>
            </a:p>
          </p:txBody>
        </p:sp>
        <p:sp>
          <p:nvSpPr>
            <p:cNvPr id="193" name="TextBox 192">
              <a:extLst>
                <a:ext uri="{FF2B5EF4-FFF2-40B4-BE49-F238E27FC236}">
                  <a16:creationId xmlns:a16="http://schemas.microsoft.com/office/drawing/2014/main" id="{0E702986-4FF5-032E-AA28-1790054DB13C}"/>
                </a:ext>
              </a:extLst>
            </p:cNvPr>
            <p:cNvSpPr txBox="1"/>
            <p:nvPr/>
          </p:nvSpPr>
          <p:spPr>
            <a:xfrm>
              <a:off x="2445435" y="1318994"/>
              <a:ext cx="620172" cy="123111"/>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50 Milyon</a:t>
              </a:r>
            </a:p>
          </p:txBody>
        </p:sp>
        <p:sp>
          <p:nvSpPr>
            <p:cNvPr id="194" name="TextBox 193">
              <a:extLst>
                <a:ext uri="{FF2B5EF4-FFF2-40B4-BE49-F238E27FC236}">
                  <a16:creationId xmlns:a16="http://schemas.microsoft.com/office/drawing/2014/main" id="{CE7D7B62-A083-88BB-B24C-BC919A8F9235}"/>
                </a:ext>
              </a:extLst>
            </p:cNvPr>
            <p:cNvSpPr txBox="1"/>
            <p:nvPr/>
          </p:nvSpPr>
          <p:spPr>
            <a:xfrm>
              <a:off x="3184974" y="1318994"/>
              <a:ext cx="620172" cy="123111"/>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40 Milyon</a:t>
              </a:r>
            </a:p>
          </p:txBody>
        </p:sp>
        <p:sp>
          <p:nvSpPr>
            <p:cNvPr id="195" name="TextBox 194">
              <a:extLst>
                <a:ext uri="{FF2B5EF4-FFF2-40B4-BE49-F238E27FC236}">
                  <a16:creationId xmlns:a16="http://schemas.microsoft.com/office/drawing/2014/main" id="{B7C2EEAB-B142-0BC1-1DA3-908A42193880}"/>
                </a:ext>
              </a:extLst>
            </p:cNvPr>
            <p:cNvSpPr txBox="1"/>
            <p:nvPr/>
          </p:nvSpPr>
          <p:spPr>
            <a:xfrm>
              <a:off x="3924513" y="1318994"/>
              <a:ext cx="620172" cy="123111"/>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30 Milyon</a:t>
              </a:r>
            </a:p>
          </p:txBody>
        </p:sp>
        <p:sp>
          <p:nvSpPr>
            <p:cNvPr id="196" name="TextBox 195">
              <a:extLst>
                <a:ext uri="{FF2B5EF4-FFF2-40B4-BE49-F238E27FC236}">
                  <a16:creationId xmlns:a16="http://schemas.microsoft.com/office/drawing/2014/main" id="{9B585CC0-B95E-4944-CD81-2B0D0520EA36}"/>
                </a:ext>
              </a:extLst>
            </p:cNvPr>
            <p:cNvSpPr txBox="1"/>
            <p:nvPr/>
          </p:nvSpPr>
          <p:spPr>
            <a:xfrm>
              <a:off x="4708502" y="1318994"/>
              <a:ext cx="620172" cy="123111"/>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20 Milyon</a:t>
              </a:r>
            </a:p>
          </p:txBody>
        </p:sp>
        <p:sp>
          <p:nvSpPr>
            <p:cNvPr id="197" name="TextBox 196">
              <a:extLst>
                <a:ext uri="{FF2B5EF4-FFF2-40B4-BE49-F238E27FC236}">
                  <a16:creationId xmlns:a16="http://schemas.microsoft.com/office/drawing/2014/main" id="{CDC37FB6-C629-5648-5AAF-B8AF0000AB6B}"/>
                </a:ext>
              </a:extLst>
            </p:cNvPr>
            <p:cNvSpPr txBox="1"/>
            <p:nvPr/>
          </p:nvSpPr>
          <p:spPr>
            <a:xfrm>
              <a:off x="5461225" y="1318994"/>
              <a:ext cx="620172" cy="123111"/>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10 Milyon</a:t>
              </a:r>
            </a:p>
          </p:txBody>
        </p:sp>
        <p:sp>
          <p:nvSpPr>
            <p:cNvPr id="198" name="TextBox 197">
              <a:extLst>
                <a:ext uri="{FF2B5EF4-FFF2-40B4-BE49-F238E27FC236}">
                  <a16:creationId xmlns:a16="http://schemas.microsoft.com/office/drawing/2014/main" id="{4D7BD49A-7C08-E98E-F1AC-BD904770A2C3}"/>
                </a:ext>
              </a:extLst>
            </p:cNvPr>
            <p:cNvSpPr txBox="1"/>
            <p:nvPr/>
          </p:nvSpPr>
          <p:spPr>
            <a:xfrm>
              <a:off x="6947125" y="1318994"/>
              <a:ext cx="620172" cy="123111"/>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20 Milyon</a:t>
              </a:r>
            </a:p>
          </p:txBody>
        </p:sp>
        <p:sp>
          <p:nvSpPr>
            <p:cNvPr id="199" name="TextBox 198">
              <a:extLst>
                <a:ext uri="{FF2B5EF4-FFF2-40B4-BE49-F238E27FC236}">
                  <a16:creationId xmlns:a16="http://schemas.microsoft.com/office/drawing/2014/main" id="{640D2A19-F329-B34C-DA9B-7A004F1DAFED}"/>
                </a:ext>
              </a:extLst>
            </p:cNvPr>
            <p:cNvSpPr txBox="1"/>
            <p:nvPr/>
          </p:nvSpPr>
          <p:spPr>
            <a:xfrm>
              <a:off x="7709125" y="1318994"/>
              <a:ext cx="620172" cy="123111"/>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30 Milyon</a:t>
              </a:r>
            </a:p>
          </p:txBody>
        </p:sp>
        <p:sp>
          <p:nvSpPr>
            <p:cNvPr id="200" name="TextBox 199">
              <a:extLst>
                <a:ext uri="{FF2B5EF4-FFF2-40B4-BE49-F238E27FC236}">
                  <a16:creationId xmlns:a16="http://schemas.microsoft.com/office/drawing/2014/main" id="{803F8783-929B-862D-F728-B9BBD6F178AF}"/>
                </a:ext>
              </a:extLst>
            </p:cNvPr>
            <p:cNvSpPr txBox="1"/>
            <p:nvPr/>
          </p:nvSpPr>
          <p:spPr>
            <a:xfrm>
              <a:off x="8444101" y="1318994"/>
              <a:ext cx="620172" cy="123111"/>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40 Milyon</a:t>
              </a:r>
            </a:p>
          </p:txBody>
        </p:sp>
        <p:sp>
          <p:nvSpPr>
            <p:cNvPr id="201" name="TextBox 200">
              <a:extLst>
                <a:ext uri="{FF2B5EF4-FFF2-40B4-BE49-F238E27FC236}">
                  <a16:creationId xmlns:a16="http://schemas.microsoft.com/office/drawing/2014/main" id="{30193F5E-B8D6-CCB5-40B7-995AAF60D29E}"/>
                </a:ext>
              </a:extLst>
            </p:cNvPr>
            <p:cNvSpPr txBox="1"/>
            <p:nvPr/>
          </p:nvSpPr>
          <p:spPr>
            <a:xfrm>
              <a:off x="9220886" y="1318994"/>
              <a:ext cx="620172" cy="123111"/>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50 Milyon</a:t>
              </a:r>
            </a:p>
          </p:txBody>
        </p:sp>
        <p:sp>
          <p:nvSpPr>
            <p:cNvPr id="202" name="TextBox 201">
              <a:extLst>
                <a:ext uri="{FF2B5EF4-FFF2-40B4-BE49-F238E27FC236}">
                  <a16:creationId xmlns:a16="http://schemas.microsoft.com/office/drawing/2014/main" id="{844DFFD6-8DBE-FC7A-AD6E-F1CE34047C60}"/>
                </a:ext>
              </a:extLst>
            </p:cNvPr>
            <p:cNvSpPr txBox="1"/>
            <p:nvPr/>
          </p:nvSpPr>
          <p:spPr>
            <a:xfrm>
              <a:off x="9942140" y="1318994"/>
              <a:ext cx="620172" cy="123111"/>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60 Milyon</a:t>
              </a:r>
            </a:p>
          </p:txBody>
        </p:sp>
        <p:sp>
          <p:nvSpPr>
            <p:cNvPr id="203" name="TextBox 202">
              <a:extLst>
                <a:ext uri="{FF2B5EF4-FFF2-40B4-BE49-F238E27FC236}">
                  <a16:creationId xmlns:a16="http://schemas.microsoft.com/office/drawing/2014/main" id="{B810C775-AEFE-DDDD-9089-A57E18055823}"/>
                </a:ext>
              </a:extLst>
            </p:cNvPr>
            <p:cNvSpPr txBox="1"/>
            <p:nvPr/>
          </p:nvSpPr>
          <p:spPr>
            <a:xfrm>
              <a:off x="10700516" y="1318994"/>
              <a:ext cx="620172" cy="123111"/>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70 Milyon</a:t>
              </a:r>
            </a:p>
          </p:txBody>
        </p:sp>
        <p:sp>
          <p:nvSpPr>
            <p:cNvPr id="204" name="TextBox 203">
              <a:extLst>
                <a:ext uri="{FF2B5EF4-FFF2-40B4-BE49-F238E27FC236}">
                  <a16:creationId xmlns:a16="http://schemas.microsoft.com/office/drawing/2014/main" id="{D64564EE-F976-9D7A-AFA4-A2863A3A32BB}"/>
                </a:ext>
              </a:extLst>
            </p:cNvPr>
            <p:cNvSpPr txBox="1"/>
            <p:nvPr/>
          </p:nvSpPr>
          <p:spPr>
            <a:xfrm>
              <a:off x="6204175" y="1318994"/>
              <a:ext cx="620172" cy="123111"/>
            </a:xfrm>
            <a:prstGeom prst="rect">
              <a:avLst/>
            </a:prstGeom>
            <a:noFill/>
          </p:spPr>
          <p:txBody>
            <a:bodyPr wrap="square" lIns="0" tIns="0" rIns="0" bIns="0"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Pfizer Diatype Office"/>
                  <a:ea typeface="+mn-ea"/>
                  <a:cs typeface="+mn-cs"/>
                </a:rPr>
                <a:t>10 Milyon</a:t>
              </a:r>
            </a:p>
          </p:txBody>
        </p:sp>
      </p:grpSp>
      <p:sp>
        <p:nvSpPr>
          <p:cNvPr id="35" name="Text Placeholder 4">
            <a:extLst>
              <a:ext uri="{FF2B5EF4-FFF2-40B4-BE49-F238E27FC236}">
                <a16:creationId xmlns:a16="http://schemas.microsoft.com/office/drawing/2014/main" id="{2C8066E9-D965-6535-9151-B6733422EB17}"/>
              </a:ext>
            </a:extLst>
          </p:cNvPr>
          <p:cNvSpPr txBox="1">
            <a:spLocks/>
          </p:cNvSpPr>
          <p:nvPr/>
        </p:nvSpPr>
        <p:spPr bwMode="gray">
          <a:xfrm>
            <a:off x="595200" y="5372323"/>
            <a:ext cx="11001600" cy="433265"/>
          </a:xfrm>
          <a:prstGeom prst="round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GB" sz="1600">
                <a:solidFill>
                  <a:srgbClr val="FFFFFF"/>
                </a:solidFill>
                <a:latin typeface="Pfizer Tomorrow"/>
              </a:rPr>
              <a:t>65 </a:t>
            </a:r>
            <a:r>
              <a:rPr lang="en-GB" sz="1600" err="1">
                <a:solidFill>
                  <a:srgbClr val="FFFFFF"/>
                </a:solidFill>
                <a:latin typeface="Pfizer Tomorrow"/>
              </a:rPr>
              <a:t>yaş</a:t>
            </a:r>
            <a:r>
              <a:rPr lang="en-GB" sz="1600">
                <a:solidFill>
                  <a:srgbClr val="FFFFFF"/>
                </a:solidFill>
                <a:latin typeface="Pfizer Tomorrow"/>
              </a:rPr>
              <a:t> </a:t>
            </a:r>
            <a:r>
              <a:rPr lang="en-GB" sz="1600" err="1">
                <a:solidFill>
                  <a:srgbClr val="FFFFFF"/>
                </a:solidFill>
                <a:latin typeface="Pfizer Tomorrow"/>
              </a:rPr>
              <a:t>ve</a:t>
            </a:r>
            <a:r>
              <a:rPr lang="en-GB" sz="1600">
                <a:solidFill>
                  <a:srgbClr val="FFFFFF"/>
                </a:solidFill>
                <a:latin typeface="Pfizer Tomorrow"/>
              </a:rPr>
              <a:t> </a:t>
            </a:r>
            <a:r>
              <a:rPr lang="en-GB" sz="1600" err="1">
                <a:solidFill>
                  <a:srgbClr val="FFFFFF"/>
                </a:solidFill>
                <a:latin typeface="Pfizer Tomorrow"/>
              </a:rPr>
              <a:t>üzeri</a:t>
            </a:r>
            <a:r>
              <a:rPr lang="en-GB" sz="1600">
                <a:solidFill>
                  <a:srgbClr val="FFFFFF"/>
                </a:solidFill>
                <a:latin typeface="Pfizer Tomorrow"/>
              </a:rPr>
              <a:t> </a:t>
            </a:r>
            <a:r>
              <a:rPr lang="en-GB" sz="1600" err="1">
                <a:solidFill>
                  <a:srgbClr val="FFFFFF"/>
                </a:solidFill>
                <a:latin typeface="Pfizer Tomorrow"/>
              </a:rPr>
              <a:t>yaşlı</a:t>
            </a:r>
            <a:r>
              <a:rPr lang="en-GB" sz="1600">
                <a:solidFill>
                  <a:srgbClr val="FFFFFF"/>
                </a:solidFill>
                <a:latin typeface="Pfizer Tomorrow"/>
              </a:rPr>
              <a:t> </a:t>
            </a:r>
            <a:r>
              <a:rPr lang="en-GB" sz="1600" err="1">
                <a:solidFill>
                  <a:srgbClr val="FFFFFF"/>
                </a:solidFill>
                <a:latin typeface="Pfizer Tomorrow"/>
              </a:rPr>
              <a:t>bireylerin</a:t>
            </a:r>
            <a:r>
              <a:rPr lang="en-GB" sz="1600">
                <a:solidFill>
                  <a:srgbClr val="FFFFFF"/>
                </a:solidFill>
                <a:latin typeface="Pfizer Tomorrow"/>
              </a:rPr>
              <a:t> </a:t>
            </a:r>
            <a:r>
              <a:rPr lang="en-GB" sz="1600" err="1">
                <a:solidFill>
                  <a:srgbClr val="FFFFFF"/>
                </a:solidFill>
                <a:latin typeface="Pfizer Tomorrow"/>
              </a:rPr>
              <a:t>artan</a:t>
            </a:r>
            <a:r>
              <a:rPr lang="en-GB" sz="1600">
                <a:solidFill>
                  <a:srgbClr val="FFFFFF"/>
                </a:solidFill>
                <a:latin typeface="Pfizer Tomorrow"/>
              </a:rPr>
              <a:t> </a:t>
            </a:r>
            <a:r>
              <a:rPr lang="en-GB" sz="1600" err="1">
                <a:solidFill>
                  <a:srgbClr val="FFFFFF"/>
                </a:solidFill>
                <a:latin typeface="Pfizer Tomorrow"/>
              </a:rPr>
              <a:t>nüfusu</a:t>
            </a:r>
            <a:r>
              <a:rPr lang="en-GB" sz="1600">
                <a:solidFill>
                  <a:srgbClr val="FFFFFF"/>
                </a:solidFill>
                <a:latin typeface="Pfizer Tomorrow"/>
              </a:rPr>
              <a:t>, </a:t>
            </a:r>
            <a:r>
              <a:rPr lang="en-GB" sz="1600" err="1">
                <a:solidFill>
                  <a:srgbClr val="FFFFFF"/>
                </a:solidFill>
                <a:latin typeface="Pfizer Tomorrow"/>
              </a:rPr>
              <a:t>daha</a:t>
            </a:r>
            <a:r>
              <a:rPr lang="en-GB" sz="1600">
                <a:solidFill>
                  <a:srgbClr val="FFFFFF"/>
                </a:solidFill>
                <a:latin typeface="Pfizer Tomorrow"/>
              </a:rPr>
              <a:t> </a:t>
            </a:r>
            <a:r>
              <a:rPr lang="en-GB" sz="1600" err="1">
                <a:solidFill>
                  <a:srgbClr val="FFFFFF"/>
                </a:solidFill>
                <a:latin typeface="Pfizer Tomorrow"/>
              </a:rPr>
              <a:t>şiddetli</a:t>
            </a:r>
            <a:r>
              <a:rPr lang="en-GB" sz="1600">
                <a:solidFill>
                  <a:srgbClr val="FFFFFF"/>
                </a:solidFill>
                <a:latin typeface="Pfizer Tomorrow"/>
              </a:rPr>
              <a:t> </a:t>
            </a:r>
            <a:r>
              <a:rPr lang="en-GB" sz="1600" err="1">
                <a:solidFill>
                  <a:srgbClr val="FFFFFF"/>
                </a:solidFill>
                <a:latin typeface="Pfizer Tomorrow"/>
              </a:rPr>
              <a:t>solunum</a:t>
            </a:r>
            <a:r>
              <a:rPr lang="en-GB" sz="1600">
                <a:solidFill>
                  <a:srgbClr val="FFFFFF"/>
                </a:solidFill>
                <a:latin typeface="Pfizer Tomorrow"/>
              </a:rPr>
              <a:t> </a:t>
            </a:r>
            <a:r>
              <a:rPr lang="en-GB" sz="1600" err="1">
                <a:solidFill>
                  <a:srgbClr val="FFFFFF"/>
                </a:solidFill>
                <a:latin typeface="Pfizer Tomorrow"/>
              </a:rPr>
              <a:t>yolu</a:t>
            </a:r>
            <a:r>
              <a:rPr lang="en-GB" sz="1600">
                <a:solidFill>
                  <a:srgbClr val="FFFFFF"/>
                </a:solidFill>
                <a:latin typeface="Pfizer Tomorrow"/>
              </a:rPr>
              <a:t> </a:t>
            </a:r>
            <a:r>
              <a:rPr lang="en-GB" sz="1600" err="1">
                <a:solidFill>
                  <a:srgbClr val="FFFFFF"/>
                </a:solidFill>
                <a:latin typeface="Pfizer Tomorrow"/>
              </a:rPr>
              <a:t>enfeksiyonları</a:t>
            </a:r>
            <a:r>
              <a:rPr lang="en-GB" sz="1600">
                <a:solidFill>
                  <a:srgbClr val="FFFFFF"/>
                </a:solidFill>
                <a:latin typeface="Pfizer Tomorrow"/>
              </a:rPr>
              <a:t> </a:t>
            </a:r>
            <a:r>
              <a:rPr lang="en-GB" sz="1600" err="1">
                <a:solidFill>
                  <a:srgbClr val="FFFFFF"/>
                </a:solidFill>
                <a:latin typeface="Pfizer Tomorrow"/>
              </a:rPr>
              <a:t>riski</a:t>
            </a:r>
            <a:r>
              <a:rPr lang="en-GB" sz="1600">
                <a:solidFill>
                  <a:srgbClr val="FFFFFF"/>
                </a:solidFill>
                <a:latin typeface="Pfizer Tomorrow"/>
              </a:rPr>
              <a:t> </a:t>
            </a:r>
            <a:r>
              <a:rPr lang="en-GB" sz="1600" err="1">
                <a:solidFill>
                  <a:srgbClr val="FFFFFF"/>
                </a:solidFill>
                <a:latin typeface="Pfizer Tomorrow"/>
              </a:rPr>
              <a:t>taşımaktadır</a:t>
            </a:r>
            <a:r>
              <a:rPr lang="en-GB" sz="1600">
                <a:solidFill>
                  <a:srgbClr val="FFFFFF"/>
                </a:solidFill>
                <a:latin typeface="Pfizer Tomorrow"/>
              </a:rPr>
              <a:t>.</a:t>
            </a:r>
            <a:r>
              <a:rPr lang="en-GB" sz="1600" baseline="30000">
                <a:solidFill>
                  <a:srgbClr val="FFFFFF"/>
                </a:solidFill>
              </a:rPr>
              <a:t> 2-5</a:t>
            </a:r>
            <a:endParaRPr lang="en-GB" sz="1600" baseline="30000">
              <a:solidFill>
                <a:srgbClr val="FFFFFF"/>
              </a:solidFill>
              <a:latin typeface="Pfizer Tomorrow"/>
            </a:endParaRPr>
          </a:p>
        </p:txBody>
      </p:sp>
      <p:sp>
        <p:nvSpPr>
          <p:cNvPr id="3" name="TextBox 2">
            <a:extLst>
              <a:ext uri="{FF2B5EF4-FFF2-40B4-BE49-F238E27FC236}">
                <a16:creationId xmlns:a16="http://schemas.microsoft.com/office/drawing/2014/main" id="{C469424C-F8C6-3AC0-84FB-A09E405B4CBE}"/>
              </a:ext>
            </a:extLst>
          </p:cNvPr>
          <p:cNvSpPr txBox="1"/>
          <p:nvPr/>
        </p:nvSpPr>
        <p:spPr>
          <a:xfrm>
            <a:off x="577181" y="6018436"/>
            <a:ext cx="11011845" cy="358368"/>
          </a:xfrm>
          <a:prstGeom prst="rect">
            <a:avLst/>
          </a:prstGeom>
          <a:noFill/>
        </p:spPr>
        <p:txBody>
          <a:bodyPr wrap="square" lIns="0" tIns="0" rIns="0" bIns="0" rtlCol="0" anchor="b">
            <a:spAutoFit/>
          </a:bodyPr>
          <a:lstStyle/>
          <a:p>
            <a:pPr lvl="0" defTabSz="914400">
              <a:lnSpc>
                <a:spcPct val="85000"/>
              </a:lnSpc>
              <a:spcBef>
                <a:spcPts val="200"/>
              </a:spcBef>
              <a:buClr>
                <a:srgbClr val="0095FF"/>
              </a:buClr>
              <a:buSzPct val="85000"/>
              <a:defRPr/>
            </a:pPr>
            <a:r>
              <a:rPr lang="en-US">
                <a:solidFill>
                  <a:srgbClr val="000000">
                    <a:lumMod val="50000"/>
                    <a:lumOff val="50000"/>
                  </a:srgbClr>
                </a:solidFill>
                <a:cs typeface="Arial" pitchFamily="34" charset="0"/>
              </a:rPr>
              <a:t>1. Our World in Data. Age Structure. February 2024. </a:t>
            </a:r>
            <a:r>
              <a:rPr lang="en-US">
                <a:solidFill>
                  <a:srgbClr val="000000">
                    <a:lumMod val="50000"/>
                    <a:lumOff val="50000"/>
                  </a:srgbClr>
                </a:solidFill>
                <a:cs typeface="Arial" pitchFamily="34" charset="0"/>
                <a:hlinkClick r:id="rId5">
                  <a:extLst>
                    <a:ext uri="{A12FA001-AC4F-418D-AE19-62706E023703}">
                      <ahyp:hlinkClr xmlns:ahyp="http://schemas.microsoft.com/office/drawing/2018/hyperlinkcolor" val="tx"/>
                    </a:ext>
                  </a:extLst>
                </a:hlinkClick>
              </a:rPr>
              <a:t>https://ourworldindata.org/age-structure</a:t>
            </a:r>
            <a:r>
              <a:rPr lang="en-US">
                <a:solidFill>
                  <a:srgbClr val="000000">
                    <a:lumMod val="50000"/>
                    <a:lumOff val="50000"/>
                  </a:srgbClr>
                </a:solidFill>
                <a:cs typeface="Arial" pitchFamily="34" charset="0"/>
              </a:rPr>
              <a:t>. Accessed 29 August 2024; 2. Heppe-Montero M, et al. </a:t>
            </a:r>
            <a:r>
              <a:rPr lang="en-US" i="1">
                <a:solidFill>
                  <a:srgbClr val="000000">
                    <a:lumMod val="50000"/>
                    <a:lumOff val="50000"/>
                  </a:srgbClr>
                </a:solidFill>
                <a:cs typeface="Arial" pitchFamily="34" charset="0"/>
              </a:rPr>
              <a:t>Int J Environ Res Public Health</a:t>
            </a:r>
            <a:r>
              <a:rPr lang="en-US">
                <a:solidFill>
                  <a:srgbClr val="000000">
                    <a:lumMod val="50000"/>
                    <a:lumOff val="50000"/>
                  </a:srgbClr>
                </a:solidFill>
                <a:cs typeface="Arial" pitchFamily="34" charset="0"/>
              </a:rPr>
              <a:t>. 2022;19(22):14680; 3. CDC. Risk for COVID-19 Infection, Hospitalization, and Death By Age Group. 30 May 2023. </a:t>
            </a:r>
            <a:r>
              <a:rPr lang="en-US">
                <a:solidFill>
                  <a:srgbClr val="000000">
                    <a:lumMod val="50000"/>
                    <a:lumOff val="50000"/>
                  </a:srgbClr>
                </a:solidFill>
                <a:cs typeface="Arial" pitchFamily="34" charset="0"/>
                <a:hlinkClick r:id="rId6">
                  <a:extLst>
                    <a:ext uri="{A12FA001-AC4F-418D-AE19-62706E023703}">
                      <ahyp:hlinkClr xmlns:ahyp="http://schemas.microsoft.com/office/drawing/2018/hyperlinkcolor" val="tx"/>
                    </a:ext>
                  </a:extLst>
                </a:hlinkClick>
              </a:rPr>
              <a:t>https://archive.cdc.gov/www_cdc_gov/coronavirus/2019-ncov/covid-data/investigations-discovery/hospitalization-death-by-age.html</a:t>
            </a:r>
            <a:r>
              <a:rPr lang="en-US">
                <a:solidFill>
                  <a:srgbClr val="000000">
                    <a:lumMod val="50000"/>
                    <a:lumOff val="50000"/>
                  </a:srgbClr>
                </a:solidFill>
                <a:cs typeface="Arial" pitchFamily="34" charset="0"/>
              </a:rPr>
              <a:t>. Accessed 19 August 2024; 4. Grant LR, et al. </a:t>
            </a:r>
            <a:r>
              <a:rPr lang="en-US" i="1">
                <a:solidFill>
                  <a:srgbClr val="000000">
                    <a:lumMod val="50000"/>
                    <a:lumOff val="50000"/>
                  </a:srgbClr>
                </a:solidFill>
                <a:cs typeface="Arial" pitchFamily="34" charset="0"/>
              </a:rPr>
              <a:t>Open Forum Infect Dis</a:t>
            </a:r>
            <a:r>
              <a:rPr lang="en-US">
                <a:solidFill>
                  <a:srgbClr val="000000">
                    <a:lumMod val="50000"/>
                    <a:lumOff val="50000"/>
                  </a:srgbClr>
                </a:solidFill>
                <a:cs typeface="Arial" pitchFamily="34" charset="0"/>
              </a:rPr>
              <a:t>. 2023;10(5):ofad192; 5. Andrew MK, et al. </a:t>
            </a:r>
            <a:r>
              <a:rPr lang="en-US" i="1">
                <a:solidFill>
                  <a:srgbClr val="000000">
                    <a:lumMod val="50000"/>
                    <a:lumOff val="50000"/>
                  </a:srgbClr>
                </a:solidFill>
                <a:cs typeface="Arial" pitchFamily="34" charset="0"/>
              </a:rPr>
              <a:t>Open Forum Infect Dis</a:t>
            </a:r>
            <a:r>
              <a:rPr lang="en-US">
                <a:solidFill>
                  <a:srgbClr val="000000">
                    <a:lumMod val="50000"/>
                    <a:lumOff val="50000"/>
                  </a:srgbClr>
                </a:solidFill>
                <a:cs typeface="Arial" pitchFamily="34" charset="0"/>
              </a:rPr>
              <a:t>. 2023;10(6):ofad244.</a:t>
            </a:r>
          </a:p>
        </p:txBody>
      </p:sp>
      <p:sp>
        <p:nvSpPr>
          <p:cNvPr id="4" name="TextBox 3">
            <a:extLst>
              <a:ext uri="{FF2B5EF4-FFF2-40B4-BE49-F238E27FC236}">
                <a16:creationId xmlns:a16="http://schemas.microsoft.com/office/drawing/2014/main" id="{EBD9C5B8-392F-C570-CA7C-C2AE1F57119F}"/>
              </a:ext>
            </a:extLst>
          </p:cNvPr>
          <p:cNvSpPr txBox="1"/>
          <p:nvPr/>
        </p:nvSpPr>
        <p:spPr>
          <a:xfrm rot="16200000">
            <a:off x="1496013" y="4855389"/>
            <a:ext cx="257669" cy="123111"/>
          </a:xfrm>
          <a:prstGeom prst="rect">
            <a:avLst/>
          </a:prstGeom>
          <a:noFill/>
        </p:spPr>
        <p:txBody>
          <a:bodyPr wrap="square" lIns="0" tIns="0" rIns="0" bIns="0" rtlCol="0">
            <a:spAutoFit/>
          </a:bodyPr>
          <a:lstStyle/>
          <a:p>
            <a:pPr marL="0" marR="0" lvl="0" indent="0" algn="r" defTabSz="228520" rtl="0" eaLnBrk="1" fontAlgn="auto" latinLnBrk="0" hangingPunct="1">
              <a:lnSpc>
                <a:spcPct val="100000"/>
              </a:lnSpc>
              <a:spcBef>
                <a:spcPts val="0"/>
              </a:spcBef>
              <a:spcAft>
                <a:spcPts val="0"/>
              </a:spcAft>
              <a:buClrTx/>
              <a:buSzTx/>
              <a:buFontTx/>
              <a:buNone/>
              <a:tabLst/>
              <a:defRPr/>
            </a:pPr>
            <a:r>
              <a:rPr lang="en-US" sz="800" b="1">
                <a:solidFill>
                  <a:srgbClr val="7030A0"/>
                </a:solidFill>
                <a:latin typeface="Pfizer Diatype Office"/>
              </a:rPr>
              <a:t>2100</a:t>
            </a:r>
            <a:endParaRPr kumimoji="0" lang="en-US" sz="800" b="1" i="0" u="none" strike="noStrike" kern="1200" cap="none" spc="0" normalizeH="0" baseline="0" noProof="0">
              <a:ln>
                <a:noFill/>
              </a:ln>
              <a:solidFill>
                <a:srgbClr val="7030A0"/>
              </a:solidFill>
              <a:effectLst/>
              <a:uLnTx/>
              <a:uFillTx/>
              <a:latin typeface="Pfizer Diatype Office"/>
              <a:ea typeface="+mn-ea"/>
              <a:cs typeface="+mn-cs"/>
            </a:endParaRPr>
          </a:p>
        </p:txBody>
      </p:sp>
      <p:grpSp>
        <p:nvGrpSpPr>
          <p:cNvPr id="7" name="Group 6">
            <a:extLst>
              <a:ext uri="{FF2B5EF4-FFF2-40B4-BE49-F238E27FC236}">
                <a16:creationId xmlns:a16="http://schemas.microsoft.com/office/drawing/2014/main" id="{08465C6F-6A33-049B-4893-6D91A32BAF36}"/>
              </a:ext>
            </a:extLst>
          </p:cNvPr>
          <p:cNvGrpSpPr/>
          <p:nvPr/>
        </p:nvGrpSpPr>
        <p:grpSpPr>
          <a:xfrm>
            <a:off x="9513903" y="6320005"/>
            <a:ext cx="1895426" cy="453867"/>
            <a:chOff x="9513903" y="6320005"/>
            <a:chExt cx="1895426" cy="453867"/>
          </a:xfrm>
        </p:grpSpPr>
        <p:pic>
          <p:nvPicPr>
            <p:cNvPr id="8" name="Picture 7" descr="A yellow and blue logo&#10;&#10;Description automatically generated">
              <a:extLst>
                <a:ext uri="{FF2B5EF4-FFF2-40B4-BE49-F238E27FC236}">
                  <a16:creationId xmlns:a16="http://schemas.microsoft.com/office/drawing/2014/main" id="{3FDD2095-6956-A40A-82E2-F4292E960D54}"/>
                </a:ext>
              </a:extLst>
            </p:cNvPr>
            <p:cNvPicPr>
              <a:picLocks noChangeAspect="1"/>
            </p:cNvPicPr>
            <p:nvPr/>
          </p:nvPicPr>
          <p:blipFill>
            <a:blip r:embed="rId7">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10" name="Picture 9" descr="A black and blue logo&#10;&#10;AI-generated content may be incorrect.">
              <a:extLst>
                <a:ext uri="{FF2B5EF4-FFF2-40B4-BE49-F238E27FC236}">
                  <a16:creationId xmlns:a16="http://schemas.microsoft.com/office/drawing/2014/main" id="{A7BFE328-AAF0-1670-AD4C-E29E2E318A9F}"/>
                </a:ext>
              </a:extLst>
            </p:cNvPr>
            <p:cNvPicPr>
              <a:picLocks noChangeAspect="1"/>
            </p:cNvPicPr>
            <p:nvPr/>
          </p:nvPicPr>
          <p:blipFill>
            <a:blip r:embed="rId8"/>
            <a:stretch>
              <a:fillRect/>
            </a:stretch>
          </p:blipFill>
          <p:spPr>
            <a:xfrm>
              <a:off x="9513903" y="6494969"/>
              <a:ext cx="981021" cy="204067"/>
            </a:xfrm>
            <a:prstGeom prst="rect">
              <a:avLst/>
            </a:prstGeom>
          </p:spPr>
        </p:pic>
      </p:grpSp>
    </p:spTree>
    <p:extLst>
      <p:ext uri="{BB962C8B-B14F-4D97-AF65-F5344CB8AC3E}">
        <p14:creationId xmlns:p14="http://schemas.microsoft.com/office/powerpoint/2010/main" val="203478763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Pnömokok Hastalık Yükü</a:t>
            </a:r>
          </a:p>
        </p:txBody>
      </p:sp>
      <p:sp>
        <p:nvSpPr>
          <p:cNvPr id="3" name="Content Placeholder 2"/>
          <p:cNvSpPr>
            <a:spLocks noGrp="1"/>
          </p:cNvSpPr>
          <p:nvPr>
            <p:ph idx="4294967295"/>
          </p:nvPr>
        </p:nvSpPr>
        <p:spPr>
          <a:xfrm>
            <a:off x="613151" y="1344613"/>
            <a:ext cx="10969217" cy="4351337"/>
          </a:xfrm>
        </p:spPr>
        <p:txBody>
          <a:bodyPr vert="horz" lIns="91440" tIns="45720" rIns="91440" bIns="45720" rtlCol="0" anchor="ctr">
            <a:normAutofit/>
          </a:bodyPr>
          <a:lstStyle/>
          <a:p>
            <a:pPr>
              <a:lnSpc>
                <a:spcPct val="100000"/>
              </a:lnSpc>
              <a:spcBef>
                <a:spcPts val="1200"/>
              </a:spcBef>
              <a:spcAft>
                <a:spcPts val="1200"/>
              </a:spcAft>
            </a:pPr>
            <a:r>
              <a:rPr sz="3200" dirty="0"/>
              <a:t>65 </a:t>
            </a:r>
            <a:r>
              <a:rPr sz="3200" dirty="0" err="1"/>
              <a:t>yaş</a:t>
            </a:r>
            <a:r>
              <a:rPr sz="3200" dirty="0"/>
              <a:t> </a:t>
            </a:r>
            <a:r>
              <a:rPr sz="3200" dirty="0" err="1"/>
              <a:t>üzeri</a:t>
            </a:r>
            <a:r>
              <a:rPr sz="3200" dirty="0"/>
              <a:t> </a:t>
            </a:r>
            <a:r>
              <a:rPr sz="3200" dirty="0" err="1"/>
              <a:t>bireylerde</a:t>
            </a:r>
            <a:r>
              <a:rPr sz="3200" dirty="0"/>
              <a:t> </a:t>
            </a:r>
            <a:r>
              <a:rPr sz="3200" dirty="0" err="1"/>
              <a:t>pnömokokal</a:t>
            </a:r>
            <a:r>
              <a:rPr sz="3200" dirty="0"/>
              <a:t> </a:t>
            </a:r>
            <a:r>
              <a:rPr sz="3200" dirty="0" err="1"/>
              <a:t>pnömoni</a:t>
            </a:r>
            <a:r>
              <a:rPr sz="3200" dirty="0"/>
              <a:t> </a:t>
            </a:r>
            <a:r>
              <a:rPr sz="3200" dirty="0" err="1"/>
              <a:t>insidansı</a:t>
            </a:r>
            <a:r>
              <a:rPr sz="3200" dirty="0"/>
              <a:t>: 100.000'de 450.</a:t>
            </a:r>
          </a:p>
          <a:p>
            <a:pPr>
              <a:lnSpc>
                <a:spcPct val="100000"/>
              </a:lnSpc>
              <a:spcBef>
                <a:spcPts val="1200"/>
              </a:spcBef>
              <a:spcAft>
                <a:spcPts val="1200"/>
              </a:spcAft>
            </a:pPr>
            <a:r>
              <a:rPr sz="3200" dirty="0" err="1"/>
              <a:t>Türkiye’de</a:t>
            </a:r>
            <a:r>
              <a:rPr sz="3200" dirty="0"/>
              <a:t> IPH </a:t>
            </a:r>
            <a:r>
              <a:rPr sz="3200" dirty="0" err="1"/>
              <a:t>vakalarının</a:t>
            </a:r>
            <a:r>
              <a:rPr sz="3200" dirty="0"/>
              <a:t> %70’i </a:t>
            </a:r>
            <a:r>
              <a:rPr sz="3200" dirty="0" err="1"/>
              <a:t>yaşlılarda</a:t>
            </a:r>
            <a:r>
              <a:rPr sz="3200" dirty="0"/>
              <a:t>.</a:t>
            </a:r>
          </a:p>
          <a:p>
            <a:pPr>
              <a:lnSpc>
                <a:spcPct val="100000"/>
              </a:lnSpc>
              <a:spcBef>
                <a:spcPts val="1200"/>
              </a:spcBef>
              <a:spcAft>
                <a:spcPts val="1200"/>
              </a:spcAft>
            </a:pPr>
            <a:r>
              <a:rPr sz="3200" dirty="0" err="1"/>
              <a:t>Mortalite</a:t>
            </a:r>
            <a:r>
              <a:rPr sz="3200" dirty="0"/>
              <a:t> </a:t>
            </a:r>
            <a:r>
              <a:rPr sz="3200" dirty="0" err="1"/>
              <a:t>oranı</a:t>
            </a:r>
            <a:r>
              <a:rPr sz="3200" dirty="0"/>
              <a:t> %15-20.</a:t>
            </a:r>
          </a:p>
        </p:txBody>
      </p:sp>
      <p:sp>
        <p:nvSpPr>
          <p:cNvPr id="4" name="TextBox 3">
            <a:extLst>
              <a:ext uri="{FF2B5EF4-FFF2-40B4-BE49-F238E27FC236}">
                <a16:creationId xmlns:a16="http://schemas.microsoft.com/office/drawing/2014/main" id="{AE9A0FCF-FD81-CEA4-F06D-925EB331ADB0}"/>
              </a:ext>
            </a:extLst>
          </p:cNvPr>
          <p:cNvSpPr txBox="1"/>
          <p:nvPr/>
        </p:nvSpPr>
        <p:spPr>
          <a:xfrm>
            <a:off x="1783080" y="6217921"/>
            <a:ext cx="457200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t>CDC 2024, WHO Global Pneumonia Report.</a:t>
            </a:r>
            <a:r>
              <a:rPr lang="en-US" sz="1200">
                <a:ea typeface="Calibri"/>
                <a:cs typeface="Calibri"/>
              </a:rPr>
              <a:t>​</a:t>
            </a:r>
            <a:endParaRPr lang="en-US" sz="1200"/>
          </a:p>
        </p:txBody>
      </p:sp>
      <p:pic>
        <p:nvPicPr>
          <p:cNvPr id="5" name="Picture 4" descr="A yellow and blue logo&#10;&#10;Description automatically generated">
            <a:extLst>
              <a:ext uri="{FF2B5EF4-FFF2-40B4-BE49-F238E27FC236}">
                <a16:creationId xmlns:a16="http://schemas.microsoft.com/office/drawing/2014/main" id="{0140F6AD-E276-BCA1-573F-B5ADB10B4720}"/>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6" name="Picture 5" descr="A black and blue logo&#10;&#10;AI-generated content may be incorrect.">
            <a:extLst>
              <a:ext uri="{FF2B5EF4-FFF2-40B4-BE49-F238E27FC236}">
                <a16:creationId xmlns:a16="http://schemas.microsoft.com/office/drawing/2014/main" id="{7D8175C2-E70B-0E16-5D81-23F75BC9C55B}"/>
              </a:ext>
            </a:extLst>
          </p:cNvPr>
          <p:cNvPicPr>
            <a:picLocks noChangeAspect="1"/>
          </p:cNvPicPr>
          <p:nvPr/>
        </p:nvPicPr>
        <p:blipFill>
          <a:blip r:embed="rId4"/>
          <a:stretch>
            <a:fillRect/>
          </a:stretch>
        </p:blipFill>
        <p:spPr>
          <a:xfrm>
            <a:off x="9513903" y="6494969"/>
            <a:ext cx="981021" cy="204067"/>
          </a:xfrm>
          <a:prstGeom prst="rect">
            <a:avLst/>
          </a:prstGeom>
        </p:spPr>
      </p:pic>
    </p:spTree>
  </p:cSld>
  <p:clrMapOvr>
    <a:masterClrMapping/>
  </p:clrMapOvr>
  <p:extLst>
    <p:ext uri="{6950BFC3-D8DA-4A85-94F7-54DA5524770B}">
      <p188:commentRel xmlns:p188="http://schemas.microsoft.com/office/powerpoint/2018/8/main" r:id="rId2"/>
    </p:ext>
  </p:extLst>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RSV Hastalık Yükü</a:t>
            </a:r>
          </a:p>
        </p:txBody>
      </p:sp>
      <p:sp>
        <p:nvSpPr>
          <p:cNvPr id="3" name="Content Placeholder 2"/>
          <p:cNvSpPr>
            <a:spLocks noGrp="1"/>
          </p:cNvSpPr>
          <p:nvPr>
            <p:ph idx="4294967295"/>
          </p:nvPr>
        </p:nvSpPr>
        <p:spPr>
          <a:xfrm>
            <a:off x="613152" y="1344613"/>
            <a:ext cx="10740648" cy="4351337"/>
          </a:xfrm>
        </p:spPr>
        <p:txBody>
          <a:bodyPr vert="horz" lIns="91440" tIns="45720" rIns="91440" bIns="45720" rtlCol="0" anchor="ctr">
            <a:normAutofit/>
          </a:bodyPr>
          <a:lstStyle/>
          <a:p>
            <a:pPr>
              <a:lnSpc>
                <a:spcPct val="100000"/>
              </a:lnSpc>
              <a:spcBef>
                <a:spcPts val="1200"/>
              </a:spcBef>
              <a:spcAft>
                <a:spcPts val="1200"/>
              </a:spcAft>
            </a:pPr>
            <a:r>
              <a:rPr sz="3200" dirty="0"/>
              <a:t>60 </a:t>
            </a:r>
            <a:r>
              <a:rPr sz="3200" dirty="0" err="1"/>
              <a:t>yaş</a:t>
            </a:r>
            <a:r>
              <a:rPr sz="3200" dirty="0"/>
              <a:t> </a:t>
            </a:r>
            <a:r>
              <a:rPr sz="3200" dirty="0" err="1"/>
              <a:t>üzeri</a:t>
            </a:r>
            <a:r>
              <a:rPr sz="3200" dirty="0"/>
              <a:t> her </a:t>
            </a:r>
            <a:r>
              <a:rPr sz="3200" dirty="0" err="1"/>
              <a:t>yıl</a:t>
            </a:r>
            <a:r>
              <a:rPr sz="3200" dirty="0"/>
              <a:t> 1,5 </a:t>
            </a:r>
            <a:r>
              <a:rPr sz="3200" dirty="0" err="1"/>
              <a:t>milyon</a:t>
            </a:r>
            <a:r>
              <a:rPr sz="3200" dirty="0"/>
              <a:t> RSV </a:t>
            </a:r>
            <a:r>
              <a:rPr sz="3200" dirty="0" err="1"/>
              <a:t>kaynaklı</a:t>
            </a:r>
            <a:r>
              <a:rPr sz="3200" dirty="0"/>
              <a:t> </a:t>
            </a:r>
            <a:r>
              <a:rPr sz="3200" dirty="0" err="1"/>
              <a:t>hastane</a:t>
            </a:r>
            <a:r>
              <a:rPr sz="3200" dirty="0"/>
              <a:t> </a:t>
            </a:r>
            <a:r>
              <a:rPr sz="3200" dirty="0" err="1"/>
              <a:t>yatışı</a:t>
            </a:r>
            <a:r>
              <a:rPr sz="3200" dirty="0"/>
              <a:t>.</a:t>
            </a:r>
          </a:p>
          <a:p>
            <a:pPr>
              <a:lnSpc>
                <a:spcPct val="100000"/>
              </a:lnSpc>
              <a:spcBef>
                <a:spcPts val="1200"/>
              </a:spcBef>
              <a:spcAft>
                <a:spcPts val="1200"/>
              </a:spcAft>
            </a:pPr>
            <a:r>
              <a:rPr sz="3200" dirty="0" err="1"/>
              <a:t>ABD'de</a:t>
            </a:r>
            <a:r>
              <a:rPr sz="3200" dirty="0"/>
              <a:t> </a:t>
            </a:r>
            <a:r>
              <a:rPr sz="3200" dirty="0" err="1"/>
              <a:t>yıllık</a:t>
            </a:r>
            <a:r>
              <a:rPr sz="3200" dirty="0"/>
              <a:t> 14.000 </a:t>
            </a:r>
            <a:r>
              <a:rPr sz="3200" dirty="0" err="1"/>
              <a:t>ölüm</a:t>
            </a:r>
            <a:r>
              <a:rPr sz="3200" dirty="0"/>
              <a:t>.</a:t>
            </a:r>
          </a:p>
          <a:p>
            <a:pPr>
              <a:lnSpc>
                <a:spcPct val="100000"/>
              </a:lnSpc>
              <a:spcBef>
                <a:spcPts val="1200"/>
              </a:spcBef>
              <a:spcAft>
                <a:spcPts val="1200"/>
              </a:spcAft>
            </a:pPr>
            <a:r>
              <a:rPr sz="3200" dirty="0"/>
              <a:t>KOAH, </a:t>
            </a:r>
            <a:r>
              <a:rPr sz="3200" dirty="0" err="1"/>
              <a:t>kalp</a:t>
            </a:r>
            <a:r>
              <a:rPr sz="3200" dirty="0"/>
              <a:t> </a:t>
            </a:r>
            <a:r>
              <a:rPr sz="3200" dirty="0" err="1"/>
              <a:t>yetmezliği</a:t>
            </a:r>
            <a:r>
              <a:rPr sz="3200" dirty="0"/>
              <a:t> </a:t>
            </a:r>
            <a:r>
              <a:rPr sz="3200" dirty="0" err="1"/>
              <a:t>ve</a:t>
            </a:r>
            <a:r>
              <a:rPr sz="3200" dirty="0"/>
              <a:t> </a:t>
            </a:r>
            <a:r>
              <a:rPr sz="3200" dirty="0" err="1"/>
              <a:t>diyabet</a:t>
            </a:r>
            <a:r>
              <a:rPr sz="3200" dirty="0"/>
              <a:t> </a:t>
            </a:r>
            <a:r>
              <a:rPr sz="3200" dirty="0" err="1"/>
              <a:t>hastalarında</a:t>
            </a:r>
            <a:r>
              <a:rPr sz="3200" dirty="0"/>
              <a:t> </a:t>
            </a:r>
            <a:r>
              <a:rPr sz="3200" dirty="0" err="1"/>
              <a:t>daha</a:t>
            </a:r>
            <a:r>
              <a:rPr sz="3200" dirty="0"/>
              <a:t> </a:t>
            </a:r>
            <a:r>
              <a:rPr sz="3200" dirty="0" err="1"/>
              <a:t>ağır</a:t>
            </a:r>
            <a:r>
              <a:rPr sz="3200" dirty="0"/>
              <a:t> </a:t>
            </a:r>
            <a:r>
              <a:rPr sz="3200" dirty="0" err="1"/>
              <a:t>seyir</a:t>
            </a:r>
            <a:r>
              <a:rPr sz="3200" dirty="0"/>
              <a:t>.</a:t>
            </a:r>
          </a:p>
        </p:txBody>
      </p:sp>
      <p:sp>
        <p:nvSpPr>
          <p:cNvPr id="4" name="TextBox 3">
            <a:extLst>
              <a:ext uri="{FF2B5EF4-FFF2-40B4-BE49-F238E27FC236}">
                <a16:creationId xmlns:a16="http://schemas.microsoft.com/office/drawing/2014/main" id="{54E452E0-3A11-B059-F998-B1D47C928831}"/>
              </a:ext>
            </a:extLst>
          </p:cNvPr>
          <p:cNvSpPr txBox="1"/>
          <p:nvPr/>
        </p:nvSpPr>
        <p:spPr>
          <a:xfrm>
            <a:off x="1630680" y="6309361"/>
            <a:ext cx="288798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28600" indent="-228600">
              <a:buFont typeface=""/>
              <a:buChar char="•"/>
            </a:pPr>
            <a:r>
              <a:rPr lang="en-US" sz="1400">
                <a:cs typeface="Arial"/>
              </a:rPr>
              <a:t>CDC RSV Surveillance 2024.​</a:t>
            </a:r>
          </a:p>
        </p:txBody>
      </p:sp>
      <p:pic>
        <p:nvPicPr>
          <p:cNvPr id="5" name="Picture 4" descr="A yellow and blue logo&#10;&#10;Description automatically generated">
            <a:extLst>
              <a:ext uri="{FF2B5EF4-FFF2-40B4-BE49-F238E27FC236}">
                <a16:creationId xmlns:a16="http://schemas.microsoft.com/office/drawing/2014/main" id="{A6F5B6C9-7967-8446-D059-67D132E316AC}"/>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6" name="Picture 5" descr="A black and blue logo&#10;&#10;AI-generated content may be incorrect.">
            <a:extLst>
              <a:ext uri="{FF2B5EF4-FFF2-40B4-BE49-F238E27FC236}">
                <a16:creationId xmlns:a16="http://schemas.microsoft.com/office/drawing/2014/main" id="{7160B52A-DE88-743C-AF7C-415E225C5110}"/>
              </a:ext>
            </a:extLst>
          </p:cNvPr>
          <p:cNvPicPr>
            <a:picLocks noChangeAspect="1"/>
          </p:cNvPicPr>
          <p:nvPr/>
        </p:nvPicPr>
        <p:blipFill>
          <a:blip r:embed="rId4"/>
          <a:stretch>
            <a:fillRect/>
          </a:stretch>
        </p:blipFill>
        <p:spPr>
          <a:xfrm>
            <a:off x="9513903" y="6494969"/>
            <a:ext cx="981021" cy="204067"/>
          </a:xfrm>
          <a:prstGeom prst="rect">
            <a:avLst/>
          </a:prstGeom>
        </p:spPr>
      </p:pic>
    </p:spTree>
  </p:cSld>
  <p:clrMapOvr>
    <a:masterClrMapping/>
  </p:clrMapOvr>
  <p:extLst>
    <p:ext uri="{6950BFC3-D8DA-4A85-94F7-54DA5524770B}">
      <p188:commentRel xmlns:p188="http://schemas.microsoft.com/office/powerpoint/2018/8/main" r:id="rId2"/>
    </p:ext>
  </p:extLst>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Pnömoni ve RSV Tanısı</a:t>
            </a:r>
          </a:p>
        </p:txBody>
      </p:sp>
      <p:sp>
        <p:nvSpPr>
          <p:cNvPr id="3" name="Content Placeholder 2"/>
          <p:cNvSpPr>
            <a:spLocks noGrp="1"/>
          </p:cNvSpPr>
          <p:nvPr>
            <p:ph idx="4294967295"/>
          </p:nvPr>
        </p:nvSpPr>
        <p:spPr>
          <a:xfrm>
            <a:off x="613152" y="1344613"/>
            <a:ext cx="9902448" cy="4351337"/>
          </a:xfrm>
        </p:spPr>
        <p:txBody>
          <a:bodyPr vert="horz" lIns="91440" tIns="45720" rIns="91440" bIns="45720" rtlCol="0" anchor="ctr">
            <a:normAutofit/>
          </a:bodyPr>
          <a:lstStyle/>
          <a:p>
            <a:pPr>
              <a:lnSpc>
                <a:spcPct val="100000"/>
              </a:lnSpc>
              <a:spcBef>
                <a:spcPts val="1200"/>
              </a:spcBef>
              <a:spcAft>
                <a:spcPts val="1200"/>
              </a:spcAft>
            </a:pPr>
            <a:r>
              <a:rPr lang="tr-TR" sz="3200" dirty="0"/>
              <a:t>Pnömoni tanısında akciğer grafisi altın standarttır.</a:t>
            </a:r>
          </a:p>
          <a:p>
            <a:pPr>
              <a:lnSpc>
                <a:spcPct val="100000"/>
              </a:lnSpc>
              <a:spcBef>
                <a:spcPts val="1200"/>
              </a:spcBef>
              <a:spcAft>
                <a:spcPts val="1200"/>
              </a:spcAft>
            </a:pPr>
            <a:r>
              <a:rPr lang="tr-TR" sz="3200" dirty="0"/>
              <a:t>RSV tanısında nazofaringeal PCR testi tercih edilir.</a:t>
            </a:r>
          </a:p>
          <a:p>
            <a:pPr>
              <a:lnSpc>
                <a:spcPct val="100000"/>
              </a:lnSpc>
              <a:spcBef>
                <a:spcPts val="1200"/>
              </a:spcBef>
              <a:spcAft>
                <a:spcPts val="1200"/>
              </a:spcAft>
            </a:pPr>
            <a:r>
              <a:rPr lang="tr-TR" sz="3200" dirty="0"/>
              <a:t>Antijen testlerinin duyarlılığı yaşlılarda düşüktür.</a:t>
            </a:r>
          </a:p>
        </p:txBody>
      </p:sp>
      <p:pic>
        <p:nvPicPr>
          <p:cNvPr id="6" name="Picture 5" descr="A yellow and blue logo&#10;&#10;Description automatically generated">
            <a:extLst>
              <a:ext uri="{FF2B5EF4-FFF2-40B4-BE49-F238E27FC236}">
                <a16:creationId xmlns:a16="http://schemas.microsoft.com/office/drawing/2014/main" id="{76F4F5EE-76CD-87F7-3944-30537E524335}"/>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7" name="Picture 6" descr="A black and blue logo&#10;&#10;AI-generated content may be incorrect.">
            <a:extLst>
              <a:ext uri="{FF2B5EF4-FFF2-40B4-BE49-F238E27FC236}">
                <a16:creationId xmlns:a16="http://schemas.microsoft.com/office/drawing/2014/main" id="{C5CEC7A4-8A79-A1D7-5AFB-38C124C2136D}"/>
              </a:ext>
            </a:extLst>
          </p:cNvPr>
          <p:cNvPicPr>
            <a:picLocks noChangeAspect="1"/>
          </p:cNvPicPr>
          <p:nvPr/>
        </p:nvPicPr>
        <p:blipFill>
          <a:blip r:embed="rId3"/>
          <a:stretch>
            <a:fillRect/>
          </a:stretch>
        </p:blipFill>
        <p:spPr>
          <a:xfrm>
            <a:off x="9513903" y="6494969"/>
            <a:ext cx="981021" cy="204067"/>
          </a:xfrm>
          <a:prstGeom prst="rect">
            <a:avLst/>
          </a:prstGeom>
        </p:spPr>
      </p:pic>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Aşı Geliştirme Süreci</a:t>
            </a:r>
          </a:p>
        </p:txBody>
      </p:sp>
      <p:sp>
        <p:nvSpPr>
          <p:cNvPr id="3" name="Content Placeholder 2"/>
          <p:cNvSpPr>
            <a:spLocks noGrp="1"/>
          </p:cNvSpPr>
          <p:nvPr>
            <p:ph idx="4294967295"/>
          </p:nvPr>
        </p:nvSpPr>
        <p:spPr>
          <a:xfrm>
            <a:off x="613152" y="1344613"/>
            <a:ext cx="9902448" cy="4351337"/>
          </a:xfrm>
        </p:spPr>
        <p:txBody>
          <a:bodyPr vert="horz" lIns="91440" tIns="45720" rIns="91440" bIns="45720" rtlCol="0" anchor="ctr">
            <a:normAutofit/>
          </a:bodyPr>
          <a:lstStyle/>
          <a:p>
            <a:pPr>
              <a:lnSpc>
                <a:spcPct val="100000"/>
              </a:lnSpc>
              <a:spcBef>
                <a:spcPts val="1200"/>
              </a:spcBef>
              <a:spcAft>
                <a:spcPts val="1200"/>
              </a:spcAft>
            </a:pPr>
            <a:r>
              <a:rPr lang="tr-TR" sz="3200" dirty="0"/>
              <a:t>Pnömokok: Polisakkarit antijenlerin proteinlere konjugasyonu ile T-hücresi yanıtı oluşturulur.</a:t>
            </a:r>
          </a:p>
          <a:p>
            <a:pPr>
              <a:lnSpc>
                <a:spcPct val="100000"/>
              </a:lnSpc>
              <a:spcBef>
                <a:spcPts val="1200"/>
              </a:spcBef>
              <a:spcAft>
                <a:spcPts val="1200"/>
              </a:spcAft>
            </a:pPr>
            <a:r>
              <a:rPr lang="tr-TR" sz="3200" dirty="0"/>
              <a:t>RSV: Prefüzyon F proteini hedeflenerek nötralizan antikor üretimi artırılır.</a:t>
            </a:r>
          </a:p>
        </p:txBody>
      </p:sp>
      <p:sp>
        <p:nvSpPr>
          <p:cNvPr id="4" name="TextBox 3">
            <a:extLst>
              <a:ext uri="{FF2B5EF4-FFF2-40B4-BE49-F238E27FC236}">
                <a16:creationId xmlns:a16="http://schemas.microsoft.com/office/drawing/2014/main" id="{D85A35B8-7CBB-77D6-D1B9-65A753226A38}"/>
              </a:ext>
            </a:extLst>
          </p:cNvPr>
          <p:cNvSpPr txBox="1"/>
          <p:nvPr/>
        </p:nvSpPr>
        <p:spPr>
          <a:xfrm>
            <a:off x="613152" y="6002723"/>
            <a:ext cx="859017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dirty="0">
                <a:latin typeface="Arial"/>
                <a:cs typeface="Segoe UI"/>
              </a:rPr>
              <a:t>1.Roux A, et al. </a:t>
            </a:r>
            <a:r>
              <a:rPr lang="en-US" sz="700" i="1" dirty="0">
                <a:latin typeface="Arial"/>
                <a:cs typeface="Segoe UI"/>
              </a:rPr>
              <a:t>Clin Infect Dis</a:t>
            </a:r>
            <a:r>
              <a:rPr lang="en-US" sz="700" dirty="0">
                <a:latin typeface="Arial"/>
                <a:cs typeface="Segoe UI"/>
              </a:rPr>
              <a:t>. 2008;46(7):1015-1023. </a:t>
            </a:r>
            <a:r>
              <a:rPr lang="en-US" sz="700" b="1" dirty="0">
                <a:latin typeface="Arial"/>
                <a:cs typeface="Segoe UI"/>
              </a:rPr>
              <a:t>2. </a:t>
            </a:r>
            <a:r>
              <a:rPr lang="en-US" sz="700" dirty="0">
                <a:latin typeface="Arial"/>
                <a:cs typeface="Segoe UI"/>
              </a:rPr>
              <a:t>Clutterbuck EA, et al. </a:t>
            </a:r>
            <a:r>
              <a:rPr lang="en-US" sz="700" i="1" dirty="0">
                <a:latin typeface="Arial"/>
                <a:cs typeface="Segoe UI"/>
              </a:rPr>
              <a:t>Immunology.</a:t>
            </a:r>
            <a:r>
              <a:rPr lang="en-US" sz="700" dirty="0">
                <a:latin typeface="Arial"/>
                <a:cs typeface="Segoe UI"/>
              </a:rPr>
              <a:t> 2006;119(3):328-337. </a:t>
            </a:r>
            <a:r>
              <a:rPr lang="en-US" sz="700" b="1" dirty="0">
                <a:latin typeface="Arial"/>
                <a:cs typeface="Segoe UI"/>
              </a:rPr>
              <a:t>3. </a:t>
            </a:r>
            <a:r>
              <a:rPr lang="en-US" sz="700" dirty="0">
                <a:latin typeface="Arial"/>
                <a:cs typeface="Segoe UI"/>
              </a:rPr>
              <a:t>Pollard AJ, et al. </a:t>
            </a:r>
            <a:r>
              <a:rPr lang="en-US" sz="700" i="1" dirty="0">
                <a:latin typeface="Arial"/>
                <a:cs typeface="Segoe UI"/>
              </a:rPr>
              <a:t>Nat Rev Immunol</a:t>
            </a:r>
            <a:r>
              <a:rPr lang="en-US" sz="700" dirty="0">
                <a:latin typeface="Arial"/>
                <a:cs typeface="Segoe UI"/>
              </a:rPr>
              <a:t>. 2009;9(3):213-220. </a:t>
            </a:r>
            <a:r>
              <a:rPr lang="en-US" sz="700" b="1" dirty="0">
                <a:latin typeface="Arial"/>
                <a:cs typeface="Segoe UI"/>
              </a:rPr>
              <a:t>4. </a:t>
            </a:r>
            <a:r>
              <a:rPr lang="en-US" sz="700" dirty="0">
                <a:latin typeface="Arial"/>
                <a:cs typeface="Segoe UI"/>
              </a:rPr>
              <a:t>Clutterbuck EA, et al. </a:t>
            </a:r>
            <a:r>
              <a:rPr lang="en-US" sz="700" i="1" dirty="0">
                <a:latin typeface="Arial"/>
                <a:cs typeface="Segoe UI"/>
              </a:rPr>
              <a:t>J Infect Dis. </a:t>
            </a:r>
            <a:r>
              <a:rPr lang="en-US" sz="700" dirty="0">
                <a:latin typeface="Arial"/>
                <a:cs typeface="Segoe UI"/>
              </a:rPr>
              <a:t>2012;205(9):1408-1416. </a:t>
            </a:r>
            <a:r>
              <a:rPr lang="en-US" sz="700" b="1" dirty="0">
                <a:latin typeface="Arial"/>
                <a:cs typeface="Segoe UI"/>
              </a:rPr>
              <a:t>5. </a:t>
            </a:r>
            <a:r>
              <a:rPr lang="en-US" sz="700" dirty="0">
                <a:latin typeface="Arial"/>
                <a:cs typeface="Segoe UI"/>
              </a:rPr>
              <a:t>Pletz MW, et al. </a:t>
            </a:r>
            <a:r>
              <a:rPr lang="en-US" sz="700" i="1" dirty="0">
                <a:latin typeface="Arial"/>
                <a:cs typeface="Segoe UI"/>
              </a:rPr>
              <a:t>Int J </a:t>
            </a:r>
            <a:r>
              <a:rPr lang="en-US" sz="700" i="1" dirty="0" err="1">
                <a:latin typeface="Arial"/>
                <a:cs typeface="Segoe UI"/>
              </a:rPr>
              <a:t>Antimicrob</a:t>
            </a:r>
            <a:r>
              <a:rPr lang="en-US" sz="700" i="1" dirty="0">
                <a:latin typeface="Arial"/>
                <a:cs typeface="Segoe UI"/>
              </a:rPr>
              <a:t> Agents. </a:t>
            </a:r>
            <a:r>
              <a:rPr lang="en-US" sz="700" dirty="0">
                <a:latin typeface="Arial"/>
                <a:cs typeface="Segoe UI"/>
              </a:rPr>
              <a:t>2008;32(3):199-206.</a:t>
            </a:r>
            <a:r>
              <a:rPr lang="en-US" sz="700" dirty="0">
                <a:latin typeface="Arial"/>
                <a:cs typeface="Arial"/>
              </a:rPr>
              <a:t>​</a:t>
            </a:r>
            <a:endParaRPr lang="en-US" sz="700" dirty="0">
              <a:ea typeface="Calibri"/>
              <a:cs typeface="Calibri"/>
            </a:endParaRPr>
          </a:p>
        </p:txBody>
      </p:sp>
      <p:pic>
        <p:nvPicPr>
          <p:cNvPr id="7" name="Picture 6" descr="A yellow and blue logo&#10;&#10;Description automatically generated">
            <a:extLst>
              <a:ext uri="{FF2B5EF4-FFF2-40B4-BE49-F238E27FC236}">
                <a16:creationId xmlns:a16="http://schemas.microsoft.com/office/drawing/2014/main" id="{AF8DA88A-8D16-A11C-7180-4EFF3CDBC65E}"/>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8" name="Picture 7" descr="A black and blue logo&#10;&#10;AI-generated content may be incorrect.">
            <a:extLst>
              <a:ext uri="{FF2B5EF4-FFF2-40B4-BE49-F238E27FC236}">
                <a16:creationId xmlns:a16="http://schemas.microsoft.com/office/drawing/2014/main" id="{031A4E16-4C86-562F-44FD-05E1E0875041}"/>
              </a:ext>
            </a:extLst>
          </p:cNvPr>
          <p:cNvPicPr>
            <a:picLocks noChangeAspect="1"/>
          </p:cNvPicPr>
          <p:nvPr/>
        </p:nvPicPr>
        <p:blipFill>
          <a:blip r:embed="rId3"/>
          <a:stretch>
            <a:fillRect/>
          </a:stretch>
        </p:blipFill>
        <p:spPr>
          <a:xfrm>
            <a:off x="9513903" y="6494969"/>
            <a:ext cx="981021" cy="204067"/>
          </a:xfrm>
          <a:prstGeom prst="rect">
            <a:avLst/>
          </a:prstGeom>
        </p:spPr>
      </p:pic>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E8FAB-2E3A-A8ED-ABE5-9F466A6B5243}"/>
            </a:ext>
          </a:extLst>
        </p:cNvPr>
        <p:cNvGrpSpPr/>
        <p:nvPr/>
      </p:nvGrpSpPr>
      <p:grpSpPr>
        <a:xfrm>
          <a:off x="0" y="0"/>
          <a:ext cx="0" cy="0"/>
          <a:chOff x="0" y="0"/>
          <a:chExt cx="0" cy="0"/>
        </a:xfrm>
      </p:grpSpPr>
      <p:pic>
        <p:nvPicPr>
          <p:cNvPr id="3" name="Picture 2" descr="A yellow and blue logo&#10;&#10;Description automatically generated">
            <a:extLst>
              <a:ext uri="{FF2B5EF4-FFF2-40B4-BE49-F238E27FC236}">
                <a16:creationId xmlns:a16="http://schemas.microsoft.com/office/drawing/2014/main" id="{1357E25C-D754-03E4-60AC-0BBE089538A9}"/>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4151770" y="1988995"/>
            <a:ext cx="4772170" cy="2523468"/>
          </a:xfrm>
          <a:prstGeom prst="rect">
            <a:avLst/>
          </a:prstGeom>
        </p:spPr>
      </p:pic>
    </p:spTree>
    <p:extLst>
      <p:ext uri="{BB962C8B-B14F-4D97-AF65-F5344CB8AC3E}">
        <p14:creationId xmlns:p14="http://schemas.microsoft.com/office/powerpoint/2010/main" val="760418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7B61E-295D-687B-E519-4E1B5ACE8009}"/>
              </a:ext>
            </a:extLst>
          </p:cNvPr>
          <p:cNvSpPr>
            <a:spLocks noGrp="1"/>
          </p:cNvSpPr>
          <p:nvPr>
            <p:ph type="title"/>
          </p:nvPr>
        </p:nvSpPr>
        <p:spPr>
          <a:xfrm>
            <a:off x="613152" y="195684"/>
            <a:ext cx="10969218" cy="842156"/>
          </a:xfrm>
        </p:spPr>
        <p:txBody>
          <a:bodyPr>
            <a:noAutofit/>
          </a:bodyPr>
          <a:lstStyle/>
          <a:p>
            <a:r>
              <a:rPr lang="tr-TR"/>
              <a:t>Konjuge aşılar, B, T ve bellek B hücrelerini aktive ederek polisakkarit aşılardan daha güçlü bir bağışıklık tepkisi sağlar</a:t>
            </a:r>
          </a:p>
        </p:txBody>
      </p:sp>
      <p:sp>
        <p:nvSpPr>
          <p:cNvPr id="6" name="Text Placeholder 25">
            <a:extLst>
              <a:ext uri="{FF2B5EF4-FFF2-40B4-BE49-F238E27FC236}">
                <a16:creationId xmlns:a16="http://schemas.microsoft.com/office/drawing/2014/main" id="{ADC7CEA5-EF99-C778-B6E2-BE7C02E00302}"/>
              </a:ext>
            </a:extLst>
          </p:cNvPr>
          <p:cNvSpPr txBox="1">
            <a:spLocks/>
          </p:cNvSpPr>
          <p:nvPr/>
        </p:nvSpPr>
        <p:spPr>
          <a:xfrm>
            <a:off x="605086" y="6081615"/>
            <a:ext cx="8534400" cy="167930"/>
          </a:xfrm>
          <a:prstGeom prst="rect">
            <a:avLst/>
          </a:prstGeom>
        </p:spPr>
        <p:txBody>
          <a:bodyPr vert="horz" lIns="68580" tIns="34290" rIns="68580" bIns="3429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335" indent="0">
              <a:lnSpc>
                <a:spcPct val="100000"/>
              </a:lnSpc>
              <a:buNone/>
            </a:pPr>
            <a:r>
              <a:rPr lang="en-US" sz="700" b="1" dirty="0">
                <a:latin typeface="Arial" panose="020B0604020202020204" pitchFamily="34" charset="0"/>
                <a:cs typeface="Arial" panose="020B0604020202020204" pitchFamily="34" charset="0"/>
              </a:rPr>
              <a:t>1. </a:t>
            </a:r>
            <a:r>
              <a:rPr lang="en-US" sz="700" dirty="0">
                <a:latin typeface="Arial" panose="020B0604020202020204" pitchFamily="34" charset="0"/>
                <a:cs typeface="Arial" panose="020B0604020202020204" pitchFamily="34" charset="0"/>
              </a:rPr>
              <a:t>de Roux A, et al. </a:t>
            </a:r>
            <a:r>
              <a:rPr lang="en-US" sz="700" i="1" dirty="0">
                <a:latin typeface="Arial" panose="020B0604020202020204" pitchFamily="34" charset="0"/>
                <a:cs typeface="Arial" panose="020B0604020202020204" pitchFamily="34" charset="0"/>
              </a:rPr>
              <a:t>Clin Infect Dis</a:t>
            </a:r>
            <a:r>
              <a:rPr lang="en-US" sz="700" dirty="0">
                <a:latin typeface="Arial" panose="020B0604020202020204" pitchFamily="34" charset="0"/>
                <a:cs typeface="Arial" panose="020B0604020202020204" pitchFamily="34" charset="0"/>
              </a:rPr>
              <a:t>. 2008;46(7):1015-1023. </a:t>
            </a:r>
            <a:r>
              <a:rPr lang="en-US" sz="700" b="1" dirty="0">
                <a:latin typeface="Arial" panose="020B0604020202020204" pitchFamily="34" charset="0"/>
                <a:cs typeface="Arial" panose="020B0604020202020204" pitchFamily="34" charset="0"/>
              </a:rPr>
              <a:t>2. </a:t>
            </a:r>
            <a:r>
              <a:rPr lang="en-US" sz="700" dirty="0">
                <a:latin typeface="Arial" panose="020B0604020202020204" pitchFamily="34" charset="0"/>
                <a:cs typeface="Arial" panose="020B0604020202020204" pitchFamily="34" charset="0"/>
              </a:rPr>
              <a:t>Clutterbuck EA, et al. </a:t>
            </a:r>
            <a:r>
              <a:rPr lang="en-US" sz="700" i="1" dirty="0">
                <a:latin typeface="Arial" panose="020B0604020202020204" pitchFamily="34" charset="0"/>
                <a:cs typeface="Arial" panose="020B0604020202020204" pitchFamily="34" charset="0"/>
              </a:rPr>
              <a:t>Immunology.</a:t>
            </a:r>
            <a:r>
              <a:rPr lang="en-US" sz="700" dirty="0">
                <a:latin typeface="Arial" panose="020B0604020202020204" pitchFamily="34" charset="0"/>
                <a:cs typeface="Arial" panose="020B0604020202020204" pitchFamily="34" charset="0"/>
              </a:rPr>
              <a:t> 2006;119(3):328-337. </a:t>
            </a:r>
            <a:r>
              <a:rPr lang="en-US" sz="700" b="1" dirty="0">
                <a:latin typeface="Arial" panose="020B0604020202020204" pitchFamily="34" charset="0"/>
                <a:cs typeface="Arial" panose="020B0604020202020204" pitchFamily="34" charset="0"/>
              </a:rPr>
              <a:t>3. </a:t>
            </a:r>
            <a:r>
              <a:rPr lang="en-US" sz="700" dirty="0">
                <a:latin typeface="Arial" panose="020B0604020202020204" pitchFamily="34" charset="0"/>
                <a:cs typeface="Arial" panose="020B0604020202020204" pitchFamily="34" charset="0"/>
              </a:rPr>
              <a:t>Pollard AJ, et al. </a:t>
            </a:r>
            <a:r>
              <a:rPr lang="en-US" sz="700" i="1" dirty="0">
                <a:latin typeface="Arial" panose="020B0604020202020204" pitchFamily="34" charset="0"/>
                <a:cs typeface="Arial" panose="020B0604020202020204" pitchFamily="34" charset="0"/>
              </a:rPr>
              <a:t>Nat Rev Immunol</a:t>
            </a:r>
            <a:r>
              <a:rPr lang="en-US" sz="700" dirty="0">
                <a:latin typeface="Arial" panose="020B0604020202020204" pitchFamily="34" charset="0"/>
                <a:cs typeface="Arial" panose="020B0604020202020204" pitchFamily="34" charset="0"/>
              </a:rPr>
              <a:t>. 2009;9(3):213-220. </a:t>
            </a:r>
            <a:r>
              <a:rPr lang="en-US" sz="700" b="1" dirty="0">
                <a:latin typeface="Arial" panose="020B0604020202020204" pitchFamily="34" charset="0"/>
                <a:cs typeface="Arial" panose="020B0604020202020204" pitchFamily="34" charset="0"/>
              </a:rPr>
              <a:t>4. </a:t>
            </a:r>
            <a:r>
              <a:rPr lang="en-US" sz="700" dirty="0">
                <a:latin typeface="Arial" panose="020B0604020202020204" pitchFamily="34" charset="0"/>
                <a:cs typeface="Arial" panose="020B0604020202020204" pitchFamily="34" charset="0"/>
              </a:rPr>
              <a:t>Clutterbuck EA, et al. </a:t>
            </a:r>
            <a:r>
              <a:rPr lang="en-US" sz="700" i="1" dirty="0">
                <a:latin typeface="Arial" panose="020B0604020202020204" pitchFamily="34" charset="0"/>
                <a:cs typeface="Arial" panose="020B0604020202020204" pitchFamily="34" charset="0"/>
              </a:rPr>
              <a:t>J Infect Dis. </a:t>
            </a:r>
            <a:r>
              <a:rPr lang="en-US" sz="700" dirty="0">
                <a:latin typeface="Arial" panose="020B0604020202020204" pitchFamily="34" charset="0"/>
                <a:cs typeface="Arial" panose="020B0604020202020204" pitchFamily="34" charset="0"/>
              </a:rPr>
              <a:t>2012;205(9):1408-1416. </a:t>
            </a:r>
            <a:r>
              <a:rPr lang="en-US" sz="700" b="1" dirty="0">
                <a:latin typeface="Arial" panose="020B0604020202020204" pitchFamily="34" charset="0"/>
                <a:cs typeface="Arial" panose="020B0604020202020204" pitchFamily="34" charset="0"/>
              </a:rPr>
              <a:t>5. </a:t>
            </a:r>
            <a:r>
              <a:rPr lang="en-US" sz="700" dirty="0">
                <a:latin typeface="Arial" panose="020B0604020202020204" pitchFamily="34" charset="0"/>
                <a:cs typeface="Arial" panose="020B0604020202020204" pitchFamily="34" charset="0"/>
              </a:rPr>
              <a:t>Pletz MW, et al. </a:t>
            </a:r>
            <a:r>
              <a:rPr lang="en-US" sz="700" i="1" dirty="0">
                <a:latin typeface="Arial" panose="020B0604020202020204" pitchFamily="34" charset="0"/>
                <a:cs typeface="Arial" panose="020B0604020202020204" pitchFamily="34" charset="0"/>
              </a:rPr>
              <a:t>Int J </a:t>
            </a:r>
            <a:r>
              <a:rPr lang="en-US" sz="700" i="1" dirty="0" err="1">
                <a:latin typeface="Arial" panose="020B0604020202020204" pitchFamily="34" charset="0"/>
                <a:cs typeface="Arial" panose="020B0604020202020204" pitchFamily="34" charset="0"/>
              </a:rPr>
              <a:t>Antimicrob</a:t>
            </a:r>
            <a:r>
              <a:rPr lang="en-US" sz="700" i="1" dirty="0">
                <a:latin typeface="Arial" panose="020B0604020202020204" pitchFamily="34" charset="0"/>
                <a:cs typeface="Arial" panose="020B0604020202020204" pitchFamily="34" charset="0"/>
              </a:rPr>
              <a:t> Agents. </a:t>
            </a:r>
            <a:r>
              <a:rPr lang="en-US" sz="700" dirty="0">
                <a:latin typeface="Arial" panose="020B0604020202020204" pitchFamily="34" charset="0"/>
                <a:cs typeface="Arial" panose="020B0604020202020204" pitchFamily="34" charset="0"/>
              </a:rPr>
              <a:t>2008;32(3):199-206.</a:t>
            </a:r>
          </a:p>
          <a:p>
            <a:pPr>
              <a:lnSpc>
                <a:spcPct val="100000"/>
              </a:lnSpc>
            </a:pPr>
            <a:endParaRPr lang="en-US" sz="100" dirty="0"/>
          </a:p>
        </p:txBody>
      </p:sp>
      <p:sp>
        <p:nvSpPr>
          <p:cNvPr id="7" name="Rounded Rectangle 8">
            <a:extLst>
              <a:ext uri="{FF2B5EF4-FFF2-40B4-BE49-F238E27FC236}">
                <a16:creationId xmlns:a16="http://schemas.microsoft.com/office/drawing/2014/main" id="{73F4C1C5-0D0F-4838-66E7-84B7E9B4A0D9}"/>
              </a:ext>
            </a:extLst>
          </p:cNvPr>
          <p:cNvSpPr/>
          <p:nvPr/>
        </p:nvSpPr>
        <p:spPr bwMode="auto">
          <a:xfrm>
            <a:off x="1865025" y="1670356"/>
            <a:ext cx="3703122" cy="526846"/>
          </a:xfrm>
          <a:prstGeom prst="roundRect">
            <a:avLst>
              <a:gd name="adj" fmla="val 50000"/>
            </a:avLst>
          </a:prstGeom>
          <a:solidFill>
            <a:srgbClr val="0102C9"/>
          </a:solidFill>
          <a:ln>
            <a:noFill/>
          </a:ln>
          <a:effectLst>
            <a:outerShdw blurRad="63500" dist="38099" dir="2700000" algn="ctr" rotWithShape="0">
              <a:schemeClr val="bg2">
                <a:alpha val="74998"/>
              </a:schemeClr>
            </a:outerShdw>
          </a:effectLst>
          <a:scene3d>
            <a:camera prst="orthographicFront"/>
            <a:lightRig rig="threePt" dir="t"/>
          </a:scene3d>
          <a:sp3d>
            <a:bevelT/>
          </a:sp3d>
        </p:spPr>
        <p:txBody>
          <a:bodyPr vert="horz" wrap="square" lIns="68562" tIns="34281" rIns="68562" bIns="34281" numCol="1" rtlCol="0" anchor="t" anchorCtr="0" compatLnSpc="1">
            <a:prstTxWarp prst="textNoShape">
              <a:avLst/>
            </a:prstTxWarp>
          </a:bodyPr>
          <a:lstStyle/>
          <a:p>
            <a:pPr algn="ctr" defTabSz="685595" fontAlgn="base">
              <a:spcBef>
                <a:spcPct val="0"/>
              </a:spcBef>
              <a:spcAft>
                <a:spcPct val="0"/>
              </a:spcAft>
              <a:defRPr/>
            </a:pPr>
            <a:endParaRPr lang="en-US" sz="1649" kern="0">
              <a:solidFill>
                <a:srgbClr val="333333"/>
              </a:solidFill>
              <a:latin typeface="Helvetica Neue Light" charset="0"/>
              <a:ea typeface="ヒラギノ角ゴ ProN W3" charset="0"/>
              <a:cs typeface="ヒラギノ角ゴ ProN W3" charset="0"/>
              <a:sym typeface="Helvetica Neue Light" charset="0"/>
            </a:endParaRPr>
          </a:p>
        </p:txBody>
      </p:sp>
      <p:sp>
        <p:nvSpPr>
          <p:cNvPr id="8" name="TextBox 7">
            <a:extLst>
              <a:ext uri="{FF2B5EF4-FFF2-40B4-BE49-F238E27FC236}">
                <a16:creationId xmlns:a16="http://schemas.microsoft.com/office/drawing/2014/main" id="{BCE390C0-53CE-B372-2858-261D643C5893}"/>
              </a:ext>
            </a:extLst>
          </p:cNvPr>
          <p:cNvSpPr txBox="1"/>
          <p:nvPr/>
        </p:nvSpPr>
        <p:spPr>
          <a:xfrm>
            <a:off x="1920726" y="1765077"/>
            <a:ext cx="3591722" cy="350737"/>
          </a:xfrm>
          <a:prstGeom prst="rect">
            <a:avLst/>
          </a:prstGeom>
          <a:noFill/>
        </p:spPr>
        <p:txBody>
          <a:bodyPr wrap="square" rtlCol="0">
            <a:spAutoFit/>
          </a:bodyPr>
          <a:lstStyle/>
          <a:p>
            <a:pPr algn="ctr" defTabSz="685595">
              <a:lnSpc>
                <a:spcPct val="80000"/>
              </a:lnSpc>
              <a:buClr>
                <a:srgbClr val="000000"/>
              </a:buClr>
              <a:defRPr/>
            </a:pPr>
            <a:r>
              <a:rPr lang="en-US" sz="2099" kern="0" spc="-75" err="1">
                <a:solidFill>
                  <a:srgbClr val="FFFFFF"/>
                </a:solidFill>
                <a:latin typeface="Arial"/>
                <a:cs typeface="Arial"/>
                <a:sym typeface="Arial"/>
              </a:rPr>
              <a:t>Polisakkari</a:t>
            </a:r>
            <a:r>
              <a:rPr lang="tr-TR" sz="2099" kern="0" spc="-75">
                <a:solidFill>
                  <a:srgbClr val="FFFFFF"/>
                </a:solidFill>
                <a:latin typeface="Arial"/>
                <a:cs typeface="Arial"/>
                <a:sym typeface="Arial"/>
              </a:rPr>
              <a:t>d</a:t>
            </a:r>
            <a:r>
              <a:rPr lang="en-US" sz="2099" kern="0" spc="-75">
                <a:solidFill>
                  <a:srgbClr val="FFFFFF"/>
                </a:solidFill>
                <a:latin typeface="Arial"/>
                <a:cs typeface="Arial"/>
                <a:sym typeface="Arial"/>
              </a:rPr>
              <a:t> Aşılar</a:t>
            </a:r>
            <a:r>
              <a:rPr lang="en-US" sz="1424" kern="0" spc="-75" baseline="60000">
                <a:solidFill>
                  <a:srgbClr val="FFFFFF"/>
                </a:solidFill>
                <a:latin typeface="Arial"/>
                <a:cs typeface="Arial"/>
                <a:sym typeface="Arial"/>
              </a:rPr>
              <a:t>1,2</a:t>
            </a:r>
          </a:p>
        </p:txBody>
      </p:sp>
      <p:sp>
        <p:nvSpPr>
          <p:cNvPr id="9" name="Rounded Rectangle 10">
            <a:extLst>
              <a:ext uri="{FF2B5EF4-FFF2-40B4-BE49-F238E27FC236}">
                <a16:creationId xmlns:a16="http://schemas.microsoft.com/office/drawing/2014/main" id="{471F226F-437B-BBA8-35A6-DC251AC82404}"/>
              </a:ext>
            </a:extLst>
          </p:cNvPr>
          <p:cNvSpPr/>
          <p:nvPr/>
        </p:nvSpPr>
        <p:spPr bwMode="auto">
          <a:xfrm>
            <a:off x="6275578" y="1670356"/>
            <a:ext cx="3703122" cy="526846"/>
          </a:xfrm>
          <a:prstGeom prst="roundRect">
            <a:avLst>
              <a:gd name="adj" fmla="val 50000"/>
            </a:avLst>
          </a:prstGeom>
          <a:solidFill>
            <a:srgbClr val="0395FF"/>
          </a:solidFill>
          <a:ln>
            <a:noFill/>
          </a:ln>
          <a:effectLst>
            <a:outerShdw blurRad="63500" dist="38099" dir="2700000" algn="ctr" rotWithShape="0">
              <a:schemeClr val="bg2">
                <a:alpha val="74998"/>
              </a:schemeClr>
            </a:outerShdw>
          </a:effectLst>
          <a:scene3d>
            <a:camera prst="orthographicFront"/>
            <a:lightRig rig="threePt" dir="t"/>
          </a:scene3d>
          <a:sp3d>
            <a:bevelT/>
          </a:sp3d>
        </p:spPr>
        <p:txBody>
          <a:bodyPr vert="horz" wrap="square" lIns="68562" tIns="34281" rIns="68562" bIns="34281" numCol="1" rtlCol="0" anchor="t" anchorCtr="0" compatLnSpc="1">
            <a:prstTxWarp prst="textNoShape">
              <a:avLst/>
            </a:prstTxWarp>
          </a:bodyPr>
          <a:lstStyle/>
          <a:p>
            <a:pPr algn="ctr" defTabSz="685595" fontAlgn="base">
              <a:spcBef>
                <a:spcPct val="0"/>
              </a:spcBef>
              <a:spcAft>
                <a:spcPct val="0"/>
              </a:spcAft>
              <a:defRPr/>
            </a:pPr>
            <a:endParaRPr lang="en-US" sz="1649" kern="0">
              <a:solidFill>
                <a:srgbClr val="333333"/>
              </a:solidFill>
              <a:latin typeface="Helvetica Neue Light" charset="0"/>
              <a:ea typeface="ヒラギノ角ゴ ProN W3" charset="0"/>
              <a:cs typeface="ヒラギノ角ゴ ProN W3" charset="0"/>
              <a:sym typeface="Helvetica Neue Light" charset="0"/>
            </a:endParaRPr>
          </a:p>
        </p:txBody>
      </p:sp>
      <p:sp>
        <p:nvSpPr>
          <p:cNvPr id="10" name="TextBox 9">
            <a:extLst>
              <a:ext uri="{FF2B5EF4-FFF2-40B4-BE49-F238E27FC236}">
                <a16:creationId xmlns:a16="http://schemas.microsoft.com/office/drawing/2014/main" id="{183F9068-F2B0-A11D-E0A5-F3604DB3BF87}"/>
              </a:ext>
            </a:extLst>
          </p:cNvPr>
          <p:cNvSpPr txBox="1"/>
          <p:nvPr/>
        </p:nvSpPr>
        <p:spPr>
          <a:xfrm>
            <a:off x="6599387" y="1765077"/>
            <a:ext cx="3055504" cy="350737"/>
          </a:xfrm>
          <a:prstGeom prst="rect">
            <a:avLst/>
          </a:prstGeom>
          <a:noFill/>
        </p:spPr>
        <p:txBody>
          <a:bodyPr wrap="square" rtlCol="0">
            <a:spAutoFit/>
          </a:bodyPr>
          <a:lstStyle/>
          <a:p>
            <a:pPr algn="ctr" defTabSz="685595">
              <a:lnSpc>
                <a:spcPct val="80000"/>
              </a:lnSpc>
              <a:buClr>
                <a:srgbClr val="000000"/>
              </a:buClr>
              <a:defRPr/>
            </a:pPr>
            <a:r>
              <a:rPr lang="en-US" sz="2099" kern="0" spc="-75" err="1">
                <a:solidFill>
                  <a:srgbClr val="FFFFFF"/>
                </a:solidFill>
                <a:latin typeface="Arial"/>
                <a:cs typeface="Arial"/>
                <a:sym typeface="Arial"/>
              </a:rPr>
              <a:t>Konjuge</a:t>
            </a:r>
            <a:r>
              <a:rPr lang="en-US" sz="2099" kern="0" spc="-75">
                <a:solidFill>
                  <a:srgbClr val="FFFFFF"/>
                </a:solidFill>
                <a:latin typeface="Arial"/>
                <a:cs typeface="Arial"/>
                <a:sym typeface="Arial"/>
              </a:rPr>
              <a:t> Aşılar</a:t>
            </a:r>
            <a:r>
              <a:rPr lang="en-US" sz="1424" kern="0" spc="-75" baseline="60000">
                <a:solidFill>
                  <a:srgbClr val="FFFFFF"/>
                </a:solidFill>
                <a:latin typeface="Arial" panose="020B0604020202020204" pitchFamily="34" charset="0"/>
                <a:cs typeface="Arial" panose="020B0604020202020204" pitchFamily="34" charset="0"/>
                <a:sym typeface="Arial"/>
              </a:rPr>
              <a:t>1-3</a:t>
            </a:r>
            <a:endParaRPr lang="en-US" sz="1424" kern="0" spc="-75" baseline="60000">
              <a:solidFill>
                <a:srgbClr val="FFFFFF"/>
              </a:solidFill>
              <a:latin typeface="Arial"/>
              <a:cs typeface="Arial"/>
              <a:sym typeface="Arial"/>
            </a:endParaRPr>
          </a:p>
        </p:txBody>
      </p:sp>
      <p:grpSp>
        <p:nvGrpSpPr>
          <p:cNvPr id="11" name="Group 10">
            <a:extLst>
              <a:ext uri="{FF2B5EF4-FFF2-40B4-BE49-F238E27FC236}">
                <a16:creationId xmlns:a16="http://schemas.microsoft.com/office/drawing/2014/main" id="{08D1F881-B1FE-2E38-DBE7-07FA3756CBE8}"/>
              </a:ext>
            </a:extLst>
          </p:cNvPr>
          <p:cNvGrpSpPr/>
          <p:nvPr/>
        </p:nvGrpSpPr>
        <p:grpSpPr>
          <a:xfrm>
            <a:off x="5967145" y="2394473"/>
            <a:ext cx="4474067" cy="2972290"/>
            <a:chOff x="6091566" y="2779899"/>
            <a:chExt cx="5966976" cy="3365182"/>
          </a:xfrm>
        </p:grpSpPr>
        <p:pic>
          <p:nvPicPr>
            <p:cNvPr id="12" name="Picture 11" descr="protein-1.png">
              <a:extLst>
                <a:ext uri="{FF2B5EF4-FFF2-40B4-BE49-F238E27FC236}">
                  <a16:creationId xmlns:a16="http://schemas.microsoft.com/office/drawing/2014/main" id="{2D83FE1C-B424-A1D1-5792-E5D4724CFDD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53554" y="2891659"/>
              <a:ext cx="4076701" cy="515630"/>
            </a:xfrm>
            <a:prstGeom prst="rect">
              <a:avLst/>
            </a:prstGeom>
          </p:spPr>
        </p:pic>
        <p:pic>
          <p:nvPicPr>
            <p:cNvPr id="13" name="Picture 12">
              <a:extLst>
                <a:ext uri="{FF2B5EF4-FFF2-40B4-BE49-F238E27FC236}">
                  <a16:creationId xmlns:a16="http://schemas.microsoft.com/office/drawing/2014/main" id="{72E9B872-172A-0BC2-D6F4-2B17177D4A2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01906" y="2779899"/>
              <a:ext cx="647699" cy="647699"/>
            </a:xfrm>
            <a:prstGeom prst="rect">
              <a:avLst/>
            </a:prstGeom>
          </p:spPr>
        </p:pic>
        <p:sp>
          <p:nvSpPr>
            <p:cNvPr id="14" name="TextBox 13">
              <a:extLst>
                <a:ext uri="{FF2B5EF4-FFF2-40B4-BE49-F238E27FC236}">
                  <a16:creationId xmlns:a16="http://schemas.microsoft.com/office/drawing/2014/main" id="{E563CE1D-E993-7ECC-56DB-5808C3B8ACD0}"/>
                </a:ext>
              </a:extLst>
            </p:cNvPr>
            <p:cNvSpPr txBox="1"/>
            <p:nvPr/>
          </p:nvSpPr>
          <p:spPr>
            <a:xfrm>
              <a:off x="7174728" y="3374430"/>
              <a:ext cx="3245171" cy="452999"/>
            </a:xfrm>
            <a:prstGeom prst="rect">
              <a:avLst/>
            </a:prstGeom>
            <a:noFill/>
          </p:spPr>
          <p:txBody>
            <a:bodyPr wrap="square" rtlCol="0">
              <a:spAutoFit/>
            </a:bodyPr>
            <a:lstStyle/>
            <a:p>
              <a:pPr algn="ctr" defTabSz="685595">
                <a:buClr>
                  <a:srgbClr val="000000"/>
                </a:buClr>
                <a:defRPr/>
              </a:pPr>
              <a:r>
                <a:rPr lang="tr-TR" sz="1000" b="1" kern="0">
                  <a:latin typeface="Arial" panose="020B0604020202020204" pitchFamily="34" charset="0"/>
                  <a:cs typeface="Arial"/>
                  <a:sym typeface="Arial"/>
                </a:rPr>
                <a:t>Taşıyıcı proteine kovalent bağlı </a:t>
              </a:r>
              <a:r>
                <a:rPr lang="tr-TR" sz="1000" b="1" kern="0" err="1">
                  <a:latin typeface="Arial" panose="020B0604020202020204" pitchFamily="34" charset="0"/>
                  <a:cs typeface="Arial"/>
                  <a:sym typeface="Arial"/>
                </a:rPr>
                <a:t>polisakkarid</a:t>
              </a:r>
              <a:r>
                <a:rPr lang="tr-TR" sz="1000" b="1" kern="0">
                  <a:latin typeface="Arial" panose="020B0604020202020204" pitchFamily="34" charset="0"/>
                  <a:cs typeface="Arial"/>
                  <a:sym typeface="Arial"/>
                </a:rPr>
                <a:t> antijenler</a:t>
              </a:r>
              <a:endParaRPr lang="en-US" sz="1000" b="1" kern="0">
                <a:latin typeface="Arial" panose="020B0604020202020204" pitchFamily="34" charset="0"/>
                <a:cs typeface="Arial"/>
                <a:sym typeface="Arial"/>
              </a:endParaRPr>
            </a:p>
          </p:txBody>
        </p:sp>
        <p:sp>
          <p:nvSpPr>
            <p:cNvPr id="15" name="TextBox 14">
              <a:extLst>
                <a:ext uri="{FF2B5EF4-FFF2-40B4-BE49-F238E27FC236}">
                  <a16:creationId xmlns:a16="http://schemas.microsoft.com/office/drawing/2014/main" id="{EA4BD1BB-06E7-2FFD-9F0D-F87134BC338E}"/>
                </a:ext>
              </a:extLst>
            </p:cNvPr>
            <p:cNvSpPr txBox="1"/>
            <p:nvPr/>
          </p:nvSpPr>
          <p:spPr>
            <a:xfrm>
              <a:off x="9056271" y="3997202"/>
              <a:ext cx="3002271" cy="1569812"/>
            </a:xfrm>
            <a:prstGeom prst="rect">
              <a:avLst/>
            </a:prstGeom>
            <a:noFill/>
          </p:spPr>
          <p:txBody>
            <a:bodyPr wrap="square" rtlCol="0">
              <a:spAutoFit/>
            </a:bodyPr>
            <a:lstStyle/>
            <a:p>
              <a:pPr marL="128549" indent="-128549" defTabSz="685595">
                <a:lnSpc>
                  <a:spcPct val="80000"/>
                </a:lnSpc>
                <a:spcAft>
                  <a:spcPts val="900"/>
                </a:spcAft>
                <a:buClr>
                  <a:srgbClr val="000000">
                    <a:lumMod val="65000"/>
                    <a:lumOff val="35000"/>
                  </a:srgbClr>
                </a:buClr>
                <a:buFont typeface="Wingdings" pitchFamily="2" charset="2"/>
                <a:buChar char="§"/>
                <a:defRPr/>
              </a:pPr>
              <a:r>
                <a:rPr lang="en-US" sz="1100" b="1" kern="0">
                  <a:solidFill>
                    <a:srgbClr val="000000">
                      <a:lumMod val="65000"/>
                      <a:lumOff val="35000"/>
                    </a:srgbClr>
                  </a:solidFill>
                  <a:latin typeface="Arial" panose="020B0604020202020204" pitchFamily="34" charset="0"/>
                  <a:cs typeface="Arial"/>
                  <a:sym typeface="Arial"/>
                </a:rPr>
                <a:t>B</a:t>
              </a:r>
              <a:r>
                <a:rPr lang="tr-TR" sz="1100" b="1" kern="0">
                  <a:solidFill>
                    <a:srgbClr val="000000">
                      <a:lumMod val="65000"/>
                      <a:lumOff val="35000"/>
                    </a:srgbClr>
                  </a:solidFill>
                  <a:latin typeface="Arial" panose="020B0604020202020204" pitchFamily="34" charset="0"/>
                  <a:cs typeface="Arial"/>
                  <a:sym typeface="Arial"/>
                </a:rPr>
                <a:t>-hücre</a:t>
              </a:r>
              <a:r>
                <a:rPr lang="en-US" sz="1100" b="1" kern="0">
                  <a:solidFill>
                    <a:srgbClr val="000000">
                      <a:lumMod val="65000"/>
                      <a:lumOff val="35000"/>
                    </a:srgbClr>
                  </a:solidFill>
                  <a:latin typeface="Arial" panose="020B0604020202020204" pitchFamily="34" charset="0"/>
                  <a:cs typeface="Arial"/>
                  <a:sym typeface="Arial"/>
                </a:rPr>
                <a:t> </a:t>
              </a:r>
              <a:r>
                <a:rPr lang="tr-TR" sz="1100" b="1" kern="0">
                  <a:solidFill>
                    <a:srgbClr val="000000">
                      <a:lumMod val="65000"/>
                      <a:lumOff val="35000"/>
                    </a:srgbClr>
                  </a:solidFill>
                  <a:latin typeface="Arial" panose="020B0604020202020204" pitchFamily="34" charset="0"/>
                  <a:cs typeface="Arial"/>
                  <a:sym typeface="Arial"/>
                </a:rPr>
                <a:t>aktivasyonu ve antikor üretimi</a:t>
              </a:r>
              <a:endParaRPr lang="en-US" sz="1100" b="1" kern="0">
                <a:solidFill>
                  <a:srgbClr val="000000">
                    <a:lumMod val="65000"/>
                    <a:lumOff val="35000"/>
                  </a:srgbClr>
                </a:solidFill>
                <a:latin typeface="Arial" panose="020B0604020202020204" pitchFamily="34" charset="0"/>
                <a:cs typeface="Arial"/>
                <a:sym typeface="Arial"/>
              </a:endParaRPr>
            </a:p>
            <a:p>
              <a:pPr marL="128549" indent="-128549" defTabSz="685595">
                <a:lnSpc>
                  <a:spcPct val="80000"/>
                </a:lnSpc>
                <a:spcAft>
                  <a:spcPts val="900"/>
                </a:spcAft>
                <a:buClr>
                  <a:srgbClr val="000000">
                    <a:lumMod val="65000"/>
                    <a:lumOff val="35000"/>
                  </a:srgbClr>
                </a:buClr>
                <a:buFont typeface="Wingdings" pitchFamily="2" charset="2"/>
                <a:buChar char="§"/>
                <a:defRPr/>
              </a:pPr>
              <a:r>
                <a:rPr lang="en-US" sz="1100" b="1" kern="0">
                  <a:solidFill>
                    <a:srgbClr val="000000">
                      <a:lumMod val="65000"/>
                      <a:lumOff val="35000"/>
                    </a:srgbClr>
                  </a:solidFill>
                  <a:latin typeface="Arial" panose="020B0604020202020204" pitchFamily="34" charset="0"/>
                  <a:cs typeface="Arial"/>
                  <a:sym typeface="Arial"/>
                </a:rPr>
                <a:t>T-</a:t>
              </a:r>
              <a:r>
                <a:rPr lang="tr-TR" sz="1100" b="1" kern="0">
                  <a:solidFill>
                    <a:srgbClr val="000000">
                      <a:lumMod val="65000"/>
                      <a:lumOff val="35000"/>
                    </a:srgbClr>
                  </a:solidFill>
                  <a:latin typeface="Arial" panose="020B0604020202020204" pitchFamily="34" charset="0"/>
                  <a:cs typeface="Arial"/>
                  <a:sym typeface="Arial"/>
                </a:rPr>
                <a:t>hücre bağımlı</a:t>
              </a:r>
              <a:r>
                <a:rPr lang="en-US" sz="1100" b="1" kern="0">
                  <a:solidFill>
                    <a:srgbClr val="000000">
                      <a:lumMod val="65000"/>
                      <a:lumOff val="35000"/>
                    </a:srgbClr>
                  </a:solidFill>
                  <a:latin typeface="Arial" panose="020B0604020202020204" pitchFamily="34" charset="0"/>
                  <a:cs typeface="Arial"/>
                  <a:sym typeface="Arial"/>
                </a:rPr>
                <a:t> </a:t>
              </a:r>
              <a:r>
                <a:rPr lang="en-US" sz="1100" b="1" kern="0" err="1">
                  <a:solidFill>
                    <a:srgbClr val="000000">
                      <a:lumMod val="65000"/>
                      <a:lumOff val="35000"/>
                    </a:srgbClr>
                  </a:solidFill>
                  <a:latin typeface="Arial" panose="020B0604020202020204" pitchFamily="34" charset="0"/>
                  <a:cs typeface="Arial"/>
                  <a:sym typeface="Arial"/>
                </a:rPr>
                <a:t>im</a:t>
              </a:r>
              <a:r>
                <a:rPr lang="tr-TR" sz="1100" b="1" kern="0" err="1">
                  <a:solidFill>
                    <a:srgbClr val="000000">
                      <a:lumMod val="65000"/>
                      <a:lumOff val="35000"/>
                    </a:srgbClr>
                  </a:solidFill>
                  <a:latin typeface="Arial" panose="020B0604020202020204" pitchFamily="34" charset="0"/>
                  <a:cs typeface="Arial"/>
                  <a:sym typeface="Arial"/>
                </a:rPr>
                <a:t>mün</a:t>
              </a:r>
              <a:r>
                <a:rPr lang="tr-TR" sz="1100" b="1" kern="0">
                  <a:solidFill>
                    <a:srgbClr val="000000">
                      <a:lumMod val="65000"/>
                      <a:lumOff val="35000"/>
                    </a:srgbClr>
                  </a:solidFill>
                  <a:latin typeface="Arial" panose="020B0604020202020204" pitchFamily="34" charset="0"/>
                  <a:cs typeface="Arial"/>
                  <a:sym typeface="Arial"/>
                </a:rPr>
                <a:t> yanıt ve tekrar aşılama ile </a:t>
              </a:r>
              <a:r>
                <a:rPr lang="tr-TR" sz="1100" b="1" kern="0" err="1">
                  <a:solidFill>
                    <a:srgbClr val="000000">
                      <a:lumMod val="65000"/>
                      <a:lumOff val="35000"/>
                    </a:srgbClr>
                  </a:solidFill>
                  <a:latin typeface="Arial" panose="020B0604020202020204" pitchFamily="34" charset="0"/>
                  <a:cs typeface="Arial"/>
                  <a:sym typeface="Arial"/>
                </a:rPr>
                <a:t>boosting</a:t>
              </a:r>
              <a:endParaRPr lang="en-US" sz="1100" b="1" kern="0">
                <a:solidFill>
                  <a:srgbClr val="000000">
                    <a:lumMod val="65000"/>
                    <a:lumOff val="35000"/>
                  </a:srgbClr>
                </a:solidFill>
                <a:latin typeface="Arial" panose="020B0604020202020204" pitchFamily="34" charset="0"/>
                <a:cs typeface="Arial"/>
                <a:sym typeface="Arial"/>
              </a:endParaRPr>
            </a:p>
            <a:p>
              <a:pPr marL="128549" indent="-128549" defTabSz="685595">
                <a:lnSpc>
                  <a:spcPct val="80000"/>
                </a:lnSpc>
                <a:spcAft>
                  <a:spcPts val="900"/>
                </a:spcAft>
                <a:buClr>
                  <a:srgbClr val="000000">
                    <a:lumMod val="65000"/>
                    <a:lumOff val="35000"/>
                  </a:srgbClr>
                </a:buClr>
                <a:buFont typeface="Wingdings" pitchFamily="2" charset="2"/>
                <a:buChar char="§"/>
                <a:defRPr/>
              </a:pPr>
              <a:r>
                <a:rPr lang="tr-TR" sz="1100" b="1" kern="0">
                  <a:solidFill>
                    <a:srgbClr val="000000">
                      <a:lumMod val="65000"/>
                      <a:lumOff val="35000"/>
                    </a:srgbClr>
                  </a:solidFill>
                  <a:latin typeface="Arial" panose="020B0604020202020204" pitchFamily="34" charset="0"/>
                  <a:cs typeface="Arial"/>
                  <a:sym typeface="Arial"/>
                </a:rPr>
                <a:t>Hafıza</a:t>
              </a:r>
              <a:r>
                <a:rPr lang="en-US" sz="1100" b="1" kern="0">
                  <a:solidFill>
                    <a:srgbClr val="000000">
                      <a:lumMod val="65000"/>
                      <a:lumOff val="35000"/>
                    </a:srgbClr>
                  </a:solidFill>
                  <a:latin typeface="Arial" panose="020B0604020202020204" pitchFamily="34" charset="0"/>
                  <a:cs typeface="Arial"/>
                  <a:sym typeface="Arial"/>
                </a:rPr>
                <a:t> B-</a:t>
              </a:r>
              <a:r>
                <a:rPr lang="tr-TR" sz="1100" b="1" kern="0">
                  <a:solidFill>
                    <a:srgbClr val="000000">
                      <a:lumMod val="65000"/>
                      <a:lumOff val="35000"/>
                    </a:srgbClr>
                  </a:solidFill>
                  <a:latin typeface="Arial" panose="020B0604020202020204" pitchFamily="34" charset="0"/>
                  <a:cs typeface="Arial"/>
                  <a:sym typeface="Arial"/>
                </a:rPr>
                <a:t>hücre aktivasyonu</a:t>
              </a:r>
              <a:r>
                <a:rPr lang="en-US" sz="1100" b="1" kern="0" baseline="30000">
                  <a:solidFill>
                    <a:srgbClr val="000000">
                      <a:lumMod val="65000"/>
                      <a:lumOff val="35000"/>
                    </a:srgbClr>
                  </a:solidFill>
                  <a:latin typeface="Arial" panose="020B0604020202020204" pitchFamily="34" charset="0"/>
                  <a:cs typeface="Arial"/>
                  <a:sym typeface="Arial"/>
                </a:rPr>
                <a:t>4</a:t>
              </a:r>
              <a:endParaRPr lang="en-US" sz="1100" b="1" kern="0">
                <a:solidFill>
                  <a:srgbClr val="000000">
                    <a:lumMod val="65000"/>
                    <a:lumOff val="35000"/>
                  </a:srgbClr>
                </a:solidFill>
                <a:latin typeface="Arial" panose="020B0604020202020204" pitchFamily="34" charset="0"/>
                <a:cs typeface="Arial"/>
                <a:sym typeface="Arial"/>
              </a:endParaRPr>
            </a:p>
            <a:p>
              <a:pPr marL="128549" indent="-128549" defTabSz="685595">
                <a:lnSpc>
                  <a:spcPct val="80000"/>
                </a:lnSpc>
                <a:spcAft>
                  <a:spcPts val="900"/>
                </a:spcAft>
                <a:buClr>
                  <a:srgbClr val="000000">
                    <a:lumMod val="65000"/>
                    <a:lumOff val="35000"/>
                  </a:srgbClr>
                </a:buClr>
                <a:buFont typeface="Wingdings" pitchFamily="2" charset="2"/>
                <a:buChar char="§"/>
                <a:defRPr/>
              </a:pPr>
              <a:r>
                <a:rPr lang="en-US" sz="1100" b="1" kern="0">
                  <a:solidFill>
                    <a:srgbClr val="000000">
                      <a:lumMod val="65000"/>
                      <a:lumOff val="35000"/>
                    </a:srgbClr>
                  </a:solidFill>
                  <a:latin typeface="Arial" panose="020B0604020202020204" pitchFamily="34" charset="0"/>
                  <a:cs typeface="Arial"/>
                  <a:sym typeface="Arial"/>
                </a:rPr>
                <a:t>Mu</a:t>
              </a:r>
              <a:r>
                <a:rPr lang="tr-TR" sz="1100" b="1" kern="0">
                  <a:solidFill>
                    <a:srgbClr val="000000">
                      <a:lumMod val="65000"/>
                      <a:lumOff val="35000"/>
                    </a:srgbClr>
                  </a:solidFill>
                  <a:latin typeface="Arial" panose="020B0604020202020204" pitchFamily="34" charset="0"/>
                  <a:cs typeface="Arial"/>
                  <a:sym typeface="Arial"/>
                </a:rPr>
                <a:t>k</a:t>
              </a:r>
              <a:r>
                <a:rPr lang="en-US" sz="1100" b="1" kern="0">
                  <a:solidFill>
                    <a:srgbClr val="000000">
                      <a:lumMod val="65000"/>
                      <a:lumOff val="35000"/>
                    </a:srgbClr>
                  </a:solidFill>
                  <a:latin typeface="Arial" panose="020B0604020202020204" pitchFamily="34" charset="0"/>
                  <a:cs typeface="Arial"/>
                  <a:sym typeface="Arial"/>
                </a:rPr>
                <a:t>o</a:t>
              </a:r>
              <a:r>
                <a:rPr lang="tr-TR" sz="1100" b="1" kern="0">
                  <a:solidFill>
                    <a:srgbClr val="000000">
                      <a:lumMod val="65000"/>
                      <a:lumOff val="35000"/>
                    </a:srgbClr>
                  </a:solidFill>
                  <a:latin typeface="Arial" panose="020B0604020202020204" pitchFamily="34" charset="0"/>
                  <a:cs typeface="Arial"/>
                  <a:sym typeface="Arial"/>
                </a:rPr>
                <a:t>z</a:t>
              </a:r>
              <a:r>
                <a:rPr lang="en-US" sz="1100" b="1" kern="0">
                  <a:solidFill>
                    <a:srgbClr val="000000">
                      <a:lumMod val="65000"/>
                      <a:lumOff val="35000"/>
                    </a:srgbClr>
                  </a:solidFill>
                  <a:latin typeface="Arial" panose="020B0604020202020204" pitchFamily="34" charset="0"/>
                  <a:cs typeface="Arial"/>
                  <a:sym typeface="Arial"/>
                </a:rPr>
                <a:t>al </a:t>
              </a:r>
              <a:r>
                <a:rPr lang="tr-TR" sz="1100" b="1" kern="0">
                  <a:solidFill>
                    <a:srgbClr val="000000">
                      <a:lumMod val="65000"/>
                      <a:lumOff val="35000"/>
                    </a:srgbClr>
                  </a:solidFill>
                  <a:latin typeface="Arial" panose="020B0604020202020204" pitchFamily="34" charset="0"/>
                  <a:cs typeface="Arial"/>
                  <a:sym typeface="Arial"/>
                </a:rPr>
                <a:t>yanıt oluşur</a:t>
              </a:r>
              <a:r>
                <a:rPr lang="en-US" sz="1100" b="1" kern="0" baseline="30000">
                  <a:solidFill>
                    <a:srgbClr val="000000">
                      <a:lumMod val="65000"/>
                      <a:lumOff val="35000"/>
                    </a:srgbClr>
                  </a:solidFill>
                  <a:latin typeface="Arial" panose="020B0604020202020204" pitchFamily="34" charset="0"/>
                  <a:cs typeface="Arial"/>
                  <a:sym typeface="Arial"/>
                </a:rPr>
                <a:t>5</a:t>
              </a:r>
              <a:endParaRPr lang="en-US" sz="1100" b="1" kern="0">
                <a:solidFill>
                  <a:srgbClr val="000000">
                    <a:lumMod val="65000"/>
                    <a:lumOff val="35000"/>
                  </a:srgbClr>
                </a:solidFill>
                <a:latin typeface="Arial" panose="020B0604020202020204" pitchFamily="34" charset="0"/>
                <a:cs typeface="Arial"/>
                <a:sym typeface="Arial"/>
              </a:endParaRPr>
            </a:p>
          </p:txBody>
        </p:sp>
        <p:pic>
          <p:nvPicPr>
            <p:cNvPr id="16" name="Picture 15" descr="BandT-Cells.png">
              <a:extLst>
                <a:ext uri="{FF2B5EF4-FFF2-40B4-BE49-F238E27FC236}">
                  <a16:creationId xmlns:a16="http://schemas.microsoft.com/office/drawing/2014/main" id="{8D1464AF-113C-BD2C-72ED-77F030545FF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91566" y="3883657"/>
              <a:ext cx="2892519" cy="2261424"/>
            </a:xfrm>
            <a:prstGeom prst="rect">
              <a:avLst/>
            </a:prstGeom>
          </p:spPr>
        </p:pic>
        <p:grpSp>
          <p:nvGrpSpPr>
            <p:cNvPr id="17" name="Group 16">
              <a:extLst>
                <a:ext uri="{FF2B5EF4-FFF2-40B4-BE49-F238E27FC236}">
                  <a16:creationId xmlns:a16="http://schemas.microsoft.com/office/drawing/2014/main" id="{87B43247-4E51-92BB-1999-33827D47282C}"/>
                </a:ext>
              </a:extLst>
            </p:cNvPr>
            <p:cNvGrpSpPr/>
            <p:nvPr/>
          </p:nvGrpSpPr>
          <p:grpSpPr>
            <a:xfrm>
              <a:off x="6236212" y="4011066"/>
              <a:ext cx="1883194" cy="1781156"/>
              <a:chOff x="5870223" y="3991589"/>
              <a:chExt cx="2120889" cy="2005971"/>
            </a:xfrm>
          </p:grpSpPr>
          <p:sp>
            <p:nvSpPr>
              <p:cNvPr id="18" name="TextBox 17">
                <a:extLst>
                  <a:ext uri="{FF2B5EF4-FFF2-40B4-BE49-F238E27FC236}">
                    <a16:creationId xmlns:a16="http://schemas.microsoft.com/office/drawing/2014/main" id="{2FC67993-5242-6E45-99D5-3F1958A1D4FA}"/>
                  </a:ext>
                </a:extLst>
              </p:cNvPr>
              <p:cNvSpPr txBox="1"/>
              <p:nvPr/>
            </p:nvSpPr>
            <p:spPr>
              <a:xfrm>
                <a:off x="7097183" y="3991589"/>
                <a:ext cx="719666" cy="745639"/>
              </a:xfrm>
              <a:prstGeom prst="rect">
                <a:avLst/>
              </a:prstGeom>
              <a:noFill/>
              <a:effectLst>
                <a:outerShdw blurRad="50800" dist="38100" dir="2700000" algn="tl" rotWithShape="0">
                  <a:prstClr val="black">
                    <a:alpha val="40000"/>
                  </a:prstClr>
                </a:outerShdw>
              </a:effectLst>
            </p:spPr>
            <p:txBody>
              <a:bodyPr wrap="square" rtlCol="0">
                <a:spAutoFit/>
              </a:bodyPr>
              <a:lstStyle/>
              <a:p>
                <a:pPr algn="ctr" defTabSz="685595">
                  <a:buClr>
                    <a:srgbClr val="000000"/>
                  </a:buClr>
                  <a:defRPr/>
                </a:pPr>
                <a:r>
                  <a:rPr lang="en-US" sz="3200" b="1" kern="0">
                    <a:solidFill>
                      <a:srgbClr val="FFFFFF"/>
                    </a:solidFill>
                    <a:latin typeface="Helvetica"/>
                    <a:cs typeface="Helvetica"/>
                    <a:sym typeface="Arial"/>
                  </a:rPr>
                  <a:t>B</a:t>
                </a:r>
              </a:p>
            </p:txBody>
          </p:sp>
          <p:sp>
            <p:nvSpPr>
              <p:cNvPr id="19" name="TextBox 18">
                <a:extLst>
                  <a:ext uri="{FF2B5EF4-FFF2-40B4-BE49-F238E27FC236}">
                    <a16:creationId xmlns:a16="http://schemas.microsoft.com/office/drawing/2014/main" id="{390C89D8-57BA-0991-C796-F7F631081B51}"/>
                  </a:ext>
                </a:extLst>
              </p:cNvPr>
              <p:cNvSpPr txBox="1"/>
              <p:nvPr/>
            </p:nvSpPr>
            <p:spPr>
              <a:xfrm>
                <a:off x="7099323" y="5195975"/>
                <a:ext cx="719666" cy="745639"/>
              </a:xfrm>
              <a:prstGeom prst="rect">
                <a:avLst/>
              </a:prstGeom>
              <a:noFill/>
              <a:effectLst>
                <a:outerShdw blurRad="50800" dist="38100" dir="2700000" algn="tl" rotWithShape="0">
                  <a:prstClr val="black">
                    <a:alpha val="40000"/>
                  </a:prstClr>
                </a:outerShdw>
              </a:effectLst>
            </p:spPr>
            <p:txBody>
              <a:bodyPr wrap="square" rtlCol="0">
                <a:spAutoFit/>
              </a:bodyPr>
              <a:lstStyle/>
              <a:p>
                <a:pPr algn="ctr" defTabSz="685595">
                  <a:buClr>
                    <a:srgbClr val="000000"/>
                  </a:buClr>
                  <a:defRPr/>
                </a:pPr>
                <a:r>
                  <a:rPr lang="en-US" sz="3200" b="1" kern="0">
                    <a:solidFill>
                      <a:srgbClr val="FFFFFF"/>
                    </a:solidFill>
                    <a:latin typeface="Helvetica"/>
                    <a:cs typeface="Helvetica"/>
                    <a:sym typeface="Arial"/>
                  </a:rPr>
                  <a:t>B</a:t>
                </a:r>
              </a:p>
            </p:txBody>
          </p:sp>
          <p:sp>
            <p:nvSpPr>
              <p:cNvPr id="20" name="TextBox 19">
                <a:extLst>
                  <a:ext uri="{FF2B5EF4-FFF2-40B4-BE49-F238E27FC236}">
                    <a16:creationId xmlns:a16="http://schemas.microsoft.com/office/drawing/2014/main" id="{03747A63-9258-B5B4-CDF8-6CEB779776F7}"/>
                  </a:ext>
                </a:extLst>
              </p:cNvPr>
              <p:cNvSpPr txBox="1"/>
              <p:nvPr/>
            </p:nvSpPr>
            <p:spPr>
              <a:xfrm>
                <a:off x="5870223" y="4973723"/>
                <a:ext cx="719666" cy="745639"/>
              </a:xfrm>
              <a:prstGeom prst="rect">
                <a:avLst/>
              </a:prstGeom>
              <a:noFill/>
              <a:effectLst>
                <a:outerShdw blurRad="50800" dist="38100" dir="2700000" algn="tl" rotWithShape="0">
                  <a:prstClr val="black">
                    <a:alpha val="40000"/>
                  </a:prstClr>
                </a:outerShdw>
              </a:effectLst>
            </p:spPr>
            <p:txBody>
              <a:bodyPr wrap="square" rtlCol="0">
                <a:spAutoFit/>
              </a:bodyPr>
              <a:lstStyle/>
              <a:p>
                <a:pPr algn="ctr" defTabSz="685595">
                  <a:buClr>
                    <a:srgbClr val="000000"/>
                  </a:buClr>
                  <a:defRPr/>
                </a:pPr>
                <a:r>
                  <a:rPr lang="en-US" sz="3200" b="1" kern="0">
                    <a:solidFill>
                      <a:srgbClr val="FFFFFF"/>
                    </a:solidFill>
                    <a:latin typeface="Helvetica"/>
                    <a:cs typeface="Helvetica"/>
                    <a:sym typeface="Arial"/>
                  </a:rPr>
                  <a:t>T</a:t>
                </a:r>
              </a:p>
            </p:txBody>
          </p:sp>
          <p:sp>
            <p:nvSpPr>
              <p:cNvPr id="21" name="TextBox 20">
                <a:extLst>
                  <a:ext uri="{FF2B5EF4-FFF2-40B4-BE49-F238E27FC236}">
                    <a16:creationId xmlns:a16="http://schemas.microsoft.com/office/drawing/2014/main" id="{563A4045-6498-2287-B9A5-28FBFCE5C4DC}"/>
                  </a:ext>
                </a:extLst>
              </p:cNvPr>
              <p:cNvSpPr txBox="1"/>
              <p:nvPr/>
            </p:nvSpPr>
            <p:spPr>
              <a:xfrm>
                <a:off x="6927198" y="5722850"/>
                <a:ext cx="1063914" cy="27471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defTabSz="685595">
                  <a:buClr>
                    <a:srgbClr val="000000"/>
                  </a:buClr>
                  <a:defRPr/>
                </a:pPr>
                <a:r>
                  <a:rPr lang="en-US" sz="800" b="1" kern="0">
                    <a:solidFill>
                      <a:srgbClr val="FFFFFF"/>
                    </a:solidFill>
                    <a:latin typeface="Helvetica"/>
                    <a:cs typeface="Helvetica"/>
                    <a:sym typeface="Arial"/>
                  </a:rPr>
                  <a:t>MEMORY</a:t>
                </a:r>
              </a:p>
            </p:txBody>
          </p:sp>
        </p:grpSp>
      </p:grpSp>
      <p:grpSp>
        <p:nvGrpSpPr>
          <p:cNvPr id="22" name="Group 21">
            <a:extLst>
              <a:ext uri="{FF2B5EF4-FFF2-40B4-BE49-F238E27FC236}">
                <a16:creationId xmlns:a16="http://schemas.microsoft.com/office/drawing/2014/main" id="{8E4EC8C9-AEE3-0B27-1839-2F28800AFB71}"/>
              </a:ext>
            </a:extLst>
          </p:cNvPr>
          <p:cNvGrpSpPr/>
          <p:nvPr/>
        </p:nvGrpSpPr>
        <p:grpSpPr>
          <a:xfrm>
            <a:off x="1618004" y="2435553"/>
            <a:ext cx="3937548" cy="2703054"/>
            <a:chOff x="574268" y="2871339"/>
            <a:chExt cx="4833550" cy="2851508"/>
          </a:xfrm>
        </p:grpSpPr>
        <p:pic>
          <p:nvPicPr>
            <p:cNvPr id="23" name="Picture 22" descr="protein-1.png">
              <a:extLst>
                <a:ext uri="{FF2B5EF4-FFF2-40B4-BE49-F238E27FC236}">
                  <a16:creationId xmlns:a16="http://schemas.microsoft.com/office/drawing/2014/main" id="{A921672E-8739-5967-B955-482043AF233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1286" y="2871339"/>
              <a:ext cx="4076701" cy="515630"/>
            </a:xfrm>
            <a:prstGeom prst="rect">
              <a:avLst/>
            </a:prstGeom>
          </p:spPr>
        </p:pic>
        <p:sp>
          <p:nvSpPr>
            <p:cNvPr id="24" name="TextBox 23">
              <a:extLst>
                <a:ext uri="{FF2B5EF4-FFF2-40B4-BE49-F238E27FC236}">
                  <a16:creationId xmlns:a16="http://schemas.microsoft.com/office/drawing/2014/main" id="{D0330EDD-AFEA-E61A-4F28-CDE96D81820B}"/>
                </a:ext>
              </a:extLst>
            </p:cNvPr>
            <p:cNvSpPr txBox="1"/>
            <p:nvPr/>
          </p:nvSpPr>
          <p:spPr>
            <a:xfrm>
              <a:off x="1365586" y="3450713"/>
              <a:ext cx="2731105" cy="227276"/>
            </a:xfrm>
            <a:prstGeom prst="rect">
              <a:avLst/>
            </a:prstGeom>
            <a:noFill/>
          </p:spPr>
          <p:txBody>
            <a:bodyPr wrap="square" rtlCol="0">
              <a:spAutoFit/>
            </a:bodyPr>
            <a:lstStyle/>
            <a:p>
              <a:pPr algn="ctr" defTabSz="685595">
                <a:lnSpc>
                  <a:spcPct val="80000"/>
                </a:lnSpc>
                <a:buClr>
                  <a:srgbClr val="000000"/>
                </a:buClr>
                <a:defRPr/>
              </a:pPr>
              <a:r>
                <a:rPr lang="en-US" sz="1000" b="1" kern="0">
                  <a:latin typeface="Arial" panose="020B0604020202020204" pitchFamily="34" charset="0"/>
                  <a:cs typeface="Arial"/>
                  <a:sym typeface="Arial"/>
                </a:rPr>
                <a:t>Pol</a:t>
              </a:r>
              <a:r>
                <a:rPr lang="tr-TR" sz="1000" b="1" kern="0" err="1">
                  <a:latin typeface="Arial" panose="020B0604020202020204" pitchFamily="34" charset="0"/>
                  <a:cs typeface="Arial"/>
                  <a:sym typeface="Arial"/>
                </a:rPr>
                <a:t>isakkarid</a:t>
              </a:r>
              <a:r>
                <a:rPr lang="tr-TR" sz="1000" b="1" kern="0">
                  <a:latin typeface="Arial" panose="020B0604020202020204" pitchFamily="34" charset="0"/>
                  <a:cs typeface="Arial"/>
                  <a:sym typeface="Arial"/>
                </a:rPr>
                <a:t> antijenler</a:t>
              </a:r>
              <a:endParaRPr lang="en-US" sz="1000" b="1" kern="0">
                <a:latin typeface="Arial" panose="020B0604020202020204" pitchFamily="34" charset="0"/>
                <a:cs typeface="Arial"/>
                <a:sym typeface="Arial"/>
              </a:endParaRPr>
            </a:p>
          </p:txBody>
        </p:sp>
        <p:sp>
          <p:nvSpPr>
            <p:cNvPr id="25" name="TextBox 24">
              <a:extLst>
                <a:ext uri="{FF2B5EF4-FFF2-40B4-BE49-F238E27FC236}">
                  <a16:creationId xmlns:a16="http://schemas.microsoft.com/office/drawing/2014/main" id="{2D22F00C-1475-6256-C333-A872C80FCDA4}"/>
                </a:ext>
              </a:extLst>
            </p:cNvPr>
            <p:cNvSpPr txBox="1"/>
            <p:nvPr/>
          </p:nvSpPr>
          <p:spPr>
            <a:xfrm>
              <a:off x="2418028" y="3997202"/>
              <a:ext cx="2989790" cy="1319824"/>
            </a:xfrm>
            <a:prstGeom prst="rect">
              <a:avLst/>
            </a:prstGeom>
            <a:noFill/>
          </p:spPr>
          <p:txBody>
            <a:bodyPr wrap="square" rtlCol="0">
              <a:spAutoFit/>
            </a:bodyPr>
            <a:lstStyle/>
            <a:p>
              <a:pPr marL="128549" indent="-128549" defTabSz="685595">
                <a:lnSpc>
                  <a:spcPct val="80000"/>
                </a:lnSpc>
                <a:spcAft>
                  <a:spcPts val="900"/>
                </a:spcAft>
                <a:buClr>
                  <a:srgbClr val="000000">
                    <a:lumMod val="65000"/>
                    <a:lumOff val="35000"/>
                  </a:srgbClr>
                </a:buClr>
                <a:buFont typeface="Wingdings" charset="2"/>
                <a:buChar char="§"/>
                <a:defRPr/>
              </a:pPr>
              <a:r>
                <a:rPr lang="en-US" sz="1100" b="1" kern="0">
                  <a:solidFill>
                    <a:srgbClr val="000000">
                      <a:lumMod val="65000"/>
                      <a:lumOff val="35000"/>
                    </a:srgbClr>
                  </a:solidFill>
                  <a:latin typeface="Arial" panose="020B0604020202020204" pitchFamily="34" charset="0"/>
                  <a:cs typeface="Arial"/>
                  <a:sym typeface="Arial"/>
                </a:rPr>
                <a:t>B-</a:t>
              </a:r>
              <a:r>
                <a:rPr lang="tr-TR" sz="1100" b="1" kern="0">
                  <a:solidFill>
                    <a:srgbClr val="000000">
                      <a:lumMod val="65000"/>
                      <a:lumOff val="35000"/>
                    </a:srgbClr>
                  </a:solidFill>
                  <a:latin typeface="Arial" panose="020B0604020202020204" pitchFamily="34" charset="0"/>
                  <a:cs typeface="Arial"/>
                  <a:sym typeface="Arial"/>
                </a:rPr>
                <a:t>hücre aktivasyonu ve antikor üretimi</a:t>
              </a:r>
              <a:endParaRPr lang="en-US" sz="1100" b="1" kern="0">
                <a:solidFill>
                  <a:srgbClr val="000000">
                    <a:lumMod val="65000"/>
                    <a:lumOff val="35000"/>
                  </a:srgbClr>
                </a:solidFill>
                <a:latin typeface="Arial" panose="020B0604020202020204" pitchFamily="34" charset="0"/>
                <a:cs typeface="Arial"/>
                <a:sym typeface="Arial"/>
              </a:endParaRPr>
            </a:p>
            <a:p>
              <a:pPr marL="128549" indent="-128549" defTabSz="685595">
                <a:lnSpc>
                  <a:spcPct val="80000"/>
                </a:lnSpc>
                <a:spcAft>
                  <a:spcPts val="900"/>
                </a:spcAft>
                <a:buClr>
                  <a:srgbClr val="000000">
                    <a:lumMod val="65000"/>
                    <a:lumOff val="35000"/>
                  </a:srgbClr>
                </a:buClr>
                <a:buFont typeface="Wingdings" charset="2"/>
                <a:buChar char="§"/>
                <a:defRPr/>
              </a:pPr>
              <a:r>
                <a:rPr lang="en-US" sz="1100" b="1" kern="0">
                  <a:solidFill>
                    <a:srgbClr val="000000">
                      <a:lumMod val="65000"/>
                      <a:lumOff val="35000"/>
                    </a:srgbClr>
                  </a:solidFill>
                  <a:latin typeface="Arial" panose="020B0604020202020204" pitchFamily="34" charset="0"/>
                  <a:cs typeface="Arial"/>
                  <a:sym typeface="Arial"/>
                </a:rPr>
                <a:t>T-</a:t>
              </a:r>
              <a:r>
                <a:rPr lang="tr-TR" sz="1100" b="1" kern="0">
                  <a:solidFill>
                    <a:srgbClr val="000000">
                      <a:lumMod val="65000"/>
                      <a:lumOff val="35000"/>
                    </a:srgbClr>
                  </a:solidFill>
                  <a:latin typeface="Arial" panose="020B0604020202020204" pitchFamily="34" charset="0"/>
                  <a:cs typeface="Arial"/>
                  <a:sym typeface="Arial"/>
                </a:rPr>
                <a:t>hücre bağımsız</a:t>
              </a:r>
              <a:br>
                <a:rPr lang="en-US" sz="1100" b="1" kern="0">
                  <a:solidFill>
                    <a:srgbClr val="000000">
                      <a:lumMod val="65000"/>
                      <a:lumOff val="35000"/>
                    </a:srgbClr>
                  </a:solidFill>
                  <a:latin typeface="Arial" panose="020B0604020202020204" pitchFamily="34" charset="0"/>
                  <a:cs typeface="Arial"/>
                  <a:sym typeface="Arial"/>
                </a:rPr>
              </a:br>
              <a:r>
                <a:rPr lang="tr-TR" sz="1100" b="1" kern="0">
                  <a:solidFill>
                    <a:srgbClr val="000000">
                      <a:lumMod val="65000"/>
                      <a:lumOff val="35000"/>
                    </a:srgbClr>
                  </a:solidFill>
                  <a:latin typeface="Arial" panose="020B0604020202020204" pitchFamily="34" charset="0"/>
                  <a:cs typeface="Arial"/>
                  <a:sym typeface="Arial"/>
                </a:rPr>
                <a:t>immün yanıt, </a:t>
              </a:r>
              <a:r>
                <a:rPr lang="tr-TR" sz="1100" b="1" kern="0" err="1">
                  <a:solidFill>
                    <a:srgbClr val="000000">
                      <a:lumMod val="65000"/>
                      <a:lumOff val="35000"/>
                    </a:srgbClr>
                  </a:solidFill>
                  <a:latin typeface="Arial" panose="020B0604020202020204" pitchFamily="34" charset="0"/>
                  <a:cs typeface="Arial"/>
                  <a:sym typeface="Arial"/>
                </a:rPr>
                <a:t>boost</a:t>
              </a:r>
              <a:r>
                <a:rPr lang="tr-TR" sz="1100" b="1" kern="0">
                  <a:solidFill>
                    <a:srgbClr val="000000">
                      <a:lumMod val="65000"/>
                      <a:lumOff val="35000"/>
                    </a:srgbClr>
                  </a:solidFill>
                  <a:latin typeface="Arial" panose="020B0604020202020204" pitchFamily="34" charset="0"/>
                  <a:cs typeface="Arial"/>
                  <a:sym typeface="Arial"/>
                </a:rPr>
                <a:t> edilemeyen</a:t>
              </a:r>
              <a:endParaRPr lang="en-US" sz="1100" b="1" kern="0">
                <a:solidFill>
                  <a:srgbClr val="000000">
                    <a:lumMod val="65000"/>
                    <a:lumOff val="35000"/>
                  </a:srgbClr>
                </a:solidFill>
                <a:latin typeface="Arial" panose="020B0604020202020204" pitchFamily="34" charset="0"/>
                <a:cs typeface="Arial"/>
                <a:sym typeface="Arial"/>
              </a:endParaRPr>
            </a:p>
            <a:p>
              <a:pPr marL="128549" indent="-128549" defTabSz="685595">
                <a:lnSpc>
                  <a:spcPct val="80000"/>
                </a:lnSpc>
                <a:spcAft>
                  <a:spcPts val="900"/>
                </a:spcAft>
                <a:buClr>
                  <a:srgbClr val="000000">
                    <a:lumMod val="65000"/>
                    <a:lumOff val="35000"/>
                  </a:srgbClr>
                </a:buClr>
                <a:buFont typeface="Wingdings" charset="2"/>
                <a:buChar char="§"/>
                <a:defRPr/>
              </a:pPr>
              <a:r>
                <a:rPr lang="tr-TR" sz="1100" b="1" kern="0">
                  <a:solidFill>
                    <a:srgbClr val="000000">
                      <a:lumMod val="65000"/>
                      <a:lumOff val="35000"/>
                    </a:srgbClr>
                  </a:solidFill>
                  <a:latin typeface="Arial" panose="020B0604020202020204" pitchFamily="34" charset="0"/>
                  <a:cs typeface="Arial"/>
                  <a:sym typeface="Arial"/>
                </a:rPr>
                <a:t>Hafıza </a:t>
              </a:r>
              <a:r>
                <a:rPr lang="en-US" sz="1100" b="1" kern="0">
                  <a:solidFill>
                    <a:srgbClr val="000000">
                      <a:lumMod val="65000"/>
                      <a:lumOff val="35000"/>
                    </a:srgbClr>
                  </a:solidFill>
                  <a:latin typeface="Arial" panose="020B0604020202020204" pitchFamily="34" charset="0"/>
                  <a:cs typeface="Arial"/>
                  <a:sym typeface="Arial"/>
                </a:rPr>
                <a:t>B </a:t>
              </a:r>
              <a:r>
                <a:rPr lang="tr-TR" sz="1100" b="1" kern="0">
                  <a:solidFill>
                    <a:srgbClr val="000000">
                      <a:lumMod val="65000"/>
                      <a:lumOff val="35000"/>
                    </a:srgbClr>
                  </a:solidFill>
                  <a:latin typeface="Arial" panose="020B0604020202020204" pitchFamily="34" charset="0"/>
                  <a:cs typeface="Arial"/>
                  <a:sym typeface="Arial"/>
                </a:rPr>
                <a:t>hücreleri tükenebilir</a:t>
              </a:r>
              <a:r>
                <a:rPr lang="en-US" sz="1100" b="1" kern="0" baseline="30000">
                  <a:solidFill>
                    <a:srgbClr val="000000">
                      <a:lumMod val="65000"/>
                      <a:lumOff val="35000"/>
                    </a:srgbClr>
                  </a:solidFill>
                  <a:latin typeface="Arial" panose="020B0604020202020204" pitchFamily="34" charset="0"/>
                  <a:cs typeface="Arial"/>
                  <a:sym typeface="Arial"/>
                </a:rPr>
                <a:t>4</a:t>
              </a:r>
            </a:p>
            <a:p>
              <a:pPr marL="128549" indent="-128549" defTabSz="685595">
                <a:lnSpc>
                  <a:spcPct val="80000"/>
                </a:lnSpc>
                <a:spcAft>
                  <a:spcPts val="900"/>
                </a:spcAft>
                <a:buClr>
                  <a:srgbClr val="000000">
                    <a:lumMod val="65000"/>
                    <a:lumOff val="35000"/>
                  </a:srgbClr>
                </a:buClr>
                <a:buFont typeface="Wingdings" charset="2"/>
                <a:buChar char="§"/>
                <a:defRPr/>
              </a:pPr>
              <a:r>
                <a:rPr lang="tr-TR" sz="1100" b="1" kern="0">
                  <a:solidFill>
                    <a:srgbClr val="000000">
                      <a:lumMod val="65000"/>
                      <a:lumOff val="35000"/>
                    </a:srgbClr>
                  </a:solidFill>
                  <a:latin typeface="Arial" panose="020B0604020202020204" pitchFamily="34" charset="0"/>
                  <a:cs typeface="Arial"/>
                  <a:sym typeface="Arial"/>
                </a:rPr>
                <a:t>Mukozal yanıt oluşmaz</a:t>
              </a:r>
              <a:r>
                <a:rPr lang="en-US" sz="1100" b="1" kern="0" baseline="30000">
                  <a:solidFill>
                    <a:srgbClr val="000000">
                      <a:lumMod val="65000"/>
                      <a:lumOff val="35000"/>
                    </a:srgbClr>
                  </a:solidFill>
                  <a:latin typeface="Arial" panose="020B0604020202020204" pitchFamily="34" charset="0"/>
                  <a:cs typeface="Arial"/>
                  <a:sym typeface="Arial"/>
                </a:rPr>
                <a:t>5</a:t>
              </a:r>
            </a:p>
          </p:txBody>
        </p:sp>
        <p:grpSp>
          <p:nvGrpSpPr>
            <p:cNvPr id="26" name="Group 25">
              <a:extLst>
                <a:ext uri="{FF2B5EF4-FFF2-40B4-BE49-F238E27FC236}">
                  <a16:creationId xmlns:a16="http://schemas.microsoft.com/office/drawing/2014/main" id="{C8E3E229-927F-3D89-2ECA-2CB87AFC194E}"/>
                </a:ext>
              </a:extLst>
            </p:cNvPr>
            <p:cNvGrpSpPr/>
            <p:nvPr/>
          </p:nvGrpSpPr>
          <p:grpSpPr>
            <a:xfrm>
              <a:off x="574268" y="3995088"/>
              <a:ext cx="1785844" cy="1095160"/>
              <a:chOff x="548135" y="4346440"/>
              <a:chExt cx="2011251" cy="1233390"/>
            </a:xfrm>
          </p:grpSpPr>
          <p:pic>
            <p:nvPicPr>
              <p:cNvPr id="30" name="Picture 29">
                <a:extLst>
                  <a:ext uri="{FF2B5EF4-FFF2-40B4-BE49-F238E27FC236}">
                    <a16:creationId xmlns:a16="http://schemas.microsoft.com/office/drawing/2014/main" id="{ED28F312-215F-9C5F-B95F-4E0B936B02D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8135" y="4346440"/>
                <a:ext cx="2011251" cy="1233390"/>
              </a:xfrm>
              <a:prstGeom prst="rect">
                <a:avLst/>
              </a:prstGeom>
            </p:spPr>
          </p:pic>
          <p:sp>
            <p:nvSpPr>
              <p:cNvPr id="31" name="TextBox 30">
                <a:extLst>
                  <a:ext uri="{FF2B5EF4-FFF2-40B4-BE49-F238E27FC236}">
                    <a16:creationId xmlns:a16="http://schemas.microsoft.com/office/drawing/2014/main" id="{20BC1E24-897C-8C8F-CEF4-4354F832425C}"/>
                  </a:ext>
                </a:extLst>
              </p:cNvPr>
              <p:cNvSpPr txBox="1"/>
              <p:nvPr/>
            </p:nvSpPr>
            <p:spPr>
              <a:xfrm>
                <a:off x="719666" y="4512996"/>
                <a:ext cx="719666" cy="694755"/>
              </a:xfrm>
              <a:prstGeom prst="rect">
                <a:avLst/>
              </a:prstGeom>
              <a:noFill/>
            </p:spPr>
            <p:txBody>
              <a:bodyPr wrap="square" rtlCol="0">
                <a:spAutoFit/>
              </a:bodyPr>
              <a:lstStyle/>
              <a:p>
                <a:pPr algn="ctr" defTabSz="685595">
                  <a:buClr>
                    <a:srgbClr val="000000"/>
                  </a:buClr>
                  <a:defRPr/>
                </a:pPr>
                <a:r>
                  <a:rPr lang="en-US" sz="3200" b="1" kern="0">
                    <a:solidFill>
                      <a:srgbClr val="FFFFFF"/>
                    </a:solidFill>
                    <a:effectLst>
                      <a:outerShdw blurRad="50800" dist="38100" dir="2700000" algn="tl" rotWithShape="0">
                        <a:prstClr val="black">
                          <a:alpha val="40000"/>
                        </a:prstClr>
                      </a:outerShdw>
                    </a:effectLst>
                    <a:latin typeface="Helvetica"/>
                    <a:cs typeface="Helvetica"/>
                    <a:sym typeface="Arial"/>
                  </a:rPr>
                  <a:t>B</a:t>
                </a:r>
              </a:p>
            </p:txBody>
          </p:sp>
        </p:grpSp>
        <p:pic>
          <p:nvPicPr>
            <p:cNvPr id="27" name="Picture 26">
              <a:extLst>
                <a:ext uri="{FF2B5EF4-FFF2-40B4-BE49-F238E27FC236}">
                  <a16:creationId xmlns:a16="http://schemas.microsoft.com/office/drawing/2014/main" id="{29CF90B0-2340-4E1B-A744-0DCA9CBB8A7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02210" y="5105840"/>
              <a:ext cx="617007" cy="617007"/>
            </a:xfrm>
            <a:prstGeom prst="rect">
              <a:avLst/>
            </a:prstGeom>
          </p:spPr>
        </p:pic>
        <p:sp>
          <p:nvSpPr>
            <p:cNvPr id="28" name="TextBox 27">
              <a:extLst>
                <a:ext uri="{FF2B5EF4-FFF2-40B4-BE49-F238E27FC236}">
                  <a16:creationId xmlns:a16="http://schemas.microsoft.com/office/drawing/2014/main" id="{2A62F29D-E2B3-255D-4D53-2480B0EBC37A}"/>
                </a:ext>
              </a:extLst>
            </p:cNvPr>
            <p:cNvSpPr txBox="1"/>
            <p:nvPr/>
          </p:nvSpPr>
          <p:spPr>
            <a:xfrm>
              <a:off x="1091208" y="5076436"/>
              <a:ext cx="639010" cy="48702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defTabSz="685595">
                <a:buClr>
                  <a:srgbClr val="000000"/>
                </a:buClr>
                <a:defRPr/>
              </a:pPr>
              <a:r>
                <a:rPr lang="en-US" sz="2400" b="1" kern="0">
                  <a:solidFill>
                    <a:srgbClr val="000000">
                      <a:alpha val="30000"/>
                    </a:srgbClr>
                  </a:solidFill>
                  <a:latin typeface="Helvetica"/>
                  <a:cs typeface="Helvetica"/>
                  <a:sym typeface="Arial"/>
                </a:rPr>
                <a:t>B</a:t>
              </a:r>
            </a:p>
          </p:txBody>
        </p:sp>
        <p:sp>
          <p:nvSpPr>
            <p:cNvPr id="29" name="TextBox 28">
              <a:extLst>
                <a:ext uri="{FF2B5EF4-FFF2-40B4-BE49-F238E27FC236}">
                  <a16:creationId xmlns:a16="http://schemas.microsoft.com/office/drawing/2014/main" id="{D8CBF233-2BB0-52C9-F1AB-14E0916CC429}"/>
                </a:ext>
              </a:extLst>
            </p:cNvPr>
            <p:cNvSpPr txBox="1"/>
            <p:nvPr/>
          </p:nvSpPr>
          <p:spPr>
            <a:xfrm>
              <a:off x="938374" y="5408943"/>
              <a:ext cx="944678" cy="211042"/>
            </a:xfrm>
            <a:prstGeom prst="rect">
              <a:avLst/>
            </a:prstGeom>
            <a:noFill/>
            <a:effectLst>
              <a:outerShdw blurRad="50800" dist="38100" dir="2700000" algn="tl" rotWithShape="0">
                <a:prstClr val="black">
                  <a:alpha val="40000"/>
                </a:prstClr>
              </a:outerShdw>
            </a:effectLst>
          </p:spPr>
          <p:txBody>
            <a:bodyPr wrap="square" rtlCol="0">
              <a:spAutoFit/>
            </a:bodyPr>
            <a:lstStyle/>
            <a:p>
              <a:pPr algn="ctr" defTabSz="685595">
                <a:buClr>
                  <a:srgbClr val="000000"/>
                </a:buClr>
                <a:defRPr/>
              </a:pPr>
              <a:r>
                <a:rPr lang="en-US" sz="700" b="1" kern="0">
                  <a:solidFill>
                    <a:srgbClr val="000000">
                      <a:alpha val="30000"/>
                    </a:srgbClr>
                  </a:solidFill>
                  <a:latin typeface="Helvetica"/>
                  <a:cs typeface="Helvetica"/>
                  <a:sym typeface="Arial"/>
                </a:rPr>
                <a:t>MEMORY</a:t>
              </a:r>
            </a:p>
          </p:txBody>
        </p:sp>
      </p:grpSp>
      <p:pic>
        <p:nvPicPr>
          <p:cNvPr id="4" name="Picture 3" descr="A yellow and blue logo&#10;&#10;Description automatically generated">
            <a:extLst>
              <a:ext uri="{FF2B5EF4-FFF2-40B4-BE49-F238E27FC236}">
                <a16:creationId xmlns:a16="http://schemas.microsoft.com/office/drawing/2014/main" id="{228B0D2E-950D-E7A1-5626-BF37975FAB76}"/>
              </a:ext>
            </a:extLst>
          </p:cNvPr>
          <p:cNvPicPr>
            <a:picLocks noChangeAspect="1"/>
          </p:cNvPicPr>
          <p:nvPr/>
        </p:nvPicPr>
        <p:blipFill>
          <a:blip r:embed="rId8">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172243345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B55E85D-C8D0-6C0A-E003-EA5F13B7B1B9}"/>
              </a:ext>
            </a:extLst>
          </p:cNvPr>
          <p:cNvSpPr/>
          <p:nvPr/>
        </p:nvSpPr>
        <p:spPr>
          <a:xfrm>
            <a:off x="613152" y="4381500"/>
            <a:ext cx="8521323" cy="695325"/>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2" name="Title 1"/>
          <p:cNvSpPr>
            <a:spLocks noGrp="1"/>
          </p:cNvSpPr>
          <p:nvPr>
            <p:ph type="title"/>
          </p:nvPr>
        </p:nvSpPr>
        <p:spPr/>
        <p:txBody>
          <a:bodyPr/>
          <a:lstStyle/>
          <a:p>
            <a:r>
              <a:rPr lang="tr-TR"/>
              <a:t>Pfizer Prevenar 20 (PCV20)</a:t>
            </a:r>
          </a:p>
        </p:txBody>
      </p:sp>
      <p:sp>
        <p:nvSpPr>
          <p:cNvPr id="3" name="Content Placeholder 2"/>
          <p:cNvSpPr>
            <a:spLocks noGrp="1"/>
          </p:cNvSpPr>
          <p:nvPr>
            <p:ph idx="4294967295"/>
          </p:nvPr>
        </p:nvSpPr>
        <p:spPr>
          <a:xfrm>
            <a:off x="613152" y="1344613"/>
            <a:ext cx="9902448" cy="4351337"/>
          </a:xfrm>
        </p:spPr>
        <p:txBody>
          <a:bodyPr vert="horz" lIns="91440" tIns="45720" rIns="91440" bIns="45720" rtlCol="0" anchor="ctr">
            <a:normAutofit/>
          </a:bodyPr>
          <a:lstStyle/>
          <a:p>
            <a:pPr>
              <a:lnSpc>
                <a:spcPct val="100000"/>
              </a:lnSpc>
              <a:spcBef>
                <a:spcPts val="1200"/>
              </a:spcBef>
              <a:spcAft>
                <a:spcPts val="1200"/>
              </a:spcAft>
            </a:pPr>
            <a:r>
              <a:rPr lang="tr-TR" sz="3200" dirty="0"/>
              <a:t>20 kapsüler polisakkarit içerir.</a:t>
            </a:r>
          </a:p>
          <a:p>
            <a:pPr>
              <a:lnSpc>
                <a:spcPct val="100000"/>
              </a:lnSpc>
              <a:spcBef>
                <a:spcPts val="1200"/>
              </a:spcBef>
              <a:spcAft>
                <a:spcPts val="1200"/>
              </a:spcAft>
            </a:pPr>
            <a:r>
              <a:rPr lang="tr-TR" sz="3200" dirty="0"/>
              <a:t>PCV13’e kıyasla 7 yeni serotip eklenmiştir.</a:t>
            </a:r>
          </a:p>
          <a:p>
            <a:pPr>
              <a:lnSpc>
                <a:spcPct val="100000"/>
              </a:lnSpc>
              <a:spcBef>
                <a:spcPts val="1200"/>
              </a:spcBef>
              <a:spcAft>
                <a:spcPts val="1200"/>
              </a:spcAft>
            </a:pPr>
            <a:r>
              <a:rPr lang="tr-TR" sz="3200" dirty="0"/>
              <a:t>Faz 3 çalışmalarda non-inferior immünojenisite.</a:t>
            </a:r>
          </a:p>
          <a:p>
            <a:pPr>
              <a:lnSpc>
                <a:spcPct val="100000"/>
              </a:lnSpc>
              <a:spcBef>
                <a:spcPts val="1200"/>
              </a:spcBef>
              <a:spcAft>
                <a:spcPts val="1200"/>
              </a:spcAft>
            </a:pPr>
            <a:r>
              <a:rPr lang="tr-TR" sz="3200" b="1" dirty="0"/>
              <a:t>Tek doz, yüksek kapsama.</a:t>
            </a:r>
          </a:p>
        </p:txBody>
      </p:sp>
      <p:sp>
        <p:nvSpPr>
          <p:cNvPr id="4" name="TextBox 3">
            <a:extLst>
              <a:ext uri="{FF2B5EF4-FFF2-40B4-BE49-F238E27FC236}">
                <a16:creationId xmlns:a16="http://schemas.microsoft.com/office/drawing/2014/main" id="{B63859B8-DE7F-059D-4F1F-629578F466FB}"/>
              </a:ext>
            </a:extLst>
          </p:cNvPr>
          <p:cNvSpPr txBox="1"/>
          <p:nvPr/>
        </p:nvSpPr>
        <p:spPr>
          <a:xfrm>
            <a:off x="613152" y="6002723"/>
            <a:ext cx="732282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a:t>Essink B et al., Vaccine 2021.​</a:t>
            </a:r>
          </a:p>
        </p:txBody>
      </p:sp>
      <p:pic>
        <p:nvPicPr>
          <p:cNvPr id="8" name="Picture 7" descr="A yellow and blue logo&#10;&#10;Description automatically generated">
            <a:extLst>
              <a:ext uri="{FF2B5EF4-FFF2-40B4-BE49-F238E27FC236}">
                <a16:creationId xmlns:a16="http://schemas.microsoft.com/office/drawing/2014/main" id="{85E7B3B3-BA5B-196D-563A-EC7EF70BEAF6}"/>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7016B-3115-2E92-4B28-71E1F9AD4D34}"/>
              </a:ext>
            </a:extLst>
          </p:cNvPr>
          <p:cNvSpPr>
            <a:spLocks noGrp="1"/>
          </p:cNvSpPr>
          <p:nvPr>
            <p:ph type="title"/>
          </p:nvPr>
        </p:nvSpPr>
        <p:spPr/>
        <p:txBody>
          <a:bodyPr>
            <a:noAutofit/>
          </a:bodyPr>
          <a:lstStyle/>
          <a:p>
            <a:r>
              <a:rPr lang="en-US" sz="2800" err="1"/>
              <a:t>Pnömokok</a:t>
            </a:r>
            <a:r>
              <a:rPr lang="en-US" sz="2800"/>
              <a:t> </a:t>
            </a:r>
            <a:r>
              <a:rPr lang="en-US" sz="2800" err="1"/>
              <a:t>aşıları</a:t>
            </a:r>
            <a:r>
              <a:rPr lang="en-US" sz="2800"/>
              <a:t> </a:t>
            </a:r>
            <a:r>
              <a:rPr lang="en-US" sz="2800" err="1"/>
              <a:t>tipik</a:t>
            </a:r>
            <a:r>
              <a:rPr lang="en-US" sz="2800"/>
              <a:t> </a:t>
            </a:r>
            <a:r>
              <a:rPr lang="en-US" sz="2800" err="1"/>
              <a:t>olarak</a:t>
            </a:r>
            <a:r>
              <a:rPr lang="en-US" sz="2800"/>
              <a:t> </a:t>
            </a:r>
            <a:r>
              <a:rPr lang="en-US" sz="2800" err="1"/>
              <a:t>mevcut</a:t>
            </a:r>
            <a:r>
              <a:rPr lang="en-US" sz="2800"/>
              <a:t> </a:t>
            </a:r>
            <a:r>
              <a:rPr lang="en-US" sz="2800" err="1"/>
              <a:t>olanlara</a:t>
            </a:r>
            <a:r>
              <a:rPr lang="en-US" sz="2800"/>
              <a:t> yeni </a:t>
            </a:r>
            <a:r>
              <a:rPr lang="en-US" sz="2800" err="1"/>
              <a:t>serotipler</a:t>
            </a:r>
            <a:r>
              <a:rPr lang="en-US" sz="2800"/>
              <a:t> </a:t>
            </a:r>
            <a:r>
              <a:rPr lang="en-US" sz="2800" err="1"/>
              <a:t>eklenerek</a:t>
            </a:r>
            <a:r>
              <a:rPr lang="en-US" sz="2800"/>
              <a:t> </a:t>
            </a:r>
            <a:r>
              <a:rPr lang="en-US" sz="2800" err="1"/>
              <a:t>evrimleşmiştir</a:t>
            </a:r>
            <a:endParaRPr lang="en-US" sz="2800" strike="sngStrike"/>
          </a:p>
        </p:txBody>
      </p:sp>
      <p:sp>
        <p:nvSpPr>
          <p:cNvPr id="36" name="Rectangle 35">
            <a:extLst>
              <a:ext uri="{FF2B5EF4-FFF2-40B4-BE49-F238E27FC236}">
                <a16:creationId xmlns:a16="http://schemas.microsoft.com/office/drawing/2014/main" id="{C242C30A-2220-EBFA-7E62-12749EAC406B}"/>
              </a:ext>
            </a:extLst>
          </p:cNvPr>
          <p:cNvSpPr/>
          <p:nvPr/>
        </p:nvSpPr>
        <p:spPr>
          <a:xfrm>
            <a:off x="1076704" y="2227324"/>
            <a:ext cx="3060178" cy="2710440"/>
          </a:xfrm>
          <a:prstGeom prst="rect">
            <a:avLst/>
          </a:prstGeom>
          <a:solidFill>
            <a:schemeClr val="bg2">
              <a:lumMod val="20000"/>
              <a:lumOff val="8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a:solidFill>
                <a:srgbClr val="FFFFFF"/>
              </a:solidFill>
              <a:latin typeface="Arial" panose="020B0604020202020204"/>
            </a:endParaRPr>
          </a:p>
        </p:txBody>
      </p:sp>
      <p:sp>
        <p:nvSpPr>
          <p:cNvPr id="37" name="Rectangle 36">
            <a:extLst>
              <a:ext uri="{FF2B5EF4-FFF2-40B4-BE49-F238E27FC236}">
                <a16:creationId xmlns:a16="http://schemas.microsoft.com/office/drawing/2014/main" id="{2CC89702-36C4-4E8F-2B85-9E9741A8FDE8}"/>
              </a:ext>
            </a:extLst>
          </p:cNvPr>
          <p:cNvSpPr/>
          <p:nvPr/>
        </p:nvSpPr>
        <p:spPr>
          <a:xfrm>
            <a:off x="4561216" y="2222945"/>
            <a:ext cx="3060178" cy="2715367"/>
          </a:xfrm>
          <a:prstGeom prst="rect">
            <a:avLst/>
          </a:prstGeom>
          <a:solidFill>
            <a:schemeClr val="bg2">
              <a:lumMod val="20000"/>
              <a:lumOff val="8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a:solidFill>
                <a:srgbClr val="FFFFFF"/>
              </a:solidFill>
              <a:latin typeface="Arial" panose="020B0604020202020204"/>
            </a:endParaRPr>
          </a:p>
        </p:txBody>
      </p:sp>
      <p:sp>
        <p:nvSpPr>
          <p:cNvPr id="38" name="Rectangle 37">
            <a:extLst>
              <a:ext uri="{FF2B5EF4-FFF2-40B4-BE49-F238E27FC236}">
                <a16:creationId xmlns:a16="http://schemas.microsoft.com/office/drawing/2014/main" id="{6B64B720-2881-AEF0-920C-81E04732BFA7}"/>
              </a:ext>
            </a:extLst>
          </p:cNvPr>
          <p:cNvSpPr/>
          <p:nvPr/>
        </p:nvSpPr>
        <p:spPr>
          <a:xfrm>
            <a:off x="7779198" y="2222945"/>
            <a:ext cx="3060178" cy="2715367"/>
          </a:xfrm>
          <a:prstGeom prst="rect">
            <a:avLst/>
          </a:prstGeom>
          <a:solidFill>
            <a:schemeClr val="bg2">
              <a:lumMod val="20000"/>
              <a:lumOff val="8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a:solidFill>
                <a:srgbClr val="FFFFFF"/>
              </a:solidFill>
              <a:latin typeface="Arial" panose="020B0604020202020204"/>
            </a:endParaRPr>
          </a:p>
        </p:txBody>
      </p:sp>
      <p:sp>
        <p:nvSpPr>
          <p:cNvPr id="5" name="Parallelogram 4">
            <a:extLst>
              <a:ext uri="{FF2B5EF4-FFF2-40B4-BE49-F238E27FC236}">
                <a16:creationId xmlns:a16="http://schemas.microsoft.com/office/drawing/2014/main" id="{E95C3A2E-830C-E650-38F9-118D215EAAFD}"/>
              </a:ext>
            </a:extLst>
          </p:cNvPr>
          <p:cNvSpPr/>
          <p:nvPr/>
        </p:nvSpPr>
        <p:spPr>
          <a:xfrm>
            <a:off x="1533432" y="2360333"/>
            <a:ext cx="1829202" cy="302826"/>
          </a:xfrm>
          <a:prstGeom prst="parallelogram">
            <a:avLst/>
          </a:prstGeom>
          <a:solidFill>
            <a:srgbClr val="CCEAFF"/>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353B3E">
                    <a:lumMod val="50000"/>
                  </a:srgbClr>
                </a:solidFill>
                <a:latin typeface="Arial" panose="020B0604020202020204"/>
              </a:rPr>
              <a:t>PPSA4</a:t>
            </a:r>
            <a:r>
              <a:rPr lang="en-US" sz="1400" baseline="30000">
                <a:solidFill>
                  <a:srgbClr val="353B3E">
                    <a:lumMod val="50000"/>
                  </a:srgbClr>
                </a:solidFill>
                <a:latin typeface="Arial" panose="020B0604020202020204"/>
              </a:rPr>
              <a:t>1</a:t>
            </a:r>
            <a:endParaRPr lang="en-US" sz="1400">
              <a:solidFill>
                <a:srgbClr val="353B3E">
                  <a:lumMod val="50000"/>
                </a:srgbClr>
              </a:solidFill>
              <a:latin typeface="Arial" panose="020B0604020202020204"/>
            </a:endParaRPr>
          </a:p>
        </p:txBody>
      </p:sp>
      <p:sp>
        <p:nvSpPr>
          <p:cNvPr id="6" name="Parallelogram 5">
            <a:extLst>
              <a:ext uri="{FF2B5EF4-FFF2-40B4-BE49-F238E27FC236}">
                <a16:creationId xmlns:a16="http://schemas.microsoft.com/office/drawing/2014/main" id="{DC4A1B4D-E606-4A50-E984-6063AC9DFE7F}"/>
              </a:ext>
            </a:extLst>
          </p:cNvPr>
          <p:cNvSpPr/>
          <p:nvPr/>
        </p:nvSpPr>
        <p:spPr>
          <a:xfrm>
            <a:off x="1533431" y="2921807"/>
            <a:ext cx="1829202" cy="302826"/>
          </a:xfrm>
          <a:prstGeom prst="parallelogram">
            <a:avLst/>
          </a:prstGeom>
          <a:solidFill>
            <a:srgbClr val="CCEAFF"/>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353B3E">
                    <a:lumMod val="50000"/>
                  </a:srgbClr>
                </a:solidFill>
                <a:latin typeface="Arial" panose="020B0604020202020204"/>
              </a:rPr>
              <a:t>PPSA14</a:t>
            </a:r>
            <a:r>
              <a:rPr lang="en-US" sz="1400" baseline="30000">
                <a:solidFill>
                  <a:srgbClr val="353B3E">
                    <a:lumMod val="50000"/>
                  </a:srgbClr>
                </a:solidFill>
                <a:latin typeface="Arial" panose="020B0604020202020204"/>
              </a:rPr>
              <a:t>1</a:t>
            </a:r>
            <a:endParaRPr lang="en-US" sz="1400">
              <a:solidFill>
                <a:srgbClr val="353B3E">
                  <a:lumMod val="50000"/>
                </a:srgbClr>
              </a:solidFill>
              <a:latin typeface="Arial" panose="020B0604020202020204"/>
            </a:endParaRPr>
          </a:p>
        </p:txBody>
      </p:sp>
      <p:sp>
        <p:nvSpPr>
          <p:cNvPr id="7" name="Parallelogram 6">
            <a:extLst>
              <a:ext uri="{FF2B5EF4-FFF2-40B4-BE49-F238E27FC236}">
                <a16:creationId xmlns:a16="http://schemas.microsoft.com/office/drawing/2014/main" id="{8C87D71E-119E-E9C6-4BDE-DCED92DD4B58}"/>
              </a:ext>
            </a:extLst>
          </p:cNvPr>
          <p:cNvSpPr/>
          <p:nvPr/>
        </p:nvSpPr>
        <p:spPr>
          <a:xfrm>
            <a:off x="1330992" y="3483282"/>
            <a:ext cx="2031642" cy="524506"/>
          </a:xfrm>
          <a:prstGeom prst="parallelogram">
            <a:avLst/>
          </a:prstGeom>
          <a:solidFill>
            <a:srgbClr val="CCEAFF"/>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353B3E">
                    <a:lumMod val="50000"/>
                  </a:srgbClr>
                </a:solidFill>
                <a:latin typeface="Arial" panose="020B0604020202020204"/>
              </a:rPr>
              <a:t>PPSA23</a:t>
            </a:r>
            <a:r>
              <a:rPr lang="en-US" sz="1400" baseline="30000">
                <a:solidFill>
                  <a:srgbClr val="353B3E">
                    <a:lumMod val="50000"/>
                  </a:srgbClr>
                </a:solidFill>
                <a:latin typeface="Arial" panose="020B0604020202020204"/>
              </a:rPr>
              <a:t>1</a:t>
            </a:r>
          </a:p>
          <a:p>
            <a:pPr algn="ctr" defTabSz="685800">
              <a:defRPr/>
            </a:pPr>
            <a:r>
              <a:rPr lang="en-US" sz="1400">
                <a:solidFill>
                  <a:srgbClr val="353B3E">
                    <a:lumMod val="50000"/>
                  </a:srgbClr>
                </a:solidFill>
                <a:latin typeface="Arial" panose="020B0604020202020204"/>
              </a:rPr>
              <a:t>2 y</a:t>
            </a:r>
            <a:r>
              <a:rPr lang="tr-TR" sz="1400">
                <a:solidFill>
                  <a:srgbClr val="353B3E">
                    <a:lumMod val="50000"/>
                  </a:srgbClr>
                </a:solidFill>
                <a:latin typeface="Arial" panose="020B0604020202020204"/>
              </a:rPr>
              <a:t>aş ve üzeri</a:t>
            </a:r>
            <a:endParaRPr lang="en-US" sz="1400">
              <a:solidFill>
                <a:srgbClr val="353B3E">
                  <a:lumMod val="50000"/>
                </a:srgbClr>
              </a:solidFill>
              <a:latin typeface="Arial" panose="020B0604020202020204"/>
            </a:endParaRPr>
          </a:p>
        </p:txBody>
      </p:sp>
      <p:sp>
        <p:nvSpPr>
          <p:cNvPr id="8" name="Parallelogram 7">
            <a:extLst>
              <a:ext uri="{FF2B5EF4-FFF2-40B4-BE49-F238E27FC236}">
                <a16:creationId xmlns:a16="http://schemas.microsoft.com/office/drawing/2014/main" id="{8CA6EA4A-885F-C985-B3BF-D849F2FFEBEB}"/>
              </a:ext>
            </a:extLst>
          </p:cNvPr>
          <p:cNvSpPr/>
          <p:nvPr/>
        </p:nvSpPr>
        <p:spPr>
          <a:xfrm>
            <a:off x="4788193" y="2310621"/>
            <a:ext cx="1832635" cy="302826"/>
          </a:xfrm>
          <a:prstGeom prst="parallelogram">
            <a:avLst/>
          </a:prstGeom>
          <a:solidFill>
            <a:schemeClr val="accent1"/>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FFFFFF"/>
                </a:solidFill>
                <a:latin typeface="Arial" panose="020B0604020202020204"/>
              </a:rPr>
              <a:t>KPA</a:t>
            </a:r>
            <a:r>
              <a:rPr lang="en-US" sz="1400" baseline="30000">
                <a:solidFill>
                  <a:srgbClr val="FFFFFF"/>
                </a:solidFill>
                <a:latin typeface="Arial" panose="020B0604020202020204"/>
              </a:rPr>
              <a:t>1</a:t>
            </a:r>
            <a:endParaRPr lang="en-US" sz="1400">
              <a:solidFill>
                <a:srgbClr val="FFFFFF"/>
              </a:solidFill>
              <a:latin typeface="Arial" panose="020B0604020202020204"/>
            </a:endParaRPr>
          </a:p>
        </p:txBody>
      </p:sp>
      <p:sp>
        <p:nvSpPr>
          <p:cNvPr id="9" name="Parallelogram 8">
            <a:extLst>
              <a:ext uri="{FF2B5EF4-FFF2-40B4-BE49-F238E27FC236}">
                <a16:creationId xmlns:a16="http://schemas.microsoft.com/office/drawing/2014/main" id="{97A9BDB8-B601-C937-5CF7-BA78E0A3D539}"/>
              </a:ext>
            </a:extLst>
          </p:cNvPr>
          <p:cNvSpPr/>
          <p:nvPr/>
        </p:nvSpPr>
        <p:spPr>
          <a:xfrm>
            <a:off x="4788193" y="2801957"/>
            <a:ext cx="1832635" cy="302826"/>
          </a:xfrm>
          <a:prstGeom prst="parallelogram">
            <a:avLst/>
          </a:prstGeom>
          <a:solidFill>
            <a:schemeClr val="accent1"/>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FFFFFF"/>
                </a:solidFill>
                <a:latin typeface="Arial" panose="020B0604020202020204"/>
              </a:rPr>
              <a:t>KPA 10</a:t>
            </a:r>
            <a:r>
              <a:rPr lang="en-US" sz="1400" baseline="30000">
                <a:solidFill>
                  <a:srgbClr val="FFFFFF"/>
                </a:solidFill>
                <a:latin typeface="Arial" panose="020B0604020202020204"/>
              </a:rPr>
              <a:t>2</a:t>
            </a:r>
            <a:endParaRPr lang="en-US" sz="1400">
              <a:solidFill>
                <a:srgbClr val="FFFFFF"/>
              </a:solidFill>
              <a:latin typeface="Arial" panose="020B0604020202020204"/>
            </a:endParaRPr>
          </a:p>
        </p:txBody>
      </p:sp>
      <p:sp>
        <p:nvSpPr>
          <p:cNvPr id="10" name="Parallelogram 9">
            <a:extLst>
              <a:ext uri="{FF2B5EF4-FFF2-40B4-BE49-F238E27FC236}">
                <a16:creationId xmlns:a16="http://schemas.microsoft.com/office/drawing/2014/main" id="{38330FF4-3777-773D-369D-ACD33C7DDB24}"/>
              </a:ext>
            </a:extLst>
          </p:cNvPr>
          <p:cNvSpPr/>
          <p:nvPr/>
        </p:nvSpPr>
        <p:spPr>
          <a:xfrm>
            <a:off x="4788193" y="3301085"/>
            <a:ext cx="1832635" cy="302826"/>
          </a:xfrm>
          <a:prstGeom prst="parallelogram">
            <a:avLst/>
          </a:prstGeom>
          <a:solidFill>
            <a:schemeClr val="accent1"/>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FFFFFF"/>
                </a:solidFill>
                <a:latin typeface="Arial" panose="020B0604020202020204"/>
              </a:rPr>
              <a:t>KPA 13</a:t>
            </a:r>
            <a:r>
              <a:rPr lang="en-US" sz="1400" baseline="30000">
                <a:solidFill>
                  <a:srgbClr val="FFFFFF"/>
                </a:solidFill>
                <a:latin typeface="Arial" panose="020B0604020202020204"/>
              </a:rPr>
              <a:t>1</a:t>
            </a:r>
            <a:endParaRPr lang="en-US" sz="1400">
              <a:solidFill>
                <a:srgbClr val="FFFFFF"/>
              </a:solidFill>
              <a:latin typeface="Arial" panose="020B0604020202020204"/>
            </a:endParaRPr>
          </a:p>
        </p:txBody>
      </p:sp>
      <p:sp>
        <p:nvSpPr>
          <p:cNvPr id="11" name="Parallelogram 10">
            <a:extLst>
              <a:ext uri="{FF2B5EF4-FFF2-40B4-BE49-F238E27FC236}">
                <a16:creationId xmlns:a16="http://schemas.microsoft.com/office/drawing/2014/main" id="{09335A65-8B55-D46C-A8E9-EB1DD1BD409F}"/>
              </a:ext>
            </a:extLst>
          </p:cNvPr>
          <p:cNvSpPr/>
          <p:nvPr/>
        </p:nvSpPr>
        <p:spPr>
          <a:xfrm>
            <a:off x="4788193" y="3823594"/>
            <a:ext cx="1832635" cy="302826"/>
          </a:xfrm>
          <a:prstGeom prst="parallelogram">
            <a:avLst/>
          </a:prstGeom>
          <a:solidFill>
            <a:schemeClr val="accent1"/>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FFFFFF"/>
                </a:solidFill>
                <a:latin typeface="Arial" panose="020B0604020202020204"/>
              </a:rPr>
              <a:t>KPA 15 </a:t>
            </a:r>
            <a:r>
              <a:rPr lang="en-US" sz="1400" baseline="30000">
                <a:solidFill>
                  <a:srgbClr val="FFFFFF"/>
                </a:solidFill>
                <a:latin typeface="Arial" panose="020B0604020202020204"/>
              </a:rPr>
              <a:t>7,8</a:t>
            </a:r>
            <a:endParaRPr lang="en-US" sz="1400">
              <a:solidFill>
                <a:srgbClr val="FFFFFF"/>
              </a:solidFill>
              <a:latin typeface="Arial" panose="020B0604020202020204"/>
            </a:endParaRPr>
          </a:p>
        </p:txBody>
      </p:sp>
      <p:sp>
        <p:nvSpPr>
          <p:cNvPr id="12" name="Parallelogram 11">
            <a:extLst>
              <a:ext uri="{FF2B5EF4-FFF2-40B4-BE49-F238E27FC236}">
                <a16:creationId xmlns:a16="http://schemas.microsoft.com/office/drawing/2014/main" id="{D315B288-A5EA-F435-9603-8C2BC8742008}"/>
              </a:ext>
            </a:extLst>
          </p:cNvPr>
          <p:cNvSpPr/>
          <p:nvPr/>
        </p:nvSpPr>
        <p:spPr>
          <a:xfrm>
            <a:off x="4788193" y="4322723"/>
            <a:ext cx="1832635" cy="302826"/>
          </a:xfrm>
          <a:prstGeom prst="parallelogram">
            <a:avLst/>
          </a:prstGeom>
          <a:solidFill>
            <a:schemeClr val="accent1"/>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FFFFFF"/>
                </a:solidFill>
                <a:latin typeface="Arial" panose="020B0604020202020204"/>
              </a:rPr>
              <a:t>KPA 20 </a:t>
            </a:r>
            <a:r>
              <a:rPr lang="en-US" sz="1400" baseline="30000">
                <a:solidFill>
                  <a:srgbClr val="FFFFFF"/>
                </a:solidFill>
                <a:latin typeface="Arial" panose="020B0604020202020204"/>
              </a:rPr>
              <a:t>9</a:t>
            </a:r>
            <a:endParaRPr lang="en-US" sz="1400">
              <a:solidFill>
                <a:srgbClr val="FFFFFF"/>
              </a:solidFill>
              <a:latin typeface="Arial" panose="020B0604020202020204"/>
            </a:endParaRPr>
          </a:p>
        </p:txBody>
      </p:sp>
      <p:sp>
        <p:nvSpPr>
          <p:cNvPr id="13" name="Parallelogram 12">
            <a:extLst>
              <a:ext uri="{FF2B5EF4-FFF2-40B4-BE49-F238E27FC236}">
                <a16:creationId xmlns:a16="http://schemas.microsoft.com/office/drawing/2014/main" id="{99817F49-D239-BAE2-38BA-E896CBB30FD3}"/>
              </a:ext>
            </a:extLst>
          </p:cNvPr>
          <p:cNvSpPr/>
          <p:nvPr/>
        </p:nvSpPr>
        <p:spPr>
          <a:xfrm>
            <a:off x="7975939" y="2287244"/>
            <a:ext cx="1832635" cy="302826"/>
          </a:xfrm>
          <a:prstGeom prst="parallelogram">
            <a:avLst/>
          </a:prstGeom>
          <a:solidFill>
            <a:schemeClr val="accent2"/>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FFFFFF"/>
                </a:solidFill>
                <a:latin typeface="Arial" panose="020B0604020202020204"/>
              </a:rPr>
              <a:t>KPA 13</a:t>
            </a:r>
            <a:r>
              <a:rPr lang="en-US" sz="1400" baseline="30000">
                <a:solidFill>
                  <a:srgbClr val="FFFFFF"/>
                </a:solidFill>
                <a:latin typeface="Arial" panose="020B0604020202020204"/>
              </a:rPr>
              <a:t>1</a:t>
            </a:r>
            <a:endParaRPr lang="en-US" sz="1400">
              <a:solidFill>
                <a:srgbClr val="FFFFFF"/>
              </a:solidFill>
              <a:latin typeface="Arial" panose="020B0604020202020204"/>
            </a:endParaRPr>
          </a:p>
        </p:txBody>
      </p:sp>
      <p:sp>
        <p:nvSpPr>
          <p:cNvPr id="14" name="Parallelogram 13">
            <a:extLst>
              <a:ext uri="{FF2B5EF4-FFF2-40B4-BE49-F238E27FC236}">
                <a16:creationId xmlns:a16="http://schemas.microsoft.com/office/drawing/2014/main" id="{90AF1873-5F79-7901-11C8-279F6A2192E3}"/>
              </a:ext>
            </a:extLst>
          </p:cNvPr>
          <p:cNvSpPr/>
          <p:nvPr/>
        </p:nvSpPr>
        <p:spPr>
          <a:xfrm>
            <a:off x="7975939" y="2848719"/>
            <a:ext cx="1832635" cy="302826"/>
          </a:xfrm>
          <a:prstGeom prst="parallelogram">
            <a:avLst/>
          </a:prstGeom>
          <a:solidFill>
            <a:schemeClr val="accent2"/>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FFFFFF"/>
                </a:solidFill>
                <a:latin typeface="Arial" panose="020B0604020202020204"/>
              </a:rPr>
              <a:t>KPA15</a:t>
            </a:r>
            <a:r>
              <a:rPr lang="en-US" sz="1400" baseline="30000">
                <a:solidFill>
                  <a:srgbClr val="FFFFFF"/>
                </a:solidFill>
                <a:latin typeface="Arial" panose="020B0604020202020204"/>
              </a:rPr>
              <a:t>3,4</a:t>
            </a:r>
            <a:endParaRPr lang="en-US" sz="1400">
              <a:solidFill>
                <a:srgbClr val="FFFFFF"/>
              </a:solidFill>
              <a:latin typeface="Arial" panose="020B0604020202020204"/>
            </a:endParaRPr>
          </a:p>
        </p:txBody>
      </p:sp>
      <p:sp>
        <p:nvSpPr>
          <p:cNvPr id="15" name="Parallelogram 14">
            <a:extLst>
              <a:ext uri="{FF2B5EF4-FFF2-40B4-BE49-F238E27FC236}">
                <a16:creationId xmlns:a16="http://schemas.microsoft.com/office/drawing/2014/main" id="{00772FAE-C4BA-EFAE-7506-AC1F62808D1D}"/>
              </a:ext>
            </a:extLst>
          </p:cNvPr>
          <p:cNvSpPr/>
          <p:nvPr/>
        </p:nvSpPr>
        <p:spPr>
          <a:xfrm>
            <a:off x="7975939" y="3410194"/>
            <a:ext cx="1832635" cy="302826"/>
          </a:xfrm>
          <a:prstGeom prst="parallelogram">
            <a:avLst/>
          </a:prstGeom>
          <a:solidFill>
            <a:schemeClr val="accent2"/>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FFFFFF"/>
                </a:solidFill>
                <a:latin typeface="Arial" panose="020B0604020202020204"/>
              </a:rPr>
              <a:t>KPA 20</a:t>
            </a:r>
            <a:r>
              <a:rPr lang="en-US" sz="1400" baseline="30000">
                <a:solidFill>
                  <a:srgbClr val="FFFFFF"/>
                </a:solidFill>
                <a:latin typeface="Arial" panose="020B0604020202020204"/>
              </a:rPr>
              <a:t>5,6</a:t>
            </a:r>
            <a:endParaRPr lang="en-US" sz="1400">
              <a:solidFill>
                <a:srgbClr val="FFFFFF"/>
              </a:solidFill>
              <a:latin typeface="Arial" panose="020B0604020202020204"/>
            </a:endParaRPr>
          </a:p>
        </p:txBody>
      </p:sp>
      <p:cxnSp>
        <p:nvCxnSpPr>
          <p:cNvPr id="17" name="Straight Arrow Connector 16">
            <a:extLst>
              <a:ext uri="{FF2B5EF4-FFF2-40B4-BE49-F238E27FC236}">
                <a16:creationId xmlns:a16="http://schemas.microsoft.com/office/drawing/2014/main" id="{CB101085-64DF-72FA-5D27-BFB4C70E7FF1}"/>
              </a:ext>
            </a:extLst>
          </p:cNvPr>
          <p:cNvCxnSpPr>
            <a:cxnSpLocks/>
          </p:cNvCxnSpPr>
          <p:nvPr/>
        </p:nvCxnSpPr>
        <p:spPr>
          <a:xfrm>
            <a:off x="2448031" y="2672740"/>
            <a:ext cx="0" cy="231542"/>
          </a:xfrm>
          <a:prstGeom prst="straightConnector1">
            <a:avLst/>
          </a:prstGeom>
          <a:ln w="31750" cap="rnd">
            <a:solidFill>
              <a:schemeClr val="bg2">
                <a:lumMod val="75000"/>
              </a:schemeClr>
            </a:solidFill>
            <a:tailEnd type="arrow" w="med" len="sm"/>
          </a:ln>
        </p:spPr>
        <p:style>
          <a:lnRef idx="2">
            <a:schemeClr val="dk1"/>
          </a:lnRef>
          <a:fillRef idx="0">
            <a:schemeClr val="dk1"/>
          </a:fillRef>
          <a:effectRef idx="1">
            <a:schemeClr val="dk1"/>
          </a:effectRef>
          <a:fontRef idx="minor">
            <a:schemeClr val="tx1"/>
          </a:fontRef>
        </p:style>
      </p:cxnSp>
      <p:cxnSp>
        <p:nvCxnSpPr>
          <p:cNvPr id="18" name="Straight Arrow Connector 17">
            <a:extLst>
              <a:ext uri="{FF2B5EF4-FFF2-40B4-BE49-F238E27FC236}">
                <a16:creationId xmlns:a16="http://schemas.microsoft.com/office/drawing/2014/main" id="{4C9824E2-20CD-0607-FDF1-BD07ADAC2176}"/>
              </a:ext>
            </a:extLst>
          </p:cNvPr>
          <p:cNvCxnSpPr>
            <a:cxnSpLocks/>
          </p:cNvCxnSpPr>
          <p:nvPr/>
        </p:nvCxnSpPr>
        <p:spPr>
          <a:xfrm flipH="1">
            <a:off x="2448030" y="3234215"/>
            <a:ext cx="2" cy="231542"/>
          </a:xfrm>
          <a:prstGeom prst="straightConnector1">
            <a:avLst/>
          </a:prstGeom>
          <a:ln w="31750" cap="rnd">
            <a:solidFill>
              <a:schemeClr val="bg2">
                <a:lumMod val="75000"/>
              </a:schemeClr>
            </a:solidFill>
            <a:tailEnd type="arrow" w="med" len="sm"/>
          </a:ln>
        </p:spPr>
        <p:style>
          <a:lnRef idx="2">
            <a:schemeClr val="dk1"/>
          </a:lnRef>
          <a:fillRef idx="0">
            <a:schemeClr val="dk1"/>
          </a:fillRef>
          <a:effectRef idx="1">
            <a:schemeClr val="dk1"/>
          </a:effectRef>
          <a:fontRef idx="minor">
            <a:schemeClr val="tx1"/>
          </a:fontRef>
        </p:style>
      </p:cxnSp>
      <p:cxnSp>
        <p:nvCxnSpPr>
          <p:cNvPr id="21" name="Straight Arrow Connector 20">
            <a:extLst>
              <a:ext uri="{FF2B5EF4-FFF2-40B4-BE49-F238E27FC236}">
                <a16:creationId xmlns:a16="http://schemas.microsoft.com/office/drawing/2014/main" id="{E1A51302-5086-0E61-7F50-CD7D3EA0DDC2}"/>
              </a:ext>
            </a:extLst>
          </p:cNvPr>
          <p:cNvCxnSpPr>
            <a:cxnSpLocks/>
          </p:cNvCxnSpPr>
          <p:nvPr/>
        </p:nvCxnSpPr>
        <p:spPr>
          <a:xfrm>
            <a:off x="5704511" y="3067605"/>
            <a:ext cx="2" cy="231542"/>
          </a:xfrm>
          <a:prstGeom prst="straightConnector1">
            <a:avLst/>
          </a:prstGeom>
          <a:ln w="31750" cap="rnd">
            <a:solidFill>
              <a:schemeClr val="bg2">
                <a:lumMod val="75000"/>
              </a:schemeClr>
            </a:solidFill>
            <a:tailEnd type="arrow" w="med" len="sm"/>
          </a:ln>
        </p:spPr>
        <p:style>
          <a:lnRef idx="2">
            <a:schemeClr val="dk1"/>
          </a:lnRef>
          <a:fillRef idx="0">
            <a:schemeClr val="dk1"/>
          </a:fillRef>
          <a:effectRef idx="1">
            <a:schemeClr val="dk1"/>
          </a:effectRef>
          <a:fontRef idx="minor">
            <a:schemeClr val="tx1"/>
          </a:fontRef>
        </p:style>
      </p:cxnSp>
      <p:cxnSp>
        <p:nvCxnSpPr>
          <p:cNvPr id="22" name="Straight Arrow Connector 21">
            <a:extLst>
              <a:ext uri="{FF2B5EF4-FFF2-40B4-BE49-F238E27FC236}">
                <a16:creationId xmlns:a16="http://schemas.microsoft.com/office/drawing/2014/main" id="{5672DB06-4A64-7A64-FE05-D88382F6CECA}"/>
              </a:ext>
            </a:extLst>
          </p:cNvPr>
          <p:cNvCxnSpPr>
            <a:cxnSpLocks/>
          </p:cNvCxnSpPr>
          <p:nvPr/>
        </p:nvCxnSpPr>
        <p:spPr>
          <a:xfrm>
            <a:off x="5704511" y="3582320"/>
            <a:ext cx="2" cy="231542"/>
          </a:xfrm>
          <a:prstGeom prst="straightConnector1">
            <a:avLst/>
          </a:prstGeom>
          <a:ln w="31750" cap="rnd">
            <a:solidFill>
              <a:schemeClr val="bg2">
                <a:lumMod val="75000"/>
              </a:schemeClr>
            </a:solidFill>
            <a:tailEnd type="arrow" w="med" len="sm"/>
          </a:ln>
        </p:spPr>
        <p:style>
          <a:lnRef idx="2">
            <a:schemeClr val="dk1"/>
          </a:lnRef>
          <a:fillRef idx="0">
            <a:schemeClr val="dk1"/>
          </a:fillRef>
          <a:effectRef idx="1">
            <a:schemeClr val="dk1"/>
          </a:effectRef>
          <a:fontRef idx="minor">
            <a:schemeClr val="tx1"/>
          </a:fontRef>
        </p:style>
      </p:cxnSp>
      <p:cxnSp>
        <p:nvCxnSpPr>
          <p:cNvPr id="23" name="Straight Arrow Connector 22">
            <a:extLst>
              <a:ext uri="{FF2B5EF4-FFF2-40B4-BE49-F238E27FC236}">
                <a16:creationId xmlns:a16="http://schemas.microsoft.com/office/drawing/2014/main" id="{4DAB8DE7-8A55-7558-B8A6-C9D4162D207B}"/>
              </a:ext>
            </a:extLst>
          </p:cNvPr>
          <p:cNvCxnSpPr>
            <a:cxnSpLocks/>
          </p:cNvCxnSpPr>
          <p:nvPr/>
        </p:nvCxnSpPr>
        <p:spPr>
          <a:xfrm>
            <a:off x="5704511" y="4104828"/>
            <a:ext cx="2" cy="231542"/>
          </a:xfrm>
          <a:prstGeom prst="straightConnector1">
            <a:avLst/>
          </a:prstGeom>
          <a:ln w="31750" cap="rnd">
            <a:solidFill>
              <a:schemeClr val="bg2">
                <a:lumMod val="75000"/>
              </a:schemeClr>
            </a:solidFill>
            <a:tailEnd type="arrow" w="med" len="sm"/>
          </a:ln>
        </p:spPr>
        <p:style>
          <a:lnRef idx="2">
            <a:schemeClr val="dk1"/>
          </a:lnRef>
          <a:fillRef idx="0">
            <a:schemeClr val="dk1"/>
          </a:fillRef>
          <a:effectRef idx="1">
            <a:schemeClr val="dk1"/>
          </a:effectRef>
          <a:fontRef idx="minor">
            <a:schemeClr val="tx1"/>
          </a:fontRef>
        </p:style>
      </p:cxnSp>
      <p:cxnSp>
        <p:nvCxnSpPr>
          <p:cNvPr id="24" name="Straight Arrow Connector 23">
            <a:extLst>
              <a:ext uri="{FF2B5EF4-FFF2-40B4-BE49-F238E27FC236}">
                <a16:creationId xmlns:a16="http://schemas.microsoft.com/office/drawing/2014/main" id="{6E883E9E-39B9-9CE8-109F-1B7E2465BDAC}"/>
              </a:ext>
            </a:extLst>
          </p:cNvPr>
          <p:cNvCxnSpPr>
            <a:cxnSpLocks/>
          </p:cNvCxnSpPr>
          <p:nvPr/>
        </p:nvCxnSpPr>
        <p:spPr>
          <a:xfrm>
            <a:off x="8892256" y="2599652"/>
            <a:ext cx="2" cy="231542"/>
          </a:xfrm>
          <a:prstGeom prst="straightConnector1">
            <a:avLst/>
          </a:prstGeom>
          <a:ln w="31750" cap="rnd">
            <a:solidFill>
              <a:schemeClr val="bg2">
                <a:lumMod val="75000"/>
              </a:schemeClr>
            </a:solidFill>
            <a:tailEnd type="arrow" w="med" len="sm"/>
          </a:ln>
        </p:spPr>
        <p:style>
          <a:lnRef idx="2">
            <a:schemeClr val="dk1"/>
          </a:lnRef>
          <a:fillRef idx="0">
            <a:schemeClr val="dk1"/>
          </a:fillRef>
          <a:effectRef idx="1">
            <a:schemeClr val="dk1"/>
          </a:effectRef>
          <a:fontRef idx="minor">
            <a:schemeClr val="tx1"/>
          </a:fontRef>
        </p:style>
      </p:cxnSp>
      <p:cxnSp>
        <p:nvCxnSpPr>
          <p:cNvPr id="25" name="Straight Arrow Connector 24">
            <a:extLst>
              <a:ext uri="{FF2B5EF4-FFF2-40B4-BE49-F238E27FC236}">
                <a16:creationId xmlns:a16="http://schemas.microsoft.com/office/drawing/2014/main" id="{16E76C8A-2060-D7E1-9341-BFE1C8ACB685}"/>
              </a:ext>
            </a:extLst>
          </p:cNvPr>
          <p:cNvCxnSpPr>
            <a:cxnSpLocks/>
          </p:cNvCxnSpPr>
          <p:nvPr/>
        </p:nvCxnSpPr>
        <p:spPr>
          <a:xfrm>
            <a:off x="8892256" y="3161127"/>
            <a:ext cx="2" cy="231542"/>
          </a:xfrm>
          <a:prstGeom prst="straightConnector1">
            <a:avLst/>
          </a:prstGeom>
          <a:ln w="31750" cap="rnd">
            <a:solidFill>
              <a:schemeClr val="bg2">
                <a:lumMod val="75000"/>
              </a:schemeClr>
            </a:solidFill>
            <a:tailEnd type="arrow" w="med" len="sm"/>
          </a:ln>
        </p:spPr>
        <p:style>
          <a:lnRef idx="2">
            <a:schemeClr val="dk1"/>
          </a:lnRef>
          <a:fillRef idx="0">
            <a:schemeClr val="dk1"/>
          </a:fillRef>
          <a:effectRef idx="1">
            <a:schemeClr val="dk1"/>
          </a:effectRef>
          <a:fontRef idx="minor">
            <a:schemeClr val="tx1"/>
          </a:fontRef>
        </p:style>
      </p:cxnSp>
      <p:sp>
        <p:nvSpPr>
          <p:cNvPr id="26" name="TextBox 25">
            <a:extLst>
              <a:ext uri="{FF2B5EF4-FFF2-40B4-BE49-F238E27FC236}">
                <a16:creationId xmlns:a16="http://schemas.microsoft.com/office/drawing/2014/main" id="{AEAD2D9D-2EC2-ADEC-708B-815BED6DB2A3}"/>
              </a:ext>
            </a:extLst>
          </p:cNvPr>
          <p:cNvSpPr txBox="1"/>
          <p:nvPr/>
        </p:nvSpPr>
        <p:spPr>
          <a:xfrm>
            <a:off x="3349745" y="2442010"/>
            <a:ext cx="568744" cy="246221"/>
          </a:xfrm>
          <a:prstGeom prst="rect">
            <a:avLst/>
          </a:prstGeom>
          <a:noFill/>
        </p:spPr>
        <p:txBody>
          <a:bodyPr wrap="square" rtlCol="0">
            <a:spAutoFit/>
          </a:bodyPr>
          <a:lstStyle/>
          <a:p>
            <a:pPr defTabSz="685800">
              <a:defRPr/>
            </a:pPr>
            <a:r>
              <a:rPr lang="en-US" sz="1000">
                <a:solidFill>
                  <a:srgbClr val="353B3E"/>
                </a:solidFill>
                <a:latin typeface="Arial" panose="020B0604020202020204"/>
              </a:rPr>
              <a:t>1945</a:t>
            </a:r>
          </a:p>
        </p:txBody>
      </p:sp>
      <p:sp>
        <p:nvSpPr>
          <p:cNvPr id="27" name="TextBox 26">
            <a:extLst>
              <a:ext uri="{FF2B5EF4-FFF2-40B4-BE49-F238E27FC236}">
                <a16:creationId xmlns:a16="http://schemas.microsoft.com/office/drawing/2014/main" id="{C83798C0-DD09-E78D-4184-87B42E4A176A}"/>
              </a:ext>
            </a:extLst>
          </p:cNvPr>
          <p:cNvSpPr txBox="1"/>
          <p:nvPr/>
        </p:nvSpPr>
        <p:spPr>
          <a:xfrm>
            <a:off x="3349744" y="3003035"/>
            <a:ext cx="568744" cy="246221"/>
          </a:xfrm>
          <a:prstGeom prst="rect">
            <a:avLst/>
          </a:prstGeom>
          <a:noFill/>
        </p:spPr>
        <p:txBody>
          <a:bodyPr wrap="square" rtlCol="0">
            <a:spAutoFit/>
          </a:bodyPr>
          <a:lstStyle/>
          <a:p>
            <a:pPr defTabSz="685800">
              <a:defRPr/>
            </a:pPr>
            <a:r>
              <a:rPr lang="en-US" sz="1000">
                <a:solidFill>
                  <a:srgbClr val="353B3E"/>
                </a:solidFill>
                <a:latin typeface="Arial" panose="020B0604020202020204"/>
              </a:rPr>
              <a:t>1977</a:t>
            </a:r>
          </a:p>
        </p:txBody>
      </p:sp>
      <p:sp>
        <p:nvSpPr>
          <p:cNvPr id="28" name="TextBox 27">
            <a:extLst>
              <a:ext uri="{FF2B5EF4-FFF2-40B4-BE49-F238E27FC236}">
                <a16:creationId xmlns:a16="http://schemas.microsoft.com/office/drawing/2014/main" id="{901E7EE3-9257-0D7B-BD8E-8B82A53AAE58}"/>
              </a:ext>
            </a:extLst>
          </p:cNvPr>
          <p:cNvSpPr txBox="1"/>
          <p:nvPr/>
        </p:nvSpPr>
        <p:spPr>
          <a:xfrm>
            <a:off x="3349744" y="3633216"/>
            <a:ext cx="568744" cy="246221"/>
          </a:xfrm>
          <a:prstGeom prst="rect">
            <a:avLst/>
          </a:prstGeom>
          <a:noFill/>
        </p:spPr>
        <p:txBody>
          <a:bodyPr wrap="square" rtlCol="0">
            <a:spAutoFit/>
          </a:bodyPr>
          <a:lstStyle/>
          <a:p>
            <a:pPr defTabSz="685800">
              <a:defRPr/>
            </a:pPr>
            <a:r>
              <a:rPr lang="en-US" sz="1000">
                <a:solidFill>
                  <a:srgbClr val="353B3E"/>
                </a:solidFill>
                <a:latin typeface="Arial" panose="020B0604020202020204"/>
              </a:rPr>
              <a:t>1983</a:t>
            </a:r>
          </a:p>
        </p:txBody>
      </p:sp>
      <p:sp>
        <p:nvSpPr>
          <p:cNvPr id="29" name="TextBox 28">
            <a:extLst>
              <a:ext uri="{FF2B5EF4-FFF2-40B4-BE49-F238E27FC236}">
                <a16:creationId xmlns:a16="http://schemas.microsoft.com/office/drawing/2014/main" id="{97F43499-C33D-E445-E222-2A91010F2811}"/>
              </a:ext>
            </a:extLst>
          </p:cNvPr>
          <p:cNvSpPr txBox="1"/>
          <p:nvPr/>
        </p:nvSpPr>
        <p:spPr>
          <a:xfrm>
            <a:off x="6628921" y="2272036"/>
            <a:ext cx="1090352" cy="400110"/>
          </a:xfrm>
          <a:prstGeom prst="rect">
            <a:avLst/>
          </a:prstGeom>
          <a:noFill/>
        </p:spPr>
        <p:txBody>
          <a:bodyPr wrap="square" rtlCol="0">
            <a:spAutoFit/>
          </a:bodyPr>
          <a:lstStyle/>
          <a:p>
            <a:pPr defTabSz="685800">
              <a:defRPr/>
            </a:pPr>
            <a:r>
              <a:rPr lang="en-US" sz="1000">
                <a:solidFill>
                  <a:srgbClr val="353B3E"/>
                </a:solidFill>
                <a:latin typeface="Arial" panose="020B0604020202020204"/>
              </a:rPr>
              <a:t>2000 ABD</a:t>
            </a:r>
          </a:p>
          <a:p>
            <a:pPr defTabSz="685800">
              <a:defRPr/>
            </a:pPr>
            <a:r>
              <a:rPr lang="en-US" sz="1000">
                <a:solidFill>
                  <a:srgbClr val="353B3E"/>
                </a:solidFill>
                <a:latin typeface="Arial" panose="020B0604020202020204"/>
              </a:rPr>
              <a:t>2001 EMA</a:t>
            </a:r>
          </a:p>
        </p:txBody>
      </p:sp>
      <p:cxnSp>
        <p:nvCxnSpPr>
          <p:cNvPr id="31" name="Straight Arrow Connector 30">
            <a:extLst>
              <a:ext uri="{FF2B5EF4-FFF2-40B4-BE49-F238E27FC236}">
                <a16:creationId xmlns:a16="http://schemas.microsoft.com/office/drawing/2014/main" id="{45A8D74C-76BC-FB8D-93E3-D05151B346D5}"/>
              </a:ext>
            </a:extLst>
          </p:cNvPr>
          <p:cNvCxnSpPr>
            <a:cxnSpLocks/>
          </p:cNvCxnSpPr>
          <p:nvPr/>
        </p:nvCxnSpPr>
        <p:spPr>
          <a:xfrm>
            <a:off x="5704511" y="2584062"/>
            <a:ext cx="2" cy="231542"/>
          </a:xfrm>
          <a:prstGeom prst="straightConnector1">
            <a:avLst/>
          </a:prstGeom>
          <a:ln w="31750" cap="rnd">
            <a:solidFill>
              <a:schemeClr val="bg2">
                <a:lumMod val="75000"/>
              </a:schemeClr>
            </a:solidFill>
            <a:tailEnd type="arrow" w="med" len="sm"/>
          </a:ln>
        </p:spPr>
        <p:style>
          <a:lnRef idx="2">
            <a:schemeClr val="dk1"/>
          </a:lnRef>
          <a:fillRef idx="0">
            <a:schemeClr val="dk1"/>
          </a:fillRef>
          <a:effectRef idx="1">
            <a:schemeClr val="dk1"/>
          </a:effectRef>
          <a:fontRef idx="minor">
            <a:schemeClr val="tx1"/>
          </a:fontRef>
        </p:style>
      </p:cxnSp>
      <p:sp>
        <p:nvSpPr>
          <p:cNvPr id="32" name="TextBox 31">
            <a:extLst>
              <a:ext uri="{FF2B5EF4-FFF2-40B4-BE49-F238E27FC236}">
                <a16:creationId xmlns:a16="http://schemas.microsoft.com/office/drawing/2014/main" id="{2930A4A7-4687-2EBF-DDCD-374AE4F2ECBB}"/>
              </a:ext>
            </a:extLst>
          </p:cNvPr>
          <p:cNvSpPr txBox="1"/>
          <p:nvPr/>
        </p:nvSpPr>
        <p:spPr>
          <a:xfrm>
            <a:off x="6663268" y="2851076"/>
            <a:ext cx="1031334" cy="246221"/>
          </a:xfrm>
          <a:prstGeom prst="rect">
            <a:avLst/>
          </a:prstGeom>
          <a:noFill/>
        </p:spPr>
        <p:txBody>
          <a:bodyPr wrap="square" rtlCol="0">
            <a:spAutoFit/>
          </a:bodyPr>
          <a:lstStyle/>
          <a:p>
            <a:pPr defTabSz="685800">
              <a:defRPr/>
            </a:pPr>
            <a:r>
              <a:rPr lang="en-US" sz="1000">
                <a:solidFill>
                  <a:srgbClr val="353B3E"/>
                </a:solidFill>
                <a:latin typeface="Arial" panose="020B0604020202020204"/>
              </a:rPr>
              <a:t>2009 EMA</a:t>
            </a:r>
          </a:p>
        </p:txBody>
      </p:sp>
      <p:sp>
        <p:nvSpPr>
          <p:cNvPr id="16" name="TextBox 15">
            <a:extLst>
              <a:ext uri="{FF2B5EF4-FFF2-40B4-BE49-F238E27FC236}">
                <a16:creationId xmlns:a16="http://schemas.microsoft.com/office/drawing/2014/main" id="{6925AC15-403D-E4E9-28B3-3900854E70F4}"/>
              </a:ext>
            </a:extLst>
          </p:cNvPr>
          <p:cNvSpPr txBox="1"/>
          <p:nvPr/>
        </p:nvSpPr>
        <p:spPr>
          <a:xfrm>
            <a:off x="6663269" y="3260826"/>
            <a:ext cx="1154864" cy="400110"/>
          </a:xfrm>
          <a:prstGeom prst="rect">
            <a:avLst/>
          </a:prstGeom>
          <a:noFill/>
        </p:spPr>
        <p:txBody>
          <a:bodyPr wrap="square" rtlCol="0">
            <a:spAutoFit/>
          </a:bodyPr>
          <a:lstStyle/>
          <a:p>
            <a:pPr defTabSz="685800">
              <a:defRPr/>
            </a:pPr>
            <a:r>
              <a:rPr lang="en-US" sz="1000">
                <a:solidFill>
                  <a:srgbClr val="353B3E"/>
                </a:solidFill>
                <a:latin typeface="Arial" panose="020B0604020202020204"/>
              </a:rPr>
              <a:t>2010 ABD</a:t>
            </a:r>
          </a:p>
          <a:p>
            <a:pPr defTabSz="685800">
              <a:defRPr/>
            </a:pPr>
            <a:r>
              <a:rPr lang="en-US" sz="1000">
                <a:solidFill>
                  <a:srgbClr val="353B3E"/>
                </a:solidFill>
                <a:latin typeface="Arial" panose="020B0604020202020204"/>
              </a:rPr>
              <a:t>2009 EMA</a:t>
            </a:r>
          </a:p>
        </p:txBody>
      </p:sp>
      <p:sp>
        <p:nvSpPr>
          <p:cNvPr id="19" name="TextBox 18">
            <a:extLst>
              <a:ext uri="{FF2B5EF4-FFF2-40B4-BE49-F238E27FC236}">
                <a16:creationId xmlns:a16="http://schemas.microsoft.com/office/drawing/2014/main" id="{9A6E48C7-E935-302B-5D6F-538686669F85}"/>
              </a:ext>
            </a:extLst>
          </p:cNvPr>
          <p:cNvSpPr txBox="1"/>
          <p:nvPr/>
        </p:nvSpPr>
        <p:spPr>
          <a:xfrm>
            <a:off x="6703708" y="3782175"/>
            <a:ext cx="1015568" cy="400110"/>
          </a:xfrm>
          <a:prstGeom prst="rect">
            <a:avLst/>
          </a:prstGeom>
          <a:noFill/>
        </p:spPr>
        <p:txBody>
          <a:bodyPr wrap="square" rtlCol="0">
            <a:spAutoFit/>
          </a:bodyPr>
          <a:lstStyle/>
          <a:p>
            <a:pPr defTabSz="685800">
              <a:defRPr/>
            </a:pPr>
            <a:r>
              <a:rPr lang="en-US" sz="1000">
                <a:solidFill>
                  <a:srgbClr val="353B3E"/>
                </a:solidFill>
                <a:latin typeface="Arial" panose="020B0604020202020204"/>
              </a:rPr>
              <a:t>2022 ABD</a:t>
            </a:r>
          </a:p>
          <a:p>
            <a:pPr defTabSz="685800">
              <a:defRPr/>
            </a:pPr>
            <a:r>
              <a:rPr lang="en-US" sz="1000">
                <a:solidFill>
                  <a:srgbClr val="353B3E"/>
                </a:solidFill>
                <a:latin typeface="Arial" panose="020B0604020202020204"/>
              </a:rPr>
              <a:t>2022 EMA</a:t>
            </a:r>
          </a:p>
        </p:txBody>
      </p:sp>
      <p:sp>
        <p:nvSpPr>
          <p:cNvPr id="20" name="TextBox 19">
            <a:extLst>
              <a:ext uri="{FF2B5EF4-FFF2-40B4-BE49-F238E27FC236}">
                <a16:creationId xmlns:a16="http://schemas.microsoft.com/office/drawing/2014/main" id="{6FBD7781-35B1-AB25-B328-D2E8A1F186D7}"/>
              </a:ext>
            </a:extLst>
          </p:cNvPr>
          <p:cNvSpPr txBox="1"/>
          <p:nvPr/>
        </p:nvSpPr>
        <p:spPr>
          <a:xfrm>
            <a:off x="6689130" y="4366849"/>
            <a:ext cx="1346217" cy="246221"/>
          </a:xfrm>
          <a:prstGeom prst="rect">
            <a:avLst/>
          </a:prstGeom>
          <a:noFill/>
        </p:spPr>
        <p:txBody>
          <a:bodyPr wrap="square" rtlCol="0">
            <a:spAutoFit/>
          </a:bodyPr>
          <a:lstStyle/>
          <a:p>
            <a:pPr defTabSz="685800">
              <a:defRPr/>
            </a:pPr>
            <a:r>
              <a:rPr lang="en-US" sz="1000">
                <a:solidFill>
                  <a:srgbClr val="353B3E"/>
                </a:solidFill>
                <a:latin typeface="Arial" panose="020B0604020202020204"/>
              </a:rPr>
              <a:t>2023 ABD</a:t>
            </a:r>
          </a:p>
        </p:txBody>
      </p:sp>
      <p:sp>
        <p:nvSpPr>
          <p:cNvPr id="30" name="TextBox 29">
            <a:extLst>
              <a:ext uri="{FF2B5EF4-FFF2-40B4-BE49-F238E27FC236}">
                <a16:creationId xmlns:a16="http://schemas.microsoft.com/office/drawing/2014/main" id="{90F2F8E7-5530-D8FE-139E-1491B2995074}"/>
              </a:ext>
            </a:extLst>
          </p:cNvPr>
          <p:cNvSpPr txBox="1"/>
          <p:nvPr/>
        </p:nvSpPr>
        <p:spPr>
          <a:xfrm>
            <a:off x="9893167" y="2244540"/>
            <a:ext cx="1404195" cy="400110"/>
          </a:xfrm>
          <a:prstGeom prst="rect">
            <a:avLst/>
          </a:prstGeom>
          <a:noFill/>
        </p:spPr>
        <p:txBody>
          <a:bodyPr wrap="square" rtlCol="0">
            <a:spAutoFit/>
          </a:bodyPr>
          <a:lstStyle/>
          <a:p>
            <a:pPr defTabSz="685800">
              <a:defRPr/>
            </a:pPr>
            <a:r>
              <a:rPr lang="en-US" sz="1000">
                <a:solidFill>
                  <a:srgbClr val="353B3E"/>
                </a:solidFill>
                <a:latin typeface="Arial" panose="020B0604020202020204"/>
              </a:rPr>
              <a:t>2011 ABD</a:t>
            </a:r>
          </a:p>
          <a:p>
            <a:pPr defTabSz="685800">
              <a:defRPr/>
            </a:pPr>
            <a:r>
              <a:rPr lang="en-US" sz="1000">
                <a:solidFill>
                  <a:srgbClr val="353B3E"/>
                </a:solidFill>
                <a:latin typeface="Arial" panose="020B0604020202020204"/>
              </a:rPr>
              <a:t>2011 EMA</a:t>
            </a:r>
          </a:p>
        </p:txBody>
      </p:sp>
      <p:sp>
        <p:nvSpPr>
          <p:cNvPr id="33" name="TextBox 32">
            <a:extLst>
              <a:ext uri="{FF2B5EF4-FFF2-40B4-BE49-F238E27FC236}">
                <a16:creationId xmlns:a16="http://schemas.microsoft.com/office/drawing/2014/main" id="{07981B9A-2C29-03D9-0A4D-53D2E2FA0953}"/>
              </a:ext>
            </a:extLst>
          </p:cNvPr>
          <p:cNvSpPr txBox="1"/>
          <p:nvPr/>
        </p:nvSpPr>
        <p:spPr>
          <a:xfrm>
            <a:off x="9893167" y="2810134"/>
            <a:ext cx="1074117" cy="400110"/>
          </a:xfrm>
          <a:prstGeom prst="rect">
            <a:avLst/>
          </a:prstGeom>
          <a:noFill/>
        </p:spPr>
        <p:txBody>
          <a:bodyPr wrap="square" rtlCol="0">
            <a:spAutoFit/>
          </a:bodyPr>
          <a:lstStyle/>
          <a:p>
            <a:pPr defTabSz="685800">
              <a:defRPr/>
            </a:pPr>
            <a:r>
              <a:rPr lang="en-US" sz="1000">
                <a:solidFill>
                  <a:srgbClr val="353B3E"/>
                </a:solidFill>
                <a:latin typeface="Arial" panose="020B0604020202020204"/>
              </a:rPr>
              <a:t>2021 ABD</a:t>
            </a:r>
          </a:p>
          <a:p>
            <a:pPr defTabSz="685800">
              <a:defRPr/>
            </a:pPr>
            <a:r>
              <a:rPr lang="en-US" sz="1000">
                <a:solidFill>
                  <a:srgbClr val="353B3E"/>
                </a:solidFill>
                <a:latin typeface="Arial" panose="020B0604020202020204"/>
              </a:rPr>
              <a:t>2021 EMA</a:t>
            </a:r>
          </a:p>
        </p:txBody>
      </p:sp>
      <p:sp>
        <p:nvSpPr>
          <p:cNvPr id="34" name="TextBox 33">
            <a:extLst>
              <a:ext uri="{FF2B5EF4-FFF2-40B4-BE49-F238E27FC236}">
                <a16:creationId xmlns:a16="http://schemas.microsoft.com/office/drawing/2014/main" id="{213DF9ED-E7A2-6C3E-68EE-FB171712B62D}"/>
              </a:ext>
            </a:extLst>
          </p:cNvPr>
          <p:cNvSpPr txBox="1"/>
          <p:nvPr/>
        </p:nvSpPr>
        <p:spPr>
          <a:xfrm>
            <a:off x="9893167" y="3375729"/>
            <a:ext cx="1104012" cy="400110"/>
          </a:xfrm>
          <a:prstGeom prst="rect">
            <a:avLst/>
          </a:prstGeom>
          <a:noFill/>
        </p:spPr>
        <p:txBody>
          <a:bodyPr wrap="square" rtlCol="0">
            <a:spAutoFit/>
          </a:bodyPr>
          <a:lstStyle/>
          <a:p>
            <a:pPr defTabSz="685800">
              <a:defRPr/>
            </a:pPr>
            <a:r>
              <a:rPr lang="en-US" sz="1000">
                <a:solidFill>
                  <a:srgbClr val="353B3E"/>
                </a:solidFill>
                <a:latin typeface="Arial" panose="020B0604020202020204"/>
              </a:rPr>
              <a:t>2021 ABD</a:t>
            </a:r>
          </a:p>
          <a:p>
            <a:pPr defTabSz="685800">
              <a:defRPr/>
            </a:pPr>
            <a:r>
              <a:rPr lang="en-US" sz="1000">
                <a:solidFill>
                  <a:srgbClr val="353B3E"/>
                </a:solidFill>
                <a:latin typeface="Arial" panose="020B0604020202020204"/>
              </a:rPr>
              <a:t>2022 EMA</a:t>
            </a:r>
          </a:p>
        </p:txBody>
      </p:sp>
      <p:sp>
        <p:nvSpPr>
          <p:cNvPr id="3" name="Rectangle 2">
            <a:extLst>
              <a:ext uri="{FF2B5EF4-FFF2-40B4-BE49-F238E27FC236}">
                <a16:creationId xmlns:a16="http://schemas.microsoft.com/office/drawing/2014/main" id="{5C5BCC41-A5D1-D6A3-21AA-E8F625B25211}"/>
              </a:ext>
            </a:extLst>
          </p:cNvPr>
          <p:cNvSpPr/>
          <p:nvPr/>
        </p:nvSpPr>
        <p:spPr>
          <a:xfrm>
            <a:off x="604403" y="1438355"/>
            <a:ext cx="4054680" cy="301621"/>
          </a:xfrm>
          <a:prstGeom prst="rect">
            <a:avLst/>
          </a:prstGeom>
        </p:spPr>
        <p:txBody>
          <a:bodyPr wrap="square">
            <a:spAutoFit/>
          </a:bodyPr>
          <a:lstStyle/>
          <a:p>
            <a:pPr lvl="0" algn="ctr">
              <a:lnSpc>
                <a:spcPct val="80000"/>
              </a:lnSpc>
              <a:buClr>
                <a:srgbClr val="000000"/>
              </a:buClr>
              <a:defRPr/>
            </a:pPr>
            <a:r>
              <a:rPr lang="en-US" sz="1600" b="1" kern="0" spc="-75" dirty="0" err="1">
                <a:solidFill>
                  <a:srgbClr val="353B3E"/>
                </a:solidFill>
                <a:cs typeface="Arial"/>
                <a:sym typeface="Arial"/>
              </a:rPr>
              <a:t>Polisakkarit</a:t>
            </a:r>
            <a:r>
              <a:rPr lang="en-US" sz="1600" b="1" kern="0" spc="-75" dirty="0">
                <a:solidFill>
                  <a:srgbClr val="353B3E"/>
                </a:solidFill>
                <a:cs typeface="Arial"/>
                <a:sym typeface="Arial"/>
              </a:rPr>
              <a:t> </a:t>
            </a:r>
            <a:r>
              <a:rPr lang="en-US" sz="1600" b="1" kern="0" spc="-75" dirty="0" err="1">
                <a:solidFill>
                  <a:srgbClr val="353B3E"/>
                </a:solidFill>
                <a:cs typeface="Arial"/>
                <a:sym typeface="Arial"/>
              </a:rPr>
              <a:t>Pnömokok</a:t>
            </a:r>
            <a:r>
              <a:rPr lang="en-US" sz="1600" b="1" kern="0" spc="-75" dirty="0">
                <a:solidFill>
                  <a:srgbClr val="353B3E"/>
                </a:solidFill>
                <a:cs typeface="Arial"/>
                <a:sym typeface="Arial"/>
              </a:rPr>
              <a:t> </a:t>
            </a:r>
            <a:r>
              <a:rPr lang="en-US" sz="1600" b="1" kern="0" spc="-75" dirty="0" err="1">
                <a:solidFill>
                  <a:srgbClr val="353B3E"/>
                </a:solidFill>
                <a:cs typeface="Arial"/>
                <a:sym typeface="Arial"/>
              </a:rPr>
              <a:t>Aşıları</a:t>
            </a:r>
            <a:r>
              <a:rPr lang="en-US" sz="1600" b="1" kern="0" spc="-75" dirty="0">
                <a:solidFill>
                  <a:srgbClr val="353B3E"/>
                </a:solidFill>
                <a:cs typeface="Arial"/>
                <a:sym typeface="Arial"/>
              </a:rPr>
              <a:t> (PPSA)</a:t>
            </a:r>
            <a:endParaRPr lang="en-US" sz="3200" b="1" kern="0" dirty="0">
              <a:solidFill>
                <a:srgbClr val="353B3E"/>
              </a:solidFill>
              <a:latin typeface="Arial"/>
              <a:cs typeface="Arial"/>
              <a:sym typeface="Arial"/>
            </a:endParaRPr>
          </a:p>
        </p:txBody>
      </p:sp>
      <p:sp>
        <p:nvSpPr>
          <p:cNvPr id="39" name="Rectangle 38">
            <a:extLst>
              <a:ext uri="{FF2B5EF4-FFF2-40B4-BE49-F238E27FC236}">
                <a16:creationId xmlns:a16="http://schemas.microsoft.com/office/drawing/2014/main" id="{9A197D20-B873-F3EA-D58F-84DD7700762F}"/>
              </a:ext>
            </a:extLst>
          </p:cNvPr>
          <p:cNvSpPr/>
          <p:nvPr/>
        </p:nvSpPr>
        <p:spPr>
          <a:xfrm>
            <a:off x="4561216" y="1421263"/>
            <a:ext cx="6278160" cy="327782"/>
          </a:xfrm>
          <a:prstGeom prst="rect">
            <a:avLst/>
          </a:prstGeom>
          <a:solidFill>
            <a:srgbClr val="F9F9F9"/>
          </a:solidFill>
        </p:spPr>
        <p:txBody>
          <a:bodyPr wrap="square">
            <a:spAutoFit/>
          </a:bodyPr>
          <a:lstStyle/>
          <a:p>
            <a:pPr lvl="0" algn="ctr">
              <a:lnSpc>
                <a:spcPct val="80000"/>
              </a:lnSpc>
              <a:buClr>
                <a:srgbClr val="000000"/>
              </a:buClr>
              <a:defRPr/>
            </a:pPr>
            <a:r>
              <a:rPr lang="en-US" sz="1800" b="1" kern="0" spc="-75" dirty="0" err="1">
                <a:solidFill>
                  <a:srgbClr val="353B3E"/>
                </a:solidFill>
                <a:cs typeface="Arial"/>
                <a:sym typeface="Arial"/>
              </a:rPr>
              <a:t>Konjuge</a:t>
            </a:r>
            <a:r>
              <a:rPr lang="en-US" sz="1800" b="1" kern="0" spc="-75" dirty="0">
                <a:solidFill>
                  <a:srgbClr val="353B3E"/>
                </a:solidFill>
                <a:cs typeface="Arial"/>
                <a:sym typeface="Arial"/>
              </a:rPr>
              <a:t> </a:t>
            </a:r>
            <a:r>
              <a:rPr lang="en-US" sz="1800" b="1" kern="0" spc="-75" dirty="0" err="1">
                <a:solidFill>
                  <a:srgbClr val="353B3E"/>
                </a:solidFill>
                <a:cs typeface="Arial"/>
                <a:sym typeface="Arial"/>
              </a:rPr>
              <a:t>Pnömokok</a:t>
            </a:r>
            <a:r>
              <a:rPr lang="en-US" sz="1800" b="1" kern="0" spc="-75" dirty="0">
                <a:solidFill>
                  <a:srgbClr val="353B3E"/>
                </a:solidFill>
                <a:cs typeface="Arial"/>
                <a:sym typeface="Arial"/>
              </a:rPr>
              <a:t> </a:t>
            </a:r>
            <a:r>
              <a:rPr lang="en-US" sz="1800" b="1" kern="0" spc="-75" dirty="0" err="1">
                <a:solidFill>
                  <a:srgbClr val="353B3E"/>
                </a:solidFill>
                <a:cs typeface="Arial"/>
                <a:sym typeface="Arial"/>
              </a:rPr>
              <a:t>Aşıları</a:t>
            </a:r>
            <a:r>
              <a:rPr lang="en-US" sz="1800" b="1" kern="0" spc="-75" dirty="0">
                <a:solidFill>
                  <a:srgbClr val="353B3E"/>
                </a:solidFill>
                <a:cs typeface="Arial"/>
                <a:sym typeface="Arial"/>
              </a:rPr>
              <a:t> (KPA</a:t>
            </a:r>
            <a:r>
              <a:rPr lang="en-US" sz="1800" b="1" kern="0" spc="-75" dirty="0">
                <a:solidFill>
                  <a:srgbClr val="353B3E"/>
                </a:solidFill>
                <a:latin typeface="Arial"/>
                <a:cs typeface="Arial"/>
                <a:sym typeface="Arial"/>
              </a:rPr>
              <a:t>)</a:t>
            </a:r>
            <a:endParaRPr lang="en-US" sz="3600" b="1" kern="0" dirty="0">
              <a:solidFill>
                <a:srgbClr val="353B3E"/>
              </a:solidFill>
              <a:latin typeface="Arial"/>
              <a:cs typeface="Arial"/>
              <a:sym typeface="Arial"/>
            </a:endParaRPr>
          </a:p>
        </p:txBody>
      </p:sp>
      <p:sp>
        <p:nvSpPr>
          <p:cNvPr id="40" name="Rectangle 39">
            <a:extLst>
              <a:ext uri="{FF2B5EF4-FFF2-40B4-BE49-F238E27FC236}">
                <a16:creationId xmlns:a16="http://schemas.microsoft.com/office/drawing/2014/main" id="{3DFAAEBC-8104-33E9-5AC9-E2AE695ED137}"/>
              </a:ext>
            </a:extLst>
          </p:cNvPr>
          <p:cNvSpPr/>
          <p:nvPr/>
        </p:nvSpPr>
        <p:spPr>
          <a:xfrm>
            <a:off x="4856309" y="1799183"/>
            <a:ext cx="2381858" cy="210058"/>
          </a:xfrm>
          <a:prstGeom prst="rect">
            <a:avLst/>
          </a:prstGeom>
        </p:spPr>
        <p:txBody>
          <a:bodyPr wrap="square">
            <a:spAutoFit/>
          </a:bodyPr>
          <a:lstStyle/>
          <a:p>
            <a:pPr lvl="0" algn="ctr">
              <a:lnSpc>
                <a:spcPct val="80000"/>
              </a:lnSpc>
              <a:buClr>
                <a:srgbClr val="000000"/>
              </a:buClr>
              <a:defRPr/>
            </a:pPr>
            <a:r>
              <a:rPr lang="en-US" kern="0" spc="-75" err="1">
                <a:solidFill>
                  <a:srgbClr val="0000C9">
                    <a:lumMod val="75000"/>
                  </a:srgbClr>
                </a:solidFill>
                <a:cs typeface="Arial"/>
                <a:sym typeface="Arial"/>
              </a:rPr>
              <a:t>Pediatrik</a:t>
            </a:r>
            <a:r>
              <a:rPr lang="en-US" kern="0" spc="-75">
                <a:solidFill>
                  <a:srgbClr val="0000C9">
                    <a:lumMod val="75000"/>
                  </a:srgbClr>
                </a:solidFill>
                <a:cs typeface="Arial"/>
                <a:sym typeface="Arial"/>
              </a:rPr>
              <a:t> </a:t>
            </a:r>
            <a:r>
              <a:rPr lang="en-US" kern="0" spc="-75" err="1">
                <a:solidFill>
                  <a:srgbClr val="0000C9">
                    <a:lumMod val="75000"/>
                  </a:srgbClr>
                </a:solidFill>
                <a:cs typeface="Arial"/>
                <a:sym typeface="Arial"/>
              </a:rPr>
              <a:t>endikasyon</a:t>
            </a:r>
            <a:endParaRPr lang="en-US" sz="1400" kern="0">
              <a:solidFill>
                <a:srgbClr val="0000C9">
                  <a:lumMod val="75000"/>
                </a:srgbClr>
              </a:solidFill>
              <a:latin typeface="Arial"/>
              <a:cs typeface="Arial"/>
              <a:sym typeface="Arial"/>
            </a:endParaRPr>
          </a:p>
        </p:txBody>
      </p:sp>
      <p:sp>
        <p:nvSpPr>
          <p:cNvPr id="41" name="Rectangle 40">
            <a:extLst>
              <a:ext uri="{FF2B5EF4-FFF2-40B4-BE49-F238E27FC236}">
                <a16:creationId xmlns:a16="http://schemas.microsoft.com/office/drawing/2014/main" id="{65C10BDF-AFEF-403E-4603-66C28ECDF7D8}"/>
              </a:ext>
            </a:extLst>
          </p:cNvPr>
          <p:cNvSpPr/>
          <p:nvPr/>
        </p:nvSpPr>
        <p:spPr>
          <a:xfrm>
            <a:off x="8174908" y="1816275"/>
            <a:ext cx="2144189" cy="210058"/>
          </a:xfrm>
          <a:prstGeom prst="rect">
            <a:avLst/>
          </a:prstGeom>
        </p:spPr>
        <p:txBody>
          <a:bodyPr wrap="square">
            <a:spAutoFit/>
          </a:bodyPr>
          <a:lstStyle/>
          <a:p>
            <a:pPr lvl="0" algn="ctr">
              <a:lnSpc>
                <a:spcPct val="80000"/>
              </a:lnSpc>
              <a:buClr>
                <a:srgbClr val="000000"/>
              </a:buClr>
              <a:defRPr/>
            </a:pPr>
            <a:r>
              <a:rPr lang="en-US" kern="0" spc="-75" err="1">
                <a:solidFill>
                  <a:srgbClr val="0070C0"/>
                </a:solidFill>
                <a:cs typeface="Arial"/>
                <a:sym typeface="Arial"/>
              </a:rPr>
              <a:t>Erişkin</a:t>
            </a:r>
            <a:r>
              <a:rPr lang="en-US" kern="0" spc="-75">
                <a:solidFill>
                  <a:srgbClr val="0070C0"/>
                </a:solidFill>
                <a:cs typeface="Arial"/>
                <a:sym typeface="Arial"/>
              </a:rPr>
              <a:t> </a:t>
            </a:r>
            <a:r>
              <a:rPr lang="en-US" kern="0" spc="-75" err="1">
                <a:solidFill>
                  <a:srgbClr val="0070C0"/>
                </a:solidFill>
                <a:cs typeface="Arial"/>
                <a:sym typeface="Arial"/>
              </a:rPr>
              <a:t>endikasyon</a:t>
            </a:r>
            <a:endParaRPr lang="en-US" sz="1400" kern="0">
              <a:solidFill>
                <a:srgbClr val="0070C0"/>
              </a:solidFill>
              <a:latin typeface="Arial"/>
              <a:cs typeface="Arial"/>
              <a:sym typeface="Arial"/>
            </a:endParaRPr>
          </a:p>
        </p:txBody>
      </p:sp>
      <p:sp>
        <p:nvSpPr>
          <p:cNvPr id="46" name="TextBox 45">
            <a:extLst>
              <a:ext uri="{FF2B5EF4-FFF2-40B4-BE49-F238E27FC236}">
                <a16:creationId xmlns:a16="http://schemas.microsoft.com/office/drawing/2014/main" id="{B69042B9-0607-0050-544E-46ABA0CEE520}"/>
              </a:ext>
            </a:extLst>
          </p:cNvPr>
          <p:cNvSpPr txBox="1"/>
          <p:nvPr/>
        </p:nvSpPr>
        <p:spPr>
          <a:xfrm>
            <a:off x="636592" y="5036569"/>
            <a:ext cx="5039268" cy="609325"/>
          </a:xfrm>
          <a:prstGeom prst="rect">
            <a:avLst/>
          </a:prstGeom>
          <a:solidFill>
            <a:schemeClr val="accent1"/>
          </a:solidFill>
        </p:spPr>
        <p:txBody>
          <a:bodyPr wrap="square" lIns="754380" rtlCol="0" anchor="ctr">
            <a:noAutofit/>
          </a:bodyPr>
          <a:lstStyle/>
          <a:p>
            <a:pPr defTabSz="685800">
              <a:lnSpc>
                <a:spcPct val="90000"/>
              </a:lnSpc>
              <a:defRPr/>
            </a:pPr>
            <a:endParaRPr lang="en-US" sz="1600" baseline="30000">
              <a:solidFill>
                <a:srgbClr val="FFFFFF"/>
              </a:solidFill>
              <a:latin typeface="Arial" panose="020B0604020202020204"/>
            </a:endParaRPr>
          </a:p>
        </p:txBody>
      </p:sp>
      <p:sp>
        <p:nvSpPr>
          <p:cNvPr id="44" name="Rectangle 43">
            <a:extLst>
              <a:ext uri="{FF2B5EF4-FFF2-40B4-BE49-F238E27FC236}">
                <a16:creationId xmlns:a16="http://schemas.microsoft.com/office/drawing/2014/main" id="{33BC9C2C-C33F-A9DA-EEC7-0EB9A7B124FD}"/>
              </a:ext>
            </a:extLst>
          </p:cNvPr>
          <p:cNvSpPr/>
          <p:nvPr/>
        </p:nvSpPr>
        <p:spPr>
          <a:xfrm>
            <a:off x="688655" y="5079622"/>
            <a:ext cx="5023086" cy="523219"/>
          </a:xfrm>
          <a:prstGeom prst="rect">
            <a:avLst/>
          </a:prstGeom>
        </p:spPr>
        <p:txBody>
          <a:bodyPr wrap="square" anchor="ctr">
            <a:spAutoFit/>
          </a:bodyPr>
          <a:lstStyle/>
          <a:p>
            <a:pPr marL="192024">
              <a:buClr>
                <a:srgbClr val="000000"/>
              </a:buClr>
              <a:defRPr/>
            </a:pPr>
            <a:r>
              <a:rPr lang="en-US" sz="1400" b="1" kern="0" spc="-75" dirty="0" err="1">
                <a:solidFill>
                  <a:srgbClr val="FFFFFF"/>
                </a:solidFill>
                <a:cs typeface="Arial"/>
                <a:sym typeface="Arial"/>
              </a:rPr>
              <a:t>Aşı</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serotipleri</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tipik</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olarak</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epidemiyolojik</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ve</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klinik</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öneme</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göre</a:t>
            </a:r>
            <a:r>
              <a:rPr lang="en-US" sz="1400" b="1" kern="0" spc="-75" dirty="0">
                <a:solidFill>
                  <a:srgbClr val="FFFFFF"/>
                </a:solidFill>
                <a:cs typeface="Arial"/>
                <a:sym typeface="Arial"/>
              </a:rPr>
              <a:t> seçilir</a:t>
            </a:r>
            <a:r>
              <a:rPr lang="en-US" sz="1400" b="1" kern="0" spc="-75" baseline="30000" dirty="0">
                <a:solidFill>
                  <a:srgbClr val="FFFFFF"/>
                </a:solidFill>
                <a:latin typeface="Arial"/>
                <a:cs typeface="Arial"/>
                <a:sym typeface="Arial"/>
              </a:rPr>
              <a:t>10</a:t>
            </a:r>
            <a:endParaRPr lang="en-US" sz="1050" b="1" kern="0" baseline="30000" dirty="0">
              <a:solidFill>
                <a:srgbClr val="FFFFFF"/>
              </a:solidFill>
              <a:latin typeface="Arial"/>
              <a:cs typeface="Arial"/>
              <a:sym typeface="Arial"/>
            </a:endParaRPr>
          </a:p>
        </p:txBody>
      </p:sp>
      <p:grpSp>
        <p:nvGrpSpPr>
          <p:cNvPr id="67" name="Group 66">
            <a:extLst>
              <a:ext uri="{FF2B5EF4-FFF2-40B4-BE49-F238E27FC236}">
                <a16:creationId xmlns:a16="http://schemas.microsoft.com/office/drawing/2014/main" id="{92E87E3D-A7FC-AA94-DDDC-D82CD7DD4BE7}"/>
              </a:ext>
            </a:extLst>
          </p:cNvPr>
          <p:cNvGrpSpPr/>
          <p:nvPr/>
        </p:nvGrpSpPr>
        <p:grpSpPr>
          <a:xfrm flipH="1" flipV="1">
            <a:off x="5898332" y="5054634"/>
            <a:ext cx="5527421" cy="573195"/>
            <a:chOff x="1106192" y="1549400"/>
            <a:chExt cx="6274685" cy="547891"/>
          </a:xfrm>
        </p:grpSpPr>
        <p:sp>
          <p:nvSpPr>
            <p:cNvPr id="68" name="TextBox 67">
              <a:extLst>
                <a:ext uri="{FF2B5EF4-FFF2-40B4-BE49-F238E27FC236}">
                  <a16:creationId xmlns:a16="http://schemas.microsoft.com/office/drawing/2014/main" id="{42747EDA-B2B2-0978-C438-CD6E020CE0A9}"/>
                </a:ext>
              </a:extLst>
            </p:cNvPr>
            <p:cNvSpPr txBox="1"/>
            <p:nvPr/>
          </p:nvSpPr>
          <p:spPr>
            <a:xfrm>
              <a:off x="6717262" y="1549400"/>
              <a:ext cx="607122" cy="547890"/>
            </a:xfrm>
            <a:prstGeom prst="parallelogram">
              <a:avLst>
                <a:gd name="adj" fmla="val 26449"/>
              </a:avLst>
            </a:prstGeom>
            <a:solidFill>
              <a:schemeClr val="accent1"/>
            </a:solidFill>
          </p:spPr>
          <p:txBody>
            <a:bodyPr wrap="square" rtlCol="0" anchor="ctr">
              <a:noAutofit/>
            </a:bodyPr>
            <a:lstStyle/>
            <a:p>
              <a:pPr defTabSz="685800">
                <a:lnSpc>
                  <a:spcPct val="90000"/>
                </a:lnSpc>
                <a:defRPr/>
              </a:pPr>
              <a:endParaRPr lang="en-US" sz="1600" baseline="30000">
                <a:solidFill>
                  <a:srgbClr val="FFFFFF"/>
                </a:solidFill>
                <a:latin typeface="Arial" panose="020B0604020202020204"/>
              </a:endParaRPr>
            </a:p>
          </p:txBody>
        </p:sp>
        <p:sp>
          <p:nvSpPr>
            <p:cNvPr id="69" name="TextBox 68">
              <a:extLst>
                <a:ext uri="{FF2B5EF4-FFF2-40B4-BE49-F238E27FC236}">
                  <a16:creationId xmlns:a16="http://schemas.microsoft.com/office/drawing/2014/main" id="{28DEEE2A-5A3B-262A-73EA-C5576C00B231}"/>
                </a:ext>
              </a:extLst>
            </p:cNvPr>
            <p:cNvSpPr txBox="1"/>
            <p:nvPr/>
          </p:nvSpPr>
          <p:spPr>
            <a:xfrm>
              <a:off x="1106192" y="1549401"/>
              <a:ext cx="6274685" cy="547890"/>
            </a:xfrm>
            <a:prstGeom prst="rect">
              <a:avLst/>
            </a:prstGeom>
            <a:solidFill>
              <a:schemeClr val="accent1"/>
            </a:solidFill>
          </p:spPr>
          <p:txBody>
            <a:bodyPr wrap="square" lIns="754380" rtlCol="0" anchor="ctr">
              <a:noAutofit/>
            </a:bodyPr>
            <a:lstStyle/>
            <a:p>
              <a:pPr defTabSz="685800">
                <a:lnSpc>
                  <a:spcPct val="90000"/>
                </a:lnSpc>
                <a:defRPr/>
              </a:pPr>
              <a:endParaRPr lang="en-US" sz="1600" baseline="30000">
                <a:solidFill>
                  <a:srgbClr val="FFFFFF"/>
                </a:solidFill>
                <a:latin typeface="Arial" panose="020B0604020202020204"/>
              </a:endParaRPr>
            </a:p>
          </p:txBody>
        </p:sp>
      </p:grpSp>
      <p:sp>
        <p:nvSpPr>
          <p:cNvPr id="66" name="Rectangle 65">
            <a:extLst>
              <a:ext uri="{FF2B5EF4-FFF2-40B4-BE49-F238E27FC236}">
                <a16:creationId xmlns:a16="http://schemas.microsoft.com/office/drawing/2014/main" id="{09AF3830-07C8-A4FB-E73E-C17448ADAD4C}"/>
              </a:ext>
            </a:extLst>
          </p:cNvPr>
          <p:cNvSpPr/>
          <p:nvPr/>
        </p:nvSpPr>
        <p:spPr>
          <a:xfrm>
            <a:off x="5670220" y="5079621"/>
            <a:ext cx="5988380" cy="523220"/>
          </a:xfrm>
          <a:prstGeom prst="rect">
            <a:avLst/>
          </a:prstGeom>
        </p:spPr>
        <p:txBody>
          <a:bodyPr wrap="square" anchor="ctr">
            <a:spAutoFit/>
          </a:bodyPr>
          <a:lstStyle/>
          <a:p>
            <a:pPr marL="274320">
              <a:buClr>
                <a:srgbClr val="000000"/>
              </a:buClr>
              <a:defRPr/>
            </a:pPr>
            <a:r>
              <a:rPr lang="en-US" sz="1400" b="1" kern="0" spc="-75" dirty="0" err="1">
                <a:solidFill>
                  <a:srgbClr val="FFFFFF"/>
                </a:solidFill>
                <a:cs typeface="Arial"/>
                <a:sym typeface="Arial"/>
              </a:rPr>
              <a:t>Serotip</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ekleme</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yaklaşımı</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en</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sık</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izole</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ediilen</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serotiplerden</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bazılarının</a:t>
            </a:r>
            <a:r>
              <a:rPr lang="en-US" sz="1400" b="1" kern="0" spc="-75" dirty="0">
                <a:solidFill>
                  <a:srgbClr val="FFFFFF"/>
                </a:solidFill>
                <a:cs typeface="Arial"/>
                <a:sym typeface="Arial"/>
              </a:rPr>
              <a:t> hem </a:t>
            </a:r>
            <a:r>
              <a:rPr lang="en-US" sz="1400" b="1" kern="0" spc="-75" dirty="0" err="1">
                <a:solidFill>
                  <a:srgbClr val="FFFFFF"/>
                </a:solidFill>
                <a:cs typeface="Arial"/>
                <a:sym typeface="Arial"/>
              </a:rPr>
              <a:t>korunmasını</a:t>
            </a:r>
            <a:r>
              <a:rPr lang="en-US" sz="1400" b="1" kern="0" spc="-75" dirty="0">
                <a:solidFill>
                  <a:srgbClr val="FFFFFF"/>
                </a:solidFill>
                <a:cs typeface="Arial"/>
                <a:sym typeface="Arial"/>
              </a:rPr>
              <a:t> hem de </a:t>
            </a:r>
            <a:r>
              <a:rPr lang="en-US" sz="1400" b="1" kern="0" spc="-75" dirty="0" err="1">
                <a:solidFill>
                  <a:srgbClr val="FFFFFF"/>
                </a:solidFill>
                <a:cs typeface="Arial"/>
                <a:sym typeface="Arial"/>
              </a:rPr>
              <a:t>kapsamının</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genişletilmesini</a:t>
            </a:r>
            <a:r>
              <a:rPr lang="en-US" sz="1400" b="1" kern="0" spc="-75" dirty="0">
                <a:solidFill>
                  <a:srgbClr val="FFFFFF"/>
                </a:solidFill>
                <a:cs typeface="Arial"/>
                <a:sym typeface="Arial"/>
              </a:rPr>
              <a:t> sağlar</a:t>
            </a:r>
            <a:r>
              <a:rPr lang="en-US" sz="1400" b="1" kern="0" spc="-75" baseline="30000" dirty="0">
                <a:solidFill>
                  <a:srgbClr val="FFFFFF"/>
                </a:solidFill>
                <a:latin typeface="Arial"/>
                <a:cs typeface="Arial"/>
                <a:sym typeface="Arial"/>
              </a:rPr>
              <a:t>10</a:t>
            </a:r>
            <a:endParaRPr lang="en-US" sz="1050" b="1" kern="0" baseline="30000" dirty="0">
              <a:solidFill>
                <a:srgbClr val="FFFFFF"/>
              </a:solidFill>
              <a:latin typeface="Arial"/>
              <a:cs typeface="Arial"/>
              <a:sym typeface="Arial"/>
            </a:endParaRPr>
          </a:p>
        </p:txBody>
      </p:sp>
      <p:sp>
        <p:nvSpPr>
          <p:cNvPr id="42" name="TextBox 41">
            <a:extLst>
              <a:ext uri="{FF2B5EF4-FFF2-40B4-BE49-F238E27FC236}">
                <a16:creationId xmlns:a16="http://schemas.microsoft.com/office/drawing/2014/main" id="{AF7B56E6-390D-73B8-1E1F-8CE3BD26254A}"/>
              </a:ext>
            </a:extLst>
          </p:cNvPr>
          <p:cNvSpPr txBox="1"/>
          <p:nvPr/>
        </p:nvSpPr>
        <p:spPr>
          <a:xfrm>
            <a:off x="604403" y="5752464"/>
            <a:ext cx="11308739" cy="630942"/>
          </a:xfrm>
          <a:prstGeom prst="rect">
            <a:avLst/>
          </a:prstGeom>
          <a:noFill/>
        </p:spPr>
        <p:txBody>
          <a:bodyPr wrap="square">
            <a:spAutoFit/>
          </a:bodyPr>
          <a:lstStyle/>
          <a:p>
            <a:pPr lvl="0" algn="r">
              <a:defRPr/>
            </a:pPr>
            <a:r>
              <a:rPr lang="en-US" sz="500" dirty="0">
                <a:latin typeface="Arial" panose="020B0604020202020204"/>
              </a:rPr>
              <a:t>ABD: Amerika </a:t>
            </a:r>
            <a:r>
              <a:rPr lang="en-US" sz="500" dirty="0" err="1">
                <a:latin typeface="Arial" panose="020B0604020202020204"/>
              </a:rPr>
              <a:t>Birleşik</a:t>
            </a:r>
            <a:r>
              <a:rPr lang="en-US" sz="500" dirty="0">
                <a:latin typeface="Arial" panose="020B0604020202020204"/>
              </a:rPr>
              <a:t> </a:t>
            </a:r>
            <a:r>
              <a:rPr lang="en-US" sz="500" dirty="0" err="1">
                <a:latin typeface="Arial" panose="020B0604020202020204"/>
              </a:rPr>
              <a:t>Devletleri</a:t>
            </a:r>
            <a:r>
              <a:rPr lang="en-US" sz="500" dirty="0">
                <a:latin typeface="Arial" panose="020B0604020202020204"/>
              </a:rPr>
              <a:t>, EMA: </a:t>
            </a:r>
            <a:r>
              <a:rPr lang="en-US" sz="500" dirty="0" err="1">
                <a:latin typeface="Arial" panose="020B0604020202020204"/>
              </a:rPr>
              <a:t>Avrupa</a:t>
            </a:r>
            <a:r>
              <a:rPr lang="en-US" sz="500" dirty="0">
                <a:latin typeface="Arial" panose="020B0604020202020204"/>
              </a:rPr>
              <a:t> İlaç </a:t>
            </a:r>
            <a:r>
              <a:rPr lang="en-US" sz="500" dirty="0" err="1">
                <a:latin typeface="Arial" panose="020B0604020202020204"/>
              </a:rPr>
              <a:t>Ajans</a:t>
            </a:r>
            <a:r>
              <a:rPr lang="en-US" sz="500" b="1" kern="0" dirty="0">
                <a:sym typeface="Arial"/>
              </a:rPr>
              <a:t> </a:t>
            </a:r>
            <a:endParaRPr lang="tr-TR" sz="500" b="1" kern="0" dirty="0">
              <a:sym typeface="Arial"/>
            </a:endParaRPr>
          </a:p>
          <a:p>
            <a:pPr lvl="0">
              <a:defRPr/>
            </a:pPr>
            <a:r>
              <a:rPr lang="en-US" sz="500" b="1" kern="0" dirty="0">
                <a:sym typeface="Arial"/>
              </a:rPr>
              <a:t>1. </a:t>
            </a:r>
            <a:r>
              <a:rPr lang="en-US" sz="500" kern="0" dirty="0">
                <a:sym typeface="Arial"/>
              </a:rPr>
              <a:t>Sings HL. </a:t>
            </a:r>
            <a:r>
              <a:rPr lang="en-US" sz="500" i="1" kern="0" dirty="0">
                <a:sym typeface="Arial"/>
              </a:rPr>
              <a:t>Vaccine.</a:t>
            </a:r>
            <a:r>
              <a:rPr lang="en-US" sz="500" kern="0" dirty="0">
                <a:sym typeface="Arial"/>
              </a:rPr>
              <a:t> 2017;35(40):5406-5417. </a:t>
            </a:r>
            <a:r>
              <a:rPr lang="en-US" sz="500" b="1" kern="0" dirty="0">
                <a:sym typeface="Arial"/>
              </a:rPr>
              <a:t>2.</a:t>
            </a:r>
            <a:r>
              <a:rPr lang="en-US" sz="500" kern="0" dirty="0">
                <a:sym typeface="Arial"/>
              </a:rPr>
              <a:t> European Medicines Agency. </a:t>
            </a:r>
            <a:r>
              <a:rPr lang="en-US" sz="500" kern="0" dirty="0" err="1">
                <a:sym typeface="Arial"/>
              </a:rPr>
              <a:t>Synflorix</a:t>
            </a:r>
            <a:r>
              <a:rPr lang="en-US" sz="500" kern="0" dirty="0">
                <a:sym typeface="Arial"/>
              </a:rPr>
              <a:t>. Accessed October 2, 2024. https://www.ema.europa.eu/en/medicines/human/EPAR/synflorix#authorisation-details-section </a:t>
            </a:r>
            <a:r>
              <a:rPr lang="en-US" sz="500" b="1" kern="0" dirty="0">
                <a:sym typeface="Arial"/>
              </a:rPr>
              <a:t>3. </a:t>
            </a:r>
            <a:r>
              <a:rPr lang="en-US" sz="500" kern="0" dirty="0">
                <a:sym typeface="Arial"/>
              </a:rPr>
              <a:t>US Food and Drug Administration. </a:t>
            </a:r>
            <a:r>
              <a:rPr lang="en-US" sz="500" kern="0" dirty="0" err="1">
                <a:sym typeface="Arial"/>
              </a:rPr>
              <a:t>Vaxneuvance</a:t>
            </a:r>
            <a:r>
              <a:rPr lang="en-US" sz="500" kern="0" dirty="0">
                <a:sym typeface="Arial"/>
              </a:rPr>
              <a:t> BLA approval letter. Accessed October 2, 2024. https://www.fda.gov/media/150820/download </a:t>
            </a:r>
            <a:r>
              <a:rPr lang="en-US" sz="500" b="1" kern="0" dirty="0">
                <a:sym typeface="Arial"/>
              </a:rPr>
              <a:t>4. </a:t>
            </a:r>
            <a:r>
              <a:rPr lang="en-US" sz="500" kern="0" dirty="0">
                <a:sym typeface="Arial"/>
              </a:rPr>
              <a:t>European Commission approves Merck’s VAXNEUVANCE</a:t>
            </a:r>
            <a:r>
              <a:rPr lang="en-US" sz="500" kern="0" baseline="30000" dirty="0">
                <a:sym typeface="Arial"/>
              </a:rPr>
              <a:t>TM </a:t>
            </a:r>
            <a:r>
              <a:rPr lang="en-US" sz="500" kern="0" dirty="0">
                <a:sym typeface="Arial"/>
              </a:rPr>
              <a:t>(pneumococcal 15-valent  conjugate vaccine) for individuals 18 years of age and older. Accessed October 2, 2024.  https://www.merck.com/news/european-commission-approves-mercks-vaxneuvance-pneumococcal-15-valent-conjugate-vaccine-for-individuals-18-years-of-age-and-older/  </a:t>
            </a:r>
            <a:r>
              <a:rPr lang="en-US" sz="500" b="1" kern="0" dirty="0">
                <a:sym typeface="Arial"/>
              </a:rPr>
              <a:t>5.</a:t>
            </a:r>
            <a:r>
              <a:rPr lang="en-US" sz="500" kern="0" dirty="0">
                <a:sym typeface="Arial"/>
              </a:rPr>
              <a:t> US Food and Drug Administration. Prevnar 20 BLA approval letter. Accessed October 2, 2024. https://www.fda.gov/media/150021/download </a:t>
            </a:r>
            <a:r>
              <a:rPr lang="en-US" sz="500" b="1" kern="0" dirty="0">
                <a:sym typeface="Arial"/>
              </a:rPr>
              <a:t>6.</a:t>
            </a:r>
            <a:r>
              <a:rPr lang="en-US" sz="500" kern="0" dirty="0">
                <a:sym typeface="Arial"/>
              </a:rPr>
              <a:t>. </a:t>
            </a:r>
            <a:r>
              <a:rPr lang="en-US" sz="500" dirty="0"/>
              <a:t>European Medicines Agency approves Pfizer’s 20-valent pneumococcal conjugate vaccine against IPD and pneumonia in adults. News release. Accessed October 21, 2022. https://www.pfizer.com/news/press-release/press-release-detail/european-medicines-agency-approves-pfizers-20-valent. </a:t>
            </a:r>
            <a:r>
              <a:rPr lang="en-US" sz="500" b="1" dirty="0"/>
              <a:t>7.</a:t>
            </a:r>
            <a:r>
              <a:rPr lang="en-US" sz="500" dirty="0"/>
              <a:t> </a:t>
            </a:r>
            <a:r>
              <a:rPr lang="en-US" sz="500" kern="0" dirty="0">
                <a:sym typeface="Arial"/>
              </a:rPr>
              <a:t>European Commission expands Merck’s VAXNEUVANCE™ (pneumococcal 15-valent conjugate vaccine) indication to include infants, children and adolescents New release.</a:t>
            </a:r>
            <a:r>
              <a:rPr lang="en-GB" sz="500" dirty="0"/>
              <a:t> Accessed October 2, 2024. https://www.merck.com/news/european-commission-expands-mercks-vaxneuvance-pneumococcal-15-valent-conjugate-vaccine-indication-to-include-infants-children-and-adolescents/ </a:t>
            </a:r>
            <a:r>
              <a:rPr lang="en-US" sz="500" b="1" kern="0" dirty="0">
                <a:sym typeface="Arial"/>
              </a:rPr>
              <a:t>8. </a:t>
            </a:r>
            <a:r>
              <a:rPr lang="en-GB" sz="500" dirty="0"/>
              <a:t>U.S. FDA Approves Merck’s VAXNEUVANCE™ (pneumococcal 15-valent conjugate vaccine) for the prevention of invasive pneumococcal disease in infants and children. News release. Accessed October 2, 2024. https://www.merck.com/news/u-s-fda-approves-mercks-vaxneuvance-pneumococcal-15-valent-conjugate-vaccine-for-the-prevention-of-invasive-pneumococcal-disease-in-infants-and-children/</a:t>
            </a:r>
            <a:r>
              <a:rPr lang="en-US" sz="500" kern="0" dirty="0">
                <a:sym typeface="Arial"/>
              </a:rPr>
              <a:t> </a:t>
            </a:r>
            <a:r>
              <a:rPr lang="en-US" sz="500" b="1" kern="0" dirty="0">
                <a:sym typeface="Arial"/>
              </a:rPr>
              <a:t>9</a:t>
            </a:r>
            <a:r>
              <a:rPr lang="en-US" sz="500" kern="0" dirty="0">
                <a:sym typeface="Arial"/>
              </a:rPr>
              <a:t>. </a:t>
            </a:r>
            <a:r>
              <a:rPr lang="en-US" sz="500" dirty="0"/>
              <a:t>U.S. FDA Approves PREVNAR 20</a:t>
            </a:r>
            <a:r>
              <a:rPr lang="en-US" sz="500" baseline="30000" dirty="0"/>
              <a:t>®</a:t>
            </a:r>
            <a:r>
              <a:rPr lang="en-US" sz="500" dirty="0"/>
              <a:t>, Pfizer’s 20-valent pneumococcal conjugate vaccine for infants and children. News release. Accessed October 2, 2024. https://www.pfizer.com/news/press-release/press-release-detail/us-fda-approves-prevnar-20r-pfizers-20-valent-pneumococcal. </a:t>
            </a:r>
            <a:r>
              <a:rPr lang="en-US" sz="500" b="1" dirty="0"/>
              <a:t>10</a:t>
            </a:r>
            <a:r>
              <a:rPr lang="en-US" sz="500" dirty="0"/>
              <a:t>. </a:t>
            </a:r>
            <a:r>
              <a:rPr lang="en-US" sz="500" dirty="0" err="1"/>
              <a:t>Micoli</a:t>
            </a:r>
            <a:r>
              <a:rPr lang="en-US" sz="500" dirty="0"/>
              <a:t> F, et al. </a:t>
            </a:r>
            <a:r>
              <a:rPr lang="en-US" sz="500" i="1" dirty="0" err="1"/>
              <a:t>Glycoconj</a:t>
            </a:r>
            <a:r>
              <a:rPr lang="en-US" sz="500" i="1" dirty="0"/>
              <a:t> J</a:t>
            </a:r>
            <a:r>
              <a:rPr lang="en-US" sz="500" dirty="0"/>
              <a:t>, 2023:40(2):135-148 </a:t>
            </a:r>
            <a:r>
              <a:rPr lang="en-US" sz="500" dirty="0">
                <a:latin typeface="Arial" panose="020B0604020202020204"/>
              </a:rPr>
              <a:t>ı</a:t>
            </a:r>
          </a:p>
        </p:txBody>
      </p:sp>
      <p:pic>
        <p:nvPicPr>
          <p:cNvPr id="54" name="Picture 53" descr="A yellow and blue logo&#10;&#10;Description automatically generated">
            <a:extLst>
              <a:ext uri="{FF2B5EF4-FFF2-40B4-BE49-F238E27FC236}">
                <a16:creationId xmlns:a16="http://schemas.microsoft.com/office/drawing/2014/main" id="{E004A0F4-377C-39EA-FAEF-2ECF1785CF3D}"/>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9286011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30ABA-EB23-1211-258A-3074B75FF90B}"/>
              </a:ext>
            </a:extLst>
          </p:cNvPr>
          <p:cNvSpPr>
            <a:spLocks noGrp="1"/>
          </p:cNvSpPr>
          <p:nvPr>
            <p:ph type="title"/>
          </p:nvPr>
        </p:nvSpPr>
        <p:spPr/>
        <p:txBody>
          <a:bodyPr>
            <a:normAutofit/>
          </a:bodyPr>
          <a:lstStyle/>
          <a:p>
            <a:r>
              <a:rPr lang="tr-TR" dirty="0"/>
              <a:t>Onaylı Erişkin Pnömokok Aşıları</a:t>
            </a:r>
          </a:p>
        </p:txBody>
      </p:sp>
      <p:sp>
        <p:nvSpPr>
          <p:cNvPr id="5" name="Text Placeholder 1">
            <a:extLst>
              <a:ext uri="{FF2B5EF4-FFF2-40B4-BE49-F238E27FC236}">
                <a16:creationId xmlns:a16="http://schemas.microsoft.com/office/drawing/2014/main" id="{64663944-E50D-96A8-FF3D-1943847E384E}"/>
              </a:ext>
            </a:extLst>
          </p:cNvPr>
          <p:cNvSpPr txBox="1">
            <a:spLocks/>
          </p:cNvSpPr>
          <p:nvPr/>
        </p:nvSpPr>
        <p:spPr bwMode="gray">
          <a:xfrm>
            <a:off x="681016" y="6067850"/>
            <a:ext cx="8472488" cy="297656"/>
          </a:xfrm>
          <a:prstGeom prst="rect">
            <a:avLst/>
          </a:prstGeom>
        </p:spPr>
        <p:txBody>
          <a:bodyPr vert="horz" lIns="34290" tIns="34290" rIns="34290" bIns="34290" rtlCol="0">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tr-TR" altLang="en-US" sz="700" dirty="0">
                <a:solidFill>
                  <a:schemeClr val="bg1">
                    <a:lumMod val="50000"/>
                  </a:schemeClr>
                </a:solidFill>
                <a:latin typeface="Calibri Light" panose="020F0302020204030204" pitchFamily="34" charset="0"/>
                <a:cs typeface="Calibri Light" panose="020F0302020204030204" pitchFamily="34" charset="0"/>
              </a:rPr>
              <a:t>1. Pnömokokal Konjüge Polisakkarid Aşı 13 Valan,Adsorbe</a:t>
            </a:r>
            <a:r>
              <a:rPr lang="en-US" altLang="en-US" sz="700" dirty="0">
                <a:solidFill>
                  <a:schemeClr val="bg1">
                    <a:lumMod val="50000"/>
                  </a:schemeClr>
                </a:solidFill>
                <a:latin typeface="Calibri Light" panose="020F0302020204030204" pitchFamily="34" charset="0"/>
                <a:cs typeface="Calibri Light" panose="020F0302020204030204" pitchFamily="34" charset="0"/>
              </a:rPr>
              <a:t> </a:t>
            </a:r>
            <a:r>
              <a:rPr lang="tr-TR" altLang="en-US" sz="700" dirty="0">
                <a:solidFill>
                  <a:schemeClr val="bg1">
                    <a:lumMod val="50000"/>
                  </a:schemeClr>
                </a:solidFill>
                <a:latin typeface="Calibri Light" panose="020F0302020204030204" pitchFamily="34" charset="0"/>
                <a:cs typeface="Calibri Light" panose="020F0302020204030204" pitchFamily="34" charset="0"/>
              </a:rPr>
              <a:t>Kısa Ürün Bilgisi</a:t>
            </a:r>
            <a:r>
              <a:rPr lang="tr-TR" sz="700" dirty="0">
                <a:solidFill>
                  <a:schemeClr val="bg1">
                    <a:lumMod val="50000"/>
                  </a:schemeClr>
                </a:solidFill>
                <a:latin typeface="Calibri Light" panose="020F0302020204030204" pitchFamily="34" charset="0"/>
                <a:cs typeface="Calibri Light" panose="020F0302020204030204" pitchFamily="34" charset="0"/>
              </a:rPr>
              <a:t>; 13.05.2022 2.</a:t>
            </a:r>
            <a:r>
              <a:rPr lang="en-US" sz="700" dirty="0">
                <a:solidFill>
                  <a:schemeClr val="bg1">
                    <a:lumMod val="50000"/>
                  </a:schemeClr>
                </a:solidFill>
                <a:latin typeface="Calibri Light" panose="020F0302020204030204" pitchFamily="34" charset="0"/>
                <a:cs typeface="Calibri Light" panose="020F0302020204030204" pitchFamily="34" charset="0"/>
              </a:rPr>
              <a:t>KPA 15</a:t>
            </a:r>
            <a:r>
              <a:rPr lang="tr-TR" sz="700" dirty="0">
                <a:solidFill>
                  <a:schemeClr val="bg1">
                    <a:lumMod val="50000"/>
                  </a:schemeClr>
                </a:solidFill>
                <a:latin typeface="Calibri Light" panose="020F0302020204030204" pitchFamily="34" charset="0"/>
                <a:cs typeface="Calibri Light" panose="020F0302020204030204" pitchFamily="34" charset="0"/>
              </a:rPr>
              <a:t> Kısa Ürün Bilgisi; 28.06.2024  3. Pnömokokal Konjüge Polisakkarid Aşı 20</a:t>
            </a:r>
            <a:r>
              <a:rPr lang="en-US" sz="700" dirty="0">
                <a:solidFill>
                  <a:schemeClr val="bg1">
                    <a:lumMod val="50000"/>
                  </a:schemeClr>
                </a:solidFill>
                <a:latin typeface="Calibri Light" panose="020F0302020204030204" pitchFamily="34" charset="0"/>
                <a:cs typeface="Calibri Light" panose="020F0302020204030204" pitchFamily="34" charset="0"/>
              </a:rPr>
              <a:t> </a:t>
            </a:r>
            <a:r>
              <a:rPr lang="en-US" sz="600" dirty="0" err="1">
                <a:solidFill>
                  <a:schemeClr val="bg1">
                    <a:lumMod val="50000"/>
                  </a:schemeClr>
                </a:solidFill>
              </a:rPr>
              <a:t>Valan,Adsorbe</a:t>
            </a:r>
            <a:r>
              <a:rPr lang="tr-TR" sz="700" dirty="0">
                <a:solidFill>
                  <a:schemeClr val="bg1">
                    <a:lumMod val="50000"/>
                  </a:schemeClr>
                </a:solidFill>
                <a:latin typeface="Calibri Light" panose="020F0302020204030204" pitchFamily="34" charset="0"/>
                <a:cs typeface="Calibri Light" panose="020F0302020204030204" pitchFamily="34" charset="0"/>
              </a:rPr>
              <a:t> Kısa Ürün Bilgisi ; 27.11.2024  4. </a:t>
            </a:r>
            <a:r>
              <a:rPr lang="en-US" sz="700" dirty="0" err="1">
                <a:solidFill>
                  <a:schemeClr val="bg1">
                    <a:lumMod val="50000"/>
                  </a:schemeClr>
                </a:solidFill>
                <a:latin typeface="Calibri Light" panose="020F0302020204030204" pitchFamily="34" charset="0"/>
                <a:cs typeface="Calibri Light" panose="020F0302020204030204" pitchFamily="34" charset="0"/>
              </a:rPr>
              <a:t>Polisakkarit</a:t>
            </a:r>
            <a:r>
              <a:rPr lang="en-US" sz="700" dirty="0">
                <a:solidFill>
                  <a:schemeClr val="bg1">
                    <a:lumMod val="50000"/>
                  </a:schemeClr>
                </a:solidFill>
                <a:latin typeface="Calibri Light" panose="020F0302020204030204" pitchFamily="34" charset="0"/>
                <a:cs typeface="Calibri Light" panose="020F0302020204030204" pitchFamily="34" charset="0"/>
              </a:rPr>
              <a:t> </a:t>
            </a:r>
            <a:r>
              <a:rPr lang="tr-TR" sz="700" dirty="0">
                <a:solidFill>
                  <a:schemeClr val="bg1">
                    <a:lumMod val="50000"/>
                  </a:schemeClr>
                </a:solidFill>
                <a:latin typeface="Calibri Light" panose="020F0302020204030204" pitchFamily="34" charset="0"/>
                <a:cs typeface="Calibri Light" panose="020F0302020204030204" pitchFamily="34" charset="0"/>
              </a:rPr>
              <a:t>23 pnömokok serotiple</a:t>
            </a:r>
            <a:r>
              <a:rPr lang="en-US" sz="700" dirty="0" err="1">
                <a:solidFill>
                  <a:schemeClr val="bg1">
                    <a:lumMod val="50000"/>
                  </a:schemeClr>
                </a:solidFill>
                <a:latin typeface="Calibri Light" panose="020F0302020204030204" pitchFamily="34" charset="0"/>
                <a:cs typeface="Calibri Light" panose="020F0302020204030204" pitchFamily="34" charset="0"/>
              </a:rPr>
              <a:t>ri</a:t>
            </a:r>
            <a:r>
              <a:rPr lang="en-US" sz="700" dirty="0">
                <a:solidFill>
                  <a:schemeClr val="bg1">
                    <a:lumMod val="50000"/>
                  </a:schemeClr>
                </a:solidFill>
                <a:latin typeface="Calibri Light" panose="020F0302020204030204" pitchFamily="34" charset="0"/>
                <a:cs typeface="Calibri Light" panose="020F0302020204030204" pitchFamily="34" charset="0"/>
              </a:rPr>
              <a:t> </a:t>
            </a:r>
            <a:r>
              <a:rPr lang="en-US" sz="700" dirty="0" err="1">
                <a:solidFill>
                  <a:schemeClr val="bg1">
                    <a:lumMod val="50000"/>
                  </a:schemeClr>
                </a:solidFill>
                <a:latin typeface="Calibri Light" panose="020F0302020204030204" pitchFamily="34" charset="0"/>
                <a:cs typeface="Calibri Light" panose="020F0302020204030204" pitchFamily="34" charset="0"/>
              </a:rPr>
              <a:t>aşısı</a:t>
            </a:r>
            <a:r>
              <a:rPr lang="en-US" sz="700" dirty="0">
                <a:solidFill>
                  <a:schemeClr val="bg1">
                    <a:lumMod val="50000"/>
                  </a:schemeClr>
                </a:solidFill>
                <a:latin typeface="Calibri Light" panose="020F0302020204030204" pitchFamily="34" charset="0"/>
                <a:cs typeface="Calibri Light" panose="020F0302020204030204" pitchFamily="34" charset="0"/>
              </a:rPr>
              <a:t> </a:t>
            </a:r>
            <a:r>
              <a:rPr lang="tr-TR" sz="700" dirty="0">
                <a:solidFill>
                  <a:schemeClr val="bg1">
                    <a:lumMod val="50000"/>
                  </a:schemeClr>
                </a:solidFill>
                <a:latin typeface="Calibri Light" panose="020F0302020204030204" pitchFamily="34" charset="0"/>
                <a:cs typeface="Calibri Light" panose="020F0302020204030204" pitchFamily="34" charset="0"/>
              </a:rPr>
              <a:t> Kısa Ürün Bilgisi; 05.09.2023 5.Andrews N et al. </a:t>
            </a:r>
            <a:r>
              <a:rPr lang="tr-TR" sz="700" i="1" dirty="0">
                <a:solidFill>
                  <a:schemeClr val="bg1">
                    <a:lumMod val="50000"/>
                  </a:schemeClr>
                </a:solidFill>
                <a:latin typeface="Calibri Light" panose="020F0302020204030204" pitchFamily="34" charset="0"/>
                <a:cs typeface="Calibri Light" panose="020F0302020204030204" pitchFamily="34" charset="0"/>
              </a:rPr>
              <a:t>Vaccine. </a:t>
            </a:r>
            <a:r>
              <a:rPr lang="tr-TR" sz="700" dirty="0">
                <a:solidFill>
                  <a:schemeClr val="bg1">
                    <a:lumMod val="50000"/>
                  </a:schemeClr>
                </a:solidFill>
                <a:latin typeface="Calibri Light" panose="020F0302020204030204" pitchFamily="34" charset="0"/>
                <a:cs typeface="Calibri Light" panose="020F0302020204030204" pitchFamily="34" charset="0"/>
              </a:rPr>
              <a:t>2019;37(32):4491-4498.</a:t>
            </a:r>
          </a:p>
        </p:txBody>
      </p:sp>
      <p:graphicFrame>
        <p:nvGraphicFramePr>
          <p:cNvPr id="6" name="Content Placeholder 5">
            <a:extLst>
              <a:ext uri="{FF2B5EF4-FFF2-40B4-BE49-F238E27FC236}">
                <a16:creationId xmlns:a16="http://schemas.microsoft.com/office/drawing/2014/main" id="{B631596D-95BA-9BD9-7612-DB92EC215C17}"/>
              </a:ext>
            </a:extLst>
          </p:cNvPr>
          <p:cNvGraphicFramePr>
            <a:graphicFrameLocks/>
          </p:cNvGraphicFramePr>
          <p:nvPr>
            <p:extLst>
              <p:ext uri="{D42A27DB-BD31-4B8C-83A1-F6EECF244321}">
                <p14:modId xmlns:p14="http://schemas.microsoft.com/office/powerpoint/2010/main" val="481826092"/>
              </p:ext>
            </p:extLst>
          </p:nvPr>
        </p:nvGraphicFramePr>
        <p:xfrm>
          <a:off x="299812" y="1639771"/>
          <a:ext cx="11592386" cy="3282607"/>
        </p:xfrm>
        <a:graphic>
          <a:graphicData uri="http://schemas.openxmlformats.org/drawingml/2006/table">
            <a:tbl>
              <a:tblPr firstRow="1">
                <a:tableStyleId>{69012ECD-51FC-41F1-AA8D-1B2483CD663E}</a:tableStyleId>
              </a:tblPr>
              <a:tblGrid>
                <a:gridCol w="769810">
                  <a:extLst>
                    <a:ext uri="{9D8B030D-6E8A-4147-A177-3AD203B41FA5}">
                      <a16:colId xmlns:a16="http://schemas.microsoft.com/office/drawing/2014/main" val="20000"/>
                    </a:ext>
                  </a:extLst>
                </a:gridCol>
                <a:gridCol w="359053">
                  <a:extLst>
                    <a:ext uri="{9D8B030D-6E8A-4147-A177-3AD203B41FA5}">
                      <a16:colId xmlns:a16="http://schemas.microsoft.com/office/drawing/2014/main" val="20002"/>
                    </a:ext>
                  </a:extLst>
                </a:gridCol>
                <a:gridCol w="418541">
                  <a:extLst>
                    <a:ext uri="{9D8B030D-6E8A-4147-A177-3AD203B41FA5}">
                      <a16:colId xmlns:a16="http://schemas.microsoft.com/office/drawing/2014/main" val="20003"/>
                    </a:ext>
                  </a:extLst>
                </a:gridCol>
                <a:gridCol w="418541">
                  <a:extLst>
                    <a:ext uri="{9D8B030D-6E8A-4147-A177-3AD203B41FA5}">
                      <a16:colId xmlns:a16="http://schemas.microsoft.com/office/drawing/2014/main" val="20004"/>
                    </a:ext>
                  </a:extLst>
                </a:gridCol>
                <a:gridCol w="418541">
                  <a:extLst>
                    <a:ext uri="{9D8B030D-6E8A-4147-A177-3AD203B41FA5}">
                      <a16:colId xmlns:a16="http://schemas.microsoft.com/office/drawing/2014/main" val="20005"/>
                    </a:ext>
                  </a:extLst>
                </a:gridCol>
                <a:gridCol w="418541">
                  <a:extLst>
                    <a:ext uri="{9D8B030D-6E8A-4147-A177-3AD203B41FA5}">
                      <a16:colId xmlns:a16="http://schemas.microsoft.com/office/drawing/2014/main" val="20006"/>
                    </a:ext>
                  </a:extLst>
                </a:gridCol>
                <a:gridCol w="418541">
                  <a:extLst>
                    <a:ext uri="{9D8B030D-6E8A-4147-A177-3AD203B41FA5}">
                      <a16:colId xmlns:a16="http://schemas.microsoft.com/office/drawing/2014/main" val="20007"/>
                    </a:ext>
                  </a:extLst>
                </a:gridCol>
                <a:gridCol w="418541">
                  <a:extLst>
                    <a:ext uri="{9D8B030D-6E8A-4147-A177-3AD203B41FA5}">
                      <a16:colId xmlns:a16="http://schemas.microsoft.com/office/drawing/2014/main" val="20008"/>
                    </a:ext>
                  </a:extLst>
                </a:gridCol>
                <a:gridCol w="418541">
                  <a:extLst>
                    <a:ext uri="{9D8B030D-6E8A-4147-A177-3AD203B41FA5}">
                      <a16:colId xmlns:a16="http://schemas.microsoft.com/office/drawing/2014/main" val="20009"/>
                    </a:ext>
                  </a:extLst>
                </a:gridCol>
                <a:gridCol w="418541">
                  <a:extLst>
                    <a:ext uri="{9D8B030D-6E8A-4147-A177-3AD203B41FA5}">
                      <a16:colId xmlns:a16="http://schemas.microsoft.com/office/drawing/2014/main" val="20010"/>
                    </a:ext>
                  </a:extLst>
                </a:gridCol>
                <a:gridCol w="418541">
                  <a:extLst>
                    <a:ext uri="{9D8B030D-6E8A-4147-A177-3AD203B41FA5}">
                      <a16:colId xmlns:a16="http://schemas.microsoft.com/office/drawing/2014/main" val="20011"/>
                    </a:ext>
                  </a:extLst>
                </a:gridCol>
                <a:gridCol w="418541">
                  <a:extLst>
                    <a:ext uri="{9D8B030D-6E8A-4147-A177-3AD203B41FA5}">
                      <a16:colId xmlns:a16="http://schemas.microsoft.com/office/drawing/2014/main" val="20012"/>
                    </a:ext>
                  </a:extLst>
                </a:gridCol>
                <a:gridCol w="418541">
                  <a:extLst>
                    <a:ext uri="{9D8B030D-6E8A-4147-A177-3AD203B41FA5}">
                      <a16:colId xmlns:a16="http://schemas.microsoft.com/office/drawing/2014/main" val="20013"/>
                    </a:ext>
                  </a:extLst>
                </a:gridCol>
                <a:gridCol w="418541">
                  <a:extLst>
                    <a:ext uri="{9D8B030D-6E8A-4147-A177-3AD203B41FA5}">
                      <a16:colId xmlns:a16="http://schemas.microsoft.com/office/drawing/2014/main" val="20014"/>
                    </a:ext>
                  </a:extLst>
                </a:gridCol>
                <a:gridCol w="418541">
                  <a:extLst>
                    <a:ext uri="{9D8B030D-6E8A-4147-A177-3AD203B41FA5}">
                      <a16:colId xmlns:a16="http://schemas.microsoft.com/office/drawing/2014/main" val="20015"/>
                    </a:ext>
                  </a:extLst>
                </a:gridCol>
                <a:gridCol w="418541">
                  <a:extLst>
                    <a:ext uri="{9D8B030D-6E8A-4147-A177-3AD203B41FA5}">
                      <a16:colId xmlns:a16="http://schemas.microsoft.com/office/drawing/2014/main" val="20016"/>
                    </a:ext>
                  </a:extLst>
                </a:gridCol>
                <a:gridCol w="418541">
                  <a:extLst>
                    <a:ext uri="{9D8B030D-6E8A-4147-A177-3AD203B41FA5}">
                      <a16:colId xmlns:a16="http://schemas.microsoft.com/office/drawing/2014/main" val="20017"/>
                    </a:ext>
                  </a:extLst>
                </a:gridCol>
                <a:gridCol w="418541">
                  <a:extLst>
                    <a:ext uri="{9D8B030D-6E8A-4147-A177-3AD203B41FA5}">
                      <a16:colId xmlns:a16="http://schemas.microsoft.com/office/drawing/2014/main" val="20018"/>
                    </a:ext>
                  </a:extLst>
                </a:gridCol>
                <a:gridCol w="418541">
                  <a:extLst>
                    <a:ext uri="{9D8B030D-6E8A-4147-A177-3AD203B41FA5}">
                      <a16:colId xmlns:a16="http://schemas.microsoft.com/office/drawing/2014/main" val="20019"/>
                    </a:ext>
                  </a:extLst>
                </a:gridCol>
                <a:gridCol w="418541">
                  <a:extLst>
                    <a:ext uri="{9D8B030D-6E8A-4147-A177-3AD203B41FA5}">
                      <a16:colId xmlns:a16="http://schemas.microsoft.com/office/drawing/2014/main" val="20020"/>
                    </a:ext>
                  </a:extLst>
                </a:gridCol>
                <a:gridCol w="418541">
                  <a:extLst>
                    <a:ext uri="{9D8B030D-6E8A-4147-A177-3AD203B41FA5}">
                      <a16:colId xmlns:a16="http://schemas.microsoft.com/office/drawing/2014/main" val="20021"/>
                    </a:ext>
                  </a:extLst>
                </a:gridCol>
                <a:gridCol w="418541">
                  <a:extLst>
                    <a:ext uri="{9D8B030D-6E8A-4147-A177-3AD203B41FA5}">
                      <a16:colId xmlns:a16="http://schemas.microsoft.com/office/drawing/2014/main" val="20022"/>
                    </a:ext>
                  </a:extLst>
                </a:gridCol>
                <a:gridCol w="418541">
                  <a:extLst>
                    <a:ext uri="{9D8B030D-6E8A-4147-A177-3AD203B41FA5}">
                      <a16:colId xmlns:a16="http://schemas.microsoft.com/office/drawing/2014/main" val="20023"/>
                    </a:ext>
                  </a:extLst>
                </a:gridCol>
                <a:gridCol w="418541">
                  <a:extLst>
                    <a:ext uri="{9D8B030D-6E8A-4147-A177-3AD203B41FA5}">
                      <a16:colId xmlns:a16="http://schemas.microsoft.com/office/drawing/2014/main" val="20024"/>
                    </a:ext>
                  </a:extLst>
                </a:gridCol>
                <a:gridCol w="418541">
                  <a:extLst>
                    <a:ext uri="{9D8B030D-6E8A-4147-A177-3AD203B41FA5}">
                      <a16:colId xmlns:a16="http://schemas.microsoft.com/office/drawing/2014/main" val="20025"/>
                    </a:ext>
                  </a:extLst>
                </a:gridCol>
                <a:gridCol w="426427">
                  <a:extLst>
                    <a:ext uri="{9D8B030D-6E8A-4147-A177-3AD203B41FA5}">
                      <a16:colId xmlns:a16="http://schemas.microsoft.com/office/drawing/2014/main" val="3750517234"/>
                    </a:ext>
                  </a:extLst>
                </a:gridCol>
                <a:gridCol w="410653">
                  <a:extLst>
                    <a:ext uri="{9D8B030D-6E8A-4147-A177-3AD203B41FA5}">
                      <a16:colId xmlns:a16="http://schemas.microsoft.com/office/drawing/2014/main" val="3319128270"/>
                    </a:ext>
                  </a:extLst>
                </a:gridCol>
              </a:tblGrid>
              <a:tr h="463463">
                <a:tc>
                  <a:txBody>
                    <a:bodyPr/>
                    <a:lstStyle/>
                    <a:p>
                      <a:pPr marL="0" marR="0" algn="ctr">
                        <a:spcBef>
                          <a:spcPts val="0"/>
                        </a:spcBef>
                        <a:spcAft>
                          <a:spcPts val="0"/>
                        </a:spcAft>
                      </a:pPr>
                      <a:endParaRPr lang="en-US" sz="1100" b="1">
                        <a:solidFill>
                          <a:schemeClr val="bg1"/>
                        </a:solidFill>
                        <a:effectLst/>
                        <a:latin typeface="Avenir"/>
                        <a:ea typeface="Calibri"/>
                        <a:cs typeface="Times New Roman"/>
                      </a:endParaRPr>
                    </a:p>
                  </a:txBody>
                  <a:tcPr marL="39491" marR="39491" marT="15431" marB="15431"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6">
                  <a:txBody>
                    <a:bodyPr/>
                    <a:lstStyle/>
                    <a:p>
                      <a:pPr marL="0" marR="0" algn="ctr">
                        <a:spcBef>
                          <a:spcPts val="0"/>
                        </a:spcBef>
                        <a:spcAft>
                          <a:spcPts val="0"/>
                        </a:spcAft>
                      </a:pPr>
                      <a:r>
                        <a:rPr lang="tr-TR" sz="1400" b="1">
                          <a:solidFill>
                            <a:schemeClr val="bg1"/>
                          </a:solidFill>
                          <a:effectLst/>
                          <a:latin typeface="Avenir"/>
                          <a:ea typeface="Calibri"/>
                          <a:cs typeface="Times New Roman"/>
                        </a:rPr>
                        <a:t>Serotipler</a:t>
                      </a:r>
                      <a:endParaRPr lang="en-US" sz="1200" b="1">
                        <a:solidFill>
                          <a:schemeClr val="bg1"/>
                        </a:solidFill>
                        <a:effectLst/>
                        <a:latin typeface="Avenir"/>
                        <a:ea typeface="Calibri"/>
                        <a:cs typeface="Times New Roman"/>
                      </a:endParaRPr>
                    </a:p>
                  </a:txBody>
                  <a:tcPr marL="20116" marR="20116" marT="15431" marB="15431" anchor="ctr">
                    <a:lnL w="635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0" marR="0"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solidFill>
                      <a:schemeClr val="accent1"/>
                    </a:solidFill>
                  </a:tcPr>
                </a:tc>
                <a:extLst>
                  <a:ext uri="{0D108BD9-81ED-4DB2-BD59-A6C34878D82A}">
                    <a16:rowId xmlns:a16="http://schemas.microsoft.com/office/drawing/2014/main" val="2976691581"/>
                  </a:ext>
                </a:extLst>
              </a:tr>
              <a:tr h="416170">
                <a:tc>
                  <a:txBody>
                    <a:bodyPr/>
                    <a:lstStyle/>
                    <a:p>
                      <a:pPr marL="0" marR="0" algn="ctr">
                        <a:spcBef>
                          <a:spcPts val="0"/>
                        </a:spcBef>
                        <a:spcAft>
                          <a:spcPts val="0"/>
                        </a:spcAft>
                      </a:pPr>
                      <a:r>
                        <a:rPr lang="tr-TR" sz="1100" b="1" kern="1200">
                          <a:solidFill>
                            <a:schemeClr val="bg1"/>
                          </a:solidFill>
                          <a:effectLst/>
                          <a:latin typeface="Avenir"/>
                          <a:ea typeface="+mn-ea"/>
                          <a:cs typeface="+mn-cs"/>
                        </a:rPr>
                        <a:t>Aşı</a:t>
                      </a:r>
                      <a:endParaRPr lang="en-US" sz="1100" b="1" kern="1200">
                        <a:solidFill>
                          <a:schemeClr val="bg1"/>
                        </a:solidFill>
                        <a:effectLst/>
                        <a:latin typeface="Avenir"/>
                        <a:ea typeface="+mn-ea"/>
                        <a:cs typeface="+mn-cs"/>
                      </a:endParaRPr>
                    </a:p>
                  </a:txBody>
                  <a:tcPr marL="39491" marR="39491" marT="15431" marB="15431"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a:t>
                      </a:r>
                      <a:endParaRPr lang="en-US" sz="1100" b="1">
                        <a:solidFill>
                          <a:schemeClr val="bg1"/>
                        </a:solidFill>
                        <a:effectLst/>
                        <a:latin typeface="Avenir"/>
                        <a:ea typeface="Calibri"/>
                        <a:cs typeface="Times New Roman"/>
                      </a:endParaRPr>
                    </a:p>
                  </a:txBody>
                  <a:tcPr marL="18256" marR="18256" marT="15431" marB="15431"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3</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4</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5</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6A</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6B</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7F</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9V</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4</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8C</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9A</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 19F</a:t>
                      </a:r>
                      <a:endParaRPr lang="en-US" sz="1100" b="1">
                        <a:solidFill>
                          <a:schemeClr val="bg1"/>
                        </a:solidFill>
                        <a:effectLst/>
                        <a:latin typeface="Avenir"/>
                        <a:ea typeface="Calibri"/>
                        <a:cs typeface="Times New Roman"/>
                      </a:endParaRPr>
                    </a:p>
                  </a:txBody>
                  <a:tcPr marL="0" marR="0"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23F</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22F</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33F</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8</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0A</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1A</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2F</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5B</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2</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9N</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7F</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20</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de-DE" sz="1100" b="1">
                          <a:solidFill>
                            <a:schemeClr val="bg1"/>
                          </a:solidFill>
                          <a:effectLst/>
                          <a:latin typeface="Avenir"/>
                          <a:ea typeface="Calibri"/>
                          <a:cs typeface="Times New Roman"/>
                        </a:rPr>
                        <a:t>15C</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de-DE" sz="1100" b="1">
                          <a:solidFill>
                            <a:schemeClr val="bg1"/>
                          </a:solidFill>
                          <a:effectLst/>
                          <a:latin typeface="Avenir"/>
                          <a:ea typeface="Calibri"/>
                          <a:cs typeface="Times New Roman"/>
                        </a:rPr>
                        <a:t>6C</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002060"/>
                    </a:solidFill>
                  </a:tcPr>
                </a:tc>
                <a:extLst>
                  <a:ext uri="{0D108BD9-81ED-4DB2-BD59-A6C34878D82A}">
                    <a16:rowId xmlns:a16="http://schemas.microsoft.com/office/drawing/2014/main" val="10000"/>
                  </a:ext>
                </a:extLst>
              </a:tr>
              <a:tr h="589577">
                <a:tc>
                  <a:txBody>
                    <a:bodyPr/>
                    <a:lstStyle/>
                    <a:p>
                      <a:pPr marL="0" marR="0" algn="ctr">
                        <a:spcBef>
                          <a:spcPts val="0"/>
                        </a:spcBef>
                        <a:spcAft>
                          <a:spcPts val="0"/>
                        </a:spcAft>
                      </a:pPr>
                      <a:r>
                        <a:rPr lang="tr-TR" sz="1100">
                          <a:effectLst/>
                          <a:latin typeface="Avenir"/>
                        </a:rPr>
                        <a:t>KPA</a:t>
                      </a:r>
                      <a:r>
                        <a:rPr lang="en-US" sz="1100">
                          <a:effectLst/>
                          <a:latin typeface="Avenir"/>
                        </a:rPr>
                        <a:t>13</a:t>
                      </a:r>
                      <a:r>
                        <a:rPr lang="tr-TR" sz="1100" baseline="30000">
                          <a:effectLst/>
                          <a:latin typeface="Avenir"/>
                        </a:rPr>
                        <a:t>1</a:t>
                      </a:r>
                      <a:endParaRPr lang="en-US" sz="1100" baseline="30000">
                        <a:solidFill>
                          <a:schemeClr val="tx1"/>
                        </a:solidFill>
                        <a:effectLst/>
                        <a:latin typeface="Avenir"/>
                        <a:ea typeface="Calibri"/>
                        <a:cs typeface="Times New Roman"/>
                      </a:endParaRPr>
                    </a:p>
                  </a:txBody>
                  <a:tcPr marL="18256" marR="18256" marT="15431" marB="15431" anchor="ctr">
                    <a:lnL w="12700" cap="flat" cmpd="sng" algn="ctr">
                      <a:no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lvl="0" indent="0" algn="ctr" defTabSz="888548" rtl="0" eaLnBrk="1" fontAlgn="auto" latinLnBrk="0" hangingPunct="1">
                        <a:lnSpc>
                          <a:spcPct val="100000"/>
                        </a:lnSpc>
                        <a:spcBef>
                          <a:spcPts val="0"/>
                        </a:spcBef>
                        <a:spcAft>
                          <a:spcPts val="0"/>
                        </a:spcAft>
                        <a:buClrTx/>
                        <a:buSzTx/>
                        <a:buFontTx/>
                        <a:buNone/>
                        <a:tabLst/>
                        <a:defRPr/>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1100">
                        <a:solidFill>
                          <a:schemeClr val="accent6"/>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100">
                          <a:solidFill>
                            <a:schemeClr val="accent6"/>
                          </a:solidFill>
                          <a:effectLst/>
                          <a:latin typeface="Avenir"/>
                          <a:ea typeface="Calibri"/>
                          <a:cs typeface="Times New Roman"/>
                          <a:sym typeface="Wingdings 2" panose="05020102010507070707" pitchFamily="18" charset="2"/>
                        </a:rPr>
                        <a:t></a:t>
                      </a:r>
                      <a:endParaRPr lang="en-US" sz="1100">
                        <a:solidFill>
                          <a:schemeClr val="accent6"/>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solidFill>
                      <a:schemeClr val="accent6">
                        <a:lumMod val="20000"/>
                        <a:lumOff val="80000"/>
                        <a:alpha val="90000"/>
                      </a:schemeClr>
                    </a:solidFill>
                  </a:tcPr>
                </a:tc>
                <a:extLst>
                  <a:ext uri="{0D108BD9-81ED-4DB2-BD59-A6C34878D82A}">
                    <a16:rowId xmlns:a16="http://schemas.microsoft.com/office/drawing/2014/main" val="10002"/>
                  </a:ext>
                </a:extLst>
              </a:tr>
              <a:tr h="589577">
                <a:tc>
                  <a:txBody>
                    <a:bodyPr/>
                    <a:lstStyle/>
                    <a:p>
                      <a:pPr marL="0" marR="0" algn="ctr">
                        <a:spcBef>
                          <a:spcPts val="0"/>
                        </a:spcBef>
                        <a:spcAft>
                          <a:spcPts val="0"/>
                        </a:spcAft>
                      </a:pPr>
                      <a:r>
                        <a:rPr lang="tr-TR" sz="1100">
                          <a:effectLst/>
                          <a:latin typeface="Avenir"/>
                        </a:rPr>
                        <a:t>KPA</a:t>
                      </a:r>
                      <a:r>
                        <a:rPr lang="en-US" sz="1100">
                          <a:effectLst/>
                          <a:latin typeface="Avenir"/>
                        </a:rPr>
                        <a:t>15</a:t>
                      </a:r>
                      <a:r>
                        <a:rPr lang="tr-TR" sz="1100" baseline="30000">
                          <a:effectLst/>
                          <a:latin typeface="Avenir"/>
                        </a:rPr>
                        <a:t>2</a:t>
                      </a:r>
                      <a:endParaRPr lang="en-US" sz="1100" baseline="30000">
                        <a:solidFill>
                          <a:schemeClr val="tx1"/>
                        </a:solidFill>
                        <a:effectLst/>
                        <a:latin typeface="Avenir"/>
                        <a:ea typeface="Calibri"/>
                        <a:cs typeface="Times New Roman"/>
                      </a:endParaRPr>
                    </a:p>
                  </a:txBody>
                  <a:tcPr marL="18256" marR="18256" marT="15431" marB="15431" anchor="ctr">
                    <a:lnL w="12700"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888548" rtl="0" eaLnBrk="1" fontAlgn="auto" latinLnBrk="0" hangingPunct="1">
                        <a:lnSpc>
                          <a:spcPct val="100000"/>
                        </a:lnSpc>
                        <a:spcBef>
                          <a:spcPts val="0"/>
                        </a:spcBef>
                        <a:spcAft>
                          <a:spcPts val="0"/>
                        </a:spcAft>
                        <a:buClrTx/>
                        <a:buSzTx/>
                        <a:buFontTx/>
                        <a:buNone/>
                        <a:tabLst/>
                        <a:defRPr/>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100">
                          <a:solidFill>
                            <a:schemeClr val="accent6"/>
                          </a:solidFill>
                          <a:effectLst/>
                          <a:latin typeface="Avenir"/>
                          <a:ea typeface="Calibri"/>
                          <a:cs typeface="Times New Roman"/>
                          <a:sym typeface="Wingdings 2" panose="05020102010507070707" pitchFamily="18" charset="2"/>
                        </a:rPr>
                        <a:t></a:t>
                      </a:r>
                      <a:endParaRPr lang="en-US" sz="1100">
                        <a:solidFill>
                          <a:schemeClr val="accent6"/>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6">
                        <a:lumMod val="20000"/>
                        <a:lumOff val="80000"/>
                        <a:alpha val="90000"/>
                      </a:schemeClr>
                    </a:solidFill>
                  </a:tcPr>
                </a:tc>
                <a:extLst>
                  <a:ext uri="{0D108BD9-81ED-4DB2-BD59-A6C34878D82A}">
                    <a16:rowId xmlns:a16="http://schemas.microsoft.com/office/drawing/2014/main" val="10006"/>
                  </a:ext>
                </a:extLst>
              </a:tr>
              <a:tr h="589577">
                <a:tc>
                  <a:txBody>
                    <a:bodyPr/>
                    <a:lstStyle/>
                    <a:p>
                      <a:pPr marL="0" marR="0" algn="ctr">
                        <a:spcBef>
                          <a:spcPts val="0"/>
                        </a:spcBef>
                        <a:spcAft>
                          <a:spcPts val="0"/>
                        </a:spcAft>
                      </a:pPr>
                      <a:r>
                        <a:rPr lang="tr-TR" sz="1100" b="1">
                          <a:effectLst/>
                          <a:latin typeface="Avenir"/>
                        </a:rPr>
                        <a:t>KPA</a:t>
                      </a:r>
                      <a:r>
                        <a:rPr lang="en-US" sz="1100" b="1">
                          <a:effectLst/>
                          <a:latin typeface="Avenir"/>
                        </a:rPr>
                        <a:t>20</a:t>
                      </a:r>
                      <a:r>
                        <a:rPr lang="tr-TR" sz="1100" b="1" baseline="30000">
                          <a:effectLst/>
                          <a:latin typeface="Avenir"/>
                        </a:rPr>
                        <a:t>3</a:t>
                      </a:r>
                      <a:endParaRPr lang="en-US" sz="1100" b="1" baseline="30000">
                        <a:solidFill>
                          <a:schemeClr val="tx1"/>
                        </a:solidFill>
                        <a:effectLst/>
                        <a:latin typeface="Avenir"/>
                        <a:ea typeface="Calibri"/>
                        <a:cs typeface="Times New Roman"/>
                      </a:endParaRPr>
                    </a:p>
                  </a:txBody>
                  <a:tcPr marL="18256" marR="18256" marT="15431" marB="15431" anchor="ctr">
                    <a:lnL w="12700"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888548" rtl="0" eaLnBrk="1" fontAlgn="auto" latinLnBrk="0" hangingPunct="1">
                        <a:lnSpc>
                          <a:spcPct val="100000"/>
                        </a:lnSpc>
                        <a:spcBef>
                          <a:spcPts val="0"/>
                        </a:spcBef>
                        <a:spcAft>
                          <a:spcPts val="0"/>
                        </a:spcAft>
                        <a:buClrTx/>
                        <a:buSzTx/>
                        <a:buFontTx/>
                        <a:buNone/>
                        <a:tabLst/>
                        <a:defRPr/>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1100" kern="1200">
                        <a:solidFill>
                          <a:schemeClr val="accent6"/>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alpha val="90000"/>
                      </a:schemeClr>
                    </a:solidFill>
                  </a:tcPr>
                </a:tc>
                <a:tc>
                  <a:txBody>
                    <a:bodyPr/>
                    <a:lstStyle/>
                    <a:p>
                      <a:pPr marL="0" marR="0" algn="ctr">
                        <a:spcBef>
                          <a:spcPts val="0"/>
                        </a:spcBef>
                        <a:spcAft>
                          <a:spcPts val="0"/>
                        </a:spcAft>
                      </a:pPr>
                      <a:r>
                        <a:rPr lang="en-US" sz="1100">
                          <a:solidFill>
                            <a:schemeClr val="accent6"/>
                          </a:solidFill>
                          <a:effectLst/>
                          <a:latin typeface="Avenir"/>
                          <a:ea typeface="Calibri"/>
                          <a:cs typeface="Times New Roman"/>
                          <a:sym typeface="Wingdings 2" panose="05020102010507070707" pitchFamily="18" charset="2"/>
                        </a:rPr>
                        <a:t></a:t>
                      </a:r>
                      <a:endParaRPr lang="en-US" sz="1100">
                        <a:solidFill>
                          <a:schemeClr val="accent6"/>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6">
                        <a:lumMod val="20000"/>
                        <a:lumOff val="80000"/>
                        <a:alpha val="90000"/>
                      </a:schemeClr>
                    </a:solidFill>
                  </a:tcPr>
                </a:tc>
                <a:extLst>
                  <a:ext uri="{0D108BD9-81ED-4DB2-BD59-A6C34878D82A}">
                    <a16:rowId xmlns:a16="http://schemas.microsoft.com/office/drawing/2014/main" val="10003"/>
                  </a:ext>
                </a:extLst>
              </a:tr>
              <a:tr h="634243">
                <a:tc>
                  <a:txBody>
                    <a:bodyPr/>
                    <a:lstStyle/>
                    <a:p>
                      <a:pPr marL="0" marR="0" algn="ctr">
                        <a:spcBef>
                          <a:spcPts val="0"/>
                        </a:spcBef>
                        <a:spcAft>
                          <a:spcPts val="0"/>
                        </a:spcAft>
                      </a:pPr>
                      <a:r>
                        <a:rPr lang="de-DE" sz="1100" b="0">
                          <a:solidFill>
                            <a:schemeClr val="tx1"/>
                          </a:solidFill>
                          <a:effectLst/>
                          <a:latin typeface="Avenir"/>
                          <a:ea typeface="Calibri"/>
                          <a:cs typeface="Times New Roman"/>
                        </a:rPr>
                        <a:t>PP</a:t>
                      </a:r>
                      <a:r>
                        <a:rPr lang="tr-TR" sz="1100" b="0">
                          <a:solidFill>
                            <a:schemeClr val="tx1"/>
                          </a:solidFill>
                          <a:effectLst/>
                          <a:latin typeface="Avenir"/>
                          <a:ea typeface="Calibri"/>
                          <a:cs typeface="Times New Roman"/>
                        </a:rPr>
                        <a:t>SA</a:t>
                      </a:r>
                      <a:r>
                        <a:rPr lang="de-DE" sz="1100" b="0">
                          <a:solidFill>
                            <a:schemeClr val="tx1"/>
                          </a:solidFill>
                          <a:effectLst/>
                          <a:latin typeface="Avenir"/>
                          <a:ea typeface="Calibri"/>
                          <a:cs typeface="Times New Roman"/>
                        </a:rPr>
                        <a:t>23</a:t>
                      </a:r>
                      <a:r>
                        <a:rPr lang="tr-TR" sz="1100" b="0" baseline="30000">
                          <a:solidFill>
                            <a:schemeClr val="tx1"/>
                          </a:solidFill>
                          <a:effectLst/>
                          <a:latin typeface="Avenir"/>
                          <a:ea typeface="Calibri"/>
                          <a:cs typeface="Times New Roman"/>
                        </a:rPr>
                        <a:t>4</a:t>
                      </a:r>
                      <a:endParaRPr lang="en-US" sz="1100" b="0" baseline="30000">
                        <a:solidFill>
                          <a:schemeClr val="tx1"/>
                        </a:solidFill>
                        <a:effectLst/>
                        <a:latin typeface="Avenir"/>
                        <a:ea typeface="Calibri"/>
                        <a:cs typeface="Times New Roman"/>
                      </a:endParaRPr>
                    </a:p>
                  </a:txBody>
                  <a:tcPr marL="18256" marR="18256" marT="15431" marB="15431" anchor="ctr">
                    <a:lnL w="12700"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solidFill>
                      <a:schemeClr val="bg1">
                        <a:lumMod val="95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bg1"/>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1100" kern="1200">
                        <a:solidFill>
                          <a:schemeClr val="accent6"/>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bg1">
                        <a:alpha val="90000"/>
                      </a:schemeClr>
                    </a:solidFill>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1014718766"/>
                  </a:ext>
                </a:extLst>
              </a:tr>
            </a:tbl>
          </a:graphicData>
        </a:graphic>
      </p:graphicFrame>
      <p:sp>
        <p:nvSpPr>
          <p:cNvPr id="7" name="Oval 6">
            <a:extLst>
              <a:ext uri="{FF2B5EF4-FFF2-40B4-BE49-F238E27FC236}">
                <a16:creationId xmlns:a16="http://schemas.microsoft.com/office/drawing/2014/main" id="{BED851E3-115B-E69C-1987-F61CBCA69208}"/>
              </a:ext>
            </a:extLst>
          </p:cNvPr>
          <p:cNvSpPr>
            <a:spLocks noChangeAspect="1"/>
          </p:cNvSpPr>
          <p:nvPr/>
        </p:nvSpPr>
        <p:spPr>
          <a:xfrm>
            <a:off x="1667988" y="5321247"/>
            <a:ext cx="170270" cy="13716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defRPr/>
            </a:pPr>
            <a:endParaRPr lang="en-US" b="1">
              <a:solidFill>
                <a:srgbClr val="FFFFFF"/>
              </a:solidFill>
              <a:latin typeface="Arial" panose="020B0604020202020204" pitchFamily="34" charset="0"/>
            </a:endParaRPr>
          </a:p>
        </p:txBody>
      </p:sp>
      <p:sp>
        <p:nvSpPr>
          <p:cNvPr id="8" name="TextBox 8">
            <a:extLst>
              <a:ext uri="{FF2B5EF4-FFF2-40B4-BE49-F238E27FC236}">
                <a16:creationId xmlns:a16="http://schemas.microsoft.com/office/drawing/2014/main" id="{6D27F350-9DE3-AECC-DDB0-DD08C0AA1A0A}"/>
              </a:ext>
            </a:extLst>
          </p:cNvPr>
          <p:cNvSpPr txBox="1"/>
          <p:nvPr/>
        </p:nvSpPr>
        <p:spPr>
          <a:xfrm>
            <a:off x="1784046" y="5302179"/>
            <a:ext cx="2639840" cy="246221"/>
          </a:xfrm>
          <a:prstGeom prst="rect">
            <a:avLst/>
          </a:prstGeom>
          <a:noFill/>
        </p:spPr>
        <p:txBody>
          <a:bodyPr wrap="square" rtlCol="0">
            <a:spAutoFit/>
          </a:bodyPr>
          <a:lstStyle/>
          <a:p>
            <a:pPr lvl="0">
              <a:defRPr/>
            </a:pPr>
            <a:r>
              <a:rPr lang="de-DE" sz="1000" dirty="0">
                <a:solidFill>
                  <a:srgbClr val="000000"/>
                </a:solidFill>
              </a:rPr>
              <a:t>Çapraz reaktif/çapraz koruyucu serotip</a:t>
            </a:r>
            <a:r>
              <a:rPr lang="tr-TR" sz="1000" baseline="30000" dirty="0">
                <a:solidFill>
                  <a:srgbClr val="000000"/>
                </a:solidFill>
                <a:latin typeface="Arial"/>
              </a:rPr>
              <a:t>5</a:t>
            </a:r>
            <a:endParaRPr lang="en-US" sz="1000" baseline="30000" dirty="0">
              <a:solidFill>
                <a:srgbClr val="000000"/>
              </a:solidFill>
              <a:latin typeface="Arial"/>
            </a:endParaRPr>
          </a:p>
        </p:txBody>
      </p:sp>
      <p:sp>
        <p:nvSpPr>
          <p:cNvPr id="10" name="Title 14">
            <a:extLst>
              <a:ext uri="{FF2B5EF4-FFF2-40B4-BE49-F238E27FC236}">
                <a16:creationId xmlns:a16="http://schemas.microsoft.com/office/drawing/2014/main" id="{D77E330E-D78E-7643-7902-BA0347769641}"/>
              </a:ext>
            </a:extLst>
          </p:cNvPr>
          <p:cNvSpPr txBox="1">
            <a:spLocks/>
          </p:cNvSpPr>
          <p:nvPr/>
        </p:nvSpPr>
        <p:spPr>
          <a:xfrm>
            <a:off x="381957" y="1682642"/>
            <a:ext cx="11276015" cy="637794"/>
          </a:xfrm>
          <a:prstGeom prst="rect">
            <a:avLst/>
          </a:prstGeom>
        </p:spPr>
        <p:txBody>
          <a:bodyPr vert="horz" lIns="68580" tIns="34290" rIns="68580" bIns="0" rtlCol="0" anchor="ctr">
            <a:noAutofit/>
          </a:bodyPr>
          <a:lstStyle>
            <a:lvl1pPr algn="l" defTabSz="914400" rtl="0" eaLnBrk="1" latinLnBrk="0" hangingPunct="1">
              <a:lnSpc>
                <a:spcPct val="90000"/>
              </a:lnSpc>
              <a:spcBef>
                <a:spcPct val="0"/>
              </a:spcBef>
              <a:buNone/>
              <a:defRPr sz="2800" kern="1200">
                <a:solidFill>
                  <a:schemeClr val="bg1"/>
                </a:solidFill>
                <a:latin typeface="+mj-lt"/>
                <a:ea typeface="+mj-ea"/>
                <a:cs typeface="+mj-cs"/>
              </a:defRPr>
            </a:lvl1pPr>
          </a:lstStyle>
          <a:p>
            <a:endParaRPr lang="en-US" sz="2100">
              <a:solidFill>
                <a:srgbClr val="002060"/>
              </a:solidFill>
              <a:latin typeface="Calibri" panose="020F0502020204030204" pitchFamily="34" charset="0"/>
              <a:cs typeface="Calibri" panose="020F0502020204030204" pitchFamily="34" charset="0"/>
            </a:endParaRPr>
          </a:p>
        </p:txBody>
      </p:sp>
      <p:sp>
        <p:nvSpPr>
          <p:cNvPr id="4" name="Metin kutusu 3">
            <a:extLst>
              <a:ext uri="{FF2B5EF4-FFF2-40B4-BE49-F238E27FC236}">
                <a16:creationId xmlns:a16="http://schemas.microsoft.com/office/drawing/2014/main" id="{CF93F722-E373-2DD0-D6CC-721D82D4A42F}"/>
              </a:ext>
            </a:extLst>
          </p:cNvPr>
          <p:cNvSpPr txBox="1"/>
          <p:nvPr/>
        </p:nvSpPr>
        <p:spPr>
          <a:xfrm>
            <a:off x="1784046" y="5524309"/>
            <a:ext cx="2306554" cy="400110"/>
          </a:xfrm>
          <a:prstGeom prst="rect">
            <a:avLst/>
          </a:prstGeom>
          <a:noFill/>
        </p:spPr>
        <p:txBody>
          <a:bodyPr wrap="square">
            <a:spAutoFit/>
          </a:bodyPr>
          <a:lstStyle/>
          <a:p>
            <a:r>
              <a:rPr lang="tr-TR" sz="1000" dirty="0"/>
              <a:t>KPA= Konjuge Pnömokok Aşılar</a:t>
            </a:r>
          </a:p>
          <a:p>
            <a:r>
              <a:rPr lang="tr-TR" sz="1000" dirty="0"/>
              <a:t>KPA: Konjuge Pnömokok Aşısı</a:t>
            </a:r>
          </a:p>
        </p:txBody>
      </p:sp>
      <p:pic>
        <p:nvPicPr>
          <p:cNvPr id="11" name="Picture 10" descr="A yellow and blue logo&#10;&#10;Description automatically generated">
            <a:extLst>
              <a:ext uri="{FF2B5EF4-FFF2-40B4-BE49-F238E27FC236}">
                <a16:creationId xmlns:a16="http://schemas.microsoft.com/office/drawing/2014/main" id="{C22EEF19-3D2F-87C6-9179-5184201DFDE3}"/>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12772136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FCEE3F-6331-2740-4270-53190F342CA2}"/>
              </a:ext>
            </a:extLst>
          </p:cNvPr>
          <p:cNvSpPr>
            <a:spLocks noGrp="1"/>
          </p:cNvSpPr>
          <p:nvPr>
            <p:ph type="title"/>
          </p:nvPr>
        </p:nvSpPr>
        <p:spPr/>
        <p:txBody>
          <a:bodyPr/>
          <a:lstStyle/>
          <a:p>
            <a:r>
              <a:rPr lang="tr-TR"/>
              <a:t>KPA</a:t>
            </a:r>
            <a:r>
              <a:rPr lang="en-US"/>
              <a:t>20’ye </a:t>
            </a:r>
            <a:r>
              <a:rPr lang="tr-TR"/>
              <a:t>d</a:t>
            </a:r>
            <a:r>
              <a:rPr lang="en-US" err="1"/>
              <a:t>ahil</a:t>
            </a:r>
            <a:r>
              <a:rPr lang="en-US"/>
              <a:t> </a:t>
            </a:r>
            <a:r>
              <a:rPr lang="tr-TR"/>
              <a:t>e</a:t>
            </a:r>
            <a:r>
              <a:rPr lang="en-US" err="1"/>
              <a:t>dilen</a:t>
            </a:r>
            <a:r>
              <a:rPr lang="en-US"/>
              <a:t> </a:t>
            </a:r>
            <a:r>
              <a:rPr lang="tr-TR"/>
              <a:t>e</a:t>
            </a:r>
            <a:r>
              <a:rPr lang="en-US"/>
              <a:t>k </a:t>
            </a:r>
            <a:r>
              <a:rPr lang="tr-TR"/>
              <a:t>s</a:t>
            </a:r>
            <a:r>
              <a:rPr lang="en-US" err="1"/>
              <a:t>erotipler</a:t>
            </a:r>
            <a:r>
              <a:rPr lang="tr-TR"/>
              <a:t>;</a:t>
            </a:r>
          </a:p>
        </p:txBody>
      </p:sp>
      <p:sp>
        <p:nvSpPr>
          <p:cNvPr id="3" name="Slide Number Placeholder 2">
            <a:extLst>
              <a:ext uri="{FF2B5EF4-FFF2-40B4-BE49-F238E27FC236}">
                <a16:creationId xmlns:a16="http://schemas.microsoft.com/office/drawing/2014/main" id="{EB919013-1650-EFCD-3D9F-0430D9030E7B}"/>
              </a:ext>
            </a:extLst>
          </p:cNvPr>
          <p:cNvSpPr>
            <a:spLocks noGrp="1"/>
          </p:cNvSpPr>
          <p:nvPr>
            <p:ph type="sldNum" sz="quarter" idx="4"/>
          </p:nvPr>
        </p:nvSpPr>
        <p:spPr/>
        <p:txBody>
          <a:bodyPr/>
          <a:lstStyle/>
          <a:p>
            <a:fld id="{03074DEF-F175-4420-8EE3-137377F9872B}" type="slidenum">
              <a:rPr lang="en-US"/>
              <a:pPr/>
              <a:t>69</a:t>
            </a:fld>
            <a:endParaRPr lang="en-US"/>
          </a:p>
        </p:txBody>
      </p:sp>
      <p:sp>
        <p:nvSpPr>
          <p:cNvPr id="6" name="Text Placeholder 3">
            <a:extLst>
              <a:ext uri="{FF2B5EF4-FFF2-40B4-BE49-F238E27FC236}">
                <a16:creationId xmlns:a16="http://schemas.microsoft.com/office/drawing/2014/main" id="{9151F44D-B143-B18C-E8B6-5BA53D5887E4}"/>
              </a:ext>
            </a:extLst>
          </p:cNvPr>
          <p:cNvSpPr txBox="1">
            <a:spLocks/>
          </p:cNvSpPr>
          <p:nvPr/>
        </p:nvSpPr>
        <p:spPr>
          <a:xfrm>
            <a:off x="601107" y="5840573"/>
            <a:ext cx="8534400" cy="365292"/>
          </a:xfrm>
          <a:prstGeom prst="rect">
            <a:avLst/>
          </a:prstGeom>
        </p:spPr>
        <p:txBody>
          <a:bodyPr vert="horz" lIns="68580" tIns="34290" rIns="68580" bIns="34290" rtlCol="0" anchor="ctr"/>
          <a:lstStyle>
            <a:defPPr>
              <a:defRPr lang="tr-TR"/>
            </a:defPPr>
            <a:lvl1pPr marL="0" algn="ctr" defTabSz="914400" rtl="0" eaLnBrk="1" latinLnBrk="0" hangingPunct="1">
              <a:defRPr sz="1000" kern="1200">
                <a:solidFill>
                  <a:schemeClr val="tx1">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685800"/>
            <a:r>
              <a:rPr lang="tr-TR" sz="750" dirty="0">
                <a:solidFill>
                  <a:srgbClr val="353B3E">
                    <a:lumMod val="60000"/>
                    <a:lumOff val="40000"/>
                  </a:srgbClr>
                </a:solidFill>
                <a:latin typeface="Calibri Light" panose="020F0302020204030204" pitchFamily="34" charset="0"/>
                <a:cs typeface="Calibri Light" panose="020F0302020204030204" pitchFamily="34" charset="0"/>
              </a:rPr>
              <a:t>KPA: Konjüge Pnömokok Aşısı; İPD=İnvazif Pnömokokal Hastalık</a:t>
            </a:r>
          </a:p>
          <a:p>
            <a:pPr algn="l" defTabSz="685800"/>
            <a:r>
              <a:rPr lang="da-DK" sz="750" b="1" dirty="0">
                <a:solidFill>
                  <a:srgbClr val="353B3E">
                    <a:lumMod val="60000"/>
                    <a:lumOff val="40000"/>
                  </a:srgbClr>
                </a:solidFill>
                <a:latin typeface="Calibri Light" panose="020F0302020204030204" pitchFamily="34" charset="0"/>
                <a:cs typeface="Calibri Light" panose="020F0302020204030204" pitchFamily="34" charset="0"/>
              </a:rPr>
              <a:t>1. </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Balsells E, et al. </a:t>
            </a:r>
            <a:r>
              <a:rPr lang="da-DK" sz="750" i="1" dirty="0">
                <a:solidFill>
                  <a:srgbClr val="353B3E">
                    <a:lumMod val="60000"/>
                    <a:lumOff val="40000"/>
                  </a:srgbClr>
                </a:solidFill>
                <a:latin typeface="Calibri Light" panose="020F0302020204030204" pitchFamily="34" charset="0"/>
                <a:cs typeface="Calibri Light" panose="020F0302020204030204" pitchFamily="34" charset="0"/>
              </a:rPr>
              <a:t>PLoS One</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 2017;12(5):e0177113. </a:t>
            </a:r>
            <a:r>
              <a:rPr lang="da-DK" sz="750" b="1" dirty="0">
                <a:solidFill>
                  <a:srgbClr val="353B3E">
                    <a:lumMod val="60000"/>
                    <a:lumOff val="40000"/>
                  </a:srgbClr>
                </a:solidFill>
                <a:latin typeface="Calibri Light" panose="020F0302020204030204" pitchFamily="34" charset="0"/>
                <a:cs typeface="Calibri Light" panose="020F0302020204030204" pitchFamily="34" charset="0"/>
              </a:rPr>
              <a:t>2.</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 Amin-Chowdhury Z, et al. </a:t>
            </a:r>
            <a:r>
              <a:rPr lang="da-DK" sz="750" i="1" dirty="0">
                <a:solidFill>
                  <a:srgbClr val="353B3E">
                    <a:lumMod val="60000"/>
                    <a:lumOff val="40000"/>
                  </a:srgbClr>
                </a:solidFill>
                <a:latin typeface="Calibri Light" panose="020F0302020204030204" pitchFamily="34" charset="0"/>
                <a:cs typeface="Calibri Light" panose="020F0302020204030204" pitchFamily="34" charset="0"/>
              </a:rPr>
              <a:t>Clin Infect Dis. </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2020;71(8):e235-e243.</a:t>
            </a:r>
            <a:r>
              <a:rPr lang="en-US" sz="750" dirty="0">
                <a:solidFill>
                  <a:srgbClr val="353B3E">
                    <a:lumMod val="60000"/>
                    <a:lumOff val="40000"/>
                  </a:srgbClr>
                </a:solidFill>
                <a:latin typeface="Calibri Light" panose="020F0302020204030204" pitchFamily="34" charset="0"/>
                <a:cs typeface="Calibri Light" panose="020F0302020204030204" pitchFamily="34" charset="0"/>
              </a:rPr>
              <a:t> </a:t>
            </a:r>
            <a:r>
              <a:rPr lang="en-US" sz="750" b="1" dirty="0">
                <a:solidFill>
                  <a:srgbClr val="353B3E">
                    <a:lumMod val="60000"/>
                    <a:lumOff val="40000"/>
                  </a:srgbClr>
                </a:solidFill>
                <a:latin typeface="Calibri Light" panose="020F0302020204030204" pitchFamily="34" charset="0"/>
                <a:cs typeface="Calibri Light" panose="020F0302020204030204" pitchFamily="34" charset="0"/>
              </a:rPr>
              <a:t>3.</a:t>
            </a:r>
            <a:r>
              <a:rPr lang="en-US" sz="750" dirty="0">
                <a:solidFill>
                  <a:srgbClr val="353B3E">
                    <a:lumMod val="60000"/>
                    <a:lumOff val="40000"/>
                  </a:srgbClr>
                </a:solidFill>
                <a:latin typeface="Calibri Light" panose="020F0302020204030204" pitchFamily="34" charset="0"/>
                <a:cs typeface="Calibri Light" panose="020F0302020204030204" pitchFamily="34" charset="0"/>
              </a:rPr>
              <a:t> Levy C, et al. </a:t>
            </a:r>
            <a:r>
              <a:rPr lang="en-US" sz="750" i="1" dirty="0" err="1">
                <a:solidFill>
                  <a:srgbClr val="353B3E">
                    <a:lumMod val="60000"/>
                    <a:lumOff val="40000"/>
                  </a:srgbClr>
                </a:solidFill>
                <a:latin typeface="Calibri Light" panose="020F0302020204030204" pitchFamily="34" charset="0"/>
                <a:cs typeface="Calibri Light" panose="020F0302020204030204" pitchFamily="34" charset="0"/>
              </a:rPr>
              <a:t>PLoS</a:t>
            </a:r>
            <a:r>
              <a:rPr lang="en-US" sz="750" i="1" dirty="0">
                <a:solidFill>
                  <a:srgbClr val="353B3E">
                    <a:lumMod val="60000"/>
                    <a:lumOff val="40000"/>
                  </a:srgbClr>
                </a:solidFill>
                <a:latin typeface="Calibri Light" panose="020F0302020204030204" pitchFamily="34" charset="0"/>
                <a:cs typeface="Calibri Light" panose="020F0302020204030204" pitchFamily="34" charset="0"/>
              </a:rPr>
              <a:t> One</a:t>
            </a:r>
            <a:r>
              <a:rPr lang="en-US" sz="750" dirty="0">
                <a:solidFill>
                  <a:srgbClr val="353B3E">
                    <a:lumMod val="60000"/>
                    <a:lumOff val="40000"/>
                  </a:srgbClr>
                </a:solidFill>
                <a:latin typeface="Calibri Light" panose="020F0302020204030204" pitchFamily="34" charset="0"/>
                <a:cs typeface="Calibri Light" panose="020F0302020204030204" pitchFamily="34" charset="0"/>
              </a:rPr>
              <a:t>. 2019;14(2):e0211712. </a:t>
            </a:r>
            <a:r>
              <a:rPr lang="en-US" sz="750" b="1" dirty="0">
                <a:solidFill>
                  <a:srgbClr val="353B3E">
                    <a:lumMod val="60000"/>
                    <a:lumOff val="40000"/>
                  </a:srgbClr>
                </a:solidFill>
                <a:latin typeface="Calibri Light" panose="020F0302020204030204" pitchFamily="34" charset="0"/>
                <a:cs typeface="Calibri Light" panose="020F0302020204030204" pitchFamily="34" charset="0"/>
              </a:rPr>
              <a:t>4.</a:t>
            </a:r>
            <a:r>
              <a:rPr lang="en-US" sz="750" dirty="0">
                <a:solidFill>
                  <a:srgbClr val="353B3E">
                    <a:lumMod val="60000"/>
                    <a:lumOff val="40000"/>
                  </a:srgbClr>
                </a:solidFill>
                <a:latin typeface="Calibri Light" panose="020F0302020204030204" pitchFamily="34" charset="0"/>
                <a:cs typeface="Calibri Light" panose="020F0302020204030204" pitchFamily="34" charset="0"/>
              </a:rPr>
              <a:t> Ekinci E, et al. </a:t>
            </a:r>
            <a:r>
              <a:rPr lang="en-US" sz="750" i="1" dirty="0">
                <a:solidFill>
                  <a:srgbClr val="353B3E">
                    <a:lumMod val="60000"/>
                    <a:lumOff val="40000"/>
                  </a:srgbClr>
                </a:solidFill>
                <a:latin typeface="Calibri Light" panose="020F0302020204030204" pitchFamily="34" charset="0"/>
                <a:cs typeface="Calibri Light" panose="020F0302020204030204" pitchFamily="34" charset="0"/>
              </a:rPr>
              <a:t>Front </a:t>
            </a:r>
            <a:r>
              <a:rPr lang="en-US" sz="750" i="1" dirty="0" err="1">
                <a:solidFill>
                  <a:srgbClr val="353B3E">
                    <a:lumMod val="60000"/>
                    <a:lumOff val="40000"/>
                  </a:srgbClr>
                </a:solidFill>
                <a:latin typeface="Calibri Light" panose="020F0302020204030204" pitchFamily="34" charset="0"/>
                <a:cs typeface="Calibri Light" panose="020F0302020204030204" pitchFamily="34" charset="0"/>
              </a:rPr>
              <a:t>Pediatr</a:t>
            </a:r>
            <a:r>
              <a:rPr lang="en-US" sz="750" dirty="0">
                <a:solidFill>
                  <a:srgbClr val="353B3E">
                    <a:lumMod val="60000"/>
                    <a:lumOff val="40000"/>
                  </a:srgbClr>
                </a:solidFill>
                <a:latin typeface="Calibri Light" panose="020F0302020204030204" pitchFamily="34" charset="0"/>
                <a:cs typeface="Calibri Light" panose="020F0302020204030204" pitchFamily="34" charset="0"/>
              </a:rPr>
              <a:t>. 2021;9:664083. </a:t>
            </a:r>
            <a:r>
              <a:rPr lang="tr-TR" sz="750" b="1" dirty="0">
                <a:solidFill>
                  <a:srgbClr val="353B3E">
                    <a:lumMod val="60000"/>
                    <a:lumOff val="40000"/>
                  </a:srgbClr>
                </a:solidFill>
                <a:latin typeface="Calibri Light" panose="020F0302020204030204" pitchFamily="34" charset="0"/>
                <a:cs typeface="Calibri Light" panose="020F0302020204030204" pitchFamily="34" charset="0"/>
              </a:rPr>
              <a:t>5</a:t>
            </a:r>
            <a:r>
              <a:rPr lang="da-DK" sz="750" b="1" dirty="0">
                <a:solidFill>
                  <a:srgbClr val="353B3E">
                    <a:lumMod val="60000"/>
                    <a:lumOff val="40000"/>
                  </a:srgbClr>
                </a:solidFill>
                <a:latin typeface="Calibri Light" panose="020F0302020204030204" pitchFamily="34" charset="0"/>
                <a:cs typeface="Calibri Light" panose="020F0302020204030204" pitchFamily="34" charset="0"/>
              </a:rPr>
              <a:t>. </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Park DC, et al. </a:t>
            </a:r>
            <a:r>
              <a:rPr lang="da-DK" sz="750" i="1" dirty="0">
                <a:solidFill>
                  <a:srgbClr val="353B3E">
                    <a:lumMod val="60000"/>
                    <a:lumOff val="40000"/>
                  </a:srgbClr>
                </a:solidFill>
                <a:latin typeface="Calibri Light" panose="020F0302020204030204" pitchFamily="34" charset="0"/>
                <a:cs typeface="Calibri Light" panose="020F0302020204030204" pitchFamily="34" charset="0"/>
              </a:rPr>
              <a:t>Ann Lab Med</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 2019;39(6):537-544. </a:t>
            </a:r>
            <a:r>
              <a:rPr lang="tr-TR" sz="750" b="1" dirty="0">
                <a:solidFill>
                  <a:srgbClr val="353B3E">
                    <a:lumMod val="60000"/>
                    <a:lumOff val="40000"/>
                  </a:srgbClr>
                </a:solidFill>
                <a:latin typeface="Calibri Light" panose="020F0302020204030204" pitchFamily="34" charset="0"/>
                <a:cs typeface="Calibri Light" panose="020F0302020204030204" pitchFamily="34" charset="0"/>
              </a:rPr>
              <a:t>6</a:t>
            </a:r>
            <a:r>
              <a:rPr lang="da-DK" sz="750" b="1" dirty="0">
                <a:solidFill>
                  <a:srgbClr val="353B3E">
                    <a:lumMod val="60000"/>
                    <a:lumOff val="40000"/>
                  </a:srgbClr>
                </a:solidFill>
                <a:latin typeface="Calibri Light" panose="020F0302020204030204" pitchFamily="34" charset="0"/>
                <a:cs typeface="Calibri Light" panose="020F0302020204030204" pitchFamily="34" charset="0"/>
              </a:rPr>
              <a:t>.</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 </a:t>
            </a:r>
            <a:r>
              <a:rPr lang="en-US" sz="750" dirty="0">
                <a:solidFill>
                  <a:srgbClr val="353B3E">
                    <a:lumMod val="60000"/>
                    <a:lumOff val="40000"/>
                  </a:srgbClr>
                </a:solidFill>
                <a:latin typeface="Calibri Light" panose="020F0302020204030204" pitchFamily="34" charset="0"/>
                <a:cs typeface="Calibri Light" panose="020F0302020204030204" pitchFamily="34" charset="0"/>
              </a:rPr>
              <a:t>Yun KW, et al. </a:t>
            </a:r>
            <a:r>
              <a:rPr lang="en-US" sz="750" i="1" dirty="0">
                <a:solidFill>
                  <a:srgbClr val="353B3E">
                    <a:lumMod val="60000"/>
                    <a:lumOff val="40000"/>
                  </a:srgbClr>
                </a:solidFill>
                <a:latin typeface="Calibri Light" panose="020F0302020204030204" pitchFamily="34" charset="0"/>
                <a:cs typeface="Calibri Light" panose="020F0302020204030204" pitchFamily="34" charset="0"/>
              </a:rPr>
              <a:t>Vaccine</a:t>
            </a:r>
            <a:r>
              <a:rPr lang="en-US" sz="750" dirty="0">
                <a:solidFill>
                  <a:srgbClr val="353B3E">
                    <a:lumMod val="60000"/>
                    <a:lumOff val="40000"/>
                  </a:srgbClr>
                </a:solidFill>
                <a:latin typeface="Calibri Light" panose="020F0302020204030204" pitchFamily="34" charset="0"/>
                <a:cs typeface="Calibri Light" panose="020F0302020204030204" pitchFamily="34" charset="0"/>
              </a:rPr>
              <a:t>. 2021;39(40):5787-5793. </a:t>
            </a:r>
            <a:r>
              <a:rPr lang="tr-TR" sz="750" b="1" dirty="0">
                <a:solidFill>
                  <a:srgbClr val="353B3E">
                    <a:lumMod val="60000"/>
                    <a:lumOff val="40000"/>
                  </a:srgbClr>
                </a:solidFill>
                <a:latin typeface="Calibri Light" panose="020F0302020204030204" pitchFamily="34" charset="0"/>
                <a:cs typeface="Calibri Light" panose="020F0302020204030204" pitchFamily="34" charset="0"/>
              </a:rPr>
              <a:t>7.</a:t>
            </a:r>
            <a:r>
              <a:rPr lang="en-US" sz="750" b="1" dirty="0">
                <a:solidFill>
                  <a:srgbClr val="353B3E">
                    <a:lumMod val="60000"/>
                    <a:lumOff val="40000"/>
                  </a:srgbClr>
                </a:solidFill>
                <a:latin typeface="Calibri Light" panose="020F0302020204030204" pitchFamily="34" charset="0"/>
                <a:cs typeface="Calibri Light" panose="020F0302020204030204" pitchFamily="34" charset="0"/>
              </a:rPr>
              <a:t> </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Tomczyk S, et al. </a:t>
            </a:r>
            <a:r>
              <a:rPr lang="da-DK" sz="750" i="1" dirty="0">
                <a:solidFill>
                  <a:srgbClr val="353B3E">
                    <a:lumMod val="60000"/>
                    <a:lumOff val="40000"/>
                  </a:srgbClr>
                </a:solidFill>
                <a:latin typeface="Calibri Light" panose="020F0302020204030204" pitchFamily="34" charset="0"/>
                <a:cs typeface="Calibri Light" panose="020F0302020204030204" pitchFamily="34" charset="0"/>
              </a:rPr>
              <a:t>Clin Infect Dis. </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2016;62(9):1119-1125.</a:t>
            </a:r>
            <a:r>
              <a:rPr lang="fr-FR" sz="750" dirty="0">
                <a:solidFill>
                  <a:srgbClr val="353B3E">
                    <a:lumMod val="60000"/>
                    <a:lumOff val="40000"/>
                  </a:srgbClr>
                </a:solidFill>
                <a:latin typeface="Calibri Light" panose="020F0302020204030204" pitchFamily="34" charset="0"/>
                <a:cs typeface="Calibri Light" panose="020F0302020204030204" pitchFamily="34" charset="0"/>
              </a:rPr>
              <a:t> </a:t>
            </a:r>
            <a:r>
              <a:rPr lang="tr-TR" sz="750" b="1" dirty="0">
                <a:solidFill>
                  <a:srgbClr val="353B3E">
                    <a:lumMod val="60000"/>
                    <a:lumOff val="40000"/>
                  </a:srgbClr>
                </a:solidFill>
                <a:latin typeface="Calibri Light" panose="020F0302020204030204" pitchFamily="34" charset="0"/>
                <a:cs typeface="Calibri Light" panose="020F0302020204030204" pitchFamily="34" charset="0"/>
              </a:rPr>
              <a:t>8</a:t>
            </a:r>
            <a:r>
              <a:rPr lang="fr-FR" sz="750" b="1" dirty="0">
                <a:solidFill>
                  <a:srgbClr val="353B3E">
                    <a:lumMod val="60000"/>
                    <a:lumOff val="40000"/>
                  </a:srgbClr>
                </a:solidFill>
                <a:latin typeface="Calibri Light" panose="020F0302020204030204" pitchFamily="34" charset="0"/>
                <a:cs typeface="Calibri Light" panose="020F0302020204030204" pitchFamily="34" charset="0"/>
              </a:rPr>
              <a:t>.</a:t>
            </a:r>
            <a:r>
              <a:rPr lang="fr-FR" sz="750" dirty="0">
                <a:solidFill>
                  <a:srgbClr val="353B3E">
                    <a:lumMod val="60000"/>
                    <a:lumOff val="40000"/>
                  </a:srgbClr>
                </a:solidFill>
                <a:latin typeface="Calibri Light" panose="020F0302020204030204" pitchFamily="34" charset="0"/>
                <a:cs typeface="Calibri Light" panose="020F0302020204030204" pitchFamily="34" charset="0"/>
              </a:rPr>
              <a:t> Müller A, et al. </a:t>
            </a:r>
            <a:r>
              <a:rPr lang="fr-FR" sz="750" i="1" dirty="0" err="1">
                <a:solidFill>
                  <a:srgbClr val="353B3E">
                    <a:lumMod val="60000"/>
                    <a:lumOff val="40000"/>
                  </a:srgbClr>
                </a:solidFill>
                <a:latin typeface="Calibri Light" panose="020F0302020204030204" pitchFamily="34" charset="0"/>
                <a:cs typeface="Calibri Light" panose="020F0302020204030204" pitchFamily="34" charset="0"/>
              </a:rPr>
              <a:t>Emerg</a:t>
            </a:r>
            <a:r>
              <a:rPr lang="fr-FR" sz="750" i="1" dirty="0">
                <a:solidFill>
                  <a:srgbClr val="353B3E">
                    <a:lumMod val="60000"/>
                    <a:lumOff val="40000"/>
                  </a:srgbClr>
                </a:solidFill>
                <a:latin typeface="Calibri Light" panose="020F0302020204030204" pitchFamily="34" charset="0"/>
                <a:cs typeface="Calibri Light" panose="020F0302020204030204" pitchFamily="34" charset="0"/>
              </a:rPr>
              <a:t> Infect Dis</a:t>
            </a:r>
            <a:r>
              <a:rPr lang="fr-FR" sz="750" dirty="0">
                <a:solidFill>
                  <a:srgbClr val="353B3E">
                    <a:lumMod val="60000"/>
                    <a:lumOff val="40000"/>
                  </a:srgbClr>
                </a:solidFill>
                <a:latin typeface="Calibri Light" panose="020F0302020204030204" pitchFamily="34" charset="0"/>
                <a:cs typeface="Calibri Light" panose="020F0302020204030204" pitchFamily="34" charset="0"/>
              </a:rPr>
              <a:t>. 2022;28(1):166-179. </a:t>
            </a:r>
          </a:p>
        </p:txBody>
      </p:sp>
      <p:grpSp>
        <p:nvGrpSpPr>
          <p:cNvPr id="117" name="Group 116">
            <a:extLst>
              <a:ext uri="{FF2B5EF4-FFF2-40B4-BE49-F238E27FC236}">
                <a16:creationId xmlns:a16="http://schemas.microsoft.com/office/drawing/2014/main" id="{E7C42DA8-4365-4301-9705-7A821CC68581}"/>
              </a:ext>
            </a:extLst>
          </p:cNvPr>
          <p:cNvGrpSpPr/>
          <p:nvPr/>
        </p:nvGrpSpPr>
        <p:grpSpPr>
          <a:xfrm>
            <a:off x="613153" y="1285875"/>
            <a:ext cx="11264523" cy="4440397"/>
            <a:chOff x="1928715" y="1694416"/>
            <a:chExt cx="7811604" cy="3636372"/>
          </a:xfrm>
        </p:grpSpPr>
        <p:sp>
          <p:nvSpPr>
            <p:cNvPr id="7" name="Rectangle: Rounded Corners 6">
              <a:extLst>
                <a:ext uri="{FF2B5EF4-FFF2-40B4-BE49-F238E27FC236}">
                  <a16:creationId xmlns:a16="http://schemas.microsoft.com/office/drawing/2014/main" id="{81519548-6F5C-C6A5-CC1E-C4CF451E2E07}"/>
                </a:ext>
              </a:extLst>
            </p:cNvPr>
            <p:cNvSpPr/>
            <p:nvPr/>
          </p:nvSpPr>
          <p:spPr>
            <a:xfrm>
              <a:off x="1928715" y="2525761"/>
              <a:ext cx="7811604" cy="2805027"/>
            </a:xfrm>
            <a:prstGeom prst="roundRect">
              <a:avLst>
                <a:gd name="adj" fmla="val 3365"/>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Arial" panose="020B0604020202020204"/>
              </a:endParaRPr>
            </a:p>
          </p:txBody>
        </p:sp>
        <p:sp>
          <p:nvSpPr>
            <p:cNvPr id="8" name="Rectangle: Rounded Corners 7">
              <a:extLst>
                <a:ext uri="{FF2B5EF4-FFF2-40B4-BE49-F238E27FC236}">
                  <a16:creationId xmlns:a16="http://schemas.microsoft.com/office/drawing/2014/main" id="{D2DF7825-B872-35F4-8425-195F87F2E334}"/>
                </a:ext>
              </a:extLst>
            </p:cNvPr>
            <p:cNvSpPr/>
            <p:nvPr/>
          </p:nvSpPr>
          <p:spPr>
            <a:xfrm>
              <a:off x="1984376" y="2375716"/>
              <a:ext cx="2225674" cy="290512"/>
            </a:xfrm>
            <a:prstGeom prst="roundRect">
              <a:avLst>
                <a:gd name="adj" fmla="val 5000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a:lnSpc>
                  <a:spcPct val="90000"/>
                </a:lnSpc>
                <a:defRPr/>
              </a:pPr>
              <a:r>
                <a:rPr lang="en-US" sz="1200" b="1">
                  <a:solidFill>
                    <a:srgbClr val="0095FF"/>
                  </a:solidFill>
                  <a:latin typeface="Arial" panose="020B0604020202020204"/>
                </a:rPr>
                <a:t>KPA20 Ek </a:t>
              </a:r>
              <a:r>
                <a:rPr lang="en-US" sz="1200" b="1" err="1">
                  <a:solidFill>
                    <a:srgbClr val="0095FF"/>
                  </a:solidFill>
                  <a:latin typeface="Arial" panose="020B0604020202020204"/>
                </a:rPr>
                <a:t>Serotipler</a:t>
              </a:r>
              <a:endParaRPr lang="en-US" sz="1200" b="1">
                <a:solidFill>
                  <a:srgbClr val="0095FF"/>
                </a:solidFill>
                <a:latin typeface="Arial" panose="020B0604020202020204"/>
              </a:endParaRPr>
            </a:p>
          </p:txBody>
        </p:sp>
        <p:cxnSp>
          <p:nvCxnSpPr>
            <p:cNvPr id="9" name="Straight Connector 8">
              <a:extLst>
                <a:ext uri="{FF2B5EF4-FFF2-40B4-BE49-F238E27FC236}">
                  <a16:creationId xmlns:a16="http://schemas.microsoft.com/office/drawing/2014/main" id="{D3ED7FB6-64FB-D3D3-F4D4-0D729B284B2D}"/>
                </a:ext>
              </a:extLst>
            </p:cNvPr>
            <p:cNvCxnSpPr>
              <a:cxnSpLocks/>
            </p:cNvCxnSpPr>
            <p:nvPr/>
          </p:nvCxnSpPr>
          <p:spPr>
            <a:xfrm flipH="1">
              <a:off x="3407468" y="3035546"/>
              <a:ext cx="6193630" cy="0"/>
            </a:xfrm>
            <a:prstGeom prst="line">
              <a:avLst/>
            </a:prstGeom>
            <a:noFill/>
            <a:ln w="12700">
              <a:solidFill>
                <a:schemeClr val="bg1">
                  <a:lumMod val="75000"/>
                </a:schemeClr>
              </a:solidFill>
              <a:prstDash val="solid"/>
              <a:round/>
              <a:headEnd/>
              <a:tailEnd/>
            </a:ln>
            <a:effectLst/>
          </p:spPr>
        </p:cxnSp>
        <p:cxnSp>
          <p:nvCxnSpPr>
            <p:cNvPr id="10" name="Straight Connector 9">
              <a:extLst>
                <a:ext uri="{FF2B5EF4-FFF2-40B4-BE49-F238E27FC236}">
                  <a16:creationId xmlns:a16="http://schemas.microsoft.com/office/drawing/2014/main" id="{1CA29159-873B-6245-5026-63A37F8D8DB2}"/>
                </a:ext>
              </a:extLst>
            </p:cNvPr>
            <p:cNvCxnSpPr>
              <a:cxnSpLocks/>
            </p:cNvCxnSpPr>
            <p:nvPr/>
          </p:nvCxnSpPr>
          <p:spPr>
            <a:xfrm flipH="1">
              <a:off x="3407468" y="4927604"/>
              <a:ext cx="6193630" cy="0"/>
            </a:xfrm>
            <a:prstGeom prst="line">
              <a:avLst/>
            </a:prstGeom>
            <a:noFill/>
            <a:ln w="12700">
              <a:solidFill>
                <a:schemeClr val="bg1">
                  <a:lumMod val="75000"/>
                </a:schemeClr>
              </a:solidFill>
              <a:prstDash val="solid"/>
              <a:round/>
              <a:headEnd/>
              <a:tailEnd/>
            </a:ln>
            <a:effectLst/>
          </p:spPr>
        </p:cxnSp>
        <p:cxnSp>
          <p:nvCxnSpPr>
            <p:cNvPr id="11" name="Straight Connector 10">
              <a:extLst>
                <a:ext uri="{FF2B5EF4-FFF2-40B4-BE49-F238E27FC236}">
                  <a16:creationId xmlns:a16="http://schemas.microsoft.com/office/drawing/2014/main" id="{871F81C9-978E-353C-73C5-FFA104EB5C16}"/>
                </a:ext>
              </a:extLst>
            </p:cNvPr>
            <p:cNvCxnSpPr>
              <a:cxnSpLocks/>
            </p:cNvCxnSpPr>
            <p:nvPr/>
          </p:nvCxnSpPr>
          <p:spPr>
            <a:xfrm flipH="1">
              <a:off x="3407468" y="4549193"/>
              <a:ext cx="6193630" cy="0"/>
            </a:xfrm>
            <a:prstGeom prst="line">
              <a:avLst/>
            </a:prstGeom>
            <a:noFill/>
            <a:ln w="12700">
              <a:solidFill>
                <a:schemeClr val="bg1">
                  <a:lumMod val="75000"/>
                </a:schemeClr>
              </a:solidFill>
              <a:prstDash val="solid"/>
              <a:round/>
              <a:headEnd/>
              <a:tailEnd/>
            </a:ln>
            <a:effectLst/>
          </p:spPr>
        </p:cxnSp>
        <p:cxnSp>
          <p:nvCxnSpPr>
            <p:cNvPr id="12" name="Straight Connector 11">
              <a:extLst>
                <a:ext uri="{FF2B5EF4-FFF2-40B4-BE49-F238E27FC236}">
                  <a16:creationId xmlns:a16="http://schemas.microsoft.com/office/drawing/2014/main" id="{5D4B47BD-3FC9-496F-F3C8-299833C99F53}"/>
                </a:ext>
              </a:extLst>
            </p:cNvPr>
            <p:cNvCxnSpPr>
              <a:cxnSpLocks/>
            </p:cNvCxnSpPr>
            <p:nvPr/>
          </p:nvCxnSpPr>
          <p:spPr>
            <a:xfrm flipH="1">
              <a:off x="3407468" y="4170782"/>
              <a:ext cx="6193630" cy="0"/>
            </a:xfrm>
            <a:prstGeom prst="line">
              <a:avLst/>
            </a:prstGeom>
            <a:noFill/>
            <a:ln w="12700">
              <a:solidFill>
                <a:schemeClr val="bg1">
                  <a:lumMod val="75000"/>
                </a:schemeClr>
              </a:solidFill>
              <a:prstDash val="solid"/>
              <a:round/>
              <a:headEnd/>
              <a:tailEnd/>
            </a:ln>
            <a:effectLst/>
          </p:spPr>
        </p:cxnSp>
        <p:cxnSp>
          <p:nvCxnSpPr>
            <p:cNvPr id="13" name="Straight Connector 12">
              <a:extLst>
                <a:ext uri="{FF2B5EF4-FFF2-40B4-BE49-F238E27FC236}">
                  <a16:creationId xmlns:a16="http://schemas.microsoft.com/office/drawing/2014/main" id="{D3C573A4-3AAC-7D93-6D22-EB94A43A2726}"/>
                </a:ext>
              </a:extLst>
            </p:cNvPr>
            <p:cNvCxnSpPr>
              <a:cxnSpLocks/>
            </p:cNvCxnSpPr>
            <p:nvPr/>
          </p:nvCxnSpPr>
          <p:spPr>
            <a:xfrm flipH="1">
              <a:off x="3407468" y="3792370"/>
              <a:ext cx="6193630" cy="0"/>
            </a:xfrm>
            <a:prstGeom prst="line">
              <a:avLst/>
            </a:prstGeom>
            <a:noFill/>
            <a:ln w="12700">
              <a:solidFill>
                <a:schemeClr val="bg1">
                  <a:lumMod val="75000"/>
                </a:schemeClr>
              </a:solidFill>
              <a:prstDash val="solid"/>
              <a:round/>
              <a:headEnd/>
              <a:tailEnd/>
            </a:ln>
            <a:effectLst/>
          </p:spPr>
        </p:cxnSp>
        <p:cxnSp>
          <p:nvCxnSpPr>
            <p:cNvPr id="14" name="Straight Connector 13">
              <a:extLst>
                <a:ext uri="{FF2B5EF4-FFF2-40B4-BE49-F238E27FC236}">
                  <a16:creationId xmlns:a16="http://schemas.microsoft.com/office/drawing/2014/main" id="{6942F67B-56D1-B61A-A816-253B2FCF1576}"/>
                </a:ext>
              </a:extLst>
            </p:cNvPr>
            <p:cNvCxnSpPr>
              <a:cxnSpLocks/>
            </p:cNvCxnSpPr>
            <p:nvPr/>
          </p:nvCxnSpPr>
          <p:spPr>
            <a:xfrm flipH="1">
              <a:off x="3407468" y="3413958"/>
              <a:ext cx="6193630" cy="0"/>
            </a:xfrm>
            <a:prstGeom prst="line">
              <a:avLst/>
            </a:prstGeom>
            <a:noFill/>
            <a:ln w="12700">
              <a:solidFill>
                <a:schemeClr val="bg1">
                  <a:lumMod val="75000"/>
                </a:schemeClr>
              </a:solidFill>
              <a:prstDash val="solid"/>
              <a:round/>
              <a:headEnd/>
              <a:tailEnd/>
            </a:ln>
            <a:effectLst/>
          </p:spPr>
        </p:cxnSp>
        <p:grpSp>
          <p:nvGrpSpPr>
            <p:cNvPr id="15" name="Group 14">
              <a:extLst>
                <a:ext uri="{FF2B5EF4-FFF2-40B4-BE49-F238E27FC236}">
                  <a16:creationId xmlns:a16="http://schemas.microsoft.com/office/drawing/2014/main" id="{6E6F38CB-43C5-CC44-C110-8044F296095A}"/>
                </a:ext>
              </a:extLst>
            </p:cNvPr>
            <p:cNvGrpSpPr/>
            <p:nvPr/>
          </p:nvGrpSpPr>
          <p:grpSpPr>
            <a:xfrm>
              <a:off x="4217008" y="1694416"/>
              <a:ext cx="859865" cy="3525608"/>
              <a:chOff x="3470161" y="1352713"/>
              <a:chExt cx="1146486" cy="4700810"/>
            </a:xfrm>
          </p:grpSpPr>
          <p:grpSp>
            <p:nvGrpSpPr>
              <p:cNvPr id="16" name="Group 15">
                <a:extLst>
                  <a:ext uri="{FF2B5EF4-FFF2-40B4-BE49-F238E27FC236}">
                    <a16:creationId xmlns:a16="http://schemas.microsoft.com/office/drawing/2014/main" id="{24E9F568-A309-5EA3-BF75-B5EFBB183CC7}"/>
                  </a:ext>
                </a:extLst>
              </p:cNvPr>
              <p:cNvGrpSpPr/>
              <p:nvPr/>
            </p:nvGrpSpPr>
            <p:grpSpPr>
              <a:xfrm>
                <a:off x="3623588" y="1618792"/>
                <a:ext cx="763432" cy="763432"/>
                <a:chOff x="9173151" y="2772092"/>
                <a:chExt cx="936314" cy="936314"/>
              </a:xfrm>
            </p:grpSpPr>
            <p:grpSp>
              <p:nvGrpSpPr>
                <p:cNvPr id="25" name="Group 24">
                  <a:extLst>
                    <a:ext uri="{FF2B5EF4-FFF2-40B4-BE49-F238E27FC236}">
                      <a16:creationId xmlns:a16="http://schemas.microsoft.com/office/drawing/2014/main" id="{E1E9AA28-D7D8-3C4A-1F5D-998D69AE2FFF}"/>
                    </a:ext>
                  </a:extLst>
                </p:cNvPr>
                <p:cNvGrpSpPr/>
                <p:nvPr/>
              </p:nvGrpSpPr>
              <p:grpSpPr>
                <a:xfrm>
                  <a:off x="9173151" y="2772092"/>
                  <a:ext cx="936314" cy="936314"/>
                  <a:chOff x="6776583" y="2475541"/>
                  <a:chExt cx="936314" cy="936314"/>
                </a:xfrm>
              </p:grpSpPr>
              <p:sp>
                <p:nvSpPr>
                  <p:cNvPr id="36" name="Rectangle: Rounded Corners 35">
                    <a:extLst>
                      <a:ext uri="{FF2B5EF4-FFF2-40B4-BE49-F238E27FC236}">
                        <a16:creationId xmlns:a16="http://schemas.microsoft.com/office/drawing/2014/main" id="{5BAF575E-9634-B418-F9C7-7FA42247FBD7}"/>
                      </a:ext>
                    </a:extLst>
                  </p:cNvPr>
                  <p:cNvSpPr/>
                  <p:nvPr/>
                </p:nvSpPr>
                <p:spPr>
                  <a:xfrm rot="10800000" flipV="1">
                    <a:off x="6776583" y="2475541"/>
                    <a:ext cx="936314" cy="936314"/>
                  </a:xfrm>
                  <a:prstGeom prst="roundRect">
                    <a:avLst>
                      <a:gd name="adj" fmla="val 28422"/>
                    </a:avLst>
                  </a:prstGeom>
                  <a:gradFill>
                    <a:gsLst>
                      <a:gs pos="0">
                        <a:schemeClr val="accent1"/>
                      </a:gs>
                      <a:gs pos="100000">
                        <a:schemeClr val="accent2"/>
                      </a:gs>
                    </a:gsLst>
                    <a:lin ang="126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1F497D"/>
                      </a:solidFill>
                      <a:latin typeface="Arial"/>
                    </a:endParaRPr>
                  </a:p>
                </p:txBody>
              </p:sp>
              <p:grpSp>
                <p:nvGrpSpPr>
                  <p:cNvPr id="37" name="Group 36">
                    <a:extLst>
                      <a:ext uri="{FF2B5EF4-FFF2-40B4-BE49-F238E27FC236}">
                        <a16:creationId xmlns:a16="http://schemas.microsoft.com/office/drawing/2014/main" id="{A83834D6-E14B-CCF9-28E0-D21E0F6BF4E0}"/>
                      </a:ext>
                    </a:extLst>
                  </p:cNvPr>
                  <p:cNvGrpSpPr/>
                  <p:nvPr/>
                </p:nvGrpSpPr>
                <p:grpSpPr>
                  <a:xfrm>
                    <a:off x="6994857" y="2541054"/>
                    <a:ext cx="484178" cy="381364"/>
                    <a:chOff x="7569305" y="5838825"/>
                    <a:chExt cx="706114" cy="556173"/>
                  </a:xfrm>
                </p:grpSpPr>
                <p:sp>
                  <p:nvSpPr>
                    <p:cNvPr id="38" name="Freeform 435">
                      <a:extLst>
                        <a:ext uri="{FF2B5EF4-FFF2-40B4-BE49-F238E27FC236}">
                          <a16:creationId xmlns:a16="http://schemas.microsoft.com/office/drawing/2014/main" id="{344B007E-B3C3-A1A7-8EAA-23FAA4C674F4}"/>
                        </a:ext>
                      </a:extLst>
                    </p:cNvPr>
                    <p:cNvSpPr/>
                    <p:nvPr/>
                  </p:nvSpPr>
                  <p:spPr>
                    <a:xfrm>
                      <a:off x="7569305" y="5838825"/>
                      <a:ext cx="706114" cy="556173"/>
                    </a:xfrm>
                    <a:custGeom>
                      <a:avLst/>
                      <a:gdLst/>
                      <a:ahLst/>
                      <a:cxnLst/>
                      <a:rect l="l" t="t" r="r" b="b"/>
                      <a:pathLst>
                        <a:path w="1295400" h="1020326">
                          <a:moveTo>
                            <a:pt x="645722" y="46"/>
                          </a:moveTo>
                          <a:cubicBezTo>
                            <a:pt x="664129" y="-676"/>
                            <a:pt x="683980" y="7265"/>
                            <a:pt x="708524" y="8708"/>
                          </a:cubicBezTo>
                          <a:cubicBezTo>
                            <a:pt x="733068" y="10152"/>
                            <a:pt x="769161" y="4377"/>
                            <a:pt x="792983" y="8708"/>
                          </a:cubicBezTo>
                          <a:cubicBezTo>
                            <a:pt x="816804" y="13040"/>
                            <a:pt x="832685" y="30003"/>
                            <a:pt x="851453" y="34695"/>
                          </a:cubicBezTo>
                          <a:cubicBezTo>
                            <a:pt x="870222" y="39388"/>
                            <a:pt x="887547" y="33613"/>
                            <a:pt x="905593" y="36861"/>
                          </a:cubicBezTo>
                          <a:cubicBezTo>
                            <a:pt x="923640" y="40109"/>
                            <a:pt x="940964" y="44802"/>
                            <a:pt x="959733" y="54186"/>
                          </a:cubicBezTo>
                          <a:cubicBezTo>
                            <a:pt x="978501" y="63570"/>
                            <a:pt x="996187" y="81256"/>
                            <a:pt x="1018204" y="93167"/>
                          </a:cubicBezTo>
                          <a:cubicBezTo>
                            <a:pt x="1040221" y="105077"/>
                            <a:pt x="1070539" y="109048"/>
                            <a:pt x="1091834" y="125651"/>
                          </a:cubicBezTo>
                          <a:cubicBezTo>
                            <a:pt x="1113129" y="142254"/>
                            <a:pt x="1130454" y="177986"/>
                            <a:pt x="1145974" y="192784"/>
                          </a:cubicBezTo>
                          <a:cubicBezTo>
                            <a:pt x="1161494" y="207582"/>
                            <a:pt x="1173766" y="200363"/>
                            <a:pt x="1184955" y="214440"/>
                          </a:cubicBezTo>
                          <a:cubicBezTo>
                            <a:pt x="1196144" y="228516"/>
                            <a:pt x="1200836" y="259557"/>
                            <a:pt x="1213108" y="277242"/>
                          </a:cubicBezTo>
                          <a:cubicBezTo>
                            <a:pt x="1225379" y="294928"/>
                            <a:pt x="1249923" y="302147"/>
                            <a:pt x="1258585" y="320554"/>
                          </a:cubicBezTo>
                          <a:cubicBezTo>
                            <a:pt x="1267247" y="338962"/>
                            <a:pt x="1259668" y="366392"/>
                            <a:pt x="1265082" y="387688"/>
                          </a:cubicBezTo>
                          <a:cubicBezTo>
                            <a:pt x="1270496" y="408983"/>
                            <a:pt x="1287099" y="429195"/>
                            <a:pt x="1291069" y="448324"/>
                          </a:cubicBezTo>
                          <a:cubicBezTo>
                            <a:pt x="1295039" y="467454"/>
                            <a:pt x="1288182" y="488027"/>
                            <a:pt x="1288903" y="502464"/>
                          </a:cubicBezTo>
                          <a:cubicBezTo>
                            <a:pt x="1289625" y="516901"/>
                            <a:pt x="1295400" y="524120"/>
                            <a:pt x="1295400" y="534948"/>
                          </a:cubicBezTo>
                          <a:cubicBezTo>
                            <a:pt x="1295400" y="545776"/>
                            <a:pt x="1294678" y="557687"/>
                            <a:pt x="1288903" y="567432"/>
                          </a:cubicBezTo>
                          <a:cubicBezTo>
                            <a:pt x="1283128" y="577177"/>
                            <a:pt x="1266526" y="582230"/>
                            <a:pt x="1260751" y="593419"/>
                          </a:cubicBezTo>
                          <a:cubicBezTo>
                            <a:pt x="1254976" y="604608"/>
                            <a:pt x="1263277" y="626625"/>
                            <a:pt x="1254254" y="634565"/>
                          </a:cubicBezTo>
                          <a:cubicBezTo>
                            <a:pt x="1245231" y="642506"/>
                            <a:pt x="1225921" y="641784"/>
                            <a:pt x="1206611" y="641062"/>
                          </a:cubicBezTo>
                          <a:lnTo>
                            <a:pt x="1196380" y="642139"/>
                          </a:lnTo>
                          <a:cubicBezTo>
                            <a:pt x="1200495" y="643541"/>
                            <a:pt x="1203820" y="645576"/>
                            <a:pt x="1206610" y="647558"/>
                          </a:cubicBezTo>
                          <a:cubicBezTo>
                            <a:pt x="1234041" y="667049"/>
                            <a:pt x="1238011" y="685817"/>
                            <a:pt x="1234763" y="714692"/>
                          </a:cubicBezTo>
                          <a:cubicBezTo>
                            <a:pt x="1231514" y="743566"/>
                            <a:pt x="1235123" y="791931"/>
                            <a:pt x="1187120" y="820806"/>
                          </a:cubicBezTo>
                          <a:cubicBezTo>
                            <a:pt x="1139116" y="849680"/>
                            <a:pt x="1008458" y="880360"/>
                            <a:pt x="946739" y="887939"/>
                          </a:cubicBezTo>
                          <a:cubicBezTo>
                            <a:pt x="885020" y="895519"/>
                            <a:pt x="843512" y="873502"/>
                            <a:pt x="816803" y="866284"/>
                          </a:cubicBezTo>
                          <a:cubicBezTo>
                            <a:pt x="790094" y="859065"/>
                            <a:pt x="793704" y="863757"/>
                            <a:pt x="786485" y="844628"/>
                          </a:cubicBezTo>
                          <a:lnTo>
                            <a:pt x="784587" y="834446"/>
                          </a:lnTo>
                          <a:cubicBezTo>
                            <a:pt x="781218" y="832760"/>
                            <a:pt x="779707" y="837002"/>
                            <a:pt x="784320" y="855456"/>
                          </a:cubicBezTo>
                          <a:cubicBezTo>
                            <a:pt x="791178" y="882886"/>
                            <a:pt x="825827" y="974563"/>
                            <a:pt x="831963" y="1000550"/>
                          </a:cubicBezTo>
                          <a:lnTo>
                            <a:pt x="835956" y="1012749"/>
                          </a:lnTo>
                          <a:cubicBezTo>
                            <a:pt x="833841" y="1011988"/>
                            <a:pt x="829391" y="1010160"/>
                            <a:pt x="821135" y="1011379"/>
                          </a:cubicBezTo>
                          <a:cubicBezTo>
                            <a:pt x="799118" y="1014627"/>
                            <a:pt x="720435" y="1021846"/>
                            <a:pt x="699861" y="1020041"/>
                          </a:cubicBezTo>
                          <a:lnTo>
                            <a:pt x="691808" y="1019026"/>
                          </a:lnTo>
                          <a:cubicBezTo>
                            <a:pt x="689913" y="1017943"/>
                            <a:pt x="702839" y="1015439"/>
                            <a:pt x="697696" y="1000550"/>
                          </a:cubicBezTo>
                          <a:cubicBezTo>
                            <a:pt x="690838" y="980699"/>
                            <a:pt x="667738" y="925837"/>
                            <a:pt x="658715" y="900933"/>
                          </a:cubicBezTo>
                          <a:cubicBezTo>
                            <a:pt x="649692" y="876029"/>
                            <a:pt x="651496" y="861952"/>
                            <a:pt x="643556" y="851124"/>
                          </a:cubicBezTo>
                          <a:cubicBezTo>
                            <a:pt x="635615" y="840296"/>
                            <a:pt x="625870" y="859426"/>
                            <a:pt x="611072" y="835965"/>
                          </a:cubicBezTo>
                          <a:cubicBezTo>
                            <a:pt x="596274" y="812505"/>
                            <a:pt x="563429" y="741401"/>
                            <a:pt x="554766" y="710361"/>
                          </a:cubicBezTo>
                          <a:lnTo>
                            <a:pt x="554678" y="709687"/>
                          </a:lnTo>
                          <a:lnTo>
                            <a:pt x="548270" y="710361"/>
                          </a:lnTo>
                          <a:cubicBezTo>
                            <a:pt x="509469" y="712707"/>
                            <a:pt x="470669" y="715053"/>
                            <a:pt x="450818" y="712527"/>
                          </a:cubicBezTo>
                          <a:cubicBezTo>
                            <a:pt x="430967" y="710000"/>
                            <a:pt x="439990" y="699533"/>
                            <a:pt x="429162" y="695202"/>
                          </a:cubicBezTo>
                          <a:cubicBezTo>
                            <a:pt x="418334" y="690871"/>
                            <a:pt x="399205" y="693037"/>
                            <a:pt x="385850" y="686540"/>
                          </a:cubicBezTo>
                          <a:cubicBezTo>
                            <a:pt x="372496" y="680043"/>
                            <a:pt x="358420" y="674990"/>
                            <a:pt x="349035" y="656221"/>
                          </a:cubicBezTo>
                          <a:cubicBezTo>
                            <a:pt x="339651" y="637453"/>
                            <a:pt x="350118" y="588727"/>
                            <a:pt x="329545" y="573929"/>
                          </a:cubicBezTo>
                          <a:cubicBezTo>
                            <a:pt x="308972" y="559130"/>
                            <a:pt x="249057" y="570319"/>
                            <a:pt x="225596" y="567432"/>
                          </a:cubicBezTo>
                          <a:cubicBezTo>
                            <a:pt x="202136" y="564545"/>
                            <a:pt x="211520" y="568515"/>
                            <a:pt x="188781" y="556604"/>
                          </a:cubicBezTo>
                          <a:cubicBezTo>
                            <a:pt x="166042" y="544693"/>
                            <a:pt x="119843" y="524481"/>
                            <a:pt x="89164" y="495967"/>
                          </a:cubicBezTo>
                          <a:cubicBezTo>
                            <a:pt x="58485" y="467453"/>
                            <a:pt x="17338" y="414036"/>
                            <a:pt x="4706" y="385522"/>
                          </a:cubicBezTo>
                          <a:cubicBezTo>
                            <a:pt x="-7927" y="357008"/>
                            <a:pt x="8315" y="337157"/>
                            <a:pt x="13368" y="324885"/>
                          </a:cubicBezTo>
                          <a:cubicBezTo>
                            <a:pt x="18421" y="312614"/>
                            <a:pt x="31054" y="316223"/>
                            <a:pt x="35024" y="311892"/>
                          </a:cubicBezTo>
                          <a:cubicBezTo>
                            <a:pt x="37009" y="309726"/>
                            <a:pt x="37551" y="309275"/>
                            <a:pt x="37596" y="307966"/>
                          </a:cubicBezTo>
                          <a:lnTo>
                            <a:pt x="37190" y="298898"/>
                          </a:lnTo>
                          <a:cubicBezTo>
                            <a:pt x="37190" y="287709"/>
                            <a:pt x="27084" y="264971"/>
                            <a:pt x="35024" y="244758"/>
                          </a:cubicBezTo>
                          <a:cubicBezTo>
                            <a:pt x="42965" y="224546"/>
                            <a:pt x="68230" y="191701"/>
                            <a:pt x="84833" y="177625"/>
                          </a:cubicBezTo>
                          <a:cubicBezTo>
                            <a:pt x="101436" y="163548"/>
                            <a:pt x="123453" y="168602"/>
                            <a:pt x="134641" y="160300"/>
                          </a:cubicBezTo>
                          <a:cubicBezTo>
                            <a:pt x="145830" y="151999"/>
                            <a:pt x="141499" y="141171"/>
                            <a:pt x="151966" y="127816"/>
                          </a:cubicBezTo>
                          <a:cubicBezTo>
                            <a:pt x="162433" y="114462"/>
                            <a:pt x="181202" y="88475"/>
                            <a:pt x="197444" y="80173"/>
                          </a:cubicBezTo>
                          <a:cubicBezTo>
                            <a:pt x="213686" y="71872"/>
                            <a:pt x="233537" y="83421"/>
                            <a:pt x="249418" y="78008"/>
                          </a:cubicBezTo>
                          <a:cubicBezTo>
                            <a:pt x="265299" y="72594"/>
                            <a:pt x="267104" y="58156"/>
                            <a:pt x="292730" y="47689"/>
                          </a:cubicBezTo>
                          <a:cubicBezTo>
                            <a:pt x="318356" y="37222"/>
                            <a:pt x="375022" y="18093"/>
                            <a:pt x="403175" y="15205"/>
                          </a:cubicBezTo>
                          <a:cubicBezTo>
                            <a:pt x="431328" y="12318"/>
                            <a:pt x="439629" y="31808"/>
                            <a:pt x="461646" y="30364"/>
                          </a:cubicBezTo>
                          <a:cubicBezTo>
                            <a:pt x="483663" y="28921"/>
                            <a:pt x="512538" y="9430"/>
                            <a:pt x="535276" y="6543"/>
                          </a:cubicBezTo>
                          <a:cubicBezTo>
                            <a:pt x="558015" y="3655"/>
                            <a:pt x="579671" y="14122"/>
                            <a:pt x="598078" y="13040"/>
                          </a:cubicBezTo>
                          <a:cubicBezTo>
                            <a:pt x="616486" y="11957"/>
                            <a:pt x="627314" y="768"/>
                            <a:pt x="645722" y="46"/>
                          </a:cubicBezTo>
                          <a:close/>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39" name="Freeform 438">
                      <a:extLst>
                        <a:ext uri="{FF2B5EF4-FFF2-40B4-BE49-F238E27FC236}">
                          <a16:creationId xmlns:a16="http://schemas.microsoft.com/office/drawing/2014/main" id="{5D1C9AEC-4702-41FB-5759-AC86A633DC10}"/>
                        </a:ext>
                      </a:extLst>
                    </p:cNvPr>
                    <p:cNvSpPr/>
                    <p:nvPr/>
                  </p:nvSpPr>
                  <p:spPr>
                    <a:xfrm>
                      <a:off x="7695463" y="5950503"/>
                      <a:ext cx="94894" cy="66676"/>
                    </a:xfrm>
                    <a:custGeom>
                      <a:avLst/>
                      <a:gdLst>
                        <a:gd name="connsiteX0" fmla="*/ 225425 w 225425"/>
                        <a:gd name="connsiteY0" fmla="*/ 88900 h 92891"/>
                        <a:gd name="connsiteX1" fmla="*/ 63500 w 225425"/>
                        <a:gd name="connsiteY1" fmla="*/ 82550 h 92891"/>
                        <a:gd name="connsiteX2" fmla="*/ 0 w 225425"/>
                        <a:gd name="connsiteY2" fmla="*/ 0 h 92891"/>
                      </a:gdLst>
                      <a:ahLst/>
                      <a:cxnLst>
                        <a:cxn ang="0">
                          <a:pos x="connsiteX0" y="connsiteY0"/>
                        </a:cxn>
                        <a:cxn ang="0">
                          <a:pos x="connsiteX1" y="connsiteY1"/>
                        </a:cxn>
                        <a:cxn ang="0">
                          <a:pos x="connsiteX2" y="connsiteY2"/>
                        </a:cxn>
                      </a:cxnLst>
                      <a:rect l="l" t="t" r="r" b="b"/>
                      <a:pathLst>
                        <a:path w="225425" h="92891">
                          <a:moveTo>
                            <a:pt x="225425" y="88900"/>
                          </a:moveTo>
                          <a:cubicBezTo>
                            <a:pt x="163248" y="93133"/>
                            <a:pt x="101071" y="97367"/>
                            <a:pt x="63500" y="82550"/>
                          </a:cubicBezTo>
                          <a:cubicBezTo>
                            <a:pt x="25929" y="67733"/>
                            <a:pt x="12964" y="33866"/>
                            <a:pt x="0"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0" name="Freeform 439">
                      <a:extLst>
                        <a:ext uri="{FF2B5EF4-FFF2-40B4-BE49-F238E27FC236}">
                          <a16:creationId xmlns:a16="http://schemas.microsoft.com/office/drawing/2014/main" id="{6B31B2A9-90E1-961F-CCA0-769A839DA464}"/>
                        </a:ext>
                      </a:extLst>
                    </p:cNvPr>
                    <p:cNvSpPr/>
                    <p:nvPr/>
                  </p:nvSpPr>
                  <p:spPr>
                    <a:xfrm>
                      <a:off x="7584332" y="6006295"/>
                      <a:ext cx="115902" cy="66676"/>
                    </a:xfrm>
                    <a:custGeom>
                      <a:avLst/>
                      <a:gdLst>
                        <a:gd name="connsiteX0" fmla="*/ 292486 w 292486"/>
                        <a:gd name="connsiteY0" fmla="*/ 0 h 140807"/>
                        <a:gd name="connsiteX1" fmla="*/ 184536 w 292486"/>
                        <a:gd name="connsiteY1" fmla="*/ 133350 h 140807"/>
                        <a:gd name="connsiteX2" fmla="*/ 28961 w 292486"/>
                        <a:gd name="connsiteY2" fmla="*/ 123825 h 140807"/>
                        <a:gd name="connsiteX3" fmla="*/ 386 w 292486"/>
                        <a:gd name="connsiteY3" fmla="*/ 123825 h 140807"/>
                      </a:gdLst>
                      <a:ahLst/>
                      <a:cxnLst>
                        <a:cxn ang="0">
                          <a:pos x="connsiteX0" y="connsiteY0"/>
                        </a:cxn>
                        <a:cxn ang="0">
                          <a:pos x="connsiteX1" y="connsiteY1"/>
                        </a:cxn>
                        <a:cxn ang="0">
                          <a:pos x="connsiteX2" y="connsiteY2"/>
                        </a:cxn>
                        <a:cxn ang="0">
                          <a:pos x="connsiteX3" y="connsiteY3"/>
                        </a:cxn>
                      </a:cxnLst>
                      <a:rect l="l" t="t" r="r" b="b"/>
                      <a:pathLst>
                        <a:path w="292486" h="140807">
                          <a:moveTo>
                            <a:pt x="292486" y="0"/>
                          </a:moveTo>
                          <a:cubicBezTo>
                            <a:pt x="260471" y="56356"/>
                            <a:pt x="228457" y="112713"/>
                            <a:pt x="184536" y="133350"/>
                          </a:cubicBezTo>
                          <a:cubicBezTo>
                            <a:pt x="140615" y="153987"/>
                            <a:pt x="59653" y="125413"/>
                            <a:pt x="28961" y="123825"/>
                          </a:cubicBezTo>
                          <a:cubicBezTo>
                            <a:pt x="-1731" y="122238"/>
                            <a:pt x="-673" y="123031"/>
                            <a:pt x="386" y="123825"/>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1" name="Freeform 441">
                      <a:extLst>
                        <a:ext uri="{FF2B5EF4-FFF2-40B4-BE49-F238E27FC236}">
                          <a16:creationId xmlns:a16="http://schemas.microsoft.com/office/drawing/2014/main" id="{2440E308-1B4D-1A3F-547A-69F41B9B51A2}"/>
                        </a:ext>
                      </a:extLst>
                    </p:cNvPr>
                    <p:cNvSpPr/>
                    <p:nvPr/>
                  </p:nvSpPr>
                  <p:spPr>
                    <a:xfrm>
                      <a:off x="7899627" y="6030545"/>
                      <a:ext cx="27735" cy="143646"/>
                    </a:xfrm>
                    <a:custGeom>
                      <a:avLst/>
                      <a:gdLst>
                        <a:gd name="connsiteX0" fmla="*/ 41358 w 50883"/>
                        <a:gd name="connsiteY0" fmla="*/ 0 h 263525"/>
                        <a:gd name="connsiteX1" fmla="*/ 83 w 50883"/>
                        <a:gd name="connsiteY1" fmla="*/ 168275 h 263525"/>
                        <a:gd name="connsiteX2" fmla="*/ 50883 w 50883"/>
                        <a:gd name="connsiteY2" fmla="*/ 263525 h 263525"/>
                      </a:gdLst>
                      <a:ahLst/>
                      <a:cxnLst>
                        <a:cxn ang="0">
                          <a:pos x="connsiteX0" y="connsiteY0"/>
                        </a:cxn>
                        <a:cxn ang="0">
                          <a:pos x="connsiteX1" y="connsiteY1"/>
                        </a:cxn>
                        <a:cxn ang="0">
                          <a:pos x="connsiteX2" y="connsiteY2"/>
                        </a:cxn>
                      </a:cxnLst>
                      <a:rect l="l" t="t" r="r" b="b"/>
                      <a:pathLst>
                        <a:path w="50883" h="263525">
                          <a:moveTo>
                            <a:pt x="41358" y="0"/>
                          </a:moveTo>
                          <a:cubicBezTo>
                            <a:pt x="19927" y="62177"/>
                            <a:pt x="-1504" y="124354"/>
                            <a:pt x="83" y="168275"/>
                          </a:cubicBezTo>
                          <a:cubicBezTo>
                            <a:pt x="1670" y="212196"/>
                            <a:pt x="26276" y="237860"/>
                            <a:pt x="50883" y="263525"/>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2" name="Freeform 442">
                      <a:extLst>
                        <a:ext uri="{FF2B5EF4-FFF2-40B4-BE49-F238E27FC236}">
                          <a16:creationId xmlns:a16="http://schemas.microsoft.com/office/drawing/2014/main" id="{B34210BD-2690-253A-93A9-8B9861E66ED3}"/>
                        </a:ext>
                      </a:extLst>
                    </p:cNvPr>
                    <p:cNvSpPr/>
                    <p:nvPr/>
                  </p:nvSpPr>
                  <p:spPr>
                    <a:xfrm>
                      <a:off x="7797518" y="6094512"/>
                      <a:ext cx="91726" cy="12126"/>
                    </a:xfrm>
                    <a:custGeom>
                      <a:avLst/>
                      <a:gdLst>
                        <a:gd name="connsiteX0" fmla="*/ 168275 w 168275"/>
                        <a:gd name="connsiteY0" fmla="*/ 22245 h 22245"/>
                        <a:gd name="connsiteX1" fmla="*/ 95250 w 168275"/>
                        <a:gd name="connsiteY1" fmla="*/ 20 h 22245"/>
                        <a:gd name="connsiteX2" fmla="*/ 0 w 168275"/>
                        <a:gd name="connsiteY2" fmla="*/ 19070 h 22245"/>
                      </a:gdLst>
                      <a:ahLst/>
                      <a:cxnLst>
                        <a:cxn ang="0">
                          <a:pos x="connsiteX0" y="connsiteY0"/>
                        </a:cxn>
                        <a:cxn ang="0">
                          <a:pos x="connsiteX1" y="connsiteY1"/>
                        </a:cxn>
                        <a:cxn ang="0">
                          <a:pos x="connsiteX2" y="connsiteY2"/>
                        </a:cxn>
                      </a:cxnLst>
                      <a:rect l="l" t="t" r="r" b="b"/>
                      <a:pathLst>
                        <a:path w="168275" h="22245">
                          <a:moveTo>
                            <a:pt x="168275" y="22245"/>
                          </a:moveTo>
                          <a:cubicBezTo>
                            <a:pt x="145785" y="11397"/>
                            <a:pt x="123296" y="549"/>
                            <a:pt x="95250" y="20"/>
                          </a:cubicBezTo>
                          <a:cubicBezTo>
                            <a:pt x="67204" y="-509"/>
                            <a:pt x="33602" y="9280"/>
                            <a:pt x="0" y="1907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3" name="Freeform 443">
                      <a:extLst>
                        <a:ext uri="{FF2B5EF4-FFF2-40B4-BE49-F238E27FC236}">
                          <a16:creationId xmlns:a16="http://schemas.microsoft.com/office/drawing/2014/main" id="{0896454B-CF5F-D3C2-B37B-E97EA576C61A}"/>
                        </a:ext>
                      </a:extLst>
                    </p:cNvPr>
                    <p:cNvSpPr/>
                    <p:nvPr/>
                  </p:nvSpPr>
                  <p:spPr>
                    <a:xfrm>
                      <a:off x="8015447" y="6207099"/>
                      <a:ext cx="62274" cy="109031"/>
                    </a:xfrm>
                    <a:custGeom>
                      <a:avLst/>
                      <a:gdLst>
                        <a:gd name="connsiteX0" fmla="*/ 0 w 114245"/>
                        <a:gd name="connsiteY0" fmla="*/ 0 h 200025"/>
                        <a:gd name="connsiteX1" fmla="*/ 107950 w 114245"/>
                        <a:gd name="connsiteY1" fmla="*/ 73025 h 200025"/>
                        <a:gd name="connsiteX2" fmla="*/ 92075 w 114245"/>
                        <a:gd name="connsiteY2" fmla="*/ 200025 h 200025"/>
                      </a:gdLst>
                      <a:ahLst/>
                      <a:cxnLst>
                        <a:cxn ang="0">
                          <a:pos x="connsiteX0" y="connsiteY0"/>
                        </a:cxn>
                        <a:cxn ang="0">
                          <a:pos x="connsiteX1" y="connsiteY1"/>
                        </a:cxn>
                        <a:cxn ang="0">
                          <a:pos x="connsiteX2" y="connsiteY2"/>
                        </a:cxn>
                      </a:cxnLst>
                      <a:rect l="l" t="t" r="r" b="b"/>
                      <a:pathLst>
                        <a:path w="114245" h="200025">
                          <a:moveTo>
                            <a:pt x="0" y="0"/>
                          </a:moveTo>
                          <a:cubicBezTo>
                            <a:pt x="46302" y="19843"/>
                            <a:pt x="92604" y="39687"/>
                            <a:pt x="107950" y="73025"/>
                          </a:cubicBezTo>
                          <a:cubicBezTo>
                            <a:pt x="123296" y="106363"/>
                            <a:pt x="107685" y="153194"/>
                            <a:pt x="92075" y="200025"/>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4" name="Freeform 444">
                      <a:extLst>
                        <a:ext uri="{FF2B5EF4-FFF2-40B4-BE49-F238E27FC236}">
                          <a16:creationId xmlns:a16="http://schemas.microsoft.com/office/drawing/2014/main" id="{2777CBFB-C6A5-A1F2-12F6-E96DC780CAD8}"/>
                        </a:ext>
                      </a:extLst>
                    </p:cNvPr>
                    <p:cNvSpPr/>
                    <p:nvPr/>
                  </p:nvSpPr>
                  <p:spPr>
                    <a:xfrm>
                      <a:off x="8109406" y="6117078"/>
                      <a:ext cx="155760" cy="36319"/>
                    </a:xfrm>
                    <a:custGeom>
                      <a:avLst/>
                      <a:gdLst>
                        <a:gd name="connsiteX0" fmla="*/ 222250 w 222250"/>
                        <a:gd name="connsiteY0" fmla="*/ 51534 h 51534"/>
                        <a:gd name="connsiteX1" fmla="*/ 123825 w 222250"/>
                        <a:gd name="connsiteY1" fmla="*/ 734 h 51534"/>
                        <a:gd name="connsiteX2" fmla="*/ 0 w 222250"/>
                        <a:gd name="connsiteY2" fmla="*/ 26134 h 51534"/>
                        <a:gd name="connsiteX0" fmla="*/ 222250 w 222250"/>
                        <a:gd name="connsiteY0" fmla="*/ 50800 h 51206"/>
                        <a:gd name="connsiteX1" fmla="*/ 123825 w 222250"/>
                        <a:gd name="connsiteY1" fmla="*/ 0 h 51206"/>
                        <a:gd name="connsiteX2" fmla="*/ 20205 w 222250"/>
                        <a:gd name="connsiteY2" fmla="*/ 50800 h 51206"/>
                        <a:gd name="connsiteX3" fmla="*/ 0 w 222250"/>
                        <a:gd name="connsiteY3" fmla="*/ 25400 h 51206"/>
                        <a:gd name="connsiteX0" fmla="*/ 222250 w 222250"/>
                        <a:gd name="connsiteY0" fmla="*/ 50938 h 51344"/>
                        <a:gd name="connsiteX1" fmla="*/ 123825 w 222250"/>
                        <a:gd name="connsiteY1" fmla="*/ 138 h 51344"/>
                        <a:gd name="connsiteX2" fmla="*/ 20205 w 222250"/>
                        <a:gd name="connsiteY2" fmla="*/ 50938 h 51344"/>
                        <a:gd name="connsiteX3" fmla="*/ 0 w 222250"/>
                        <a:gd name="connsiteY3" fmla="*/ 25538 h 51344"/>
                        <a:gd name="connsiteX0" fmla="*/ 202045 w 202045"/>
                        <a:gd name="connsiteY0" fmla="*/ 50938 h 50938"/>
                        <a:gd name="connsiteX1" fmla="*/ 103620 w 202045"/>
                        <a:gd name="connsiteY1" fmla="*/ 138 h 50938"/>
                        <a:gd name="connsiteX2" fmla="*/ 0 w 202045"/>
                        <a:gd name="connsiteY2" fmla="*/ 50938 h 50938"/>
                      </a:gdLst>
                      <a:ahLst/>
                      <a:cxnLst>
                        <a:cxn ang="0">
                          <a:pos x="connsiteX0" y="connsiteY0"/>
                        </a:cxn>
                        <a:cxn ang="0">
                          <a:pos x="connsiteX1" y="connsiteY1"/>
                        </a:cxn>
                        <a:cxn ang="0">
                          <a:pos x="connsiteX2" y="connsiteY2"/>
                        </a:cxn>
                      </a:cxnLst>
                      <a:rect l="l" t="t" r="r" b="b"/>
                      <a:pathLst>
                        <a:path w="202045" h="50938">
                          <a:moveTo>
                            <a:pt x="202045" y="50938"/>
                          </a:moveTo>
                          <a:cubicBezTo>
                            <a:pt x="171353" y="27654"/>
                            <a:pt x="150764" y="-2289"/>
                            <a:pt x="103620" y="138"/>
                          </a:cubicBezTo>
                          <a:cubicBezTo>
                            <a:pt x="56476" y="2565"/>
                            <a:pt x="20637" y="46705"/>
                            <a:pt x="0" y="50938"/>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5" name="Freeform 445">
                      <a:extLst>
                        <a:ext uri="{FF2B5EF4-FFF2-40B4-BE49-F238E27FC236}">
                          <a16:creationId xmlns:a16="http://schemas.microsoft.com/office/drawing/2014/main" id="{84F60309-F19E-E07C-555F-1B38A2F992DF}"/>
                        </a:ext>
                      </a:extLst>
                    </p:cNvPr>
                    <p:cNvSpPr/>
                    <p:nvPr/>
                  </p:nvSpPr>
                  <p:spPr>
                    <a:xfrm rot="11239396" flipV="1">
                      <a:off x="8044994" y="5925555"/>
                      <a:ext cx="79611" cy="69226"/>
                    </a:xfrm>
                    <a:custGeom>
                      <a:avLst/>
                      <a:gdLst>
                        <a:gd name="connsiteX0" fmla="*/ 0 w 146050"/>
                        <a:gd name="connsiteY0" fmla="*/ 44450 h 44723"/>
                        <a:gd name="connsiteX1" fmla="*/ 92075 w 146050"/>
                        <a:gd name="connsiteY1" fmla="*/ 38100 h 44723"/>
                        <a:gd name="connsiteX2" fmla="*/ 146050 w 146050"/>
                        <a:gd name="connsiteY2" fmla="*/ 0 h 44723"/>
                      </a:gdLst>
                      <a:ahLst/>
                      <a:cxnLst>
                        <a:cxn ang="0">
                          <a:pos x="connsiteX0" y="connsiteY0"/>
                        </a:cxn>
                        <a:cxn ang="0">
                          <a:pos x="connsiteX1" y="connsiteY1"/>
                        </a:cxn>
                        <a:cxn ang="0">
                          <a:pos x="connsiteX2" y="connsiteY2"/>
                        </a:cxn>
                      </a:cxnLst>
                      <a:rect l="l" t="t" r="r" b="b"/>
                      <a:pathLst>
                        <a:path w="146050" h="44723">
                          <a:moveTo>
                            <a:pt x="0" y="44450"/>
                          </a:moveTo>
                          <a:cubicBezTo>
                            <a:pt x="33866" y="44979"/>
                            <a:pt x="67733" y="45508"/>
                            <a:pt x="92075" y="38100"/>
                          </a:cubicBezTo>
                          <a:cubicBezTo>
                            <a:pt x="116417" y="30692"/>
                            <a:pt x="146050" y="0"/>
                            <a:pt x="146050"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6" name="Freeform 446">
                      <a:extLst>
                        <a:ext uri="{FF2B5EF4-FFF2-40B4-BE49-F238E27FC236}">
                          <a16:creationId xmlns:a16="http://schemas.microsoft.com/office/drawing/2014/main" id="{277FD956-F23F-8309-50FC-AC4CB8BE8827}"/>
                        </a:ext>
                      </a:extLst>
                    </p:cNvPr>
                    <p:cNvSpPr/>
                    <p:nvPr/>
                  </p:nvSpPr>
                  <p:spPr>
                    <a:xfrm>
                      <a:off x="8133925" y="5957766"/>
                      <a:ext cx="40766" cy="74419"/>
                    </a:xfrm>
                    <a:custGeom>
                      <a:avLst/>
                      <a:gdLst>
                        <a:gd name="connsiteX0" fmla="*/ 11288 w 74788"/>
                        <a:gd name="connsiteY0" fmla="*/ 136525 h 136525"/>
                        <a:gd name="connsiteX1" fmla="*/ 4938 w 74788"/>
                        <a:gd name="connsiteY1" fmla="*/ 76200 h 136525"/>
                        <a:gd name="connsiteX2" fmla="*/ 74788 w 74788"/>
                        <a:gd name="connsiteY2" fmla="*/ 0 h 136525"/>
                      </a:gdLst>
                      <a:ahLst/>
                      <a:cxnLst>
                        <a:cxn ang="0">
                          <a:pos x="connsiteX0" y="connsiteY0"/>
                        </a:cxn>
                        <a:cxn ang="0">
                          <a:pos x="connsiteX1" y="connsiteY1"/>
                        </a:cxn>
                        <a:cxn ang="0">
                          <a:pos x="connsiteX2" y="connsiteY2"/>
                        </a:cxn>
                      </a:cxnLst>
                      <a:rect l="l" t="t" r="r" b="b"/>
                      <a:pathLst>
                        <a:path w="74788" h="136525">
                          <a:moveTo>
                            <a:pt x="11288" y="136525"/>
                          </a:moveTo>
                          <a:cubicBezTo>
                            <a:pt x="2821" y="117739"/>
                            <a:pt x="-5645" y="98954"/>
                            <a:pt x="4938" y="76200"/>
                          </a:cubicBezTo>
                          <a:cubicBezTo>
                            <a:pt x="15521" y="53446"/>
                            <a:pt x="45154" y="26723"/>
                            <a:pt x="74788"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7" name="Freeform 447">
                      <a:extLst>
                        <a:ext uri="{FF2B5EF4-FFF2-40B4-BE49-F238E27FC236}">
                          <a16:creationId xmlns:a16="http://schemas.microsoft.com/office/drawing/2014/main" id="{9658CBDA-4441-D843-ED1A-83F219BB2662}"/>
                        </a:ext>
                      </a:extLst>
                    </p:cNvPr>
                    <p:cNvSpPr/>
                    <p:nvPr/>
                  </p:nvSpPr>
                  <p:spPr>
                    <a:xfrm>
                      <a:off x="7918573" y="5855531"/>
                      <a:ext cx="52455" cy="117685"/>
                    </a:xfrm>
                    <a:custGeom>
                      <a:avLst/>
                      <a:gdLst>
                        <a:gd name="connsiteX0" fmla="*/ 41275 w 96232"/>
                        <a:gd name="connsiteY0" fmla="*/ 215900 h 215900"/>
                        <a:gd name="connsiteX1" fmla="*/ 95250 w 96232"/>
                        <a:gd name="connsiteY1" fmla="*/ 104775 h 215900"/>
                        <a:gd name="connsiteX2" fmla="*/ 0 w 96232"/>
                        <a:gd name="connsiteY2" fmla="*/ 0 h 215900"/>
                      </a:gdLst>
                      <a:ahLst/>
                      <a:cxnLst>
                        <a:cxn ang="0">
                          <a:pos x="connsiteX0" y="connsiteY0"/>
                        </a:cxn>
                        <a:cxn ang="0">
                          <a:pos x="connsiteX1" y="connsiteY1"/>
                        </a:cxn>
                        <a:cxn ang="0">
                          <a:pos x="connsiteX2" y="connsiteY2"/>
                        </a:cxn>
                      </a:cxnLst>
                      <a:rect l="l" t="t" r="r" b="b"/>
                      <a:pathLst>
                        <a:path w="96232" h="215900">
                          <a:moveTo>
                            <a:pt x="41275" y="215900"/>
                          </a:moveTo>
                          <a:cubicBezTo>
                            <a:pt x="71702" y="178329"/>
                            <a:pt x="102129" y="140758"/>
                            <a:pt x="95250" y="104775"/>
                          </a:cubicBezTo>
                          <a:cubicBezTo>
                            <a:pt x="88371" y="68792"/>
                            <a:pt x="44185" y="34396"/>
                            <a:pt x="0"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8" name="Freeform 449">
                      <a:extLst>
                        <a:ext uri="{FF2B5EF4-FFF2-40B4-BE49-F238E27FC236}">
                          <a16:creationId xmlns:a16="http://schemas.microsoft.com/office/drawing/2014/main" id="{F1B4BB47-0F4A-50B0-6E48-CEFDAD456B82}"/>
                        </a:ext>
                      </a:extLst>
                    </p:cNvPr>
                    <p:cNvSpPr/>
                    <p:nvPr/>
                  </p:nvSpPr>
                  <p:spPr>
                    <a:xfrm>
                      <a:off x="7799196" y="5858948"/>
                      <a:ext cx="33562" cy="70957"/>
                    </a:xfrm>
                    <a:custGeom>
                      <a:avLst/>
                      <a:gdLst>
                        <a:gd name="connsiteX0" fmla="*/ 0 w 61570"/>
                        <a:gd name="connsiteY0" fmla="*/ 130175 h 130175"/>
                        <a:gd name="connsiteX1" fmla="*/ 60325 w 61570"/>
                        <a:gd name="connsiteY1" fmla="*/ 76200 h 130175"/>
                        <a:gd name="connsiteX2" fmla="*/ 34925 w 61570"/>
                        <a:gd name="connsiteY2" fmla="*/ 0 h 130175"/>
                      </a:gdLst>
                      <a:ahLst/>
                      <a:cxnLst>
                        <a:cxn ang="0">
                          <a:pos x="connsiteX0" y="connsiteY0"/>
                        </a:cxn>
                        <a:cxn ang="0">
                          <a:pos x="connsiteX1" y="connsiteY1"/>
                        </a:cxn>
                        <a:cxn ang="0">
                          <a:pos x="connsiteX2" y="connsiteY2"/>
                        </a:cxn>
                      </a:cxnLst>
                      <a:rect l="l" t="t" r="r" b="b"/>
                      <a:pathLst>
                        <a:path w="61570" h="130175">
                          <a:moveTo>
                            <a:pt x="0" y="130175"/>
                          </a:moveTo>
                          <a:cubicBezTo>
                            <a:pt x="27252" y="114035"/>
                            <a:pt x="54504" y="97896"/>
                            <a:pt x="60325" y="76200"/>
                          </a:cubicBezTo>
                          <a:cubicBezTo>
                            <a:pt x="66146" y="54504"/>
                            <a:pt x="50535" y="27252"/>
                            <a:pt x="34925"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9" name="Freeform 450">
                      <a:extLst>
                        <a:ext uri="{FF2B5EF4-FFF2-40B4-BE49-F238E27FC236}">
                          <a16:creationId xmlns:a16="http://schemas.microsoft.com/office/drawing/2014/main" id="{8CF2CA1A-A7B9-6573-6A12-278843C67845}"/>
                        </a:ext>
                      </a:extLst>
                    </p:cNvPr>
                    <p:cNvSpPr/>
                    <p:nvPr/>
                  </p:nvSpPr>
                  <p:spPr>
                    <a:xfrm>
                      <a:off x="8083411" y="6081791"/>
                      <a:ext cx="55382" cy="40458"/>
                    </a:xfrm>
                    <a:custGeom>
                      <a:avLst/>
                      <a:gdLst>
                        <a:gd name="connsiteX0" fmla="*/ 101600 w 101600"/>
                        <a:gd name="connsiteY0" fmla="*/ 74222 h 74222"/>
                        <a:gd name="connsiteX1" fmla="*/ 41275 w 101600"/>
                        <a:gd name="connsiteY1" fmla="*/ 7547 h 74222"/>
                        <a:gd name="connsiteX2" fmla="*/ 0 w 101600"/>
                        <a:gd name="connsiteY2" fmla="*/ 4372 h 74222"/>
                      </a:gdLst>
                      <a:ahLst/>
                      <a:cxnLst>
                        <a:cxn ang="0">
                          <a:pos x="connsiteX0" y="connsiteY0"/>
                        </a:cxn>
                        <a:cxn ang="0">
                          <a:pos x="connsiteX1" y="connsiteY1"/>
                        </a:cxn>
                        <a:cxn ang="0">
                          <a:pos x="connsiteX2" y="connsiteY2"/>
                        </a:cxn>
                      </a:cxnLst>
                      <a:rect l="l" t="t" r="r" b="b"/>
                      <a:pathLst>
                        <a:path w="101600" h="74222">
                          <a:moveTo>
                            <a:pt x="101600" y="74222"/>
                          </a:moveTo>
                          <a:cubicBezTo>
                            <a:pt x="79904" y="46705"/>
                            <a:pt x="58208" y="19189"/>
                            <a:pt x="41275" y="7547"/>
                          </a:cubicBezTo>
                          <a:cubicBezTo>
                            <a:pt x="24342" y="-4095"/>
                            <a:pt x="12171" y="138"/>
                            <a:pt x="0" y="4372"/>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grpSp>
            </p:grpSp>
            <p:grpSp>
              <p:nvGrpSpPr>
                <p:cNvPr id="26" name="Group 25">
                  <a:extLst>
                    <a:ext uri="{FF2B5EF4-FFF2-40B4-BE49-F238E27FC236}">
                      <a16:creationId xmlns:a16="http://schemas.microsoft.com/office/drawing/2014/main" id="{708D46D3-24A8-7742-951F-A4CF77B4E756}"/>
                    </a:ext>
                  </a:extLst>
                </p:cNvPr>
                <p:cNvGrpSpPr/>
                <p:nvPr/>
              </p:nvGrpSpPr>
              <p:grpSpPr>
                <a:xfrm>
                  <a:off x="9316201" y="3304651"/>
                  <a:ext cx="667260" cy="303537"/>
                  <a:chOff x="6934964" y="3021665"/>
                  <a:chExt cx="667260" cy="303537"/>
                </a:xfrm>
                <a:gradFill>
                  <a:gsLst>
                    <a:gs pos="0">
                      <a:schemeClr val="accent1"/>
                    </a:gs>
                    <a:gs pos="100000">
                      <a:schemeClr val="accent2"/>
                    </a:gs>
                  </a:gsLst>
                  <a:lin ang="12600000" scaled="0"/>
                </a:gradFill>
              </p:grpSpPr>
              <p:grpSp>
                <p:nvGrpSpPr>
                  <p:cNvPr id="27" name="Group 26">
                    <a:extLst>
                      <a:ext uri="{FF2B5EF4-FFF2-40B4-BE49-F238E27FC236}">
                        <a16:creationId xmlns:a16="http://schemas.microsoft.com/office/drawing/2014/main" id="{698EC13A-B97B-8E68-7596-84D3AF0DA2D0}"/>
                      </a:ext>
                    </a:extLst>
                  </p:cNvPr>
                  <p:cNvGrpSpPr/>
                  <p:nvPr/>
                </p:nvGrpSpPr>
                <p:grpSpPr>
                  <a:xfrm rot="3897665">
                    <a:off x="6994056" y="2962573"/>
                    <a:ext cx="195459" cy="313643"/>
                    <a:chOff x="7632699" y="1060450"/>
                    <a:chExt cx="455083" cy="730250"/>
                  </a:xfrm>
                  <a:grpFill/>
                </p:grpSpPr>
                <p:sp>
                  <p:nvSpPr>
                    <p:cNvPr id="34" name="Oval 33">
                      <a:extLst>
                        <a:ext uri="{FF2B5EF4-FFF2-40B4-BE49-F238E27FC236}">
                          <a16:creationId xmlns:a16="http://schemas.microsoft.com/office/drawing/2014/main" id="{56F46953-F774-494A-37B7-A70D46F49C10}"/>
                        </a:ext>
                      </a:extLst>
                    </p:cNvPr>
                    <p:cNvSpPr/>
                    <p:nvPr/>
                  </p:nvSpPr>
                  <p:spPr>
                    <a:xfrm>
                      <a:off x="7632699" y="1060450"/>
                      <a:ext cx="455083" cy="730250"/>
                    </a:xfrm>
                    <a:prstGeom prst="ellipse">
                      <a:avLst/>
                    </a:prstGeom>
                    <a:gradFill>
                      <a:gsLst>
                        <a:gs pos="0">
                          <a:schemeClr val="accent1"/>
                        </a:gs>
                        <a:gs pos="100000">
                          <a:schemeClr val="accent2"/>
                        </a:gs>
                      </a:gsLst>
                      <a:lin ang="12600000" scaled="0"/>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sp>
                  <p:nvSpPr>
                    <p:cNvPr id="35" name="Arc 34">
                      <a:extLst>
                        <a:ext uri="{FF2B5EF4-FFF2-40B4-BE49-F238E27FC236}">
                          <a16:creationId xmlns:a16="http://schemas.microsoft.com/office/drawing/2014/main" id="{E5A3655E-EE0E-9417-A14D-2CB88A464B70}"/>
                        </a:ext>
                      </a:extLst>
                    </p:cNvPr>
                    <p:cNvSpPr/>
                    <p:nvPr/>
                  </p:nvSpPr>
                  <p:spPr>
                    <a:xfrm>
                      <a:off x="7772392" y="1197801"/>
                      <a:ext cx="149552" cy="438039"/>
                    </a:xfrm>
                    <a:prstGeom prst="arc">
                      <a:avLst>
                        <a:gd name="adj1" fmla="val 4767715"/>
                        <a:gd name="adj2" fmla="val 16862839"/>
                      </a:avLst>
                    </a:prstGeom>
                    <a:noFill/>
                    <a:ln w="1905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grpSp>
              <p:grpSp>
                <p:nvGrpSpPr>
                  <p:cNvPr id="28" name="Group 27">
                    <a:extLst>
                      <a:ext uri="{FF2B5EF4-FFF2-40B4-BE49-F238E27FC236}">
                        <a16:creationId xmlns:a16="http://schemas.microsoft.com/office/drawing/2014/main" id="{F3B08117-7A2D-EF96-1FEC-FA71140171B6}"/>
                      </a:ext>
                    </a:extLst>
                  </p:cNvPr>
                  <p:cNvGrpSpPr/>
                  <p:nvPr/>
                </p:nvGrpSpPr>
                <p:grpSpPr>
                  <a:xfrm rot="3404325">
                    <a:off x="7122024" y="3070651"/>
                    <a:ext cx="195459" cy="313643"/>
                    <a:chOff x="7632699" y="1060450"/>
                    <a:chExt cx="455083" cy="730250"/>
                  </a:xfrm>
                  <a:grpFill/>
                </p:grpSpPr>
                <p:sp>
                  <p:nvSpPr>
                    <p:cNvPr id="32" name="Oval 31">
                      <a:extLst>
                        <a:ext uri="{FF2B5EF4-FFF2-40B4-BE49-F238E27FC236}">
                          <a16:creationId xmlns:a16="http://schemas.microsoft.com/office/drawing/2014/main" id="{A020D820-5B44-8432-A0D4-9FCE9028A03E}"/>
                        </a:ext>
                      </a:extLst>
                    </p:cNvPr>
                    <p:cNvSpPr/>
                    <p:nvPr/>
                  </p:nvSpPr>
                  <p:spPr>
                    <a:xfrm>
                      <a:off x="7632699" y="1060450"/>
                      <a:ext cx="455083" cy="730250"/>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sp>
                  <p:nvSpPr>
                    <p:cNvPr id="33" name="Arc 32">
                      <a:extLst>
                        <a:ext uri="{FF2B5EF4-FFF2-40B4-BE49-F238E27FC236}">
                          <a16:creationId xmlns:a16="http://schemas.microsoft.com/office/drawing/2014/main" id="{B7DE45D4-48F2-26BB-DCCF-DB659C192620}"/>
                        </a:ext>
                      </a:extLst>
                    </p:cNvPr>
                    <p:cNvSpPr/>
                    <p:nvPr/>
                  </p:nvSpPr>
                  <p:spPr>
                    <a:xfrm>
                      <a:off x="7772388" y="1197800"/>
                      <a:ext cx="149552" cy="438039"/>
                    </a:xfrm>
                    <a:prstGeom prst="arc">
                      <a:avLst>
                        <a:gd name="adj1" fmla="val 4767715"/>
                        <a:gd name="adj2" fmla="val 16862839"/>
                      </a:avLst>
                    </a:prstGeom>
                    <a:noFill/>
                    <a:ln w="1905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grpSp>
              <p:grpSp>
                <p:nvGrpSpPr>
                  <p:cNvPr id="29" name="Group 28">
                    <a:extLst>
                      <a:ext uri="{FF2B5EF4-FFF2-40B4-BE49-F238E27FC236}">
                        <a16:creationId xmlns:a16="http://schemas.microsoft.com/office/drawing/2014/main" id="{B8568842-9DB4-EE14-6914-6616B4822B75}"/>
                      </a:ext>
                    </a:extLst>
                  </p:cNvPr>
                  <p:cNvGrpSpPr/>
                  <p:nvPr/>
                </p:nvGrpSpPr>
                <p:grpSpPr>
                  <a:xfrm rot="3145901">
                    <a:off x="7347673" y="3030564"/>
                    <a:ext cx="195459" cy="313643"/>
                    <a:chOff x="7632699" y="1060450"/>
                    <a:chExt cx="455083" cy="730250"/>
                  </a:xfrm>
                  <a:grpFill/>
                </p:grpSpPr>
                <p:sp>
                  <p:nvSpPr>
                    <p:cNvPr id="30" name="Oval 29">
                      <a:extLst>
                        <a:ext uri="{FF2B5EF4-FFF2-40B4-BE49-F238E27FC236}">
                          <a16:creationId xmlns:a16="http://schemas.microsoft.com/office/drawing/2014/main" id="{9C3CB5BE-46B7-52AC-62F2-9FD13F67429B}"/>
                        </a:ext>
                      </a:extLst>
                    </p:cNvPr>
                    <p:cNvSpPr/>
                    <p:nvPr/>
                  </p:nvSpPr>
                  <p:spPr>
                    <a:xfrm>
                      <a:off x="7632699" y="1060450"/>
                      <a:ext cx="455083" cy="730250"/>
                    </a:xfrm>
                    <a:prstGeom prst="ellipse">
                      <a:avLst/>
                    </a:prstGeom>
                    <a:gradFill>
                      <a:gsLst>
                        <a:gs pos="0">
                          <a:schemeClr val="accent1"/>
                        </a:gs>
                        <a:gs pos="100000">
                          <a:schemeClr val="accent2"/>
                        </a:gs>
                      </a:gsLst>
                      <a:lin ang="12600000" scaled="0"/>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sp>
                  <p:nvSpPr>
                    <p:cNvPr id="31" name="Arc 30">
                      <a:extLst>
                        <a:ext uri="{FF2B5EF4-FFF2-40B4-BE49-F238E27FC236}">
                          <a16:creationId xmlns:a16="http://schemas.microsoft.com/office/drawing/2014/main" id="{FC18BD95-E24B-7B8C-139A-6D53B66F8D1F}"/>
                        </a:ext>
                      </a:extLst>
                    </p:cNvPr>
                    <p:cNvSpPr/>
                    <p:nvPr/>
                  </p:nvSpPr>
                  <p:spPr>
                    <a:xfrm>
                      <a:off x="7772392" y="1197801"/>
                      <a:ext cx="149552" cy="438039"/>
                    </a:xfrm>
                    <a:prstGeom prst="arc">
                      <a:avLst>
                        <a:gd name="adj1" fmla="val 4767715"/>
                        <a:gd name="adj2" fmla="val 16862839"/>
                      </a:avLst>
                    </a:prstGeom>
                    <a:noFill/>
                    <a:ln w="1905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grpSp>
            </p:grpSp>
          </p:grpSp>
          <p:sp>
            <p:nvSpPr>
              <p:cNvPr id="17" name="Rectangle 16">
                <a:extLst>
                  <a:ext uri="{FF2B5EF4-FFF2-40B4-BE49-F238E27FC236}">
                    <a16:creationId xmlns:a16="http://schemas.microsoft.com/office/drawing/2014/main" id="{F6134DF3-3B61-183C-68BC-7A0B67425563}"/>
                  </a:ext>
                </a:extLst>
              </p:cNvPr>
              <p:cNvSpPr/>
              <p:nvPr/>
            </p:nvSpPr>
            <p:spPr>
              <a:xfrm>
                <a:off x="3470161" y="1352713"/>
                <a:ext cx="1146486" cy="317009"/>
              </a:xfrm>
              <a:prstGeom prst="rect">
                <a:avLst/>
              </a:prstGeom>
            </p:spPr>
            <p:txBody>
              <a:bodyPr wrap="square">
                <a:spAutoFit/>
              </a:bodyPr>
              <a:lstStyle/>
              <a:p>
                <a:pPr algn="ctr" defTabSz="685800">
                  <a:lnSpc>
                    <a:spcPct val="90000"/>
                  </a:lnSpc>
                  <a:defRPr/>
                </a:pPr>
                <a:r>
                  <a:rPr lang="tr-TR" sz="1050" b="1" cap="all">
                    <a:solidFill>
                      <a:srgbClr val="0000C9">
                        <a:lumMod val="60000"/>
                        <a:lumOff val="40000"/>
                      </a:srgbClr>
                    </a:solidFill>
                    <a:latin typeface="Arial"/>
                  </a:rPr>
                  <a:t>İ</a:t>
                </a:r>
                <a:r>
                  <a:rPr lang="en-US" sz="1050" b="1" cap="all">
                    <a:solidFill>
                      <a:srgbClr val="0000C9">
                        <a:lumMod val="60000"/>
                        <a:lumOff val="40000"/>
                      </a:srgbClr>
                    </a:solidFill>
                    <a:latin typeface="Arial"/>
                  </a:rPr>
                  <a:t>P</a:t>
                </a:r>
                <a:r>
                  <a:rPr lang="tr-TR" sz="1050" b="1" cap="all">
                    <a:solidFill>
                      <a:srgbClr val="0000C9">
                        <a:lumMod val="60000"/>
                        <a:lumOff val="40000"/>
                      </a:srgbClr>
                    </a:solidFill>
                    <a:latin typeface="Arial"/>
                  </a:rPr>
                  <a:t>D</a:t>
                </a:r>
                <a:r>
                  <a:rPr lang="en-US" sz="1050" b="1" cap="all" baseline="30000">
                    <a:solidFill>
                      <a:srgbClr val="0000C9">
                        <a:lumMod val="60000"/>
                        <a:lumOff val="40000"/>
                      </a:srgbClr>
                    </a:solidFill>
                    <a:latin typeface="Arial"/>
                  </a:rPr>
                  <a:t>1</a:t>
                </a:r>
                <a:endParaRPr lang="en-US" sz="1050" b="1" cap="all">
                  <a:solidFill>
                    <a:srgbClr val="0000C9">
                      <a:lumMod val="60000"/>
                      <a:lumOff val="40000"/>
                    </a:srgbClr>
                  </a:solidFill>
                  <a:latin typeface="Arial"/>
                </a:endParaRPr>
              </a:p>
            </p:txBody>
          </p:sp>
          <p:sp>
            <p:nvSpPr>
              <p:cNvPr id="18" name="Oval 17">
                <a:extLst>
                  <a:ext uri="{FF2B5EF4-FFF2-40B4-BE49-F238E27FC236}">
                    <a16:creationId xmlns:a16="http://schemas.microsoft.com/office/drawing/2014/main" id="{D2619372-5A3F-75B7-A561-135F5F5E3250}"/>
                  </a:ext>
                </a:extLst>
              </p:cNvPr>
              <p:cNvSpPr/>
              <p:nvPr/>
            </p:nvSpPr>
            <p:spPr>
              <a:xfrm>
                <a:off x="3868144" y="2746533"/>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19" name="Oval 18">
                <a:extLst>
                  <a:ext uri="{FF2B5EF4-FFF2-40B4-BE49-F238E27FC236}">
                    <a16:creationId xmlns:a16="http://schemas.microsoft.com/office/drawing/2014/main" id="{7EF4B6DE-2616-FC07-26C7-876108F1B617}"/>
                  </a:ext>
                </a:extLst>
              </p:cNvPr>
              <p:cNvSpPr/>
              <p:nvPr/>
            </p:nvSpPr>
            <p:spPr>
              <a:xfrm>
                <a:off x="3868144" y="3251371"/>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20" name="Oval 19">
                <a:extLst>
                  <a:ext uri="{FF2B5EF4-FFF2-40B4-BE49-F238E27FC236}">
                    <a16:creationId xmlns:a16="http://schemas.microsoft.com/office/drawing/2014/main" id="{45A0DE8D-446B-21E3-37A7-0E55DFEBDDEB}"/>
                  </a:ext>
                </a:extLst>
              </p:cNvPr>
              <p:cNvSpPr/>
              <p:nvPr/>
            </p:nvSpPr>
            <p:spPr>
              <a:xfrm>
                <a:off x="3868144" y="3756209"/>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21" name="Oval 20">
                <a:extLst>
                  <a:ext uri="{FF2B5EF4-FFF2-40B4-BE49-F238E27FC236}">
                    <a16:creationId xmlns:a16="http://schemas.microsoft.com/office/drawing/2014/main" id="{D49D74B4-53B8-BDE5-34C9-B90FC1BA2741}"/>
                  </a:ext>
                </a:extLst>
              </p:cNvPr>
              <p:cNvSpPr/>
              <p:nvPr/>
            </p:nvSpPr>
            <p:spPr>
              <a:xfrm>
                <a:off x="3868144" y="4261047"/>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22" name="Oval 21">
                <a:extLst>
                  <a:ext uri="{FF2B5EF4-FFF2-40B4-BE49-F238E27FC236}">
                    <a16:creationId xmlns:a16="http://schemas.microsoft.com/office/drawing/2014/main" id="{D2D1F90E-F5B0-DC41-09DD-99DC80D0C65C}"/>
                  </a:ext>
                </a:extLst>
              </p:cNvPr>
              <p:cNvSpPr/>
              <p:nvPr/>
            </p:nvSpPr>
            <p:spPr>
              <a:xfrm>
                <a:off x="3868144" y="4765885"/>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23" name="Oval 22">
                <a:extLst>
                  <a:ext uri="{FF2B5EF4-FFF2-40B4-BE49-F238E27FC236}">
                    <a16:creationId xmlns:a16="http://schemas.microsoft.com/office/drawing/2014/main" id="{4F87D529-98D5-C347-18FF-4097683EA477}"/>
                  </a:ext>
                </a:extLst>
              </p:cNvPr>
              <p:cNvSpPr/>
              <p:nvPr/>
            </p:nvSpPr>
            <p:spPr>
              <a:xfrm>
                <a:off x="3868144" y="5270723"/>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24" name="Oval 23">
                <a:extLst>
                  <a:ext uri="{FF2B5EF4-FFF2-40B4-BE49-F238E27FC236}">
                    <a16:creationId xmlns:a16="http://schemas.microsoft.com/office/drawing/2014/main" id="{1F78FCFA-78E2-49E8-96FD-5D4DE581868A}"/>
                  </a:ext>
                </a:extLst>
              </p:cNvPr>
              <p:cNvSpPr/>
              <p:nvPr/>
            </p:nvSpPr>
            <p:spPr>
              <a:xfrm>
                <a:off x="3868144" y="5779203"/>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grpSp>
        <p:sp>
          <p:nvSpPr>
            <p:cNvPr id="50" name="TextBox 49">
              <a:extLst>
                <a:ext uri="{FF2B5EF4-FFF2-40B4-BE49-F238E27FC236}">
                  <a16:creationId xmlns:a16="http://schemas.microsoft.com/office/drawing/2014/main" id="{E768D6BE-6F70-E510-E600-2B07D065F903}"/>
                </a:ext>
              </a:extLst>
            </p:cNvPr>
            <p:cNvSpPr txBox="1"/>
            <p:nvPr/>
          </p:nvSpPr>
          <p:spPr>
            <a:xfrm>
              <a:off x="2518269" y="2705492"/>
              <a:ext cx="891540" cy="274320"/>
            </a:xfrm>
            <a:prstGeom prst="roundRect">
              <a:avLst>
                <a:gd name="adj" fmla="val 50000"/>
              </a:avLst>
            </a:prstGeom>
            <a:solidFill>
              <a:schemeClr val="accent2"/>
            </a:solidFill>
            <a:ln w="19050">
              <a:noFill/>
            </a:ln>
          </p:spPr>
          <p:txBody>
            <a:bodyPr wrap="none" anchor="ctr">
              <a:noAutofit/>
            </a:bodyPr>
            <a:lstStyle>
              <a:defPPr>
                <a:defRPr lang="en-US"/>
              </a:defPPr>
              <a:lvl1pPr algn="ctr">
                <a:defRPr b="1" spc="-40" baseline="0">
                  <a:solidFill>
                    <a:schemeClr val="bg1"/>
                  </a:solidFill>
                </a:defRPr>
              </a:lvl1pPr>
            </a:lstStyle>
            <a:p>
              <a:pPr defTabSz="685800">
                <a:defRPr/>
              </a:pPr>
              <a:r>
                <a:rPr lang="en-US" sz="1350" spc="-30">
                  <a:solidFill>
                    <a:srgbClr val="FFFFFF"/>
                  </a:solidFill>
                  <a:latin typeface="Arial" panose="020B0604020202020204"/>
                </a:rPr>
                <a:t>8</a:t>
              </a:r>
            </a:p>
          </p:txBody>
        </p:sp>
        <p:sp>
          <p:nvSpPr>
            <p:cNvPr id="51" name="TextBox 50">
              <a:extLst>
                <a:ext uri="{FF2B5EF4-FFF2-40B4-BE49-F238E27FC236}">
                  <a16:creationId xmlns:a16="http://schemas.microsoft.com/office/drawing/2014/main" id="{0A1747EB-8008-9D87-0671-2232676D3DA0}"/>
                </a:ext>
              </a:extLst>
            </p:cNvPr>
            <p:cNvSpPr txBox="1"/>
            <p:nvPr/>
          </p:nvSpPr>
          <p:spPr>
            <a:xfrm>
              <a:off x="2518269" y="3084120"/>
              <a:ext cx="891540" cy="274320"/>
            </a:xfrm>
            <a:prstGeom prst="roundRect">
              <a:avLst>
                <a:gd name="adj" fmla="val 50000"/>
              </a:avLst>
            </a:prstGeom>
            <a:solidFill>
              <a:schemeClr val="accent2"/>
            </a:solidFill>
            <a:ln w="19050">
              <a:noFill/>
            </a:ln>
          </p:spPr>
          <p:txBody>
            <a:bodyPr wrap="none" anchor="ctr">
              <a:noAutofit/>
            </a:bodyPr>
            <a:lstStyle>
              <a:defPPr>
                <a:defRPr lang="en-US"/>
              </a:defPPr>
              <a:lvl1pPr algn="ctr">
                <a:defRPr b="1" spc="-40" baseline="0">
                  <a:solidFill>
                    <a:schemeClr val="bg1"/>
                  </a:solidFill>
                </a:defRPr>
              </a:lvl1pPr>
            </a:lstStyle>
            <a:p>
              <a:pPr defTabSz="685800">
                <a:defRPr/>
              </a:pPr>
              <a:r>
                <a:rPr lang="en-US" sz="1350" spc="-30">
                  <a:solidFill>
                    <a:srgbClr val="FFFFFF"/>
                  </a:solidFill>
                  <a:latin typeface="Arial" panose="020B0604020202020204"/>
                </a:rPr>
                <a:t>10A</a:t>
              </a:r>
            </a:p>
          </p:txBody>
        </p:sp>
        <p:sp>
          <p:nvSpPr>
            <p:cNvPr id="52" name="TextBox 51">
              <a:extLst>
                <a:ext uri="{FF2B5EF4-FFF2-40B4-BE49-F238E27FC236}">
                  <a16:creationId xmlns:a16="http://schemas.microsoft.com/office/drawing/2014/main" id="{CCB93A2C-D31A-F371-324C-2A88908F8390}"/>
                </a:ext>
              </a:extLst>
            </p:cNvPr>
            <p:cNvSpPr txBox="1"/>
            <p:nvPr/>
          </p:nvSpPr>
          <p:spPr>
            <a:xfrm>
              <a:off x="2518269" y="3462749"/>
              <a:ext cx="891540" cy="274320"/>
            </a:xfrm>
            <a:prstGeom prst="roundRect">
              <a:avLst>
                <a:gd name="adj" fmla="val 50000"/>
              </a:avLst>
            </a:prstGeom>
            <a:solidFill>
              <a:schemeClr val="accent2"/>
            </a:solidFill>
            <a:ln w="19050">
              <a:noFill/>
            </a:ln>
          </p:spPr>
          <p:txBody>
            <a:bodyPr wrap="none" anchor="ctr">
              <a:noAutofit/>
            </a:bodyPr>
            <a:lstStyle>
              <a:defPPr>
                <a:defRPr lang="en-US"/>
              </a:defPPr>
              <a:lvl1pPr algn="ctr">
                <a:defRPr b="1" spc="-40" baseline="0">
                  <a:solidFill>
                    <a:schemeClr val="bg1"/>
                  </a:solidFill>
                </a:defRPr>
              </a:lvl1pPr>
            </a:lstStyle>
            <a:p>
              <a:pPr defTabSz="685800">
                <a:defRPr/>
              </a:pPr>
              <a:r>
                <a:rPr lang="en-US" sz="1350" spc="-30">
                  <a:solidFill>
                    <a:srgbClr val="FFFFFF"/>
                  </a:solidFill>
                  <a:latin typeface="Arial" panose="020B0604020202020204"/>
                </a:rPr>
                <a:t>11A</a:t>
              </a:r>
            </a:p>
          </p:txBody>
        </p:sp>
        <p:sp>
          <p:nvSpPr>
            <p:cNvPr id="53" name="TextBox 52">
              <a:extLst>
                <a:ext uri="{FF2B5EF4-FFF2-40B4-BE49-F238E27FC236}">
                  <a16:creationId xmlns:a16="http://schemas.microsoft.com/office/drawing/2014/main" id="{7CBA1383-F3C0-FBB8-DE7E-85806B1CFEEF}"/>
                </a:ext>
              </a:extLst>
            </p:cNvPr>
            <p:cNvSpPr txBox="1"/>
            <p:nvPr/>
          </p:nvSpPr>
          <p:spPr>
            <a:xfrm>
              <a:off x="2518269" y="3841377"/>
              <a:ext cx="891540" cy="274320"/>
            </a:xfrm>
            <a:prstGeom prst="roundRect">
              <a:avLst>
                <a:gd name="adj" fmla="val 50000"/>
              </a:avLst>
            </a:prstGeom>
            <a:solidFill>
              <a:schemeClr val="accent2"/>
            </a:solidFill>
            <a:ln w="19050">
              <a:noFill/>
            </a:ln>
          </p:spPr>
          <p:txBody>
            <a:bodyPr wrap="none" anchor="ctr">
              <a:noAutofit/>
            </a:bodyPr>
            <a:lstStyle>
              <a:defPPr>
                <a:defRPr lang="en-US"/>
              </a:defPPr>
              <a:lvl1pPr algn="ctr">
                <a:defRPr b="1" spc="-40" baseline="0">
                  <a:solidFill>
                    <a:schemeClr val="bg1"/>
                  </a:solidFill>
                </a:defRPr>
              </a:lvl1pPr>
            </a:lstStyle>
            <a:p>
              <a:pPr defTabSz="685800">
                <a:defRPr/>
              </a:pPr>
              <a:r>
                <a:rPr lang="en-US" sz="1350" spc="-30">
                  <a:solidFill>
                    <a:srgbClr val="FFFFFF"/>
                  </a:solidFill>
                  <a:latin typeface="Arial" panose="020B0604020202020204"/>
                </a:rPr>
                <a:t>12F</a:t>
              </a:r>
            </a:p>
          </p:txBody>
        </p:sp>
        <p:sp>
          <p:nvSpPr>
            <p:cNvPr id="54" name="TextBox 53">
              <a:extLst>
                <a:ext uri="{FF2B5EF4-FFF2-40B4-BE49-F238E27FC236}">
                  <a16:creationId xmlns:a16="http://schemas.microsoft.com/office/drawing/2014/main" id="{61C5DB84-2B69-7E93-53EE-BD4D2417D79E}"/>
                </a:ext>
              </a:extLst>
            </p:cNvPr>
            <p:cNvSpPr txBox="1"/>
            <p:nvPr/>
          </p:nvSpPr>
          <p:spPr>
            <a:xfrm>
              <a:off x="2518269" y="4220006"/>
              <a:ext cx="891540" cy="274320"/>
            </a:xfrm>
            <a:prstGeom prst="roundRect">
              <a:avLst>
                <a:gd name="adj" fmla="val 50000"/>
              </a:avLst>
            </a:prstGeom>
            <a:solidFill>
              <a:schemeClr val="accent2"/>
            </a:solidFill>
            <a:ln w="19050">
              <a:noFill/>
            </a:ln>
          </p:spPr>
          <p:txBody>
            <a:bodyPr wrap="none" anchor="ctr">
              <a:noAutofit/>
            </a:bodyPr>
            <a:lstStyle>
              <a:defPPr>
                <a:defRPr lang="en-US"/>
              </a:defPPr>
              <a:lvl1pPr algn="ctr">
                <a:defRPr b="1" spc="-40" baseline="0">
                  <a:solidFill>
                    <a:schemeClr val="bg1"/>
                  </a:solidFill>
                </a:defRPr>
              </a:lvl1pPr>
            </a:lstStyle>
            <a:p>
              <a:pPr defTabSz="685800">
                <a:defRPr/>
              </a:pPr>
              <a:r>
                <a:rPr lang="en-US" sz="1350" spc="-30">
                  <a:solidFill>
                    <a:srgbClr val="FFFFFF"/>
                  </a:solidFill>
                  <a:latin typeface="Arial" panose="020B0604020202020204"/>
                </a:rPr>
                <a:t>15B</a:t>
              </a:r>
            </a:p>
          </p:txBody>
        </p:sp>
        <p:sp>
          <p:nvSpPr>
            <p:cNvPr id="55" name="TextBox 54">
              <a:extLst>
                <a:ext uri="{FF2B5EF4-FFF2-40B4-BE49-F238E27FC236}">
                  <a16:creationId xmlns:a16="http://schemas.microsoft.com/office/drawing/2014/main" id="{6FCBD9AA-DD2A-9C78-594A-B7C2EE96FFD6}"/>
                </a:ext>
              </a:extLst>
            </p:cNvPr>
            <p:cNvSpPr txBox="1"/>
            <p:nvPr/>
          </p:nvSpPr>
          <p:spPr>
            <a:xfrm>
              <a:off x="2518269" y="4598634"/>
              <a:ext cx="891540" cy="274320"/>
            </a:xfrm>
            <a:prstGeom prst="roundRect">
              <a:avLst>
                <a:gd name="adj" fmla="val 50000"/>
              </a:avLst>
            </a:prstGeom>
            <a:solidFill>
              <a:schemeClr val="accent2"/>
            </a:solidFill>
            <a:ln w="19050">
              <a:noFill/>
            </a:ln>
          </p:spPr>
          <p:txBody>
            <a:bodyPr wrap="none" anchor="ctr">
              <a:noAutofit/>
            </a:bodyPr>
            <a:lstStyle>
              <a:defPPr>
                <a:defRPr lang="en-US"/>
              </a:defPPr>
              <a:lvl1pPr algn="ctr">
                <a:defRPr b="1" spc="-40" baseline="0">
                  <a:solidFill>
                    <a:schemeClr val="bg1"/>
                  </a:solidFill>
                </a:defRPr>
              </a:lvl1pPr>
            </a:lstStyle>
            <a:p>
              <a:pPr defTabSz="685800">
                <a:defRPr/>
              </a:pPr>
              <a:r>
                <a:rPr lang="en-US" sz="1350" spc="-30">
                  <a:solidFill>
                    <a:srgbClr val="FFFFFF"/>
                  </a:solidFill>
                  <a:latin typeface="Arial" panose="020B0604020202020204"/>
                </a:rPr>
                <a:t>22F</a:t>
              </a:r>
            </a:p>
          </p:txBody>
        </p:sp>
        <p:sp>
          <p:nvSpPr>
            <p:cNvPr id="56" name="TextBox 55">
              <a:extLst>
                <a:ext uri="{FF2B5EF4-FFF2-40B4-BE49-F238E27FC236}">
                  <a16:creationId xmlns:a16="http://schemas.microsoft.com/office/drawing/2014/main" id="{B4D16610-D80B-DF14-1E88-79F6C7B5A76F}"/>
                </a:ext>
              </a:extLst>
            </p:cNvPr>
            <p:cNvSpPr txBox="1"/>
            <p:nvPr/>
          </p:nvSpPr>
          <p:spPr>
            <a:xfrm>
              <a:off x="2518269" y="4979994"/>
              <a:ext cx="891540" cy="274320"/>
            </a:xfrm>
            <a:prstGeom prst="roundRect">
              <a:avLst>
                <a:gd name="adj" fmla="val 50000"/>
              </a:avLst>
            </a:prstGeom>
            <a:solidFill>
              <a:schemeClr val="accent2"/>
            </a:solidFill>
            <a:ln w="19050">
              <a:noFill/>
            </a:ln>
          </p:spPr>
          <p:txBody>
            <a:bodyPr wrap="none" anchor="ctr">
              <a:noAutofit/>
            </a:bodyPr>
            <a:lstStyle>
              <a:defPPr>
                <a:defRPr lang="en-US"/>
              </a:defPPr>
              <a:lvl1pPr algn="ctr">
                <a:defRPr b="1" spc="-40" baseline="0">
                  <a:solidFill>
                    <a:schemeClr val="bg1"/>
                  </a:solidFill>
                </a:defRPr>
              </a:lvl1pPr>
            </a:lstStyle>
            <a:p>
              <a:pPr defTabSz="685800">
                <a:defRPr/>
              </a:pPr>
              <a:r>
                <a:rPr lang="en-US" sz="1350" spc="-30">
                  <a:solidFill>
                    <a:srgbClr val="FFFFFF"/>
                  </a:solidFill>
                  <a:latin typeface="Arial" panose="020B0604020202020204"/>
                </a:rPr>
                <a:t>33F</a:t>
              </a:r>
            </a:p>
          </p:txBody>
        </p:sp>
        <p:grpSp>
          <p:nvGrpSpPr>
            <p:cNvPr id="57" name="Group 56">
              <a:extLst>
                <a:ext uri="{FF2B5EF4-FFF2-40B4-BE49-F238E27FC236}">
                  <a16:creationId xmlns:a16="http://schemas.microsoft.com/office/drawing/2014/main" id="{BE4AFB05-C24A-857A-25E8-B4FEFEF973E8}"/>
                </a:ext>
              </a:extLst>
            </p:cNvPr>
            <p:cNvGrpSpPr/>
            <p:nvPr/>
          </p:nvGrpSpPr>
          <p:grpSpPr>
            <a:xfrm>
              <a:off x="8374602" y="1694416"/>
              <a:ext cx="1053450" cy="3144248"/>
              <a:chOff x="10310801" y="1352713"/>
              <a:chExt cx="1404600" cy="4192330"/>
            </a:xfrm>
          </p:grpSpPr>
          <p:sp>
            <p:nvSpPr>
              <p:cNvPr id="58" name="Rectangle 57">
                <a:extLst>
                  <a:ext uri="{FF2B5EF4-FFF2-40B4-BE49-F238E27FC236}">
                    <a16:creationId xmlns:a16="http://schemas.microsoft.com/office/drawing/2014/main" id="{7ED66672-AB00-69FD-78A4-F8540C015962}"/>
                  </a:ext>
                </a:extLst>
              </p:cNvPr>
              <p:cNvSpPr/>
              <p:nvPr/>
            </p:nvSpPr>
            <p:spPr>
              <a:xfrm>
                <a:off x="10310801" y="1352713"/>
                <a:ext cx="1404600" cy="510909"/>
              </a:xfrm>
              <a:prstGeom prst="rect">
                <a:avLst/>
              </a:prstGeom>
            </p:spPr>
            <p:txBody>
              <a:bodyPr wrap="square">
                <a:spAutoFit/>
              </a:bodyPr>
              <a:lstStyle/>
              <a:p>
                <a:pPr algn="ctr" defTabSz="685800">
                  <a:lnSpc>
                    <a:spcPct val="90000"/>
                  </a:lnSpc>
                  <a:defRPr/>
                </a:pPr>
                <a:r>
                  <a:rPr lang="en-US" sz="1050" b="1" cap="all">
                    <a:solidFill>
                      <a:srgbClr val="0000C9">
                        <a:lumMod val="60000"/>
                        <a:lumOff val="40000"/>
                      </a:srgbClr>
                    </a:solidFill>
                    <a:latin typeface="Arial"/>
                  </a:rPr>
                  <a:t>Mortal</a:t>
                </a:r>
                <a:r>
                  <a:rPr lang="tr-TR" sz="1050" b="1" cap="all">
                    <a:solidFill>
                      <a:srgbClr val="0000C9">
                        <a:lumMod val="60000"/>
                        <a:lumOff val="40000"/>
                      </a:srgbClr>
                    </a:solidFill>
                    <a:latin typeface="Arial"/>
                  </a:rPr>
                  <a:t>i</a:t>
                </a:r>
                <a:r>
                  <a:rPr lang="en-US" sz="1050" b="1" cap="all">
                    <a:solidFill>
                      <a:srgbClr val="0000C9">
                        <a:lumMod val="60000"/>
                        <a:lumOff val="40000"/>
                      </a:srgbClr>
                    </a:solidFill>
                    <a:latin typeface="Arial"/>
                  </a:rPr>
                  <a:t>t</a:t>
                </a:r>
                <a:r>
                  <a:rPr lang="tr-TR" sz="1050" b="1" cap="all">
                    <a:solidFill>
                      <a:srgbClr val="0000C9">
                        <a:lumMod val="60000"/>
                        <a:lumOff val="40000"/>
                      </a:srgbClr>
                    </a:solidFill>
                    <a:latin typeface="Arial"/>
                  </a:rPr>
                  <a:t>e</a:t>
                </a:r>
                <a:r>
                  <a:rPr lang="en-US" sz="1050" b="1" cap="all" baseline="30000">
                    <a:solidFill>
                      <a:srgbClr val="0000C9">
                        <a:lumMod val="60000"/>
                        <a:lumOff val="40000"/>
                      </a:srgbClr>
                    </a:solidFill>
                    <a:latin typeface="Arial"/>
                  </a:rPr>
                  <a:t>1,</a:t>
                </a:r>
                <a:r>
                  <a:rPr lang="tr-TR" sz="1050" b="1" cap="all" baseline="30000">
                    <a:solidFill>
                      <a:srgbClr val="0000C9">
                        <a:lumMod val="60000"/>
                        <a:lumOff val="40000"/>
                      </a:srgbClr>
                    </a:solidFill>
                    <a:latin typeface="Arial"/>
                  </a:rPr>
                  <a:t>8</a:t>
                </a:r>
                <a:endParaRPr lang="en-US" sz="1050" b="1" cap="all">
                  <a:solidFill>
                    <a:srgbClr val="0000C9">
                      <a:lumMod val="60000"/>
                      <a:lumOff val="40000"/>
                    </a:srgbClr>
                  </a:solidFill>
                  <a:latin typeface="Arial"/>
                </a:endParaRPr>
              </a:p>
            </p:txBody>
          </p:sp>
          <p:grpSp>
            <p:nvGrpSpPr>
              <p:cNvPr id="59" name="Group 58">
                <a:extLst>
                  <a:ext uri="{FF2B5EF4-FFF2-40B4-BE49-F238E27FC236}">
                    <a16:creationId xmlns:a16="http://schemas.microsoft.com/office/drawing/2014/main" id="{1DF7B820-1243-FCFD-FD0C-AD43B5E44536}"/>
                  </a:ext>
                </a:extLst>
              </p:cNvPr>
              <p:cNvGrpSpPr/>
              <p:nvPr/>
            </p:nvGrpSpPr>
            <p:grpSpPr>
              <a:xfrm>
                <a:off x="10561906" y="1614468"/>
                <a:ext cx="763432" cy="763432"/>
                <a:chOff x="10563945" y="1614468"/>
                <a:chExt cx="763432" cy="763432"/>
              </a:xfrm>
            </p:grpSpPr>
            <p:sp>
              <p:nvSpPr>
                <p:cNvPr id="64" name="Rectangle: Rounded Corners 63">
                  <a:extLst>
                    <a:ext uri="{FF2B5EF4-FFF2-40B4-BE49-F238E27FC236}">
                      <a16:creationId xmlns:a16="http://schemas.microsoft.com/office/drawing/2014/main" id="{E711D4B2-CF61-62BD-C29D-C906B60DCE6D}"/>
                    </a:ext>
                  </a:extLst>
                </p:cNvPr>
                <p:cNvSpPr/>
                <p:nvPr/>
              </p:nvSpPr>
              <p:spPr>
                <a:xfrm rot="10800000" flipV="1">
                  <a:off x="10563945" y="1614468"/>
                  <a:ext cx="763432" cy="763432"/>
                </a:xfrm>
                <a:prstGeom prst="roundRect">
                  <a:avLst>
                    <a:gd name="adj" fmla="val 28422"/>
                  </a:avLst>
                </a:prstGeom>
                <a:gradFill>
                  <a:gsLst>
                    <a:gs pos="0">
                      <a:schemeClr val="accent1"/>
                    </a:gs>
                    <a:gs pos="100000">
                      <a:schemeClr val="accent2"/>
                    </a:gs>
                  </a:gsLst>
                  <a:lin ang="126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1F497D"/>
                    </a:solidFill>
                    <a:latin typeface="Arial"/>
                  </a:endParaRPr>
                </a:p>
              </p:txBody>
            </p:sp>
            <p:grpSp>
              <p:nvGrpSpPr>
                <p:cNvPr id="65" name="Graphic 68">
                  <a:extLst>
                    <a:ext uri="{FF2B5EF4-FFF2-40B4-BE49-F238E27FC236}">
                      <a16:creationId xmlns:a16="http://schemas.microsoft.com/office/drawing/2014/main" id="{2438D95E-D66A-96C5-AB5B-60422C17DA58}"/>
                    </a:ext>
                  </a:extLst>
                </p:cNvPr>
                <p:cNvGrpSpPr>
                  <a:grpSpLocks noChangeAspect="1"/>
                </p:cNvGrpSpPr>
                <p:nvPr/>
              </p:nvGrpSpPr>
              <p:grpSpPr>
                <a:xfrm>
                  <a:off x="10699005" y="1735884"/>
                  <a:ext cx="493312" cy="548640"/>
                  <a:chOff x="-221528" y="6280570"/>
                  <a:chExt cx="4505325" cy="4876800"/>
                </a:xfrm>
                <a:solidFill>
                  <a:schemeClr val="accent2"/>
                </a:solidFill>
              </p:grpSpPr>
              <p:sp>
                <p:nvSpPr>
                  <p:cNvPr id="66" name="Freeform: Shape 65">
                    <a:extLst>
                      <a:ext uri="{FF2B5EF4-FFF2-40B4-BE49-F238E27FC236}">
                        <a16:creationId xmlns:a16="http://schemas.microsoft.com/office/drawing/2014/main" id="{8D5324B0-8DAD-B203-0EE4-96B43A6ED8D4}"/>
                      </a:ext>
                    </a:extLst>
                  </p:cNvPr>
                  <p:cNvSpPr/>
                  <p:nvPr/>
                </p:nvSpPr>
                <p:spPr>
                  <a:xfrm>
                    <a:off x="2159932" y="7195551"/>
                    <a:ext cx="561975" cy="561975"/>
                  </a:xfrm>
                  <a:custGeom>
                    <a:avLst/>
                    <a:gdLst>
                      <a:gd name="connsiteX0" fmla="*/ 280683 w 561975"/>
                      <a:gd name="connsiteY0" fmla="*/ 554974 h 561975"/>
                      <a:gd name="connsiteX1" fmla="*/ 555050 w 561975"/>
                      <a:gd name="connsiteY1" fmla="*/ 281473 h 561975"/>
                      <a:gd name="connsiteX2" fmla="*/ 280683 w 561975"/>
                      <a:gd name="connsiteY2" fmla="*/ 7144 h 561975"/>
                      <a:gd name="connsiteX3" fmla="*/ 7144 w 561975"/>
                      <a:gd name="connsiteY3" fmla="*/ 281473 h 561975"/>
                      <a:gd name="connsiteX4" fmla="*/ 280683 w 561975"/>
                      <a:gd name="connsiteY4" fmla="*/ 554974 h 56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975" h="561975">
                        <a:moveTo>
                          <a:pt x="280683" y="554974"/>
                        </a:moveTo>
                        <a:cubicBezTo>
                          <a:pt x="432263" y="554974"/>
                          <a:pt x="555050" y="433045"/>
                          <a:pt x="555050" y="281473"/>
                        </a:cubicBezTo>
                        <a:cubicBezTo>
                          <a:pt x="555050" y="129940"/>
                          <a:pt x="432263" y="7144"/>
                          <a:pt x="280683" y="7144"/>
                        </a:cubicBezTo>
                        <a:cubicBezTo>
                          <a:pt x="129940" y="7144"/>
                          <a:pt x="7144" y="129940"/>
                          <a:pt x="7144" y="281473"/>
                        </a:cubicBezTo>
                        <a:cubicBezTo>
                          <a:pt x="7144" y="433035"/>
                          <a:pt x="129940" y="554974"/>
                          <a:pt x="280683" y="554974"/>
                        </a:cubicBezTo>
                        <a:close/>
                      </a:path>
                    </a:pathLst>
                  </a:custGeom>
                  <a:solidFill>
                    <a:schemeClr val="bg1"/>
                  </a:solidFill>
                  <a:ln w="9525" cap="flat">
                    <a:noFill/>
                    <a:prstDash val="solid"/>
                    <a:miter/>
                  </a:ln>
                </p:spPr>
                <p:txBody>
                  <a:bodyPr rtlCol="0" anchor="ctr"/>
                  <a:lstStyle/>
                  <a:p>
                    <a:pPr defTabSz="685800">
                      <a:defRPr/>
                    </a:pPr>
                    <a:endParaRPr lang="en-US" sz="1350">
                      <a:solidFill>
                        <a:prstClr val="black"/>
                      </a:solidFill>
                      <a:latin typeface="Arial"/>
                    </a:endParaRPr>
                  </a:p>
                </p:txBody>
              </p:sp>
              <p:sp>
                <p:nvSpPr>
                  <p:cNvPr id="67" name="Freeform: Shape 66">
                    <a:extLst>
                      <a:ext uri="{FF2B5EF4-FFF2-40B4-BE49-F238E27FC236}">
                        <a16:creationId xmlns:a16="http://schemas.microsoft.com/office/drawing/2014/main" id="{4FACBB72-CFF3-339B-EB34-DB7B2DEEA88C}"/>
                      </a:ext>
                    </a:extLst>
                  </p:cNvPr>
                  <p:cNvSpPr/>
                  <p:nvPr/>
                </p:nvSpPr>
                <p:spPr>
                  <a:xfrm>
                    <a:off x="1851750" y="7827221"/>
                    <a:ext cx="352425" cy="361950"/>
                  </a:xfrm>
                  <a:custGeom>
                    <a:avLst/>
                    <a:gdLst>
                      <a:gd name="connsiteX0" fmla="*/ 349224 w 352425"/>
                      <a:gd name="connsiteY0" fmla="*/ 361112 h 361950"/>
                      <a:gd name="connsiteX1" fmla="*/ 173107 w 352425"/>
                      <a:gd name="connsiteY1" fmla="*/ 7144 h 361950"/>
                      <a:gd name="connsiteX2" fmla="*/ 7144 w 352425"/>
                      <a:gd name="connsiteY2" fmla="*/ 361112 h 361950"/>
                    </a:gdLst>
                    <a:ahLst/>
                    <a:cxnLst>
                      <a:cxn ang="0">
                        <a:pos x="connsiteX0" y="connsiteY0"/>
                      </a:cxn>
                      <a:cxn ang="0">
                        <a:pos x="connsiteX1" y="connsiteY1"/>
                      </a:cxn>
                      <a:cxn ang="0">
                        <a:pos x="connsiteX2" y="connsiteY2"/>
                      </a:cxn>
                    </a:cxnLst>
                    <a:rect l="l" t="t" r="r" b="b"/>
                    <a:pathLst>
                      <a:path w="352425" h="361950">
                        <a:moveTo>
                          <a:pt x="349224" y="361112"/>
                        </a:moveTo>
                        <a:lnTo>
                          <a:pt x="173107" y="7144"/>
                        </a:lnTo>
                        <a:lnTo>
                          <a:pt x="7144" y="361112"/>
                        </a:lnTo>
                        <a:close/>
                      </a:path>
                    </a:pathLst>
                  </a:custGeom>
                  <a:solidFill>
                    <a:schemeClr val="bg1"/>
                  </a:solidFill>
                  <a:ln w="9525" cap="flat">
                    <a:noFill/>
                    <a:prstDash val="solid"/>
                    <a:miter/>
                  </a:ln>
                </p:spPr>
                <p:txBody>
                  <a:bodyPr rtlCol="0" anchor="ctr"/>
                  <a:lstStyle/>
                  <a:p>
                    <a:pPr defTabSz="685800">
                      <a:defRPr/>
                    </a:pPr>
                    <a:endParaRPr lang="en-US" sz="1350">
                      <a:solidFill>
                        <a:prstClr val="black"/>
                      </a:solidFill>
                      <a:latin typeface="Arial"/>
                    </a:endParaRPr>
                  </a:p>
                </p:txBody>
              </p:sp>
              <p:sp>
                <p:nvSpPr>
                  <p:cNvPr id="68" name="Freeform: Shape 67">
                    <a:extLst>
                      <a:ext uri="{FF2B5EF4-FFF2-40B4-BE49-F238E27FC236}">
                        <a16:creationId xmlns:a16="http://schemas.microsoft.com/office/drawing/2014/main" id="{62185874-E715-B64C-1CA1-F21AA91889AB}"/>
                      </a:ext>
                    </a:extLst>
                  </p:cNvPr>
                  <p:cNvSpPr/>
                  <p:nvPr/>
                </p:nvSpPr>
                <p:spPr>
                  <a:xfrm>
                    <a:off x="1337743" y="7195551"/>
                    <a:ext cx="561975" cy="561975"/>
                  </a:xfrm>
                  <a:custGeom>
                    <a:avLst/>
                    <a:gdLst>
                      <a:gd name="connsiteX0" fmla="*/ 281511 w 561975"/>
                      <a:gd name="connsiteY0" fmla="*/ 554974 h 561975"/>
                      <a:gd name="connsiteX1" fmla="*/ 554974 w 561975"/>
                      <a:gd name="connsiteY1" fmla="*/ 281473 h 561975"/>
                      <a:gd name="connsiteX2" fmla="*/ 281511 w 561975"/>
                      <a:gd name="connsiteY2" fmla="*/ 7144 h 561975"/>
                      <a:gd name="connsiteX3" fmla="*/ 7144 w 561975"/>
                      <a:gd name="connsiteY3" fmla="*/ 281473 h 561975"/>
                      <a:gd name="connsiteX4" fmla="*/ 281511 w 561975"/>
                      <a:gd name="connsiteY4" fmla="*/ 554974 h 56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975" h="561975">
                        <a:moveTo>
                          <a:pt x="281511" y="554974"/>
                        </a:moveTo>
                        <a:cubicBezTo>
                          <a:pt x="432254" y="554974"/>
                          <a:pt x="554974" y="433045"/>
                          <a:pt x="554974" y="281473"/>
                        </a:cubicBezTo>
                        <a:cubicBezTo>
                          <a:pt x="554974" y="129940"/>
                          <a:pt x="432264" y="7144"/>
                          <a:pt x="281511" y="7144"/>
                        </a:cubicBezTo>
                        <a:cubicBezTo>
                          <a:pt x="129940" y="7144"/>
                          <a:pt x="7144" y="129940"/>
                          <a:pt x="7144" y="281473"/>
                        </a:cubicBezTo>
                        <a:cubicBezTo>
                          <a:pt x="7144" y="433035"/>
                          <a:pt x="129940" y="554974"/>
                          <a:pt x="281511" y="554974"/>
                        </a:cubicBezTo>
                        <a:close/>
                      </a:path>
                    </a:pathLst>
                  </a:custGeom>
                  <a:solidFill>
                    <a:schemeClr val="bg1"/>
                  </a:solidFill>
                  <a:ln w="9525" cap="flat">
                    <a:noFill/>
                    <a:prstDash val="solid"/>
                    <a:miter/>
                  </a:ln>
                </p:spPr>
                <p:txBody>
                  <a:bodyPr rtlCol="0" anchor="ctr"/>
                  <a:lstStyle/>
                  <a:p>
                    <a:pPr defTabSz="685800">
                      <a:defRPr/>
                    </a:pPr>
                    <a:endParaRPr lang="en-US" sz="1350">
                      <a:solidFill>
                        <a:prstClr val="black"/>
                      </a:solidFill>
                      <a:latin typeface="Arial"/>
                    </a:endParaRPr>
                  </a:p>
                </p:txBody>
              </p:sp>
              <p:sp>
                <p:nvSpPr>
                  <p:cNvPr id="69" name="Freeform: Shape 68">
                    <a:extLst>
                      <a:ext uri="{FF2B5EF4-FFF2-40B4-BE49-F238E27FC236}">
                        <a16:creationId xmlns:a16="http://schemas.microsoft.com/office/drawing/2014/main" id="{527617AE-913C-3AE8-5A26-3339367F03AF}"/>
                      </a:ext>
                    </a:extLst>
                  </p:cNvPr>
                  <p:cNvSpPr/>
                  <p:nvPr/>
                </p:nvSpPr>
                <p:spPr>
                  <a:xfrm>
                    <a:off x="826298" y="6273426"/>
                    <a:ext cx="2400300" cy="2581275"/>
                  </a:xfrm>
                  <a:custGeom>
                    <a:avLst/>
                    <a:gdLst>
                      <a:gd name="connsiteX0" fmla="*/ 356025 w 2400300"/>
                      <a:gd name="connsiteY0" fmla="*/ 1944500 h 2581275"/>
                      <a:gd name="connsiteX1" fmla="*/ 509330 w 2400300"/>
                      <a:gd name="connsiteY1" fmla="*/ 2493197 h 2581275"/>
                      <a:gd name="connsiteX2" fmla="*/ 700678 w 2400300"/>
                      <a:gd name="connsiteY2" fmla="*/ 2576217 h 2581275"/>
                      <a:gd name="connsiteX3" fmla="*/ 971655 w 2400300"/>
                      <a:gd name="connsiteY3" fmla="*/ 2445820 h 2581275"/>
                      <a:gd name="connsiteX4" fmla="*/ 1231544 w 2400300"/>
                      <a:gd name="connsiteY4" fmla="*/ 2563482 h 2581275"/>
                      <a:gd name="connsiteX5" fmla="*/ 1494092 w 2400300"/>
                      <a:gd name="connsiteY5" fmla="*/ 2439867 h 2581275"/>
                      <a:gd name="connsiteX6" fmla="*/ 1757382 w 2400300"/>
                      <a:gd name="connsiteY6" fmla="*/ 2560101 h 2581275"/>
                      <a:gd name="connsiteX7" fmla="*/ 2052914 w 2400300"/>
                      <a:gd name="connsiteY7" fmla="*/ 2318814 h 2581275"/>
                      <a:gd name="connsiteX8" fmla="*/ 2082517 w 2400300"/>
                      <a:gd name="connsiteY8" fmla="*/ 1915735 h 2581275"/>
                      <a:gd name="connsiteX9" fmla="*/ 2400052 w 2400300"/>
                      <a:gd name="connsiteY9" fmla="*/ 1203608 h 2581275"/>
                      <a:gd name="connsiteX10" fmla="*/ 1203598 w 2400300"/>
                      <a:gd name="connsiteY10" fmla="*/ 7144 h 2581275"/>
                      <a:gd name="connsiteX11" fmla="*/ 7144 w 2400300"/>
                      <a:gd name="connsiteY11" fmla="*/ 1237498 h 2581275"/>
                      <a:gd name="connsiteX12" fmla="*/ 320459 w 2400300"/>
                      <a:gd name="connsiteY12" fmla="*/ 1901333 h 2581275"/>
                      <a:gd name="connsiteX13" fmla="*/ 356025 w 2400300"/>
                      <a:gd name="connsiteY13" fmla="*/ 1944500 h 2581275"/>
                      <a:gd name="connsiteX14" fmla="*/ 1203598 w 2400300"/>
                      <a:gd name="connsiteY14" fmla="*/ 176498 h 2581275"/>
                      <a:gd name="connsiteX15" fmla="*/ 2230698 w 2400300"/>
                      <a:gd name="connsiteY15" fmla="*/ 1203598 h 2581275"/>
                      <a:gd name="connsiteX16" fmla="*/ 1885293 w 2400300"/>
                      <a:gd name="connsiteY16" fmla="*/ 1884388 h 2581275"/>
                      <a:gd name="connsiteX17" fmla="*/ 1757372 w 2400300"/>
                      <a:gd name="connsiteY17" fmla="*/ 2390746 h 2581275"/>
                      <a:gd name="connsiteX18" fmla="*/ 1491520 w 2400300"/>
                      <a:gd name="connsiteY18" fmla="*/ 2180749 h 2581275"/>
                      <a:gd name="connsiteX19" fmla="*/ 1231544 w 2400300"/>
                      <a:gd name="connsiteY19" fmla="*/ 2394128 h 2581275"/>
                      <a:gd name="connsiteX20" fmla="*/ 970740 w 2400300"/>
                      <a:gd name="connsiteY20" fmla="*/ 2186702 h 2581275"/>
                      <a:gd name="connsiteX21" fmla="*/ 700678 w 2400300"/>
                      <a:gd name="connsiteY21" fmla="*/ 2406863 h 2581275"/>
                      <a:gd name="connsiteX22" fmla="*/ 525380 w 2400300"/>
                      <a:gd name="connsiteY22" fmla="*/ 1884379 h 2581275"/>
                      <a:gd name="connsiteX23" fmla="*/ 176498 w 2400300"/>
                      <a:gd name="connsiteY23" fmla="*/ 1237498 h 2581275"/>
                      <a:gd name="connsiteX24" fmla="*/ 1203598 w 2400300"/>
                      <a:gd name="connsiteY24" fmla="*/ 176498 h 258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00300" h="2581275">
                        <a:moveTo>
                          <a:pt x="356025" y="1944500"/>
                        </a:moveTo>
                        <a:cubicBezTo>
                          <a:pt x="358578" y="2088461"/>
                          <a:pt x="382314" y="2364524"/>
                          <a:pt x="509330" y="2493197"/>
                        </a:cubicBezTo>
                        <a:cubicBezTo>
                          <a:pt x="561756" y="2547395"/>
                          <a:pt x="627821" y="2576217"/>
                          <a:pt x="700678" y="2576217"/>
                        </a:cubicBezTo>
                        <a:cubicBezTo>
                          <a:pt x="809082" y="2576217"/>
                          <a:pt x="899627" y="2515238"/>
                          <a:pt x="971655" y="2445820"/>
                        </a:cubicBezTo>
                        <a:cubicBezTo>
                          <a:pt x="1040206" y="2509323"/>
                          <a:pt x="1126608" y="2563482"/>
                          <a:pt x="1231544" y="2563482"/>
                        </a:cubicBezTo>
                        <a:cubicBezTo>
                          <a:pt x="1339958" y="2563482"/>
                          <a:pt x="1425454" y="2506761"/>
                          <a:pt x="1494092" y="2439867"/>
                        </a:cubicBezTo>
                        <a:cubicBezTo>
                          <a:pt x="1564377" y="2505066"/>
                          <a:pt x="1652445" y="2560101"/>
                          <a:pt x="1757382" y="2560101"/>
                        </a:cubicBezTo>
                        <a:cubicBezTo>
                          <a:pt x="1820056" y="2560101"/>
                          <a:pt x="1974190" y="2537241"/>
                          <a:pt x="2052914" y="2318814"/>
                        </a:cubicBezTo>
                        <a:cubicBezTo>
                          <a:pt x="2086813" y="2224793"/>
                          <a:pt x="2113855" y="2052923"/>
                          <a:pt x="2082517" y="1915735"/>
                        </a:cubicBezTo>
                        <a:cubicBezTo>
                          <a:pt x="2242604" y="1722701"/>
                          <a:pt x="2400052" y="1479671"/>
                          <a:pt x="2400052" y="1203608"/>
                        </a:cubicBezTo>
                        <a:cubicBezTo>
                          <a:pt x="2400052" y="544011"/>
                          <a:pt x="1863223" y="7144"/>
                          <a:pt x="1203598" y="7144"/>
                        </a:cubicBezTo>
                        <a:cubicBezTo>
                          <a:pt x="555050" y="7144"/>
                          <a:pt x="7144" y="571100"/>
                          <a:pt x="7144" y="1237498"/>
                        </a:cubicBezTo>
                        <a:cubicBezTo>
                          <a:pt x="7144" y="1522819"/>
                          <a:pt x="174012" y="1724378"/>
                          <a:pt x="320459" y="1901333"/>
                        </a:cubicBezTo>
                        <a:cubicBezTo>
                          <a:pt x="332289" y="1915725"/>
                          <a:pt x="344195" y="1930117"/>
                          <a:pt x="356025" y="1944500"/>
                        </a:cubicBezTo>
                        <a:close/>
                        <a:moveTo>
                          <a:pt x="1203598" y="176498"/>
                        </a:moveTo>
                        <a:cubicBezTo>
                          <a:pt x="1770936" y="176498"/>
                          <a:pt x="2230698" y="636299"/>
                          <a:pt x="2230698" y="1203598"/>
                        </a:cubicBezTo>
                        <a:cubicBezTo>
                          <a:pt x="2230698" y="1465269"/>
                          <a:pt x="2046961" y="1703213"/>
                          <a:pt x="1885293" y="1884388"/>
                        </a:cubicBezTo>
                        <a:cubicBezTo>
                          <a:pt x="1959797" y="1945367"/>
                          <a:pt x="1942843" y="2390746"/>
                          <a:pt x="1757372" y="2390746"/>
                        </a:cubicBezTo>
                        <a:cubicBezTo>
                          <a:pt x="1651530" y="2390746"/>
                          <a:pt x="1552461" y="2256997"/>
                          <a:pt x="1491520" y="2180749"/>
                        </a:cubicBezTo>
                        <a:cubicBezTo>
                          <a:pt x="1430579" y="2256987"/>
                          <a:pt x="1337386" y="2394128"/>
                          <a:pt x="1231544" y="2394128"/>
                        </a:cubicBezTo>
                        <a:cubicBezTo>
                          <a:pt x="1125703" y="2394128"/>
                          <a:pt x="1032596" y="2263731"/>
                          <a:pt x="970740" y="2186702"/>
                        </a:cubicBezTo>
                        <a:cubicBezTo>
                          <a:pt x="909799" y="2263731"/>
                          <a:pt x="806520" y="2406863"/>
                          <a:pt x="700678" y="2406863"/>
                        </a:cubicBezTo>
                        <a:cubicBezTo>
                          <a:pt x="516026" y="2406863"/>
                          <a:pt x="525380" y="1884379"/>
                          <a:pt x="525380" y="1884379"/>
                        </a:cubicBezTo>
                        <a:cubicBezTo>
                          <a:pt x="361979" y="1678638"/>
                          <a:pt x="176498" y="1501645"/>
                          <a:pt x="176498" y="1237498"/>
                        </a:cubicBezTo>
                        <a:cubicBezTo>
                          <a:pt x="176489" y="671027"/>
                          <a:pt x="636337" y="176498"/>
                          <a:pt x="1203598" y="176498"/>
                        </a:cubicBezTo>
                        <a:close/>
                      </a:path>
                    </a:pathLst>
                  </a:custGeom>
                  <a:solidFill>
                    <a:schemeClr val="bg1"/>
                  </a:solidFill>
                  <a:ln w="9525" cap="flat">
                    <a:noFill/>
                    <a:prstDash val="solid"/>
                    <a:miter/>
                  </a:ln>
                </p:spPr>
                <p:txBody>
                  <a:bodyPr rtlCol="0" anchor="ctr"/>
                  <a:lstStyle/>
                  <a:p>
                    <a:pPr defTabSz="685800">
                      <a:defRPr/>
                    </a:pPr>
                    <a:endParaRPr lang="en-US" sz="1350">
                      <a:solidFill>
                        <a:prstClr val="black"/>
                      </a:solidFill>
                      <a:latin typeface="Arial"/>
                    </a:endParaRPr>
                  </a:p>
                </p:txBody>
              </p:sp>
              <p:sp>
                <p:nvSpPr>
                  <p:cNvPr id="70" name="Freeform: Shape 69">
                    <a:extLst>
                      <a:ext uri="{FF2B5EF4-FFF2-40B4-BE49-F238E27FC236}">
                        <a16:creationId xmlns:a16="http://schemas.microsoft.com/office/drawing/2014/main" id="{39A7AFFB-0708-C021-ED87-7040E8AEA206}"/>
                      </a:ext>
                    </a:extLst>
                  </p:cNvPr>
                  <p:cNvSpPr/>
                  <p:nvPr/>
                </p:nvSpPr>
                <p:spPr>
                  <a:xfrm>
                    <a:off x="-228663" y="8216145"/>
                    <a:ext cx="4514850" cy="2943225"/>
                  </a:xfrm>
                  <a:custGeom>
                    <a:avLst/>
                    <a:gdLst>
                      <a:gd name="connsiteX0" fmla="*/ 4245617 w 4514850"/>
                      <a:gd name="connsiteY0" fmla="*/ 1661179 h 2943225"/>
                      <a:gd name="connsiteX1" fmla="*/ 4037067 w 4514850"/>
                      <a:gd name="connsiteY1" fmla="*/ 1613468 h 2943225"/>
                      <a:gd name="connsiteX2" fmla="*/ 3702254 w 4514850"/>
                      <a:gd name="connsiteY2" fmla="*/ 1792491 h 2943225"/>
                      <a:gd name="connsiteX3" fmla="*/ 3659344 w 4514850"/>
                      <a:gd name="connsiteY3" fmla="*/ 1786538 h 2943225"/>
                      <a:gd name="connsiteX4" fmla="*/ 3000795 w 4514850"/>
                      <a:gd name="connsiteY4" fmla="*/ 1474632 h 2943225"/>
                      <a:gd name="connsiteX5" fmla="*/ 3659839 w 4514850"/>
                      <a:gd name="connsiteY5" fmla="*/ 1162802 h 2943225"/>
                      <a:gd name="connsiteX6" fmla="*/ 3702587 w 4514850"/>
                      <a:gd name="connsiteY6" fmla="*/ 1156602 h 2943225"/>
                      <a:gd name="connsiteX7" fmla="*/ 4037486 w 4514850"/>
                      <a:gd name="connsiteY7" fmla="*/ 1335748 h 2943225"/>
                      <a:gd name="connsiteX8" fmla="*/ 4245951 w 4514850"/>
                      <a:gd name="connsiteY8" fmla="*/ 1288037 h 2943225"/>
                      <a:gd name="connsiteX9" fmla="*/ 4477989 w 4514850"/>
                      <a:gd name="connsiteY9" fmla="*/ 758990 h 2943225"/>
                      <a:gd name="connsiteX10" fmla="*/ 4196430 w 4514850"/>
                      <a:gd name="connsiteY10" fmla="*/ 560156 h 2943225"/>
                      <a:gd name="connsiteX11" fmla="*/ 4221481 w 4514850"/>
                      <a:gd name="connsiteY11" fmla="*/ 216779 h 2943225"/>
                      <a:gd name="connsiteX12" fmla="*/ 3873428 w 4514850"/>
                      <a:gd name="connsiteY12" fmla="*/ 13030 h 2943225"/>
                      <a:gd name="connsiteX13" fmla="*/ 3665211 w 4514850"/>
                      <a:gd name="connsiteY13" fmla="*/ 60665 h 2943225"/>
                      <a:gd name="connsiteX14" fmla="*/ 3436745 w 4514850"/>
                      <a:gd name="connsiteY14" fmla="*/ 285998 h 2943225"/>
                      <a:gd name="connsiteX15" fmla="*/ 3422191 w 4514850"/>
                      <a:gd name="connsiteY15" fmla="*/ 564175 h 2943225"/>
                      <a:gd name="connsiteX16" fmla="*/ 3390520 w 4514850"/>
                      <a:gd name="connsiteY16" fmla="*/ 593236 h 2943225"/>
                      <a:gd name="connsiteX17" fmla="*/ 2264522 w 4514850"/>
                      <a:gd name="connsiteY17" fmla="*/ 1125941 h 2943225"/>
                      <a:gd name="connsiteX18" fmla="*/ 1127446 w 4514850"/>
                      <a:gd name="connsiteY18" fmla="*/ 587369 h 2943225"/>
                      <a:gd name="connsiteX19" fmla="*/ 1095690 w 4514850"/>
                      <a:gd name="connsiteY19" fmla="*/ 558270 h 2943225"/>
                      <a:gd name="connsiteX20" fmla="*/ 852745 w 4514850"/>
                      <a:gd name="connsiteY20" fmla="*/ 54931 h 2943225"/>
                      <a:gd name="connsiteX21" fmla="*/ 644196 w 4514850"/>
                      <a:gd name="connsiteY21" fmla="*/ 7144 h 2943225"/>
                      <a:gd name="connsiteX22" fmla="*/ 296400 w 4514850"/>
                      <a:gd name="connsiteY22" fmla="*/ 210893 h 2943225"/>
                      <a:gd name="connsiteX23" fmla="*/ 321870 w 4514850"/>
                      <a:gd name="connsiteY23" fmla="*/ 554888 h 2943225"/>
                      <a:gd name="connsiteX24" fmla="*/ 39720 w 4514850"/>
                      <a:gd name="connsiteY24" fmla="*/ 752846 h 2943225"/>
                      <a:gd name="connsiteX25" fmla="*/ 271587 w 4514850"/>
                      <a:gd name="connsiteY25" fmla="*/ 1281979 h 2943225"/>
                      <a:gd name="connsiteX26" fmla="*/ 480223 w 4514850"/>
                      <a:gd name="connsiteY26" fmla="*/ 1329861 h 2943225"/>
                      <a:gd name="connsiteX27" fmla="*/ 815036 w 4514850"/>
                      <a:gd name="connsiteY27" fmla="*/ 1150744 h 2943225"/>
                      <a:gd name="connsiteX28" fmla="*/ 857860 w 4514850"/>
                      <a:gd name="connsiteY28" fmla="*/ 1156954 h 2943225"/>
                      <a:gd name="connsiteX29" fmla="*/ 1528154 w 4514850"/>
                      <a:gd name="connsiteY29" fmla="*/ 1474317 h 2943225"/>
                      <a:gd name="connsiteX30" fmla="*/ 857946 w 4514850"/>
                      <a:gd name="connsiteY30" fmla="*/ 1791367 h 2943225"/>
                      <a:gd name="connsiteX31" fmla="*/ 815036 w 4514850"/>
                      <a:gd name="connsiteY31" fmla="*/ 1797491 h 2943225"/>
                      <a:gd name="connsiteX32" fmla="*/ 480308 w 4514850"/>
                      <a:gd name="connsiteY32" fmla="*/ 1618507 h 2943225"/>
                      <a:gd name="connsiteX33" fmla="*/ 271835 w 4514850"/>
                      <a:gd name="connsiteY33" fmla="*/ 1666218 h 2943225"/>
                      <a:gd name="connsiteX34" fmla="*/ 43368 w 4514850"/>
                      <a:gd name="connsiteY34" fmla="*/ 1891475 h 2943225"/>
                      <a:gd name="connsiteX35" fmla="*/ 39568 w 4514850"/>
                      <a:gd name="connsiteY35" fmla="*/ 2195360 h 2943225"/>
                      <a:gd name="connsiteX36" fmla="*/ 321622 w 4514850"/>
                      <a:gd name="connsiteY36" fmla="*/ 2393318 h 2943225"/>
                      <a:gd name="connsiteX37" fmla="*/ 296152 w 4514850"/>
                      <a:gd name="connsiteY37" fmla="*/ 2737609 h 2943225"/>
                      <a:gd name="connsiteX38" fmla="*/ 643957 w 4514850"/>
                      <a:gd name="connsiteY38" fmla="*/ 2941225 h 2943225"/>
                      <a:gd name="connsiteX39" fmla="*/ 852422 w 4514850"/>
                      <a:gd name="connsiteY39" fmla="*/ 2893600 h 2943225"/>
                      <a:gd name="connsiteX40" fmla="*/ 1080888 w 4514850"/>
                      <a:gd name="connsiteY40" fmla="*/ 2668191 h 2943225"/>
                      <a:gd name="connsiteX41" fmla="*/ 1095357 w 4514850"/>
                      <a:gd name="connsiteY41" fmla="*/ 2390023 h 2943225"/>
                      <a:gd name="connsiteX42" fmla="*/ 1127113 w 4514850"/>
                      <a:gd name="connsiteY42" fmla="*/ 2361038 h 2943225"/>
                      <a:gd name="connsiteX43" fmla="*/ 2264446 w 4514850"/>
                      <a:gd name="connsiteY43" fmla="*/ 1822971 h 2943225"/>
                      <a:gd name="connsiteX44" fmla="*/ 3390110 w 4514850"/>
                      <a:gd name="connsiteY44" fmla="*/ 2355952 h 2943225"/>
                      <a:gd name="connsiteX45" fmla="*/ 3421867 w 4514850"/>
                      <a:gd name="connsiteY45" fmla="*/ 2384898 h 2943225"/>
                      <a:gd name="connsiteX46" fmla="*/ 3436249 w 4514850"/>
                      <a:gd name="connsiteY46" fmla="*/ 2663076 h 2943225"/>
                      <a:gd name="connsiteX47" fmla="*/ 3664640 w 4514850"/>
                      <a:gd name="connsiteY47" fmla="*/ 2888570 h 2943225"/>
                      <a:gd name="connsiteX48" fmla="*/ 3873190 w 4514850"/>
                      <a:gd name="connsiteY48" fmla="*/ 2936281 h 2943225"/>
                      <a:gd name="connsiteX49" fmla="*/ 4221071 w 4514850"/>
                      <a:gd name="connsiteY49" fmla="*/ 2732532 h 2943225"/>
                      <a:gd name="connsiteX50" fmla="*/ 4196021 w 4514850"/>
                      <a:gd name="connsiteY50" fmla="*/ 2389118 h 2943225"/>
                      <a:gd name="connsiteX51" fmla="*/ 4477742 w 4514850"/>
                      <a:gd name="connsiteY51" fmla="*/ 2190417 h 2943225"/>
                      <a:gd name="connsiteX52" fmla="*/ 4245617 w 4514850"/>
                      <a:gd name="connsiteY52" fmla="*/ 1661179 h 2943225"/>
                      <a:gd name="connsiteX53" fmla="*/ 922773 w 4514850"/>
                      <a:gd name="connsiteY53" fmla="*/ 1000316 h 2943225"/>
                      <a:gd name="connsiteX54" fmla="*/ 909048 w 4514850"/>
                      <a:gd name="connsiteY54" fmla="*/ 995182 h 2943225"/>
                      <a:gd name="connsiteX55" fmla="*/ 810731 w 4514850"/>
                      <a:gd name="connsiteY55" fmla="*/ 981370 h 2943225"/>
                      <a:gd name="connsiteX56" fmla="*/ 674952 w 4514850"/>
                      <a:gd name="connsiteY56" fmla="*/ 1053560 h 2943225"/>
                      <a:gd name="connsiteX57" fmla="*/ 480299 w 4514850"/>
                      <a:gd name="connsiteY57" fmla="*/ 1160488 h 2943225"/>
                      <a:gd name="connsiteX58" fmla="*/ 480213 w 4514850"/>
                      <a:gd name="connsiteY58" fmla="*/ 1160488 h 2943225"/>
                      <a:gd name="connsiteX59" fmla="*/ 344187 w 4514850"/>
                      <a:gd name="connsiteY59" fmla="*/ 1128979 h 2943225"/>
                      <a:gd name="connsiteX60" fmla="*/ 192701 w 4514850"/>
                      <a:gd name="connsiteY60" fmla="*/ 825341 h 2943225"/>
                      <a:gd name="connsiteX61" fmla="*/ 385773 w 4514850"/>
                      <a:gd name="connsiteY61" fmla="*/ 719661 h 2943225"/>
                      <a:gd name="connsiteX62" fmla="*/ 500301 w 4514850"/>
                      <a:gd name="connsiteY62" fmla="*/ 741664 h 2943225"/>
                      <a:gd name="connsiteX63" fmla="*/ 573406 w 4514850"/>
                      <a:gd name="connsiteY63" fmla="*/ 770020 h 2943225"/>
                      <a:gd name="connsiteX64" fmla="*/ 648320 w 4514850"/>
                      <a:gd name="connsiteY64" fmla="*/ 613324 h 2943225"/>
                      <a:gd name="connsiteX65" fmla="*/ 579692 w 4514850"/>
                      <a:gd name="connsiteY65" fmla="*/ 574376 h 2943225"/>
                      <a:gd name="connsiteX66" fmla="*/ 449371 w 4514850"/>
                      <a:gd name="connsiteY66" fmla="*/ 283302 h 2943225"/>
                      <a:gd name="connsiteX67" fmla="*/ 644196 w 4514850"/>
                      <a:gd name="connsiteY67" fmla="*/ 176470 h 2943225"/>
                      <a:gd name="connsiteX68" fmla="*/ 780298 w 4514850"/>
                      <a:gd name="connsiteY68" fmla="*/ 207969 h 2943225"/>
                      <a:gd name="connsiteX69" fmla="*/ 931708 w 4514850"/>
                      <a:gd name="connsiteY69" fmla="*/ 511445 h 2943225"/>
                      <a:gd name="connsiteX70" fmla="*/ 1034654 w 4514850"/>
                      <a:gd name="connsiteY70" fmla="*/ 729501 h 2943225"/>
                      <a:gd name="connsiteX71" fmla="*/ 2067459 w 4514850"/>
                      <a:gd name="connsiteY71" fmla="*/ 1219152 h 2943225"/>
                      <a:gd name="connsiteX72" fmla="*/ 1725616 w 4514850"/>
                      <a:gd name="connsiteY72" fmla="*/ 1380858 h 2943225"/>
                      <a:gd name="connsiteX73" fmla="*/ 922773 w 4514850"/>
                      <a:gd name="connsiteY73" fmla="*/ 1000316 h 2943225"/>
                      <a:gd name="connsiteX74" fmla="*/ 1047303 w 4514850"/>
                      <a:gd name="connsiteY74" fmla="*/ 2211448 h 2943225"/>
                      <a:gd name="connsiteX75" fmla="*/ 1034740 w 4514850"/>
                      <a:gd name="connsiteY75" fmla="*/ 2218763 h 2943225"/>
                      <a:gd name="connsiteX76" fmla="*/ 931460 w 4514850"/>
                      <a:gd name="connsiteY76" fmla="*/ 2436857 h 2943225"/>
                      <a:gd name="connsiteX77" fmla="*/ 926993 w 4514850"/>
                      <a:gd name="connsiteY77" fmla="*/ 2597363 h 2943225"/>
                      <a:gd name="connsiteX78" fmla="*/ 780060 w 4514850"/>
                      <a:gd name="connsiteY78" fmla="*/ 2740457 h 2943225"/>
                      <a:gd name="connsiteX79" fmla="*/ 643957 w 4514850"/>
                      <a:gd name="connsiteY79" fmla="*/ 2771880 h 2943225"/>
                      <a:gd name="connsiteX80" fmla="*/ 449219 w 4514850"/>
                      <a:gd name="connsiteY80" fmla="*/ 2665171 h 2943225"/>
                      <a:gd name="connsiteX81" fmla="*/ 579445 w 4514850"/>
                      <a:gd name="connsiteY81" fmla="*/ 2373935 h 2943225"/>
                      <a:gd name="connsiteX82" fmla="*/ 648082 w 4514850"/>
                      <a:gd name="connsiteY82" fmla="*/ 2335035 h 2943225"/>
                      <a:gd name="connsiteX83" fmla="*/ 573415 w 4514850"/>
                      <a:gd name="connsiteY83" fmla="*/ 2178539 h 2943225"/>
                      <a:gd name="connsiteX84" fmla="*/ 500235 w 4514850"/>
                      <a:gd name="connsiteY84" fmla="*/ 2206733 h 2943225"/>
                      <a:gd name="connsiteX85" fmla="*/ 192711 w 4514850"/>
                      <a:gd name="connsiteY85" fmla="*/ 2122970 h 2943225"/>
                      <a:gd name="connsiteX86" fmla="*/ 197178 w 4514850"/>
                      <a:gd name="connsiteY86" fmla="*/ 1962341 h 2943225"/>
                      <a:gd name="connsiteX87" fmla="*/ 344196 w 4514850"/>
                      <a:gd name="connsiteY87" fmla="*/ 1819323 h 2943225"/>
                      <a:gd name="connsiteX88" fmla="*/ 480308 w 4514850"/>
                      <a:gd name="connsiteY88" fmla="*/ 1787861 h 2943225"/>
                      <a:gd name="connsiteX89" fmla="*/ 674961 w 4514850"/>
                      <a:gd name="connsiteY89" fmla="*/ 1894618 h 2943225"/>
                      <a:gd name="connsiteX90" fmla="*/ 810826 w 4514850"/>
                      <a:gd name="connsiteY90" fmla="*/ 1966932 h 2943225"/>
                      <a:gd name="connsiteX91" fmla="*/ 908895 w 4514850"/>
                      <a:gd name="connsiteY91" fmla="*/ 1953206 h 2943225"/>
                      <a:gd name="connsiteX92" fmla="*/ 3470406 w 4514850"/>
                      <a:gd name="connsiteY92" fmla="*/ 742778 h 2943225"/>
                      <a:gd name="connsiteX93" fmla="*/ 3483055 w 4514850"/>
                      <a:gd name="connsiteY93" fmla="*/ 735378 h 2943225"/>
                      <a:gd name="connsiteX94" fmla="*/ 3586087 w 4514850"/>
                      <a:gd name="connsiteY94" fmla="*/ 517322 h 2943225"/>
                      <a:gd name="connsiteX95" fmla="*/ 3590545 w 4514850"/>
                      <a:gd name="connsiteY95" fmla="*/ 356854 h 2943225"/>
                      <a:gd name="connsiteX96" fmla="*/ 3737649 w 4514850"/>
                      <a:gd name="connsiteY96" fmla="*/ 213722 h 2943225"/>
                      <a:gd name="connsiteX97" fmla="*/ 3873428 w 4514850"/>
                      <a:gd name="connsiteY97" fmla="*/ 182385 h 2943225"/>
                      <a:gd name="connsiteX98" fmla="*/ 4068414 w 4514850"/>
                      <a:gd name="connsiteY98" fmla="*/ 289217 h 2943225"/>
                      <a:gd name="connsiteX99" fmla="*/ 3967525 w 4514850"/>
                      <a:gd name="connsiteY99" fmla="*/ 562880 h 2943225"/>
                      <a:gd name="connsiteX100" fmla="*/ 3908651 w 4514850"/>
                      <a:gd name="connsiteY100" fmla="*/ 604723 h 2943225"/>
                      <a:gd name="connsiteX101" fmla="*/ 3982327 w 4514850"/>
                      <a:gd name="connsiteY101" fmla="*/ 753770 h 2943225"/>
                      <a:gd name="connsiteX102" fmla="*/ 4049564 w 4514850"/>
                      <a:gd name="connsiteY102" fmla="*/ 735578 h 2943225"/>
                      <a:gd name="connsiteX103" fmla="*/ 4324846 w 4514850"/>
                      <a:gd name="connsiteY103" fmla="*/ 831333 h 2943225"/>
                      <a:gd name="connsiteX104" fmla="*/ 4173522 w 4514850"/>
                      <a:gd name="connsiteY104" fmla="*/ 1134970 h 2943225"/>
                      <a:gd name="connsiteX105" fmla="*/ 4037496 w 4514850"/>
                      <a:gd name="connsiteY105" fmla="*/ 1166393 h 2943225"/>
                      <a:gd name="connsiteX106" fmla="*/ 3842672 w 4514850"/>
                      <a:gd name="connsiteY106" fmla="*/ 1059513 h 2943225"/>
                      <a:gd name="connsiteX107" fmla="*/ 3706893 w 4514850"/>
                      <a:gd name="connsiteY107" fmla="*/ 987161 h 2943225"/>
                      <a:gd name="connsiteX108" fmla="*/ 3608576 w 4514850"/>
                      <a:gd name="connsiteY108" fmla="*/ 1001059 h 2943225"/>
                      <a:gd name="connsiteX109" fmla="*/ 1047303 w 4514850"/>
                      <a:gd name="connsiteY109" fmla="*/ 2211448 h 2943225"/>
                      <a:gd name="connsiteX110" fmla="*/ 4324580 w 4514850"/>
                      <a:gd name="connsiteY110" fmla="*/ 2117960 h 2943225"/>
                      <a:gd name="connsiteX111" fmla="*/ 4048897 w 4514850"/>
                      <a:gd name="connsiteY111" fmla="*/ 2213467 h 2943225"/>
                      <a:gd name="connsiteX112" fmla="*/ 3979441 w 4514850"/>
                      <a:gd name="connsiteY112" fmla="*/ 2194531 h 2943225"/>
                      <a:gd name="connsiteX113" fmla="*/ 3910642 w 4514850"/>
                      <a:gd name="connsiteY113" fmla="*/ 2345684 h 2943225"/>
                      <a:gd name="connsiteX114" fmla="*/ 3967363 w 4514850"/>
                      <a:gd name="connsiteY114" fmla="*/ 2386212 h 2943225"/>
                      <a:gd name="connsiteX115" fmla="*/ 4067995 w 4514850"/>
                      <a:gd name="connsiteY115" fmla="*/ 2660075 h 2943225"/>
                      <a:gd name="connsiteX116" fmla="*/ 3873171 w 4514850"/>
                      <a:gd name="connsiteY116" fmla="*/ 2766908 h 2943225"/>
                      <a:gd name="connsiteX117" fmla="*/ 3737068 w 4514850"/>
                      <a:gd name="connsiteY117" fmla="*/ 2735494 h 2943225"/>
                      <a:gd name="connsiteX118" fmla="*/ 3590126 w 4514850"/>
                      <a:gd name="connsiteY118" fmla="*/ 2592267 h 2943225"/>
                      <a:gd name="connsiteX119" fmla="*/ 3585906 w 4514850"/>
                      <a:gd name="connsiteY119" fmla="*/ 2431523 h 2943225"/>
                      <a:gd name="connsiteX120" fmla="*/ 3482379 w 4514850"/>
                      <a:gd name="connsiteY120" fmla="*/ 2213639 h 2943225"/>
                      <a:gd name="connsiteX121" fmla="*/ 2461556 w 4514850"/>
                      <a:gd name="connsiteY121" fmla="*/ 1729730 h 2943225"/>
                      <a:gd name="connsiteX122" fmla="*/ 2803313 w 4514850"/>
                      <a:gd name="connsiteY122" fmla="*/ 1567996 h 2943225"/>
                      <a:gd name="connsiteX123" fmla="*/ 3594584 w 4514850"/>
                      <a:gd name="connsiteY123" fmla="*/ 1943157 h 2943225"/>
                      <a:gd name="connsiteX124" fmla="*/ 3608480 w 4514850"/>
                      <a:gd name="connsiteY124" fmla="*/ 1948377 h 2943225"/>
                      <a:gd name="connsiteX125" fmla="*/ 3706140 w 4514850"/>
                      <a:gd name="connsiteY125" fmla="*/ 1961931 h 2943225"/>
                      <a:gd name="connsiteX126" fmla="*/ 3842414 w 4514850"/>
                      <a:gd name="connsiteY126" fmla="*/ 1889493 h 2943225"/>
                      <a:gd name="connsiteX127" fmla="*/ 4037067 w 4514850"/>
                      <a:gd name="connsiteY127" fmla="*/ 1782832 h 2943225"/>
                      <a:gd name="connsiteX128" fmla="*/ 4173180 w 4514850"/>
                      <a:gd name="connsiteY128" fmla="*/ 1814255 h 2943225"/>
                      <a:gd name="connsiteX129" fmla="*/ 4324580 w 4514850"/>
                      <a:gd name="connsiteY129" fmla="*/ 2117960 h 294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514850" h="2943225">
                        <a:moveTo>
                          <a:pt x="4245617" y="1661179"/>
                        </a:moveTo>
                        <a:cubicBezTo>
                          <a:pt x="4179628" y="1630004"/>
                          <a:pt x="4107533" y="1613468"/>
                          <a:pt x="4037067" y="1613468"/>
                        </a:cubicBezTo>
                        <a:cubicBezTo>
                          <a:pt x="3892440" y="1613468"/>
                          <a:pt x="3766757" y="1681439"/>
                          <a:pt x="3702254" y="1792491"/>
                        </a:cubicBezTo>
                        <a:cubicBezTo>
                          <a:pt x="3686881" y="1792072"/>
                          <a:pt x="3669507" y="1788776"/>
                          <a:pt x="3659344" y="1786538"/>
                        </a:cubicBezTo>
                        <a:lnTo>
                          <a:pt x="3000795" y="1474632"/>
                        </a:lnTo>
                        <a:lnTo>
                          <a:pt x="3659839" y="1162802"/>
                        </a:lnTo>
                        <a:cubicBezTo>
                          <a:pt x="3670012" y="1160450"/>
                          <a:pt x="3687205" y="1157183"/>
                          <a:pt x="3702587" y="1156602"/>
                        </a:cubicBezTo>
                        <a:cubicBezTo>
                          <a:pt x="3767167" y="1267777"/>
                          <a:pt x="3892859" y="1335748"/>
                          <a:pt x="4037486" y="1335748"/>
                        </a:cubicBezTo>
                        <a:cubicBezTo>
                          <a:pt x="4107857" y="1335748"/>
                          <a:pt x="4179961" y="1319250"/>
                          <a:pt x="4245951" y="1288037"/>
                        </a:cubicBezTo>
                        <a:cubicBezTo>
                          <a:pt x="4463187" y="1185291"/>
                          <a:pt x="4567296" y="947975"/>
                          <a:pt x="4477989" y="758990"/>
                        </a:cubicBezTo>
                        <a:cubicBezTo>
                          <a:pt x="4427221" y="651615"/>
                          <a:pt x="4322522" y="579015"/>
                          <a:pt x="4196430" y="560156"/>
                        </a:cubicBezTo>
                        <a:cubicBezTo>
                          <a:pt x="4260353" y="452418"/>
                          <a:pt x="4272830" y="325279"/>
                          <a:pt x="4221481" y="216779"/>
                        </a:cubicBezTo>
                        <a:cubicBezTo>
                          <a:pt x="4161940" y="91097"/>
                          <a:pt x="4028561" y="13030"/>
                          <a:pt x="3873428" y="13030"/>
                        </a:cubicBezTo>
                        <a:cubicBezTo>
                          <a:pt x="3803143" y="13030"/>
                          <a:pt x="3731124" y="29480"/>
                          <a:pt x="3665211" y="60665"/>
                        </a:cubicBezTo>
                        <a:cubicBezTo>
                          <a:pt x="3562437" y="109290"/>
                          <a:pt x="3481312" y="189328"/>
                          <a:pt x="3436745" y="285998"/>
                        </a:cubicBezTo>
                        <a:cubicBezTo>
                          <a:pt x="3393996" y="378733"/>
                          <a:pt x="3389120" y="476478"/>
                          <a:pt x="3422191" y="564175"/>
                        </a:cubicBezTo>
                        <a:cubicBezTo>
                          <a:pt x="3414256" y="573138"/>
                          <a:pt x="3402093" y="584349"/>
                          <a:pt x="3390520" y="593236"/>
                        </a:cubicBezTo>
                        <a:lnTo>
                          <a:pt x="2264522" y="1125941"/>
                        </a:lnTo>
                        <a:lnTo>
                          <a:pt x="1127446" y="587369"/>
                        </a:lnTo>
                        <a:cubicBezTo>
                          <a:pt x="1115712" y="578434"/>
                          <a:pt x="1103634" y="567195"/>
                          <a:pt x="1095690" y="558270"/>
                        </a:cubicBezTo>
                        <a:cubicBezTo>
                          <a:pt x="1164575" y="374123"/>
                          <a:pt x="1060305" y="153162"/>
                          <a:pt x="852745" y="54931"/>
                        </a:cubicBezTo>
                        <a:cubicBezTo>
                          <a:pt x="786756" y="23679"/>
                          <a:pt x="714652" y="7144"/>
                          <a:pt x="644196" y="7144"/>
                        </a:cubicBezTo>
                        <a:cubicBezTo>
                          <a:pt x="489233" y="7144"/>
                          <a:pt x="355940" y="85201"/>
                          <a:pt x="296400" y="210893"/>
                        </a:cubicBezTo>
                        <a:cubicBezTo>
                          <a:pt x="243965" y="321535"/>
                          <a:pt x="257033" y="447884"/>
                          <a:pt x="321870" y="554888"/>
                        </a:cubicBezTo>
                        <a:cubicBezTo>
                          <a:pt x="195520" y="573243"/>
                          <a:pt x="90583" y="645604"/>
                          <a:pt x="39720" y="752846"/>
                        </a:cubicBezTo>
                        <a:cubicBezTo>
                          <a:pt x="-49663" y="941718"/>
                          <a:pt x="54446" y="1179119"/>
                          <a:pt x="271587" y="1281979"/>
                        </a:cubicBezTo>
                        <a:cubicBezTo>
                          <a:pt x="337576" y="1313326"/>
                          <a:pt x="409681" y="1329861"/>
                          <a:pt x="480223" y="1329861"/>
                        </a:cubicBezTo>
                        <a:cubicBezTo>
                          <a:pt x="624850" y="1329861"/>
                          <a:pt x="750618" y="1261882"/>
                          <a:pt x="815036" y="1150744"/>
                        </a:cubicBezTo>
                        <a:cubicBezTo>
                          <a:pt x="830409" y="1151325"/>
                          <a:pt x="847783" y="1154630"/>
                          <a:pt x="857860" y="1156954"/>
                        </a:cubicBezTo>
                        <a:lnTo>
                          <a:pt x="1528154" y="1474317"/>
                        </a:lnTo>
                        <a:lnTo>
                          <a:pt x="857946" y="1791367"/>
                        </a:lnTo>
                        <a:cubicBezTo>
                          <a:pt x="847688" y="1793691"/>
                          <a:pt x="830409" y="1796958"/>
                          <a:pt x="815036" y="1797491"/>
                        </a:cubicBezTo>
                        <a:cubicBezTo>
                          <a:pt x="750456" y="1686401"/>
                          <a:pt x="624850" y="1618507"/>
                          <a:pt x="480308" y="1618507"/>
                        </a:cubicBezTo>
                        <a:cubicBezTo>
                          <a:pt x="409938" y="1618507"/>
                          <a:pt x="337748" y="1635014"/>
                          <a:pt x="271835" y="1666218"/>
                        </a:cubicBezTo>
                        <a:cubicBezTo>
                          <a:pt x="169060" y="1714805"/>
                          <a:pt x="87850" y="1794767"/>
                          <a:pt x="43368" y="1891475"/>
                        </a:cubicBezTo>
                        <a:cubicBezTo>
                          <a:pt x="-3600" y="1993259"/>
                          <a:pt x="-4924" y="2101177"/>
                          <a:pt x="39568" y="2195360"/>
                        </a:cubicBezTo>
                        <a:cubicBezTo>
                          <a:pt x="90336" y="2302574"/>
                          <a:pt x="195273" y="2374925"/>
                          <a:pt x="321622" y="2393318"/>
                        </a:cubicBezTo>
                        <a:cubicBezTo>
                          <a:pt x="256880" y="2500284"/>
                          <a:pt x="243812" y="2626804"/>
                          <a:pt x="296152" y="2737609"/>
                        </a:cubicBezTo>
                        <a:cubicBezTo>
                          <a:pt x="355607" y="2863177"/>
                          <a:pt x="488909" y="2941187"/>
                          <a:pt x="643957" y="2941225"/>
                        </a:cubicBezTo>
                        <a:cubicBezTo>
                          <a:pt x="714319" y="2941225"/>
                          <a:pt x="786432" y="2924728"/>
                          <a:pt x="852422" y="2893600"/>
                        </a:cubicBezTo>
                        <a:cubicBezTo>
                          <a:pt x="955196" y="2844975"/>
                          <a:pt x="1036330" y="2764936"/>
                          <a:pt x="1080888" y="2668191"/>
                        </a:cubicBezTo>
                        <a:cubicBezTo>
                          <a:pt x="1123560" y="2575493"/>
                          <a:pt x="1128437" y="2477796"/>
                          <a:pt x="1095357" y="2390023"/>
                        </a:cubicBezTo>
                        <a:cubicBezTo>
                          <a:pt x="1103377" y="2381088"/>
                          <a:pt x="1115531" y="2369887"/>
                          <a:pt x="1127113" y="2361038"/>
                        </a:cubicBezTo>
                        <a:lnTo>
                          <a:pt x="2264446" y="1822971"/>
                        </a:lnTo>
                        <a:lnTo>
                          <a:pt x="3390110" y="2355952"/>
                        </a:lnTo>
                        <a:cubicBezTo>
                          <a:pt x="3401769" y="2364886"/>
                          <a:pt x="3413847" y="2376049"/>
                          <a:pt x="3421867" y="2384898"/>
                        </a:cubicBezTo>
                        <a:cubicBezTo>
                          <a:pt x="3388796" y="2472719"/>
                          <a:pt x="3393673" y="2570379"/>
                          <a:pt x="3436249" y="2663076"/>
                        </a:cubicBezTo>
                        <a:cubicBezTo>
                          <a:pt x="3480741" y="2759745"/>
                          <a:pt x="3561856" y="2839784"/>
                          <a:pt x="3664640" y="2888570"/>
                        </a:cubicBezTo>
                        <a:cubicBezTo>
                          <a:pt x="3730629" y="2919736"/>
                          <a:pt x="3802733" y="2936281"/>
                          <a:pt x="3873190" y="2936281"/>
                        </a:cubicBezTo>
                        <a:cubicBezTo>
                          <a:pt x="4028228" y="2936281"/>
                          <a:pt x="4161445" y="2858224"/>
                          <a:pt x="4221071" y="2732532"/>
                        </a:cubicBezTo>
                        <a:cubicBezTo>
                          <a:pt x="4272344" y="2624204"/>
                          <a:pt x="4259933" y="2496950"/>
                          <a:pt x="4196021" y="2389118"/>
                        </a:cubicBezTo>
                        <a:cubicBezTo>
                          <a:pt x="4322208" y="2370354"/>
                          <a:pt x="4426888" y="2297744"/>
                          <a:pt x="4477742" y="2190417"/>
                        </a:cubicBezTo>
                        <a:cubicBezTo>
                          <a:pt x="4567029" y="2001536"/>
                          <a:pt x="4463007" y="1764125"/>
                          <a:pt x="4245617" y="1661179"/>
                        </a:cubicBezTo>
                        <a:close/>
                        <a:moveTo>
                          <a:pt x="922773" y="1000316"/>
                        </a:moveTo>
                        <a:lnTo>
                          <a:pt x="909048" y="995182"/>
                        </a:lnTo>
                        <a:cubicBezTo>
                          <a:pt x="903923" y="993772"/>
                          <a:pt x="857527" y="981370"/>
                          <a:pt x="810731" y="981370"/>
                        </a:cubicBezTo>
                        <a:cubicBezTo>
                          <a:pt x="722501" y="981370"/>
                          <a:pt x="687849" y="1026519"/>
                          <a:pt x="674952" y="1053560"/>
                        </a:cubicBezTo>
                        <a:cubicBezTo>
                          <a:pt x="643691" y="1119473"/>
                          <a:pt x="569110" y="1160488"/>
                          <a:pt x="480299" y="1160488"/>
                        </a:cubicBezTo>
                        <a:lnTo>
                          <a:pt x="480213" y="1160488"/>
                        </a:lnTo>
                        <a:cubicBezTo>
                          <a:pt x="434646" y="1160488"/>
                          <a:pt x="387678" y="1149572"/>
                          <a:pt x="344187" y="1128979"/>
                        </a:cubicBezTo>
                        <a:cubicBezTo>
                          <a:pt x="211227" y="1065971"/>
                          <a:pt x="143333" y="929783"/>
                          <a:pt x="192701" y="825341"/>
                        </a:cubicBezTo>
                        <a:cubicBezTo>
                          <a:pt x="224124" y="759181"/>
                          <a:pt x="296314" y="719661"/>
                          <a:pt x="385773" y="719661"/>
                        </a:cubicBezTo>
                        <a:cubicBezTo>
                          <a:pt x="424063" y="719661"/>
                          <a:pt x="462601" y="727100"/>
                          <a:pt x="500301" y="741664"/>
                        </a:cubicBezTo>
                        <a:lnTo>
                          <a:pt x="573406" y="770020"/>
                        </a:lnTo>
                        <a:lnTo>
                          <a:pt x="648320" y="613324"/>
                        </a:lnTo>
                        <a:lnTo>
                          <a:pt x="579692" y="574376"/>
                        </a:lnTo>
                        <a:cubicBezTo>
                          <a:pt x="461277" y="507073"/>
                          <a:pt x="404061" y="379228"/>
                          <a:pt x="449371" y="283302"/>
                        </a:cubicBezTo>
                        <a:cubicBezTo>
                          <a:pt x="480632" y="217475"/>
                          <a:pt x="555299" y="176470"/>
                          <a:pt x="644196" y="176470"/>
                        </a:cubicBezTo>
                        <a:cubicBezTo>
                          <a:pt x="689763" y="176470"/>
                          <a:pt x="736807" y="187385"/>
                          <a:pt x="780298" y="207969"/>
                        </a:cubicBezTo>
                        <a:cubicBezTo>
                          <a:pt x="913191" y="270900"/>
                          <a:pt x="981076" y="407003"/>
                          <a:pt x="931708" y="511445"/>
                        </a:cubicBezTo>
                        <a:cubicBezTo>
                          <a:pt x="883997" y="612248"/>
                          <a:pt x="998440" y="703783"/>
                          <a:pt x="1034654" y="729501"/>
                        </a:cubicBezTo>
                        <a:lnTo>
                          <a:pt x="2067459" y="1219152"/>
                        </a:lnTo>
                        <a:lnTo>
                          <a:pt x="1725616" y="1380858"/>
                        </a:lnTo>
                        <a:lnTo>
                          <a:pt x="922773" y="1000316"/>
                        </a:lnTo>
                        <a:close/>
                        <a:moveTo>
                          <a:pt x="1047303" y="2211448"/>
                        </a:moveTo>
                        <a:lnTo>
                          <a:pt x="1034740" y="2218763"/>
                        </a:lnTo>
                        <a:cubicBezTo>
                          <a:pt x="998440" y="2244395"/>
                          <a:pt x="883502" y="2335806"/>
                          <a:pt x="931460" y="2436857"/>
                        </a:cubicBezTo>
                        <a:cubicBezTo>
                          <a:pt x="954120" y="2484815"/>
                          <a:pt x="952625" y="2541832"/>
                          <a:pt x="926993" y="2597363"/>
                        </a:cubicBezTo>
                        <a:cubicBezTo>
                          <a:pt x="899132" y="2658056"/>
                          <a:pt x="846869" y="2708872"/>
                          <a:pt x="780060" y="2740457"/>
                        </a:cubicBezTo>
                        <a:cubicBezTo>
                          <a:pt x="736559" y="2761012"/>
                          <a:pt x="689515" y="2771880"/>
                          <a:pt x="643957" y="2771880"/>
                        </a:cubicBezTo>
                        <a:cubicBezTo>
                          <a:pt x="554984" y="2771842"/>
                          <a:pt x="480394" y="2730951"/>
                          <a:pt x="449219" y="2665171"/>
                        </a:cubicBezTo>
                        <a:cubicBezTo>
                          <a:pt x="403813" y="2569083"/>
                          <a:pt x="461039" y="2441162"/>
                          <a:pt x="579445" y="2373935"/>
                        </a:cubicBezTo>
                        <a:lnTo>
                          <a:pt x="648082" y="2335035"/>
                        </a:lnTo>
                        <a:lnTo>
                          <a:pt x="573415" y="2178539"/>
                        </a:lnTo>
                        <a:lnTo>
                          <a:pt x="500235" y="2206733"/>
                        </a:lnTo>
                        <a:cubicBezTo>
                          <a:pt x="376029" y="2254777"/>
                          <a:pt x="236945" y="2216325"/>
                          <a:pt x="192711" y="2122970"/>
                        </a:cubicBezTo>
                        <a:cubicBezTo>
                          <a:pt x="169965" y="2074888"/>
                          <a:pt x="171546" y="2017871"/>
                          <a:pt x="197178" y="1962341"/>
                        </a:cubicBezTo>
                        <a:cubicBezTo>
                          <a:pt x="225038" y="1901733"/>
                          <a:pt x="277302" y="1850955"/>
                          <a:pt x="344196" y="1819323"/>
                        </a:cubicBezTo>
                        <a:cubicBezTo>
                          <a:pt x="387697" y="1798739"/>
                          <a:pt x="434827" y="1787861"/>
                          <a:pt x="480308" y="1787861"/>
                        </a:cubicBezTo>
                        <a:cubicBezTo>
                          <a:pt x="569196" y="1787861"/>
                          <a:pt x="643786" y="1828791"/>
                          <a:pt x="674961" y="1894618"/>
                        </a:cubicBezTo>
                        <a:cubicBezTo>
                          <a:pt x="687696" y="1921612"/>
                          <a:pt x="722339" y="1966932"/>
                          <a:pt x="810826" y="1966932"/>
                        </a:cubicBezTo>
                        <a:cubicBezTo>
                          <a:pt x="857460" y="1966932"/>
                          <a:pt x="903761" y="1954616"/>
                          <a:pt x="908895" y="1953206"/>
                        </a:cubicBezTo>
                        <a:lnTo>
                          <a:pt x="3470406" y="742778"/>
                        </a:lnTo>
                        <a:lnTo>
                          <a:pt x="3483055" y="735378"/>
                        </a:lnTo>
                        <a:cubicBezTo>
                          <a:pt x="3519355" y="709736"/>
                          <a:pt x="3633798" y="618277"/>
                          <a:pt x="3586087" y="517322"/>
                        </a:cubicBezTo>
                        <a:cubicBezTo>
                          <a:pt x="3563427" y="469316"/>
                          <a:pt x="3564999" y="412337"/>
                          <a:pt x="3590545" y="356854"/>
                        </a:cubicBezTo>
                        <a:cubicBezTo>
                          <a:pt x="3618501" y="296246"/>
                          <a:pt x="3670755" y="245393"/>
                          <a:pt x="3737649" y="213722"/>
                        </a:cubicBezTo>
                        <a:cubicBezTo>
                          <a:pt x="3781064" y="193215"/>
                          <a:pt x="3828032" y="182385"/>
                          <a:pt x="3873428" y="182385"/>
                        </a:cubicBezTo>
                        <a:cubicBezTo>
                          <a:pt x="3962487" y="182385"/>
                          <a:pt x="4037153" y="223361"/>
                          <a:pt x="4068414" y="289217"/>
                        </a:cubicBezTo>
                        <a:cubicBezTo>
                          <a:pt x="4109838" y="376828"/>
                          <a:pt x="4067414" y="491938"/>
                          <a:pt x="3967525" y="562880"/>
                        </a:cubicBezTo>
                        <a:lnTo>
                          <a:pt x="3908651" y="604723"/>
                        </a:lnTo>
                        <a:lnTo>
                          <a:pt x="3982327" y="753770"/>
                        </a:lnTo>
                        <a:lnTo>
                          <a:pt x="4049564" y="735578"/>
                        </a:lnTo>
                        <a:cubicBezTo>
                          <a:pt x="4165245" y="704155"/>
                          <a:pt x="4284403" y="745750"/>
                          <a:pt x="4324846" y="831333"/>
                        </a:cubicBezTo>
                        <a:cubicBezTo>
                          <a:pt x="4374300" y="935936"/>
                          <a:pt x="4306406" y="1072125"/>
                          <a:pt x="4173522" y="1134970"/>
                        </a:cubicBezTo>
                        <a:cubicBezTo>
                          <a:pt x="4130022" y="1155525"/>
                          <a:pt x="4082968" y="1166393"/>
                          <a:pt x="4037496" y="1166393"/>
                        </a:cubicBezTo>
                        <a:cubicBezTo>
                          <a:pt x="3948523" y="1166393"/>
                          <a:pt x="3873856" y="1125417"/>
                          <a:pt x="3842672" y="1059513"/>
                        </a:cubicBezTo>
                        <a:cubicBezTo>
                          <a:pt x="3829937" y="1032472"/>
                          <a:pt x="3795294" y="987161"/>
                          <a:pt x="3706893" y="987161"/>
                        </a:cubicBezTo>
                        <a:cubicBezTo>
                          <a:pt x="3660182" y="987161"/>
                          <a:pt x="3613700" y="999649"/>
                          <a:pt x="3608576" y="1001059"/>
                        </a:cubicBezTo>
                        <a:lnTo>
                          <a:pt x="1047303" y="2211448"/>
                        </a:lnTo>
                        <a:close/>
                        <a:moveTo>
                          <a:pt x="4324580" y="2117960"/>
                        </a:moveTo>
                        <a:cubicBezTo>
                          <a:pt x="4284060" y="2203628"/>
                          <a:pt x="4165321" y="2245214"/>
                          <a:pt x="4048897" y="2213467"/>
                        </a:cubicBezTo>
                        <a:lnTo>
                          <a:pt x="3979441" y="2194531"/>
                        </a:lnTo>
                        <a:lnTo>
                          <a:pt x="3910642" y="2345684"/>
                        </a:lnTo>
                        <a:lnTo>
                          <a:pt x="3967363" y="2386212"/>
                        </a:lnTo>
                        <a:cubicBezTo>
                          <a:pt x="4067081" y="2457412"/>
                          <a:pt x="4109334" y="2572588"/>
                          <a:pt x="4067995" y="2660075"/>
                        </a:cubicBezTo>
                        <a:cubicBezTo>
                          <a:pt x="4036734" y="2725979"/>
                          <a:pt x="3962068" y="2766908"/>
                          <a:pt x="3873171" y="2766908"/>
                        </a:cubicBezTo>
                        <a:cubicBezTo>
                          <a:pt x="3827603" y="2766908"/>
                          <a:pt x="3780550" y="2755992"/>
                          <a:pt x="3737068" y="2735494"/>
                        </a:cubicBezTo>
                        <a:cubicBezTo>
                          <a:pt x="3670164" y="2703738"/>
                          <a:pt x="3617986" y="2652884"/>
                          <a:pt x="3590126" y="2592267"/>
                        </a:cubicBezTo>
                        <a:cubicBezTo>
                          <a:pt x="3564580" y="2536784"/>
                          <a:pt x="3563084" y="2479729"/>
                          <a:pt x="3585906" y="2431523"/>
                        </a:cubicBezTo>
                        <a:cubicBezTo>
                          <a:pt x="3633617" y="2330472"/>
                          <a:pt x="3518755" y="2239185"/>
                          <a:pt x="3482379" y="2213639"/>
                        </a:cubicBezTo>
                        <a:lnTo>
                          <a:pt x="2461556" y="1729730"/>
                        </a:lnTo>
                        <a:lnTo>
                          <a:pt x="2803313" y="1567996"/>
                        </a:lnTo>
                        <a:lnTo>
                          <a:pt x="3594584" y="1943157"/>
                        </a:lnTo>
                        <a:lnTo>
                          <a:pt x="3608480" y="1948377"/>
                        </a:lnTo>
                        <a:cubicBezTo>
                          <a:pt x="3613529" y="1949786"/>
                          <a:pt x="3659582" y="1961931"/>
                          <a:pt x="3706140" y="1961931"/>
                        </a:cubicBezTo>
                        <a:cubicBezTo>
                          <a:pt x="3794951" y="1961931"/>
                          <a:pt x="3829679" y="1916535"/>
                          <a:pt x="3842414" y="1889493"/>
                        </a:cubicBezTo>
                        <a:cubicBezTo>
                          <a:pt x="3873590" y="1823761"/>
                          <a:pt x="3948170" y="1782832"/>
                          <a:pt x="4037067" y="1782832"/>
                        </a:cubicBezTo>
                        <a:cubicBezTo>
                          <a:pt x="4082635" y="1782832"/>
                          <a:pt x="4129688" y="1793748"/>
                          <a:pt x="4173180" y="1814255"/>
                        </a:cubicBezTo>
                        <a:cubicBezTo>
                          <a:pt x="4306149" y="1877244"/>
                          <a:pt x="4374033" y="2013442"/>
                          <a:pt x="4324580" y="2117960"/>
                        </a:cubicBezTo>
                        <a:close/>
                      </a:path>
                    </a:pathLst>
                  </a:custGeom>
                  <a:solidFill>
                    <a:schemeClr val="bg1"/>
                  </a:solidFill>
                  <a:ln w="9525" cap="flat">
                    <a:noFill/>
                    <a:prstDash val="solid"/>
                    <a:miter/>
                  </a:ln>
                </p:spPr>
                <p:txBody>
                  <a:bodyPr rtlCol="0" anchor="ctr"/>
                  <a:lstStyle/>
                  <a:p>
                    <a:pPr defTabSz="685800">
                      <a:defRPr/>
                    </a:pPr>
                    <a:endParaRPr lang="en-US" sz="1350">
                      <a:solidFill>
                        <a:prstClr val="black"/>
                      </a:solidFill>
                      <a:latin typeface="Arial"/>
                    </a:endParaRPr>
                  </a:p>
                </p:txBody>
              </p:sp>
            </p:grpSp>
          </p:grpSp>
          <p:sp>
            <p:nvSpPr>
              <p:cNvPr id="60" name="Oval 59">
                <a:extLst>
                  <a:ext uri="{FF2B5EF4-FFF2-40B4-BE49-F238E27FC236}">
                    <a16:creationId xmlns:a16="http://schemas.microsoft.com/office/drawing/2014/main" id="{24AE60EA-64CC-4860-D3A0-6A1246D63E7A}"/>
                  </a:ext>
                </a:extLst>
              </p:cNvPr>
              <p:cNvSpPr/>
              <p:nvPr/>
            </p:nvSpPr>
            <p:spPr>
              <a:xfrm>
                <a:off x="10806462" y="2746533"/>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61" name="Oval 60">
                <a:extLst>
                  <a:ext uri="{FF2B5EF4-FFF2-40B4-BE49-F238E27FC236}">
                    <a16:creationId xmlns:a16="http://schemas.microsoft.com/office/drawing/2014/main" id="{080B5C74-D559-CD2F-6D59-371CD581149F}"/>
                  </a:ext>
                </a:extLst>
              </p:cNvPr>
              <p:cNvSpPr/>
              <p:nvPr/>
            </p:nvSpPr>
            <p:spPr>
              <a:xfrm>
                <a:off x="10806462" y="3756209"/>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62" name="Oval 61">
                <a:extLst>
                  <a:ext uri="{FF2B5EF4-FFF2-40B4-BE49-F238E27FC236}">
                    <a16:creationId xmlns:a16="http://schemas.microsoft.com/office/drawing/2014/main" id="{FAEEB78E-6B47-5CC7-0506-6A9E8FFB95A2}"/>
                  </a:ext>
                </a:extLst>
              </p:cNvPr>
              <p:cNvSpPr/>
              <p:nvPr/>
            </p:nvSpPr>
            <p:spPr>
              <a:xfrm>
                <a:off x="10806462" y="4261047"/>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63" name="Oval 62">
                <a:extLst>
                  <a:ext uri="{FF2B5EF4-FFF2-40B4-BE49-F238E27FC236}">
                    <a16:creationId xmlns:a16="http://schemas.microsoft.com/office/drawing/2014/main" id="{6A60C04D-331E-0417-16EE-A4EC6884D1CF}"/>
                  </a:ext>
                </a:extLst>
              </p:cNvPr>
              <p:cNvSpPr/>
              <p:nvPr/>
            </p:nvSpPr>
            <p:spPr>
              <a:xfrm>
                <a:off x="10806462" y="5270723"/>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grpSp>
        <p:grpSp>
          <p:nvGrpSpPr>
            <p:cNvPr id="71" name="Group 70">
              <a:extLst>
                <a:ext uri="{FF2B5EF4-FFF2-40B4-BE49-F238E27FC236}">
                  <a16:creationId xmlns:a16="http://schemas.microsoft.com/office/drawing/2014/main" id="{339FABBE-195C-C865-8373-F029B343F7C9}"/>
                </a:ext>
              </a:extLst>
            </p:cNvPr>
            <p:cNvGrpSpPr/>
            <p:nvPr/>
          </p:nvGrpSpPr>
          <p:grpSpPr>
            <a:xfrm>
              <a:off x="5179902" y="1694417"/>
              <a:ext cx="1047375" cy="2386991"/>
              <a:chOff x="4754020" y="1126763"/>
              <a:chExt cx="1396500" cy="3182654"/>
            </a:xfrm>
          </p:grpSpPr>
          <p:grpSp>
            <p:nvGrpSpPr>
              <p:cNvPr id="72" name="Group 71">
                <a:extLst>
                  <a:ext uri="{FF2B5EF4-FFF2-40B4-BE49-F238E27FC236}">
                    <a16:creationId xmlns:a16="http://schemas.microsoft.com/office/drawing/2014/main" id="{C4F0E7F8-6A67-1E1A-67AA-DFD3A37DE056}"/>
                  </a:ext>
                </a:extLst>
              </p:cNvPr>
              <p:cNvGrpSpPr/>
              <p:nvPr/>
            </p:nvGrpSpPr>
            <p:grpSpPr>
              <a:xfrm>
                <a:off x="5022929" y="1398160"/>
                <a:ext cx="763432" cy="763432"/>
                <a:chOff x="4739476" y="1624110"/>
                <a:chExt cx="763432" cy="763432"/>
              </a:xfrm>
            </p:grpSpPr>
            <p:sp>
              <p:nvSpPr>
                <p:cNvPr id="76" name="Rectangle: Rounded Corners 75">
                  <a:extLst>
                    <a:ext uri="{FF2B5EF4-FFF2-40B4-BE49-F238E27FC236}">
                      <a16:creationId xmlns:a16="http://schemas.microsoft.com/office/drawing/2014/main" id="{D870122B-2DD0-0423-339D-CB55C099DCF2}"/>
                    </a:ext>
                  </a:extLst>
                </p:cNvPr>
                <p:cNvSpPr/>
                <p:nvPr/>
              </p:nvSpPr>
              <p:spPr>
                <a:xfrm rot="10800000" flipV="1">
                  <a:off x="4739476" y="1624110"/>
                  <a:ext cx="763432" cy="763432"/>
                </a:xfrm>
                <a:prstGeom prst="roundRect">
                  <a:avLst>
                    <a:gd name="adj" fmla="val 28422"/>
                  </a:avLst>
                </a:prstGeom>
                <a:gradFill>
                  <a:gsLst>
                    <a:gs pos="0">
                      <a:schemeClr val="accent1"/>
                    </a:gs>
                    <a:gs pos="100000">
                      <a:schemeClr val="accent2"/>
                    </a:gs>
                  </a:gsLst>
                  <a:lin ang="126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1F497D"/>
                    </a:solidFill>
                    <a:latin typeface="Arial"/>
                  </a:endParaRPr>
                </a:p>
              </p:txBody>
            </p:sp>
            <p:grpSp>
              <p:nvGrpSpPr>
                <p:cNvPr id="77" name="Group 76">
                  <a:extLst>
                    <a:ext uri="{FF2B5EF4-FFF2-40B4-BE49-F238E27FC236}">
                      <a16:creationId xmlns:a16="http://schemas.microsoft.com/office/drawing/2014/main" id="{E0D35D3D-D2D7-A1A6-EBC3-D0C81C4649E8}"/>
                    </a:ext>
                  </a:extLst>
                </p:cNvPr>
                <p:cNvGrpSpPr/>
                <p:nvPr/>
              </p:nvGrpSpPr>
              <p:grpSpPr>
                <a:xfrm>
                  <a:off x="4917448" y="1874174"/>
                  <a:ext cx="394779" cy="310949"/>
                  <a:chOff x="7569305" y="5838825"/>
                  <a:chExt cx="706114" cy="556173"/>
                </a:xfrm>
              </p:grpSpPr>
              <p:sp>
                <p:nvSpPr>
                  <p:cNvPr id="78" name="Freeform 435">
                    <a:extLst>
                      <a:ext uri="{FF2B5EF4-FFF2-40B4-BE49-F238E27FC236}">
                        <a16:creationId xmlns:a16="http://schemas.microsoft.com/office/drawing/2014/main" id="{05649D3A-750B-66FD-E1F3-E117C7888856}"/>
                      </a:ext>
                    </a:extLst>
                  </p:cNvPr>
                  <p:cNvSpPr/>
                  <p:nvPr/>
                </p:nvSpPr>
                <p:spPr>
                  <a:xfrm>
                    <a:off x="7569305" y="5838825"/>
                    <a:ext cx="706114" cy="556173"/>
                  </a:xfrm>
                  <a:custGeom>
                    <a:avLst/>
                    <a:gdLst/>
                    <a:ahLst/>
                    <a:cxnLst/>
                    <a:rect l="l" t="t" r="r" b="b"/>
                    <a:pathLst>
                      <a:path w="1295400" h="1020326">
                        <a:moveTo>
                          <a:pt x="645722" y="46"/>
                        </a:moveTo>
                        <a:cubicBezTo>
                          <a:pt x="664129" y="-676"/>
                          <a:pt x="683980" y="7265"/>
                          <a:pt x="708524" y="8708"/>
                        </a:cubicBezTo>
                        <a:cubicBezTo>
                          <a:pt x="733068" y="10152"/>
                          <a:pt x="769161" y="4377"/>
                          <a:pt x="792983" y="8708"/>
                        </a:cubicBezTo>
                        <a:cubicBezTo>
                          <a:pt x="816804" y="13040"/>
                          <a:pt x="832685" y="30003"/>
                          <a:pt x="851453" y="34695"/>
                        </a:cubicBezTo>
                        <a:cubicBezTo>
                          <a:pt x="870222" y="39388"/>
                          <a:pt x="887547" y="33613"/>
                          <a:pt x="905593" y="36861"/>
                        </a:cubicBezTo>
                        <a:cubicBezTo>
                          <a:pt x="923640" y="40109"/>
                          <a:pt x="940964" y="44802"/>
                          <a:pt x="959733" y="54186"/>
                        </a:cubicBezTo>
                        <a:cubicBezTo>
                          <a:pt x="978501" y="63570"/>
                          <a:pt x="996187" y="81256"/>
                          <a:pt x="1018204" y="93167"/>
                        </a:cubicBezTo>
                        <a:cubicBezTo>
                          <a:pt x="1040221" y="105077"/>
                          <a:pt x="1070539" y="109048"/>
                          <a:pt x="1091834" y="125651"/>
                        </a:cubicBezTo>
                        <a:cubicBezTo>
                          <a:pt x="1113129" y="142254"/>
                          <a:pt x="1130454" y="177986"/>
                          <a:pt x="1145974" y="192784"/>
                        </a:cubicBezTo>
                        <a:cubicBezTo>
                          <a:pt x="1161494" y="207582"/>
                          <a:pt x="1173766" y="200363"/>
                          <a:pt x="1184955" y="214440"/>
                        </a:cubicBezTo>
                        <a:cubicBezTo>
                          <a:pt x="1196144" y="228516"/>
                          <a:pt x="1200836" y="259557"/>
                          <a:pt x="1213108" y="277242"/>
                        </a:cubicBezTo>
                        <a:cubicBezTo>
                          <a:pt x="1225379" y="294928"/>
                          <a:pt x="1249923" y="302147"/>
                          <a:pt x="1258585" y="320554"/>
                        </a:cubicBezTo>
                        <a:cubicBezTo>
                          <a:pt x="1267247" y="338962"/>
                          <a:pt x="1259668" y="366392"/>
                          <a:pt x="1265082" y="387688"/>
                        </a:cubicBezTo>
                        <a:cubicBezTo>
                          <a:pt x="1270496" y="408983"/>
                          <a:pt x="1287099" y="429195"/>
                          <a:pt x="1291069" y="448324"/>
                        </a:cubicBezTo>
                        <a:cubicBezTo>
                          <a:pt x="1295039" y="467454"/>
                          <a:pt x="1288182" y="488027"/>
                          <a:pt x="1288903" y="502464"/>
                        </a:cubicBezTo>
                        <a:cubicBezTo>
                          <a:pt x="1289625" y="516901"/>
                          <a:pt x="1295400" y="524120"/>
                          <a:pt x="1295400" y="534948"/>
                        </a:cubicBezTo>
                        <a:cubicBezTo>
                          <a:pt x="1295400" y="545776"/>
                          <a:pt x="1294678" y="557687"/>
                          <a:pt x="1288903" y="567432"/>
                        </a:cubicBezTo>
                        <a:cubicBezTo>
                          <a:pt x="1283128" y="577177"/>
                          <a:pt x="1266526" y="582230"/>
                          <a:pt x="1260751" y="593419"/>
                        </a:cubicBezTo>
                        <a:cubicBezTo>
                          <a:pt x="1254976" y="604608"/>
                          <a:pt x="1263277" y="626625"/>
                          <a:pt x="1254254" y="634565"/>
                        </a:cubicBezTo>
                        <a:cubicBezTo>
                          <a:pt x="1245231" y="642506"/>
                          <a:pt x="1225921" y="641784"/>
                          <a:pt x="1206611" y="641062"/>
                        </a:cubicBezTo>
                        <a:lnTo>
                          <a:pt x="1196380" y="642139"/>
                        </a:lnTo>
                        <a:cubicBezTo>
                          <a:pt x="1200495" y="643541"/>
                          <a:pt x="1203820" y="645576"/>
                          <a:pt x="1206610" y="647558"/>
                        </a:cubicBezTo>
                        <a:cubicBezTo>
                          <a:pt x="1234041" y="667049"/>
                          <a:pt x="1238011" y="685817"/>
                          <a:pt x="1234763" y="714692"/>
                        </a:cubicBezTo>
                        <a:cubicBezTo>
                          <a:pt x="1231514" y="743566"/>
                          <a:pt x="1235123" y="791931"/>
                          <a:pt x="1187120" y="820806"/>
                        </a:cubicBezTo>
                        <a:cubicBezTo>
                          <a:pt x="1139116" y="849680"/>
                          <a:pt x="1008458" y="880360"/>
                          <a:pt x="946739" y="887939"/>
                        </a:cubicBezTo>
                        <a:cubicBezTo>
                          <a:pt x="885020" y="895519"/>
                          <a:pt x="843512" y="873502"/>
                          <a:pt x="816803" y="866284"/>
                        </a:cubicBezTo>
                        <a:cubicBezTo>
                          <a:pt x="790094" y="859065"/>
                          <a:pt x="793704" y="863757"/>
                          <a:pt x="786485" y="844628"/>
                        </a:cubicBezTo>
                        <a:lnTo>
                          <a:pt x="784587" y="834446"/>
                        </a:lnTo>
                        <a:cubicBezTo>
                          <a:pt x="781218" y="832760"/>
                          <a:pt x="779707" y="837002"/>
                          <a:pt x="784320" y="855456"/>
                        </a:cubicBezTo>
                        <a:cubicBezTo>
                          <a:pt x="791178" y="882886"/>
                          <a:pt x="825827" y="974563"/>
                          <a:pt x="831963" y="1000550"/>
                        </a:cubicBezTo>
                        <a:lnTo>
                          <a:pt x="835956" y="1012749"/>
                        </a:lnTo>
                        <a:cubicBezTo>
                          <a:pt x="833841" y="1011988"/>
                          <a:pt x="829391" y="1010160"/>
                          <a:pt x="821135" y="1011379"/>
                        </a:cubicBezTo>
                        <a:cubicBezTo>
                          <a:pt x="799118" y="1014627"/>
                          <a:pt x="720435" y="1021846"/>
                          <a:pt x="699861" y="1020041"/>
                        </a:cubicBezTo>
                        <a:lnTo>
                          <a:pt x="691808" y="1019026"/>
                        </a:lnTo>
                        <a:cubicBezTo>
                          <a:pt x="689913" y="1017943"/>
                          <a:pt x="702839" y="1015439"/>
                          <a:pt x="697696" y="1000550"/>
                        </a:cubicBezTo>
                        <a:cubicBezTo>
                          <a:pt x="690838" y="980699"/>
                          <a:pt x="667738" y="925837"/>
                          <a:pt x="658715" y="900933"/>
                        </a:cubicBezTo>
                        <a:cubicBezTo>
                          <a:pt x="649692" y="876029"/>
                          <a:pt x="651496" y="861952"/>
                          <a:pt x="643556" y="851124"/>
                        </a:cubicBezTo>
                        <a:cubicBezTo>
                          <a:pt x="635615" y="840296"/>
                          <a:pt x="625870" y="859426"/>
                          <a:pt x="611072" y="835965"/>
                        </a:cubicBezTo>
                        <a:cubicBezTo>
                          <a:pt x="596274" y="812505"/>
                          <a:pt x="563429" y="741401"/>
                          <a:pt x="554766" y="710361"/>
                        </a:cubicBezTo>
                        <a:lnTo>
                          <a:pt x="554678" y="709687"/>
                        </a:lnTo>
                        <a:lnTo>
                          <a:pt x="548270" y="710361"/>
                        </a:lnTo>
                        <a:cubicBezTo>
                          <a:pt x="509469" y="712707"/>
                          <a:pt x="470669" y="715053"/>
                          <a:pt x="450818" y="712527"/>
                        </a:cubicBezTo>
                        <a:cubicBezTo>
                          <a:pt x="430967" y="710000"/>
                          <a:pt x="439990" y="699533"/>
                          <a:pt x="429162" y="695202"/>
                        </a:cubicBezTo>
                        <a:cubicBezTo>
                          <a:pt x="418334" y="690871"/>
                          <a:pt x="399205" y="693037"/>
                          <a:pt x="385850" y="686540"/>
                        </a:cubicBezTo>
                        <a:cubicBezTo>
                          <a:pt x="372496" y="680043"/>
                          <a:pt x="358420" y="674990"/>
                          <a:pt x="349035" y="656221"/>
                        </a:cubicBezTo>
                        <a:cubicBezTo>
                          <a:pt x="339651" y="637453"/>
                          <a:pt x="350118" y="588727"/>
                          <a:pt x="329545" y="573929"/>
                        </a:cubicBezTo>
                        <a:cubicBezTo>
                          <a:pt x="308972" y="559130"/>
                          <a:pt x="249057" y="570319"/>
                          <a:pt x="225596" y="567432"/>
                        </a:cubicBezTo>
                        <a:cubicBezTo>
                          <a:pt x="202136" y="564545"/>
                          <a:pt x="211520" y="568515"/>
                          <a:pt x="188781" y="556604"/>
                        </a:cubicBezTo>
                        <a:cubicBezTo>
                          <a:pt x="166042" y="544693"/>
                          <a:pt x="119843" y="524481"/>
                          <a:pt x="89164" y="495967"/>
                        </a:cubicBezTo>
                        <a:cubicBezTo>
                          <a:pt x="58485" y="467453"/>
                          <a:pt x="17338" y="414036"/>
                          <a:pt x="4706" y="385522"/>
                        </a:cubicBezTo>
                        <a:cubicBezTo>
                          <a:pt x="-7927" y="357008"/>
                          <a:pt x="8315" y="337157"/>
                          <a:pt x="13368" y="324885"/>
                        </a:cubicBezTo>
                        <a:cubicBezTo>
                          <a:pt x="18421" y="312614"/>
                          <a:pt x="31054" y="316223"/>
                          <a:pt x="35024" y="311892"/>
                        </a:cubicBezTo>
                        <a:cubicBezTo>
                          <a:pt x="37009" y="309726"/>
                          <a:pt x="37551" y="309275"/>
                          <a:pt x="37596" y="307966"/>
                        </a:cubicBezTo>
                        <a:lnTo>
                          <a:pt x="37190" y="298898"/>
                        </a:lnTo>
                        <a:cubicBezTo>
                          <a:pt x="37190" y="287709"/>
                          <a:pt x="27084" y="264971"/>
                          <a:pt x="35024" y="244758"/>
                        </a:cubicBezTo>
                        <a:cubicBezTo>
                          <a:pt x="42965" y="224546"/>
                          <a:pt x="68230" y="191701"/>
                          <a:pt x="84833" y="177625"/>
                        </a:cubicBezTo>
                        <a:cubicBezTo>
                          <a:pt x="101436" y="163548"/>
                          <a:pt x="123453" y="168602"/>
                          <a:pt x="134641" y="160300"/>
                        </a:cubicBezTo>
                        <a:cubicBezTo>
                          <a:pt x="145830" y="151999"/>
                          <a:pt x="141499" y="141171"/>
                          <a:pt x="151966" y="127816"/>
                        </a:cubicBezTo>
                        <a:cubicBezTo>
                          <a:pt x="162433" y="114462"/>
                          <a:pt x="181202" y="88475"/>
                          <a:pt x="197444" y="80173"/>
                        </a:cubicBezTo>
                        <a:cubicBezTo>
                          <a:pt x="213686" y="71872"/>
                          <a:pt x="233537" y="83421"/>
                          <a:pt x="249418" y="78008"/>
                        </a:cubicBezTo>
                        <a:cubicBezTo>
                          <a:pt x="265299" y="72594"/>
                          <a:pt x="267104" y="58156"/>
                          <a:pt x="292730" y="47689"/>
                        </a:cubicBezTo>
                        <a:cubicBezTo>
                          <a:pt x="318356" y="37222"/>
                          <a:pt x="375022" y="18093"/>
                          <a:pt x="403175" y="15205"/>
                        </a:cubicBezTo>
                        <a:cubicBezTo>
                          <a:pt x="431328" y="12318"/>
                          <a:pt x="439629" y="31808"/>
                          <a:pt x="461646" y="30364"/>
                        </a:cubicBezTo>
                        <a:cubicBezTo>
                          <a:pt x="483663" y="28921"/>
                          <a:pt x="512538" y="9430"/>
                          <a:pt x="535276" y="6543"/>
                        </a:cubicBezTo>
                        <a:cubicBezTo>
                          <a:pt x="558015" y="3655"/>
                          <a:pt x="579671" y="14122"/>
                          <a:pt x="598078" y="13040"/>
                        </a:cubicBezTo>
                        <a:cubicBezTo>
                          <a:pt x="616486" y="11957"/>
                          <a:pt x="627314" y="768"/>
                          <a:pt x="645722" y="46"/>
                        </a:cubicBezTo>
                        <a:close/>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79" name="Freeform 438">
                    <a:extLst>
                      <a:ext uri="{FF2B5EF4-FFF2-40B4-BE49-F238E27FC236}">
                        <a16:creationId xmlns:a16="http://schemas.microsoft.com/office/drawing/2014/main" id="{26975C56-12A3-1B34-E3CE-26BEAAC0AFC6}"/>
                      </a:ext>
                    </a:extLst>
                  </p:cNvPr>
                  <p:cNvSpPr/>
                  <p:nvPr/>
                </p:nvSpPr>
                <p:spPr>
                  <a:xfrm>
                    <a:off x="7695463" y="5950503"/>
                    <a:ext cx="94894" cy="66676"/>
                  </a:xfrm>
                  <a:custGeom>
                    <a:avLst/>
                    <a:gdLst>
                      <a:gd name="connsiteX0" fmla="*/ 225425 w 225425"/>
                      <a:gd name="connsiteY0" fmla="*/ 88900 h 92891"/>
                      <a:gd name="connsiteX1" fmla="*/ 63500 w 225425"/>
                      <a:gd name="connsiteY1" fmla="*/ 82550 h 92891"/>
                      <a:gd name="connsiteX2" fmla="*/ 0 w 225425"/>
                      <a:gd name="connsiteY2" fmla="*/ 0 h 92891"/>
                    </a:gdLst>
                    <a:ahLst/>
                    <a:cxnLst>
                      <a:cxn ang="0">
                        <a:pos x="connsiteX0" y="connsiteY0"/>
                      </a:cxn>
                      <a:cxn ang="0">
                        <a:pos x="connsiteX1" y="connsiteY1"/>
                      </a:cxn>
                      <a:cxn ang="0">
                        <a:pos x="connsiteX2" y="connsiteY2"/>
                      </a:cxn>
                    </a:cxnLst>
                    <a:rect l="l" t="t" r="r" b="b"/>
                    <a:pathLst>
                      <a:path w="225425" h="92891">
                        <a:moveTo>
                          <a:pt x="225425" y="88900"/>
                        </a:moveTo>
                        <a:cubicBezTo>
                          <a:pt x="163248" y="93133"/>
                          <a:pt x="101071" y="97367"/>
                          <a:pt x="63500" y="82550"/>
                        </a:cubicBezTo>
                        <a:cubicBezTo>
                          <a:pt x="25929" y="67733"/>
                          <a:pt x="12964" y="33866"/>
                          <a:pt x="0"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0" name="Freeform 439">
                    <a:extLst>
                      <a:ext uri="{FF2B5EF4-FFF2-40B4-BE49-F238E27FC236}">
                        <a16:creationId xmlns:a16="http://schemas.microsoft.com/office/drawing/2014/main" id="{192A61F7-0340-7B9A-287B-EBD531E5FB8E}"/>
                      </a:ext>
                    </a:extLst>
                  </p:cNvPr>
                  <p:cNvSpPr/>
                  <p:nvPr/>
                </p:nvSpPr>
                <p:spPr>
                  <a:xfrm>
                    <a:off x="7584332" y="6006295"/>
                    <a:ext cx="115902" cy="66676"/>
                  </a:xfrm>
                  <a:custGeom>
                    <a:avLst/>
                    <a:gdLst>
                      <a:gd name="connsiteX0" fmla="*/ 292486 w 292486"/>
                      <a:gd name="connsiteY0" fmla="*/ 0 h 140807"/>
                      <a:gd name="connsiteX1" fmla="*/ 184536 w 292486"/>
                      <a:gd name="connsiteY1" fmla="*/ 133350 h 140807"/>
                      <a:gd name="connsiteX2" fmla="*/ 28961 w 292486"/>
                      <a:gd name="connsiteY2" fmla="*/ 123825 h 140807"/>
                      <a:gd name="connsiteX3" fmla="*/ 386 w 292486"/>
                      <a:gd name="connsiteY3" fmla="*/ 123825 h 140807"/>
                    </a:gdLst>
                    <a:ahLst/>
                    <a:cxnLst>
                      <a:cxn ang="0">
                        <a:pos x="connsiteX0" y="connsiteY0"/>
                      </a:cxn>
                      <a:cxn ang="0">
                        <a:pos x="connsiteX1" y="connsiteY1"/>
                      </a:cxn>
                      <a:cxn ang="0">
                        <a:pos x="connsiteX2" y="connsiteY2"/>
                      </a:cxn>
                      <a:cxn ang="0">
                        <a:pos x="connsiteX3" y="connsiteY3"/>
                      </a:cxn>
                    </a:cxnLst>
                    <a:rect l="l" t="t" r="r" b="b"/>
                    <a:pathLst>
                      <a:path w="292486" h="140807">
                        <a:moveTo>
                          <a:pt x="292486" y="0"/>
                        </a:moveTo>
                        <a:cubicBezTo>
                          <a:pt x="260471" y="56356"/>
                          <a:pt x="228457" y="112713"/>
                          <a:pt x="184536" y="133350"/>
                        </a:cubicBezTo>
                        <a:cubicBezTo>
                          <a:pt x="140615" y="153987"/>
                          <a:pt x="59653" y="125413"/>
                          <a:pt x="28961" y="123825"/>
                        </a:cubicBezTo>
                        <a:cubicBezTo>
                          <a:pt x="-1731" y="122238"/>
                          <a:pt x="-673" y="123031"/>
                          <a:pt x="386" y="123825"/>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1" name="Freeform 441">
                    <a:extLst>
                      <a:ext uri="{FF2B5EF4-FFF2-40B4-BE49-F238E27FC236}">
                        <a16:creationId xmlns:a16="http://schemas.microsoft.com/office/drawing/2014/main" id="{E70AEDA5-EF5C-5B46-E4F9-1206E8D446D9}"/>
                      </a:ext>
                    </a:extLst>
                  </p:cNvPr>
                  <p:cNvSpPr/>
                  <p:nvPr/>
                </p:nvSpPr>
                <p:spPr>
                  <a:xfrm>
                    <a:off x="7899627" y="6030545"/>
                    <a:ext cx="27735" cy="143646"/>
                  </a:xfrm>
                  <a:custGeom>
                    <a:avLst/>
                    <a:gdLst>
                      <a:gd name="connsiteX0" fmla="*/ 41358 w 50883"/>
                      <a:gd name="connsiteY0" fmla="*/ 0 h 263525"/>
                      <a:gd name="connsiteX1" fmla="*/ 83 w 50883"/>
                      <a:gd name="connsiteY1" fmla="*/ 168275 h 263525"/>
                      <a:gd name="connsiteX2" fmla="*/ 50883 w 50883"/>
                      <a:gd name="connsiteY2" fmla="*/ 263525 h 263525"/>
                    </a:gdLst>
                    <a:ahLst/>
                    <a:cxnLst>
                      <a:cxn ang="0">
                        <a:pos x="connsiteX0" y="connsiteY0"/>
                      </a:cxn>
                      <a:cxn ang="0">
                        <a:pos x="connsiteX1" y="connsiteY1"/>
                      </a:cxn>
                      <a:cxn ang="0">
                        <a:pos x="connsiteX2" y="connsiteY2"/>
                      </a:cxn>
                    </a:cxnLst>
                    <a:rect l="l" t="t" r="r" b="b"/>
                    <a:pathLst>
                      <a:path w="50883" h="263525">
                        <a:moveTo>
                          <a:pt x="41358" y="0"/>
                        </a:moveTo>
                        <a:cubicBezTo>
                          <a:pt x="19927" y="62177"/>
                          <a:pt x="-1504" y="124354"/>
                          <a:pt x="83" y="168275"/>
                        </a:cubicBezTo>
                        <a:cubicBezTo>
                          <a:pt x="1670" y="212196"/>
                          <a:pt x="26276" y="237860"/>
                          <a:pt x="50883" y="263525"/>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2" name="Freeform 442">
                    <a:extLst>
                      <a:ext uri="{FF2B5EF4-FFF2-40B4-BE49-F238E27FC236}">
                        <a16:creationId xmlns:a16="http://schemas.microsoft.com/office/drawing/2014/main" id="{943629F2-75CA-C61C-4CC0-66B03E6BDC81}"/>
                      </a:ext>
                    </a:extLst>
                  </p:cNvPr>
                  <p:cNvSpPr/>
                  <p:nvPr/>
                </p:nvSpPr>
                <p:spPr>
                  <a:xfrm>
                    <a:off x="7797518" y="6094512"/>
                    <a:ext cx="91726" cy="12126"/>
                  </a:xfrm>
                  <a:custGeom>
                    <a:avLst/>
                    <a:gdLst>
                      <a:gd name="connsiteX0" fmla="*/ 168275 w 168275"/>
                      <a:gd name="connsiteY0" fmla="*/ 22245 h 22245"/>
                      <a:gd name="connsiteX1" fmla="*/ 95250 w 168275"/>
                      <a:gd name="connsiteY1" fmla="*/ 20 h 22245"/>
                      <a:gd name="connsiteX2" fmla="*/ 0 w 168275"/>
                      <a:gd name="connsiteY2" fmla="*/ 19070 h 22245"/>
                    </a:gdLst>
                    <a:ahLst/>
                    <a:cxnLst>
                      <a:cxn ang="0">
                        <a:pos x="connsiteX0" y="connsiteY0"/>
                      </a:cxn>
                      <a:cxn ang="0">
                        <a:pos x="connsiteX1" y="connsiteY1"/>
                      </a:cxn>
                      <a:cxn ang="0">
                        <a:pos x="connsiteX2" y="connsiteY2"/>
                      </a:cxn>
                    </a:cxnLst>
                    <a:rect l="l" t="t" r="r" b="b"/>
                    <a:pathLst>
                      <a:path w="168275" h="22245">
                        <a:moveTo>
                          <a:pt x="168275" y="22245"/>
                        </a:moveTo>
                        <a:cubicBezTo>
                          <a:pt x="145785" y="11397"/>
                          <a:pt x="123296" y="549"/>
                          <a:pt x="95250" y="20"/>
                        </a:cubicBezTo>
                        <a:cubicBezTo>
                          <a:pt x="67204" y="-509"/>
                          <a:pt x="33602" y="9280"/>
                          <a:pt x="0" y="1907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3" name="Freeform 443">
                    <a:extLst>
                      <a:ext uri="{FF2B5EF4-FFF2-40B4-BE49-F238E27FC236}">
                        <a16:creationId xmlns:a16="http://schemas.microsoft.com/office/drawing/2014/main" id="{EDFFAF88-4C05-2483-73FC-AA9C87DD3045}"/>
                      </a:ext>
                    </a:extLst>
                  </p:cNvPr>
                  <p:cNvSpPr/>
                  <p:nvPr/>
                </p:nvSpPr>
                <p:spPr>
                  <a:xfrm>
                    <a:off x="8015447" y="6207099"/>
                    <a:ext cx="62274" cy="109031"/>
                  </a:xfrm>
                  <a:custGeom>
                    <a:avLst/>
                    <a:gdLst>
                      <a:gd name="connsiteX0" fmla="*/ 0 w 114245"/>
                      <a:gd name="connsiteY0" fmla="*/ 0 h 200025"/>
                      <a:gd name="connsiteX1" fmla="*/ 107950 w 114245"/>
                      <a:gd name="connsiteY1" fmla="*/ 73025 h 200025"/>
                      <a:gd name="connsiteX2" fmla="*/ 92075 w 114245"/>
                      <a:gd name="connsiteY2" fmla="*/ 200025 h 200025"/>
                    </a:gdLst>
                    <a:ahLst/>
                    <a:cxnLst>
                      <a:cxn ang="0">
                        <a:pos x="connsiteX0" y="connsiteY0"/>
                      </a:cxn>
                      <a:cxn ang="0">
                        <a:pos x="connsiteX1" y="connsiteY1"/>
                      </a:cxn>
                      <a:cxn ang="0">
                        <a:pos x="connsiteX2" y="connsiteY2"/>
                      </a:cxn>
                    </a:cxnLst>
                    <a:rect l="l" t="t" r="r" b="b"/>
                    <a:pathLst>
                      <a:path w="114245" h="200025">
                        <a:moveTo>
                          <a:pt x="0" y="0"/>
                        </a:moveTo>
                        <a:cubicBezTo>
                          <a:pt x="46302" y="19843"/>
                          <a:pt x="92604" y="39687"/>
                          <a:pt x="107950" y="73025"/>
                        </a:cubicBezTo>
                        <a:cubicBezTo>
                          <a:pt x="123296" y="106363"/>
                          <a:pt x="107685" y="153194"/>
                          <a:pt x="92075" y="200025"/>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4" name="Freeform 444">
                    <a:extLst>
                      <a:ext uri="{FF2B5EF4-FFF2-40B4-BE49-F238E27FC236}">
                        <a16:creationId xmlns:a16="http://schemas.microsoft.com/office/drawing/2014/main" id="{C407573C-2926-C09C-C4A9-4ED1CE4C6CE0}"/>
                      </a:ext>
                    </a:extLst>
                  </p:cNvPr>
                  <p:cNvSpPr/>
                  <p:nvPr/>
                </p:nvSpPr>
                <p:spPr>
                  <a:xfrm>
                    <a:off x="8109406" y="6117078"/>
                    <a:ext cx="155760" cy="36319"/>
                  </a:xfrm>
                  <a:custGeom>
                    <a:avLst/>
                    <a:gdLst>
                      <a:gd name="connsiteX0" fmla="*/ 222250 w 222250"/>
                      <a:gd name="connsiteY0" fmla="*/ 51534 h 51534"/>
                      <a:gd name="connsiteX1" fmla="*/ 123825 w 222250"/>
                      <a:gd name="connsiteY1" fmla="*/ 734 h 51534"/>
                      <a:gd name="connsiteX2" fmla="*/ 0 w 222250"/>
                      <a:gd name="connsiteY2" fmla="*/ 26134 h 51534"/>
                      <a:gd name="connsiteX0" fmla="*/ 222250 w 222250"/>
                      <a:gd name="connsiteY0" fmla="*/ 50800 h 51206"/>
                      <a:gd name="connsiteX1" fmla="*/ 123825 w 222250"/>
                      <a:gd name="connsiteY1" fmla="*/ 0 h 51206"/>
                      <a:gd name="connsiteX2" fmla="*/ 20205 w 222250"/>
                      <a:gd name="connsiteY2" fmla="*/ 50800 h 51206"/>
                      <a:gd name="connsiteX3" fmla="*/ 0 w 222250"/>
                      <a:gd name="connsiteY3" fmla="*/ 25400 h 51206"/>
                      <a:gd name="connsiteX0" fmla="*/ 222250 w 222250"/>
                      <a:gd name="connsiteY0" fmla="*/ 50938 h 51344"/>
                      <a:gd name="connsiteX1" fmla="*/ 123825 w 222250"/>
                      <a:gd name="connsiteY1" fmla="*/ 138 h 51344"/>
                      <a:gd name="connsiteX2" fmla="*/ 20205 w 222250"/>
                      <a:gd name="connsiteY2" fmla="*/ 50938 h 51344"/>
                      <a:gd name="connsiteX3" fmla="*/ 0 w 222250"/>
                      <a:gd name="connsiteY3" fmla="*/ 25538 h 51344"/>
                      <a:gd name="connsiteX0" fmla="*/ 202045 w 202045"/>
                      <a:gd name="connsiteY0" fmla="*/ 50938 h 50938"/>
                      <a:gd name="connsiteX1" fmla="*/ 103620 w 202045"/>
                      <a:gd name="connsiteY1" fmla="*/ 138 h 50938"/>
                      <a:gd name="connsiteX2" fmla="*/ 0 w 202045"/>
                      <a:gd name="connsiteY2" fmla="*/ 50938 h 50938"/>
                    </a:gdLst>
                    <a:ahLst/>
                    <a:cxnLst>
                      <a:cxn ang="0">
                        <a:pos x="connsiteX0" y="connsiteY0"/>
                      </a:cxn>
                      <a:cxn ang="0">
                        <a:pos x="connsiteX1" y="connsiteY1"/>
                      </a:cxn>
                      <a:cxn ang="0">
                        <a:pos x="connsiteX2" y="connsiteY2"/>
                      </a:cxn>
                    </a:cxnLst>
                    <a:rect l="l" t="t" r="r" b="b"/>
                    <a:pathLst>
                      <a:path w="202045" h="50938">
                        <a:moveTo>
                          <a:pt x="202045" y="50938"/>
                        </a:moveTo>
                        <a:cubicBezTo>
                          <a:pt x="171353" y="27654"/>
                          <a:pt x="150764" y="-2289"/>
                          <a:pt x="103620" y="138"/>
                        </a:cubicBezTo>
                        <a:cubicBezTo>
                          <a:pt x="56476" y="2565"/>
                          <a:pt x="20637" y="46705"/>
                          <a:pt x="0" y="50938"/>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5" name="Freeform 445">
                    <a:extLst>
                      <a:ext uri="{FF2B5EF4-FFF2-40B4-BE49-F238E27FC236}">
                        <a16:creationId xmlns:a16="http://schemas.microsoft.com/office/drawing/2014/main" id="{9BFD8FF7-7DA5-7C6B-5EFE-8F191C48FF1F}"/>
                      </a:ext>
                    </a:extLst>
                  </p:cNvPr>
                  <p:cNvSpPr/>
                  <p:nvPr/>
                </p:nvSpPr>
                <p:spPr>
                  <a:xfrm rot="11239396" flipV="1">
                    <a:off x="8044994" y="5925555"/>
                    <a:ext cx="79611" cy="69226"/>
                  </a:xfrm>
                  <a:custGeom>
                    <a:avLst/>
                    <a:gdLst>
                      <a:gd name="connsiteX0" fmla="*/ 0 w 146050"/>
                      <a:gd name="connsiteY0" fmla="*/ 44450 h 44723"/>
                      <a:gd name="connsiteX1" fmla="*/ 92075 w 146050"/>
                      <a:gd name="connsiteY1" fmla="*/ 38100 h 44723"/>
                      <a:gd name="connsiteX2" fmla="*/ 146050 w 146050"/>
                      <a:gd name="connsiteY2" fmla="*/ 0 h 44723"/>
                    </a:gdLst>
                    <a:ahLst/>
                    <a:cxnLst>
                      <a:cxn ang="0">
                        <a:pos x="connsiteX0" y="connsiteY0"/>
                      </a:cxn>
                      <a:cxn ang="0">
                        <a:pos x="connsiteX1" y="connsiteY1"/>
                      </a:cxn>
                      <a:cxn ang="0">
                        <a:pos x="connsiteX2" y="connsiteY2"/>
                      </a:cxn>
                    </a:cxnLst>
                    <a:rect l="l" t="t" r="r" b="b"/>
                    <a:pathLst>
                      <a:path w="146050" h="44723">
                        <a:moveTo>
                          <a:pt x="0" y="44450"/>
                        </a:moveTo>
                        <a:cubicBezTo>
                          <a:pt x="33866" y="44979"/>
                          <a:pt x="67733" y="45508"/>
                          <a:pt x="92075" y="38100"/>
                        </a:cubicBezTo>
                        <a:cubicBezTo>
                          <a:pt x="116417" y="30692"/>
                          <a:pt x="146050" y="0"/>
                          <a:pt x="146050"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6" name="Freeform 446">
                    <a:extLst>
                      <a:ext uri="{FF2B5EF4-FFF2-40B4-BE49-F238E27FC236}">
                        <a16:creationId xmlns:a16="http://schemas.microsoft.com/office/drawing/2014/main" id="{7916F172-64A5-7A70-C8D7-AD51A6ABA483}"/>
                      </a:ext>
                    </a:extLst>
                  </p:cNvPr>
                  <p:cNvSpPr/>
                  <p:nvPr/>
                </p:nvSpPr>
                <p:spPr>
                  <a:xfrm>
                    <a:off x="8133925" y="5957766"/>
                    <a:ext cx="40766" cy="74419"/>
                  </a:xfrm>
                  <a:custGeom>
                    <a:avLst/>
                    <a:gdLst>
                      <a:gd name="connsiteX0" fmla="*/ 11288 w 74788"/>
                      <a:gd name="connsiteY0" fmla="*/ 136525 h 136525"/>
                      <a:gd name="connsiteX1" fmla="*/ 4938 w 74788"/>
                      <a:gd name="connsiteY1" fmla="*/ 76200 h 136525"/>
                      <a:gd name="connsiteX2" fmla="*/ 74788 w 74788"/>
                      <a:gd name="connsiteY2" fmla="*/ 0 h 136525"/>
                    </a:gdLst>
                    <a:ahLst/>
                    <a:cxnLst>
                      <a:cxn ang="0">
                        <a:pos x="connsiteX0" y="connsiteY0"/>
                      </a:cxn>
                      <a:cxn ang="0">
                        <a:pos x="connsiteX1" y="connsiteY1"/>
                      </a:cxn>
                      <a:cxn ang="0">
                        <a:pos x="connsiteX2" y="connsiteY2"/>
                      </a:cxn>
                    </a:cxnLst>
                    <a:rect l="l" t="t" r="r" b="b"/>
                    <a:pathLst>
                      <a:path w="74788" h="136525">
                        <a:moveTo>
                          <a:pt x="11288" y="136525"/>
                        </a:moveTo>
                        <a:cubicBezTo>
                          <a:pt x="2821" y="117739"/>
                          <a:pt x="-5645" y="98954"/>
                          <a:pt x="4938" y="76200"/>
                        </a:cubicBezTo>
                        <a:cubicBezTo>
                          <a:pt x="15521" y="53446"/>
                          <a:pt x="45154" y="26723"/>
                          <a:pt x="74788"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7" name="Freeform 447">
                    <a:extLst>
                      <a:ext uri="{FF2B5EF4-FFF2-40B4-BE49-F238E27FC236}">
                        <a16:creationId xmlns:a16="http://schemas.microsoft.com/office/drawing/2014/main" id="{60390F25-073D-F212-733F-74544FBA09CC}"/>
                      </a:ext>
                    </a:extLst>
                  </p:cNvPr>
                  <p:cNvSpPr/>
                  <p:nvPr/>
                </p:nvSpPr>
                <p:spPr>
                  <a:xfrm>
                    <a:off x="7918573" y="5855531"/>
                    <a:ext cx="52455" cy="117685"/>
                  </a:xfrm>
                  <a:custGeom>
                    <a:avLst/>
                    <a:gdLst>
                      <a:gd name="connsiteX0" fmla="*/ 41275 w 96232"/>
                      <a:gd name="connsiteY0" fmla="*/ 215900 h 215900"/>
                      <a:gd name="connsiteX1" fmla="*/ 95250 w 96232"/>
                      <a:gd name="connsiteY1" fmla="*/ 104775 h 215900"/>
                      <a:gd name="connsiteX2" fmla="*/ 0 w 96232"/>
                      <a:gd name="connsiteY2" fmla="*/ 0 h 215900"/>
                    </a:gdLst>
                    <a:ahLst/>
                    <a:cxnLst>
                      <a:cxn ang="0">
                        <a:pos x="connsiteX0" y="connsiteY0"/>
                      </a:cxn>
                      <a:cxn ang="0">
                        <a:pos x="connsiteX1" y="connsiteY1"/>
                      </a:cxn>
                      <a:cxn ang="0">
                        <a:pos x="connsiteX2" y="connsiteY2"/>
                      </a:cxn>
                    </a:cxnLst>
                    <a:rect l="l" t="t" r="r" b="b"/>
                    <a:pathLst>
                      <a:path w="96232" h="215900">
                        <a:moveTo>
                          <a:pt x="41275" y="215900"/>
                        </a:moveTo>
                        <a:cubicBezTo>
                          <a:pt x="71702" y="178329"/>
                          <a:pt x="102129" y="140758"/>
                          <a:pt x="95250" y="104775"/>
                        </a:cubicBezTo>
                        <a:cubicBezTo>
                          <a:pt x="88371" y="68792"/>
                          <a:pt x="44185" y="34396"/>
                          <a:pt x="0"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8" name="Freeform 449">
                    <a:extLst>
                      <a:ext uri="{FF2B5EF4-FFF2-40B4-BE49-F238E27FC236}">
                        <a16:creationId xmlns:a16="http://schemas.microsoft.com/office/drawing/2014/main" id="{6D6429A3-3AC0-2464-C9CB-BC3A10FFA440}"/>
                      </a:ext>
                    </a:extLst>
                  </p:cNvPr>
                  <p:cNvSpPr/>
                  <p:nvPr/>
                </p:nvSpPr>
                <p:spPr>
                  <a:xfrm>
                    <a:off x="7799196" y="5858948"/>
                    <a:ext cx="33562" cy="70957"/>
                  </a:xfrm>
                  <a:custGeom>
                    <a:avLst/>
                    <a:gdLst>
                      <a:gd name="connsiteX0" fmla="*/ 0 w 61570"/>
                      <a:gd name="connsiteY0" fmla="*/ 130175 h 130175"/>
                      <a:gd name="connsiteX1" fmla="*/ 60325 w 61570"/>
                      <a:gd name="connsiteY1" fmla="*/ 76200 h 130175"/>
                      <a:gd name="connsiteX2" fmla="*/ 34925 w 61570"/>
                      <a:gd name="connsiteY2" fmla="*/ 0 h 130175"/>
                    </a:gdLst>
                    <a:ahLst/>
                    <a:cxnLst>
                      <a:cxn ang="0">
                        <a:pos x="connsiteX0" y="connsiteY0"/>
                      </a:cxn>
                      <a:cxn ang="0">
                        <a:pos x="connsiteX1" y="connsiteY1"/>
                      </a:cxn>
                      <a:cxn ang="0">
                        <a:pos x="connsiteX2" y="connsiteY2"/>
                      </a:cxn>
                    </a:cxnLst>
                    <a:rect l="l" t="t" r="r" b="b"/>
                    <a:pathLst>
                      <a:path w="61570" h="130175">
                        <a:moveTo>
                          <a:pt x="0" y="130175"/>
                        </a:moveTo>
                        <a:cubicBezTo>
                          <a:pt x="27252" y="114035"/>
                          <a:pt x="54504" y="97896"/>
                          <a:pt x="60325" y="76200"/>
                        </a:cubicBezTo>
                        <a:cubicBezTo>
                          <a:pt x="66146" y="54504"/>
                          <a:pt x="50535" y="27252"/>
                          <a:pt x="34925"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9" name="Freeform 450">
                    <a:extLst>
                      <a:ext uri="{FF2B5EF4-FFF2-40B4-BE49-F238E27FC236}">
                        <a16:creationId xmlns:a16="http://schemas.microsoft.com/office/drawing/2014/main" id="{6264E6E7-F911-317D-2485-AAF845D85642}"/>
                      </a:ext>
                    </a:extLst>
                  </p:cNvPr>
                  <p:cNvSpPr/>
                  <p:nvPr/>
                </p:nvSpPr>
                <p:spPr>
                  <a:xfrm>
                    <a:off x="8083411" y="6081791"/>
                    <a:ext cx="55382" cy="40458"/>
                  </a:xfrm>
                  <a:custGeom>
                    <a:avLst/>
                    <a:gdLst>
                      <a:gd name="connsiteX0" fmla="*/ 101600 w 101600"/>
                      <a:gd name="connsiteY0" fmla="*/ 74222 h 74222"/>
                      <a:gd name="connsiteX1" fmla="*/ 41275 w 101600"/>
                      <a:gd name="connsiteY1" fmla="*/ 7547 h 74222"/>
                      <a:gd name="connsiteX2" fmla="*/ 0 w 101600"/>
                      <a:gd name="connsiteY2" fmla="*/ 4372 h 74222"/>
                    </a:gdLst>
                    <a:ahLst/>
                    <a:cxnLst>
                      <a:cxn ang="0">
                        <a:pos x="connsiteX0" y="connsiteY0"/>
                      </a:cxn>
                      <a:cxn ang="0">
                        <a:pos x="connsiteX1" y="connsiteY1"/>
                      </a:cxn>
                      <a:cxn ang="0">
                        <a:pos x="connsiteX2" y="connsiteY2"/>
                      </a:cxn>
                    </a:cxnLst>
                    <a:rect l="l" t="t" r="r" b="b"/>
                    <a:pathLst>
                      <a:path w="101600" h="74222">
                        <a:moveTo>
                          <a:pt x="101600" y="74222"/>
                        </a:moveTo>
                        <a:cubicBezTo>
                          <a:pt x="79904" y="46705"/>
                          <a:pt x="58208" y="19189"/>
                          <a:pt x="41275" y="7547"/>
                        </a:cubicBezTo>
                        <a:cubicBezTo>
                          <a:pt x="24342" y="-4095"/>
                          <a:pt x="12171" y="138"/>
                          <a:pt x="0" y="4372"/>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grpSp>
          </p:grpSp>
          <p:sp>
            <p:nvSpPr>
              <p:cNvPr id="73" name="Rectangle 72">
                <a:extLst>
                  <a:ext uri="{FF2B5EF4-FFF2-40B4-BE49-F238E27FC236}">
                    <a16:creationId xmlns:a16="http://schemas.microsoft.com/office/drawing/2014/main" id="{DAD56702-1A44-134B-9857-CB072125ACF9}"/>
                  </a:ext>
                </a:extLst>
              </p:cNvPr>
              <p:cNvSpPr/>
              <p:nvPr/>
            </p:nvSpPr>
            <p:spPr>
              <a:xfrm>
                <a:off x="4754020" y="1126763"/>
                <a:ext cx="1396500" cy="317009"/>
              </a:xfrm>
              <a:prstGeom prst="rect">
                <a:avLst/>
              </a:prstGeom>
            </p:spPr>
            <p:txBody>
              <a:bodyPr wrap="square">
                <a:spAutoFit/>
              </a:bodyPr>
              <a:lstStyle/>
              <a:p>
                <a:pPr algn="ctr" defTabSz="685800">
                  <a:lnSpc>
                    <a:spcPct val="90000"/>
                  </a:lnSpc>
                  <a:defRPr/>
                </a:pPr>
                <a:r>
                  <a:rPr lang="en-US" sz="1050" b="1" cap="all">
                    <a:solidFill>
                      <a:srgbClr val="0000C9">
                        <a:lumMod val="60000"/>
                        <a:lumOff val="40000"/>
                      </a:srgbClr>
                    </a:solidFill>
                    <a:latin typeface="Arial"/>
                  </a:rPr>
                  <a:t>Men</a:t>
                </a:r>
                <a:r>
                  <a:rPr lang="tr-TR" sz="1050" b="1" cap="all" err="1">
                    <a:solidFill>
                      <a:srgbClr val="0000C9">
                        <a:lumMod val="60000"/>
                        <a:lumOff val="40000"/>
                      </a:srgbClr>
                    </a:solidFill>
                    <a:latin typeface="Arial"/>
                  </a:rPr>
                  <a:t>enjit</a:t>
                </a:r>
                <a:r>
                  <a:rPr lang="en-US" sz="1050" b="1" cap="all" baseline="30000">
                    <a:solidFill>
                      <a:srgbClr val="0000C9">
                        <a:lumMod val="60000"/>
                        <a:lumOff val="40000"/>
                      </a:srgbClr>
                    </a:solidFill>
                    <a:latin typeface="Arial"/>
                  </a:rPr>
                  <a:t>2</a:t>
                </a:r>
                <a:endParaRPr lang="en-US" sz="1050" b="1" cap="all">
                  <a:solidFill>
                    <a:srgbClr val="0000C9">
                      <a:lumMod val="60000"/>
                      <a:lumOff val="40000"/>
                    </a:srgbClr>
                  </a:solidFill>
                  <a:latin typeface="Arial"/>
                </a:endParaRPr>
              </a:p>
            </p:txBody>
          </p:sp>
          <p:sp>
            <p:nvSpPr>
              <p:cNvPr id="74" name="Oval 73">
                <a:extLst>
                  <a:ext uri="{FF2B5EF4-FFF2-40B4-BE49-F238E27FC236}">
                    <a16:creationId xmlns:a16="http://schemas.microsoft.com/office/drawing/2014/main" id="{E820052C-5F42-AA16-E4CC-70D66E6D31B5}"/>
                  </a:ext>
                </a:extLst>
              </p:cNvPr>
              <p:cNvSpPr/>
              <p:nvPr/>
            </p:nvSpPr>
            <p:spPr>
              <a:xfrm>
                <a:off x="5267485" y="2520583"/>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75" name="Oval 74">
                <a:extLst>
                  <a:ext uri="{FF2B5EF4-FFF2-40B4-BE49-F238E27FC236}">
                    <a16:creationId xmlns:a16="http://schemas.microsoft.com/office/drawing/2014/main" id="{7A844770-CCE5-CFF8-6E8E-26CB97675BFE}"/>
                  </a:ext>
                </a:extLst>
              </p:cNvPr>
              <p:cNvSpPr/>
              <p:nvPr/>
            </p:nvSpPr>
            <p:spPr>
              <a:xfrm>
                <a:off x="5267485" y="4035097"/>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grpSp>
        <p:grpSp>
          <p:nvGrpSpPr>
            <p:cNvPr id="90" name="Group 89">
              <a:extLst>
                <a:ext uri="{FF2B5EF4-FFF2-40B4-BE49-F238E27FC236}">
                  <a16:creationId xmlns:a16="http://schemas.microsoft.com/office/drawing/2014/main" id="{D15EE0BB-EDE8-5CEE-0DB5-6CD5F3CE68F3}"/>
                </a:ext>
              </a:extLst>
            </p:cNvPr>
            <p:cNvGrpSpPr/>
            <p:nvPr/>
          </p:nvGrpSpPr>
          <p:grpSpPr>
            <a:xfrm>
              <a:off x="6152906" y="1694418"/>
              <a:ext cx="1271466" cy="2765619"/>
              <a:chOff x="7422969" y="1352713"/>
              <a:chExt cx="1695288" cy="3687492"/>
            </a:xfrm>
          </p:grpSpPr>
          <p:grpSp>
            <p:nvGrpSpPr>
              <p:cNvPr id="91" name="Group 90">
                <a:extLst>
                  <a:ext uri="{FF2B5EF4-FFF2-40B4-BE49-F238E27FC236}">
                    <a16:creationId xmlns:a16="http://schemas.microsoft.com/office/drawing/2014/main" id="{E60213FF-C8FF-E223-CF9B-4F1B2F54B431}"/>
                  </a:ext>
                </a:extLst>
              </p:cNvPr>
              <p:cNvGrpSpPr/>
              <p:nvPr/>
            </p:nvGrpSpPr>
            <p:grpSpPr>
              <a:xfrm>
                <a:off x="7781501" y="1618792"/>
                <a:ext cx="763432" cy="763432"/>
                <a:chOff x="11113527" y="320990"/>
                <a:chExt cx="763432" cy="763432"/>
              </a:xfrm>
            </p:grpSpPr>
            <p:sp>
              <p:nvSpPr>
                <p:cNvPr id="96" name="Rectangle: Rounded Corners 95">
                  <a:extLst>
                    <a:ext uri="{FF2B5EF4-FFF2-40B4-BE49-F238E27FC236}">
                      <a16:creationId xmlns:a16="http://schemas.microsoft.com/office/drawing/2014/main" id="{89DFBCBA-769A-0426-CBF6-3316AF242846}"/>
                    </a:ext>
                  </a:extLst>
                </p:cNvPr>
                <p:cNvSpPr/>
                <p:nvPr/>
              </p:nvSpPr>
              <p:spPr>
                <a:xfrm rot="10800000" flipV="1">
                  <a:off x="11113527" y="320990"/>
                  <a:ext cx="763432" cy="763432"/>
                </a:xfrm>
                <a:prstGeom prst="roundRect">
                  <a:avLst>
                    <a:gd name="adj" fmla="val 28422"/>
                  </a:avLst>
                </a:prstGeom>
                <a:gradFill>
                  <a:gsLst>
                    <a:gs pos="0">
                      <a:schemeClr val="accent1"/>
                    </a:gs>
                    <a:gs pos="100000">
                      <a:schemeClr val="accent2"/>
                    </a:gs>
                  </a:gsLst>
                  <a:lin ang="126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1F497D"/>
                    </a:solidFill>
                    <a:latin typeface="Arial"/>
                  </a:endParaRPr>
                </a:p>
              </p:txBody>
            </p:sp>
            <p:grpSp>
              <p:nvGrpSpPr>
                <p:cNvPr id="97" name="Group 96">
                  <a:extLst>
                    <a:ext uri="{FF2B5EF4-FFF2-40B4-BE49-F238E27FC236}">
                      <a16:creationId xmlns:a16="http://schemas.microsoft.com/office/drawing/2014/main" id="{11D69A78-CEF1-156F-9085-C585E709D42D}"/>
                    </a:ext>
                  </a:extLst>
                </p:cNvPr>
                <p:cNvGrpSpPr/>
                <p:nvPr/>
              </p:nvGrpSpPr>
              <p:grpSpPr>
                <a:xfrm rot="196215">
                  <a:off x="11334267" y="432573"/>
                  <a:ext cx="309354" cy="495949"/>
                  <a:chOff x="9734103" y="-158017"/>
                  <a:chExt cx="1163767" cy="2134129"/>
                </a:xfrm>
              </p:grpSpPr>
              <p:sp>
                <p:nvSpPr>
                  <p:cNvPr id="98" name="Freeform: Shape 235">
                    <a:extLst>
                      <a:ext uri="{FF2B5EF4-FFF2-40B4-BE49-F238E27FC236}">
                        <a16:creationId xmlns:a16="http://schemas.microsoft.com/office/drawing/2014/main" id="{774E5DF4-EF9B-F319-75F4-4440DE4D253E}"/>
                      </a:ext>
                    </a:extLst>
                  </p:cNvPr>
                  <p:cNvSpPr/>
                  <p:nvPr/>
                </p:nvSpPr>
                <p:spPr>
                  <a:xfrm>
                    <a:off x="9734103" y="-158017"/>
                    <a:ext cx="1163767" cy="2134129"/>
                  </a:xfrm>
                  <a:custGeom>
                    <a:avLst/>
                    <a:gdLst>
                      <a:gd name="connsiteX0" fmla="*/ 1076359 w 1076359"/>
                      <a:gd name="connsiteY0" fmla="*/ 227054 h 1987552"/>
                      <a:gd name="connsiteX1" fmla="*/ 47659 w 1076359"/>
                      <a:gd name="connsiteY1" fmla="*/ 59414 h 1987552"/>
                      <a:gd name="connsiteX2" fmla="*/ 200059 w 1076359"/>
                      <a:gd name="connsiteY2" fmla="*/ 1118594 h 1987552"/>
                      <a:gd name="connsiteX3" fmla="*/ 459139 w 1076359"/>
                      <a:gd name="connsiteY3" fmla="*/ 1933934 h 1987552"/>
                      <a:gd name="connsiteX4" fmla="*/ 1000159 w 1076359"/>
                      <a:gd name="connsiteY4" fmla="*/ 1842494 h 1987552"/>
                      <a:gd name="connsiteX0" fmla="*/ 1076359 w 1076359"/>
                      <a:gd name="connsiteY0" fmla="*/ 220122 h 1990145"/>
                      <a:gd name="connsiteX1" fmla="*/ 47659 w 1076359"/>
                      <a:gd name="connsiteY1" fmla="*/ 62007 h 1990145"/>
                      <a:gd name="connsiteX2" fmla="*/ 200059 w 1076359"/>
                      <a:gd name="connsiteY2" fmla="*/ 1121187 h 1990145"/>
                      <a:gd name="connsiteX3" fmla="*/ 459139 w 1076359"/>
                      <a:gd name="connsiteY3" fmla="*/ 1936527 h 1990145"/>
                      <a:gd name="connsiteX4" fmla="*/ 1000159 w 1076359"/>
                      <a:gd name="connsiteY4" fmla="*/ 1845087 h 1990145"/>
                      <a:gd name="connsiteX0" fmla="*/ 1076359 w 1076359"/>
                      <a:gd name="connsiteY0" fmla="*/ 279345 h 2049368"/>
                      <a:gd name="connsiteX1" fmla="*/ 47659 w 1076359"/>
                      <a:gd name="connsiteY1" fmla="*/ 121230 h 2049368"/>
                      <a:gd name="connsiteX2" fmla="*/ 200059 w 1076359"/>
                      <a:gd name="connsiteY2" fmla="*/ 1180410 h 2049368"/>
                      <a:gd name="connsiteX3" fmla="*/ 459139 w 1076359"/>
                      <a:gd name="connsiteY3" fmla="*/ 1995750 h 2049368"/>
                      <a:gd name="connsiteX4" fmla="*/ 1000159 w 1076359"/>
                      <a:gd name="connsiteY4" fmla="*/ 1904310 h 2049368"/>
                      <a:gd name="connsiteX0" fmla="*/ 1160478 w 1160478"/>
                      <a:gd name="connsiteY0" fmla="*/ 368787 h 2138810"/>
                      <a:gd name="connsiteX1" fmla="*/ 131778 w 1160478"/>
                      <a:gd name="connsiteY1" fmla="*/ 210672 h 2138810"/>
                      <a:gd name="connsiteX2" fmla="*/ 284178 w 1160478"/>
                      <a:gd name="connsiteY2" fmla="*/ 1269852 h 2138810"/>
                      <a:gd name="connsiteX3" fmla="*/ 543258 w 1160478"/>
                      <a:gd name="connsiteY3" fmla="*/ 2085192 h 2138810"/>
                      <a:gd name="connsiteX4" fmla="*/ 1084278 w 1160478"/>
                      <a:gd name="connsiteY4" fmla="*/ 1993752 h 2138810"/>
                      <a:gd name="connsiteX0" fmla="*/ 1177020 w 1177020"/>
                      <a:gd name="connsiteY0" fmla="*/ 368787 h 2138810"/>
                      <a:gd name="connsiteX1" fmla="*/ 148320 w 1177020"/>
                      <a:gd name="connsiteY1" fmla="*/ 210672 h 2138810"/>
                      <a:gd name="connsiteX2" fmla="*/ 300720 w 1177020"/>
                      <a:gd name="connsiteY2" fmla="*/ 1269852 h 2138810"/>
                      <a:gd name="connsiteX3" fmla="*/ 559800 w 1177020"/>
                      <a:gd name="connsiteY3" fmla="*/ 2085192 h 2138810"/>
                      <a:gd name="connsiteX4" fmla="*/ 1100820 w 1177020"/>
                      <a:gd name="connsiteY4" fmla="*/ 1993752 h 2138810"/>
                      <a:gd name="connsiteX0" fmla="*/ 1165473 w 1165473"/>
                      <a:gd name="connsiteY0" fmla="*/ 368787 h 2138810"/>
                      <a:gd name="connsiteX1" fmla="*/ 136773 w 1165473"/>
                      <a:gd name="connsiteY1" fmla="*/ 210672 h 2138810"/>
                      <a:gd name="connsiteX2" fmla="*/ 289173 w 1165473"/>
                      <a:gd name="connsiteY2" fmla="*/ 1269852 h 2138810"/>
                      <a:gd name="connsiteX3" fmla="*/ 548253 w 1165473"/>
                      <a:gd name="connsiteY3" fmla="*/ 2085192 h 2138810"/>
                      <a:gd name="connsiteX4" fmla="*/ 1089273 w 1165473"/>
                      <a:gd name="connsiteY4" fmla="*/ 1993752 h 2138810"/>
                      <a:gd name="connsiteX0" fmla="*/ 1165473 w 1165473"/>
                      <a:gd name="connsiteY0" fmla="*/ 368787 h 2141627"/>
                      <a:gd name="connsiteX1" fmla="*/ 136773 w 1165473"/>
                      <a:gd name="connsiteY1" fmla="*/ 210672 h 2141627"/>
                      <a:gd name="connsiteX2" fmla="*/ 289173 w 1165473"/>
                      <a:gd name="connsiteY2" fmla="*/ 1269852 h 2141627"/>
                      <a:gd name="connsiteX3" fmla="*/ 548253 w 1165473"/>
                      <a:gd name="connsiteY3" fmla="*/ 2085192 h 2141627"/>
                      <a:gd name="connsiteX4" fmla="*/ 1089273 w 1165473"/>
                      <a:gd name="connsiteY4" fmla="*/ 1993752 h 2141627"/>
                      <a:gd name="connsiteX0" fmla="*/ 1198040 w 1198040"/>
                      <a:gd name="connsiteY0" fmla="*/ 331592 h 2104432"/>
                      <a:gd name="connsiteX1" fmla="*/ 124890 w 1198040"/>
                      <a:gd name="connsiteY1" fmla="*/ 233802 h 2104432"/>
                      <a:gd name="connsiteX2" fmla="*/ 321740 w 1198040"/>
                      <a:gd name="connsiteY2" fmla="*/ 1232657 h 2104432"/>
                      <a:gd name="connsiteX3" fmla="*/ 580820 w 1198040"/>
                      <a:gd name="connsiteY3" fmla="*/ 2047997 h 2104432"/>
                      <a:gd name="connsiteX4" fmla="*/ 1121840 w 1198040"/>
                      <a:gd name="connsiteY4" fmla="*/ 1956557 h 2104432"/>
                      <a:gd name="connsiteX0" fmla="*/ 1162917 w 1162917"/>
                      <a:gd name="connsiteY0" fmla="*/ 344782 h 2117622"/>
                      <a:gd name="connsiteX1" fmla="*/ 89767 w 1162917"/>
                      <a:gd name="connsiteY1" fmla="*/ 246992 h 2117622"/>
                      <a:gd name="connsiteX2" fmla="*/ 286617 w 1162917"/>
                      <a:gd name="connsiteY2" fmla="*/ 1245847 h 2117622"/>
                      <a:gd name="connsiteX3" fmla="*/ 545697 w 1162917"/>
                      <a:gd name="connsiteY3" fmla="*/ 2061187 h 2117622"/>
                      <a:gd name="connsiteX4" fmla="*/ 1086717 w 1162917"/>
                      <a:gd name="connsiteY4" fmla="*/ 1969747 h 2117622"/>
                      <a:gd name="connsiteX0" fmla="*/ 1171486 w 1171486"/>
                      <a:gd name="connsiteY0" fmla="*/ 344782 h 2117622"/>
                      <a:gd name="connsiteX1" fmla="*/ 98336 w 1171486"/>
                      <a:gd name="connsiteY1" fmla="*/ 246992 h 2117622"/>
                      <a:gd name="connsiteX2" fmla="*/ 295186 w 1171486"/>
                      <a:gd name="connsiteY2" fmla="*/ 1245847 h 2117622"/>
                      <a:gd name="connsiteX3" fmla="*/ 554266 w 1171486"/>
                      <a:gd name="connsiteY3" fmla="*/ 2061187 h 2117622"/>
                      <a:gd name="connsiteX4" fmla="*/ 1095286 w 1171486"/>
                      <a:gd name="connsiteY4" fmla="*/ 1969747 h 2117622"/>
                      <a:gd name="connsiteX0" fmla="*/ 1171486 w 1171486"/>
                      <a:gd name="connsiteY0" fmla="*/ 350090 h 2122930"/>
                      <a:gd name="connsiteX1" fmla="*/ 98336 w 1171486"/>
                      <a:gd name="connsiteY1" fmla="*/ 252300 h 2122930"/>
                      <a:gd name="connsiteX2" fmla="*/ 295186 w 1171486"/>
                      <a:gd name="connsiteY2" fmla="*/ 1251155 h 2122930"/>
                      <a:gd name="connsiteX3" fmla="*/ 554266 w 1171486"/>
                      <a:gd name="connsiteY3" fmla="*/ 2066495 h 2122930"/>
                      <a:gd name="connsiteX4" fmla="*/ 1095286 w 1171486"/>
                      <a:gd name="connsiteY4" fmla="*/ 1975055 h 2122930"/>
                      <a:gd name="connsiteX0" fmla="*/ 1171486 w 1171486"/>
                      <a:gd name="connsiteY0" fmla="*/ 370879 h 2143719"/>
                      <a:gd name="connsiteX1" fmla="*/ 98336 w 1171486"/>
                      <a:gd name="connsiteY1" fmla="*/ 273089 h 2143719"/>
                      <a:gd name="connsiteX2" fmla="*/ 295186 w 1171486"/>
                      <a:gd name="connsiteY2" fmla="*/ 1271944 h 2143719"/>
                      <a:gd name="connsiteX3" fmla="*/ 554266 w 1171486"/>
                      <a:gd name="connsiteY3" fmla="*/ 2087284 h 2143719"/>
                      <a:gd name="connsiteX4" fmla="*/ 1095286 w 1171486"/>
                      <a:gd name="connsiteY4" fmla="*/ 1995844 h 2143719"/>
                      <a:gd name="connsiteX0" fmla="*/ 1163265 w 1163265"/>
                      <a:gd name="connsiteY0" fmla="*/ 354232 h 2127072"/>
                      <a:gd name="connsiteX1" fmla="*/ 90115 w 1163265"/>
                      <a:gd name="connsiteY1" fmla="*/ 256442 h 2127072"/>
                      <a:gd name="connsiteX2" fmla="*/ 286965 w 1163265"/>
                      <a:gd name="connsiteY2" fmla="*/ 1255297 h 2127072"/>
                      <a:gd name="connsiteX3" fmla="*/ 546045 w 1163265"/>
                      <a:gd name="connsiteY3" fmla="*/ 2070637 h 2127072"/>
                      <a:gd name="connsiteX4" fmla="*/ 1087065 w 1163265"/>
                      <a:gd name="connsiteY4" fmla="*/ 1979197 h 2127072"/>
                      <a:gd name="connsiteX0" fmla="*/ 1163767 w 1163767"/>
                      <a:gd name="connsiteY0" fmla="*/ 354232 h 2127072"/>
                      <a:gd name="connsiteX1" fmla="*/ 90617 w 1163767"/>
                      <a:gd name="connsiteY1" fmla="*/ 256442 h 2127072"/>
                      <a:gd name="connsiteX2" fmla="*/ 287467 w 1163767"/>
                      <a:gd name="connsiteY2" fmla="*/ 1255297 h 2127072"/>
                      <a:gd name="connsiteX3" fmla="*/ 546547 w 1163767"/>
                      <a:gd name="connsiteY3" fmla="*/ 2070637 h 2127072"/>
                      <a:gd name="connsiteX4" fmla="*/ 1087567 w 1163767"/>
                      <a:gd name="connsiteY4" fmla="*/ 1979197 h 2127072"/>
                      <a:gd name="connsiteX0" fmla="*/ 1163767 w 1163767"/>
                      <a:gd name="connsiteY0" fmla="*/ 354232 h 2134129"/>
                      <a:gd name="connsiteX1" fmla="*/ 90617 w 1163767"/>
                      <a:gd name="connsiteY1" fmla="*/ 256442 h 2134129"/>
                      <a:gd name="connsiteX2" fmla="*/ 287467 w 1163767"/>
                      <a:gd name="connsiteY2" fmla="*/ 1255297 h 2134129"/>
                      <a:gd name="connsiteX3" fmla="*/ 546547 w 1163767"/>
                      <a:gd name="connsiteY3" fmla="*/ 2070637 h 2134129"/>
                      <a:gd name="connsiteX4" fmla="*/ 1087567 w 1163767"/>
                      <a:gd name="connsiteY4" fmla="*/ 1979197 h 2134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3767" h="2134129">
                        <a:moveTo>
                          <a:pt x="1163767" y="354232"/>
                        </a:moveTo>
                        <a:cubicBezTo>
                          <a:pt x="979617" y="-89633"/>
                          <a:pt x="331917" y="-109636"/>
                          <a:pt x="90617" y="256442"/>
                        </a:cubicBezTo>
                        <a:cubicBezTo>
                          <a:pt x="-150683" y="622520"/>
                          <a:pt x="151154" y="1038656"/>
                          <a:pt x="287467" y="1255297"/>
                        </a:cubicBezTo>
                        <a:cubicBezTo>
                          <a:pt x="423780" y="1471938"/>
                          <a:pt x="314772" y="1943637"/>
                          <a:pt x="546547" y="2070637"/>
                        </a:cubicBezTo>
                        <a:cubicBezTo>
                          <a:pt x="778322" y="2197637"/>
                          <a:pt x="969457" y="2116992"/>
                          <a:pt x="1087567" y="1979197"/>
                        </a:cubicBezTo>
                      </a:path>
                    </a:pathLst>
                  </a:custGeom>
                  <a:noFill/>
                  <a:ln w="254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sp>
                <p:nvSpPr>
                  <p:cNvPr id="99" name="Freeform: Shape 236">
                    <a:extLst>
                      <a:ext uri="{FF2B5EF4-FFF2-40B4-BE49-F238E27FC236}">
                        <a16:creationId xmlns:a16="http://schemas.microsoft.com/office/drawing/2014/main" id="{280AD01D-10A7-2991-75AB-892C80C8181E}"/>
                      </a:ext>
                    </a:extLst>
                  </p:cNvPr>
                  <p:cNvSpPr/>
                  <p:nvPr/>
                </p:nvSpPr>
                <p:spPr>
                  <a:xfrm>
                    <a:off x="10054133" y="431800"/>
                    <a:ext cx="320319" cy="755650"/>
                  </a:xfrm>
                  <a:custGeom>
                    <a:avLst/>
                    <a:gdLst>
                      <a:gd name="connsiteX0" fmla="*/ 211642 w 340780"/>
                      <a:gd name="connsiteY0" fmla="*/ 0 h 755650"/>
                      <a:gd name="connsiteX1" fmla="*/ 2092 w 340780"/>
                      <a:gd name="connsiteY1" fmla="*/ 177800 h 755650"/>
                      <a:gd name="connsiteX2" fmla="*/ 325942 w 340780"/>
                      <a:gd name="connsiteY2" fmla="*/ 546100 h 755650"/>
                      <a:gd name="connsiteX3" fmla="*/ 256092 w 340780"/>
                      <a:gd name="connsiteY3" fmla="*/ 755650 h 755650"/>
                      <a:gd name="connsiteX0" fmla="*/ 211070 w 340208"/>
                      <a:gd name="connsiteY0" fmla="*/ 0 h 755650"/>
                      <a:gd name="connsiteX1" fmla="*/ 1520 w 340208"/>
                      <a:gd name="connsiteY1" fmla="*/ 177800 h 755650"/>
                      <a:gd name="connsiteX2" fmla="*/ 325370 w 340208"/>
                      <a:gd name="connsiteY2" fmla="*/ 546100 h 755650"/>
                      <a:gd name="connsiteX3" fmla="*/ 255520 w 340208"/>
                      <a:gd name="connsiteY3" fmla="*/ 755650 h 755650"/>
                      <a:gd name="connsiteX0" fmla="*/ 211034 w 340172"/>
                      <a:gd name="connsiteY0" fmla="*/ 0 h 755650"/>
                      <a:gd name="connsiteX1" fmla="*/ 1484 w 340172"/>
                      <a:gd name="connsiteY1" fmla="*/ 177800 h 755650"/>
                      <a:gd name="connsiteX2" fmla="*/ 325334 w 340172"/>
                      <a:gd name="connsiteY2" fmla="*/ 546100 h 755650"/>
                      <a:gd name="connsiteX3" fmla="*/ 255484 w 340172"/>
                      <a:gd name="connsiteY3" fmla="*/ 755650 h 755650"/>
                      <a:gd name="connsiteX0" fmla="*/ 210947 w 322032"/>
                      <a:gd name="connsiteY0" fmla="*/ 0 h 755650"/>
                      <a:gd name="connsiteX1" fmla="*/ 1397 w 322032"/>
                      <a:gd name="connsiteY1" fmla="*/ 177800 h 755650"/>
                      <a:gd name="connsiteX2" fmla="*/ 303022 w 322032"/>
                      <a:gd name="connsiteY2" fmla="*/ 549275 h 755650"/>
                      <a:gd name="connsiteX3" fmla="*/ 255397 w 322032"/>
                      <a:gd name="connsiteY3" fmla="*/ 755650 h 755650"/>
                      <a:gd name="connsiteX0" fmla="*/ 210947 w 316409"/>
                      <a:gd name="connsiteY0" fmla="*/ 0 h 755650"/>
                      <a:gd name="connsiteX1" fmla="*/ 1397 w 316409"/>
                      <a:gd name="connsiteY1" fmla="*/ 177800 h 755650"/>
                      <a:gd name="connsiteX2" fmla="*/ 303022 w 316409"/>
                      <a:gd name="connsiteY2" fmla="*/ 549275 h 755650"/>
                      <a:gd name="connsiteX3" fmla="*/ 255397 w 316409"/>
                      <a:gd name="connsiteY3" fmla="*/ 755650 h 755650"/>
                      <a:gd name="connsiteX0" fmla="*/ 210641 w 316103"/>
                      <a:gd name="connsiteY0" fmla="*/ 0 h 755650"/>
                      <a:gd name="connsiteX1" fmla="*/ 1091 w 316103"/>
                      <a:gd name="connsiteY1" fmla="*/ 177800 h 755650"/>
                      <a:gd name="connsiteX2" fmla="*/ 302716 w 316103"/>
                      <a:gd name="connsiteY2" fmla="*/ 549275 h 755650"/>
                      <a:gd name="connsiteX3" fmla="*/ 255091 w 316103"/>
                      <a:gd name="connsiteY3" fmla="*/ 755650 h 755650"/>
                      <a:gd name="connsiteX0" fmla="*/ 210641 w 320319"/>
                      <a:gd name="connsiteY0" fmla="*/ 0 h 755650"/>
                      <a:gd name="connsiteX1" fmla="*/ 1091 w 320319"/>
                      <a:gd name="connsiteY1" fmla="*/ 177800 h 755650"/>
                      <a:gd name="connsiteX2" fmla="*/ 302716 w 320319"/>
                      <a:gd name="connsiteY2" fmla="*/ 549275 h 755650"/>
                      <a:gd name="connsiteX3" fmla="*/ 255091 w 320319"/>
                      <a:gd name="connsiteY3" fmla="*/ 755650 h 755650"/>
                    </a:gdLst>
                    <a:ahLst/>
                    <a:cxnLst>
                      <a:cxn ang="0">
                        <a:pos x="connsiteX0" y="connsiteY0"/>
                      </a:cxn>
                      <a:cxn ang="0">
                        <a:pos x="connsiteX1" y="connsiteY1"/>
                      </a:cxn>
                      <a:cxn ang="0">
                        <a:pos x="connsiteX2" y="connsiteY2"/>
                      </a:cxn>
                      <a:cxn ang="0">
                        <a:pos x="connsiteX3" y="connsiteY3"/>
                      </a:cxn>
                    </a:cxnLst>
                    <a:rect l="l" t="t" r="r" b="b"/>
                    <a:pathLst>
                      <a:path w="320319" h="755650">
                        <a:moveTo>
                          <a:pt x="210641" y="0"/>
                        </a:moveTo>
                        <a:cubicBezTo>
                          <a:pt x="99516" y="11641"/>
                          <a:pt x="-12275" y="85944"/>
                          <a:pt x="1091" y="177800"/>
                        </a:cubicBezTo>
                        <a:cubicBezTo>
                          <a:pt x="25962" y="348721"/>
                          <a:pt x="263558" y="459317"/>
                          <a:pt x="302716" y="549275"/>
                        </a:cubicBezTo>
                        <a:cubicBezTo>
                          <a:pt x="341874" y="639233"/>
                          <a:pt x="311182" y="699029"/>
                          <a:pt x="255091" y="755650"/>
                        </a:cubicBezTo>
                      </a:path>
                    </a:pathLst>
                  </a:custGeom>
                  <a:noFill/>
                  <a:ln w="254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sp>
                <p:nvSpPr>
                  <p:cNvPr id="100" name="Freeform: Shape 237">
                    <a:extLst>
                      <a:ext uri="{FF2B5EF4-FFF2-40B4-BE49-F238E27FC236}">
                        <a16:creationId xmlns:a16="http://schemas.microsoft.com/office/drawing/2014/main" id="{8EDE3E32-D740-9A2C-B656-BE52AD7B618C}"/>
                      </a:ext>
                    </a:extLst>
                  </p:cNvPr>
                  <p:cNvSpPr/>
                  <p:nvPr/>
                </p:nvSpPr>
                <p:spPr>
                  <a:xfrm>
                    <a:off x="10220326" y="166663"/>
                    <a:ext cx="534409" cy="1271611"/>
                  </a:xfrm>
                  <a:custGeom>
                    <a:avLst/>
                    <a:gdLst>
                      <a:gd name="connsiteX0" fmla="*/ 0 w 499480"/>
                      <a:gd name="connsiteY0" fmla="*/ 0 h 1244600"/>
                      <a:gd name="connsiteX1" fmla="*/ 377825 w 499480"/>
                      <a:gd name="connsiteY1" fmla="*/ 53975 h 1244600"/>
                      <a:gd name="connsiteX2" fmla="*/ 339725 w 499480"/>
                      <a:gd name="connsiteY2" fmla="*/ 609600 h 1244600"/>
                      <a:gd name="connsiteX3" fmla="*/ 498475 w 499480"/>
                      <a:gd name="connsiteY3" fmla="*/ 1114425 h 1244600"/>
                      <a:gd name="connsiteX4" fmla="*/ 250825 w 499480"/>
                      <a:gd name="connsiteY4" fmla="*/ 1244600 h 1244600"/>
                      <a:gd name="connsiteX0" fmla="*/ 0 w 499480"/>
                      <a:gd name="connsiteY0" fmla="*/ 0 h 1244600"/>
                      <a:gd name="connsiteX1" fmla="*/ 377825 w 499480"/>
                      <a:gd name="connsiteY1" fmla="*/ 53975 h 1244600"/>
                      <a:gd name="connsiteX2" fmla="*/ 339725 w 499480"/>
                      <a:gd name="connsiteY2" fmla="*/ 609600 h 1244600"/>
                      <a:gd name="connsiteX3" fmla="*/ 498475 w 499480"/>
                      <a:gd name="connsiteY3" fmla="*/ 1114425 h 1244600"/>
                      <a:gd name="connsiteX4" fmla="*/ 250825 w 499480"/>
                      <a:gd name="connsiteY4" fmla="*/ 1244600 h 1244600"/>
                      <a:gd name="connsiteX0" fmla="*/ 0 w 499480"/>
                      <a:gd name="connsiteY0" fmla="*/ 13635 h 1258235"/>
                      <a:gd name="connsiteX1" fmla="*/ 377825 w 499480"/>
                      <a:gd name="connsiteY1" fmla="*/ 67610 h 1258235"/>
                      <a:gd name="connsiteX2" fmla="*/ 339725 w 499480"/>
                      <a:gd name="connsiteY2" fmla="*/ 623235 h 1258235"/>
                      <a:gd name="connsiteX3" fmla="*/ 498475 w 499480"/>
                      <a:gd name="connsiteY3" fmla="*/ 1128060 h 1258235"/>
                      <a:gd name="connsiteX4" fmla="*/ 250825 w 499480"/>
                      <a:gd name="connsiteY4" fmla="*/ 1258235 h 1258235"/>
                      <a:gd name="connsiteX0" fmla="*/ 0 w 499480"/>
                      <a:gd name="connsiteY0" fmla="*/ 30567 h 1275167"/>
                      <a:gd name="connsiteX1" fmla="*/ 377825 w 499480"/>
                      <a:gd name="connsiteY1" fmla="*/ 84542 h 1275167"/>
                      <a:gd name="connsiteX2" fmla="*/ 339725 w 499480"/>
                      <a:gd name="connsiteY2" fmla="*/ 640167 h 1275167"/>
                      <a:gd name="connsiteX3" fmla="*/ 498475 w 499480"/>
                      <a:gd name="connsiteY3" fmla="*/ 1144992 h 1275167"/>
                      <a:gd name="connsiteX4" fmla="*/ 250825 w 499480"/>
                      <a:gd name="connsiteY4" fmla="*/ 1275167 h 1275167"/>
                      <a:gd name="connsiteX0" fmla="*/ 0 w 499563"/>
                      <a:gd name="connsiteY0" fmla="*/ 30567 h 1275167"/>
                      <a:gd name="connsiteX1" fmla="*/ 377825 w 499563"/>
                      <a:gd name="connsiteY1" fmla="*/ 84542 h 1275167"/>
                      <a:gd name="connsiteX2" fmla="*/ 339725 w 499563"/>
                      <a:gd name="connsiteY2" fmla="*/ 640167 h 1275167"/>
                      <a:gd name="connsiteX3" fmla="*/ 498475 w 499563"/>
                      <a:gd name="connsiteY3" fmla="*/ 1144992 h 1275167"/>
                      <a:gd name="connsiteX4" fmla="*/ 250825 w 499563"/>
                      <a:gd name="connsiteY4" fmla="*/ 1275167 h 1275167"/>
                      <a:gd name="connsiteX0" fmla="*/ 0 w 535916"/>
                      <a:gd name="connsiteY0" fmla="*/ 30567 h 1302390"/>
                      <a:gd name="connsiteX1" fmla="*/ 377825 w 535916"/>
                      <a:gd name="connsiteY1" fmla="*/ 84542 h 1302390"/>
                      <a:gd name="connsiteX2" fmla="*/ 339725 w 535916"/>
                      <a:gd name="connsiteY2" fmla="*/ 640167 h 1302390"/>
                      <a:gd name="connsiteX3" fmla="*/ 498475 w 535916"/>
                      <a:gd name="connsiteY3" fmla="*/ 1144992 h 1302390"/>
                      <a:gd name="connsiteX4" fmla="*/ 250825 w 535916"/>
                      <a:gd name="connsiteY4" fmla="*/ 1275167 h 1302390"/>
                      <a:gd name="connsiteX0" fmla="*/ 0 w 535916"/>
                      <a:gd name="connsiteY0" fmla="*/ 30567 h 1302390"/>
                      <a:gd name="connsiteX1" fmla="*/ 377825 w 535916"/>
                      <a:gd name="connsiteY1" fmla="*/ 84542 h 1302390"/>
                      <a:gd name="connsiteX2" fmla="*/ 339725 w 535916"/>
                      <a:gd name="connsiteY2" fmla="*/ 640167 h 1302390"/>
                      <a:gd name="connsiteX3" fmla="*/ 498475 w 535916"/>
                      <a:gd name="connsiteY3" fmla="*/ 1144992 h 1302390"/>
                      <a:gd name="connsiteX4" fmla="*/ 250825 w 535916"/>
                      <a:gd name="connsiteY4" fmla="*/ 1275167 h 1302390"/>
                      <a:gd name="connsiteX0" fmla="*/ 0 w 539319"/>
                      <a:gd name="connsiteY0" fmla="*/ 30567 h 1275167"/>
                      <a:gd name="connsiteX1" fmla="*/ 377825 w 539319"/>
                      <a:gd name="connsiteY1" fmla="*/ 84542 h 1275167"/>
                      <a:gd name="connsiteX2" fmla="*/ 339725 w 539319"/>
                      <a:gd name="connsiteY2" fmla="*/ 640167 h 1275167"/>
                      <a:gd name="connsiteX3" fmla="*/ 498475 w 539319"/>
                      <a:gd name="connsiteY3" fmla="*/ 1144992 h 1275167"/>
                      <a:gd name="connsiteX4" fmla="*/ 250825 w 539319"/>
                      <a:gd name="connsiteY4" fmla="*/ 1275167 h 1275167"/>
                      <a:gd name="connsiteX0" fmla="*/ 0 w 536853"/>
                      <a:gd name="connsiteY0" fmla="*/ 30567 h 1275167"/>
                      <a:gd name="connsiteX1" fmla="*/ 377825 w 536853"/>
                      <a:gd name="connsiteY1" fmla="*/ 84542 h 1275167"/>
                      <a:gd name="connsiteX2" fmla="*/ 339725 w 536853"/>
                      <a:gd name="connsiteY2" fmla="*/ 640167 h 1275167"/>
                      <a:gd name="connsiteX3" fmla="*/ 498475 w 536853"/>
                      <a:gd name="connsiteY3" fmla="*/ 1144992 h 1275167"/>
                      <a:gd name="connsiteX4" fmla="*/ 250825 w 536853"/>
                      <a:gd name="connsiteY4" fmla="*/ 1275167 h 1275167"/>
                      <a:gd name="connsiteX0" fmla="*/ 0 w 534409"/>
                      <a:gd name="connsiteY0" fmla="*/ 30567 h 1275167"/>
                      <a:gd name="connsiteX1" fmla="*/ 377825 w 534409"/>
                      <a:gd name="connsiteY1" fmla="*/ 84542 h 1275167"/>
                      <a:gd name="connsiteX2" fmla="*/ 339725 w 534409"/>
                      <a:gd name="connsiteY2" fmla="*/ 640167 h 1275167"/>
                      <a:gd name="connsiteX3" fmla="*/ 498475 w 534409"/>
                      <a:gd name="connsiteY3" fmla="*/ 1144992 h 1275167"/>
                      <a:gd name="connsiteX4" fmla="*/ 250825 w 534409"/>
                      <a:gd name="connsiteY4" fmla="*/ 1275167 h 1275167"/>
                      <a:gd name="connsiteX0" fmla="*/ 0 w 534409"/>
                      <a:gd name="connsiteY0" fmla="*/ 26723 h 1271323"/>
                      <a:gd name="connsiteX1" fmla="*/ 377825 w 534409"/>
                      <a:gd name="connsiteY1" fmla="*/ 80698 h 1271323"/>
                      <a:gd name="connsiteX2" fmla="*/ 339725 w 534409"/>
                      <a:gd name="connsiteY2" fmla="*/ 636323 h 1271323"/>
                      <a:gd name="connsiteX3" fmla="*/ 498475 w 534409"/>
                      <a:gd name="connsiteY3" fmla="*/ 1141148 h 1271323"/>
                      <a:gd name="connsiteX4" fmla="*/ 250825 w 534409"/>
                      <a:gd name="connsiteY4" fmla="*/ 1271323 h 1271323"/>
                      <a:gd name="connsiteX0" fmla="*/ 0 w 534409"/>
                      <a:gd name="connsiteY0" fmla="*/ 27011 h 1271611"/>
                      <a:gd name="connsiteX1" fmla="*/ 377825 w 534409"/>
                      <a:gd name="connsiteY1" fmla="*/ 80986 h 1271611"/>
                      <a:gd name="connsiteX2" fmla="*/ 339725 w 534409"/>
                      <a:gd name="connsiteY2" fmla="*/ 636611 h 1271611"/>
                      <a:gd name="connsiteX3" fmla="*/ 498475 w 534409"/>
                      <a:gd name="connsiteY3" fmla="*/ 1141436 h 1271611"/>
                      <a:gd name="connsiteX4" fmla="*/ 250825 w 534409"/>
                      <a:gd name="connsiteY4" fmla="*/ 1271611 h 1271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409" h="1271611">
                        <a:moveTo>
                          <a:pt x="0" y="27011"/>
                        </a:moveTo>
                        <a:cubicBezTo>
                          <a:pt x="141817" y="-18497"/>
                          <a:pt x="293259" y="-10327"/>
                          <a:pt x="377825" y="80986"/>
                        </a:cubicBezTo>
                        <a:cubicBezTo>
                          <a:pt x="576792" y="295828"/>
                          <a:pt x="306917" y="504319"/>
                          <a:pt x="339725" y="636611"/>
                        </a:cubicBezTo>
                        <a:cubicBezTo>
                          <a:pt x="372533" y="768903"/>
                          <a:pt x="626846" y="849792"/>
                          <a:pt x="498475" y="1141436"/>
                        </a:cubicBezTo>
                        <a:cubicBezTo>
                          <a:pt x="433582" y="1288864"/>
                          <a:pt x="351366" y="1259440"/>
                          <a:pt x="250825" y="1271611"/>
                        </a:cubicBezTo>
                      </a:path>
                    </a:pathLst>
                  </a:custGeom>
                  <a:noFill/>
                  <a:ln w="254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grpSp>
          </p:grpSp>
          <p:sp>
            <p:nvSpPr>
              <p:cNvPr id="92" name="Rectangle 91">
                <a:extLst>
                  <a:ext uri="{FF2B5EF4-FFF2-40B4-BE49-F238E27FC236}">
                    <a16:creationId xmlns:a16="http://schemas.microsoft.com/office/drawing/2014/main" id="{DB2DEEF8-79A9-194F-C279-DB28527DBD69}"/>
                  </a:ext>
                </a:extLst>
              </p:cNvPr>
              <p:cNvSpPr/>
              <p:nvPr/>
            </p:nvSpPr>
            <p:spPr>
              <a:xfrm>
                <a:off x="7422969" y="1352713"/>
                <a:ext cx="1695288" cy="317009"/>
              </a:xfrm>
              <a:prstGeom prst="rect">
                <a:avLst/>
              </a:prstGeom>
            </p:spPr>
            <p:txBody>
              <a:bodyPr wrap="square">
                <a:spAutoFit/>
              </a:bodyPr>
              <a:lstStyle/>
              <a:p>
                <a:pPr algn="ctr" defTabSz="685800">
                  <a:lnSpc>
                    <a:spcPct val="90000"/>
                  </a:lnSpc>
                  <a:defRPr/>
                </a:pPr>
                <a:r>
                  <a:rPr lang="en-US" sz="1050" b="1" cap="all">
                    <a:solidFill>
                      <a:srgbClr val="0000C9">
                        <a:lumMod val="60000"/>
                        <a:lumOff val="40000"/>
                      </a:srgbClr>
                    </a:solidFill>
                    <a:latin typeface="Arial" panose="020B0604020202020204"/>
                  </a:rPr>
                  <a:t>Ot</a:t>
                </a:r>
                <a:r>
                  <a:rPr lang="tr-TR" sz="1050" b="1" cap="all">
                    <a:solidFill>
                      <a:srgbClr val="0000C9">
                        <a:lumMod val="60000"/>
                        <a:lumOff val="40000"/>
                      </a:srgbClr>
                    </a:solidFill>
                    <a:latin typeface="Arial" panose="020B0604020202020204"/>
                  </a:rPr>
                  <a:t>i</a:t>
                </a:r>
                <a:r>
                  <a:rPr lang="en-US" sz="1050" b="1" cap="all">
                    <a:solidFill>
                      <a:srgbClr val="0000C9">
                        <a:lumMod val="60000"/>
                        <a:lumOff val="40000"/>
                      </a:srgbClr>
                    </a:solidFill>
                    <a:latin typeface="Arial" panose="020B0604020202020204"/>
                  </a:rPr>
                  <a:t>t</a:t>
                </a:r>
                <a:r>
                  <a:rPr lang="tr-TR" sz="1050" b="1" cap="all">
                    <a:solidFill>
                      <a:srgbClr val="0000C9">
                        <a:lumMod val="60000"/>
                        <a:lumOff val="40000"/>
                      </a:srgbClr>
                    </a:solidFill>
                    <a:latin typeface="Arial" panose="020B0604020202020204"/>
                  </a:rPr>
                  <a:t>i</a:t>
                </a:r>
                <a:r>
                  <a:rPr lang="en-US" sz="1050" b="1" cap="all">
                    <a:solidFill>
                      <a:srgbClr val="0000C9">
                        <a:lumMod val="60000"/>
                        <a:lumOff val="40000"/>
                      </a:srgbClr>
                    </a:solidFill>
                    <a:latin typeface="Arial" panose="020B0604020202020204"/>
                  </a:rPr>
                  <a:t>s Med</a:t>
                </a:r>
                <a:r>
                  <a:rPr lang="tr-TR" sz="1050" b="1" cap="all">
                    <a:solidFill>
                      <a:srgbClr val="0000C9">
                        <a:lumMod val="60000"/>
                        <a:lumOff val="40000"/>
                      </a:srgbClr>
                    </a:solidFill>
                    <a:latin typeface="Arial" panose="020B0604020202020204"/>
                  </a:rPr>
                  <a:t>i</a:t>
                </a:r>
                <a:r>
                  <a:rPr lang="en-US" sz="1050" b="1" cap="all">
                    <a:solidFill>
                      <a:srgbClr val="0000C9">
                        <a:lumMod val="60000"/>
                        <a:lumOff val="40000"/>
                      </a:srgbClr>
                    </a:solidFill>
                    <a:latin typeface="Arial" panose="020B0604020202020204"/>
                  </a:rPr>
                  <a:t>a</a:t>
                </a:r>
                <a:r>
                  <a:rPr lang="en-US" sz="1050" b="1" cap="all" baseline="30000">
                    <a:solidFill>
                      <a:srgbClr val="0000C9">
                        <a:lumMod val="60000"/>
                        <a:lumOff val="40000"/>
                      </a:srgbClr>
                    </a:solidFill>
                    <a:latin typeface="Arial" panose="020B0604020202020204"/>
                  </a:rPr>
                  <a:t>3</a:t>
                </a:r>
                <a:endParaRPr lang="en-US" sz="1050" b="1" cap="all">
                  <a:solidFill>
                    <a:srgbClr val="0000C9">
                      <a:lumMod val="60000"/>
                      <a:lumOff val="40000"/>
                    </a:srgbClr>
                  </a:solidFill>
                  <a:latin typeface="Arial" panose="020B0604020202020204"/>
                </a:endParaRPr>
              </a:p>
            </p:txBody>
          </p:sp>
          <p:sp>
            <p:nvSpPr>
              <p:cNvPr id="93" name="Oval 92">
                <a:extLst>
                  <a:ext uri="{FF2B5EF4-FFF2-40B4-BE49-F238E27FC236}">
                    <a16:creationId xmlns:a16="http://schemas.microsoft.com/office/drawing/2014/main" id="{E364AB42-FC3F-963A-165C-79D0D0DCA12D}"/>
                  </a:ext>
                </a:extLst>
              </p:cNvPr>
              <p:cNvSpPr/>
              <p:nvPr/>
            </p:nvSpPr>
            <p:spPr>
              <a:xfrm>
                <a:off x="8026057" y="3251371"/>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94" name="Oval 93">
                <a:extLst>
                  <a:ext uri="{FF2B5EF4-FFF2-40B4-BE49-F238E27FC236}">
                    <a16:creationId xmlns:a16="http://schemas.microsoft.com/office/drawing/2014/main" id="{BBF1F729-220B-17CC-F242-C607EA959C9C}"/>
                  </a:ext>
                </a:extLst>
              </p:cNvPr>
              <p:cNvSpPr/>
              <p:nvPr/>
            </p:nvSpPr>
            <p:spPr>
              <a:xfrm>
                <a:off x="8026057" y="3756209"/>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95" name="Oval 94">
                <a:extLst>
                  <a:ext uri="{FF2B5EF4-FFF2-40B4-BE49-F238E27FC236}">
                    <a16:creationId xmlns:a16="http://schemas.microsoft.com/office/drawing/2014/main" id="{3F93D27D-85D7-B847-C4E0-8116CA2AF0A1}"/>
                  </a:ext>
                </a:extLst>
              </p:cNvPr>
              <p:cNvSpPr/>
              <p:nvPr/>
            </p:nvSpPr>
            <p:spPr>
              <a:xfrm>
                <a:off x="8026057" y="4765885"/>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grpSp>
        <p:grpSp>
          <p:nvGrpSpPr>
            <p:cNvPr id="101" name="Group 100">
              <a:extLst>
                <a:ext uri="{FF2B5EF4-FFF2-40B4-BE49-F238E27FC236}">
                  <a16:creationId xmlns:a16="http://schemas.microsoft.com/office/drawing/2014/main" id="{E7B3ED82-FC0B-7BAF-7821-D1C577AEE66B}"/>
                </a:ext>
              </a:extLst>
            </p:cNvPr>
            <p:cNvGrpSpPr/>
            <p:nvPr/>
          </p:nvGrpSpPr>
          <p:grpSpPr>
            <a:xfrm>
              <a:off x="7408450" y="1694416"/>
              <a:ext cx="859865" cy="3525608"/>
              <a:chOff x="9054493" y="1352713"/>
              <a:chExt cx="1146486" cy="4700810"/>
            </a:xfrm>
          </p:grpSpPr>
          <p:grpSp>
            <p:nvGrpSpPr>
              <p:cNvPr id="102" name="Group 101">
                <a:extLst>
                  <a:ext uri="{FF2B5EF4-FFF2-40B4-BE49-F238E27FC236}">
                    <a16:creationId xmlns:a16="http://schemas.microsoft.com/office/drawing/2014/main" id="{BC276E39-E2AF-9134-CD56-9B908603BEF8}"/>
                  </a:ext>
                </a:extLst>
              </p:cNvPr>
              <p:cNvGrpSpPr/>
              <p:nvPr/>
            </p:nvGrpSpPr>
            <p:grpSpPr>
              <a:xfrm>
                <a:off x="9169820" y="1618792"/>
                <a:ext cx="763432" cy="763432"/>
                <a:chOff x="9885518" y="867124"/>
                <a:chExt cx="763432" cy="763432"/>
              </a:xfrm>
            </p:grpSpPr>
            <p:sp>
              <p:nvSpPr>
                <p:cNvPr id="108" name="Rectangle: Rounded Corners 107">
                  <a:extLst>
                    <a:ext uri="{FF2B5EF4-FFF2-40B4-BE49-F238E27FC236}">
                      <a16:creationId xmlns:a16="http://schemas.microsoft.com/office/drawing/2014/main" id="{2298D013-4D0B-D776-1A0F-E2D855B5443A}"/>
                    </a:ext>
                  </a:extLst>
                </p:cNvPr>
                <p:cNvSpPr/>
                <p:nvPr/>
              </p:nvSpPr>
              <p:spPr>
                <a:xfrm rot="10800000" flipV="1">
                  <a:off x="9885518" y="867124"/>
                  <a:ext cx="763432" cy="763432"/>
                </a:xfrm>
                <a:prstGeom prst="roundRect">
                  <a:avLst>
                    <a:gd name="adj" fmla="val 28422"/>
                  </a:avLst>
                </a:prstGeom>
                <a:gradFill>
                  <a:gsLst>
                    <a:gs pos="0">
                      <a:schemeClr val="accent1"/>
                    </a:gs>
                    <a:gs pos="100000">
                      <a:schemeClr val="accent2"/>
                    </a:gs>
                  </a:gsLst>
                  <a:lin ang="126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1F497D"/>
                    </a:solidFill>
                    <a:latin typeface="Arial"/>
                  </a:endParaRPr>
                </a:p>
              </p:txBody>
            </p:sp>
            <p:grpSp>
              <p:nvGrpSpPr>
                <p:cNvPr id="109" name="Group 108">
                  <a:extLst>
                    <a:ext uri="{FF2B5EF4-FFF2-40B4-BE49-F238E27FC236}">
                      <a16:creationId xmlns:a16="http://schemas.microsoft.com/office/drawing/2014/main" id="{20F06DAE-52ED-2124-53E5-577FF8E018B1}"/>
                    </a:ext>
                  </a:extLst>
                </p:cNvPr>
                <p:cNvGrpSpPr/>
                <p:nvPr/>
              </p:nvGrpSpPr>
              <p:grpSpPr>
                <a:xfrm>
                  <a:off x="9981179" y="1099904"/>
                  <a:ext cx="608162" cy="295588"/>
                  <a:chOff x="11164738" y="563295"/>
                  <a:chExt cx="739770" cy="359554"/>
                </a:xfrm>
              </p:grpSpPr>
              <p:grpSp>
                <p:nvGrpSpPr>
                  <p:cNvPr id="110" name="Group 109">
                    <a:extLst>
                      <a:ext uri="{FF2B5EF4-FFF2-40B4-BE49-F238E27FC236}">
                        <a16:creationId xmlns:a16="http://schemas.microsoft.com/office/drawing/2014/main" id="{2BC95A24-7808-86FD-2F20-8A5B056E7D21}"/>
                      </a:ext>
                    </a:extLst>
                  </p:cNvPr>
                  <p:cNvGrpSpPr/>
                  <p:nvPr/>
                </p:nvGrpSpPr>
                <p:grpSpPr>
                  <a:xfrm rot="10800000">
                    <a:off x="11389028" y="750930"/>
                    <a:ext cx="515480" cy="171919"/>
                    <a:chOff x="10996638" y="1574964"/>
                    <a:chExt cx="664735" cy="221698"/>
                  </a:xfrm>
                </p:grpSpPr>
                <p:sp>
                  <p:nvSpPr>
                    <p:cNvPr id="114" name="Freeform 37">
                      <a:extLst>
                        <a:ext uri="{FF2B5EF4-FFF2-40B4-BE49-F238E27FC236}">
                          <a16:creationId xmlns:a16="http://schemas.microsoft.com/office/drawing/2014/main" id="{9053D2FD-6C80-57B6-295D-250E4C57FE0E}"/>
                        </a:ext>
                      </a:extLst>
                    </p:cNvPr>
                    <p:cNvSpPr/>
                    <p:nvPr/>
                  </p:nvSpPr>
                  <p:spPr>
                    <a:xfrm rot="16200000">
                      <a:off x="11042069" y="1529533"/>
                      <a:ext cx="221698" cy="312559"/>
                    </a:xfrm>
                    <a:custGeom>
                      <a:avLst/>
                      <a:gdLst>
                        <a:gd name="connsiteX0" fmla="*/ 167194 w 167194"/>
                        <a:gd name="connsiteY0" fmla="*/ 83597 h 235718"/>
                        <a:gd name="connsiteX1" fmla="*/ 167194 w 167194"/>
                        <a:gd name="connsiteY1" fmla="*/ 235718 h 235718"/>
                        <a:gd name="connsiteX2" fmla="*/ 0 w 167194"/>
                        <a:gd name="connsiteY2" fmla="*/ 235718 h 235718"/>
                        <a:gd name="connsiteX3" fmla="*/ 0 w 167194"/>
                        <a:gd name="connsiteY3" fmla="*/ 83597 h 235718"/>
                        <a:gd name="connsiteX4" fmla="*/ 83597 w 167194"/>
                        <a:gd name="connsiteY4" fmla="*/ 0 h 235718"/>
                        <a:gd name="connsiteX5" fmla="*/ 167194 w 167194"/>
                        <a:gd name="connsiteY5" fmla="*/ 83597 h 235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194" h="235718">
                          <a:moveTo>
                            <a:pt x="167194" y="83597"/>
                          </a:moveTo>
                          <a:lnTo>
                            <a:pt x="167194" y="235718"/>
                          </a:lnTo>
                          <a:lnTo>
                            <a:pt x="0" y="235718"/>
                          </a:lnTo>
                          <a:lnTo>
                            <a:pt x="0" y="83597"/>
                          </a:lnTo>
                          <a:cubicBezTo>
                            <a:pt x="0" y="37428"/>
                            <a:pt x="37428" y="0"/>
                            <a:pt x="83597" y="0"/>
                          </a:cubicBezTo>
                          <a:cubicBezTo>
                            <a:pt x="129766" y="0"/>
                            <a:pt x="167194" y="37428"/>
                            <a:pt x="167194" y="83597"/>
                          </a:cubicBezTo>
                          <a:close/>
                        </a:path>
                      </a:pathLst>
                    </a:cu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a:endParaRPr>
                    </a:p>
                  </p:txBody>
                </p:sp>
                <p:sp>
                  <p:nvSpPr>
                    <p:cNvPr id="115" name="Freeform 38">
                      <a:extLst>
                        <a:ext uri="{FF2B5EF4-FFF2-40B4-BE49-F238E27FC236}">
                          <a16:creationId xmlns:a16="http://schemas.microsoft.com/office/drawing/2014/main" id="{78A70D2C-20CC-E083-FF97-B264071B26B9}"/>
                        </a:ext>
                      </a:extLst>
                    </p:cNvPr>
                    <p:cNvSpPr/>
                    <p:nvPr/>
                  </p:nvSpPr>
                  <p:spPr>
                    <a:xfrm rot="5400000" flipH="1">
                      <a:off x="11394245" y="1529533"/>
                      <a:ext cx="221698" cy="312559"/>
                    </a:xfrm>
                    <a:custGeom>
                      <a:avLst/>
                      <a:gdLst>
                        <a:gd name="connsiteX0" fmla="*/ 167194 w 167194"/>
                        <a:gd name="connsiteY0" fmla="*/ 83597 h 235718"/>
                        <a:gd name="connsiteX1" fmla="*/ 167194 w 167194"/>
                        <a:gd name="connsiteY1" fmla="*/ 235718 h 235718"/>
                        <a:gd name="connsiteX2" fmla="*/ 0 w 167194"/>
                        <a:gd name="connsiteY2" fmla="*/ 235718 h 235718"/>
                        <a:gd name="connsiteX3" fmla="*/ 0 w 167194"/>
                        <a:gd name="connsiteY3" fmla="*/ 83597 h 235718"/>
                        <a:gd name="connsiteX4" fmla="*/ 83597 w 167194"/>
                        <a:gd name="connsiteY4" fmla="*/ 0 h 235718"/>
                        <a:gd name="connsiteX5" fmla="*/ 167194 w 167194"/>
                        <a:gd name="connsiteY5" fmla="*/ 83597 h 235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194" h="235718">
                          <a:moveTo>
                            <a:pt x="167194" y="83597"/>
                          </a:moveTo>
                          <a:lnTo>
                            <a:pt x="167194" y="235718"/>
                          </a:lnTo>
                          <a:lnTo>
                            <a:pt x="0" y="235718"/>
                          </a:lnTo>
                          <a:lnTo>
                            <a:pt x="0" y="83597"/>
                          </a:lnTo>
                          <a:cubicBezTo>
                            <a:pt x="0" y="37428"/>
                            <a:pt x="37428" y="0"/>
                            <a:pt x="83597" y="0"/>
                          </a:cubicBezTo>
                          <a:cubicBezTo>
                            <a:pt x="129766" y="0"/>
                            <a:pt x="167194" y="37428"/>
                            <a:pt x="167194" y="83597"/>
                          </a:cubicBez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a:endParaRPr>
                    </a:p>
                  </p:txBody>
                </p:sp>
              </p:grpSp>
              <p:grpSp>
                <p:nvGrpSpPr>
                  <p:cNvPr id="111" name="Group 110">
                    <a:extLst>
                      <a:ext uri="{FF2B5EF4-FFF2-40B4-BE49-F238E27FC236}">
                        <a16:creationId xmlns:a16="http://schemas.microsoft.com/office/drawing/2014/main" id="{57335B30-D775-0C25-0261-4CE4A9F7EA7B}"/>
                      </a:ext>
                    </a:extLst>
                  </p:cNvPr>
                  <p:cNvGrpSpPr/>
                  <p:nvPr/>
                </p:nvGrpSpPr>
                <p:grpSpPr>
                  <a:xfrm rot="19106879" flipH="1" flipV="1">
                    <a:off x="11164738" y="563295"/>
                    <a:ext cx="515480" cy="171919"/>
                    <a:chOff x="10996638" y="1574964"/>
                    <a:chExt cx="664735" cy="221698"/>
                  </a:xfrm>
                </p:grpSpPr>
                <p:sp>
                  <p:nvSpPr>
                    <p:cNvPr id="112" name="Freeform 37">
                      <a:extLst>
                        <a:ext uri="{FF2B5EF4-FFF2-40B4-BE49-F238E27FC236}">
                          <a16:creationId xmlns:a16="http://schemas.microsoft.com/office/drawing/2014/main" id="{607619F0-43D7-3614-959B-539B65B99079}"/>
                        </a:ext>
                      </a:extLst>
                    </p:cNvPr>
                    <p:cNvSpPr/>
                    <p:nvPr/>
                  </p:nvSpPr>
                  <p:spPr>
                    <a:xfrm rot="16200000">
                      <a:off x="11042069" y="1529533"/>
                      <a:ext cx="221698" cy="312559"/>
                    </a:xfrm>
                    <a:custGeom>
                      <a:avLst/>
                      <a:gdLst>
                        <a:gd name="connsiteX0" fmla="*/ 167194 w 167194"/>
                        <a:gd name="connsiteY0" fmla="*/ 83597 h 235718"/>
                        <a:gd name="connsiteX1" fmla="*/ 167194 w 167194"/>
                        <a:gd name="connsiteY1" fmla="*/ 235718 h 235718"/>
                        <a:gd name="connsiteX2" fmla="*/ 0 w 167194"/>
                        <a:gd name="connsiteY2" fmla="*/ 235718 h 235718"/>
                        <a:gd name="connsiteX3" fmla="*/ 0 w 167194"/>
                        <a:gd name="connsiteY3" fmla="*/ 83597 h 235718"/>
                        <a:gd name="connsiteX4" fmla="*/ 83597 w 167194"/>
                        <a:gd name="connsiteY4" fmla="*/ 0 h 235718"/>
                        <a:gd name="connsiteX5" fmla="*/ 167194 w 167194"/>
                        <a:gd name="connsiteY5" fmla="*/ 83597 h 235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194" h="235718">
                          <a:moveTo>
                            <a:pt x="167194" y="83597"/>
                          </a:moveTo>
                          <a:lnTo>
                            <a:pt x="167194" y="235718"/>
                          </a:lnTo>
                          <a:lnTo>
                            <a:pt x="0" y="235718"/>
                          </a:lnTo>
                          <a:lnTo>
                            <a:pt x="0" y="83597"/>
                          </a:lnTo>
                          <a:cubicBezTo>
                            <a:pt x="0" y="37428"/>
                            <a:pt x="37428" y="0"/>
                            <a:pt x="83597" y="0"/>
                          </a:cubicBezTo>
                          <a:cubicBezTo>
                            <a:pt x="129766" y="0"/>
                            <a:pt x="167194" y="37428"/>
                            <a:pt x="167194" y="83597"/>
                          </a:cubicBezTo>
                          <a:close/>
                        </a:path>
                      </a:pathLst>
                    </a:cu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a:endParaRPr>
                    </a:p>
                  </p:txBody>
                </p:sp>
                <p:sp>
                  <p:nvSpPr>
                    <p:cNvPr id="113" name="Freeform 38">
                      <a:extLst>
                        <a:ext uri="{FF2B5EF4-FFF2-40B4-BE49-F238E27FC236}">
                          <a16:creationId xmlns:a16="http://schemas.microsoft.com/office/drawing/2014/main" id="{FE7046AC-1A09-A0AE-6A9C-CD353C602923}"/>
                        </a:ext>
                      </a:extLst>
                    </p:cNvPr>
                    <p:cNvSpPr/>
                    <p:nvPr/>
                  </p:nvSpPr>
                  <p:spPr>
                    <a:xfrm rot="5400000" flipH="1">
                      <a:off x="11394245" y="1529533"/>
                      <a:ext cx="221698" cy="312559"/>
                    </a:xfrm>
                    <a:custGeom>
                      <a:avLst/>
                      <a:gdLst>
                        <a:gd name="connsiteX0" fmla="*/ 167194 w 167194"/>
                        <a:gd name="connsiteY0" fmla="*/ 83597 h 235718"/>
                        <a:gd name="connsiteX1" fmla="*/ 167194 w 167194"/>
                        <a:gd name="connsiteY1" fmla="*/ 235718 h 235718"/>
                        <a:gd name="connsiteX2" fmla="*/ 0 w 167194"/>
                        <a:gd name="connsiteY2" fmla="*/ 235718 h 235718"/>
                        <a:gd name="connsiteX3" fmla="*/ 0 w 167194"/>
                        <a:gd name="connsiteY3" fmla="*/ 83597 h 235718"/>
                        <a:gd name="connsiteX4" fmla="*/ 83597 w 167194"/>
                        <a:gd name="connsiteY4" fmla="*/ 0 h 235718"/>
                        <a:gd name="connsiteX5" fmla="*/ 167194 w 167194"/>
                        <a:gd name="connsiteY5" fmla="*/ 83597 h 235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194" h="235718">
                          <a:moveTo>
                            <a:pt x="167194" y="83597"/>
                          </a:moveTo>
                          <a:lnTo>
                            <a:pt x="167194" y="235718"/>
                          </a:lnTo>
                          <a:lnTo>
                            <a:pt x="0" y="235718"/>
                          </a:lnTo>
                          <a:lnTo>
                            <a:pt x="0" y="83597"/>
                          </a:lnTo>
                          <a:cubicBezTo>
                            <a:pt x="0" y="37428"/>
                            <a:pt x="37428" y="0"/>
                            <a:pt x="83597" y="0"/>
                          </a:cubicBezTo>
                          <a:cubicBezTo>
                            <a:pt x="129766" y="0"/>
                            <a:pt x="167194" y="37428"/>
                            <a:pt x="167194" y="83597"/>
                          </a:cubicBez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a:endParaRPr>
                    </a:p>
                  </p:txBody>
                </p:sp>
              </p:grpSp>
            </p:grpSp>
          </p:grpSp>
          <p:sp>
            <p:nvSpPr>
              <p:cNvPr id="103" name="Rectangle 102">
                <a:extLst>
                  <a:ext uri="{FF2B5EF4-FFF2-40B4-BE49-F238E27FC236}">
                    <a16:creationId xmlns:a16="http://schemas.microsoft.com/office/drawing/2014/main" id="{97C261B0-51CB-01D4-CF8E-985E5D7949E2}"/>
                  </a:ext>
                </a:extLst>
              </p:cNvPr>
              <p:cNvSpPr/>
              <p:nvPr/>
            </p:nvSpPr>
            <p:spPr>
              <a:xfrm>
                <a:off x="9054493" y="1352713"/>
                <a:ext cx="1146486" cy="317009"/>
              </a:xfrm>
              <a:prstGeom prst="rect">
                <a:avLst/>
              </a:prstGeom>
            </p:spPr>
            <p:txBody>
              <a:bodyPr wrap="square">
                <a:spAutoFit/>
              </a:bodyPr>
              <a:lstStyle/>
              <a:p>
                <a:pPr algn="ctr" defTabSz="685800">
                  <a:lnSpc>
                    <a:spcPct val="90000"/>
                  </a:lnSpc>
                  <a:defRPr/>
                </a:pPr>
                <a:r>
                  <a:rPr lang="en-US" sz="1050" b="1" cap="all">
                    <a:solidFill>
                      <a:srgbClr val="0000C9">
                        <a:lumMod val="60000"/>
                        <a:lumOff val="40000"/>
                      </a:srgbClr>
                    </a:solidFill>
                    <a:latin typeface="Arial"/>
                  </a:rPr>
                  <a:t>AMR</a:t>
                </a:r>
                <a:r>
                  <a:rPr lang="tr-TR" sz="1050" b="1" cap="all" baseline="30000">
                    <a:solidFill>
                      <a:srgbClr val="0000C9">
                        <a:lumMod val="60000"/>
                        <a:lumOff val="40000"/>
                      </a:srgbClr>
                    </a:solidFill>
                    <a:latin typeface="Arial"/>
                  </a:rPr>
                  <a:t>5</a:t>
                </a:r>
                <a:r>
                  <a:rPr lang="en-US" sz="1050" b="1" cap="all" baseline="30000">
                    <a:solidFill>
                      <a:srgbClr val="0000C9">
                        <a:lumMod val="60000"/>
                        <a:lumOff val="40000"/>
                      </a:srgbClr>
                    </a:solidFill>
                    <a:latin typeface="Arial"/>
                  </a:rPr>
                  <a:t>-</a:t>
                </a:r>
                <a:r>
                  <a:rPr lang="tr-TR" sz="1050" b="1" cap="all" baseline="30000">
                    <a:solidFill>
                      <a:srgbClr val="0000C9">
                        <a:lumMod val="60000"/>
                        <a:lumOff val="40000"/>
                      </a:srgbClr>
                    </a:solidFill>
                    <a:latin typeface="Arial"/>
                  </a:rPr>
                  <a:t>7</a:t>
                </a:r>
                <a:endParaRPr lang="en-US" sz="1050" b="1" cap="all">
                  <a:solidFill>
                    <a:srgbClr val="0000C9">
                      <a:lumMod val="60000"/>
                      <a:lumOff val="40000"/>
                    </a:srgbClr>
                  </a:solidFill>
                  <a:latin typeface="Arial"/>
                </a:endParaRPr>
              </a:p>
            </p:txBody>
          </p:sp>
          <p:sp>
            <p:nvSpPr>
              <p:cNvPr id="104" name="Oval 103">
                <a:extLst>
                  <a:ext uri="{FF2B5EF4-FFF2-40B4-BE49-F238E27FC236}">
                    <a16:creationId xmlns:a16="http://schemas.microsoft.com/office/drawing/2014/main" id="{1EF585CA-80AA-089E-BF0A-EC168C207C2B}"/>
                  </a:ext>
                </a:extLst>
              </p:cNvPr>
              <p:cNvSpPr/>
              <p:nvPr/>
            </p:nvSpPr>
            <p:spPr>
              <a:xfrm>
                <a:off x="9414376" y="3251371"/>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105" name="Oval 104">
                <a:extLst>
                  <a:ext uri="{FF2B5EF4-FFF2-40B4-BE49-F238E27FC236}">
                    <a16:creationId xmlns:a16="http://schemas.microsoft.com/office/drawing/2014/main" id="{1B06AB1C-8864-99D9-B990-83B0BEA65601}"/>
                  </a:ext>
                </a:extLst>
              </p:cNvPr>
              <p:cNvSpPr/>
              <p:nvPr/>
            </p:nvSpPr>
            <p:spPr>
              <a:xfrm>
                <a:off x="9414376" y="3756209"/>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106" name="Oval 105">
                <a:extLst>
                  <a:ext uri="{FF2B5EF4-FFF2-40B4-BE49-F238E27FC236}">
                    <a16:creationId xmlns:a16="http://schemas.microsoft.com/office/drawing/2014/main" id="{26E4DA25-0383-5094-C5C9-D3DA565904C2}"/>
                  </a:ext>
                </a:extLst>
              </p:cNvPr>
              <p:cNvSpPr/>
              <p:nvPr/>
            </p:nvSpPr>
            <p:spPr>
              <a:xfrm>
                <a:off x="9414376" y="5270723"/>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107" name="Oval 106">
                <a:extLst>
                  <a:ext uri="{FF2B5EF4-FFF2-40B4-BE49-F238E27FC236}">
                    <a16:creationId xmlns:a16="http://schemas.microsoft.com/office/drawing/2014/main" id="{3A4AACEB-EF1B-DA24-3141-8D2EFC71B735}"/>
                  </a:ext>
                </a:extLst>
              </p:cNvPr>
              <p:cNvSpPr/>
              <p:nvPr/>
            </p:nvSpPr>
            <p:spPr>
              <a:xfrm>
                <a:off x="9414376" y="5779203"/>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grpSp>
      </p:grpSp>
      <p:pic>
        <p:nvPicPr>
          <p:cNvPr id="118" name="Picture 117" descr="A yellow and blue logo&#10;&#10;Description automatically generated">
            <a:extLst>
              <a:ext uri="{FF2B5EF4-FFF2-40B4-BE49-F238E27FC236}">
                <a16:creationId xmlns:a16="http://schemas.microsoft.com/office/drawing/2014/main" id="{DC3E641E-8457-F2C8-5B65-12D539F307BE}"/>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15317814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54E69F-5A65-0254-6486-9E92D0ED5FE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E492772-158D-E1A4-D7A6-BB13C6A69AB5}"/>
              </a:ext>
            </a:extLst>
          </p:cNvPr>
          <p:cNvSpPr>
            <a:spLocks noGrp="1"/>
          </p:cNvSpPr>
          <p:nvPr>
            <p:ph type="title"/>
          </p:nvPr>
        </p:nvSpPr>
        <p:spPr>
          <a:xfrm>
            <a:off x="612775" y="429834"/>
            <a:ext cx="10969625" cy="373820"/>
          </a:xfrm>
        </p:spPr>
        <p:txBody>
          <a:bodyPr vert="horz" wrap="square" lIns="0" tIns="0" rIns="0" bIns="0" rtlCol="0" anchor="ctr">
            <a:spAutoFit/>
          </a:bodyPr>
          <a:lstStyle/>
          <a:p>
            <a:r>
              <a:rPr lang="en-US" dirty="0" err="1"/>
              <a:t>Yetişkinlerde</a:t>
            </a:r>
            <a:r>
              <a:rPr lang="en-US" dirty="0"/>
              <a:t> </a:t>
            </a:r>
            <a:r>
              <a:rPr lang="en-US" dirty="0" err="1"/>
              <a:t>ASYE’lerin</a:t>
            </a:r>
            <a:r>
              <a:rPr lang="en-US" dirty="0"/>
              <a:t> </a:t>
            </a:r>
            <a:r>
              <a:rPr lang="en-US" dirty="0" err="1"/>
              <a:t>tahmini</a:t>
            </a:r>
            <a:r>
              <a:rPr lang="en-US" dirty="0"/>
              <a:t> </a:t>
            </a:r>
            <a:r>
              <a:rPr lang="en-US" dirty="0" err="1"/>
              <a:t>görülme</a:t>
            </a:r>
            <a:r>
              <a:rPr lang="en-US" dirty="0"/>
              <a:t> </a:t>
            </a:r>
            <a:r>
              <a:rPr lang="en-US" dirty="0" err="1"/>
              <a:t>sıklığı</a:t>
            </a:r>
            <a:r>
              <a:rPr lang="en-US" dirty="0"/>
              <a:t> </a:t>
            </a:r>
            <a:r>
              <a:rPr lang="en-US" dirty="0" err="1"/>
              <a:t>yaşla</a:t>
            </a:r>
            <a:r>
              <a:rPr lang="en-US" dirty="0"/>
              <a:t> </a:t>
            </a:r>
            <a:r>
              <a:rPr lang="en-US" dirty="0" err="1"/>
              <a:t>birlikte</a:t>
            </a:r>
            <a:r>
              <a:rPr lang="en-US" dirty="0"/>
              <a:t> </a:t>
            </a:r>
            <a:r>
              <a:rPr lang="en-US" dirty="0" err="1"/>
              <a:t>artar</a:t>
            </a:r>
            <a:r>
              <a:rPr lang="en-US" dirty="0"/>
              <a:t>*,†</a:t>
            </a:r>
            <a:endParaRPr lang="en-GB" dirty="0"/>
          </a:p>
        </p:txBody>
      </p:sp>
      <p:sp>
        <p:nvSpPr>
          <p:cNvPr id="2" name="Slide Number Placeholder 1">
            <a:extLst>
              <a:ext uri="{FF2B5EF4-FFF2-40B4-BE49-F238E27FC236}">
                <a16:creationId xmlns:a16="http://schemas.microsoft.com/office/drawing/2014/main" id="{F420684A-ADAB-9FF5-CC2D-C3192636BA17}"/>
              </a:ext>
            </a:extLst>
          </p:cNvPr>
          <p:cNvSpPr>
            <a:spLocks noGrp="1"/>
          </p:cNvSpPr>
          <p:nvPr>
            <p:ph type="sldNum" sz="quarter" idx="4"/>
          </p:nvPr>
        </p:nvSpPr>
        <p:spPr>
          <a:xfrm>
            <a:off x="10438834" y="6508427"/>
            <a:ext cx="1143536" cy="153889"/>
          </a:xfrm>
        </p:spPr>
        <p:txBody>
          <a:bodyPr/>
          <a:lstStyle/>
          <a:p>
            <a:pPr lvl="0"/>
            <a:fld id="{2B39012A-6F33-204B-8224-A57BEFB0AAD0}" type="slidenum">
              <a:rPr lang="en-US" noProof="0" smtClean="0"/>
              <a:pPr lvl="0"/>
              <a:t>7</a:t>
            </a:fld>
            <a:endParaRPr lang="en-US" noProof="0"/>
          </a:p>
        </p:txBody>
      </p:sp>
      <p:sp>
        <p:nvSpPr>
          <p:cNvPr id="5" name="Text Placeholder 4">
            <a:extLst>
              <a:ext uri="{FF2B5EF4-FFF2-40B4-BE49-F238E27FC236}">
                <a16:creationId xmlns:a16="http://schemas.microsoft.com/office/drawing/2014/main" id="{9B5E5793-25A4-D0F1-67E0-FB239B39FE42}"/>
              </a:ext>
            </a:extLst>
          </p:cNvPr>
          <p:cNvSpPr txBox="1">
            <a:spLocks/>
          </p:cNvSpPr>
          <p:nvPr/>
        </p:nvSpPr>
        <p:spPr bwMode="gray">
          <a:xfrm>
            <a:off x="609601" y="4538762"/>
            <a:ext cx="10972800" cy="433265"/>
          </a:xfrm>
          <a:prstGeom prst="round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ctr" defTabSz="228520" rtl="0" eaLnBrk="0" fontAlgn="base" latinLnBrk="0" hangingPunct="0">
              <a:lnSpc>
                <a:spcPct val="90000"/>
              </a:lnSpc>
              <a:spcBef>
                <a:spcPct val="20000"/>
              </a:spcBef>
              <a:spcAft>
                <a:spcPct val="0"/>
              </a:spcAft>
              <a:buClrTx/>
              <a:buSzTx/>
              <a:buFontTx/>
              <a:buNone/>
              <a:tabLst/>
              <a:defRPr/>
            </a:pPr>
            <a:r>
              <a:rPr lang="en-US" sz="1600" err="1">
                <a:solidFill>
                  <a:srgbClr val="FFFFFF"/>
                </a:solidFill>
                <a:latin typeface="Pfizer Tomorrow"/>
              </a:rPr>
              <a:t>ASYE’lerin</a:t>
            </a:r>
            <a:r>
              <a:rPr lang="en-US" sz="1600">
                <a:solidFill>
                  <a:srgbClr val="FFFFFF"/>
                </a:solidFill>
                <a:latin typeface="Pfizer Tomorrow"/>
              </a:rPr>
              <a:t> </a:t>
            </a:r>
            <a:r>
              <a:rPr lang="en-US" sz="1600" err="1">
                <a:solidFill>
                  <a:srgbClr val="FFFFFF"/>
                </a:solidFill>
                <a:latin typeface="Pfizer Tomorrow"/>
              </a:rPr>
              <a:t>görülme</a:t>
            </a:r>
            <a:r>
              <a:rPr lang="en-US" sz="1600">
                <a:solidFill>
                  <a:srgbClr val="FFFFFF"/>
                </a:solidFill>
                <a:latin typeface="Pfizer Tomorrow"/>
              </a:rPr>
              <a:t> </a:t>
            </a:r>
            <a:r>
              <a:rPr lang="en-US" sz="1600" err="1">
                <a:solidFill>
                  <a:srgbClr val="FFFFFF"/>
                </a:solidFill>
                <a:latin typeface="Pfizer Tomorrow"/>
              </a:rPr>
              <a:t>sıklığı</a:t>
            </a:r>
            <a:r>
              <a:rPr kumimoji="0" lang="en-US" sz="1600" b="1" i="0" u="none" strike="noStrike" kern="1200" cap="none" spc="0" normalizeH="0" baseline="0" noProof="0">
                <a:ln>
                  <a:noFill/>
                </a:ln>
                <a:solidFill>
                  <a:srgbClr val="FFFFFF"/>
                </a:solidFill>
                <a:effectLst/>
                <a:uLnTx/>
                <a:uFillTx/>
                <a:latin typeface="Pfizer Tomorrow"/>
              </a:rPr>
              <a:t> ≥70 </a:t>
            </a:r>
            <a:r>
              <a:rPr kumimoji="0" lang="en-US" sz="1600" b="1" i="0" u="none" strike="noStrike" kern="1200" cap="none" spc="0" normalizeH="0" baseline="0" noProof="0" err="1">
                <a:ln>
                  <a:noFill/>
                </a:ln>
                <a:solidFill>
                  <a:srgbClr val="FFFFFF"/>
                </a:solidFill>
                <a:effectLst/>
                <a:uLnTx/>
                <a:uFillTx/>
                <a:latin typeface="Pfizer Tomorrow"/>
              </a:rPr>
              <a:t>yaş</a:t>
            </a:r>
            <a:r>
              <a:rPr kumimoji="0" lang="en-US" sz="1600" b="1" i="0" u="none" strike="noStrike" kern="1200" cap="none" spc="0" normalizeH="0" baseline="0" noProof="0">
                <a:ln>
                  <a:noFill/>
                </a:ln>
                <a:solidFill>
                  <a:srgbClr val="FFFFFF"/>
                </a:solidFill>
                <a:effectLst/>
                <a:uLnTx/>
                <a:uFillTx/>
                <a:latin typeface="Pfizer Tomorrow"/>
              </a:rPr>
              <a:t> </a:t>
            </a:r>
            <a:r>
              <a:rPr kumimoji="0" lang="en-US" sz="1600" b="1" i="0" u="none" strike="noStrike" kern="1200" cap="none" spc="0" normalizeH="0" baseline="0" noProof="0" err="1">
                <a:ln>
                  <a:noFill/>
                </a:ln>
                <a:solidFill>
                  <a:srgbClr val="FFFFFF"/>
                </a:solidFill>
                <a:effectLst/>
                <a:uLnTx/>
                <a:uFillTx/>
                <a:latin typeface="Pfizer Tomorrow"/>
              </a:rPr>
              <a:t>arasındaki</a:t>
            </a:r>
            <a:r>
              <a:rPr kumimoji="0" lang="en-US" sz="1600" b="1" i="0" u="none" strike="noStrike" kern="1200" cap="none" spc="0" normalizeH="0" baseline="0" noProof="0">
                <a:ln>
                  <a:noFill/>
                </a:ln>
                <a:solidFill>
                  <a:srgbClr val="FFFFFF"/>
                </a:solidFill>
                <a:effectLst/>
                <a:uLnTx/>
                <a:uFillTx/>
                <a:latin typeface="Pfizer Tomorrow"/>
              </a:rPr>
              <a:t> </a:t>
            </a:r>
            <a:r>
              <a:rPr lang="en-US" sz="1600" err="1">
                <a:solidFill>
                  <a:srgbClr val="FFFFFF"/>
                </a:solidFill>
                <a:latin typeface="Pfizer Tomorrow"/>
              </a:rPr>
              <a:t>yetişkinlerde</a:t>
            </a:r>
            <a:r>
              <a:rPr kumimoji="0" lang="en-US" sz="1600" b="1" i="0" u="none" strike="noStrike" kern="1200" cap="none" spc="0" normalizeH="0" baseline="0" noProof="0">
                <a:ln>
                  <a:noFill/>
                </a:ln>
                <a:solidFill>
                  <a:srgbClr val="FFFFFF"/>
                </a:solidFill>
                <a:effectLst/>
                <a:uLnTx/>
                <a:uFillTx/>
                <a:latin typeface="Pfizer Tomorrow"/>
              </a:rPr>
              <a:t> </a:t>
            </a:r>
            <a:r>
              <a:rPr kumimoji="0" lang="en-US" sz="1600" b="1" i="0" u="none" strike="noStrike" kern="1200" cap="none" spc="0" normalizeH="0" baseline="0" noProof="0" err="1">
                <a:ln>
                  <a:noFill/>
                </a:ln>
                <a:solidFill>
                  <a:srgbClr val="FFFFFF"/>
                </a:solidFill>
                <a:effectLst/>
                <a:uLnTx/>
                <a:uFillTx/>
                <a:latin typeface="Pfizer Tomorrow"/>
              </a:rPr>
              <a:t>en</a:t>
            </a:r>
            <a:r>
              <a:rPr kumimoji="0" lang="en-US" sz="1600" b="1" i="0" u="none" strike="noStrike" kern="1200" cap="none" spc="0" normalizeH="0" baseline="0" noProof="0">
                <a:ln>
                  <a:noFill/>
                </a:ln>
                <a:solidFill>
                  <a:srgbClr val="FFFFFF"/>
                </a:solidFill>
                <a:effectLst/>
                <a:uLnTx/>
                <a:uFillTx/>
                <a:latin typeface="Pfizer Tomorrow"/>
              </a:rPr>
              <a:t> yüksektir</a:t>
            </a:r>
            <a:r>
              <a:rPr kumimoji="0" lang="en-US" sz="1600" b="1" i="0" u="none" strike="noStrike" kern="1200" cap="none" spc="0" normalizeH="0" baseline="30000" noProof="0">
                <a:ln>
                  <a:noFill/>
                </a:ln>
                <a:solidFill>
                  <a:srgbClr val="FFFFFF"/>
                </a:solidFill>
                <a:effectLst/>
                <a:uLnTx/>
                <a:uFillTx/>
                <a:latin typeface="Pfizer Tomorrow"/>
              </a:rPr>
              <a:t>1</a:t>
            </a:r>
            <a:endParaRPr kumimoji="0" lang="en-GB" sz="1600" b="1" i="0" u="none" strike="noStrike" kern="1200" cap="none" spc="0" normalizeH="0" baseline="30000" noProof="0">
              <a:ln>
                <a:noFill/>
              </a:ln>
              <a:solidFill>
                <a:srgbClr val="FFFFFF"/>
              </a:solidFill>
              <a:effectLst/>
              <a:uLnTx/>
              <a:uFillTx/>
              <a:latin typeface="Pfizer Tomorrow"/>
            </a:endParaRPr>
          </a:p>
        </p:txBody>
      </p:sp>
      <p:graphicFrame>
        <p:nvGraphicFramePr>
          <p:cNvPr id="6" name="Chart 5">
            <a:extLst>
              <a:ext uri="{FF2B5EF4-FFF2-40B4-BE49-F238E27FC236}">
                <a16:creationId xmlns:a16="http://schemas.microsoft.com/office/drawing/2014/main" id="{FEEC678A-57D0-D42E-7997-BA3182450134}"/>
              </a:ext>
            </a:extLst>
          </p:cNvPr>
          <p:cNvGraphicFramePr/>
          <p:nvPr/>
        </p:nvGraphicFramePr>
        <p:xfrm>
          <a:off x="581025" y="1745414"/>
          <a:ext cx="5347827" cy="26416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B41E3FD6-C1F8-5D6F-57CC-E5BA74B4A99D}"/>
              </a:ext>
            </a:extLst>
          </p:cNvPr>
          <p:cNvSpPr txBox="1"/>
          <p:nvPr/>
        </p:nvSpPr>
        <p:spPr>
          <a:xfrm>
            <a:off x="1390650" y="4268555"/>
            <a:ext cx="4406900" cy="246221"/>
          </a:xfrm>
          <a:prstGeom prst="rect">
            <a:avLst/>
          </a:prstGeom>
          <a:noFill/>
        </p:spPr>
        <p:txBody>
          <a:bodyPr wrap="square"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err="1">
                <a:ln>
                  <a:noFill/>
                </a:ln>
                <a:solidFill>
                  <a:srgbClr val="000000">
                    <a:lumMod val="65000"/>
                    <a:lumOff val="35000"/>
                  </a:srgbClr>
                </a:solidFill>
                <a:effectLst/>
                <a:uLnTx/>
                <a:uFillTx/>
                <a:latin typeface="Pfizer Diatype Office"/>
              </a:rPr>
              <a:t>Yaş</a:t>
            </a:r>
            <a:r>
              <a:rPr kumimoji="0" lang="en-GB" sz="1000" b="1" i="0" u="none" strike="noStrike" kern="1200" cap="none" spc="0" normalizeH="0" baseline="0" noProof="0">
                <a:ln>
                  <a:noFill/>
                </a:ln>
                <a:solidFill>
                  <a:srgbClr val="000000">
                    <a:lumMod val="65000"/>
                    <a:lumOff val="35000"/>
                  </a:srgbClr>
                </a:solidFill>
                <a:effectLst/>
                <a:uLnTx/>
                <a:uFillTx/>
                <a:latin typeface="Pfizer Diatype Office"/>
              </a:rPr>
              <a:t> </a:t>
            </a:r>
            <a:r>
              <a:rPr lang="en-GB" sz="1000" b="1" err="1">
                <a:solidFill>
                  <a:srgbClr val="000000">
                    <a:lumMod val="65000"/>
                    <a:lumOff val="35000"/>
                  </a:srgbClr>
                </a:solidFill>
                <a:latin typeface="Pfizer Diatype Office"/>
              </a:rPr>
              <a:t>grupları</a:t>
            </a:r>
            <a:r>
              <a:rPr kumimoji="0" lang="en-GB" sz="1000" b="1" i="0" u="none" strike="noStrike" kern="1200" cap="none" spc="0" normalizeH="0" baseline="0" noProof="0">
                <a:ln>
                  <a:noFill/>
                </a:ln>
                <a:solidFill>
                  <a:srgbClr val="000000">
                    <a:lumMod val="65000"/>
                    <a:lumOff val="35000"/>
                  </a:srgbClr>
                </a:solidFill>
                <a:effectLst/>
                <a:uLnTx/>
                <a:uFillTx/>
                <a:latin typeface="Pfizer Diatype Office"/>
              </a:rPr>
              <a:t> (</a:t>
            </a:r>
            <a:r>
              <a:rPr kumimoji="0" lang="en-GB" sz="1000" b="1" i="0" u="none" strike="noStrike" kern="1200" cap="none" spc="0" normalizeH="0" baseline="0" noProof="0" err="1">
                <a:ln>
                  <a:noFill/>
                </a:ln>
                <a:solidFill>
                  <a:srgbClr val="000000">
                    <a:lumMod val="65000"/>
                    <a:lumOff val="35000"/>
                  </a:srgbClr>
                </a:solidFill>
                <a:effectLst/>
                <a:uLnTx/>
                <a:uFillTx/>
                <a:latin typeface="Pfizer Diatype Office"/>
              </a:rPr>
              <a:t>yıl</a:t>
            </a:r>
            <a:r>
              <a:rPr kumimoji="0" lang="en-GB" sz="1000" b="1" i="0" u="none" strike="noStrike" kern="1200" cap="none" spc="0" normalizeH="0" baseline="0" noProof="0">
                <a:ln>
                  <a:noFill/>
                </a:ln>
                <a:solidFill>
                  <a:srgbClr val="000000">
                    <a:lumMod val="65000"/>
                    <a:lumOff val="35000"/>
                  </a:srgbClr>
                </a:solidFill>
                <a:effectLst/>
                <a:uLnTx/>
                <a:uFillTx/>
                <a:latin typeface="Pfizer Diatype Office"/>
              </a:rPr>
              <a:t>)</a:t>
            </a:r>
          </a:p>
        </p:txBody>
      </p:sp>
      <p:sp>
        <p:nvSpPr>
          <p:cNvPr id="9" name="TextBox 8">
            <a:extLst>
              <a:ext uri="{FF2B5EF4-FFF2-40B4-BE49-F238E27FC236}">
                <a16:creationId xmlns:a16="http://schemas.microsoft.com/office/drawing/2014/main" id="{2A6FDE0B-B3B7-55B3-B10C-2E7EEFD3F891}"/>
              </a:ext>
            </a:extLst>
          </p:cNvPr>
          <p:cNvSpPr txBox="1"/>
          <p:nvPr/>
        </p:nvSpPr>
        <p:spPr>
          <a:xfrm>
            <a:off x="643398" y="1290918"/>
            <a:ext cx="5154151" cy="307777"/>
          </a:xfrm>
          <a:prstGeom prst="rect">
            <a:avLst/>
          </a:prstGeom>
          <a:noFill/>
        </p:spPr>
        <p:txBody>
          <a:bodyPr wrap="square"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C9"/>
                </a:solidFill>
                <a:effectLst/>
                <a:uLnTx/>
                <a:uFillTx/>
                <a:latin typeface="Pfizer Tomorrow"/>
              </a:rPr>
              <a:t>Yaşa </a:t>
            </a:r>
            <a:r>
              <a:rPr kumimoji="0" lang="en-GB" sz="1400" b="1" i="0" u="none" strike="noStrike" kern="1200" cap="none" spc="0" normalizeH="0" baseline="0" noProof="0" err="1">
                <a:ln>
                  <a:noFill/>
                </a:ln>
                <a:solidFill>
                  <a:srgbClr val="0000C9"/>
                </a:solidFill>
                <a:effectLst/>
                <a:uLnTx/>
                <a:uFillTx/>
                <a:latin typeface="Pfizer Tomorrow"/>
              </a:rPr>
              <a:t>göre</a:t>
            </a:r>
            <a:r>
              <a:rPr kumimoji="0" lang="en-GB" sz="1400" b="1" i="0" u="none" strike="noStrike" kern="1200" cap="none" spc="0" normalizeH="0" baseline="0" noProof="0">
                <a:ln>
                  <a:noFill/>
                </a:ln>
                <a:solidFill>
                  <a:srgbClr val="0000C9"/>
                </a:solidFill>
                <a:effectLst/>
                <a:uLnTx/>
                <a:uFillTx/>
                <a:latin typeface="Pfizer Tomorrow"/>
              </a:rPr>
              <a:t> </a:t>
            </a:r>
            <a:r>
              <a:rPr kumimoji="0" lang="en-GB" sz="1400" b="1" i="0" u="none" strike="noStrike" kern="1200" cap="none" spc="0" normalizeH="0" baseline="0" noProof="0" err="1">
                <a:ln>
                  <a:noFill/>
                </a:ln>
                <a:solidFill>
                  <a:srgbClr val="0000C9"/>
                </a:solidFill>
                <a:effectLst/>
                <a:uLnTx/>
                <a:uFillTx/>
                <a:latin typeface="Pfizer Tomorrow"/>
              </a:rPr>
              <a:t>küresel</a:t>
            </a:r>
            <a:r>
              <a:rPr kumimoji="0" lang="en-GB" sz="1400" b="1" i="0" u="none" strike="noStrike" kern="1200" cap="none" spc="0" normalizeH="0" baseline="0" noProof="0">
                <a:ln>
                  <a:noFill/>
                </a:ln>
                <a:solidFill>
                  <a:srgbClr val="0000C9"/>
                </a:solidFill>
                <a:effectLst/>
                <a:uLnTx/>
                <a:uFillTx/>
                <a:latin typeface="Pfizer Tomorrow"/>
              </a:rPr>
              <a:t> ASYE </a:t>
            </a:r>
            <a:r>
              <a:rPr kumimoji="0" lang="en-GB" sz="1400" b="1" i="0" u="none" strike="noStrike" kern="1200" cap="none" spc="0" normalizeH="0" baseline="0" noProof="0" err="1">
                <a:ln>
                  <a:noFill/>
                </a:ln>
                <a:solidFill>
                  <a:srgbClr val="0000C9"/>
                </a:solidFill>
                <a:effectLst/>
                <a:uLnTx/>
                <a:uFillTx/>
                <a:latin typeface="Pfizer Tomorrow"/>
              </a:rPr>
              <a:t>insidansı</a:t>
            </a:r>
            <a:r>
              <a:rPr kumimoji="0" lang="en-GB" sz="1400" b="1" i="0" u="none" strike="noStrike" kern="1200" cap="none" spc="0" normalizeH="0" baseline="0" noProof="0">
                <a:ln>
                  <a:noFill/>
                </a:ln>
                <a:solidFill>
                  <a:srgbClr val="0000C9"/>
                </a:solidFill>
                <a:effectLst/>
                <a:uLnTx/>
                <a:uFillTx/>
                <a:latin typeface="Pfizer Tomorrow"/>
              </a:rPr>
              <a:t> (COVID-19 </a:t>
            </a:r>
            <a:r>
              <a:rPr kumimoji="0" lang="en-GB" sz="1400" b="1" i="0" u="none" strike="noStrike" kern="1200" cap="none" spc="0" normalizeH="0" baseline="0" noProof="0" err="1">
                <a:ln>
                  <a:noFill/>
                </a:ln>
                <a:solidFill>
                  <a:srgbClr val="0000C9"/>
                </a:solidFill>
                <a:effectLst/>
                <a:uLnTx/>
                <a:uFillTx/>
                <a:latin typeface="Pfizer Tomorrow"/>
              </a:rPr>
              <a:t>hariç</a:t>
            </a:r>
            <a:r>
              <a:rPr kumimoji="0" lang="en-GB" sz="1400" b="1" i="0" u="none" strike="noStrike" kern="1200" cap="none" spc="0" normalizeH="0" baseline="0" noProof="0">
                <a:ln>
                  <a:noFill/>
                </a:ln>
                <a:solidFill>
                  <a:srgbClr val="0000C9"/>
                </a:solidFill>
                <a:effectLst/>
                <a:uLnTx/>
                <a:uFillTx/>
                <a:latin typeface="Pfizer Tomorrow"/>
              </a:rPr>
              <a:t>), 2021</a:t>
            </a:r>
            <a:r>
              <a:rPr kumimoji="0" lang="en-GB" sz="1400" b="1" i="0" u="none" strike="noStrike" kern="1200" cap="none" spc="0" normalizeH="0" baseline="30000" noProof="0">
                <a:ln>
                  <a:noFill/>
                </a:ln>
                <a:solidFill>
                  <a:srgbClr val="0000C9"/>
                </a:solidFill>
                <a:effectLst/>
                <a:uLnTx/>
                <a:uFillTx/>
                <a:latin typeface="Pfizer Tomorrow"/>
              </a:rPr>
              <a:t>1</a:t>
            </a:r>
          </a:p>
        </p:txBody>
      </p:sp>
      <p:graphicFrame>
        <p:nvGraphicFramePr>
          <p:cNvPr id="10" name="Chart 9">
            <a:extLst>
              <a:ext uri="{FF2B5EF4-FFF2-40B4-BE49-F238E27FC236}">
                <a16:creationId xmlns:a16="http://schemas.microsoft.com/office/drawing/2014/main" id="{09A30CF1-C5DD-B5AA-2E0C-597D55BE38FA}"/>
              </a:ext>
            </a:extLst>
          </p:cNvPr>
          <p:cNvGraphicFramePr/>
          <p:nvPr/>
        </p:nvGraphicFramePr>
        <p:xfrm>
          <a:off x="6200775" y="1745414"/>
          <a:ext cx="5347827" cy="264160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9E240CD2-2154-4E86-5971-B152CA8F830A}"/>
              </a:ext>
            </a:extLst>
          </p:cNvPr>
          <p:cNvSpPr txBox="1"/>
          <p:nvPr/>
        </p:nvSpPr>
        <p:spPr>
          <a:xfrm>
            <a:off x="7010400" y="4268555"/>
            <a:ext cx="4406900" cy="246221"/>
          </a:xfrm>
          <a:prstGeom prst="rect">
            <a:avLst/>
          </a:prstGeom>
          <a:noFill/>
        </p:spPr>
        <p:txBody>
          <a:bodyPr wrap="square"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lumMod val="65000"/>
                    <a:lumOff val="35000"/>
                  </a:srgbClr>
                </a:solidFill>
                <a:effectLst/>
                <a:uLnTx/>
                <a:uFillTx/>
                <a:latin typeface="Pfizer Diatype Office"/>
              </a:rPr>
              <a:t>Yaş </a:t>
            </a:r>
            <a:r>
              <a:rPr kumimoji="0" lang="en-GB" sz="1000" b="1" i="0" u="none" strike="noStrike" kern="1200" cap="none" spc="0" normalizeH="0" baseline="0" noProof="0" err="1">
                <a:ln>
                  <a:noFill/>
                </a:ln>
                <a:solidFill>
                  <a:srgbClr val="000000">
                    <a:lumMod val="65000"/>
                    <a:lumOff val="35000"/>
                  </a:srgbClr>
                </a:solidFill>
                <a:effectLst/>
                <a:uLnTx/>
                <a:uFillTx/>
                <a:latin typeface="Pfizer Diatype Office"/>
              </a:rPr>
              <a:t>grupları</a:t>
            </a:r>
            <a:r>
              <a:rPr kumimoji="0" lang="en-GB" sz="1000" b="1" i="0" u="none" strike="noStrike" kern="1200" cap="none" spc="0" normalizeH="0" baseline="0" noProof="0">
                <a:ln>
                  <a:noFill/>
                </a:ln>
                <a:solidFill>
                  <a:srgbClr val="000000">
                    <a:lumMod val="65000"/>
                    <a:lumOff val="35000"/>
                  </a:srgbClr>
                </a:solidFill>
                <a:effectLst/>
                <a:uLnTx/>
                <a:uFillTx/>
                <a:latin typeface="Pfizer Diatype Office"/>
              </a:rPr>
              <a:t> (yıl)</a:t>
            </a:r>
          </a:p>
        </p:txBody>
      </p:sp>
      <p:sp>
        <p:nvSpPr>
          <p:cNvPr id="12" name="TextBox 11">
            <a:extLst>
              <a:ext uri="{FF2B5EF4-FFF2-40B4-BE49-F238E27FC236}">
                <a16:creationId xmlns:a16="http://schemas.microsoft.com/office/drawing/2014/main" id="{E18373CD-A45F-4860-6FFB-2EDDAF74CCBE}"/>
              </a:ext>
            </a:extLst>
          </p:cNvPr>
          <p:cNvSpPr txBox="1"/>
          <p:nvPr/>
        </p:nvSpPr>
        <p:spPr>
          <a:xfrm>
            <a:off x="6147956" y="1282450"/>
            <a:ext cx="5463019" cy="523220"/>
          </a:xfrm>
          <a:prstGeom prst="rect">
            <a:avLst/>
          </a:prstGeom>
          <a:noFill/>
        </p:spPr>
        <p:txBody>
          <a:bodyPr wrap="square" rtlCol="0">
            <a:spAutoFit/>
          </a:bodyPr>
          <a:lstStyle/>
          <a:p>
            <a:pPr lvl="0" algn="ctr">
              <a:defRPr/>
            </a:pPr>
            <a:r>
              <a:rPr kumimoji="0" lang="en-GB" sz="1400" b="1" i="0" u="none" strike="noStrike" kern="1200" cap="none" spc="0" normalizeH="0" baseline="0" noProof="0" err="1">
                <a:ln>
                  <a:noFill/>
                </a:ln>
                <a:solidFill>
                  <a:srgbClr val="0000C9"/>
                </a:solidFill>
                <a:effectLst/>
                <a:uLnTx/>
                <a:uFillTx/>
                <a:latin typeface="Pfizer Tomorrow"/>
              </a:rPr>
              <a:t>ABD’de</a:t>
            </a:r>
            <a:r>
              <a:rPr kumimoji="0" lang="en-GB" sz="1400" b="1" i="0" u="none" strike="noStrike" kern="1200" cap="none" spc="0" normalizeH="0" baseline="0" noProof="0">
                <a:ln>
                  <a:noFill/>
                </a:ln>
                <a:solidFill>
                  <a:srgbClr val="0000C9"/>
                </a:solidFill>
                <a:effectLst/>
                <a:uLnTx/>
                <a:uFillTx/>
                <a:latin typeface="Pfizer Tomorrow"/>
              </a:rPr>
              <a:t> </a:t>
            </a:r>
            <a:r>
              <a:rPr kumimoji="0" lang="en-GB" sz="1400" b="1" i="0" u="none" strike="noStrike" kern="1200" cap="none" spc="0" normalizeH="0" baseline="0" noProof="0" err="1">
                <a:ln>
                  <a:noFill/>
                </a:ln>
                <a:solidFill>
                  <a:srgbClr val="0000C9"/>
                </a:solidFill>
                <a:effectLst/>
                <a:uLnTx/>
                <a:uFillTx/>
                <a:latin typeface="Pfizer Tomorrow"/>
              </a:rPr>
              <a:t>yaşa</a:t>
            </a:r>
            <a:r>
              <a:rPr kumimoji="0" lang="en-GB" sz="1400" b="1" i="0" u="none" strike="noStrike" kern="1200" cap="none" spc="0" normalizeH="0" baseline="0" noProof="0">
                <a:ln>
                  <a:noFill/>
                </a:ln>
                <a:solidFill>
                  <a:srgbClr val="0000C9"/>
                </a:solidFill>
                <a:effectLst/>
                <a:uLnTx/>
                <a:uFillTx/>
                <a:latin typeface="Pfizer Tomorrow"/>
              </a:rPr>
              <a:t> </a:t>
            </a:r>
            <a:r>
              <a:rPr kumimoji="0" lang="en-GB" sz="1400" b="1" i="0" u="none" strike="noStrike" kern="1200" cap="none" spc="0" normalizeH="0" baseline="0" noProof="0" err="1">
                <a:ln>
                  <a:noFill/>
                </a:ln>
                <a:solidFill>
                  <a:srgbClr val="0000C9"/>
                </a:solidFill>
                <a:effectLst/>
                <a:uLnTx/>
                <a:uFillTx/>
                <a:latin typeface="Pfizer Tomorrow"/>
              </a:rPr>
              <a:t>göre</a:t>
            </a:r>
            <a:r>
              <a:rPr kumimoji="0" lang="en-GB" sz="1400" b="1" i="0" u="none" strike="noStrike" kern="1200" cap="none" spc="0" normalizeH="0" baseline="0" noProof="0">
                <a:ln>
                  <a:noFill/>
                </a:ln>
                <a:solidFill>
                  <a:srgbClr val="0000C9"/>
                </a:solidFill>
                <a:effectLst/>
                <a:uLnTx/>
                <a:uFillTx/>
                <a:latin typeface="Pfizer Tomorrow"/>
              </a:rPr>
              <a:t> </a:t>
            </a:r>
            <a:r>
              <a:rPr kumimoji="0" lang="en-GB" sz="1400" b="1" i="0" u="none" strike="noStrike" kern="1200" cap="none" spc="0" normalizeH="0" baseline="0" noProof="0" err="1">
                <a:ln>
                  <a:noFill/>
                </a:ln>
                <a:solidFill>
                  <a:srgbClr val="0000C9"/>
                </a:solidFill>
                <a:effectLst/>
                <a:uLnTx/>
                <a:uFillTx/>
                <a:latin typeface="Pfizer Tomorrow"/>
              </a:rPr>
              <a:t>hastanede</a:t>
            </a:r>
            <a:r>
              <a:rPr kumimoji="0" lang="en-GB" sz="1400" b="1" i="0" u="none" strike="noStrike" kern="1200" cap="none" spc="0" normalizeH="0" baseline="0" noProof="0">
                <a:ln>
                  <a:noFill/>
                </a:ln>
                <a:solidFill>
                  <a:srgbClr val="0000C9"/>
                </a:solidFill>
                <a:effectLst/>
                <a:uLnTx/>
                <a:uFillTx/>
                <a:latin typeface="Pfizer Tomorrow"/>
              </a:rPr>
              <a:t> </a:t>
            </a:r>
            <a:r>
              <a:rPr kumimoji="0" lang="en-GB" sz="1400" b="1" i="0" u="none" strike="noStrike" kern="1200" cap="none" spc="0" normalizeH="0" baseline="0" noProof="0" err="1">
                <a:ln>
                  <a:noFill/>
                </a:ln>
                <a:solidFill>
                  <a:srgbClr val="0000C9"/>
                </a:solidFill>
                <a:effectLst/>
                <a:uLnTx/>
                <a:uFillTx/>
                <a:latin typeface="Pfizer Tomorrow"/>
              </a:rPr>
              <a:t>yatan</a:t>
            </a:r>
            <a:r>
              <a:rPr kumimoji="0" lang="en-GB" sz="1400" b="1" i="0" u="none" strike="noStrike" kern="1200" cap="none" spc="0" normalizeH="0" baseline="0" noProof="0">
                <a:ln>
                  <a:noFill/>
                </a:ln>
                <a:solidFill>
                  <a:srgbClr val="0000C9"/>
                </a:solidFill>
                <a:effectLst/>
                <a:uLnTx/>
                <a:uFillTx/>
                <a:latin typeface="Pfizer Tomorrow"/>
              </a:rPr>
              <a:t> </a:t>
            </a:r>
            <a:r>
              <a:rPr kumimoji="0" lang="en-GB" sz="1400" b="1" i="0" u="none" strike="noStrike" kern="1200" cap="none" spc="0" normalizeH="0" baseline="0" noProof="0" err="1">
                <a:ln>
                  <a:noFill/>
                </a:ln>
                <a:solidFill>
                  <a:srgbClr val="0000C9"/>
                </a:solidFill>
                <a:effectLst/>
                <a:uLnTx/>
                <a:uFillTx/>
                <a:latin typeface="Pfizer Tomorrow"/>
              </a:rPr>
              <a:t>yetişkinlerde</a:t>
            </a:r>
            <a:r>
              <a:rPr kumimoji="0" lang="en-GB" sz="1400" b="1" i="0" u="none" strike="noStrike" kern="1200" cap="none" spc="0" normalizeH="0" baseline="0" noProof="0">
                <a:ln>
                  <a:noFill/>
                </a:ln>
                <a:solidFill>
                  <a:srgbClr val="0000C9"/>
                </a:solidFill>
                <a:effectLst/>
                <a:uLnTx/>
                <a:uFillTx/>
                <a:latin typeface="Pfizer Tomorrow"/>
              </a:rPr>
              <a:t> ASYE </a:t>
            </a:r>
            <a:r>
              <a:rPr kumimoji="0" lang="en-GB" sz="1400" b="1" i="0" u="none" strike="noStrike" kern="1200" cap="none" spc="0" normalizeH="0" baseline="0" noProof="0" err="1">
                <a:ln>
                  <a:noFill/>
                </a:ln>
                <a:solidFill>
                  <a:srgbClr val="0000C9"/>
                </a:solidFill>
                <a:effectLst/>
                <a:uLnTx/>
                <a:uFillTx/>
                <a:latin typeface="Pfizer Tomorrow"/>
              </a:rPr>
              <a:t>insidansı</a:t>
            </a:r>
            <a:r>
              <a:rPr lang="en-GB" sz="1400" b="1">
                <a:solidFill>
                  <a:srgbClr val="0000C9"/>
                </a:solidFill>
                <a:latin typeface="Pfizer Tomorrow"/>
              </a:rPr>
              <a:t> (2016</a:t>
            </a:r>
            <a:r>
              <a:rPr lang="en-GB" sz="1400" b="1">
                <a:solidFill>
                  <a:srgbClr val="0000C9"/>
                </a:solidFill>
                <a:latin typeface="Pfizer Tomorrow"/>
                <a:cs typeface="Arial" panose="020B0604020202020204" pitchFamily="34" charset="0"/>
              </a:rPr>
              <a:t>‒</a:t>
            </a:r>
            <a:r>
              <a:rPr lang="en-GB" sz="1400" b="1">
                <a:solidFill>
                  <a:srgbClr val="0000C9"/>
                </a:solidFill>
                <a:latin typeface="Pfizer Tomorrow"/>
              </a:rPr>
              <a:t>2019)</a:t>
            </a:r>
            <a:r>
              <a:rPr lang="en-GB" sz="1400" b="1" baseline="30000">
                <a:solidFill>
                  <a:srgbClr val="0000C9"/>
                </a:solidFill>
                <a:latin typeface="Pfizer Tomorrow"/>
              </a:rPr>
              <a:t>2,</a:t>
            </a:r>
            <a:r>
              <a:rPr lang="en-GB" sz="1400" b="1" baseline="30000">
                <a:solidFill>
                  <a:srgbClr val="0000C9"/>
                </a:solidFill>
                <a:latin typeface="Arial" panose="020B0604020202020204" pitchFamily="34" charset="0"/>
                <a:cs typeface="Arial" panose="020B0604020202020204" pitchFamily="34" charset="0"/>
              </a:rPr>
              <a:t>‡</a:t>
            </a:r>
            <a:endParaRPr kumimoji="0" lang="en-GB" sz="1400" b="1" i="0" u="none" strike="noStrike" kern="1200" cap="none" spc="0" normalizeH="0" baseline="30000" noProof="0">
              <a:ln>
                <a:noFill/>
              </a:ln>
              <a:solidFill>
                <a:srgbClr val="0000C9"/>
              </a:solidFill>
              <a:effectLst/>
              <a:uLnTx/>
              <a:uFillTx/>
              <a:latin typeface="Pfizer Tomorrow"/>
            </a:endParaRPr>
          </a:p>
        </p:txBody>
      </p:sp>
      <p:sp>
        <p:nvSpPr>
          <p:cNvPr id="13" name="TextBox 12">
            <a:extLst>
              <a:ext uri="{FF2B5EF4-FFF2-40B4-BE49-F238E27FC236}">
                <a16:creationId xmlns:a16="http://schemas.microsoft.com/office/drawing/2014/main" id="{6E85D227-C8C1-3F45-2E5A-2EDA3B152276}"/>
              </a:ext>
            </a:extLst>
          </p:cNvPr>
          <p:cNvSpPr txBox="1"/>
          <p:nvPr/>
        </p:nvSpPr>
        <p:spPr>
          <a:xfrm rot="16200000">
            <a:off x="5229225" y="2755034"/>
            <a:ext cx="2095500" cy="400110"/>
          </a:xfrm>
          <a:prstGeom prst="rect">
            <a:avLst/>
          </a:prstGeom>
          <a:noFill/>
        </p:spPr>
        <p:txBody>
          <a:bodyPr wrap="square"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lumMod val="65000"/>
                    <a:lumOff val="35000"/>
                  </a:srgbClr>
                </a:solidFill>
                <a:effectLst/>
                <a:uLnTx/>
                <a:uFillTx/>
                <a:latin typeface="Pfizer Diatype Office"/>
              </a:rPr>
              <a:t>100.000 </a:t>
            </a:r>
            <a:r>
              <a:rPr kumimoji="0" lang="en-GB" sz="1000" b="1" i="0" u="none" strike="noStrike" kern="1200" cap="none" spc="0" normalizeH="0" baseline="0" noProof="0" err="1">
                <a:ln>
                  <a:noFill/>
                </a:ln>
                <a:solidFill>
                  <a:srgbClr val="000000">
                    <a:lumMod val="65000"/>
                    <a:lumOff val="35000"/>
                  </a:srgbClr>
                </a:solidFill>
                <a:effectLst/>
                <a:uLnTx/>
                <a:uFillTx/>
                <a:latin typeface="Pfizer Diatype Office"/>
              </a:rPr>
              <a:t>kişi</a:t>
            </a:r>
            <a:r>
              <a:rPr kumimoji="0" lang="en-GB" sz="1000" b="1" i="0" u="none" strike="noStrike" kern="1200" cap="none" spc="0" normalizeH="0" baseline="0" noProof="0">
                <a:ln>
                  <a:noFill/>
                </a:ln>
                <a:solidFill>
                  <a:srgbClr val="000000">
                    <a:lumMod val="65000"/>
                    <a:lumOff val="35000"/>
                  </a:srgbClr>
                </a:solidFill>
                <a:effectLst/>
                <a:uLnTx/>
                <a:uFillTx/>
                <a:latin typeface="Pfizer Diatype Office"/>
              </a:rPr>
              <a:t>-yıl başına görülme sıklığı oranları</a:t>
            </a:r>
          </a:p>
        </p:txBody>
      </p:sp>
      <p:sp>
        <p:nvSpPr>
          <p:cNvPr id="14" name="TextBox 13">
            <a:extLst>
              <a:ext uri="{FF2B5EF4-FFF2-40B4-BE49-F238E27FC236}">
                <a16:creationId xmlns:a16="http://schemas.microsoft.com/office/drawing/2014/main" id="{6D5CAD6A-0694-2AB2-D958-25223551B4CC}"/>
              </a:ext>
            </a:extLst>
          </p:cNvPr>
          <p:cNvSpPr txBox="1"/>
          <p:nvPr/>
        </p:nvSpPr>
        <p:spPr>
          <a:xfrm rot="16200000">
            <a:off x="-453820" y="2755034"/>
            <a:ext cx="2095500" cy="400110"/>
          </a:xfrm>
          <a:prstGeom prst="rect">
            <a:avLst/>
          </a:prstGeom>
          <a:noFill/>
        </p:spPr>
        <p:txBody>
          <a:bodyPr wrap="square" rtlCol="0">
            <a:spAutoFit/>
          </a:bodyPr>
          <a:lstStyle/>
          <a:p>
            <a:pPr marL="0" marR="0" lvl="0" indent="0" algn="ctr" defTabSz="22852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err="1">
                <a:ln>
                  <a:noFill/>
                </a:ln>
                <a:solidFill>
                  <a:srgbClr val="000000">
                    <a:lumMod val="65000"/>
                    <a:lumOff val="35000"/>
                  </a:srgbClr>
                </a:solidFill>
                <a:effectLst/>
                <a:uLnTx/>
                <a:uFillTx/>
                <a:latin typeface="Pfizer Diatype Office"/>
              </a:rPr>
              <a:t>Kişi</a:t>
            </a:r>
            <a:r>
              <a:rPr kumimoji="0" lang="en-GB" sz="1000" b="1" i="0" u="none" strike="noStrike" kern="1200" cap="none" spc="0" normalizeH="0" baseline="0" noProof="0">
                <a:ln>
                  <a:noFill/>
                </a:ln>
                <a:solidFill>
                  <a:srgbClr val="000000">
                    <a:lumMod val="65000"/>
                    <a:lumOff val="35000"/>
                  </a:srgbClr>
                </a:solidFill>
                <a:effectLst/>
                <a:uLnTx/>
                <a:uFillTx/>
                <a:latin typeface="Pfizer Diatype Office"/>
              </a:rPr>
              <a:t> </a:t>
            </a:r>
            <a:r>
              <a:rPr kumimoji="0" lang="en-GB" sz="1000" b="1" i="0" u="none" strike="noStrike" kern="1200" cap="none" spc="0" normalizeH="0" baseline="0" noProof="0" err="1">
                <a:ln>
                  <a:noFill/>
                </a:ln>
                <a:solidFill>
                  <a:srgbClr val="000000">
                    <a:lumMod val="65000"/>
                    <a:lumOff val="35000"/>
                  </a:srgbClr>
                </a:solidFill>
                <a:effectLst/>
                <a:uLnTx/>
                <a:uFillTx/>
                <a:latin typeface="Pfizer Diatype Office"/>
              </a:rPr>
              <a:t>başına</a:t>
            </a:r>
            <a:r>
              <a:rPr kumimoji="0" lang="en-GB" sz="1000" b="1" i="0" u="none" strike="noStrike" kern="1200" cap="none" spc="0" normalizeH="0" baseline="0" noProof="0">
                <a:ln>
                  <a:noFill/>
                </a:ln>
                <a:solidFill>
                  <a:srgbClr val="000000">
                    <a:lumMod val="65000"/>
                    <a:lumOff val="35000"/>
                  </a:srgbClr>
                </a:solidFill>
                <a:effectLst/>
                <a:uLnTx/>
                <a:uFillTx/>
                <a:latin typeface="Pfizer Diatype Office"/>
              </a:rPr>
              <a:t> </a:t>
            </a:r>
            <a:r>
              <a:rPr kumimoji="0" lang="en-GB" sz="1000" b="1" i="0" u="none" strike="noStrike" kern="1200" cap="none" spc="0" normalizeH="0" baseline="0" noProof="0" err="1">
                <a:ln>
                  <a:noFill/>
                </a:ln>
                <a:solidFill>
                  <a:srgbClr val="000000">
                    <a:lumMod val="65000"/>
                    <a:lumOff val="35000"/>
                  </a:srgbClr>
                </a:solidFill>
                <a:effectLst/>
                <a:uLnTx/>
                <a:uFillTx/>
                <a:latin typeface="Pfizer Diatype Office"/>
              </a:rPr>
              <a:t>görülme</a:t>
            </a:r>
            <a:r>
              <a:rPr kumimoji="0" lang="en-GB" sz="1000" b="1" i="0" u="none" strike="noStrike" kern="1200" cap="none" spc="0" normalizeH="0" baseline="0" noProof="0">
                <a:ln>
                  <a:noFill/>
                </a:ln>
                <a:solidFill>
                  <a:srgbClr val="000000">
                    <a:lumMod val="65000"/>
                    <a:lumOff val="35000"/>
                  </a:srgbClr>
                </a:solidFill>
                <a:effectLst/>
                <a:uLnTx/>
                <a:uFillTx/>
                <a:latin typeface="Pfizer Diatype Office"/>
              </a:rPr>
              <a:t> </a:t>
            </a:r>
            <a:r>
              <a:rPr kumimoji="0" lang="en-GB" sz="1000" b="1" i="0" u="none" strike="noStrike" kern="1200" cap="none" spc="0" normalizeH="0" baseline="0" noProof="0" err="1">
                <a:ln>
                  <a:noFill/>
                </a:ln>
                <a:solidFill>
                  <a:srgbClr val="000000">
                    <a:lumMod val="65000"/>
                    <a:lumOff val="35000"/>
                  </a:srgbClr>
                </a:solidFill>
                <a:effectLst/>
                <a:uLnTx/>
                <a:uFillTx/>
                <a:latin typeface="Pfizer Diatype Office"/>
              </a:rPr>
              <a:t>sıklığı</a:t>
            </a:r>
            <a:r>
              <a:rPr kumimoji="0" lang="en-GB" sz="1000" b="1" i="0" u="none" strike="noStrike" kern="1200" cap="none" spc="0" normalizeH="0" baseline="0" noProof="0">
                <a:ln>
                  <a:noFill/>
                </a:ln>
                <a:solidFill>
                  <a:srgbClr val="000000">
                    <a:lumMod val="65000"/>
                    <a:lumOff val="35000"/>
                  </a:srgbClr>
                </a:solidFill>
                <a:effectLst/>
                <a:uLnTx/>
                <a:uFillTx/>
                <a:latin typeface="Pfizer Diatype Office"/>
              </a:rPr>
              <a:t> </a:t>
            </a:r>
            <a:r>
              <a:rPr kumimoji="0" lang="en-GB" sz="1000" b="1" i="0" u="none" strike="noStrike" kern="1200" cap="none" spc="0" normalizeH="0" baseline="0" noProof="0" err="1">
                <a:ln>
                  <a:noFill/>
                </a:ln>
                <a:solidFill>
                  <a:srgbClr val="000000">
                    <a:lumMod val="65000"/>
                    <a:lumOff val="35000"/>
                  </a:srgbClr>
                </a:solidFill>
                <a:effectLst/>
                <a:uLnTx/>
                <a:uFillTx/>
                <a:latin typeface="Pfizer Diatype Office"/>
              </a:rPr>
              <a:t>oranı</a:t>
            </a:r>
            <a:r>
              <a:rPr kumimoji="0" lang="en-GB" sz="1000" b="1" i="0" u="none" strike="noStrike" kern="1200" cap="none" spc="0" normalizeH="0" baseline="0" noProof="0">
                <a:ln>
                  <a:noFill/>
                </a:ln>
                <a:solidFill>
                  <a:srgbClr val="000000">
                    <a:lumMod val="65000"/>
                    <a:lumOff val="35000"/>
                  </a:srgbClr>
                </a:solidFill>
                <a:effectLst/>
                <a:uLnTx/>
                <a:uFillTx/>
                <a:latin typeface="Pfizer Diatype Office"/>
              </a:rPr>
              <a:t> </a:t>
            </a:r>
            <a:br>
              <a:rPr kumimoji="0" lang="en-GB" sz="1000" b="1" i="0" u="none" strike="noStrike" kern="1200" cap="none" spc="0" normalizeH="0" baseline="0" noProof="0">
                <a:ln>
                  <a:noFill/>
                </a:ln>
                <a:solidFill>
                  <a:srgbClr val="000000">
                    <a:lumMod val="65000"/>
                    <a:lumOff val="35000"/>
                  </a:srgbClr>
                </a:solidFill>
                <a:effectLst/>
                <a:uLnTx/>
                <a:uFillTx/>
                <a:latin typeface="Pfizer Diatype Office"/>
              </a:rPr>
            </a:br>
            <a:r>
              <a:rPr kumimoji="0" lang="en-GB" sz="1000" b="1" i="0" u="none" strike="noStrike" kern="1200" cap="none" spc="0" normalizeH="0" baseline="0" noProof="0">
                <a:ln>
                  <a:noFill/>
                </a:ln>
                <a:solidFill>
                  <a:srgbClr val="000000">
                    <a:lumMod val="65000"/>
                    <a:lumOff val="35000"/>
                  </a:srgbClr>
                </a:solidFill>
                <a:effectLst/>
                <a:uLnTx/>
                <a:uFillTx/>
                <a:latin typeface="Pfizer Diatype Office"/>
              </a:rPr>
              <a:t>(100.000 </a:t>
            </a:r>
            <a:r>
              <a:rPr kumimoji="0" lang="en-GB" sz="1000" b="1" i="0" u="none" strike="noStrike" kern="1200" cap="none" spc="0" normalizeH="0" baseline="0" noProof="0" err="1">
                <a:ln>
                  <a:noFill/>
                </a:ln>
                <a:solidFill>
                  <a:srgbClr val="000000">
                    <a:lumMod val="65000"/>
                    <a:lumOff val="35000"/>
                  </a:srgbClr>
                </a:solidFill>
                <a:effectLst/>
                <a:uLnTx/>
                <a:uFillTx/>
                <a:latin typeface="Pfizer Diatype Office"/>
              </a:rPr>
              <a:t>kişide</a:t>
            </a:r>
            <a:r>
              <a:rPr kumimoji="0" lang="en-GB" sz="1000" b="1" i="0" u="none" strike="noStrike" kern="1200" cap="none" spc="0" normalizeH="0" baseline="0" noProof="0">
                <a:ln>
                  <a:noFill/>
                </a:ln>
                <a:solidFill>
                  <a:srgbClr val="000000">
                    <a:lumMod val="65000"/>
                    <a:lumOff val="35000"/>
                  </a:srgbClr>
                </a:solidFill>
                <a:effectLst/>
                <a:uLnTx/>
                <a:uFillTx/>
                <a:latin typeface="Pfizer Diatype Office"/>
              </a:rPr>
              <a:t>)</a:t>
            </a:r>
          </a:p>
        </p:txBody>
      </p:sp>
      <p:sp>
        <p:nvSpPr>
          <p:cNvPr id="3" name="TextBox 2">
            <a:extLst>
              <a:ext uri="{FF2B5EF4-FFF2-40B4-BE49-F238E27FC236}">
                <a16:creationId xmlns:a16="http://schemas.microsoft.com/office/drawing/2014/main" id="{236B8598-6B02-4786-51F6-01ACBB870936}"/>
              </a:ext>
            </a:extLst>
          </p:cNvPr>
          <p:cNvSpPr txBox="1"/>
          <p:nvPr/>
        </p:nvSpPr>
        <p:spPr>
          <a:xfrm>
            <a:off x="577181" y="5130309"/>
            <a:ext cx="10641787" cy="1246495"/>
          </a:xfrm>
          <a:prstGeom prst="rect">
            <a:avLst/>
          </a:prstGeom>
          <a:noFill/>
        </p:spPr>
        <p:txBody>
          <a:bodyPr wrap="square" lIns="0" tIns="0" rIns="0" bIns="0" rtlCol="0" anchor="b">
            <a:spAutoFit/>
          </a:bodyPr>
          <a:lstStyle/>
          <a:p>
            <a:pPr>
              <a:defRPr/>
            </a:pPr>
            <a:r>
              <a:rPr lang="en-GB" sz="800">
                <a:solidFill>
                  <a:schemeClr val="tx1">
                    <a:lumMod val="50000"/>
                    <a:lumOff val="50000"/>
                  </a:schemeClr>
                </a:solidFill>
              </a:rPr>
              <a:t>*</a:t>
            </a:r>
            <a:r>
              <a:rPr lang="en-GB" sz="800" err="1">
                <a:solidFill>
                  <a:schemeClr val="tx1">
                    <a:lumMod val="50000"/>
                    <a:lumOff val="50000"/>
                  </a:schemeClr>
                </a:solidFill>
              </a:rPr>
              <a:t>Ayrıca</a:t>
            </a:r>
            <a:r>
              <a:rPr lang="en-GB" sz="800">
                <a:solidFill>
                  <a:schemeClr val="tx1">
                    <a:lumMod val="50000"/>
                    <a:lumOff val="50000"/>
                  </a:schemeClr>
                </a:solidFill>
              </a:rPr>
              <a:t> “alt </a:t>
            </a:r>
            <a:r>
              <a:rPr lang="en-GB" sz="800" err="1">
                <a:solidFill>
                  <a:schemeClr val="tx1">
                    <a:lumMod val="50000"/>
                    <a:lumOff val="50000"/>
                  </a:schemeClr>
                </a:solidFill>
              </a:rPr>
              <a:t>solunum</a:t>
            </a:r>
            <a:r>
              <a:rPr lang="en-GB" sz="800">
                <a:solidFill>
                  <a:schemeClr val="tx1">
                    <a:lumMod val="50000"/>
                    <a:lumOff val="50000"/>
                  </a:schemeClr>
                </a:solidFill>
              </a:rPr>
              <a:t> </a:t>
            </a:r>
            <a:r>
              <a:rPr lang="en-GB" sz="800" err="1">
                <a:solidFill>
                  <a:schemeClr val="tx1">
                    <a:lumMod val="50000"/>
                    <a:lumOff val="50000"/>
                  </a:schemeClr>
                </a:solidFill>
              </a:rPr>
              <a:t>yolu</a:t>
            </a:r>
            <a:r>
              <a:rPr lang="en-GB" sz="800">
                <a:solidFill>
                  <a:schemeClr val="tx1">
                    <a:lumMod val="50000"/>
                    <a:lumOff val="50000"/>
                  </a:schemeClr>
                </a:solidFill>
              </a:rPr>
              <a:t> </a:t>
            </a:r>
            <a:r>
              <a:rPr lang="en-GB" sz="800" err="1">
                <a:solidFill>
                  <a:schemeClr val="tx1">
                    <a:lumMod val="50000"/>
                    <a:lumOff val="50000"/>
                  </a:schemeClr>
                </a:solidFill>
              </a:rPr>
              <a:t>hastalığı</a:t>
            </a:r>
            <a:r>
              <a:rPr lang="en-GB" sz="800">
                <a:solidFill>
                  <a:schemeClr val="tx1">
                    <a:lumMod val="50000"/>
                    <a:lumOff val="50000"/>
                  </a:schemeClr>
                </a:solidFill>
              </a:rPr>
              <a:t>" </a:t>
            </a:r>
            <a:r>
              <a:rPr lang="en-GB" sz="800" err="1">
                <a:solidFill>
                  <a:schemeClr val="tx1">
                    <a:lumMod val="50000"/>
                    <a:lumOff val="50000"/>
                  </a:schemeClr>
                </a:solidFill>
              </a:rPr>
              <a:t>olarak</a:t>
            </a:r>
            <a:r>
              <a:rPr lang="en-GB" sz="800">
                <a:solidFill>
                  <a:schemeClr val="tx1">
                    <a:lumMod val="50000"/>
                    <a:lumOff val="50000"/>
                  </a:schemeClr>
                </a:solidFill>
              </a:rPr>
              <a:t> da </a:t>
            </a:r>
            <a:r>
              <a:rPr lang="en-GB" sz="800" err="1">
                <a:solidFill>
                  <a:schemeClr val="tx1">
                    <a:lumMod val="50000"/>
                    <a:lumOff val="50000"/>
                  </a:schemeClr>
                </a:solidFill>
              </a:rPr>
              <a:t>ifade</a:t>
            </a:r>
            <a:r>
              <a:rPr lang="en-GB" sz="800">
                <a:solidFill>
                  <a:schemeClr val="tx1">
                    <a:lumMod val="50000"/>
                    <a:lumOff val="50000"/>
                  </a:schemeClr>
                </a:solidFill>
              </a:rPr>
              <a:t> </a:t>
            </a:r>
            <a:r>
              <a:rPr lang="en-GB" sz="800" err="1">
                <a:solidFill>
                  <a:schemeClr val="tx1">
                    <a:lumMod val="50000"/>
                    <a:lumOff val="50000"/>
                  </a:schemeClr>
                </a:solidFill>
              </a:rPr>
              <a:t>edilir</a:t>
            </a:r>
            <a:r>
              <a:rPr lang="en-GB" sz="800">
                <a:solidFill>
                  <a:schemeClr val="tx1">
                    <a:lumMod val="50000"/>
                    <a:lumOff val="50000"/>
                  </a:schemeClr>
                </a:solidFill>
              </a:rPr>
              <a:t>. </a:t>
            </a:r>
            <a:r>
              <a:rPr lang="en-GB" sz="800" baseline="30000">
                <a:solidFill>
                  <a:schemeClr val="tx1">
                    <a:lumMod val="50000"/>
                    <a:lumOff val="50000"/>
                  </a:schemeClr>
                </a:solidFill>
              </a:rPr>
              <a:t>†</a:t>
            </a:r>
            <a:r>
              <a:rPr lang="en-GB" sz="800">
                <a:solidFill>
                  <a:schemeClr val="tx1">
                    <a:lumMod val="50000"/>
                    <a:lumOff val="50000"/>
                  </a:schemeClr>
                </a:solidFill>
              </a:rPr>
              <a:t>ASYE, Global </a:t>
            </a:r>
            <a:r>
              <a:rPr lang="en-GB" sz="800" err="1">
                <a:solidFill>
                  <a:schemeClr val="tx1">
                    <a:lumMod val="50000"/>
                    <a:lumOff val="50000"/>
                  </a:schemeClr>
                </a:solidFill>
              </a:rPr>
              <a:t>Hastalık</a:t>
            </a:r>
            <a:r>
              <a:rPr lang="en-GB" sz="800">
                <a:solidFill>
                  <a:schemeClr val="tx1">
                    <a:lumMod val="50000"/>
                    <a:lumOff val="50000"/>
                  </a:schemeClr>
                </a:solidFill>
              </a:rPr>
              <a:t> </a:t>
            </a:r>
            <a:r>
              <a:rPr lang="en-GB" sz="800" err="1">
                <a:solidFill>
                  <a:schemeClr val="tx1">
                    <a:lumMod val="50000"/>
                    <a:lumOff val="50000"/>
                  </a:schemeClr>
                </a:solidFill>
              </a:rPr>
              <a:t>Yükü</a:t>
            </a:r>
            <a:r>
              <a:rPr lang="en-GB" sz="800">
                <a:solidFill>
                  <a:schemeClr val="tx1">
                    <a:lumMod val="50000"/>
                    <a:lumOff val="50000"/>
                  </a:schemeClr>
                </a:solidFill>
              </a:rPr>
              <a:t>, </a:t>
            </a:r>
            <a:r>
              <a:rPr lang="en-GB" sz="800" err="1">
                <a:solidFill>
                  <a:schemeClr val="tx1">
                    <a:lumMod val="50000"/>
                    <a:lumOff val="50000"/>
                  </a:schemeClr>
                </a:solidFill>
              </a:rPr>
              <a:t>Yaralanmalar</a:t>
            </a:r>
            <a:r>
              <a:rPr lang="en-GB" sz="800">
                <a:solidFill>
                  <a:schemeClr val="tx1">
                    <a:lumMod val="50000"/>
                    <a:lumOff val="50000"/>
                  </a:schemeClr>
                </a:solidFill>
              </a:rPr>
              <a:t> </a:t>
            </a:r>
            <a:r>
              <a:rPr lang="en-GB" sz="800" err="1">
                <a:solidFill>
                  <a:schemeClr val="tx1">
                    <a:lumMod val="50000"/>
                    <a:lumOff val="50000"/>
                  </a:schemeClr>
                </a:solidFill>
              </a:rPr>
              <a:t>ve</a:t>
            </a:r>
            <a:r>
              <a:rPr lang="en-GB" sz="800">
                <a:solidFill>
                  <a:schemeClr val="tx1">
                    <a:lumMod val="50000"/>
                    <a:lumOff val="50000"/>
                  </a:schemeClr>
                </a:solidFill>
              </a:rPr>
              <a:t> Risk </a:t>
            </a:r>
            <a:r>
              <a:rPr lang="en-GB" sz="800" err="1">
                <a:solidFill>
                  <a:schemeClr val="tx1">
                    <a:lumMod val="50000"/>
                    <a:lumOff val="50000"/>
                  </a:schemeClr>
                </a:solidFill>
              </a:rPr>
              <a:t>Faktörleri</a:t>
            </a:r>
            <a:r>
              <a:rPr lang="en-GB" sz="800">
                <a:solidFill>
                  <a:schemeClr val="tx1">
                    <a:lumMod val="50000"/>
                    <a:lumOff val="50000"/>
                  </a:schemeClr>
                </a:solidFill>
              </a:rPr>
              <a:t> </a:t>
            </a:r>
            <a:r>
              <a:rPr lang="en-GB" sz="800" err="1">
                <a:solidFill>
                  <a:schemeClr val="tx1">
                    <a:lumMod val="50000"/>
                    <a:lumOff val="50000"/>
                  </a:schemeClr>
                </a:solidFill>
              </a:rPr>
              <a:t>Çalışmasına</a:t>
            </a:r>
            <a:r>
              <a:rPr lang="en-GB" sz="800">
                <a:solidFill>
                  <a:schemeClr val="tx1">
                    <a:lumMod val="50000"/>
                    <a:lumOff val="50000"/>
                  </a:schemeClr>
                </a:solidFill>
              </a:rPr>
              <a:t> </a:t>
            </a:r>
            <a:r>
              <a:rPr lang="en-GB" sz="800" err="1">
                <a:solidFill>
                  <a:schemeClr val="tx1">
                    <a:lumMod val="50000"/>
                    <a:lumOff val="50000"/>
                  </a:schemeClr>
                </a:solidFill>
              </a:rPr>
              <a:t>göre</a:t>
            </a:r>
            <a:r>
              <a:rPr lang="en-GB" sz="800">
                <a:solidFill>
                  <a:schemeClr val="tx1">
                    <a:lumMod val="50000"/>
                    <a:lumOff val="50000"/>
                  </a:schemeClr>
                </a:solidFill>
              </a:rPr>
              <a:t>, COVID-19 </a:t>
            </a:r>
            <a:r>
              <a:rPr lang="en-GB" sz="800" err="1">
                <a:solidFill>
                  <a:schemeClr val="tx1">
                    <a:lumMod val="50000"/>
                    <a:lumOff val="50000"/>
                  </a:schemeClr>
                </a:solidFill>
              </a:rPr>
              <a:t>hariç</a:t>
            </a:r>
            <a:r>
              <a:rPr lang="en-GB" sz="800">
                <a:solidFill>
                  <a:schemeClr val="tx1">
                    <a:lumMod val="50000"/>
                    <a:lumOff val="50000"/>
                  </a:schemeClr>
                </a:solidFill>
              </a:rPr>
              <a:t> </a:t>
            </a:r>
            <a:r>
              <a:rPr lang="en-GB" sz="800" err="1">
                <a:solidFill>
                  <a:schemeClr val="tx1">
                    <a:lumMod val="50000"/>
                    <a:lumOff val="50000"/>
                  </a:schemeClr>
                </a:solidFill>
              </a:rPr>
              <a:t>olmak</a:t>
            </a:r>
            <a:r>
              <a:rPr lang="en-GB" sz="800">
                <a:solidFill>
                  <a:schemeClr val="tx1">
                    <a:lumMod val="50000"/>
                    <a:lumOff val="50000"/>
                  </a:schemeClr>
                </a:solidFill>
              </a:rPr>
              <a:t> </a:t>
            </a:r>
            <a:r>
              <a:rPr lang="en-GB" sz="800" err="1">
                <a:solidFill>
                  <a:schemeClr val="tx1">
                    <a:lumMod val="50000"/>
                    <a:lumOff val="50000"/>
                  </a:schemeClr>
                </a:solidFill>
              </a:rPr>
              <a:t>üzere</a:t>
            </a:r>
            <a:r>
              <a:rPr lang="en-GB" sz="800">
                <a:solidFill>
                  <a:schemeClr val="tx1">
                    <a:lumMod val="50000"/>
                    <a:lumOff val="50000"/>
                  </a:schemeClr>
                </a:solidFill>
              </a:rPr>
              <a:t> </a:t>
            </a:r>
            <a:r>
              <a:rPr lang="en-GB" sz="800" err="1">
                <a:solidFill>
                  <a:schemeClr val="tx1">
                    <a:lumMod val="50000"/>
                    <a:lumOff val="50000"/>
                  </a:schemeClr>
                </a:solidFill>
              </a:rPr>
              <a:t>pnömoni</a:t>
            </a:r>
            <a:r>
              <a:rPr lang="en-GB" sz="800">
                <a:solidFill>
                  <a:schemeClr val="tx1">
                    <a:lumMod val="50000"/>
                    <a:lumOff val="50000"/>
                  </a:schemeClr>
                </a:solidFill>
              </a:rPr>
              <a:t> </a:t>
            </a:r>
            <a:r>
              <a:rPr lang="en-GB" sz="800" err="1">
                <a:solidFill>
                  <a:schemeClr val="tx1">
                    <a:lumMod val="50000"/>
                    <a:lumOff val="50000"/>
                  </a:schemeClr>
                </a:solidFill>
              </a:rPr>
              <a:t>veya</a:t>
            </a:r>
            <a:r>
              <a:rPr lang="en-GB" sz="800">
                <a:solidFill>
                  <a:schemeClr val="tx1">
                    <a:lumMod val="50000"/>
                    <a:lumOff val="50000"/>
                  </a:schemeClr>
                </a:solidFill>
              </a:rPr>
              <a:t> </a:t>
            </a:r>
            <a:r>
              <a:rPr lang="en-GB" sz="800" err="1">
                <a:solidFill>
                  <a:schemeClr val="tx1">
                    <a:lumMod val="50000"/>
                    <a:lumOff val="50000"/>
                  </a:schemeClr>
                </a:solidFill>
              </a:rPr>
              <a:t>bronşiolit</a:t>
            </a:r>
            <a:r>
              <a:rPr lang="en-GB" sz="800">
                <a:solidFill>
                  <a:schemeClr val="tx1">
                    <a:lumMod val="50000"/>
                    <a:lumOff val="50000"/>
                  </a:schemeClr>
                </a:solidFill>
              </a:rPr>
              <a:t> </a:t>
            </a:r>
            <a:r>
              <a:rPr lang="en-GB" sz="800" err="1">
                <a:solidFill>
                  <a:schemeClr val="tx1">
                    <a:lumMod val="50000"/>
                    <a:lumOff val="50000"/>
                  </a:schemeClr>
                </a:solidFill>
              </a:rPr>
              <a:t>olarka</a:t>
            </a:r>
            <a:r>
              <a:rPr lang="en-GB" sz="800">
                <a:solidFill>
                  <a:schemeClr val="tx1">
                    <a:lumMod val="50000"/>
                    <a:lumOff val="50000"/>
                  </a:schemeClr>
                </a:solidFill>
              </a:rPr>
              <a:t> </a:t>
            </a:r>
            <a:r>
              <a:rPr lang="en-GB" sz="800" err="1">
                <a:solidFill>
                  <a:schemeClr val="tx1">
                    <a:lumMod val="50000"/>
                    <a:lumOff val="50000"/>
                  </a:schemeClr>
                </a:solidFill>
              </a:rPr>
              <a:t>tanımlanmaktadır</a:t>
            </a:r>
            <a:r>
              <a:rPr lang="en-GB" sz="800">
                <a:solidFill>
                  <a:schemeClr val="tx1">
                    <a:lumMod val="50000"/>
                    <a:lumOff val="50000"/>
                  </a:schemeClr>
                </a:solidFill>
              </a:rPr>
              <a:t>. </a:t>
            </a:r>
            <a:r>
              <a:rPr lang="en-GB" sz="800" err="1">
                <a:solidFill>
                  <a:schemeClr val="tx1">
                    <a:lumMod val="50000"/>
                    <a:lumOff val="50000"/>
                  </a:schemeClr>
                </a:solidFill>
              </a:rPr>
              <a:t>Atfedilebilir</a:t>
            </a:r>
            <a:r>
              <a:rPr lang="en-GB" sz="800">
                <a:solidFill>
                  <a:schemeClr val="tx1">
                    <a:lumMod val="50000"/>
                    <a:lumOff val="50000"/>
                  </a:schemeClr>
                </a:solidFill>
              </a:rPr>
              <a:t> </a:t>
            </a:r>
            <a:r>
              <a:rPr lang="en-GB" sz="800" err="1">
                <a:solidFill>
                  <a:schemeClr val="tx1">
                    <a:lumMod val="50000"/>
                    <a:lumOff val="50000"/>
                  </a:schemeClr>
                </a:solidFill>
              </a:rPr>
              <a:t>patojenler</a:t>
            </a:r>
            <a:r>
              <a:rPr lang="en-GB" sz="800">
                <a:solidFill>
                  <a:schemeClr val="tx1">
                    <a:lumMod val="50000"/>
                    <a:lumOff val="50000"/>
                  </a:schemeClr>
                </a:solidFill>
              </a:rPr>
              <a:t> </a:t>
            </a:r>
            <a:r>
              <a:rPr lang="en-GB" sz="800" i="1">
                <a:solidFill>
                  <a:schemeClr val="tx1">
                    <a:lumMod val="50000"/>
                    <a:lumOff val="50000"/>
                  </a:schemeClr>
                </a:solidFill>
              </a:rPr>
              <a:t>Acinetobacter baumannii</a:t>
            </a:r>
            <a:r>
              <a:rPr lang="en-GB" sz="800">
                <a:solidFill>
                  <a:schemeClr val="tx1">
                    <a:lumMod val="50000"/>
                    <a:lumOff val="50000"/>
                  </a:schemeClr>
                </a:solidFill>
              </a:rPr>
              <a:t>, Chlamydia </a:t>
            </a:r>
            <a:r>
              <a:rPr lang="en-GB" sz="800" err="1">
                <a:solidFill>
                  <a:schemeClr val="tx1">
                    <a:lumMod val="50000"/>
                    <a:lumOff val="50000"/>
                  </a:schemeClr>
                </a:solidFill>
              </a:rPr>
              <a:t>spp</a:t>
            </a:r>
            <a:r>
              <a:rPr lang="en-GB" sz="800">
                <a:solidFill>
                  <a:schemeClr val="tx1">
                    <a:lumMod val="50000"/>
                    <a:lumOff val="50000"/>
                  </a:schemeClr>
                </a:solidFill>
              </a:rPr>
              <a:t>, Enterobacter </a:t>
            </a:r>
            <a:r>
              <a:rPr lang="en-GB" sz="800" err="1">
                <a:solidFill>
                  <a:schemeClr val="tx1">
                    <a:lumMod val="50000"/>
                    <a:lumOff val="50000"/>
                  </a:schemeClr>
                </a:solidFill>
              </a:rPr>
              <a:t>spp</a:t>
            </a:r>
            <a:r>
              <a:rPr lang="en-GB" sz="800">
                <a:solidFill>
                  <a:schemeClr val="tx1">
                    <a:lumMod val="50000"/>
                    <a:lumOff val="50000"/>
                  </a:schemeClr>
                </a:solidFill>
              </a:rPr>
              <a:t>, </a:t>
            </a:r>
            <a:r>
              <a:rPr lang="en-GB" sz="800" i="1">
                <a:solidFill>
                  <a:schemeClr val="tx1">
                    <a:lumMod val="50000"/>
                    <a:lumOff val="50000"/>
                  </a:schemeClr>
                </a:solidFill>
              </a:rPr>
              <a:t>Escherichia coli</a:t>
            </a:r>
            <a:r>
              <a:rPr lang="en-GB" sz="800">
                <a:solidFill>
                  <a:schemeClr val="tx1">
                    <a:lumMod val="50000"/>
                    <a:lumOff val="50000"/>
                  </a:schemeClr>
                </a:solidFill>
              </a:rPr>
              <a:t>, fungi, group B streptococcus, </a:t>
            </a:r>
            <a:r>
              <a:rPr lang="en-GB" sz="800" i="1">
                <a:solidFill>
                  <a:schemeClr val="tx1">
                    <a:lumMod val="50000"/>
                    <a:lumOff val="50000"/>
                  </a:schemeClr>
                </a:solidFill>
              </a:rPr>
              <a:t>Haemophilus influenzae</a:t>
            </a:r>
            <a:r>
              <a:rPr lang="en-GB" sz="800">
                <a:solidFill>
                  <a:schemeClr val="tx1">
                    <a:lumMod val="50000"/>
                    <a:lumOff val="50000"/>
                  </a:schemeClr>
                </a:solidFill>
              </a:rPr>
              <a:t>, influenza </a:t>
            </a:r>
            <a:r>
              <a:rPr lang="en-GB" sz="800" err="1">
                <a:solidFill>
                  <a:schemeClr val="tx1">
                    <a:lumMod val="50000"/>
                    <a:lumOff val="50000"/>
                  </a:schemeClr>
                </a:solidFill>
              </a:rPr>
              <a:t>virusleri</a:t>
            </a:r>
            <a:r>
              <a:rPr lang="en-GB" sz="800">
                <a:solidFill>
                  <a:schemeClr val="tx1">
                    <a:lumMod val="50000"/>
                    <a:lumOff val="50000"/>
                  </a:schemeClr>
                </a:solidFill>
              </a:rPr>
              <a:t>, </a:t>
            </a:r>
            <a:r>
              <a:rPr lang="en-GB" sz="800" i="1">
                <a:solidFill>
                  <a:schemeClr val="tx1">
                    <a:lumMod val="50000"/>
                    <a:lumOff val="50000"/>
                  </a:schemeClr>
                </a:solidFill>
              </a:rPr>
              <a:t>Klebsiella pneumoniae</a:t>
            </a:r>
            <a:r>
              <a:rPr lang="en-GB" sz="800">
                <a:solidFill>
                  <a:schemeClr val="tx1">
                    <a:lumMod val="50000"/>
                    <a:lumOff val="50000"/>
                  </a:schemeClr>
                </a:solidFill>
              </a:rPr>
              <a:t>, Legionella </a:t>
            </a:r>
            <a:r>
              <a:rPr lang="en-GB" sz="800" err="1">
                <a:solidFill>
                  <a:schemeClr val="tx1">
                    <a:lumMod val="50000"/>
                    <a:lumOff val="50000"/>
                  </a:schemeClr>
                </a:solidFill>
              </a:rPr>
              <a:t>spp</a:t>
            </a:r>
            <a:r>
              <a:rPr lang="en-GB" sz="800">
                <a:solidFill>
                  <a:schemeClr val="tx1">
                    <a:lumMod val="50000"/>
                    <a:lumOff val="50000"/>
                  </a:schemeClr>
                </a:solidFill>
              </a:rPr>
              <a:t>, Mycoplasma </a:t>
            </a:r>
            <a:r>
              <a:rPr lang="en-GB" sz="800" err="1">
                <a:solidFill>
                  <a:schemeClr val="tx1">
                    <a:lumMod val="50000"/>
                    <a:lumOff val="50000"/>
                  </a:schemeClr>
                </a:solidFill>
              </a:rPr>
              <a:t>spp</a:t>
            </a:r>
            <a:r>
              <a:rPr lang="en-GB" sz="800">
                <a:solidFill>
                  <a:schemeClr val="tx1">
                    <a:lumMod val="50000"/>
                    <a:lumOff val="50000"/>
                  </a:schemeClr>
                </a:solidFill>
              </a:rPr>
              <a:t>, </a:t>
            </a:r>
            <a:r>
              <a:rPr lang="en-GB" sz="800" err="1">
                <a:solidFill>
                  <a:schemeClr val="tx1">
                    <a:lumMod val="50000"/>
                    <a:lumOff val="50000"/>
                  </a:schemeClr>
                </a:solidFill>
              </a:rPr>
              <a:t>polimikrobial</a:t>
            </a:r>
            <a:r>
              <a:rPr lang="en-GB" sz="800">
                <a:solidFill>
                  <a:schemeClr val="tx1">
                    <a:lumMod val="50000"/>
                    <a:lumOff val="50000"/>
                  </a:schemeClr>
                </a:solidFill>
              </a:rPr>
              <a:t> </a:t>
            </a:r>
            <a:r>
              <a:rPr lang="en-GB" sz="800" err="1">
                <a:solidFill>
                  <a:schemeClr val="tx1">
                    <a:lumMod val="50000"/>
                    <a:lumOff val="50000"/>
                  </a:schemeClr>
                </a:solidFill>
              </a:rPr>
              <a:t>enfeksiyonlar</a:t>
            </a:r>
            <a:r>
              <a:rPr lang="en-GB" sz="800">
                <a:solidFill>
                  <a:schemeClr val="tx1">
                    <a:lumMod val="50000"/>
                    <a:lumOff val="50000"/>
                  </a:schemeClr>
                </a:solidFill>
              </a:rPr>
              <a:t>, </a:t>
            </a:r>
            <a:r>
              <a:rPr lang="en-GB" sz="800" i="1">
                <a:solidFill>
                  <a:schemeClr val="tx1">
                    <a:lumMod val="50000"/>
                    <a:lumOff val="50000"/>
                  </a:schemeClr>
                </a:solidFill>
              </a:rPr>
              <a:t>Pseudomonas aeruginosa</a:t>
            </a:r>
            <a:r>
              <a:rPr lang="en-GB" sz="800">
                <a:solidFill>
                  <a:schemeClr val="tx1">
                    <a:lumMod val="50000"/>
                    <a:lumOff val="50000"/>
                  </a:schemeClr>
                </a:solidFill>
              </a:rPr>
              <a:t>, respiratory syncytial virus (RSV), </a:t>
            </a:r>
            <a:r>
              <a:rPr lang="en-GB" sz="800" i="1">
                <a:solidFill>
                  <a:schemeClr val="tx1">
                    <a:lumMod val="50000"/>
                    <a:lumOff val="50000"/>
                  </a:schemeClr>
                </a:solidFill>
              </a:rPr>
              <a:t>Staphylococcus aureus</a:t>
            </a:r>
            <a:r>
              <a:rPr lang="en-GB" sz="800">
                <a:solidFill>
                  <a:schemeClr val="tx1">
                    <a:lumMod val="50000"/>
                    <a:lumOff val="50000"/>
                  </a:schemeClr>
                </a:solidFill>
              </a:rPr>
              <a:t>, </a:t>
            </a:r>
            <a:r>
              <a:rPr lang="en-GB" sz="800" i="1">
                <a:solidFill>
                  <a:schemeClr val="tx1">
                    <a:lumMod val="50000"/>
                    <a:lumOff val="50000"/>
                  </a:schemeClr>
                </a:solidFill>
              </a:rPr>
              <a:t>Streptococcus pneumoniae</a:t>
            </a:r>
            <a:r>
              <a:rPr lang="en-GB" sz="800">
                <a:solidFill>
                  <a:schemeClr val="tx1">
                    <a:lumMod val="50000"/>
                    <a:lumOff val="50000"/>
                  </a:schemeClr>
                </a:solidFill>
              </a:rPr>
              <a:t>,</a:t>
            </a:r>
            <a:r>
              <a:rPr lang="en-GB" sz="800" i="1">
                <a:solidFill>
                  <a:schemeClr val="tx1">
                    <a:lumMod val="50000"/>
                    <a:lumOff val="50000"/>
                  </a:schemeClr>
                </a:solidFill>
              </a:rPr>
              <a:t>, </a:t>
            </a:r>
            <a:r>
              <a:rPr lang="en-GB" sz="800" i="1" err="1">
                <a:solidFill>
                  <a:schemeClr val="tx1">
                    <a:lumMod val="50000"/>
                    <a:lumOff val="50000"/>
                  </a:schemeClr>
                </a:solidFill>
              </a:rPr>
              <a:t>ve</a:t>
            </a:r>
            <a:r>
              <a:rPr lang="en-GB" sz="800" i="1">
                <a:solidFill>
                  <a:schemeClr val="tx1">
                    <a:lumMod val="50000"/>
                    <a:lumOff val="50000"/>
                  </a:schemeClr>
                </a:solidFill>
              </a:rPr>
              <a:t> </a:t>
            </a:r>
            <a:r>
              <a:rPr lang="en-GB" sz="800" i="1" err="1">
                <a:solidFill>
                  <a:schemeClr val="tx1">
                    <a:lumMod val="50000"/>
                    <a:lumOff val="50000"/>
                  </a:schemeClr>
                </a:solidFill>
              </a:rPr>
              <a:t>diğer</a:t>
            </a:r>
            <a:r>
              <a:rPr lang="en-GB" sz="800" i="1">
                <a:solidFill>
                  <a:schemeClr val="tx1">
                    <a:lumMod val="50000"/>
                    <a:lumOff val="50000"/>
                  </a:schemeClr>
                </a:solidFill>
              </a:rPr>
              <a:t> </a:t>
            </a:r>
            <a:r>
              <a:rPr lang="en-GB" sz="800" i="1" err="1">
                <a:solidFill>
                  <a:schemeClr val="tx1">
                    <a:lumMod val="50000"/>
                    <a:lumOff val="50000"/>
                  </a:schemeClr>
                </a:solidFill>
              </a:rPr>
              <a:t>virüsler</a:t>
            </a:r>
            <a:r>
              <a:rPr lang="en-GB" sz="800" i="1">
                <a:solidFill>
                  <a:schemeClr val="tx1">
                    <a:lumMod val="50000"/>
                    <a:lumOff val="50000"/>
                  </a:schemeClr>
                </a:solidFill>
              </a:rPr>
              <a:t> (</a:t>
            </a:r>
            <a:r>
              <a:rPr lang="en-GB" sz="800" i="1" err="1">
                <a:solidFill>
                  <a:schemeClr val="tx1">
                    <a:lumMod val="50000"/>
                    <a:lumOff val="50000"/>
                  </a:schemeClr>
                </a:solidFill>
              </a:rPr>
              <a:t>yani</a:t>
            </a:r>
            <a:r>
              <a:rPr lang="en-GB" sz="800" i="1">
                <a:solidFill>
                  <a:schemeClr val="tx1">
                    <a:lumMod val="50000"/>
                    <a:lumOff val="50000"/>
                  </a:schemeClr>
                </a:solidFill>
              </a:rPr>
              <a:t>, influenza </a:t>
            </a:r>
            <a:r>
              <a:rPr lang="en-GB" sz="800" i="1" err="1">
                <a:solidFill>
                  <a:schemeClr val="tx1">
                    <a:lumMod val="50000"/>
                    <a:lumOff val="50000"/>
                  </a:schemeClr>
                </a:solidFill>
              </a:rPr>
              <a:t>ve</a:t>
            </a:r>
            <a:r>
              <a:rPr lang="en-GB" sz="800" i="1">
                <a:solidFill>
                  <a:schemeClr val="tx1">
                    <a:lumMod val="50000"/>
                    <a:lumOff val="50000"/>
                  </a:schemeClr>
                </a:solidFill>
              </a:rPr>
              <a:t> RSV </a:t>
            </a:r>
            <a:r>
              <a:rPr lang="en-GB" sz="800" i="1" err="1">
                <a:solidFill>
                  <a:schemeClr val="tx1">
                    <a:lumMod val="50000"/>
                    <a:lumOff val="50000"/>
                  </a:schemeClr>
                </a:solidFill>
              </a:rPr>
              <a:t>hariç</a:t>
            </a:r>
            <a:r>
              <a:rPr lang="en-GB" sz="800" i="1">
                <a:solidFill>
                  <a:schemeClr val="tx1">
                    <a:lumMod val="50000"/>
                    <a:lumOff val="50000"/>
                  </a:schemeClr>
                </a:solidFill>
              </a:rPr>
              <a:t>, </a:t>
            </a:r>
            <a:r>
              <a:rPr lang="en-GB" sz="800" i="1" err="1">
                <a:solidFill>
                  <a:schemeClr val="tx1">
                    <a:lumMod val="50000"/>
                    <a:lumOff val="50000"/>
                  </a:schemeClr>
                </a:solidFill>
              </a:rPr>
              <a:t>çalışılan</a:t>
            </a:r>
            <a:r>
              <a:rPr lang="en-GB" sz="800" i="1">
                <a:solidFill>
                  <a:schemeClr val="tx1">
                    <a:lumMod val="50000"/>
                    <a:lumOff val="50000"/>
                  </a:schemeClr>
                </a:solidFill>
              </a:rPr>
              <a:t> </a:t>
            </a:r>
            <a:r>
              <a:rPr lang="en-GB" sz="800" i="1" err="1">
                <a:solidFill>
                  <a:schemeClr val="tx1">
                    <a:lumMod val="50000"/>
                    <a:lumOff val="50000"/>
                  </a:schemeClr>
                </a:solidFill>
              </a:rPr>
              <a:t>tüm</a:t>
            </a:r>
            <a:r>
              <a:rPr lang="en-GB" sz="800" i="1">
                <a:solidFill>
                  <a:schemeClr val="tx1">
                    <a:lumMod val="50000"/>
                    <a:lumOff val="50000"/>
                  </a:schemeClr>
                </a:solidFill>
              </a:rPr>
              <a:t> </a:t>
            </a:r>
            <a:r>
              <a:rPr lang="en-GB" sz="800" i="1" err="1">
                <a:solidFill>
                  <a:schemeClr val="tx1">
                    <a:lumMod val="50000"/>
                    <a:lumOff val="50000"/>
                  </a:schemeClr>
                </a:solidFill>
              </a:rPr>
              <a:t>virüslerin</a:t>
            </a:r>
            <a:r>
              <a:rPr lang="en-GB" sz="800" i="1">
                <a:solidFill>
                  <a:schemeClr val="tx1">
                    <a:lumMod val="50000"/>
                    <a:lumOff val="50000"/>
                  </a:schemeClr>
                </a:solidFill>
              </a:rPr>
              <a:t> </a:t>
            </a:r>
            <a:r>
              <a:rPr lang="en-GB" sz="800" i="1" err="1">
                <a:solidFill>
                  <a:schemeClr val="tx1">
                    <a:lumMod val="50000"/>
                    <a:lumOff val="50000"/>
                  </a:schemeClr>
                </a:solidFill>
              </a:rPr>
              <a:t>toplamı</a:t>
            </a:r>
            <a:r>
              <a:rPr lang="en-GB" sz="800" i="1">
                <a:solidFill>
                  <a:schemeClr val="tx1">
                    <a:lumMod val="50000"/>
                    <a:lumOff val="50000"/>
                  </a:schemeClr>
                </a:solidFill>
              </a:rPr>
              <a:t>) </a:t>
            </a:r>
            <a:r>
              <a:rPr lang="en-GB" sz="800" i="1" err="1">
                <a:solidFill>
                  <a:schemeClr val="tx1">
                    <a:lumMod val="50000"/>
                    <a:lumOff val="50000"/>
                  </a:schemeClr>
                </a:solidFill>
              </a:rPr>
              <a:t>ve</a:t>
            </a:r>
            <a:r>
              <a:rPr lang="en-GB" sz="800" i="1">
                <a:solidFill>
                  <a:schemeClr val="tx1">
                    <a:lumMod val="50000"/>
                    <a:lumOff val="50000"/>
                  </a:schemeClr>
                </a:solidFill>
              </a:rPr>
              <a:t> </a:t>
            </a:r>
            <a:r>
              <a:rPr lang="en-GB" sz="800" i="1" err="1">
                <a:solidFill>
                  <a:schemeClr val="tx1">
                    <a:lumMod val="50000"/>
                    <a:lumOff val="50000"/>
                  </a:schemeClr>
                </a:solidFill>
              </a:rPr>
              <a:t>ayrıca</a:t>
            </a:r>
            <a:r>
              <a:rPr lang="en-GB" sz="800" i="1">
                <a:solidFill>
                  <a:schemeClr val="tx1">
                    <a:lumMod val="50000"/>
                    <a:lumOff val="50000"/>
                  </a:schemeClr>
                </a:solidFill>
              </a:rPr>
              <a:t> </a:t>
            </a:r>
            <a:r>
              <a:rPr lang="en-GB" sz="800" i="1" err="1">
                <a:solidFill>
                  <a:schemeClr val="tx1">
                    <a:lumMod val="50000"/>
                    <a:lumOff val="50000"/>
                  </a:schemeClr>
                </a:solidFill>
              </a:rPr>
              <a:t>diğer</a:t>
            </a:r>
            <a:r>
              <a:rPr lang="en-GB" sz="800" i="1">
                <a:solidFill>
                  <a:schemeClr val="tx1">
                    <a:lumMod val="50000"/>
                    <a:lumOff val="50000"/>
                  </a:schemeClr>
                </a:solidFill>
              </a:rPr>
              <a:t> </a:t>
            </a:r>
            <a:r>
              <a:rPr lang="en-GB" sz="800" i="1" err="1">
                <a:solidFill>
                  <a:schemeClr val="tx1">
                    <a:lumMod val="50000"/>
                    <a:lumOff val="50000"/>
                  </a:schemeClr>
                </a:solidFill>
              </a:rPr>
              <a:t>bakteriyel</a:t>
            </a:r>
            <a:r>
              <a:rPr lang="en-GB" sz="800" i="1">
                <a:solidFill>
                  <a:schemeClr val="tx1">
                    <a:lumMod val="50000"/>
                    <a:lumOff val="50000"/>
                  </a:schemeClr>
                </a:solidFill>
              </a:rPr>
              <a:t> </a:t>
            </a:r>
            <a:r>
              <a:rPr lang="en-GB" sz="800" i="1" err="1">
                <a:solidFill>
                  <a:schemeClr val="tx1">
                    <a:lumMod val="50000"/>
                    <a:lumOff val="50000"/>
                  </a:schemeClr>
                </a:solidFill>
              </a:rPr>
              <a:t>patojenlerden</a:t>
            </a:r>
            <a:r>
              <a:rPr lang="en-GB" sz="800" i="1">
                <a:solidFill>
                  <a:schemeClr val="tx1">
                    <a:lumMod val="50000"/>
                    <a:lumOff val="50000"/>
                  </a:schemeClr>
                </a:solidFill>
              </a:rPr>
              <a:t> </a:t>
            </a:r>
            <a:r>
              <a:rPr lang="en-GB" sz="800" i="1" err="1">
                <a:solidFill>
                  <a:schemeClr val="tx1">
                    <a:lumMod val="50000"/>
                    <a:lumOff val="50000"/>
                  </a:schemeClr>
                </a:solidFill>
              </a:rPr>
              <a:t>oluşan</a:t>
            </a:r>
            <a:r>
              <a:rPr lang="en-GB" sz="800" i="1">
                <a:solidFill>
                  <a:schemeClr val="tx1">
                    <a:lumMod val="50000"/>
                    <a:lumOff val="50000"/>
                  </a:schemeClr>
                </a:solidFill>
              </a:rPr>
              <a:t> </a:t>
            </a:r>
            <a:r>
              <a:rPr lang="en-GB" sz="800" i="1" err="1">
                <a:solidFill>
                  <a:schemeClr val="tx1">
                    <a:lumMod val="50000"/>
                    <a:lumOff val="50000"/>
                  </a:schemeClr>
                </a:solidFill>
              </a:rPr>
              <a:t>artık</a:t>
            </a:r>
            <a:r>
              <a:rPr lang="en-GB" sz="800" i="1">
                <a:solidFill>
                  <a:schemeClr val="tx1">
                    <a:lumMod val="50000"/>
                    <a:lumOff val="50000"/>
                  </a:schemeClr>
                </a:solidFill>
              </a:rPr>
              <a:t> </a:t>
            </a:r>
            <a:r>
              <a:rPr lang="en-GB" sz="800" i="1" err="1">
                <a:solidFill>
                  <a:schemeClr val="tx1">
                    <a:lumMod val="50000"/>
                    <a:lumOff val="50000"/>
                  </a:schemeClr>
                </a:solidFill>
              </a:rPr>
              <a:t>bir</a:t>
            </a:r>
            <a:r>
              <a:rPr lang="en-GB" sz="800" i="1">
                <a:solidFill>
                  <a:schemeClr val="tx1">
                    <a:lumMod val="50000"/>
                    <a:lumOff val="50000"/>
                  </a:schemeClr>
                </a:solidFill>
              </a:rPr>
              <a:t> </a:t>
            </a:r>
            <a:r>
              <a:rPr lang="en-GB" sz="800" i="1" err="1">
                <a:solidFill>
                  <a:schemeClr val="tx1">
                    <a:lumMod val="50000"/>
                    <a:lumOff val="50000"/>
                  </a:schemeClr>
                </a:solidFill>
              </a:rPr>
              <a:t>kategori</a:t>
            </a:r>
            <a:r>
              <a:rPr kumimoji="0" lang="en-GB" sz="800" b="0" i="1" u="none" strike="noStrike" kern="1200" cap="none" spc="0" normalizeH="0" baseline="0" noProof="0">
                <a:ln>
                  <a:noFill/>
                </a:ln>
                <a:solidFill>
                  <a:schemeClr val="tx1">
                    <a:lumMod val="50000"/>
                    <a:lumOff val="50000"/>
                  </a:schemeClr>
                </a:solidFill>
                <a:effectLst/>
                <a:uLnTx/>
                <a:uFillTx/>
              </a:rPr>
              <a:t>; †Aşılamaya geçiş için zaman çizelgesi: PCV: 20003; RSV: 20231;: 19454; COVID-19: 20205; ‡</a:t>
            </a:r>
            <a:r>
              <a:rPr kumimoji="0" lang="en-GB" sz="800" b="0" i="1" u="none" strike="noStrike" kern="1200" cap="none" spc="0" normalizeH="0" baseline="0" noProof="0" err="1">
                <a:ln>
                  <a:noFill/>
                </a:ln>
                <a:solidFill>
                  <a:schemeClr val="tx1">
                    <a:lumMod val="50000"/>
                    <a:lumOff val="50000"/>
                  </a:schemeClr>
                </a:solidFill>
                <a:effectLst/>
                <a:uLnTx/>
                <a:uFillTx/>
              </a:rPr>
              <a:t>ASYE’de</a:t>
            </a:r>
            <a:r>
              <a:rPr kumimoji="0" lang="en-GB" sz="800" b="0" i="1" u="none" strike="noStrike" kern="1200" cap="none" spc="0" normalizeH="0" baseline="0" noProof="0">
                <a:ln>
                  <a:noFill/>
                </a:ln>
                <a:solidFill>
                  <a:schemeClr val="tx1">
                    <a:lumMod val="50000"/>
                    <a:lumOff val="50000"/>
                  </a:schemeClr>
                </a:solidFill>
                <a:effectLst/>
                <a:uLnTx/>
                <a:uFillTx/>
              </a:rPr>
              <a:t> influenza, pnömoni, </a:t>
            </a:r>
            <a:r>
              <a:rPr kumimoji="0" lang="en-GB" sz="800" b="0" i="1" u="none" strike="noStrike" kern="1200" cap="none" spc="0" normalizeH="0" baseline="0" noProof="0" err="1">
                <a:ln>
                  <a:noFill/>
                </a:ln>
                <a:solidFill>
                  <a:schemeClr val="tx1">
                    <a:lumMod val="50000"/>
                    <a:lumOff val="50000"/>
                  </a:schemeClr>
                </a:solidFill>
                <a:effectLst/>
                <a:uLnTx/>
                <a:uFillTx/>
              </a:rPr>
              <a:t>bronşit</a:t>
            </a:r>
            <a:r>
              <a:rPr kumimoji="0" lang="en-GB" sz="800" b="0" i="1" u="none" strike="noStrike" kern="1200" cap="none" spc="0" normalizeH="0" baseline="0" noProof="0">
                <a:ln>
                  <a:noFill/>
                </a:ln>
                <a:solidFill>
                  <a:schemeClr val="tx1">
                    <a:lumMod val="50000"/>
                    <a:lumOff val="50000"/>
                  </a:schemeClr>
                </a:solidFill>
                <a:effectLst/>
                <a:uLnTx/>
                <a:uFillTx/>
              </a:rPr>
              <a:t>, </a:t>
            </a:r>
            <a:r>
              <a:rPr kumimoji="0" lang="en-GB" sz="800" b="0" i="1" u="none" strike="noStrike" kern="1200" cap="none" spc="0" normalizeH="0" baseline="0" noProof="0" err="1">
                <a:ln>
                  <a:noFill/>
                </a:ln>
                <a:solidFill>
                  <a:schemeClr val="tx1">
                    <a:lumMod val="50000"/>
                    <a:lumOff val="50000"/>
                  </a:schemeClr>
                </a:solidFill>
                <a:effectLst/>
                <a:uLnTx/>
                <a:uFillTx/>
              </a:rPr>
              <a:t>bronşiolit</a:t>
            </a:r>
            <a:r>
              <a:rPr kumimoji="0" lang="en-GB" sz="800" b="0" i="1" u="none" strike="noStrike" kern="1200" cap="none" spc="0" normalizeH="0" baseline="0" noProof="0">
                <a:ln>
                  <a:noFill/>
                </a:ln>
                <a:solidFill>
                  <a:schemeClr val="tx1">
                    <a:lumMod val="50000"/>
                    <a:lumOff val="50000"/>
                  </a:schemeClr>
                </a:solidFill>
                <a:effectLst/>
                <a:uLnTx/>
                <a:uFillTx/>
              </a:rPr>
              <a:t>, </a:t>
            </a:r>
            <a:r>
              <a:rPr kumimoji="0" lang="en-GB" sz="800" b="0" i="1" u="none" strike="noStrike" kern="1200" cap="none" spc="0" normalizeH="0" baseline="0" noProof="0" err="1">
                <a:ln>
                  <a:noFill/>
                </a:ln>
                <a:solidFill>
                  <a:schemeClr val="tx1">
                    <a:lumMod val="50000"/>
                    <a:lumOff val="50000"/>
                  </a:schemeClr>
                </a:solidFill>
                <a:effectLst/>
                <a:uLnTx/>
                <a:uFillTx/>
              </a:rPr>
              <a:t>belirtilmemiş</a:t>
            </a:r>
            <a:r>
              <a:rPr kumimoji="0" lang="en-GB" sz="800" b="0" i="1" u="none" strike="noStrike" kern="1200" cap="none" spc="0" normalizeH="0" baseline="0" noProof="0">
                <a:ln>
                  <a:noFill/>
                </a:ln>
                <a:solidFill>
                  <a:schemeClr val="tx1">
                    <a:lumMod val="50000"/>
                    <a:lumOff val="50000"/>
                  </a:schemeClr>
                </a:solidFill>
                <a:effectLst/>
                <a:uLnTx/>
                <a:uFillTx/>
              </a:rPr>
              <a:t> </a:t>
            </a:r>
            <a:r>
              <a:rPr kumimoji="0" lang="en-GB" sz="800" b="0" i="1" u="none" strike="noStrike" kern="1200" cap="none" spc="0" normalizeH="0" baseline="0" noProof="0" err="1">
                <a:ln>
                  <a:noFill/>
                </a:ln>
                <a:solidFill>
                  <a:schemeClr val="tx1">
                    <a:lumMod val="50000"/>
                    <a:lumOff val="50000"/>
                  </a:schemeClr>
                </a:solidFill>
                <a:effectLst/>
                <a:uLnTx/>
                <a:uFillTx/>
              </a:rPr>
              <a:t>akut</a:t>
            </a:r>
            <a:r>
              <a:rPr kumimoji="0" lang="en-GB" sz="800" b="0" i="1" u="none" strike="noStrike" kern="1200" cap="none" spc="0" normalizeH="0" baseline="0" noProof="0">
                <a:ln>
                  <a:noFill/>
                </a:ln>
                <a:solidFill>
                  <a:schemeClr val="tx1">
                    <a:lumMod val="50000"/>
                    <a:lumOff val="50000"/>
                  </a:schemeClr>
                </a:solidFill>
                <a:effectLst/>
                <a:uLnTx/>
                <a:uFillTx/>
              </a:rPr>
              <a:t> alt solunum yolu enfeksiyonu ve diğer çeşitli solunum yolu belirtileri bulunmaktadır.</a:t>
            </a:r>
            <a:endParaRPr lang="en-GB" sz="800" b="0" i="0" u="none" strike="noStrike" kern="1200" cap="none" spc="0" normalizeH="0" baseline="0" noProof="0">
              <a:ln>
                <a:noFill/>
              </a:ln>
              <a:solidFill>
                <a:schemeClr val="tx1">
                  <a:lumMod val="50000"/>
                  <a:lumOff val="50000"/>
                </a:schemeClr>
              </a:solidFill>
              <a:effectLst/>
              <a:uLnTx/>
              <a:uFillTx/>
            </a:endParaRPr>
          </a:p>
          <a:p>
            <a:pPr marL="0" marR="0" lvl="0" indent="0" algn="l" defTabSz="22852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tx1">
                    <a:lumMod val="50000"/>
                    <a:lumOff val="50000"/>
                  </a:schemeClr>
                </a:solidFill>
                <a:effectLst/>
                <a:uLnTx/>
                <a:uFillTx/>
              </a:rPr>
              <a:t>ASYE, alt solunum yolu enfeksiyonu; </a:t>
            </a:r>
            <a:r>
              <a:rPr lang="en-GB" sz="800">
                <a:solidFill>
                  <a:schemeClr val="tx1">
                    <a:lumMod val="50000"/>
                    <a:lumOff val="50000"/>
                  </a:schemeClr>
                </a:solidFill>
              </a:rPr>
              <a:t>ABD</a:t>
            </a:r>
            <a:r>
              <a:rPr kumimoji="0" lang="en-GB" sz="800" b="0" i="0" u="none" strike="noStrike" kern="1200" cap="none" spc="0" normalizeH="0" baseline="0" noProof="0">
                <a:ln>
                  <a:noFill/>
                </a:ln>
                <a:solidFill>
                  <a:schemeClr val="tx1">
                    <a:lumMod val="50000"/>
                    <a:lumOff val="50000"/>
                  </a:schemeClr>
                </a:solidFill>
                <a:effectLst/>
                <a:uLnTx/>
                <a:uFillTx/>
              </a:rPr>
              <a:t>, </a:t>
            </a:r>
            <a:r>
              <a:rPr lang="en-GB" sz="800">
                <a:solidFill>
                  <a:schemeClr val="tx1">
                    <a:lumMod val="50000"/>
                    <a:lumOff val="50000"/>
                  </a:schemeClr>
                </a:solidFill>
              </a:rPr>
              <a:t>Amerika </a:t>
            </a:r>
            <a:r>
              <a:rPr kumimoji="0" lang="en-GB" sz="800" b="0" i="0" u="none" strike="noStrike" kern="1200" cap="none" spc="0" normalizeH="0" baseline="0" noProof="0" err="1">
                <a:ln>
                  <a:noFill/>
                </a:ln>
                <a:solidFill>
                  <a:schemeClr val="tx1">
                    <a:lumMod val="50000"/>
                    <a:lumOff val="50000"/>
                  </a:schemeClr>
                </a:solidFill>
                <a:effectLst/>
                <a:uLnTx/>
                <a:uFillTx/>
              </a:rPr>
              <a:t>Birleşik Devletleri</a:t>
            </a:r>
            <a:r>
              <a:rPr kumimoji="0" lang="en-GB" sz="800" b="0" i="0" u="none" strike="noStrike" kern="1200" cap="none" spc="0" normalizeH="0" baseline="0" noProof="0">
                <a:ln>
                  <a:noFill/>
                </a:ln>
                <a:solidFill>
                  <a:schemeClr val="tx1">
                    <a:lumMod val="50000"/>
                    <a:lumOff val="50000"/>
                  </a:schemeClr>
                </a:solidFill>
                <a:effectLst/>
                <a:uLnTx/>
                <a:uFillTx/>
              </a:rPr>
              <a:t>.</a:t>
            </a:r>
            <a:endParaRPr lang="en-GB" sz="800" b="0" i="0" u="none" strike="noStrike" kern="1200" cap="none" spc="0" normalizeH="0" baseline="0" noProof="0">
              <a:ln>
                <a:noFill/>
              </a:ln>
              <a:solidFill>
                <a:schemeClr val="tx1">
                  <a:lumMod val="50000"/>
                  <a:lumOff val="50000"/>
                </a:schemeClr>
              </a:solidFill>
              <a:effectLst/>
              <a:uLnTx/>
              <a:uFillTx/>
            </a:endParaRPr>
          </a:p>
          <a:p>
            <a:pPr>
              <a:defRPr/>
            </a:pPr>
            <a:r>
              <a:rPr lang="en-GB" sz="800">
                <a:solidFill>
                  <a:schemeClr val="tx1">
                    <a:lumMod val="50000"/>
                    <a:lumOff val="50000"/>
                  </a:schemeClr>
                </a:solidFill>
              </a:rPr>
              <a:t>1. GBD 2021 Lower Respiratory Infections and Antimicrobial Resistance Collaborators. </a:t>
            </a:r>
            <a:r>
              <a:rPr lang="en-GB" sz="800" i="1">
                <a:solidFill>
                  <a:schemeClr val="tx1">
                    <a:lumMod val="50000"/>
                    <a:lumOff val="50000"/>
                  </a:schemeClr>
                </a:solidFill>
              </a:rPr>
              <a:t>Lancet Infect Dis</a:t>
            </a:r>
            <a:r>
              <a:rPr lang="en-GB" sz="800">
                <a:solidFill>
                  <a:schemeClr val="tx1">
                    <a:lumMod val="50000"/>
                    <a:lumOff val="50000"/>
                  </a:schemeClr>
                </a:solidFill>
              </a:rPr>
              <a:t>. 2024;24(9):974-1002; 2. Weycker D, et al. </a:t>
            </a:r>
            <a:r>
              <a:rPr lang="en-GB" sz="800" i="1">
                <a:solidFill>
                  <a:schemeClr val="tx1">
                    <a:lumMod val="50000"/>
                    <a:lumOff val="50000"/>
                  </a:schemeClr>
                </a:solidFill>
              </a:rPr>
              <a:t>Infect Dis Ther</a:t>
            </a:r>
            <a:r>
              <a:rPr lang="en-GB" sz="800">
                <a:solidFill>
                  <a:schemeClr val="tx1">
                    <a:lumMod val="50000"/>
                    <a:lumOff val="50000"/>
                  </a:schemeClr>
                </a:solidFill>
              </a:rPr>
              <a:t>. 2024;13(1):207-220; 3. </a:t>
            </a:r>
            <a:r>
              <a:rPr lang="en-GB" sz="800">
                <a:solidFill>
                  <a:srgbClr val="000000">
                    <a:lumMod val="50000"/>
                    <a:lumOff val="50000"/>
                  </a:srgbClr>
                </a:solidFill>
              </a:rPr>
              <a:t>CDC. Chapter 17: Pneumococcal Disease. 1 May 2024. </a:t>
            </a:r>
            <a:r>
              <a:rPr lang="en-GB" sz="800">
                <a:solidFill>
                  <a:srgbClr val="000000">
                    <a:lumMod val="50000"/>
                    <a:lumOff val="50000"/>
                  </a:srgbClr>
                </a:solidFill>
                <a:hlinkClick r:id="rId5"/>
              </a:rPr>
              <a:t>https://www.cdc.gov/pinkbook/hcp/table-of-contents/chapter-17-pneumococcal-disease.html</a:t>
            </a:r>
            <a:r>
              <a:rPr lang="en-GB" sz="800">
                <a:solidFill>
                  <a:srgbClr val="000000">
                    <a:lumMod val="50000"/>
                    <a:lumOff val="50000"/>
                  </a:srgbClr>
                </a:solidFill>
              </a:rPr>
              <a:t>. Accessed 6 June 2025</a:t>
            </a:r>
            <a:r>
              <a:rPr lang="en-GB" sz="800">
                <a:solidFill>
                  <a:schemeClr val="tx1">
                    <a:lumMod val="50000"/>
                    <a:lumOff val="50000"/>
                  </a:schemeClr>
                </a:solidFill>
              </a:rPr>
              <a:t>; 4. </a:t>
            </a:r>
            <a:r>
              <a:rPr lang="en-US" sz="800" err="1">
                <a:solidFill>
                  <a:srgbClr val="000000">
                    <a:lumMod val="50000"/>
                    <a:lumOff val="50000"/>
                  </a:srgbClr>
                </a:solidFill>
              </a:rPr>
              <a:t>Rajanala</a:t>
            </a:r>
            <a:r>
              <a:rPr lang="en-US" sz="800">
                <a:solidFill>
                  <a:srgbClr val="000000">
                    <a:lumMod val="50000"/>
                    <a:lumOff val="50000"/>
                  </a:srgbClr>
                </a:solidFill>
              </a:rPr>
              <a:t> K, Upadhyay AK. </a:t>
            </a:r>
            <a:r>
              <a:rPr lang="en-US" sz="800" i="1">
                <a:solidFill>
                  <a:srgbClr val="000000">
                    <a:lumMod val="50000"/>
                    <a:lumOff val="50000"/>
                  </a:srgbClr>
                </a:solidFill>
              </a:rPr>
              <a:t>Vaccines (Basel)</a:t>
            </a:r>
            <a:r>
              <a:rPr lang="en-US" sz="800">
                <a:solidFill>
                  <a:srgbClr val="000000">
                    <a:lumMod val="50000"/>
                    <a:lumOff val="50000"/>
                  </a:srgbClr>
                </a:solidFill>
              </a:rPr>
              <a:t>. 2024;12(8):936; </a:t>
            </a:r>
            <a:r>
              <a:rPr lang="en-GB" sz="800">
                <a:solidFill>
                  <a:schemeClr val="tx1">
                    <a:lumMod val="50000"/>
                    <a:lumOff val="50000"/>
                  </a:schemeClr>
                </a:solidFill>
              </a:rPr>
              <a:t>5. </a:t>
            </a:r>
            <a:r>
              <a:rPr lang="en-GB" sz="800">
                <a:solidFill>
                  <a:srgbClr val="000000">
                    <a:lumMod val="50000"/>
                    <a:lumOff val="50000"/>
                  </a:srgbClr>
                </a:solidFill>
              </a:rPr>
              <a:t>EMA. Comirnaty Omicron. Summary of product characteristics. </a:t>
            </a:r>
            <a:r>
              <a:rPr lang="en-GB" sz="800">
                <a:solidFill>
                  <a:srgbClr val="000000">
                    <a:lumMod val="50000"/>
                    <a:lumOff val="50000"/>
                  </a:srgbClr>
                </a:solidFill>
                <a:hlinkClick r:id="rId6"/>
              </a:rPr>
              <a:t>https://www.ema.europa.eu/en/documents/product-information/comirnaty-epar-product-information_en.pdf</a:t>
            </a:r>
            <a:r>
              <a:rPr lang="en-GB" sz="800">
                <a:solidFill>
                  <a:srgbClr val="000000">
                    <a:lumMod val="50000"/>
                    <a:lumOff val="50000"/>
                  </a:srgbClr>
                </a:solidFill>
              </a:rPr>
              <a:t>. Accessed 6 June 2025</a:t>
            </a:r>
            <a:r>
              <a:rPr lang="en-GB" sz="800">
                <a:solidFill>
                  <a:schemeClr val="tx1">
                    <a:lumMod val="50000"/>
                    <a:lumOff val="50000"/>
                  </a:schemeClr>
                </a:solidFill>
              </a:rPr>
              <a:t>. </a:t>
            </a:r>
          </a:p>
          <a:p>
            <a:pPr marL="0" marR="0" lvl="0" indent="0" algn="l" defTabSz="228520" rtl="0" eaLnBrk="1" fontAlgn="auto" latinLnBrk="0" hangingPunct="1">
              <a:lnSpc>
                <a:spcPct val="100000"/>
              </a:lnSpc>
              <a:spcBef>
                <a:spcPts val="0"/>
              </a:spcBef>
              <a:spcAft>
                <a:spcPts val="0"/>
              </a:spcAft>
              <a:buClrTx/>
              <a:buSzTx/>
              <a:buFontTx/>
              <a:buNone/>
              <a:tabLst/>
              <a:defRPr/>
            </a:pPr>
            <a:endParaRPr lang="en-GB" b="0" i="0" u="none" strike="noStrike" kern="1200" cap="none" spc="0" normalizeH="0" baseline="0" noProof="0">
              <a:ln>
                <a:noFill/>
              </a:ln>
              <a:solidFill>
                <a:schemeClr val="tx1">
                  <a:lumMod val="50000"/>
                  <a:lumOff val="50000"/>
                </a:schemeClr>
              </a:solidFill>
              <a:effectLst/>
              <a:uLnTx/>
              <a:uFillTx/>
              <a:latin typeface="Pfizer Diatype Office"/>
            </a:endParaRPr>
          </a:p>
        </p:txBody>
      </p:sp>
      <p:sp>
        <p:nvSpPr>
          <p:cNvPr id="15" name="TextBox 14">
            <a:extLst>
              <a:ext uri="{FF2B5EF4-FFF2-40B4-BE49-F238E27FC236}">
                <a16:creationId xmlns:a16="http://schemas.microsoft.com/office/drawing/2014/main" id="{81E846F4-2352-5CB4-81AA-1BB100C8DA26}"/>
              </a:ext>
            </a:extLst>
          </p:cNvPr>
          <p:cNvSpPr txBox="1"/>
          <p:nvPr/>
        </p:nvSpPr>
        <p:spPr>
          <a:xfrm>
            <a:off x="837919" y="3472897"/>
            <a:ext cx="526815" cy="246221"/>
          </a:xfrm>
          <a:prstGeom prst="rect">
            <a:avLst/>
          </a:prstGeom>
          <a:solidFill>
            <a:schemeClr val="bg1"/>
          </a:solidFill>
        </p:spPr>
        <p:txBody>
          <a:bodyPr wrap="square" rtlCol="0">
            <a:spAutoFit/>
          </a:bodyPr>
          <a:lstStyle/>
          <a:p>
            <a:r>
              <a:rPr lang="en-US" sz="1000">
                <a:solidFill>
                  <a:srgbClr val="595959"/>
                </a:solidFill>
              </a:rPr>
              <a:t>5,000</a:t>
            </a:r>
          </a:p>
        </p:txBody>
      </p:sp>
      <p:grpSp>
        <p:nvGrpSpPr>
          <p:cNvPr id="17" name="Group 16">
            <a:extLst>
              <a:ext uri="{FF2B5EF4-FFF2-40B4-BE49-F238E27FC236}">
                <a16:creationId xmlns:a16="http://schemas.microsoft.com/office/drawing/2014/main" id="{AF6F8E55-3A75-3CBD-78CF-932D0B7A096B}"/>
              </a:ext>
            </a:extLst>
          </p:cNvPr>
          <p:cNvGrpSpPr/>
          <p:nvPr/>
        </p:nvGrpSpPr>
        <p:grpSpPr>
          <a:xfrm>
            <a:off x="9513903" y="6320005"/>
            <a:ext cx="1895426" cy="453867"/>
            <a:chOff x="9513903" y="6320005"/>
            <a:chExt cx="1895426" cy="453867"/>
          </a:xfrm>
        </p:grpSpPr>
        <p:pic>
          <p:nvPicPr>
            <p:cNvPr id="18" name="Picture 17" descr="A yellow and blue logo&#10;&#10;Description automatically generated">
              <a:extLst>
                <a:ext uri="{FF2B5EF4-FFF2-40B4-BE49-F238E27FC236}">
                  <a16:creationId xmlns:a16="http://schemas.microsoft.com/office/drawing/2014/main" id="{70D143A8-B7B9-E080-D933-D66B5B71F0CF}"/>
                </a:ext>
              </a:extLst>
            </p:cNvPr>
            <p:cNvPicPr>
              <a:picLocks noChangeAspect="1"/>
            </p:cNvPicPr>
            <p:nvPr/>
          </p:nvPicPr>
          <p:blipFill>
            <a:blip r:embed="rId7">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19" name="Picture 18" descr="A black and blue logo&#10;&#10;AI-generated content may be incorrect.">
              <a:extLst>
                <a:ext uri="{FF2B5EF4-FFF2-40B4-BE49-F238E27FC236}">
                  <a16:creationId xmlns:a16="http://schemas.microsoft.com/office/drawing/2014/main" id="{68FBD6DE-6CE2-69E1-D510-2D3F80FA9322}"/>
                </a:ext>
              </a:extLst>
            </p:cNvPr>
            <p:cNvPicPr>
              <a:picLocks noChangeAspect="1"/>
            </p:cNvPicPr>
            <p:nvPr/>
          </p:nvPicPr>
          <p:blipFill>
            <a:blip r:embed="rId8"/>
            <a:stretch>
              <a:fillRect/>
            </a:stretch>
          </p:blipFill>
          <p:spPr>
            <a:xfrm>
              <a:off x="9513903" y="6494969"/>
              <a:ext cx="981021" cy="204067"/>
            </a:xfrm>
            <a:prstGeom prst="rect">
              <a:avLst/>
            </a:prstGeom>
          </p:spPr>
        </p:pic>
      </p:grpSp>
    </p:spTree>
    <p:extLst>
      <p:ext uri="{BB962C8B-B14F-4D97-AF65-F5344CB8AC3E}">
        <p14:creationId xmlns:p14="http://schemas.microsoft.com/office/powerpoint/2010/main" val="319202750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F28CF-5128-CCB1-523D-34BEC74CB4A6}"/>
              </a:ext>
            </a:extLst>
          </p:cNvPr>
          <p:cNvSpPr>
            <a:spLocks noGrp="1"/>
          </p:cNvSpPr>
          <p:nvPr>
            <p:ph type="title"/>
          </p:nvPr>
        </p:nvSpPr>
        <p:spPr/>
        <p:txBody>
          <a:bodyPr vert="horz" lIns="91440" tIns="45720" rIns="91440" bIns="45720" rtlCol="0" anchor="ctr">
            <a:noAutofit/>
          </a:bodyPr>
          <a:lstStyle/>
          <a:p>
            <a:r>
              <a:rPr lang="tr-TR"/>
              <a:t>Türkiye’de </a:t>
            </a:r>
            <a:r>
              <a:rPr lang="tr-TR" err="1"/>
              <a:t>pnömokokal</a:t>
            </a:r>
            <a:r>
              <a:rPr lang="tr-TR"/>
              <a:t> hastalıkları olan erişkinlerde </a:t>
            </a:r>
            <a:r>
              <a:rPr lang="tr-TR" err="1"/>
              <a:t>Streptococcus</a:t>
            </a:r>
            <a:r>
              <a:rPr lang="tr-TR"/>
              <a:t> </a:t>
            </a:r>
            <a:r>
              <a:rPr lang="tr-TR" err="1"/>
              <a:t>pneumoniae'nin</a:t>
            </a:r>
            <a:r>
              <a:rPr lang="tr-TR"/>
              <a:t> serotip dağılımı: 2015-2018</a:t>
            </a:r>
          </a:p>
        </p:txBody>
      </p:sp>
      <p:sp>
        <p:nvSpPr>
          <p:cNvPr id="3" name="Slide Number Placeholder 2">
            <a:extLst>
              <a:ext uri="{FF2B5EF4-FFF2-40B4-BE49-F238E27FC236}">
                <a16:creationId xmlns:a16="http://schemas.microsoft.com/office/drawing/2014/main" id="{6BEA0F4A-B867-25A6-07C7-34F47DAD536C}"/>
              </a:ext>
            </a:extLst>
          </p:cNvPr>
          <p:cNvSpPr>
            <a:spLocks noGrp="1"/>
          </p:cNvSpPr>
          <p:nvPr>
            <p:ph type="sldNum" sz="quarter" idx="4"/>
          </p:nvPr>
        </p:nvSpPr>
        <p:spPr/>
        <p:txBody>
          <a:bodyPr/>
          <a:lstStyle/>
          <a:p>
            <a:fld id="{03074DEF-F175-4420-8EE3-137377F9872B}" type="slidenum">
              <a:rPr lang="en-US"/>
              <a:pPr/>
              <a:t>70</a:t>
            </a:fld>
            <a:endParaRPr lang="en-US"/>
          </a:p>
        </p:txBody>
      </p:sp>
      <p:graphicFrame>
        <p:nvGraphicFramePr>
          <p:cNvPr id="5" name="Chart 6">
            <a:extLst>
              <a:ext uri="{FF2B5EF4-FFF2-40B4-BE49-F238E27FC236}">
                <a16:creationId xmlns:a16="http://schemas.microsoft.com/office/drawing/2014/main" id="{57BFF7B0-9CE7-5221-3AD8-E9313A6F850A}"/>
              </a:ext>
            </a:extLst>
          </p:cNvPr>
          <p:cNvGraphicFramePr>
            <a:graphicFrameLocks/>
          </p:cNvGraphicFramePr>
          <p:nvPr>
            <p:extLst>
              <p:ext uri="{D42A27DB-BD31-4B8C-83A1-F6EECF244321}">
                <p14:modId xmlns:p14="http://schemas.microsoft.com/office/powerpoint/2010/main" val="3615883362"/>
              </p:ext>
            </p:extLst>
          </p:nvPr>
        </p:nvGraphicFramePr>
        <p:xfrm>
          <a:off x="781051" y="1295400"/>
          <a:ext cx="10969218" cy="474200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1">
            <a:extLst>
              <a:ext uri="{FF2B5EF4-FFF2-40B4-BE49-F238E27FC236}">
                <a16:creationId xmlns:a16="http://schemas.microsoft.com/office/drawing/2014/main" id="{84784F65-AD9E-DF0C-7965-9149A9F8377C}"/>
              </a:ext>
            </a:extLst>
          </p:cNvPr>
          <p:cNvSpPr txBox="1">
            <a:spLocks/>
          </p:cNvSpPr>
          <p:nvPr/>
        </p:nvSpPr>
        <p:spPr bwMode="gray">
          <a:xfrm>
            <a:off x="613152" y="6116148"/>
            <a:ext cx="8470281" cy="297579"/>
          </a:xfrm>
          <a:prstGeom prst="rect">
            <a:avLst/>
          </a:prstGeom>
        </p:spPr>
        <p:txBody>
          <a:bodyPr vert="horz" lIns="34281" tIns="34281" rIns="34281" bIns="34281" rtlCol="0">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00">
              <a:spcBef>
                <a:spcPts val="1500"/>
              </a:spcBef>
              <a:buNone/>
            </a:pPr>
            <a:r>
              <a:rPr lang="tr-TR" altLang="en-US" sz="600">
                <a:solidFill>
                  <a:srgbClr val="353B3E"/>
                </a:solidFill>
                <a:latin typeface="Arial" panose="020B0604020202020204"/>
              </a:rPr>
              <a:t> </a:t>
            </a:r>
            <a:r>
              <a:rPr lang="tr-TR" altLang="en-US" sz="600" err="1">
                <a:solidFill>
                  <a:srgbClr val="353B3E"/>
                </a:solidFill>
                <a:latin typeface="Arial" panose="020B0604020202020204"/>
              </a:rPr>
              <a:t>Hascelik</a:t>
            </a:r>
            <a:r>
              <a:rPr lang="en-US" altLang="en-US" sz="600">
                <a:solidFill>
                  <a:srgbClr val="353B3E"/>
                </a:solidFill>
                <a:latin typeface="Arial" panose="020B0604020202020204"/>
              </a:rPr>
              <a:t> et al. </a:t>
            </a:r>
            <a:r>
              <a:rPr lang="tr-TR" altLang="en-US" sz="600">
                <a:solidFill>
                  <a:srgbClr val="353B3E"/>
                </a:solidFill>
                <a:latin typeface="Arial" panose="020B0604020202020204"/>
              </a:rPr>
              <a:t>Ann Med 2023 </a:t>
            </a:r>
            <a:r>
              <a:rPr lang="tr-TR" altLang="en-US" sz="600" err="1">
                <a:solidFill>
                  <a:srgbClr val="353B3E"/>
                </a:solidFill>
                <a:latin typeface="Arial" panose="020B0604020202020204"/>
              </a:rPr>
              <a:t>Dec</a:t>
            </a:r>
            <a:r>
              <a:rPr lang="tr-TR" altLang="en-US" sz="600">
                <a:solidFill>
                  <a:srgbClr val="353B3E"/>
                </a:solidFill>
                <a:latin typeface="Arial" panose="020B0604020202020204"/>
              </a:rPr>
              <a:t> , 55(1): 266-275</a:t>
            </a:r>
            <a:endParaRPr lang="en-US" sz="600">
              <a:solidFill>
                <a:srgbClr val="353B3E"/>
              </a:solidFill>
              <a:latin typeface="Arial" panose="020B0604020202020204"/>
            </a:endParaRPr>
          </a:p>
        </p:txBody>
      </p:sp>
      <p:sp>
        <p:nvSpPr>
          <p:cNvPr id="9" name="Metin kutusu 8">
            <a:extLst>
              <a:ext uri="{FF2B5EF4-FFF2-40B4-BE49-F238E27FC236}">
                <a16:creationId xmlns:a16="http://schemas.microsoft.com/office/drawing/2014/main" id="{C7C430D0-9BA9-1643-6B65-737E56244529}"/>
              </a:ext>
            </a:extLst>
          </p:cNvPr>
          <p:cNvSpPr txBox="1"/>
          <p:nvPr/>
        </p:nvSpPr>
        <p:spPr>
          <a:xfrm>
            <a:off x="613152" y="5945075"/>
            <a:ext cx="4634345" cy="184666"/>
          </a:xfrm>
          <a:prstGeom prst="rect">
            <a:avLst/>
          </a:prstGeom>
          <a:noFill/>
        </p:spPr>
        <p:txBody>
          <a:bodyPr wrap="square">
            <a:spAutoFit/>
          </a:bodyPr>
          <a:lstStyle/>
          <a:p>
            <a:pPr defTabSz="685800"/>
            <a:r>
              <a:rPr lang="tr-TR" sz="600" dirty="0">
                <a:solidFill>
                  <a:srgbClr val="353B3E"/>
                </a:solidFill>
                <a:latin typeface="Arial" panose="020B0604020202020204"/>
              </a:rPr>
              <a:t>PCV= Pnömokok Konjuge Aşısı</a:t>
            </a:r>
          </a:p>
        </p:txBody>
      </p:sp>
      <p:pic>
        <p:nvPicPr>
          <p:cNvPr id="10" name="Picture 9" descr="A yellow and blue logo&#10;&#10;Description automatically generated">
            <a:extLst>
              <a:ext uri="{FF2B5EF4-FFF2-40B4-BE49-F238E27FC236}">
                <a16:creationId xmlns:a16="http://schemas.microsoft.com/office/drawing/2014/main" id="{701DCDFC-CEFC-7DFA-EC69-671EC3B3867C}"/>
              </a:ext>
            </a:extLst>
          </p:cNvPr>
          <p:cNvPicPr>
            <a:picLocks noChangeAspect="1"/>
          </p:cNvPicPr>
          <p:nvPr/>
        </p:nvPicPr>
        <p:blipFill>
          <a:blip r:embed="rId4">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250404474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C6804-A439-4415-9310-22AA2D2C025C}"/>
              </a:ext>
            </a:extLst>
          </p:cNvPr>
          <p:cNvSpPr>
            <a:spLocks noGrp="1"/>
          </p:cNvSpPr>
          <p:nvPr>
            <p:ph type="title"/>
          </p:nvPr>
        </p:nvSpPr>
        <p:spPr/>
        <p:txBody>
          <a:bodyPr anchor="ctr" anchorCtr="0">
            <a:noAutofit/>
          </a:bodyPr>
          <a:lstStyle/>
          <a:p>
            <a:r>
              <a:rPr lang="en-US" sz="3200"/>
              <a:t>KPA20 Klinik </a:t>
            </a:r>
            <a:r>
              <a:rPr lang="en-US" sz="3200" err="1"/>
              <a:t>Geliştirme</a:t>
            </a:r>
            <a:r>
              <a:rPr lang="en-US" sz="3200"/>
              <a:t> </a:t>
            </a:r>
            <a:r>
              <a:rPr lang="en-US" sz="3200" err="1"/>
              <a:t>Programının</a:t>
            </a:r>
            <a:r>
              <a:rPr lang="en-US" sz="3200"/>
              <a:t> </a:t>
            </a:r>
            <a:r>
              <a:rPr lang="en-US" sz="3200" err="1"/>
              <a:t>Özeti</a:t>
            </a:r>
            <a:endParaRPr lang="en-US" sz="3200"/>
          </a:p>
        </p:txBody>
      </p:sp>
      <p:sp>
        <p:nvSpPr>
          <p:cNvPr id="5" name="Text Placeholder 4">
            <a:extLst>
              <a:ext uri="{FF2B5EF4-FFF2-40B4-BE49-F238E27FC236}">
                <a16:creationId xmlns:a16="http://schemas.microsoft.com/office/drawing/2014/main" id="{FC2D5967-3BDF-489E-B1C2-905CA97A02D0}"/>
              </a:ext>
            </a:extLst>
          </p:cNvPr>
          <p:cNvSpPr>
            <a:spLocks noGrp="1"/>
          </p:cNvSpPr>
          <p:nvPr>
            <p:ph type="body" sz="quarter" idx="4294967295"/>
          </p:nvPr>
        </p:nvSpPr>
        <p:spPr>
          <a:xfrm>
            <a:off x="3619500" y="6540500"/>
            <a:ext cx="8572500" cy="269875"/>
          </a:xfrm>
        </p:spPr>
        <p:txBody>
          <a:bodyPr>
            <a:normAutofit fontScale="25000" lnSpcReduction="20000"/>
          </a:bodyPr>
          <a:lstStyle/>
          <a:p>
            <a:pPr algn="r"/>
            <a:endParaRPr lang="en-US" sz="1000" b="1"/>
          </a:p>
          <a:p>
            <a:pPr algn="r"/>
            <a:r>
              <a:rPr lang="en-US" sz="1000" b="1"/>
              <a:t>*1.</a:t>
            </a:r>
            <a:r>
              <a:rPr lang="en-US" sz="1000"/>
              <a:t> Latest BPOM Approved KPA20 Local Product Document. 2024. </a:t>
            </a:r>
            <a:r>
              <a:rPr lang="en-US" sz="1000" b="1"/>
              <a:t>2.</a:t>
            </a:r>
            <a:r>
              <a:rPr lang="en-US" sz="1000"/>
              <a:t> Essink B, et al. </a:t>
            </a:r>
            <a:r>
              <a:rPr lang="en-US" sz="1000" i="1"/>
              <a:t>Clin Infect Dis</a:t>
            </a:r>
            <a:r>
              <a:rPr lang="en-US" sz="1000"/>
              <a:t>. 2022;75(3):390-398. </a:t>
            </a:r>
            <a:r>
              <a:rPr lang="en-US" sz="1000" b="1"/>
              <a:t>3.</a:t>
            </a:r>
            <a:r>
              <a:rPr lang="en-US" sz="1000"/>
              <a:t> Cannon K, et al. </a:t>
            </a:r>
            <a:r>
              <a:rPr lang="en-US" sz="1000" i="1"/>
              <a:t>Vaccine</a:t>
            </a:r>
            <a:r>
              <a:rPr lang="en-US" sz="1000"/>
              <a:t>. 2021;39(51):7494-7502. </a:t>
            </a:r>
            <a:br>
              <a:rPr lang="en-US" sz="1000"/>
            </a:br>
            <a:r>
              <a:rPr lang="en-US" altLang="en-US" sz="1000" b="1"/>
              <a:t>4.</a:t>
            </a:r>
            <a:r>
              <a:rPr lang="en-US" altLang="en-US" sz="1000"/>
              <a:t> Cannon K, et al. </a:t>
            </a:r>
            <a:r>
              <a:rPr lang="en-US" altLang="en-US" sz="1000" i="1"/>
              <a:t>Vaccine</a:t>
            </a:r>
            <a:r>
              <a:rPr lang="en-US" altLang="en-US" sz="1000"/>
              <a:t>. 2023;41(13):2137-2146. </a:t>
            </a:r>
            <a:r>
              <a:rPr lang="en-US" sz="1000" b="1"/>
              <a:t>5</a:t>
            </a:r>
            <a:r>
              <a:rPr lang="en-US" altLang="en-US" sz="1000" b="1"/>
              <a:t>. </a:t>
            </a:r>
            <a:r>
              <a:rPr lang="en-US" altLang="en-US" sz="1000"/>
              <a:t>Fitz-Patrick D, et al. </a:t>
            </a:r>
            <a:r>
              <a:rPr lang="en-ZW" sz="1000" i="1"/>
              <a:t>Vaccine</a:t>
            </a:r>
            <a:r>
              <a:rPr lang="en-ZW" sz="1000"/>
              <a:t>. 2023;41:4190-4198.</a:t>
            </a:r>
            <a:endParaRPr lang="en-US" altLang="en-US" sz="1000" b="1"/>
          </a:p>
        </p:txBody>
      </p:sp>
      <p:sp>
        <p:nvSpPr>
          <p:cNvPr id="8" name="Rectangle 7">
            <a:extLst>
              <a:ext uri="{FF2B5EF4-FFF2-40B4-BE49-F238E27FC236}">
                <a16:creationId xmlns:a16="http://schemas.microsoft.com/office/drawing/2014/main" id="{54E00574-FFEB-A7BB-6CDF-8EC4B8CEAA01}"/>
              </a:ext>
            </a:extLst>
          </p:cNvPr>
          <p:cNvSpPr/>
          <p:nvPr/>
        </p:nvSpPr>
        <p:spPr>
          <a:xfrm>
            <a:off x="610679" y="2621783"/>
            <a:ext cx="5180521" cy="1145422"/>
          </a:xfrm>
          <a:prstGeom prst="rect">
            <a:avLst/>
          </a:prstGeom>
          <a:solidFill>
            <a:schemeClr val="bg2">
              <a:lumMod val="20000"/>
              <a:lumOff val="8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102870" tIns="205740" rtlCol="0" anchor="t"/>
          <a:lstStyle/>
          <a:p>
            <a:pPr defTabSz="685800">
              <a:lnSpc>
                <a:spcPct val="95000"/>
              </a:lnSpc>
              <a:spcBef>
                <a:spcPts val="300"/>
              </a:spcBef>
              <a:defRPr/>
            </a:pPr>
            <a:r>
              <a:rPr lang="en-US" sz="1100" dirty="0">
                <a:solidFill>
                  <a:srgbClr val="353B3E"/>
                </a:solidFill>
              </a:rPr>
              <a:t>KPA20'ye </a:t>
            </a:r>
            <a:r>
              <a:rPr lang="en-US" sz="1100" dirty="0" err="1">
                <a:solidFill>
                  <a:srgbClr val="353B3E"/>
                </a:solidFill>
              </a:rPr>
              <a:t>karşı</a:t>
            </a:r>
            <a:r>
              <a:rPr lang="en-US" sz="1100" dirty="0">
                <a:solidFill>
                  <a:srgbClr val="353B3E"/>
                </a:solidFill>
              </a:rPr>
              <a:t> </a:t>
            </a:r>
            <a:r>
              <a:rPr lang="en-US" sz="1100" dirty="0" err="1">
                <a:solidFill>
                  <a:srgbClr val="353B3E"/>
                </a:solidFill>
              </a:rPr>
              <a:t>oluşan</a:t>
            </a:r>
            <a:r>
              <a:rPr lang="en-US" sz="1100" dirty="0">
                <a:solidFill>
                  <a:srgbClr val="353B3E"/>
                </a:solidFill>
              </a:rPr>
              <a:t> </a:t>
            </a:r>
            <a:r>
              <a:rPr lang="en-US" sz="1100" dirty="0" err="1">
                <a:solidFill>
                  <a:srgbClr val="353B3E"/>
                </a:solidFill>
              </a:rPr>
              <a:t>immün</a:t>
            </a:r>
            <a:r>
              <a:rPr lang="en-US" sz="1100" dirty="0">
                <a:solidFill>
                  <a:srgbClr val="353B3E"/>
                </a:solidFill>
              </a:rPr>
              <a:t> </a:t>
            </a:r>
            <a:r>
              <a:rPr lang="en-US" sz="1100" dirty="0" err="1">
                <a:solidFill>
                  <a:srgbClr val="353B3E"/>
                </a:solidFill>
              </a:rPr>
              <a:t>yanıtlar</a:t>
            </a:r>
            <a:r>
              <a:rPr lang="en-US" sz="1100" dirty="0">
                <a:solidFill>
                  <a:srgbClr val="353B3E"/>
                </a:solidFill>
              </a:rPr>
              <a:t>, 60 </a:t>
            </a:r>
            <a:r>
              <a:rPr lang="en-US" sz="1100" dirty="0" err="1">
                <a:solidFill>
                  <a:srgbClr val="353B3E"/>
                </a:solidFill>
              </a:rPr>
              <a:t>yaş</a:t>
            </a:r>
            <a:r>
              <a:rPr lang="en-US" sz="1100" dirty="0">
                <a:solidFill>
                  <a:srgbClr val="353B3E"/>
                </a:solidFill>
              </a:rPr>
              <a:t> </a:t>
            </a:r>
            <a:r>
              <a:rPr lang="en-US" sz="1100" dirty="0" err="1">
                <a:solidFill>
                  <a:srgbClr val="353B3E"/>
                </a:solidFill>
              </a:rPr>
              <a:t>ve</a:t>
            </a:r>
            <a:r>
              <a:rPr lang="en-US" sz="1100" dirty="0">
                <a:solidFill>
                  <a:srgbClr val="353B3E"/>
                </a:solidFill>
              </a:rPr>
              <a:t> </a:t>
            </a:r>
            <a:r>
              <a:rPr lang="en-US" sz="1100" dirty="0" err="1">
                <a:solidFill>
                  <a:srgbClr val="353B3E"/>
                </a:solidFill>
              </a:rPr>
              <a:t>üzeri</a:t>
            </a:r>
            <a:r>
              <a:rPr lang="en-US" sz="1100" dirty="0">
                <a:solidFill>
                  <a:srgbClr val="353B3E"/>
                </a:solidFill>
              </a:rPr>
              <a:t> </a:t>
            </a:r>
            <a:r>
              <a:rPr lang="en-US" sz="1100" dirty="0" err="1">
                <a:solidFill>
                  <a:srgbClr val="353B3E"/>
                </a:solidFill>
              </a:rPr>
              <a:t>yetişkinlerde</a:t>
            </a:r>
            <a:r>
              <a:rPr lang="en-US" sz="1100" dirty="0">
                <a:solidFill>
                  <a:srgbClr val="353B3E"/>
                </a:solidFill>
              </a:rPr>
              <a:t> 20 </a:t>
            </a:r>
            <a:r>
              <a:rPr lang="en-US" sz="1100" dirty="0" err="1">
                <a:solidFill>
                  <a:srgbClr val="353B3E"/>
                </a:solidFill>
              </a:rPr>
              <a:t>serotipin</a:t>
            </a:r>
            <a:r>
              <a:rPr lang="en-US" sz="1100" dirty="0">
                <a:solidFill>
                  <a:srgbClr val="353B3E"/>
                </a:solidFill>
              </a:rPr>
              <a:t> 19’u </a:t>
            </a:r>
            <a:r>
              <a:rPr lang="en-US" sz="1100" dirty="0" err="1">
                <a:solidFill>
                  <a:srgbClr val="353B3E"/>
                </a:solidFill>
              </a:rPr>
              <a:t>için</a:t>
            </a:r>
            <a:r>
              <a:rPr lang="en-US" sz="1100" dirty="0">
                <a:solidFill>
                  <a:srgbClr val="353B3E"/>
                </a:solidFill>
              </a:rPr>
              <a:t> noninferiority </a:t>
            </a:r>
            <a:r>
              <a:rPr lang="en-US" sz="1100" dirty="0" err="1">
                <a:solidFill>
                  <a:srgbClr val="353B3E"/>
                </a:solidFill>
              </a:rPr>
              <a:t>kriterini</a:t>
            </a:r>
            <a:r>
              <a:rPr lang="en-US" sz="1100" dirty="0">
                <a:solidFill>
                  <a:srgbClr val="353B3E"/>
                </a:solidFill>
              </a:rPr>
              <a:t> </a:t>
            </a:r>
            <a:r>
              <a:rPr lang="en-US" sz="1100" dirty="0" err="1">
                <a:solidFill>
                  <a:srgbClr val="353B3E"/>
                </a:solidFill>
              </a:rPr>
              <a:t>sağlamıştır</a:t>
            </a:r>
            <a:r>
              <a:rPr lang="en-US" sz="1100" dirty="0">
                <a:solidFill>
                  <a:srgbClr val="353B3E"/>
                </a:solidFill>
              </a:rPr>
              <a:t>. </a:t>
            </a:r>
            <a:r>
              <a:rPr lang="en-US" sz="1100" dirty="0" err="1">
                <a:solidFill>
                  <a:srgbClr val="353B3E"/>
                </a:solidFill>
              </a:rPr>
              <a:t>Serotip</a:t>
            </a:r>
            <a:r>
              <a:rPr lang="en-US" sz="1100" dirty="0">
                <a:solidFill>
                  <a:srgbClr val="353B3E"/>
                </a:solidFill>
              </a:rPr>
              <a:t> 8 </a:t>
            </a:r>
            <a:r>
              <a:rPr lang="en-US" sz="1100" dirty="0" err="1">
                <a:solidFill>
                  <a:srgbClr val="353B3E"/>
                </a:solidFill>
              </a:rPr>
              <a:t>ise</a:t>
            </a:r>
            <a:r>
              <a:rPr lang="en-US" sz="1100" dirty="0">
                <a:solidFill>
                  <a:srgbClr val="353B3E"/>
                </a:solidFill>
              </a:rPr>
              <a:t> </a:t>
            </a:r>
            <a:r>
              <a:rPr lang="en-US" sz="1100" dirty="0" err="1">
                <a:solidFill>
                  <a:srgbClr val="353B3E"/>
                </a:solidFill>
              </a:rPr>
              <a:t>istatistiksel</a:t>
            </a:r>
            <a:r>
              <a:rPr lang="en-US" sz="1100" dirty="0">
                <a:solidFill>
                  <a:srgbClr val="353B3E"/>
                </a:solidFill>
              </a:rPr>
              <a:t> </a:t>
            </a:r>
            <a:r>
              <a:rPr lang="en-US" sz="1100" dirty="0" err="1">
                <a:solidFill>
                  <a:srgbClr val="353B3E"/>
                </a:solidFill>
              </a:rPr>
              <a:t>olarak</a:t>
            </a:r>
            <a:r>
              <a:rPr lang="en-US" sz="1100" dirty="0">
                <a:solidFill>
                  <a:srgbClr val="353B3E"/>
                </a:solidFill>
              </a:rPr>
              <a:t> </a:t>
            </a:r>
            <a:r>
              <a:rPr lang="en-US" sz="1100" dirty="0" err="1">
                <a:solidFill>
                  <a:srgbClr val="353B3E"/>
                </a:solidFill>
              </a:rPr>
              <a:t>bu</a:t>
            </a:r>
            <a:r>
              <a:rPr lang="en-US" sz="1100" dirty="0">
                <a:solidFill>
                  <a:srgbClr val="353B3E"/>
                </a:solidFill>
              </a:rPr>
              <a:t> </a:t>
            </a:r>
            <a:r>
              <a:rPr lang="en-US" sz="1100" dirty="0" err="1">
                <a:solidFill>
                  <a:srgbClr val="353B3E"/>
                </a:solidFill>
              </a:rPr>
              <a:t>kriteri</a:t>
            </a:r>
            <a:r>
              <a:rPr lang="en-US" sz="1100" dirty="0">
                <a:solidFill>
                  <a:srgbClr val="353B3E"/>
                </a:solidFill>
              </a:rPr>
              <a:t> </a:t>
            </a:r>
            <a:r>
              <a:rPr lang="en-US" sz="1100" dirty="0" err="1">
                <a:solidFill>
                  <a:srgbClr val="353B3E"/>
                </a:solidFill>
              </a:rPr>
              <a:t>kıl</a:t>
            </a:r>
            <a:r>
              <a:rPr lang="en-US" sz="1100" dirty="0">
                <a:solidFill>
                  <a:srgbClr val="353B3E"/>
                </a:solidFill>
              </a:rPr>
              <a:t> </a:t>
            </a:r>
            <a:r>
              <a:rPr lang="en-US" sz="1100" dirty="0" err="1">
                <a:solidFill>
                  <a:srgbClr val="353B3E"/>
                </a:solidFill>
              </a:rPr>
              <a:t>payı</a:t>
            </a:r>
            <a:r>
              <a:rPr lang="en-US" sz="1100" dirty="0">
                <a:solidFill>
                  <a:srgbClr val="353B3E"/>
                </a:solidFill>
              </a:rPr>
              <a:t> </a:t>
            </a:r>
            <a:r>
              <a:rPr lang="en-US" sz="1100" dirty="0" err="1">
                <a:solidFill>
                  <a:srgbClr val="353B3E"/>
                </a:solidFill>
              </a:rPr>
              <a:t>karşılayamamıştır</a:t>
            </a:r>
            <a:r>
              <a:rPr lang="en-US" sz="1100" dirty="0">
                <a:solidFill>
                  <a:srgbClr val="353B3E"/>
                </a:solidFill>
              </a:rPr>
              <a:t>. </a:t>
            </a:r>
            <a:r>
              <a:rPr lang="en-US" sz="1100" dirty="0" err="1">
                <a:solidFill>
                  <a:srgbClr val="353B3E"/>
                </a:solidFill>
              </a:rPr>
              <a:t>Önceden</a:t>
            </a:r>
            <a:r>
              <a:rPr lang="en-US" sz="1100" dirty="0">
                <a:solidFill>
                  <a:srgbClr val="353B3E"/>
                </a:solidFill>
              </a:rPr>
              <a:t> </a:t>
            </a:r>
            <a:r>
              <a:rPr lang="en-US" sz="1100" dirty="0" err="1">
                <a:solidFill>
                  <a:srgbClr val="353B3E"/>
                </a:solidFill>
              </a:rPr>
              <a:t>belirlenmiş</a:t>
            </a:r>
            <a:r>
              <a:rPr lang="en-US" sz="1100" dirty="0">
                <a:solidFill>
                  <a:srgbClr val="353B3E"/>
                </a:solidFill>
              </a:rPr>
              <a:t> </a:t>
            </a:r>
            <a:r>
              <a:rPr lang="en-US" sz="1100" dirty="0" err="1">
                <a:solidFill>
                  <a:srgbClr val="353B3E"/>
                </a:solidFill>
              </a:rPr>
              <a:t>destekleyici</a:t>
            </a:r>
            <a:r>
              <a:rPr lang="en-US" sz="1100" dirty="0">
                <a:solidFill>
                  <a:srgbClr val="353B3E"/>
                </a:solidFill>
              </a:rPr>
              <a:t> </a:t>
            </a:r>
            <a:r>
              <a:rPr lang="en-US" sz="1100" dirty="0" err="1">
                <a:solidFill>
                  <a:srgbClr val="353B3E"/>
                </a:solidFill>
              </a:rPr>
              <a:t>analizlerde</a:t>
            </a:r>
            <a:r>
              <a:rPr lang="en-US" sz="1100" dirty="0">
                <a:solidFill>
                  <a:srgbClr val="353B3E"/>
                </a:solidFill>
              </a:rPr>
              <a:t>, KPA20 </a:t>
            </a:r>
            <a:r>
              <a:rPr lang="en-US" sz="1100" dirty="0" err="1">
                <a:solidFill>
                  <a:srgbClr val="353B3E"/>
                </a:solidFill>
              </a:rPr>
              <a:t>grubundaki</a:t>
            </a:r>
            <a:r>
              <a:rPr lang="en-US" sz="1100" dirty="0">
                <a:solidFill>
                  <a:srgbClr val="353B3E"/>
                </a:solidFill>
              </a:rPr>
              <a:t> </a:t>
            </a:r>
            <a:r>
              <a:rPr lang="en-US" sz="1100" dirty="0" err="1">
                <a:solidFill>
                  <a:srgbClr val="353B3E"/>
                </a:solidFill>
              </a:rPr>
              <a:t>katılımcıların</a:t>
            </a:r>
            <a:r>
              <a:rPr lang="en-US" sz="1100" dirty="0">
                <a:solidFill>
                  <a:srgbClr val="353B3E"/>
                </a:solidFill>
              </a:rPr>
              <a:t> %77,8’inde, </a:t>
            </a:r>
            <a:r>
              <a:rPr lang="en-US" sz="1100" dirty="0" err="1">
                <a:solidFill>
                  <a:srgbClr val="353B3E"/>
                </a:solidFill>
              </a:rPr>
              <a:t>aşılama</a:t>
            </a:r>
            <a:r>
              <a:rPr lang="en-US" sz="1100" dirty="0">
                <a:solidFill>
                  <a:srgbClr val="353B3E"/>
                </a:solidFill>
              </a:rPr>
              <a:t> </a:t>
            </a:r>
            <a:r>
              <a:rPr lang="en-US" sz="1100" dirty="0" err="1">
                <a:solidFill>
                  <a:srgbClr val="353B3E"/>
                </a:solidFill>
              </a:rPr>
              <a:t>öncesine</a:t>
            </a:r>
            <a:r>
              <a:rPr lang="en-US" sz="1100" dirty="0">
                <a:solidFill>
                  <a:srgbClr val="353B3E"/>
                </a:solidFill>
              </a:rPr>
              <a:t> </a:t>
            </a:r>
            <a:r>
              <a:rPr lang="en-US" sz="1100" dirty="0" err="1">
                <a:solidFill>
                  <a:srgbClr val="353B3E"/>
                </a:solidFill>
              </a:rPr>
              <a:t>kıyasla</a:t>
            </a:r>
            <a:r>
              <a:rPr lang="en-US" sz="1100" dirty="0">
                <a:solidFill>
                  <a:srgbClr val="353B3E"/>
                </a:solidFill>
              </a:rPr>
              <a:t> </a:t>
            </a:r>
            <a:r>
              <a:rPr lang="en-US" sz="1100" dirty="0" err="1">
                <a:solidFill>
                  <a:srgbClr val="353B3E"/>
                </a:solidFill>
              </a:rPr>
              <a:t>aşılamadan</a:t>
            </a:r>
            <a:r>
              <a:rPr lang="en-US" sz="1100" dirty="0">
                <a:solidFill>
                  <a:srgbClr val="353B3E"/>
                </a:solidFill>
              </a:rPr>
              <a:t> </a:t>
            </a:r>
            <a:r>
              <a:rPr lang="en-US" sz="1100" dirty="0" err="1">
                <a:solidFill>
                  <a:srgbClr val="353B3E"/>
                </a:solidFill>
              </a:rPr>
              <a:t>bir</a:t>
            </a:r>
            <a:r>
              <a:rPr lang="en-US" sz="1100" dirty="0">
                <a:solidFill>
                  <a:srgbClr val="353B3E"/>
                </a:solidFill>
              </a:rPr>
              <a:t> ay </a:t>
            </a:r>
            <a:r>
              <a:rPr lang="en-US" sz="1100" dirty="0" err="1">
                <a:solidFill>
                  <a:srgbClr val="353B3E"/>
                </a:solidFill>
              </a:rPr>
              <a:t>sonra</a:t>
            </a:r>
            <a:r>
              <a:rPr lang="en-US" sz="1100" dirty="0">
                <a:solidFill>
                  <a:srgbClr val="353B3E"/>
                </a:solidFill>
              </a:rPr>
              <a:t> </a:t>
            </a:r>
            <a:r>
              <a:rPr lang="en-US" sz="1100" dirty="0" err="1">
                <a:solidFill>
                  <a:srgbClr val="353B3E"/>
                </a:solidFill>
              </a:rPr>
              <a:t>serotip</a:t>
            </a:r>
            <a:r>
              <a:rPr lang="en-US" sz="1100" dirty="0">
                <a:solidFill>
                  <a:srgbClr val="353B3E"/>
                </a:solidFill>
              </a:rPr>
              <a:t> 8’e </a:t>
            </a:r>
            <a:r>
              <a:rPr lang="en-US" sz="1100" dirty="0" err="1">
                <a:solidFill>
                  <a:srgbClr val="353B3E"/>
                </a:solidFill>
              </a:rPr>
              <a:t>özgü</a:t>
            </a:r>
            <a:r>
              <a:rPr lang="en-US" sz="1100" dirty="0">
                <a:solidFill>
                  <a:srgbClr val="353B3E"/>
                </a:solidFill>
              </a:rPr>
              <a:t> OPA </a:t>
            </a:r>
            <a:r>
              <a:rPr lang="en-US" sz="1100" dirty="0" err="1">
                <a:solidFill>
                  <a:srgbClr val="353B3E"/>
                </a:solidFill>
              </a:rPr>
              <a:t>titrelerinde</a:t>
            </a:r>
            <a:r>
              <a:rPr lang="en-US" sz="1100" dirty="0">
                <a:solidFill>
                  <a:srgbClr val="353B3E"/>
                </a:solidFill>
              </a:rPr>
              <a:t> ≥4 kat </a:t>
            </a:r>
            <a:r>
              <a:rPr lang="en-US" sz="1100" dirty="0" err="1">
                <a:solidFill>
                  <a:srgbClr val="353B3E"/>
                </a:solidFill>
              </a:rPr>
              <a:t>artış</a:t>
            </a:r>
            <a:r>
              <a:rPr lang="en-US" sz="1100" dirty="0">
                <a:solidFill>
                  <a:srgbClr val="353B3E"/>
                </a:solidFill>
              </a:rPr>
              <a:t> </a:t>
            </a:r>
            <a:r>
              <a:rPr lang="en-US" sz="1100" dirty="0" err="1">
                <a:solidFill>
                  <a:srgbClr val="353B3E"/>
                </a:solidFill>
              </a:rPr>
              <a:t>elde</a:t>
            </a:r>
            <a:r>
              <a:rPr lang="en-US" sz="1100" dirty="0">
                <a:solidFill>
                  <a:srgbClr val="353B3E"/>
                </a:solidFill>
              </a:rPr>
              <a:t> </a:t>
            </a:r>
            <a:r>
              <a:rPr lang="en-US" sz="1100" dirty="0" err="1">
                <a:solidFill>
                  <a:srgbClr val="353B3E"/>
                </a:solidFill>
              </a:rPr>
              <a:t>edilmiştir</a:t>
            </a:r>
            <a:r>
              <a:rPr lang="en-US" sz="1100" dirty="0">
                <a:solidFill>
                  <a:srgbClr val="353B3E"/>
                </a:solidFill>
              </a:rPr>
              <a:t>..</a:t>
            </a:r>
          </a:p>
        </p:txBody>
      </p:sp>
      <p:sp>
        <p:nvSpPr>
          <p:cNvPr id="10" name="Rectangle 9">
            <a:extLst>
              <a:ext uri="{FF2B5EF4-FFF2-40B4-BE49-F238E27FC236}">
                <a16:creationId xmlns:a16="http://schemas.microsoft.com/office/drawing/2014/main" id="{25BF4477-1735-780B-DB12-6DEACA88A44C}"/>
              </a:ext>
            </a:extLst>
          </p:cNvPr>
          <p:cNvSpPr/>
          <p:nvPr/>
        </p:nvSpPr>
        <p:spPr>
          <a:xfrm>
            <a:off x="6289103" y="2680140"/>
            <a:ext cx="5180521" cy="1145422"/>
          </a:xfrm>
          <a:prstGeom prst="rect">
            <a:avLst/>
          </a:prstGeom>
          <a:solidFill>
            <a:schemeClr val="bg2">
              <a:lumMod val="20000"/>
              <a:lumOff val="8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102870" tIns="205740" rtlCol="0" anchor="t"/>
          <a:lstStyle/>
          <a:p>
            <a:pPr defTabSz="685800">
              <a:lnSpc>
                <a:spcPct val="95000"/>
              </a:lnSpc>
              <a:spcBef>
                <a:spcPts val="300"/>
              </a:spcBef>
              <a:defRPr/>
            </a:pPr>
            <a:r>
              <a:rPr lang="en-US" sz="1100">
                <a:solidFill>
                  <a:srgbClr val="353B3E"/>
                </a:solidFill>
              </a:rPr>
              <a:t>G</a:t>
            </a:r>
            <a:r>
              <a:rPr lang="en-US" sz="1100" err="1">
                <a:solidFill>
                  <a:srgbClr val="353B3E"/>
                </a:solidFill>
              </a:rPr>
              <a:t>enç</a:t>
            </a:r>
            <a:r>
              <a:rPr lang="en-US" sz="1100">
                <a:solidFill>
                  <a:srgbClr val="353B3E"/>
                </a:solidFill>
              </a:rPr>
              <a:t> </a:t>
            </a:r>
            <a:r>
              <a:rPr lang="en-US" sz="1100" err="1">
                <a:solidFill>
                  <a:srgbClr val="353B3E"/>
                </a:solidFill>
              </a:rPr>
              <a:t>yetişkinlerde</a:t>
            </a:r>
            <a:r>
              <a:rPr lang="en-US" sz="1100">
                <a:solidFill>
                  <a:srgbClr val="353B3E"/>
                </a:solidFill>
              </a:rPr>
              <a:t> (18-59 </a:t>
            </a:r>
            <a:r>
              <a:rPr lang="en-US" sz="1100" err="1">
                <a:solidFill>
                  <a:srgbClr val="353B3E"/>
                </a:solidFill>
              </a:rPr>
              <a:t>yaş</a:t>
            </a:r>
            <a:r>
              <a:rPr lang="en-US" sz="1100">
                <a:solidFill>
                  <a:srgbClr val="353B3E"/>
                </a:solidFill>
              </a:rPr>
              <a:t> </a:t>
            </a:r>
            <a:r>
              <a:rPr lang="en-US" sz="1100" err="1">
                <a:solidFill>
                  <a:srgbClr val="353B3E"/>
                </a:solidFill>
              </a:rPr>
              <a:t>arası</a:t>
            </a:r>
            <a:r>
              <a:rPr lang="en-US" sz="1100">
                <a:solidFill>
                  <a:srgbClr val="353B3E"/>
                </a:solidFill>
              </a:rPr>
              <a:t>) </a:t>
            </a:r>
            <a:r>
              <a:rPr lang="en-US" sz="1100" err="1">
                <a:solidFill>
                  <a:srgbClr val="353B3E"/>
                </a:solidFill>
              </a:rPr>
              <a:t>gözlenen</a:t>
            </a:r>
            <a:r>
              <a:rPr lang="en-US" sz="1100">
                <a:solidFill>
                  <a:srgbClr val="353B3E"/>
                </a:solidFill>
              </a:rPr>
              <a:t> </a:t>
            </a:r>
            <a:r>
              <a:rPr lang="en-US" sz="1100" err="1">
                <a:solidFill>
                  <a:srgbClr val="353B3E"/>
                </a:solidFill>
              </a:rPr>
              <a:t>immün</a:t>
            </a:r>
            <a:r>
              <a:rPr lang="en-US" sz="1100">
                <a:solidFill>
                  <a:srgbClr val="353B3E"/>
                </a:solidFill>
              </a:rPr>
              <a:t> </a:t>
            </a:r>
            <a:r>
              <a:rPr lang="en-US" sz="1100" err="1">
                <a:solidFill>
                  <a:srgbClr val="353B3E"/>
                </a:solidFill>
              </a:rPr>
              <a:t>yanıtlar</a:t>
            </a:r>
            <a:r>
              <a:rPr lang="en-US" sz="1100">
                <a:solidFill>
                  <a:srgbClr val="353B3E"/>
                </a:solidFill>
              </a:rPr>
              <a:t>, pivotal </a:t>
            </a:r>
            <a:r>
              <a:rPr lang="en-US" sz="1100" err="1">
                <a:solidFill>
                  <a:srgbClr val="353B3E"/>
                </a:solidFill>
              </a:rPr>
              <a:t>karşılaştırma</a:t>
            </a:r>
            <a:r>
              <a:rPr lang="en-US" sz="1100">
                <a:solidFill>
                  <a:srgbClr val="353B3E"/>
                </a:solidFill>
              </a:rPr>
              <a:t> </a:t>
            </a:r>
            <a:r>
              <a:rPr lang="en-US" sz="1100" err="1">
                <a:solidFill>
                  <a:srgbClr val="353B3E"/>
                </a:solidFill>
              </a:rPr>
              <a:t>grubunda</a:t>
            </a:r>
            <a:r>
              <a:rPr lang="en-US" sz="1100">
                <a:solidFill>
                  <a:srgbClr val="353B3E"/>
                </a:solidFill>
              </a:rPr>
              <a:t> (60-64 </a:t>
            </a:r>
            <a:r>
              <a:rPr lang="en-US" sz="1100" err="1">
                <a:solidFill>
                  <a:srgbClr val="353B3E"/>
                </a:solidFill>
              </a:rPr>
              <a:t>yaş</a:t>
            </a:r>
            <a:r>
              <a:rPr lang="en-US" sz="1100">
                <a:solidFill>
                  <a:srgbClr val="353B3E"/>
                </a:solidFill>
              </a:rPr>
              <a:t> </a:t>
            </a:r>
            <a:r>
              <a:rPr lang="en-US" sz="1100" err="1">
                <a:solidFill>
                  <a:srgbClr val="353B3E"/>
                </a:solidFill>
              </a:rPr>
              <a:t>arası</a:t>
            </a:r>
            <a:r>
              <a:rPr lang="en-US" sz="1100">
                <a:solidFill>
                  <a:srgbClr val="353B3E"/>
                </a:solidFill>
              </a:rPr>
              <a:t>) </a:t>
            </a:r>
            <a:r>
              <a:rPr lang="en-US" sz="1100" err="1">
                <a:solidFill>
                  <a:srgbClr val="353B3E"/>
                </a:solidFill>
              </a:rPr>
              <a:t>elde</a:t>
            </a:r>
            <a:r>
              <a:rPr lang="en-US" sz="1100">
                <a:solidFill>
                  <a:srgbClr val="353B3E"/>
                </a:solidFill>
              </a:rPr>
              <a:t> </a:t>
            </a:r>
            <a:r>
              <a:rPr lang="en-US" sz="1100" err="1">
                <a:solidFill>
                  <a:srgbClr val="353B3E"/>
                </a:solidFill>
              </a:rPr>
              <a:t>edilen</a:t>
            </a:r>
            <a:r>
              <a:rPr lang="en-US" sz="1100">
                <a:solidFill>
                  <a:srgbClr val="353B3E"/>
                </a:solidFill>
              </a:rPr>
              <a:t> </a:t>
            </a:r>
            <a:r>
              <a:rPr lang="en-US" sz="1100" err="1">
                <a:solidFill>
                  <a:srgbClr val="353B3E"/>
                </a:solidFill>
              </a:rPr>
              <a:t>immün</a:t>
            </a:r>
            <a:r>
              <a:rPr lang="en-US" sz="1100">
                <a:solidFill>
                  <a:srgbClr val="353B3E"/>
                </a:solidFill>
              </a:rPr>
              <a:t> </a:t>
            </a:r>
            <a:r>
              <a:rPr lang="en-US" sz="1100" err="1">
                <a:solidFill>
                  <a:srgbClr val="353B3E"/>
                </a:solidFill>
              </a:rPr>
              <a:t>yanıtlarla</a:t>
            </a:r>
            <a:r>
              <a:rPr lang="en-US" sz="1100">
                <a:solidFill>
                  <a:srgbClr val="353B3E"/>
                </a:solidFill>
              </a:rPr>
              <a:t> </a:t>
            </a:r>
            <a:r>
              <a:rPr lang="en-US" sz="1100" err="1">
                <a:solidFill>
                  <a:srgbClr val="353B3E"/>
                </a:solidFill>
              </a:rPr>
              <a:t>kıyaslandığında</a:t>
            </a:r>
            <a:r>
              <a:rPr lang="en-US" sz="1100">
                <a:solidFill>
                  <a:srgbClr val="353B3E"/>
                </a:solidFill>
              </a:rPr>
              <a:t> </a:t>
            </a:r>
            <a:r>
              <a:rPr lang="en-US" sz="1100" err="1">
                <a:solidFill>
                  <a:srgbClr val="353B3E"/>
                </a:solidFill>
              </a:rPr>
              <a:t>en</a:t>
            </a:r>
            <a:r>
              <a:rPr lang="en-US" sz="1100">
                <a:solidFill>
                  <a:srgbClr val="353B3E"/>
                </a:solidFill>
              </a:rPr>
              <a:t> </a:t>
            </a:r>
            <a:r>
              <a:rPr lang="en-US" sz="1100" err="1">
                <a:solidFill>
                  <a:srgbClr val="353B3E"/>
                </a:solidFill>
              </a:rPr>
              <a:t>az</a:t>
            </a:r>
            <a:r>
              <a:rPr lang="en-US" sz="1100">
                <a:solidFill>
                  <a:srgbClr val="353B3E"/>
                </a:solidFill>
              </a:rPr>
              <a:t> </a:t>
            </a:r>
            <a:r>
              <a:rPr lang="en-US" sz="1100" err="1">
                <a:solidFill>
                  <a:srgbClr val="353B3E"/>
                </a:solidFill>
              </a:rPr>
              <a:t>onlar</a:t>
            </a:r>
            <a:r>
              <a:rPr lang="en-US" sz="1100">
                <a:solidFill>
                  <a:srgbClr val="353B3E"/>
                </a:solidFill>
              </a:rPr>
              <a:t> </a:t>
            </a:r>
            <a:r>
              <a:rPr lang="en-US" sz="1100" err="1">
                <a:solidFill>
                  <a:srgbClr val="353B3E"/>
                </a:solidFill>
              </a:rPr>
              <a:t>kadar</a:t>
            </a:r>
            <a:r>
              <a:rPr lang="en-US" sz="1100">
                <a:solidFill>
                  <a:srgbClr val="353B3E"/>
                </a:solidFill>
              </a:rPr>
              <a:t> </a:t>
            </a:r>
            <a:r>
              <a:rPr lang="en-US" sz="1100" err="1">
                <a:solidFill>
                  <a:srgbClr val="353B3E"/>
                </a:solidFill>
              </a:rPr>
              <a:t>güçlü</a:t>
            </a:r>
            <a:r>
              <a:rPr lang="en-US" sz="1100">
                <a:solidFill>
                  <a:srgbClr val="353B3E"/>
                </a:solidFill>
              </a:rPr>
              <a:t> </a:t>
            </a:r>
            <a:r>
              <a:rPr lang="en-US" sz="1100" err="1">
                <a:solidFill>
                  <a:srgbClr val="353B3E"/>
                </a:solidFill>
              </a:rPr>
              <a:t>bulunmuştur</a:t>
            </a:r>
            <a:r>
              <a:rPr lang="en-US" sz="1100">
                <a:solidFill>
                  <a:srgbClr val="353B3E"/>
                </a:solidFill>
              </a:rPr>
              <a:t>.</a:t>
            </a:r>
          </a:p>
        </p:txBody>
      </p:sp>
      <p:sp>
        <p:nvSpPr>
          <p:cNvPr id="12" name="Rectangle 11">
            <a:extLst>
              <a:ext uri="{FF2B5EF4-FFF2-40B4-BE49-F238E27FC236}">
                <a16:creationId xmlns:a16="http://schemas.microsoft.com/office/drawing/2014/main" id="{D02F55DF-5B4C-2072-1F59-9ECCFC4DC79B}"/>
              </a:ext>
            </a:extLst>
          </p:cNvPr>
          <p:cNvSpPr/>
          <p:nvPr/>
        </p:nvSpPr>
        <p:spPr>
          <a:xfrm>
            <a:off x="610679" y="4165352"/>
            <a:ext cx="5180521" cy="959773"/>
          </a:xfrm>
          <a:prstGeom prst="rect">
            <a:avLst/>
          </a:prstGeom>
          <a:solidFill>
            <a:schemeClr val="bg2">
              <a:lumMod val="20000"/>
              <a:lumOff val="80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02870" tIns="205740" rtlCol="0" anchor="t"/>
          <a:lstStyle/>
          <a:p>
            <a:pPr>
              <a:lnSpc>
                <a:spcPct val="95000"/>
              </a:lnSpc>
              <a:spcBef>
                <a:spcPts val="300"/>
              </a:spcBef>
            </a:pPr>
            <a:r>
              <a:rPr lang="en-US" sz="1100">
                <a:solidFill>
                  <a:srgbClr val="353B3E"/>
                </a:solidFill>
              </a:rPr>
              <a:t>KPA20, </a:t>
            </a:r>
            <a:r>
              <a:rPr lang="en-US" sz="1100" err="1">
                <a:solidFill>
                  <a:srgbClr val="353B3E"/>
                </a:solidFill>
              </a:rPr>
              <a:t>önceki</a:t>
            </a:r>
            <a:r>
              <a:rPr lang="en-US" sz="1100">
                <a:solidFill>
                  <a:srgbClr val="353B3E"/>
                </a:solidFill>
              </a:rPr>
              <a:t> </a:t>
            </a:r>
            <a:r>
              <a:rPr lang="en-US" sz="1100" err="1">
                <a:solidFill>
                  <a:srgbClr val="353B3E"/>
                </a:solidFill>
              </a:rPr>
              <a:t>pnömokok</a:t>
            </a:r>
            <a:r>
              <a:rPr lang="en-US" sz="1100">
                <a:solidFill>
                  <a:srgbClr val="353B3E"/>
                </a:solidFill>
              </a:rPr>
              <a:t> </a:t>
            </a:r>
            <a:r>
              <a:rPr lang="en-US" sz="1100" err="1">
                <a:solidFill>
                  <a:srgbClr val="353B3E"/>
                </a:solidFill>
              </a:rPr>
              <a:t>aşılama</a:t>
            </a:r>
            <a:r>
              <a:rPr lang="en-US" sz="1100">
                <a:solidFill>
                  <a:srgbClr val="353B3E"/>
                </a:solidFill>
              </a:rPr>
              <a:t> </a:t>
            </a:r>
            <a:r>
              <a:rPr lang="en-US" sz="1100" err="1">
                <a:solidFill>
                  <a:srgbClr val="353B3E"/>
                </a:solidFill>
              </a:rPr>
              <a:t>durumundan</a:t>
            </a:r>
            <a:r>
              <a:rPr lang="en-US" sz="1100">
                <a:solidFill>
                  <a:srgbClr val="353B3E"/>
                </a:solidFill>
              </a:rPr>
              <a:t> </a:t>
            </a:r>
            <a:r>
              <a:rPr lang="en-US" sz="1100" err="1">
                <a:solidFill>
                  <a:srgbClr val="353B3E"/>
                </a:solidFill>
              </a:rPr>
              <a:t>bağımsız</a:t>
            </a:r>
            <a:r>
              <a:rPr lang="en-US" sz="1100">
                <a:solidFill>
                  <a:srgbClr val="353B3E"/>
                </a:solidFill>
              </a:rPr>
              <a:t> </a:t>
            </a:r>
            <a:r>
              <a:rPr lang="en-US" sz="1100" err="1">
                <a:solidFill>
                  <a:srgbClr val="353B3E"/>
                </a:solidFill>
              </a:rPr>
              <a:t>olarak</a:t>
            </a:r>
            <a:r>
              <a:rPr lang="en-US" sz="1100">
                <a:solidFill>
                  <a:srgbClr val="353B3E"/>
                </a:solidFill>
              </a:rPr>
              <a:t> ≥65 </a:t>
            </a:r>
            <a:r>
              <a:rPr lang="en-US" sz="1100" err="1">
                <a:solidFill>
                  <a:srgbClr val="353B3E"/>
                </a:solidFill>
              </a:rPr>
              <a:t>yaş</a:t>
            </a:r>
            <a:r>
              <a:rPr lang="en-US" sz="1100">
                <a:solidFill>
                  <a:srgbClr val="353B3E"/>
                </a:solidFill>
              </a:rPr>
              <a:t> </a:t>
            </a:r>
            <a:r>
              <a:rPr lang="en-US" sz="1100" err="1">
                <a:solidFill>
                  <a:srgbClr val="353B3E"/>
                </a:solidFill>
              </a:rPr>
              <a:t>üstü</a:t>
            </a:r>
            <a:r>
              <a:rPr lang="en-US" sz="1100">
                <a:solidFill>
                  <a:srgbClr val="353B3E"/>
                </a:solidFill>
              </a:rPr>
              <a:t> </a:t>
            </a:r>
            <a:r>
              <a:rPr lang="en-US" sz="1100" err="1">
                <a:solidFill>
                  <a:srgbClr val="353B3E"/>
                </a:solidFill>
              </a:rPr>
              <a:t>kişilerde</a:t>
            </a:r>
            <a:r>
              <a:rPr lang="en-US" sz="1100">
                <a:solidFill>
                  <a:srgbClr val="353B3E"/>
                </a:solidFill>
              </a:rPr>
              <a:t> iyi </a:t>
            </a:r>
            <a:r>
              <a:rPr lang="en-US" sz="1100" err="1">
                <a:solidFill>
                  <a:srgbClr val="353B3E"/>
                </a:solidFill>
              </a:rPr>
              <a:t>tolere</a:t>
            </a:r>
            <a:r>
              <a:rPr lang="en-US" sz="1100">
                <a:solidFill>
                  <a:srgbClr val="353B3E"/>
                </a:solidFill>
              </a:rPr>
              <a:t> </a:t>
            </a:r>
            <a:r>
              <a:rPr lang="en-US" sz="1100" err="1">
                <a:solidFill>
                  <a:srgbClr val="353B3E"/>
                </a:solidFill>
              </a:rPr>
              <a:t>edildi</a:t>
            </a:r>
            <a:r>
              <a:rPr lang="en-US" sz="1100">
                <a:solidFill>
                  <a:srgbClr val="353B3E"/>
                </a:solidFill>
              </a:rPr>
              <a:t> </a:t>
            </a:r>
            <a:r>
              <a:rPr lang="en-US" sz="1100" err="1">
                <a:solidFill>
                  <a:srgbClr val="353B3E"/>
                </a:solidFill>
              </a:rPr>
              <a:t>ve</a:t>
            </a:r>
            <a:r>
              <a:rPr lang="en-US" sz="1100">
                <a:solidFill>
                  <a:srgbClr val="353B3E"/>
                </a:solidFill>
              </a:rPr>
              <a:t> </a:t>
            </a:r>
            <a:r>
              <a:rPr lang="en-US" sz="1100" err="1">
                <a:solidFill>
                  <a:srgbClr val="353B3E"/>
                </a:solidFill>
              </a:rPr>
              <a:t>immünojenik</a:t>
            </a:r>
            <a:r>
              <a:rPr lang="en-US" sz="1100">
                <a:solidFill>
                  <a:srgbClr val="353B3E"/>
                </a:solidFill>
              </a:rPr>
              <a:t> </a:t>
            </a:r>
            <a:r>
              <a:rPr lang="en-US" sz="1100" err="1">
                <a:solidFill>
                  <a:srgbClr val="353B3E"/>
                </a:solidFill>
              </a:rPr>
              <a:t>idi</a:t>
            </a:r>
            <a:endParaRPr lang="en-US" sz="1100" strike="sngStrike">
              <a:solidFill>
                <a:srgbClr val="353B3E"/>
              </a:solidFill>
            </a:endParaRPr>
          </a:p>
        </p:txBody>
      </p:sp>
      <p:sp>
        <p:nvSpPr>
          <p:cNvPr id="14" name="Rectangle 13">
            <a:extLst>
              <a:ext uri="{FF2B5EF4-FFF2-40B4-BE49-F238E27FC236}">
                <a16:creationId xmlns:a16="http://schemas.microsoft.com/office/drawing/2014/main" id="{0E43AFCE-6CD6-7507-7225-0B50ACC7C3E1}"/>
              </a:ext>
            </a:extLst>
          </p:cNvPr>
          <p:cNvSpPr/>
          <p:nvPr/>
        </p:nvSpPr>
        <p:spPr>
          <a:xfrm>
            <a:off x="6289102" y="4165352"/>
            <a:ext cx="5180522" cy="959773"/>
          </a:xfrm>
          <a:prstGeom prst="rect">
            <a:avLst/>
          </a:prstGeom>
          <a:solidFill>
            <a:schemeClr val="bg2">
              <a:lumMod val="20000"/>
              <a:lumOff val="80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02870" tIns="205740" rtlCol="0" anchor="t"/>
          <a:lstStyle/>
          <a:p>
            <a:pPr lvl="0"/>
            <a:r>
              <a:rPr lang="en-US" sz="1100">
                <a:solidFill>
                  <a:srgbClr val="353B3E"/>
                </a:solidFill>
              </a:rPr>
              <a:t>KPA20, </a:t>
            </a:r>
            <a:r>
              <a:rPr lang="en-US" sz="1100" err="1">
                <a:solidFill>
                  <a:srgbClr val="353B3E"/>
                </a:solidFill>
              </a:rPr>
              <a:t>mevsimsel</a:t>
            </a:r>
            <a:r>
              <a:rPr lang="en-US" sz="1100">
                <a:solidFill>
                  <a:srgbClr val="353B3E"/>
                </a:solidFill>
              </a:rPr>
              <a:t> grip </a:t>
            </a:r>
            <a:r>
              <a:rPr lang="en-US" sz="1100" err="1">
                <a:solidFill>
                  <a:srgbClr val="353B3E"/>
                </a:solidFill>
              </a:rPr>
              <a:t>aşısı</a:t>
            </a:r>
            <a:r>
              <a:rPr lang="en-US" sz="1100">
                <a:solidFill>
                  <a:srgbClr val="353B3E"/>
                </a:solidFill>
              </a:rPr>
              <a:t> (QIV; </a:t>
            </a:r>
            <a:r>
              <a:rPr lang="en-US" sz="1100" err="1">
                <a:solidFill>
                  <a:srgbClr val="353B3E"/>
                </a:solidFill>
              </a:rPr>
              <a:t>yüzey</a:t>
            </a:r>
            <a:r>
              <a:rPr lang="en-US" sz="1100">
                <a:solidFill>
                  <a:srgbClr val="353B3E"/>
                </a:solidFill>
              </a:rPr>
              <a:t> </a:t>
            </a:r>
            <a:r>
              <a:rPr lang="en-US" sz="1100" err="1">
                <a:solidFill>
                  <a:srgbClr val="353B3E"/>
                </a:solidFill>
              </a:rPr>
              <a:t>antijeni</a:t>
            </a:r>
            <a:r>
              <a:rPr lang="en-US" sz="1100">
                <a:solidFill>
                  <a:srgbClr val="353B3E"/>
                </a:solidFill>
              </a:rPr>
              <a:t>, </a:t>
            </a:r>
            <a:r>
              <a:rPr lang="en-US" sz="1100" err="1">
                <a:solidFill>
                  <a:srgbClr val="353B3E"/>
                </a:solidFill>
              </a:rPr>
              <a:t>inaktive</a:t>
            </a:r>
            <a:r>
              <a:rPr lang="en-US" sz="1100">
                <a:solidFill>
                  <a:srgbClr val="353B3E"/>
                </a:solidFill>
              </a:rPr>
              <a:t> </a:t>
            </a:r>
            <a:r>
              <a:rPr lang="en-US" sz="1100" err="1">
                <a:solidFill>
                  <a:srgbClr val="353B3E"/>
                </a:solidFill>
              </a:rPr>
              <a:t>edilmiş</a:t>
            </a:r>
            <a:r>
              <a:rPr lang="en-US" sz="1100">
                <a:solidFill>
                  <a:srgbClr val="353B3E"/>
                </a:solidFill>
              </a:rPr>
              <a:t>, </a:t>
            </a:r>
            <a:r>
              <a:rPr lang="en-US" sz="1100" err="1">
                <a:solidFill>
                  <a:srgbClr val="353B3E"/>
                </a:solidFill>
              </a:rPr>
              <a:t>adjuvanlı</a:t>
            </a:r>
            <a:r>
              <a:rPr lang="en-US" sz="1100">
                <a:solidFill>
                  <a:srgbClr val="353B3E"/>
                </a:solidFill>
              </a:rPr>
              <a:t>) </a:t>
            </a:r>
            <a:r>
              <a:rPr lang="en-US" sz="1100" err="1">
                <a:solidFill>
                  <a:srgbClr val="353B3E"/>
                </a:solidFill>
              </a:rPr>
              <a:t>ile</a:t>
            </a:r>
            <a:r>
              <a:rPr lang="en-US" sz="1100">
                <a:solidFill>
                  <a:srgbClr val="353B3E"/>
                </a:solidFill>
              </a:rPr>
              <a:t> </a:t>
            </a:r>
            <a:r>
              <a:rPr lang="en-US" sz="1100" err="1">
                <a:solidFill>
                  <a:srgbClr val="353B3E"/>
                </a:solidFill>
              </a:rPr>
              <a:t>birlikte</a:t>
            </a:r>
            <a:r>
              <a:rPr lang="en-US" sz="1100">
                <a:solidFill>
                  <a:srgbClr val="353B3E"/>
                </a:solidFill>
              </a:rPr>
              <a:t> </a:t>
            </a:r>
            <a:r>
              <a:rPr lang="en-US" sz="1100" err="1">
                <a:solidFill>
                  <a:srgbClr val="353B3E"/>
                </a:solidFill>
              </a:rPr>
              <a:t>uygulanabilir</a:t>
            </a:r>
            <a:r>
              <a:rPr lang="en-US" sz="1100">
                <a:solidFill>
                  <a:srgbClr val="353B3E"/>
                </a:solidFill>
              </a:rPr>
              <a:t>.
KPA 20, COVID-19 mRNA </a:t>
            </a:r>
            <a:r>
              <a:rPr lang="en-US" sz="1100" err="1">
                <a:solidFill>
                  <a:srgbClr val="353B3E"/>
                </a:solidFill>
              </a:rPr>
              <a:t>aşısı</a:t>
            </a:r>
            <a:r>
              <a:rPr lang="en-US" sz="1100">
                <a:solidFill>
                  <a:srgbClr val="353B3E"/>
                </a:solidFill>
              </a:rPr>
              <a:t> (</a:t>
            </a:r>
            <a:r>
              <a:rPr lang="en-US" sz="1100" err="1">
                <a:solidFill>
                  <a:srgbClr val="353B3E"/>
                </a:solidFill>
              </a:rPr>
              <a:t>nükleozit</a:t>
            </a:r>
            <a:r>
              <a:rPr lang="en-US" sz="1100">
                <a:solidFill>
                  <a:srgbClr val="353B3E"/>
                </a:solidFill>
              </a:rPr>
              <a:t> </a:t>
            </a:r>
            <a:r>
              <a:rPr lang="en-US" sz="1100" err="1">
                <a:solidFill>
                  <a:srgbClr val="353B3E"/>
                </a:solidFill>
              </a:rPr>
              <a:t>modifiye</a:t>
            </a:r>
            <a:r>
              <a:rPr lang="en-US" sz="1100">
                <a:solidFill>
                  <a:srgbClr val="353B3E"/>
                </a:solidFill>
              </a:rPr>
              <a:t> </a:t>
            </a:r>
            <a:r>
              <a:rPr lang="en-US" sz="1100" err="1">
                <a:solidFill>
                  <a:srgbClr val="353B3E"/>
                </a:solidFill>
              </a:rPr>
              <a:t>edilmiş</a:t>
            </a:r>
            <a:r>
              <a:rPr lang="en-US" sz="1100">
                <a:solidFill>
                  <a:srgbClr val="353B3E"/>
                </a:solidFill>
              </a:rPr>
              <a:t>) </a:t>
            </a:r>
            <a:r>
              <a:rPr lang="en-US" sz="1100" err="1">
                <a:solidFill>
                  <a:srgbClr val="353B3E"/>
                </a:solidFill>
              </a:rPr>
              <a:t>ile</a:t>
            </a:r>
            <a:r>
              <a:rPr lang="en-US" sz="1100">
                <a:solidFill>
                  <a:srgbClr val="353B3E"/>
                </a:solidFill>
              </a:rPr>
              <a:t> </a:t>
            </a:r>
            <a:r>
              <a:rPr lang="en-US" sz="1100" err="1">
                <a:solidFill>
                  <a:srgbClr val="353B3E"/>
                </a:solidFill>
              </a:rPr>
              <a:t>birlikte</a:t>
            </a:r>
            <a:r>
              <a:rPr lang="en-US" sz="1100">
                <a:solidFill>
                  <a:srgbClr val="353B3E"/>
                </a:solidFill>
              </a:rPr>
              <a:t> </a:t>
            </a:r>
            <a:r>
              <a:rPr lang="en-US" sz="1100" err="1">
                <a:solidFill>
                  <a:srgbClr val="353B3E"/>
                </a:solidFill>
              </a:rPr>
              <a:t>uygulanabilir</a:t>
            </a:r>
            <a:r>
              <a:rPr lang="en-US" sz="1100">
                <a:solidFill>
                  <a:srgbClr val="353B3E"/>
                </a:solidFill>
              </a:rPr>
              <a:t>.)</a:t>
            </a:r>
          </a:p>
        </p:txBody>
      </p:sp>
      <p:sp>
        <p:nvSpPr>
          <p:cNvPr id="7" name="Parallelogram 6">
            <a:extLst>
              <a:ext uri="{FF2B5EF4-FFF2-40B4-BE49-F238E27FC236}">
                <a16:creationId xmlns:a16="http://schemas.microsoft.com/office/drawing/2014/main" id="{ADAF6DBD-051A-5AEE-1B9B-E1CAC8C35D71}"/>
              </a:ext>
            </a:extLst>
          </p:cNvPr>
          <p:cNvSpPr/>
          <p:nvPr/>
        </p:nvSpPr>
        <p:spPr>
          <a:xfrm>
            <a:off x="610679" y="2299523"/>
            <a:ext cx="5292218" cy="439382"/>
          </a:xfrm>
          <a:prstGeom prst="parallelogram">
            <a:avLst/>
          </a:prstGeom>
          <a:solidFill>
            <a:schemeClr val="accent1"/>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gn="ctr" defTabSz="685800">
              <a:defRPr/>
            </a:pPr>
            <a:r>
              <a:rPr lang="en-US" sz="1400" b="1">
                <a:solidFill>
                  <a:srgbClr val="FFFFFF"/>
                </a:solidFill>
                <a:latin typeface="Arial" panose="020B0604020202020204"/>
              </a:rPr>
              <a:t>KPA13 </a:t>
            </a:r>
            <a:r>
              <a:rPr lang="en-US" sz="1400" b="1" err="1">
                <a:solidFill>
                  <a:srgbClr val="FFFFFF"/>
                </a:solidFill>
                <a:latin typeface="Arial" panose="020B0604020202020204"/>
              </a:rPr>
              <a:t>ve</a:t>
            </a:r>
            <a:r>
              <a:rPr lang="en-US" sz="1400" b="1">
                <a:solidFill>
                  <a:srgbClr val="FFFFFF"/>
                </a:solidFill>
                <a:latin typeface="Arial" panose="020B0604020202020204"/>
              </a:rPr>
              <a:t> PPSA23 Noninferiority</a:t>
            </a:r>
            <a:r>
              <a:rPr lang="en-US" sz="1400" b="1" baseline="30000">
                <a:solidFill>
                  <a:srgbClr val="FFFFFF"/>
                </a:solidFill>
                <a:latin typeface="Arial" panose="020B0604020202020204"/>
              </a:rPr>
              <a:t>1,2</a:t>
            </a:r>
          </a:p>
        </p:txBody>
      </p:sp>
      <p:sp>
        <p:nvSpPr>
          <p:cNvPr id="9" name="Parallelogram 8">
            <a:extLst>
              <a:ext uri="{FF2B5EF4-FFF2-40B4-BE49-F238E27FC236}">
                <a16:creationId xmlns:a16="http://schemas.microsoft.com/office/drawing/2014/main" id="{B382CCC5-1C2E-8A89-2C71-618662972500}"/>
              </a:ext>
            </a:extLst>
          </p:cNvPr>
          <p:cNvSpPr/>
          <p:nvPr/>
        </p:nvSpPr>
        <p:spPr>
          <a:xfrm>
            <a:off x="6289103" y="2299523"/>
            <a:ext cx="5292218" cy="439382"/>
          </a:xfrm>
          <a:prstGeom prst="parallelogram">
            <a:avLst/>
          </a:prstGeom>
          <a:solidFill>
            <a:schemeClr val="accent1"/>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lvl="0" algn="ctr"/>
            <a:r>
              <a:rPr lang="en-US" sz="1400" b="1">
                <a:solidFill>
                  <a:srgbClr val="FFFFFF"/>
                </a:solidFill>
                <a:latin typeface="Arial" panose="020B0604020202020204"/>
              </a:rPr>
              <a:t> </a:t>
            </a:r>
            <a:r>
              <a:rPr lang="en-US" sz="1400" b="1">
                <a:solidFill>
                  <a:srgbClr val="FFFFFF"/>
                </a:solidFill>
              </a:rPr>
              <a:t>Genç </a:t>
            </a:r>
            <a:r>
              <a:rPr lang="en-US" sz="1400" b="1" err="1">
                <a:solidFill>
                  <a:srgbClr val="FFFFFF"/>
                </a:solidFill>
              </a:rPr>
              <a:t>Yetişkinler</a:t>
            </a:r>
            <a:r>
              <a:rPr lang="en-US" sz="1400" b="1" baseline="30000">
                <a:solidFill>
                  <a:srgbClr val="FFFFFF"/>
                </a:solidFill>
                <a:latin typeface="Arial" panose="020B0604020202020204"/>
              </a:rPr>
              <a:t>1,2</a:t>
            </a:r>
          </a:p>
        </p:txBody>
      </p:sp>
      <p:sp>
        <p:nvSpPr>
          <p:cNvPr id="11" name="Parallelogram 10">
            <a:extLst>
              <a:ext uri="{FF2B5EF4-FFF2-40B4-BE49-F238E27FC236}">
                <a16:creationId xmlns:a16="http://schemas.microsoft.com/office/drawing/2014/main" id="{AB505B67-741D-80DF-EAB1-0F9AA0B6FE6B}"/>
              </a:ext>
            </a:extLst>
          </p:cNvPr>
          <p:cNvSpPr/>
          <p:nvPr/>
        </p:nvSpPr>
        <p:spPr>
          <a:xfrm>
            <a:off x="610679" y="3905666"/>
            <a:ext cx="5292218" cy="383035"/>
          </a:xfrm>
          <a:prstGeom prst="parallelogram">
            <a:avLst/>
          </a:prstGeom>
          <a:solidFill>
            <a:schemeClr val="accent1"/>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lvl="0" algn="ctr"/>
            <a:r>
              <a:rPr lang="en-US" sz="1400" b="1">
                <a:solidFill>
                  <a:srgbClr val="FFFFFF"/>
                </a:solidFill>
                <a:latin typeface="Arial" panose="020B0604020202020204"/>
              </a:rPr>
              <a:t> </a:t>
            </a:r>
            <a:r>
              <a:rPr lang="en-US" sz="1400" b="1">
                <a:solidFill>
                  <a:srgbClr val="FFFFFF"/>
                </a:solidFill>
              </a:rPr>
              <a:t>Daha </a:t>
            </a:r>
            <a:r>
              <a:rPr lang="en-US" sz="1400" b="1" err="1">
                <a:solidFill>
                  <a:srgbClr val="FFFFFF"/>
                </a:solidFill>
              </a:rPr>
              <a:t>önce</a:t>
            </a:r>
            <a:r>
              <a:rPr lang="en-US" sz="1400" b="1">
                <a:solidFill>
                  <a:srgbClr val="FFFFFF"/>
                </a:solidFill>
              </a:rPr>
              <a:t> </a:t>
            </a:r>
            <a:r>
              <a:rPr lang="en-US" sz="1400" b="1" err="1">
                <a:solidFill>
                  <a:srgbClr val="FFFFFF"/>
                </a:solidFill>
              </a:rPr>
              <a:t>aşılanmış</a:t>
            </a:r>
            <a:r>
              <a:rPr lang="en-US" sz="1400" b="1">
                <a:solidFill>
                  <a:srgbClr val="FFFFFF"/>
                </a:solidFill>
              </a:rPr>
              <a:t> </a:t>
            </a:r>
            <a:r>
              <a:rPr lang="en-US" sz="1400" b="1" err="1">
                <a:solidFill>
                  <a:srgbClr val="FFFFFF"/>
                </a:solidFill>
              </a:rPr>
              <a:t>yetişkinler</a:t>
            </a:r>
            <a:r>
              <a:rPr lang="en-US" sz="1400" b="1">
                <a:solidFill>
                  <a:srgbClr val="FFFFFF"/>
                </a:solidFill>
                <a:latin typeface="Arial" panose="020B0604020202020204"/>
              </a:rPr>
              <a:t> </a:t>
            </a:r>
            <a:r>
              <a:rPr lang="en-US" sz="1400" b="1" baseline="30000">
                <a:solidFill>
                  <a:srgbClr val="FFFFFF"/>
                </a:solidFill>
                <a:latin typeface="Arial" panose="020B0604020202020204"/>
              </a:rPr>
              <a:t>1,3</a:t>
            </a:r>
          </a:p>
        </p:txBody>
      </p:sp>
      <p:sp>
        <p:nvSpPr>
          <p:cNvPr id="13" name="Parallelogram 12">
            <a:extLst>
              <a:ext uri="{FF2B5EF4-FFF2-40B4-BE49-F238E27FC236}">
                <a16:creationId xmlns:a16="http://schemas.microsoft.com/office/drawing/2014/main" id="{BB971B28-3633-BF39-F540-F8D4D20065D9}"/>
              </a:ext>
            </a:extLst>
          </p:cNvPr>
          <p:cNvSpPr/>
          <p:nvPr/>
        </p:nvSpPr>
        <p:spPr>
          <a:xfrm>
            <a:off x="6289102" y="3905666"/>
            <a:ext cx="5234687" cy="383035"/>
          </a:xfrm>
          <a:prstGeom prst="parallelogram">
            <a:avLst/>
          </a:prstGeom>
          <a:solidFill>
            <a:schemeClr val="accent1"/>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gn="ctr" defTabSz="685800">
              <a:defRPr/>
            </a:pPr>
            <a:r>
              <a:rPr lang="en-US" sz="1400" b="1" err="1">
                <a:solidFill>
                  <a:srgbClr val="FFFFFF"/>
                </a:solidFill>
                <a:latin typeface="Arial" panose="020B0604020202020204"/>
              </a:rPr>
              <a:t>Birlikte</a:t>
            </a:r>
            <a:r>
              <a:rPr lang="en-US" sz="1400" b="1">
                <a:solidFill>
                  <a:srgbClr val="FFFFFF"/>
                </a:solidFill>
                <a:latin typeface="Arial" panose="020B0604020202020204"/>
              </a:rPr>
              <a:t> uygulama</a:t>
            </a:r>
            <a:r>
              <a:rPr lang="en-US" sz="1400" b="1" baseline="30000">
                <a:solidFill>
                  <a:srgbClr val="FFFFFF"/>
                </a:solidFill>
                <a:latin typeface="Arial" panose="020B0604020202020204"/>
              </a:rPr>
              <a:t>1,4,5</a:t>
            </a:r>
          </a:p>
        </p:txBody>
      </p:sp>
      <p:sp>
        <p:nvSpPr>
          <p:cNvPr id="16" name="Rectangle 15">
            <a:extLst>
              <a:ext uri="{FF2B5EF4-FFF2-40B4-BE49-F238E27FC236}">
                <a16:creationId xmlns:a16="http://schemas.microsoft.com/office/drawing/2014/main" id="{50329D50-E603-0BFA-75E0-5F74C9786148}"/>
              </a:ext>
            </a:extLst>
          </p:cNvPr>
          <p:cNvSpPr/>
          <p:nvPr/>
        </p:nvSpPr>
        <p:spPr>
          <a:xfrm>
            <a:off x="610679" y="1419225"/>
            <a:ext cx="10913111" cy="772472"/>
          </a:xfrm>
          <a:prstGeom prst="rect">
            <a:avLst/>
          </a:prstGeom>
          <a:solidFill>
            <a:schemeClr val="accent1">
              <a:lumMod val="7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342900" rtlCol="0" anchor="ctr">
            <a:noAutofit/>
          </a:bodyPr>
          <a:lstStyle/>
          <a:p>
            <a:pPr lvl="0" algn="ctr">
              <a:lnSpc>
                <a:spcPct val="95000"/>
              </a:lnSpc>
            </a:pPr>
            <a:r>
              <a:rPr lang="en-US" sz="1600" b="1" dirty="0">
                <a:solidFill>
                  <a:srgbClr val="FFFFFF"/>
                </a:solidFill>
              </a:rPr>
              <a:t>KPA20, KPA13'ün </a:t>
            </a:r>
            <a:r>
              <a:rPr lang="en-US" sz="1600" b="1" dirty="0" err="1">
                <a:solidFill>
                  <a:srgbClr val="FFFFFF"/>
                </a:solidFill>
              </a:rPr>
              <a:t>yerleşik</a:t>
            </a:r>
            <a:r>
              <a:rPr lang="en-US" sz="1600" b="1" dirty="0">
                <a:solidFill>
                  <a:srgbClr val="FFFFFF"/>
                </a:solidFill>
              </a:rPr>
              <a:t> </a:t>
            </a:r>
            <a:r>
              <a:rPr lang="en-US" sz="1600" b="1" dirty="0" err="1">
                <a:solidFill>
                  <a:srgbClr val="FFFFFF"/>
                </a:solidFill>
              </a:rPr>
              <a:t>güvenliği</a:t>
            </a:r>
            <a:r>
              <a:rPr lang="en-US" sz="1600" b="1" dirty="0">
                <a:solidFill>
                  <a:srgbClr val="FFFFFF"/>
                </a:solidFill>
              </a:rPr>
              <a:t> </a:t>
            </a:r>
            <a:r>
              <a:rPr lang="en-US" sz="1600" b="1" dirty="0" err="1">
                <a:solidFill>
                  <a:srgbClr val="FFFFFF"/>
                </a:solidFill>
              </a:rPr>
              <a:t>ve</a:t>
            </a:r>
            <a:r>
              <a:rPr lang="en-US" sz="1600" b="1" dirty="0">
                <a:solidFill>
                  <a:srgbClr val="FFFFFF"/>
                </a:solidFill>
              </a:rPr>
              <a:t> </a:t>
            </a:r>
            <a:r>
              <a:rPr lang="en-US" sz="1600" b="1" dirty="0" err="1">
                <a:solidFill>
                  <a:srgbClr val="FFFFFF"/>
                </a:solidFill>
              </a:rPr>
              <a:t>etkinliği</a:t>
            </a:r>
            <a:r>
              <a:rPr lang="en-US" sz="1600" b="1" dirty="0">
                <a:solidFill>
                  <a:srgbClr val="FFFFFF"/>
                </a:solidFill>
              </a:rPr>
              <a:t> </a:t>
            </a:r>
            <a:r>
              <a:rPr lang="en-US" sz="1600" b="1" dirty="0" err="1">
                <a:solidFill>
                  <a:srgbClr val="FFFFFF"/>
                </a:solidFill>
              </a:rPr>
              <a:t>üzerine</a:t>
            </a:r>
            <a:r>
              <a:rPr lang="en-US" sz="1600" b="1" dirty="0">
                <a:solidFill>
                  <a:srgbClr val="FFFFFF"/>
                </a:solidFill>
              </a:rPr>
              <a:t> </a:t>
            </a:r>
            <a:r>
              <a:rPr lang="en-US" sz="1600" b="1" dirty="0" err="1">
                <a:solidFill>
                  <a:srgbClr val="FFFFFF"/>
                </a:solidFill>
              </a:rPr>
              <a:t>inşa</a:t>
            </a:r>
            <a:r>
              <a:rPr lang="en-US" sz="1600" b="1" dirty="0">
                <a:solidFill>
                  <a:srgbClr val="FFFFFF"/>
                </a:solidFill>
              </a:rPr>
              <a:t> </a:t>
            </a:r>
            <a:r>
              <a:rPr lang="en-US" sz="1600" b="1" dirty="0" err="1">
                <a:solidFill>
                  <a:srgbClr val="FFFFFF"/>
                </a:solidFill>
              </a:rPr>
              <a:t>edilmiştir</a:t>
            </a:r>
            <a:r>
              <a:rPr lang="en-US" sz="1600" b="1" dirty="0">
                <a:solidFill>
                  <a:srgbClr val="FFFFFF"/>
                </a:solidFill>
              </a:rPr>
              <a:t> </a:t>
            </a:r>
            <a:r>
              <a:rPr lang="en-US" sz="1600" b="1" dirty="0" err="1">
                <a:solidFill>
                  <a:srgbClr val="FFFFFF"/>
                </a:solidFill>
              </a:rPr>
              <a:t>ve</a:t>
            </a:r>
            <a:r>
              <a:rPr lang="en-US" sz="1600" b="1" dirty="0">
                <a:solidFill>
                  <a:srgbClr val="FFFFFF"/>
                </a:solidFill>
              </a:rPr>
              <a:t> KPA13'te </a:t>
            </a:r>
            <a:r>
              <a:rPr lang="en-US" sz="1600" b="1" dirty="0" err="1">
                <a:solidFill>
                  <a:srgbClr val="FFFFFF"/>
                </a:solidFill>
              </a:rPr>
              <a:t>bulunan</a:t>
            </a:r>
            <a:r>
              <a:rPr lang="en-US" sz="1600" b="1" dirty="0">
                <a:solidFill>
                  <a:srgbClr val="FFFFFF"/>
                </a:solidFill>
              </a:rPr>
              <a:t> </a:t>
            </a:r>
            <a:r>
              <a:rPr lang="en-US" sz="1600" b="1" dirty="0" err="1">
                <a:solidFill>
                  <a:srgbClr val="FFFFFF"/>
                </a:solidFill>
              </a:rPr>
              <a:t>aynı</a:t>
            </a:r>
            <a:r>
              <a:rPr lang="en-US" sz="1600" b="1" dirty="0">
                <a:solidFill>
                  <a:srgbClr val="FFFFFF"/>
                </a:solidFill>
              </a:rPr>
              <a:t> 13 </a:t>
            </a:r>
            <a:r>
              <a:rPr lang="en-US" sz="1600" b="1" dirty="0" err="1">
                <a:solidFill>
                  <a:srgbClr val="FFFFFF"/>
                </a:solidFill>
              </a:rPr>
              <a:t>serotipin</a:t>
            </a:r>
            <a:r>
              <a:rPr lang="en-US" sz="1600" b="1" dirty="0">
                <a:solidFill>
                  <a:srgbClr val="FFFFFF"/>
                </a:solidFill>
              </a:rPr>
              <a:t> </a:t>
            </a:r>
            <a:r>
              <a:rPr lang="en-US" sz="1600" b="1" dirty="0" err="1">
                <a:solidFill>
                  <a:srgbClr val="FFFFFF"/>
                </a:solidFill>
              </a:rPr>
              <a:t>yanı</a:t>
            </a:r>
            <a:r>
              <a:rPr lang="en-US" sz="1600" b="1" dirty="0">
                <a:solidFill>
                  <a:srgbClr val="FFFFFF"/>
                </a:solidFill>
              </a:rPr>
              <a:t> </a:t>
            </a:r>
            <a:r>
              <a:rPr lang="en-US" sz="1600" b="1" dirty="0" err="1">
                <a:solidFill>
                  <a:srgbClr val="FFFFFF"/>
                </a:solidFill>
              </a:rPr>
              <a:t>sıra</a:t>
            </a:r>
            <a:r>
              <a:rPr lang="en-US" sz="1600" b="1" dirty="0">
                <a:solidFill>
                  <a:srgbClr val="FFFFFF"/>
                </a:solidFill>
              </a:rPr>
              <a:t> 7 ek </a:t>
            </a:r>
            <a:r>
              <a:rPr lang="en-US" sz="1600" b="1" dirty="0" err="1">
                <a:solidFill>
                  <a:srgbClr val="FFFFFF"/>
                </a:solidFill>
              </a:rPr>
              <a:t>serotipin</a:t>
            </a:r>
            <a:r>
              <a:rPr lang="en-US" sz="1600" b="1" dirty="0">
                <a:solidFill>
                  <a:srgbClr val="FFFFFF"/>
                </a:solidFill>
              </a:rPr>
              <a:t> </a:t>
            </a:r>
            <a:r>
              <a:rPr lang="en-US" sz="1600" b="1" dirty="0" err="1">
                <a:solidFill>
                  <a:srgbClr val="FFFFFF"/>
                </a:solidFill>
              </a:rPr>
              <a:t>neden</a:t>
            </a:r>
            <a:r>
              <a:rPr lang="en-US" sz="1600" b="1" dirty="0">
                <a:solidFill>
                  <a:srgbClr val="FFFFFF"/>
                </a:solidFill>
              </a:rPr>
              <a:t> </a:t>
            </a:r>
            <a:r>
              <a:rPr lang="en-US" sz="1600" b="1" dirty="0" err="1">
                <a:solidFill>
                  <a:srgbClr val="FFFFFF"/>
                </a:solidFill>
              </a:rPr>
              <a:t>olduğu</a:t>
            </a:r>
            <a:r>
              <a:rPr lang="en-US" sz="1600" b="1" dirty="0">
                <a:solidFill>
                  <a:srgbClr val="FFFFFF"/>
                </a:solidFill>
              </a:rPr>
              <a:t> IPD </a:t>
            </a:r>
            <a:r>
              <a:rPr lang="en-US" sz="1600" b="1" dirty="0" err="1">
                <a:solidFill>
                  <a:srgbClr val="FFFFFF"/>
                </a:solidFill>
              </a:rPr>
              <a:t>ve</a:t>
            </a:r>
            <a:r>
              <a:rPr lang="en-US" sz="1600" b="1" dirty="0">
                <a:solidFill>
                  <a:srgbClr val="FFFFFF"/>
                </a:solidFill>
              </a:rPr>
              <a:t> </a:t>
            </a:r>
            <a:r>
              <a:rPr lang="en-US" sz="1600" b="1" dirty="0" err="1">
                <a:solidFill>
                  <a:srgbClr val="FFFFFF"/>
                </a:solidFill>
              </a:rPr>
              <a:t>pnömokok</a:t>
            </a:r>
            <a:r>
              <a:rPr lang="en-US" sz="1600" b="1" dirty="0">
                <a:solidFill>
                  <a:srgbClr val="FFFFFF"/>
                </a:solidFill>
              </a:rPr>
              <a:t> </a:t>
            </a:r>
            <a:r>
              <a:rPr lang="en-US" sz="1600" b="1" dirty="0" err="1">
                <a:solidFill>
                  <a:srgbClr val="FFFFFF"/>
                </a:solidFill>
              </a:rPr>
              <a:t>pnömonisine</a:t>
            </a:r>
            <a:r>
              <a:rPr lang="en-US" sz="1600" b="1" dirty="0">
                <a:solidFill>
                  <a:srgbClr val="FFFFFF"/>
                </a:solidFill>
              </a:rPr>
              <a:t> </a:t>
            </a:r>
            <a:r>
              <a:rPr lang="en-US" sz="1600" b="1" dirty="0" err="1">
                <a:solidFill>
                  <a:srgbClr val="FFFFFF"/>
                </a:solidFill>
              </a:rPr>
              <a:t>karşı</a:t>
            </a:r>
            <a:r>
              <a:rPr lang="en-US" sz="1600" b="1" dirty="0">
                <a:solidFill>
                  <a:srgbClr val="FFFFFF"/>
                </a:solidFill>
              </a:rPr>
              <a:t> </a:t>
            </a:r>
            <a:r>
              <a:rPr lang="en-US" sz="1600" b="1" dirty="0" err="1">
                <a:solidFill>
                  <a:srgbClr val="FFFFFF"/>
                </a:solidFill>
              </a:rPr>
              <a:t>korunmaya</a:t>
            </a:r>
            <a:r>
              <a:rPr lang="en-US" sz="1600" b="1" dirty="0">
                <a:solidFill>
                  <a:srgbClr val="FFFFFF"/>
                </a:solidFill>
              </a:rPr>
              <a:t> </a:t>
            </a:r>
            <a:r>
              <a:rPr lang="en-US" sz="1600" b="1" dirty="0" err="1">
                <a:solidFill>
                  <a:srgbClr val="FFFFFF"/>
                </a:solidFill>
              </a:rPr>
              <a:t>yardımcı</a:t>
            </a:r>
            <a:r>
              <a:rPr lang="en-US" sz="1600" b="1" dirty="0">
                <a:solidFill>
                  <a:srgbClr val="FFFFFF"/>
                </a:solidFill>
              </a:rPr>
              <a:t> olur</a:t>
            </a:r>
            <a:r>
              <a:rPr lang="en-US" sz="1600" b="1" baseline="30000" dirty="0">
                <a:solidFill>
                  <a:srgbClr val="FFFFFF"/>
                </a:solidFill>
                <a:latin typeface="Arial" panose="020B0604020202020204"/>
              </a:rPr>
              <a:t>1,2</a:t>
            </a:r>
          </a:p>
        </p:txBody>
      </p:sp>
      <p:sp>
        <p:nvSpPr>
          <p:cNvPr id="3" name="Parallelogram 2">
            <a:extLst>
              <a:ext uri="{FF2B5EF4-FFF2-40B4-BE49-F238E27FC236}">
                <a16:creationId xmlns:a16="http://schemas.microsoft.com/office/drawing/2014/main" id="{4087E049-B653-6D74-464A-533A30657BFA}"/>
              </a:ext>
            </a:extLst>
          </p:cNvPr>
          <p:cNvSpPr/>
          <p:nvPr/>
        </p:nvSpPr>
        <p:spPr>
          <a:xfrm>
            <a:off x="686558" y="5427034"/>
            <a:ext cx="10839705" cy="383034"/>
          </a:xfrm>
          <a:prstGeom prst="parallelogram">
            <a:avLst/>
          </a:prstGeom>
          <a:solidFill>
            <a:schemeClr val="accent1"/>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lvl="0" algn="ctr"/>
            <a:r>
              <a:rPr lang="en-US" sz="2000" b="1">
                <a:solidFill>
                  <a:schemeClr val="bg1"/>
                </a:solidFill>
              </a:rPr>
              <a:t>KPA20'nin </a:t>
            </a:r>
            <a:r>
              <a:rPr lang="en-US" sz="2000" b="1" err="1">
                <a:solidFill>
                  <a:schemeClr val="bg1"/>
                </a:solidFill>
              </a:rPr>
              <a:t>güvenlik</a:t>
            </a:r>
            <a:r>
              <a:rPr lang="en-US" sz="2000" b="1">
                <a:solidFill>
                  <a:schemeClr val="bg1"/>
                </a:solidFill>
              </a:rPr>
              <a:t> </a:t>
            </a:r>
            <a:r>
              <a:rPr lang="en-US" sz="2000" b="1" err="1">
                <a:solidFill>
                  <a:schemeClr val="bg1"/>
                </a:solidFill>
              </a:rPr>
              <a:t>profili</a:t>
            </a:r>
            <a:r>
              <a:rPr lang="en-US" sz="2000" b="1">
                <a:solidFill>
                  <a:schemeClr val="bg1"/>
                </a:solidFill>
              </a:rPr>
              <a:t> KPA13 </a:t>
            </a:r>
            <a:r>
              <a:rPr lang="en-US" sz="2000" b="1" err="1">
                <a:solidFill>
                  <a:schemeClr val="bg1"/>
                </a:solidFill>
              </a:rPr>
              <a:t>ile</a:t>
            </a:r>
            <a:r>
              <a:rPr lang="en-US" sz="2000" b="1">
                <a:solidFill>
                  <a:schemeClr val="bg1"/>
                </a:solidFill>
              </a:rPr>
              <a:t> uyumludur</a:t>
            </a:r>
            <a:r>
              <a:rPr lang="en-US" sz="2000" b="1" baseline="30000">
                <a:solidFill>
                  <a:schemeClr val="bg1"/>
                </a:solidFill>
                <a:latin typeface="Arial" panose="020B0604020202020204"/>
              </a:rPr>
              <a:t>2</a:t>
            </a:r>
          </a:p>
        </p:txBody>
      </p:sp>
      <p:sp>
        <p:nvSpPr>
          <p:cNvPr id="4" name="Text Placeholder 5">
            <a:extLst>
              <a:ext uri="{FF2B5EF4-FFF2-40B4-BE49-F238E27FC236}">
                <a16:creationId xmlns:a16="http://schemas.microsoft.com/office/drawing/2014/main" id="{CA37B222-9D79-9F57-C192-BFE027F09132}"/>
              </a:ext>
            </a:extLst>
          </p:cNvPr>
          <p:cNvSpPr txBox="1">
            <a:spLocks/>
          </p:cNvSpPr>
          <p:nvPr/>
        </p:nvSpPr>
        <p:spPr>
          <a:xfrm>
            <a:off x="551616" y="5931001"/>
            <a:ext cx="10707507" cy="307590"/>
          </a:xfrm>
          <a:prstGeom prst="rect">
            <a:avLst/>
          </a:prstGeom>
        </p:spPr>
        <p:txBody>
          <a:bodyPr vert="horz" lIns="68580" tIns="34290" rIns="68580" bIns="34290" rtlCol="0" anchor="ctr"/>
          <a:lstStyle>
            <a:defPPr>
              <a:defRPr lang="tr-TR"/>
            </a:defPPr>
            <a:lvl1pPr marL="0" algn="ctr" defTabSz="914400" rtl="0" eaLnBrk="1" latinLnBrk="0" hangingPunct="1">
              <a:defRPr sz="1000" kern="1200">
                <a:solidFill>
                  <a:schemeClr val="tx1">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5725" indent="-85725" algn="l"/>
            <a:r>
              <a:rPr lang="en-US" altLang="en-US" sz="900" dirty="0"/>
              <a:t>KPA</a:t>
            </a:r>
            <a:r>
              <a:rPr lang="tr-TR" altLang="en-US" sz="900" dirty="0"/>
              <a:t> </a:t>
            </a:r>
            <a:r>
              <a:rPr lang="en-US" altLang="en-US" sz="900" dirty="0"/>
              <a:t>= </a:t>
            </a:r>
            <a:r>
              <a:rPr lang="en-US" altLang="en-US" sz="900" dirty="0" err="1"/>
              <a:t>Konjüge</a:t>
            </a:r>
            <a:r>
              <a:rPr lang="en-US" altLang="en-US" sz="900" dirty="0"/>
              <a:t> </a:t>
            </a:r>
            <a:r>
              <a:rPr lang="en-US" altLang="en-US" sz="900" dirty="0" err="1"/>
              <a:t>Pnömokok</a:t>
            </a:r>
            <a:r>
              <a:rPr lang="en-US" altLang="en-US" sz="900" dirty="0"/>
              <a:t> </a:t>
            </a:r>
            <a:r>
              <a:rPr lang="en-US" altLang="en-US" sz="900" dirty="0" err="1"/>
              <a:t>aşısı</a:t>
            </a:r>
            <a:r>
              <a:rPr lang="tr-TR" altLang="en-US" sz="900" dirty="0"/>
              <a:t>,</a:t>
            </a:r>
            <a:r>
              <a:rPr lang="en-US" altLang="en-US" sz="900" dirty="0"/>
              <a:t> OPA = </a:t>
            </a:r>
            <a:r>
              <a:rPr lang="en-US" altLang="en-US" sz="900" dirty="0" err="1"/>
              <a:t>opsonofagositik</a:t>
            </a:r>
            <a:r>
              <a:rPr lang="en-US" altLang="en-US" sz="900" dirty="0"/>
              <a:t> </a:t>
            </a:r>
            <a:r>
              <a:rPr lang="en-US" altLang="en-US" sz="900" dirty="0" err="1"/>
              <a:t>aktivite</a:t>
            </a:r>
            <a:r>
              <a:rPr lang="en-US" altLang="en-US" sz="900" dirty="0"/>
              <a:t>; QIV = </a:t>
            </a:r>
            <a:r>
              <a:rPr lang="tr-TR" altLang="en-US" sz="900" dirty="0"/>
              <a:t>quadrivalan</a:t>
            </a:r>
            <a:r>
              <a:rPr lang="en-US" altLang="en-US" sz="900" dirty="0"/>
              <a:t> </a:t>
            </a:r>
            <a:r>
              <a:rPr lang="en-US" altLang="en-US" sz="900" dirty="0" err="1"/>
              <a:t>mevsimsel</a:t>
            </a:r>
            <a:r>
              <a:rPr lang="tr-TR" altLang="en-US" sz="900" dirty="0"/>
              <a:t> </a:t>
            </a:r>
            <a:r>
              <a:rPr lang="en-US" altLang="en-US" sz="900" dirty="0" err="1"/>
              <a:t>inaktive</a:t>
            </a:r>
            <a:r>
              <a:rPr lang="en-US" altLang="en-US" sz="900" dirty="0"/>
              <a:t> influenza </a:t>
            </a:r>
            <a:r>
              <a:rPr lang="en-US" altLang="en-US" sz="900" dirty="0" err="1"/>
              <a:t>aşısı</a:t>
            </a:r>
            <a:r>
              <a:rPr lang="tr-TR" altLang="en-US" sz="900" dirty="0"/>
              <a:t>; IPD= İnvazif pnömokok hastalık. </a:t>
            </a:r>
          </a:p>
        </p:txBody>
      </p:sp>
      <p:pic>
        <p:nvPicPr>
          <p:cNvPr id="17" name="Picture 16" descr="A yellow and blue logo&#10;&#10;Description automatically generated">
            <a:extLst>
              <a:ext uri="{FF2B5EF4-FFF2-40B4-BE49-F238E27FC236}">
                <a16:creationId xmlns:a16="http://schemas.microsoft.com/office/drawing/2014/main" id="{DA40F988-2FF5-7FCE-41F0-6EBE48C1F11C}"/>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122136304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PCV20 Klinik Verileri</a:t>
            </a:r>
          </a:p>
        </p:txBody>
      </p:sp>
      <p:sp>
        <p:nvSpPr>
          <p:cNvPr id="3" name="Content Placeholder 2"/>
          <p:cNvSpPr>
            <a:spLocks noGrp="1"/>
          </p:cNvSpPr>
          <p:nvPr>
            <p:ph idx="4294967295"/>
          </p:nvPr>
        </p:nvSpPr>
        <p:spPr>
          <a:xfrm>
            <a:off x="613152" y="1344613"/>
            <a:ext cx="9902448" cy="4351337"/>
          </a:xfrm>
        </p:spPr>
        <p:txBody>
          <a:bodyPr vert="horz" lIns="91440" tIns="45720" rIns="91440" bIns="45720" rtlCol="0" anchor="ctr">
            <a:normAutofit/>
          </a:bodyPr>
          <a:lstStyle/>
          <a:p>
            <a:pPr>
              <a:lnSpc>
                <a:spcPct val="100000"/>
              </a:lnSpc>
              <a:spcBef>
                <a:spcPts val="1200"/>
              </a:spcBef>
              <a:spcAft>
                <a:spcPts val="1200"/>
              </a:spcAft>
            </a:pPr>
            <a:r>
              <a:rPr lang="tr-TR" sz="3200" dirty="0"/>
              <a:t>13 ortak serotipte PCV13’e eşdeğer yanıt.</a:t>
            </a:r>
          </a:p>
          <a:p>
            <a:pPr>
              <a:lnSpc>
                <a:spcPct val="100000"/>
              </a:lnSpc>
              <a:spcBef>
                <a:spcPts val="1200"/>
              </a:spcBef>
              <a:spcAft>
                <a:spcPts val="1200"/>
              </a:spcAft>
            </a:pPr>
            <a:r>
              <a:rPr lang="tr-TR" sz="3200" dirty="0"/>
              <a:t>7 ek serotipte güçlü antikor cevabı.</a:t>
            </a:r>
          </a:p>
          <a:p>
            <a:pPr>
              <a:lnSpc>
                <a:spcPct val="100000"/>
              </a:lnSpc>
              <a:spcBef>
                <a:spcPts val="1200"/>
              </a:spcBef>
              <a:spcAft>
                <a:spcPts val="1200"/>
              </a:spcAft>
            </a:pPr>
            <a:r>
              <a:rPr lang="tr-TR" sz="3200" dirty="0"/>
              <a:t>Ciddi advers olay oranı: %0,3.</a:t>
            </a:r>
          </a:p>
          <a:p>
            <a:pPr>
              <a:lnSpc>
                <a:spcPct val="100000"/>
              </a:lnSpc>
              <a:spcBef>
                <a:spcPts val="1200"/>
              </a:spcBef>
              <a:spcAft>
                <a:spcPts val="1200"/>
              </a:spcAft>
            </a:pPr>
            <a:endParaRPr lang="tr-TR" sz="3200" dirty="0"/>
          </a:p>
          <a:p>
            <a:pPr marL="0" indent="0">
              <a:lnSpc>
                <a:spcPct val="100000"/>
              </a:lnSpc>
              <a:spcBef>
                <a:spcPts val="1200"/>
              </a:spcBef>
              <a:spcAft>
                <a:spcPts val="1200"/>
              </a:spcAft>
              <a:buNone/>
            </a:pPr>
            <a:r>
              <a:rPr lang="tr-TR" sz="600" dirty="0"/>
              <a:t>ACIP Adult Immunization Schedule 2025.</a:t>
            </a:r>
          </a:p>
        </p:txBody>
      </p:sp>
      <p:pic>
        <p:nvPicPr>
          <p:cNvPr id="6" name="Picture 5" descr="A yellow and blue logo&#10;&#10;Description automatically generated">
            <a:extLst>
              <a:ext uri="{FF2B5EF4-FFF2-40B4-BE49-F238E27FC236}">
                <a16:creationId xmlns:a16="http://schemas.microsoft.com/office/drawing/2014/main" id="{B440F26A-5E53-A807-D542-5D099ECC469E}"/>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248047D7-660B-418F-8C59-B52D6506E4E1}"/>
              </a:ext>
            </a:extLst>
          </p:cNvPr>
          <p:cNvSpPr>
            <a:spLocks noGrp="1"/>
          </p:cNvSpPr>
          <p:nvPr>
            <p:ph type="title"/>
          </p:nvPr>
        </p:nvSpPr>
        <p:spPr/>
        <p:txBody>
          <a:bodyPr vert="horz" lIns="91440" tIns="45720" rIns="91440" bIns="45720" rtlCol="0" anchor="ctr">
            <a:noAutofit/>
          </a:bodyPr>
          <a:lstStyle/>
          <a:p>
            <a:r>
              <a:rPr lang="en-US"/>
              <a:t>KPA20, KPA13 </a:t>
            </a:r>
            <a:r>
              <a:rPr lang="en-US" err="1"/>
              <a:t>ve</a:t>
            </a:r>
            <a:r>
              <a:rPr lang="en-US"/>
              <a:t> PPSA23 </a:t>
            </a:r>
            <a:r>
              <a:rPr lang="en-US" err="1"/>
              <a:t>ile</a:t>
            </a:r>
            <a:r>
              <a:rPr lang="en-US"/>
              <a:t> </a:t>
            </a:r>
            <a:r>
              <a:rPr lang="en-US" err="1"/>
              <a:t>İmmünolojik</a:t>
            </a:r>
            <a:r>
              <a:rPr lang="en-US"/>
              <a:t> </a:t>
            </a:r>
            <a:r>
              <a:rPr lang="en-US" err="1"/>
              <a:t>Karşılaştırmalara</a:t>
            </a:r>
            <a:r>
              <a:rPr lang="en-US"/>
              <a:t> </a:t>
            </a:r>
            <a:r>
              <a:rPr lang="en-US" err="1"/>
              <a:t>Dayalı</a:t>
            </a:r>
            <a:r>
              <a:rPr lang="en-US"/>
              <a:t> </a:t>
            </a:r>
            <a:r>
              <a:rPr lang="en-US" err="1"/>
              <a:t>Olarak</a:t>
            </a:r>
            <a:r>
              <a:rPr lang="en-US"/>
              <a:t> </a:t>
            </a:r>
            <a:r>
              <a:rPr lang="en-US" err="1"/>
              <a:t>Ruhsat</a:t>
            </a:r>
            <a:r>
              <a:rPr lang="en-US"/>
              <a:t> almıştır1-3</a:t>
            </a:r>
          </a:p>
        </p:txBody>
      </p:sp>
      <p:sp>
        <p:nvSpPr>
          <p:cNvPr id="2" name="Slide Number Placeholder 1">
            <a:extLst>
              <a:ext uri="{FF2B5EF4-FFF2-40B4-BE49-F238E27FC236}">
                <a16:creationId xmlns:a16="http://schemas.microsoft.com/office/drawing/2014/main" id="{3DE87841-47CA-41BA-F077-2686FB717262}"/>
              </a:ext>
            </a:extLst>
          </p:cNvPr>
          <p:cNvSpPr>
            <a:spLocks noGrp="1"/>
          </p:cNvSpPr>
          <p:nvPr>
            <p:ph type="sldNum" sz="quarter" idx="4"/>
          </p:nvPr>
        </p:nvSpPr>
        <p:spPr/>
        <p:txBody>
          <a:bodyPr/>
          <a:lstStyle/>
          <a:p>
            <a:fld id="{03074DEF-F175-4420-8EE3-137377F9872B}" type="slidenum">
              <a:rPr lang="en-US"/>
              <a:pPr/>
              <a:t>73</a:t>
            </a:fld>
            <a:endParaRPr lang="en-US"/>
          </a:p>
        </p:txBody>
      </p:sp>
      <p:sp>
        <p:nvSpPr>
          <p:cNvPr id="5" name="Text Placeholder 4">
            <a:extLst>
              <a:ext uri="{FF2B5EF4-FFF2-40B4-BE49-F238E27FC236}">
                <a16:creationId xmlns:a16="http://schemas.microsoft.com/office/drawing/2014/main" id="{0042DBC6-B63F-8257-D6D5-E39A2F5D971D}"/>
              </a:ext>
            </a:extLst>
          </p:cNvPr>
          <p:cNvSpPr>
            <a:spLocks noGrp="1"/>
          </p:cNvSpPr>
          <p:nvPr>
            <p:ph type="body" sz="quarter" idx="4294967295"/>
          </p:nvPr>
        </p:nvSpPr>
        <p:spPr>
          <a:xfrm>
            <a:off x="609256" y="5864969"/>
            <a:ext cx="11430000" cy="358775"/>
          </a:xfrm>
        </p:spPr>
        <p:txBody>
          <a:bodyPr>
            <a:normAutofit fontScale="32500" lnSpcReduction="20000"/>
          </a:bodyPr>
          <a:lstStyle/>
          <a:p>
            <a:r>
              <a:rPr lang="en-US"/>
              <a:t>KPA= </a:t>
            </a:r>
            <a:r>
              <a:rPr lang="en-US" err="1"/>
              <a:t>Konjüge</a:t>
            </a:r>
            <a:r>
              <a:rPr lang="en-US"/>
              <a:t> </a:t>
            </a:r>
            <a:r>
              <a:rPr lang="en-US" err="1"/>
              <a:t>Pnömokok</a:t>
            </a:r>
            <a:r>
              <a:rPr lang="en-US"/>
              <a:t> </a:t>
            </a:r>
            <a:r>
              <a:rPr lang="en-US" err="1"/>
              <a:t>Aşısı</a:t>
            </a:r>
            <a:r>
              <a:rPr lang="tr-TR"/>
              <a:t>; </a:t>
            </a:r>
            <a:r>
              <a:rPr lang="en-US"/>
              <a:t>GMT=</a:t>
            </a:r>
            <a:r>
              <a:rPr lang="en-US" err="1"/>
              <a:t>Geometrik</a:t>
            </a:r>
            <a:r>
              <a:rPr lang="en-US"/>
              <a:t> </a:t>
            </a:r>
            <a:r>
              <a:rPr lang="en-US" err="1"/>
              <a:t>Ortalama</a:t>
            </a:r>
            <a:r>
              <a:rPr lang="en-US"/>
              <a:t> </a:t>
            </a:r>
            <a:r>
              <a:rPr lang="en-US" err="1"/>
              <a:t>Titreleri</a:t>
            </a:r>
            <a:r>
              <a:rPr lang="en-US"/>
              <a:t>; NI=</a:t>
            </a:r>
            <a:r>
              <a:rPr lang="en-US" err="1"/>
              <a:t>noninferi</a:t>
            </a:r>
            <a:r>
              <a:rPr lang="tr-TR"/>
              <a:t>yorite</a:t>
            </a:r>
            <a:r>
              <a:rPr lang="en-US"/>
              <a:t>; OPA=</a:t>
            </a:r>
            <a:r>
              <a:rPr lang="en-US" err="1"/>
              <a:t>opsonofagositik</a:t>
            </a:r>
            <a:r>
              <a:rPr lang="en-US"/>
              <a:t> </a:t>
            </a:r>
            <a:r>
              <a:rPr lang="en-US" err="1"/>
              <a:t>aktivite</a:t>
            </a:r>
            <a:r>
              <a:rPr lang="tr-TR"/>
              <a:t>; PPSA= Pnönomokokal polisakkarid aşısı.</a:t>
            </a:r>
            <a:endParaRPr lang="en-US"/>
          </a:p>
          <a:p>
            <a:r>
              <a:rPr lang="en-US"/>
              <a:t>1. European Medicines Agency. CHMP Scientific Advice Procedure: 20-valent pneumococcal conjugate vaccine. Pfizer Limited; August 3, 2018. 2. Latest BPOM Approved KPA20 Local Product Document. 2024. 3. Latest BPOM Approved KPA13 Local Product Document. 2025. 4. Pneumovax 23. BPOM Assessment </a:t>
            </a:r>
            <a:r>
              <a:rPr lang="en-US" err="1"/>
              <a:t>Report.Indonesia</a:t>
            </a:r>
            <a:r>
              <a:rPr lang="en-US"/>
              <a:t>. MSD. 2023</a:t>
            </a:r>
          </a:p>
        </p:txBody>
      </p:sp>
      <p:graphicFrame>
        <p:nvGraphicFramePr>
          <p:cNvPr id="79" name="Content Placeholder 5">
            <a:extLst>
              <a:ext uri="{FF2B5EF4-FFF2-40B4-BE49-F238E27FC236}">
                <a16:creationId xmlns:a16="http://schemas.microsoft.com/office/drawing/2014/main" id="{4303DB82-DA70-4601-B7A0-7086155748C5}"/>
              </a:ext>
            </a:extLst>
          </p:cNvPr>
          <p:cNvGraphicFramePr>
            <a:graphicFrameLocks/>
          </p:cNvGraphicFramePr>
          <p:nvPr>
            <p:extLst>
              <p:ext uri="{D42A27DB-BD31-4B8C-83A1-F6EECF244321}">
                <p14:modId xmlns:p14="http://schemas.microsoft.com/office/powerpoint/2010/main" val="670854137"/>
              </p:ext>
            </p:extLst>
          </p:nvPr>
        </p:nvGraphicFramePr>
        <p:xfrm>
          <a:off x="1808508" y="3591286"/>
          <a:ext cx="8574985" cy="1658118"/>
        </p:xfrm>
        <a:graphic>
          <a:graphicData uri="http://schemas.openxmlformats.org/drawingml/2006/table">
            <a:tbl>
              <a:tblPr firstRow="1"/>
              <a:tblGrid>
                <a:gridCol w="932385">
                  <a:extLst>
                    <a:ext uri="{9D8B030D-6E8A-4147-A177-3AD203B41FA5}">
                      <a16:colId xmlns:a16="http://schemas.microsoft.com/office/drawing/2014/main" val="20000"/>
                    </a:ext>
                  </a:extLst>
                </a:gridCol>
                <a:gridCol w="382130">
                  <a:extLst>
                    <a:ext uri="{9D8B030D-6E8A-4147-A177-3AD203B41FA5}">
                      <a16:colId xmlns:a16="http://schemas.microsoft.com/office/drawing/2014/main" val="20002"/>
                    </a:ext>
                  </a:extLst>
                </a:gridCol>
                <a:gridCol w="382130">
                  <a:extLst>
                    <a:ext uri="{9D8B030D-6E8A-4147-A177-3AD203B41FA5}">
                      <a16:colId xmlns:a16="http://schemas.microsoft.com/office/drawing/2014/main" val="20003"/>
                    </a:ext>
                  </a:extLst>
                </a:gridCol>
                <a:gridCol w="382130">
                  <a:extLst>
                    <a:ext uri="{9D8B030D-6E8A-4147-A177-3AD203B41FA5}">
                      <a16:colId xmlns:a16="http://schemas.microsoft.com/office/drawing/2014/main" val="20004"/>
                    </a:ext>
                  </a:extLst>
                </a:gridCol>
                <a:gridCol w="382130">
                  <a:extLst>
                    <a:ext uri="{9D8B030D-6E8A-4147-A177-3AD203B41FA5}">
                      <a16:colId xmlns:a16="http://schemas.microsoft.com/office/drawing/2014/main" val="20005"/>
                    </a:ext>
                  </a:extLst>
                </a:gridCol>
                <a:gridCol w="382130">
                  <a:extLst>
                    <a:ext uri="{9D8B030D-6E8A-4147-A177-3AD203B41FA5}">
                      <a16:colId xmlns:a16="http://schemas.microsoft.com/office/drawing/2014/main" val="20006"/>
                    </a:ext>
                  </a:extLst>
                </a:gridCol>
                <a:gridCol w="382130">
                  <a:extLst>
                    <a:ext uri="{9D8B030D-6E8A-4147-A177-3AD203B41FA5}">
                      <a16:colId xmlns:a16="http://schemas.microsoft.com/office/drawing/2014/main" val="20007"/>
                    </a:ext>
                  </a:extLst>
                </a:gridCol>
                <a:gridCol w="382130">
                  <a:extLst>
                    <a:ext uri="{9D8B030D-6E8A-4147-A177-3AD203B41FA5}">
                      <a16:colId xmlns:a16="http://schemas.microsoft.com/office/drawing/2014/main" val="20008"/>
                    </a:ext>
                  </a:extLst>
                </a:gridCol>
                <a:gridCol w="382130">
                  <a:extLst>
                    <a:ext uri="{9D8B030D-6E8A-4147-A177-3AD203B41FA5}">
                      <a16:colId xmlns:a16="http://schemas.microsoft.com/office/drawing/2014/main" val="20009"/>
                    </a:ext>
                  </a:extLst>
                </a:gridCol>
                <a:gridCol w="382130">
                  <a:extLst>
                    <a:ext uri="{9D8B030D-6E8A-4147-A177-3AD203B41FA5}">
                      <a16:colId xmlns:a16="http://schemas.microsoft.com/office/drawing/2014/main" val="20010"/>
                    </a:ext>
                  </a:extLst>
                </a:gridCol>
                <a:gridCol w="382130">
                  <a:extLst>
                    <a:ext uri="{9D8B030D-6E8A-4147-A177-3AD203B41FA5}">
                      <a16:colId xmlns:a16="http://schemas.microsoft.com/office/drawing/2014/main" val="20011"/>
                    </a:ext>
                  </a:extLst>
                </a:gridCol>
                <a:gridCol w="382130">
                  <a:extLst>
                    <a:ext uri="{9D8B030D-6E8A-4147-A177-3AD203B41FA5}">
                      <a16:colId xmlns:a16="http://schemas.microsoft.com/office/drawing/2014/main" val="20012"/>
                    </a:ext>
                  </a:extLst>
                </a:gridCol>
                <a:gridCol w="382130">
                  <a:extLst>
                    <a:ext uri="{9D8B030D-6E8A-4147-A177-3AD203B41FA5}">
                      <a16:colId xmlns:a16="http://schemas.microsoft.com/office/drawing/2014/main" val="20013"/>
                    </a:ext>
                  </a:extLst>
                </a:gridCol>
                <a:gridCol w="382130">
                  <a:extLst>
                    <a:ext uri="{9D8B030D-6E8A-4147-A177-3AD203B41FA5}">
                      <a16:colId xmlns:a16="http://schemas.microsoft.com/office/drawing/2014/main" val="20014"/>
                    </a:ext>
                  </a:extLst>
                </a:gridCol>
                <a:gridCol w="382130">
                  <a:extLst>
                    <a:ext uri="{9D8B030D-6E8A-4147-A177-3AD203B41FA5}">
                      <a16:colId xmlns:a16="http://schemas.microsoft.com/office/drawing/2014/main" val="20015"/>
                    </a:ext>
                  </a:extLst>
                </a:gridCol>
                <a:gridCol w="382130">
                  <a:extLst>
                    <a:ext uri="{9D8B030D-6E8A-4147-A177-3AD203B41FA5}">
                      <a16:colId xmlns:a16="http://schemas.microsoft.com/office/drawing/2014/main" val="20016"/>
                    </a:ext>
                  </a:extLst>
                </a:gridCol>
                <a:gridCol w="382130">
                  <a:extLst>
                    <a:ext uri="{9D8B030D-6E8A-4147-A177-3AD203B41FA5}">
                      <a16:colId xmlns:a16="http://schemas.microsoft.com/office/drawing/2014/main" val="20017"/>
                    </a:ext>
                  </a:extLst>
                </a:gridCol>
                <a:gridCol w="382130">
                  <a:extLst>
                    <a:ext uri="{9D8B030D-6E8A-4147-A177-3AD203B41FA5}">
                      <a16:colId xmlns:a16="http://schemas.microsoft.com/office/drawing/2014/main" val="20018"/>
                    </a:ext>
                  </a:extLst>
                </a:gridCol>
                <a:gridCol w="382130">
                  <a:extLst>
                    <a:ext uri="{9D8B030D-6E8A-4147-A177-3AD203B41FA5}">
                      <a16:colId xmlns:a16="http://schemas.microsoft.com/office/drawing/2014/main" val="20019"/>
                    </a:ext>
                  </a:extLst>
                </a:gridCol>
                <a:gridCol w="382130">
                  <a:extLst>
                    <a:ext uri="{9D8B030D-6E8A-4147-A177-3AD203B41FA5}">
                      <a16:colId xmlns:a16="http://schemas.microsoft.com/office/drawing/2014/main" val="20020"/>
                    </a:ext>
                  </a:extLst>
                </a:gridCol>
                <a:gridCol w="382130">
                  <a:extLst>
                    <a:ext uri="{9D8B030D-6E8A-4147-A177-3AD203B41FA5}">
                      <a16:colId xmlns:a16="http://schemas.microsoft.com/office/drawing/2014/main" val="20025"/>
                    </a:ext>
                  </a:extLst>
                </a:gridCol>
              </a:tblGrid>
              <a:tr h="267435">
                <a:tc>
                  <a:txBody>
                    <a:bodyPr/>
                    <a:lstStyle>
                      <a:lvl1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1pPr>
                      <a:lvl2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2pPr>
                      <a:lvl3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3pPr>
                      <a:lvl4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4pPr>
                      <a:lvl5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5pPr>
                      <a:lvl6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6pPr>
                      <a:lvl7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7pPr>
                      <a:lvl8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8pPr>
                      <a:lvl9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9pPr>
                    </a:lstStyle>
                    <a:p>
                      <a:pPr marL="0" marR="0" algn="ctr">
                        <a:lnSpc>
                          <a:spcPct val="90000"/>
                        </a:lnSpc>
                        <a:spcBef>
                          <a:spcPts val="0"/>
                        </a:spcBef>
                        <a:spcAft>
                          <a:spcPts val="0"/>
                        </a:spcAft>
                      </a:pPr>
                      <a:endParaRPr lang="en-US" sz="800" b="1">
                        <a:solidFill>
                          <a:schemeClr val="bg1"/>
                        </a:solidFill>
                        <a:effectLst/>
                        <a:latin typeface="+mn-lt"/>
                        <a:ea typeface="+mn-ea"/>
                        <a:cs typeface="+mn-cs"/>
                      </a:endParaRPr>
                    </a:p>
                  </a:txBody>
                  <a:tcPr marL="29655" marR="29655" marT="54850" marB="47993"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0">
                  <a:txBody>
                    <a:bodyPr/>
                    <a:lstStyle>
                      <a:lvl1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1pPr>
                      <a:lvl2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2pPr>
                      <a:lvl3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3pPr>
                      <a:lvl4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4pPr>
                      <a:lvl5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5pPr>
                      <a:lvl6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6pPr>
                      <a:lvl7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7pPr>
                      <a:lvl8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8pPr>
                      <a:lvl9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9pPr>
                    </a:lstStyle>
                    <a:p>
                      <a:pPr marL="0" marR="0" algn="ctr">
                        <a:lnSpc>
                          <a:spcPct val="90000"/>
                        </a:lnSpc>
                        <a:spcBef>
                          <a:spcPts val="0"/>
                        </a:spcBef>
                        <a:spcAft>
                          <a:spcPts val="0"/>
                        </a:spcAft>
                      </a:pPr>
                      <a:r>
                        <a:rPr lang="de-DE" sz="1200" b="1" err="1">
                          <a:solidFill>
                            <a:schemeClr val="accent1"/>
                          </a:solidFill>
                          <a:effectLst/>
                          <a:latin typeface="+mn-lt"/>
                          <a:ea typeface="+mn-ea"/>
                          <a:cs typeface="+mn-cs"/>
                        </a:rPr>
                        <a:t>Pnömokok</a:t>
                      </a:r>
                      <a:r>
                        <a:rPr lang="de-DE" sz="1200" b="1">
                          <a:solidFill>
                            <a:schemeClr val="accent1"/>
                          </a:solidFill>
                          <a:effectLst/>
                          <a:latin typeface="+mn-lt"/>
                          <a:ea typeface="+mn-ea"/>
                          <a:cs typeface="+mn-cs"/>
                        </a:rPr>
                        <a:t> </a:t>
                      </a:r>
                      <a:r>
                        <a:rPr lang="de-DE" sz="1200" b="1" err="1">
                          <a:solidFill>
                            <a:schemeClr val="accent1"/>
                          </a:solidFill>
                          <a:effectLst/>
                          <a:latin typeface="+mn-lt"/>
                          <a:ea typeface="+mn-ea"/>
                          <a:cs typeface="+mn-cs"/>
                        </a:rPr>
                        <a:t>Serotipi</a:t>
                      </a:r>
                      <a:endParaRPr lang="en-US" sz="900" b="1">
                        <a:solidFill>
                          <a:schemeClr val="accent1"/>
                        </a:solidFill>
                        <a:effectLst/>
                        <a:latin typeface="+mn-lt"/>
                        <a:ea typeface="+mn-ea"/>
                        <a:cs typeface="+mn-cs"/>
                      </a:endParaRPr>
                    </a:p>
                  </a:txBody>
                  <a:tcPr marL="13708" marR="13708" marT="54850" marB="47993" anchor="ctr">
                    <a:lnL w="6350" cap="flat" cmpd="sng" algn="ctr">
                      <a:noFill/>
                      <a:prstDash val="solid"/>
                      <a:round/>
                      <a:headEnd type="none" w="med" len="med"/>
                      <a:tailEnd type="none" w="med" len="med"/>
                    </a:lnL>
                    <a:lnR w="9525" cap="flat" cmpd="sng" algn="ctr">
                      <a:noFill/>
                      <a:prstDash val="soli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0" marR="0"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extLst>
                  <a:ext uri="{0D108BD9-81ED-4DB2-BD59-A6C34878D82A}">
                    <a16:rowId xmlns:a16="http://schemas.microsoft.com/office/drawing/2014/main" val="2976691581"/>
                  </a:ext>
                </a:extLst>
              </a:tr>
              <a:tr h="246861">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l">
                        <a:lnSpc>
                          <a:spcPct val="90000"/>
                        </a:lnSpc>
                        <a:spcBef>
                          <a:spcPts val="0"/>
                        </a:spcBef>
                        <a:spcAft>
                          <a:spcPts val="0"/>
                        </a:spcAft>
                      </a:pPr>
                      <a:r>
                        <a:rPr lang="en-US" sz="1100" b="1" kern="1200">
                          <a:solidFill>
                            <a:schemeClr val="bg1"/>
                          </a:solidFill>
                          <a:effectLst/>
                          <a:latin typeface="+mn-lt"/>
                          <a:ea typeface="+mn-ea"/>
                          <a:cs typeface="+mn-cs"/>
                        </a:rPr>
                        <a:t>Vaccine</a:t>
                      </a:r>
                    </a:p>
                  </a:txBody>
                  <a:tcPr marL="137160" marR="29655" marT="54850" marB="47993"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5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1</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3</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4</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5</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6A</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6B</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7F</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9V</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14</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18C</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19A</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 19F</a:t>
                      </a:r>
                      <a:endParaRPr lang="en-US" sz="900" b="1">
                        <a:solidFill>
                          <a:schemeClr val="bg1"/>
                        </a:solidFill>
                        <a:effectLst/>
                        <a:latin typeface="+mn-lt"/>
                        <a:ea typeface="+mn-ea"/>
                        <a:cs typeface="+mn-cs"/>
                      </a:endParaRPr>
                    </a:p>
                  </a:txBody>
                  <a:tcPr marL="0" marR="0"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23F</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8</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10A</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11A</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12F</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15B</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22F</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33F</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376067">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l">
                        <a:lnSpc>
                          <a:spcPct val="90000"/>
                        </a:lnSpc>
                        <a:spcBef>
                          <a:spcPts val="0"/>
                        </a:spcBef>
                        <a:spcAft>
                          <a:spcPts val="0"/>
                        </a:spcAft>
                      </a:pPr>
                      <a:r>
                        <a:rPr lang="en-US" sz="1100" b="1">
                          <a:solidFill>
                            <a:schemeClr val="tx1"/>
                          </a:solidFill>
                          <a:effectLst/>
                        </a:rPr>
                        <a:t>KPA 13</a:t>
                      </a:r>
                      <a:r>
                        <a:rPr lang="en-US" sz="1100" b="1" baseline="30000">
                          <a:solidFill>
                            <a:schemeClr val="tx1"/>
                          </a:solidFill>
                          <a:effectLst/>
                        </a:rPr>
                        <a:t>1,3</a:t>
                      </a:r>
                      <a:endParaRPr lang="en-US" sz="1100" b="1" baseline="30000">
                        <a:solidFill>
                          <a:schemeClr val="tx1"/>
                        </a:solidFill>
                        <a:effectLst/>
                        <a:latin typeface="+mn-lt"/>
                        <a:ea typeface="+mn-ea"/>
                        <a:cs typeface="+mn-cs"/>
                      </a:endParaRPr>
                    </a:p>
                  </a:txBody>
                  <a:tcPr marL="137160" marR="13708" marT="54850" marB="47993" anchor="ctr">
                    <a:lnL w="12700" cap="flat" cmpd="sng" algn="ctr">
                      <a:noFill/>
                      <a:prstDash val="solid"/>
                      <a:round/>
                      <a:headEnd type="none" w="med" len="med"/>
                      <a:tailEnd type="none" w="med" len="med"/>
                    </a:lnL>
                    <a:lnR>
                      <a:noFill/>
                    </a:lnR>
                    <a:lnT>
                      <a:noFill/>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lvl="0" indent="0" algn="ctr" defTabSz="888548" rtl="0" eaLnBrk="1" fontAlgn="auto" latinLnBrk="0" hangingPunct="1">
                        <a:lnSpc>
                          <a:spcPct val="90000"/>
                        </a:lnSpc>
                        <a:spcBef>
                          <a:spcPts val="0"/>
                        </a:spcBef>
                        <a:spcAft>
                          <a:spcPts val="0"/>
                        </a:spcAft>
                        <a:buClrTx/>
                        <a:buSzTx/>
                        <a:buFontTx/>
                        <a:buNone/>
                        <a:tabLst/>
                        <a:defRPr/>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6067">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l">
                        <a:lnSpc>
                          <a:spcPct val="90000"/>
                        </a:lnSpc>
                        <a:spcBef>
                          <a:spcPts val="0"/>
                        </a:spcBef>
                        <a:spcAft>
                          <a:spcPts val="0"/>
                        </a:spcAft>
                      </a:pPr>
                      <a:r>
                        <a:rPr lang="en-US" sz="1100" b="1">
                          <a:solidFill>
                            <a:schemeClr val="tx1"/>
                          </a:solidFill>
                          <a:effectLst/>
                        </a:rPr>
                        <a:t>KPA 20</a:t>
                      </a:r>
                      <a:r>
                        <a:rPr lang="en-US" sz="1100" b="1" baseline="30000">
                          <a:solidFill>
                            <a:schemeClr val="tx1"/>
                          </a:solidFill>
                          <a:effectLst/>
                        </a:rPr>
                        <a:t>1-2</a:t>
                      </a:r>
                      <a:endParaRPr lang="en-US" sz="1100" b="1" baseline="30000">
                        <a:solidFill>
                          <a:schemeClr val="tx1"/>
                        </a:solidFill>
                        <a:effectLst/>
                        <a:latin typeface="+mn-lt"/>
                        <a:ea typeface="+mn-ea"/>
                        <a:cs typeface="+mn-cs"/>
                      </a:endParaRPr>
                    </a:p>
                  </a:txBody>
                  <a:tcPr marL="137160" marR="13708" marT="54850" marB="47993" anchor="ctr">
                    <a:lnL w="12700" cap="flat" cmpd="sng" algn="ctr">
                      <a:noFill/>
                      <a:prstDash val="solid"/>
                      <a:round/>
                      <a:headEnd type="none" w="med" len="med"/>
                      <a:tailEnd type="none" w="med" len="med"/>
                    </a:lnL>
                    <a:lnR>
                      <a:noFill/>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lvl="0" indent="0" algn="ctr" defTabSz="888548" rtl="0" eaLnBrk="1" fontAlgn="auto" latinLnBrk="0" hangingPunct="1">
                        <a:lnSpc>
                          <a:spcPct val="90000"/>
                        </a:lnSpc>
                        <a:spcBef>
                          <a:spcPts val="0"/>
                        </a:spcBef>
                        <a:spcAft>
                          <a:spcPts val="0"/>
                        </a:spcAft>
                        <a:buClrTx/>
                        <a:buSzTx/>
                        <a:buFontTx/>
                        <a:buNone/>
                        <a:tabLst/>
                        <a:defRPr/>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b="0" i="0" u="none" strike="noStrike" kern="1200" cap="none">
                          <a:solidFill>
                            <a:schemeClr val="accent3"/>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extLst>
                  <a:ext uri="{0D108BD9-81ED-4DB2-BD59-A6C34878D82A}">
                    <a16:rowId xmlns:a16="http://schemas.microsoft.com/office/drawing/2014/main" val="10003"/>
                  </a:ext>
                </a:extLst>
              </a:tr>
              <a:tr h="376067">
                <a:tc>
                  <a:txBody>
                    <a:bodyPr/>
                    <a:lstStyle/>
                    <a:p>
                      <a:pPr marL="0" marR="0" algn="l">
                        <a:lnSpc>
                          <a:spcPct val="90000"/>
                        </a:lnSpc>
                        <a:spcBef>
                          <a:spcPts val="0"/>
                        </a:spcBef>
                        <a:spcAft>
                          <a:spcPts val="0"/>
                        </a:spcAft>
                      </a:pPr>
                      <a:r>
                        <a:rPr lang="en-US" sz="1100" b="1">
                          <a:solidFill>
                            <a:schemeClr val="tx1"/>
                          </a:solidFill>
                          <a:effectLst/>
                          <a:latin typeface="+mn-lt"/>
                          <a:ea typeface="+mn-ea"/>
                          <a:cs typeface="+mn-cs"/>
                        </a:rPr>
                        <a:t>PPV23</a:t>
                      </a:r>
                      <a:r>
                        <a:rPr lang="en-US" sz="1100" b="1" baseline="30000">
                          <a:solidFill>
                            <a:schemeClr val="tx1"/>
                          </a:solidFill>
                          <a:effectLst/>
                          <a:latin typeface="+mn-lt"/>
                          <a:ea typeface="+mn-ea"/>
                          <a:cs typeface="+mn-cs"/>
                        </a:rPr>
                        <a:t>4</a:t>
                      </a:r>
                    </a:p>
                  </a:txBody>
                  <a:tcPr marL="137160" marR="13708" marT="54850" marB="47993" anchor="ctr">
                    <a:lnL w="12700" cap="flat" cmpd="sng" algn="ctr">
                      <a:noFill/>
                      <a:prstDash val="solid"/>
                      <a:round/>
                      <a:headEnd type="none" w="med" len="med"/>
                      <a:tailEnd type="none" w="med" len="med"/>
                    </a:lnL>
                    <a:lnR>
                      <a:noFill/>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lvl="0" indent="0" algn="ctr" defTabSz="888548" rtl="0" eaLnBrk="1" fontAlgn="auto" latinLnBrk="0" hangingPunct="1">
                        <a:lnSpc>
                          <a:spcPct val="90000"/>
                        </a:lnSpc>
                        <a:spcBef>
                          <a:spcPts val="0"/>
                        </a:spcBef>
                        <a:spcAft>
                          <a:spcPts val="0"/>
                        </a:spcAft>
                        <a:buClrTx/>
                        <a:buSzTx/>
                        <a:buFontTx/>
                        <a:buNone/>
                        <a:tabLst/>
                        <a:defRPr/>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b="0" i="0" u="none" strike="noStrike" kern="1200" cap="none">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95245702"/>
                  </a:ext>
                </a:extLst>
              </a:tr>
            </a:tbl>
          </a:graphicData>
        </a:graphic>
      </p:graphicFrame>
      <p:grpSp>
        <p:nvGrpSpPr>
          <p:cNvPr id="9" name="Group 8">
            <a:extLst>
              <a:ext uri="{FF2B5EF4-FFF2-40B4-BE49-F238E27FC236}">
                <a16:creationId xmlns:a16="http://schemas.microsoft.com/office/drawing/2014/main" id="{5C453A22-2DC6-4B4A-8DFE-59E66522ADC5}"/>
              </a:ext>
            </a:extLst>
          </p:cNvPr>
          <p:cNvGrpSpPr/>
          <p:nvPr/>
        </p:nvGrpSpPr>
        <p:grpSpPr>
          <a:xfrm>
            <a:off x="3315306" y="4354194"/>
            <a:ext cx="100011" cy="230365"/>
            <a:chOff x="1739807" y="4611656"/>
            <a:chExt cx="100011" cy="268407"/>
          </a:xfrm>
        </p:grpSpPr>
        <p:cxnSp>
          <p:nvCxnSpPr>
            <p:cNvPr id="80" name="Straight Arrow Connector 79">
              <a:extLst>
                <a:ext uri="{FF2B5EF4-FFF2-40B4-BE49-F238E27FC236}">
                  <a16:creationId xmlns:a16="http://schemas.microsoft.com/office/drawing/2014/main" id="{D040575E-CC64-4C73-86B7-4E85CAE3F9E9}"/>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30A5FE41-4D9C-475C-80D0-3EC8ACA5E2CD}"/>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62FC1924-D539-455A-B1AF-B329C84D547D}"/>
              </a:ext>
            </a:extLst>
          </p:cNvPr>
          <p:cNvGrpSpPr/>
          <p:nvPr/>
        </p:nvGrpSpPr>
        <p:grpSpPr>
          <a:xfrm>
            <a:off x="3687009" y="4354194"/>
            <a:ext cx="100011" cy="230365"/>
            <a:chOff x="1739807" y="4611656"/>
            <a:chExt cx="100011" cy="268407"/>
          </a:xfrm>
        </p:grpSpPr>
        <p:cxnSp>
          <p:nvCxnSpPr>
            <p:cNvPr id="83" name="Straight Arrow Connector 82">
              <a:extLst>
                <a:ext uri="{FF2B5EF4-FFF2-40B4-BE49-F238E27FC236}">
                  <a16:creationId xmlns:a16="http://schemas.microsoft.com/office/drawing/2014/main" id="{B8F4B33C-231B-4DE3-BAA8-689365837739}"/>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DC65A810-C315-4215-8397-2B5835C96793}"/>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46B2106B-13EE-48B4-B7BC-F3B6D4ED425C}"/>
              </a:ext>
            </a:extLst>
          </p:cNvPr>
          <p:cNvGrpSpPr/>
          <p:nvPr/>
        </p:nvGrpSpPr>
        <p:grpSpPr>
          <a:xfrm>
            <a:off x="4083585" y="4354194"/>
            <a:ext cx="100011" cy="230365"/>
            <a:chOff x="1739807" y="4611656"/>
            <a:chExt cx="100011" cy="268407"/>
          </a:xfrm>
        </p:grpSpPr>
        <p:cxnSp>
          <p:nvCxnSpPr>
            <p:cNvPr id="86" name="Straight Arrow Connector 85">
              <a:extLst>
                <a:ext uri="{FF2B5EF4-FFF2-40B4-BE49-F238E27FC236}">
                  <a16:creationId xmlns:a16="http://schemas.microsoft.com/office/drawing/2014/main" id="{F36E36A7-EB00-4265-8050-FE4A1F870976}"/>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CDC04B42-540D-4BB5-B73C-275163C18E6B}"/>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A7B47B71-6589-455D-8C92-E859DBEC8199}"/>
              </a:ext>
            </a:extLst>
          </p:cNvPr>
          <p:cNvGrpSpPr/>
          <p:nvPr/>
        </p:nvGrpSpPr>
        <p:grpSpPr>
          <a:xfrm>
            <a:off x="4467725" y="4361111"/>
            <a:ext cx="100011" cy="230365"/>
            <a:chOff x="1739807" y="4611656"/>
            <a:chExt cx="100011" cy="268407"/>
          </a:xfrm>
        </p:grpSpPr>
        <p:cxnSp>
          <p:nvCxnSpPr>
            <p:cNvPr id="89" name="Straight Arrow Connector 88">
              <a:extLst>
                <a:ext uri="{FF2B5EF4-FFF2-40B4-BE49-F238E27FC236}">
                  <a16:creationId xmlns:a16="http://schemas.microsoft.com/office/drawing/2014/main" id="{7C3D214D-5ED3-4C9F-91A5-B0E113CD635E}"/>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CF04E70B-D45A-49EF-9308-0FB12BBDF83B}"/>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0D4CFFFB-BF24-45E8-9FD9-BC3D7E74F9F9}"/>
              </a:ext>
            </a:extLst>
          </p:cNvPr>
          <p:cNvGrpSpPr/>
          <p:nvPr/>
        </p:nvGrpSpPr>
        <p:grpSpPr>
          <a:xfrm>
            <a:off x="4851864" y="4361111"/>
            <a:ext cx="100011" cy="230365"/>
            <a:chOff x="1739807" y="4611656"/>
            <a:chExt cx="100011" cy="268407"/>
          </a:xfrm>
        </p:grpSpPr>
        <p:cxnSp>
          <p:nvCxnSpPr>
            <p:cNvPr id="92" name="Straight Arrow Connector 91">
              <a:extLst>
                <a:ext uri="{FF2B5EF4-FFF2-40B4-BE49-F238E27FC236}">
                  <a16:creationId xmlns:a16="http://schemas.microsoft.com/office/drawing/2014/main" id="{0AB983EA-EBC9-4393-A5E3-4B7946845136}"/>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4FB0AF16-2C94-4D21-9272-7693B957C35E}"/>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68A7A66C-8386-4266-8BFC-191F2A85DE41}"/>
              </a:ext>
            </a:extLst>
          </p:cNvPr>
          <p:cNvGrpSpPr/>
          <p:nvPr/>
        </p:nvGrpSpPr>
        <p:grpSpPr>
          <a:xfrm>
            <a:off x="5236003" y="4354194"/>
            <a:ext cx="100011" cy="230365"/>
            <a:chOff x="1739807" y="4611656"/>
            <a:chExt cx="100011" cy="268407"/>
          </a:xfrm>
        </p:grpSpPr>
        <p:cxnSp>
          <p:nvCxnSpPr>
            <p:cNvPr id="95" name="Straight Arrow Connector 94">
              <a:extLst>
                <a:ext uri="{FF2B5EF4-FFF2-40B4-BE49-F238E27FC236}">
                  <a16:creationId xmlns:a16="http://schemas.microsoft.com/office/drawing/2014/main" id="{39B1BE8F-3EEA-4E24-A090-A2A44A3B5E97}"/>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16E8A59E-76C3-4F54-8E88-E36B6F847B80}"/>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8FF4EA3A-EF48-48AC-8892-34BCE13FF6E1}"/>
              </a:ext>
            </a:extLst>
          </p:cNvPr>
          <p:cNvGrpSpPr/>
          <p:nvPr/>
        </p:nvGrpSpPr>
        <p:grpSpPr>
          <a:xfrm>
            <a:off x="5626361" y="4368030"/>
            <a:ext cx="100011" cy="230365"/>
            <a:chOff x="1739807" y="4611656"/>
            <a:chExt cx="100011" cy="268407"/>
          </a:xfrm>
        </p:grpSpPr>
        <p:cxnSp>
          <p:nvCxnSpPr>
            <p:cNvPr id="98" name="Straight Arrow Connector 97">
              <a:extLst>
                <a:ext uri="{FF2B5EF4-FFF2-40B4-BE49-F238E27FC236}">
                  <a16:creationId xmlns:a16="http://schemas.microsoft.com/office/drawing/2014/main" id="{6E4D1722-A9A8-449A-94A3-0F7262CB5B0B}"/>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91AFD6F0-FCA4-49E8-A4C8-A32FFD561B5F}"/>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3AE50787-F279-4C70-8051-638A80FE2497}"/>
              </a:ext>
            </a:extLst>
          </p:cNvPr>
          <p:cNvGrpSpPr/>
          <p:nvPr/>
        </p:nvGrpSpPr>
        <p:grpSpPr>
          <a:xfrm>
            <a:off x="6004282" y="4361111"/>
            <a:ext cx="100011" cy="230365"/>
            <a:chOff x="1739807" y="4611656"/>
            <a:chExt cx="100011" cy="268407"/>
          </a:xfrm>
        </p:grpSpPr>
        <p:cxnSp>
          <p:nvCxnSpPr>
            <p:cNvPr id="101" name="Straight Arrow Connector 100">
              <a:extLst>
                <a:ext uri="{FF2B5EF4-FFF2-40B4-BE49-F238E27FC236}">
                  <a16:creationId xmlns:a16="http://schemas.microsoft.com/office/drawing/2014/main" id="{B3AA8084-03C1-44B3-B30C-9F421A9DDA57}"/>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BF97DF59-0D3C-4DCC-A59D-FAD15B842C8F}"/>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0B2CAA60-C26F-4571-B4D3-7DBDED606A29}"/>
              </a:ext>
            </a:extLst>
          </p:cNvPr>
          <p:cNvGrpSpPr/>
          <p:nvPr/>
        </p:nvGrpSpPr>
        <p:grpSpPr>
          <a:xfrm>
            <a:off x="6388421" y="4361111"/>
            <a:ext cx="100011" cy="230365"/>
            <a:chOff x="1739807" y="4611656"/>
            <a:chExt cx="100011" cy="268407"/>
          </a:xfrm>
        </p:grpSpPr>
        <p:cxnSp>
          <p:nvCxnSpPr>
            <p:cNvPr id="104" name="Straight Arrow Connector 103">
              <a:extLst>
                <a:ext uri="{FF2B5EF4-FFF2-40B4-BE49-F238E27FC236}">
                  <a16:creationId xmlns:a16="http://schemas.microsoft.com/office/drawing/2014/main" id="{5A22FE92-A098-4F86-A1E9-7978B6C12337}"/>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3A8C4445-E8CB-4333-95B7-F65B6B0F0862}"/>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67279978-BDD5-4063-900F-3C7DE13E4786}"/>
              </a:ext>
            </a:extLst>
          </p:cNvPr>
          <p:cNvGrpSpPr/>
          <p:nvPr/>
        </p:nvGrpSpPr>
        <p:grpSpPr>
          <a:xfrm>
            <a:off x="6778780" y="4368030"/>
            <a:ext cx="100011" cy="230365"/>
            <a:chOff x="1739807" y="4611656"/>
            <a:chExt cx="100011" cy="268407"/>
          </a:xfrm>
        </p:grpSpPr>
        <p:cxnSp>
          <p:nvCxnSpPr>
            <p:cNvPr id="107" name="Straight Arrow Connector 106">
              <a:extLst>
                <a:ext uri="{FF2B5EF4-FFF2-40B4-BE49-F238E27FC236}">
                  <a16:creationId xmlns:a16="http://schemas.microsoft.com/office/drawing/2014/main" id="{A367360D-A93C-45EE-852D-BDEFE0B24A9A}"/>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BBB9862A-F12D-4EBF-BB16-73C52695F3CE}"/>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9" name="Group 108">
            <a:extLst>
              <a:ext uri="{FF2B5EF4-FFF2-40B4-BE49-F238E27FC236}">
                <a16:creationId xmlns:a16="http://schemas.microsoft.com/office/drawing/2014/main" id="{02E01D9B-33BD-4F51-A443-2BAF52B62AFE}"/>
              </a:ext>
            </a:extLst>
          </p:cNvPr>
          <p:cNvGrpSpPr/>
          <p:nvPr/>
        </p:nvGrpSpPr>
        <p:grpSpPr>
          <a:xfrm>
            <a:off x="7156700" y="4361111"/>
            <a:ext cx="100011" cy="230365"/>
            <a:chOff x="1739807" y="4611656"/>
            <a:chExt cx="100011" cy="268407"/>
          </a:xfrm>
        </p:grpSpPr>
        <p:cxnSp>
          <p:nvCxnSpPr>
            <p:cNvPr id="110" name="Straight Arrow Connector 109">
              <a:extLst>
                <a:ext uri="{FF2B5EF4-FFF2-40B4-BE49-F238E27FC236}">
                  <a16:creationId xmlns:a16="http://schemas.microsoft.com/office/drawing/2014/main" id="{C8ACA526-490C-4A6A-8B16-94BA53CA1C85}"/>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AA69DB77-17A4-4454-888B-95B5BD8CB4EE}"/>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5FE1FD6D-0A08-4500-8EF2-3A337E531CF1}"/>
              </a:ext>
            </a:extLst>
          </p:cNvPr>
          <p:cNvGrpSpPr/>
          <p:nvPr/>
        </p:nvGrpSpPr>
        <p:grpSpPr>
          <a:xfrm>
            <a:off x="7547058" y="4354194"/>
            <a:ext cx="100011" cy="230365"/>
            <a:chOff x="1739807" y="4611656"/>
            <a:chExt cx="100011" cy="268407"/>
          </a:xfrm>
        </p:grpSpPr>
        <p:cxnSp>
          <p:nvCxnSpPr>
            <p:cNvPr id="113" name="Straight Arrow Connector 112">
              <a:extLst>
                <a:ext uri="{FF2B5EF4-FFF2-40B4-BE49-F238E27FC236}">
                  <a16:creationId xmlns:a16="http://schemas.microsoft.com/office/drawing/2014/main" id="{7EF02561-DDC5-4C5B-A97C-8EE1E958EB53}"/>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379E04E2-F0D5-4D34-B6BC-1B4D70BB4084}"/>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389CEAE3-6F8C-4E60-A258-A37A79D7BFC6}"/>
              </a:ext>
            </a:extLst>
          </p:cNvPr>
          <p:cNvGrpSpPr/>
          <p:nvPr/>
        </p:nvGrpSpPr>
        <p:grpSpPr>
          <a:xfrm>
            <a:off x="7937420" y="4347275"/>
            <a:ext cx="100011" cy="230365"/>
            <a:chOff x="1739807" y="4611656"/>
            <a:chExt cx="100011" cy="268407"/>
          </a:xfrm>
        </p:grpSpPr>
        <p:cxnSp>
          <p:nvCxnSpPr>
            <p:cNvPr id="116" name="Straight Arrow Connector 115">
              <a:extLst>
                <a:ext uri="{FF2B5EF4-FFF2-40B4-BE49-F238E27FC236}">
                  <a16:creationId xmlns:a16="http://schemas.microsoft.com/office/drawing/2014/main" id="{D86E1927-5235-4C24-B857-33008E565F4E}"/>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44D28ABD-F891-4B82-9ABE-772FC40A0676}"/>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19" name="Straight Arrow Connector 118">
            <a:extLst>
              <a:ext uri="{FF2B5EF4-FFF2-40B4-BE49-F238E27FC236}">
                <a16:creationId xmlns:a16="http://schemas.microsoft.com/office/drawing/2014/main" id="{BDC8ABD5-4D93-449B-B6F0-928D74781EFF}"/>
              </a:ext>
            </a:extLst>
          </p:cNvPr>
          <p:cNvCxnSpPr>
            <a:cxnSpLocks/>
          </p:cNvCxnSpPr>
          <p:nvPr/>
        </p:nvCxnSpPr>
        <p:spPr>
          <a:xfrm>
            <a:off x="10191062" y="4732852"/>
            <a:ext cx="0" cy="230365"/>
          </a:xfrm>
          <a:prstGeom prst="straightConnector1">
            <a:avLst/>
          </a:prstGeom>
          <a:ln w="25400">
            <a:gradFill>
              <a:gsLst>
                <a:gs pos="33000">
                  <a:schemeClr val="accent3"/>
                </a:gs>
                <a:gs pos="65000">
                  <a:schemeClr val="accent5"/>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4672C2C4-9547-4440-A08C-B0D20CCDAB68}"/>
              </a:ext>
            </a:extLst>
          </p:cNvPr>
          <p:cNvCxnSpPr>
            <a:cxnSpLocks/>
          </p:cNvCxnSpPr>
          <p:nvPr/>
        </p:nvCxnSpPr>
        <p:spPr>
          <a:xfrm>
            <a:off x="9806632" y="4732852"/>
            <a:ext cx="0" cy="230365"/>
          </a:xfrm>
          <a:prstGeom prst="straightConnector1">
            <a:avLst/>
          </a:prstGeom>
          <a:ln w="25400">
            <a:gradFill>
              <a:gsLst>
                <a:gs pos="33000">
                  <a:schemeClr val="accent3"/>
                </a:gs>
                <a:gs pos="65000">
                  <a:schemeClr val="accent5"/>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88AAF397-E1E1-444E-BE8D-D2A12963DA2B}"/>
              </a:ext>
            </a:extLst>
          </p:cNvPr>
          <p:cNvCxnSpPr>
            <a:cxnSpLocks/>
          </p:cNvCxnSpPr>
          <p:nvPr/>
        </p:nvCxnSpPr>
        <p:spPr>
          <a:xfrm>
            <a:off x="9422203" y="4732852"/>
            <a:ext cx="0" cy="230365"/>
          </a:xfrm>
          <a:prstGeom prst="straightConnector1">
            <a:avLst/>
          </a:prstGeom>
          <a:ln w="25400">
            <a:gradFill>
              <a:gsLst>
                <a:gs pos="33000">
                  <a:schemeClr val="accent3"/>
                </a:gs>
                <a:gs pos="65000">
                  <a:schemeClr val="accent5"/>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F76EB031-32CD-4AF4-A82A-43CDEA12A29A}"/>
              </a:ext>
            </a:extLst>
          </p:cNvPr>
          <p:cNvCxnSpPr>
            <a:cxnSpLocks/>
          </p:cNvCxnSpPr>
          <p:nvPr/>
        </p:nvCxnSpPr>
        <p:spPr>
          <a:xfrm>
            <a:off x="9037773" y="4732852"/>
            <a:ext cx="0" cy="230365"/>
          </a:xfrm>
          <a:prstGeom prst="straightConnector1">
            <a:avLst/>
          </a:prstGeom>
          <a:ln w="25400">
            <a:gradFill>
              <a:gsLst>
                <a:gs pos="33000">
                  <a:schemeClr val="accent3"/>
                </a:gs>
                <a:gs pos="65000">
                  <a:schemeClr val="accent5"/>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5FB081C0-CCB5-4ABE-B01D-BA8ADB665EA3}"/>
              </a:ext>
            </a:extLst>
          </p:cNvPr>
          <p:cNvCxnSpPr>
            <a:cxnSpLocks/>
          </p:cNvCxnSpPr>
          <p:nvPr/>
        </p:nvCxnSpPr>
        <p:spPr>
          <a:xfrm>
            <a:off x="8653343" y="4732852"/>
            <a:ext cx="0" cy="230365"/>
          </a:xfrm>
          <a:prstGeom prst="straightConnector1">
            <a:avLst/>
          </a:prstGeom>
          <a:ln w="25400">
            <a:gradFill>
              <a:gsLst>
                <a:gs pos="33000">
                  <a:schemeClr val="accent3"/>
                </a:gs>
                <a:gs pos="65000">
                  <a:schemeClr val="accent5"/>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C520F7F9-29B9-4D2E-BAAA-92ECCB292D08}"/>
              </a:ext>
            </a:extLst>
          </p:cNvPr>
          <p:cNvCxnSpPr>
            <a:cxnSpLocks/>
          </p:cNvCxnSpPr>
          <p:nvPr/>
        </p:nvCxnSpPr>
        <p:spPr>
          <a:xfrm>
            <a:off x="8262694" y="4732852"/>
            <a:ext cx="0" cy="230365"/>
          </a:xfrm>
          <a:prstGeom prst="straightConnector1">
            <a:avLst/>
          </a:prstGeom>
          <a:ln w="25400">
            <a:gradFill>
              <a:gsLst>
                <a:gs pos="33000">
                  <a:schemeClr val="accent3"/>
                </a:gs>
                <a:gs pos="65000">
                  <a:schemeClr val="accent5"/>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0C0C53B6-1F7D-4563-A2C0-9DD2278E97FC}"/>
              </a:ext>
            </a:extLst>
          </p:cNvPr>
          <p:cNvCxnSpPr>
            <a:cxnSpLocks/>
          </p:cNvCxnSpPr>
          <p:nvPr/>
        </p:nvCxnSpPr>
        <p:spPr>
          <a:xfrm>
            <a:off x="7884483" y="4732852"/>
            <a:ext cx="0" cy="230365"/>
          </a:xfrm>
          <a:prstGeom prst="straightConnector1">
            <a:avLst/>
          </a:prstGeom>
          <a:ln w="25400">
            <a:gradFill>
              <a:gsLst>
                <a:gs pos="33000">
                  <a:schemeClr val="accent3"/>
                </a:gs>
                <a:gs pos="65000">
                  <a:schemeClr val="accent5"/>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455B519-ADCE-42A2-887B-44657F6BD574}"/>
              </a:ext>
            </a:extLst>
          </p:cNvPr>
          <p:cNvCxnSpPr>
            <a:cxnSpLocks/>
          </p:cNvCxnSpPr>
          <p:nvPr/>
        </p:nvCxnSpPr>
        <p:spPr bwMode="gray">
          <a:xfrm>
            <a:off x="1907904" y="3500367"/>
            <a:ext cx="8392960" cy="0"/>
          </a:xfrm>
          <a:prstGeom prst="line">
            <a:avLst/>
          </a:prstGeom>
          <a:noFill/>
          <a:ln w="12700" cap="rnd">
            <a:solidFill>
              <a:schemeClr val="bg1">
                <a:lumMod val="75000"/>
              </a:schemeClr>
            </a:solidFill>
            <a:prstDash val="solid"/>
            <a:round/>
            <a:headEnd/>
            <a:tailEnd/>
          </a:ln>
          <a:effectLst/>
        </p:spPr>
      </p:cxnSp>
      <p:sp>
        <p:nvSpPr>
          <p:cNvPr id="23" name="object 23"/>
          <p:cNvSpPr txBox="1"/>
          <p:nvPr/>
        </p:nvSpPr>
        <p:spPr>
          <a:xfrm>
            <a:off x="1808507" y="1653405"/>
            <a:ext cx="8574986" cy="1635050"/>
          </a:xfrm>
          <a:prstGeom prst="rect">
            <a:avLst/>
          </a:prstGeom>
        </p:spPr>
        <p:txBody>
          <a:bodyPr vert="horz" wrap="square" lIns="68580" tIns="34290" rIns="0" bIns="0" rtlCol="0">
            <a:spAutoFit/>
          </a:bodyPr>
          <a:lstStyle/>
          <a:p>
            <a:pPr marL="126206" indent="-126206" defTabSz="685800">
              <a:lnSpc>
                <a:spcPct val="150000"/>
              </a:lnSpc>
              <a:spcBef>
                <a:spcPts val="900"/>
              </a:spcBef>
              <a:buSzPct val="100000"/>
              <a:buFont typeface="Arial" panose="020B0604020202020204" pitchFamily="34" charset="0"/>
              <a:buChar char="•"/>
              <a:defRPr/>
            </a:pPr>
            <a:r>
              <a:rPr lang="en-US" altLang="en-US" sz="1200" kern="0">
                <a:solidFill>
                  <a:prstClr val="black"/>
                </a:solidFill>
                <a:latin typeface="Calibri" panose="020F0502020204030204" pitchFamily="34" charset="0"/>
                <a:ea typeface="Calibri" panose="020F0502020204030204" pitchFamily="34" charset="0"/>
                <a:cs typeface="Calibri" panose="020F0502020204030204" pitchFamily="34" charset="0"/>
                <a:sym typeface="Arial"/>
              </a:rPr>
              <a:t>KPA13’ün </a:t>
            </a:r>
            <a:r>
              <a:rPr lang="en-US" altLang="en-US" sz="1200" kern="0" err="1">
                <a:solidFill>
                  <a:prstClr val="black"/>
                </a:solidFill>
                <a:latin typeface="Calibri" panose="020F0502020204030204" pitchFamily="34" charset="0"/>
                <a:ea typeface="Calibri" panose="020F0502020204030204" pitchFamily="34" charset="0"/>
                <a:cs typeface="Calibri" panose="020F0502020204030204" pitchFamily="34" charset="0"/>
                <a:sym typeface="Arial"/>
              </a:rPr>
              <a:t>geniş</a:t>
            </a:r>
            <a:r>
              <a:rPr lang="en-US" altLang="en-US" sz="1200" kern="0">
                <a:solidFill>
                  <a:prstClr val="black"/>
                </a:solidFill>
                <a:latin typeface="Calibri" panose="020F0502020204030204" pitchFamily="34" charset="0"/>
                <a:ea typeface="Calibri" panose="020F0502020204030204" pitchFamily="34" charset="0"/>
                <a:cs typeface="Calibri" panose="020F0502020204030204" pitchFamily="34" charset="0"/>
                <a:sym typeface="Arial"/>
              </a:rPr>
              <a:t> </a:t>
            </a:r>
            <a:r>
              <a:rPr lang="en-US" altLang="en-US" sz="1200" kern="0" err="1">
                <a:solidFill>
                  <a:prstClr val="black"/>
                </a:solidFill>
                <a:latin typeface="Calibri" panose="020F0502020204030204" pitchFamily="34" charset="0"/>
                <a:ea typeface="Calibri" panose="020F0502020204030204" pitchFamily="34" charset="0"/>
                <a:cs typeface="Calibri" panose="020F0502020204030204" pitchFamily="34" charset="0"/>
                <a:sym typeface="Arial"/>
              </a:rPr>
              <a:t>yetişkin</a:t>
            </a:r>
            <a:r>
              <a:rPr lang="en-US" altLang="en-US" sz="1200" kern="0">
                <a:solidFill>
                  <a:prstClr val="black"/>
                </a:solidFill>
                <a:latin typeface="Calibri" panose="020F0502020204030204" pitchFamily="34" charset="0"/>
                <a:ea typeface="Calibri" panose="020F0502020204030204" pitchFamily="34" charset="0"/>
                <a:cs typeface="Calibri" panose="020F0502020204030204" pitchFamily="34" charset="0"/>
                <a:sym typeface="Arial"/>
              </a:rPr>
              <a:t> </a:t>
            </a:r>
            <a:r>
              <a:rPr lang="en-US" altLang="en-US" sz="1200" kern="0" err="1">
                <a:solidFill>
                  <a:prstClr val="black"/>
                </a:solidFill>
                <a:latin typeface="Calibri" panose="020F0502020204030204" pitchFamily="34" charset="0"/>
                <a:ea typeface="Calibri" panose="020F0502020204030204" pitchFamily="34" charset="0"/>
                <a:cs typeface="Calibri" panose="020F0502020204030204" pitchFamily="34" charset="0"/>
                <a:sym typeface="Arial"/>
              </a:rPr>
              <a:t>klinik</a:t>
            </a:r>
            <a:r>
              <a:rPr lang="en-US" altLang="en-US" sz="1200" kern="0">
                <a:solidFill>
                  <a:prstClr val="black"/>
                </a:solidFill>
                <a:latin typeface="Calibri" panose="020F0502020204030204" pitchFamily="34" charset="0"/>
                <a:ea typeface="Calibri" panose="020F0502020204030204" pitchFamily="34" charset="0"/>
                <a:cs typeface="Calibri" panose="020F0502020204030204" pitchFamily="34" charset="0"/>
                <a:sym typeface="Arial"/>
              </a:rPr>
              <a:t> </a:t>
            </a:r>
            <a:r>
              <a:rPr lang="en-US" altLang="en-US" sz="1200" kern="0" err="1">
                <a:solidFill>
                  <a:prstClr val="black"/>
                </a:solidFill>
                <a:latin typeface="Calibri" panose="020F0502020204030204" pitchFamily="34" charset="0"/>
                <a:ea typeface="Calibri" panose="020F0502020204030204" pitchFamily="34" charset="0"/>
                <a:cs typeface="Calibri" panose="020F0502020204030204" pitchFamily="34" charset="0"/>
                <a:sym typeface="Arial"/>
              </a:rPr>
              <a:t>gelişim</a:t>
            </a:r>
            <a:r>
              <a:rPr lang="en-US" altLang="en-US" sz="1200" kern="0">
                <a:solidFill>
                  <a:prstClr val="black"/>
                </a:solidFill>
                <a:latin typeface="Calibri" panose="020F0502020204030204" pitchFamily="34" charset="0"/>
                <a:ea typeface="Calibri" panose="020F0502020204030204" pitchFamily="34" charset="0"/>
                <a:cs typeface="Calibri" panose="020F0502020204030204" pitchFamily="34" charset="0"/>
                <a:sym typeface="Arial"/>
              </a:rPr>
              <a:t> </a:t>
            </a:r>
            <a:r>
              <a:rPr lang="en-US" altLang="en-US" sz="1200" kern="0" err="1">
                <a:solidFill>
                  <a:prstClr val="black"/>
                </a:solidFill>
                <a:latin typeface="Calibri" panose="020F0502020204030204" pitchFamily="34" charset="0"/>
                <a:ea typeface="Calibri" panose="020F0502020204030204" pitchFamily="34" charset="0"/>
                <a:cs typeface="Calibri" panose="020F0502020204030204" pitchFamily="34" charset="0"/>
                <a:sym typeface="Arial"/>
              </a:rPr>
              <a:t>programı</a:t>
            </a:r>
            <a:r>
              <a:rPr lang="en-US" altLang="en-US" sz="1200" kern="0">
                <a:solidFill>
                  <a:prstClr val="black"/>
                </a:solidFill>
                <a:latin typeface="Calibri" panose="020F0502020204030204" pitchFamily="34" charset="0"/>
                <a:ea typeface="Calibri" panose="020F0502020204030204" pitchFamily="34" charset="0"/>
                <a:cs typeface="Calibri" panose="020F0502020204030204" pitchFamily="34" charset="0"/>
                <a:sym typeface="Arial"/>
              </a:rPr>
              <a:t>, KPA20 </a:t>
            </a:r>
            <a:r>
              <a:rPr lang="en-US" altLang="en-US" sz="1200" kern="0" err="1">
                <a:solidFill>
                  <a:prstClr val="black"/>
                </a:solidFill>
                <a:latin typeface="Calibri" panose="020F0502020204030204" pitchFamily="34" charset="0"/>
                <a:ea typeface="Calibri" panose="020F0502020204030204" pitchFamily="34" charset="0"/>
                <a:cs typeface="Calibri" panose="020F0502020204030204" pitchFamily="34" charset="0"/>
                <a:sym typeface="Arial"/>
              </a:rPr>
              <a:t>programının</a:t>
            </a:r>
            <a:r>
              <a:rPr lang="en-US" altLang="en-US" sz="1200" kern="0">
                <a:solidFill>
                  <a:prstClr val="black"/>
                </a:solidFill>
                <a:latin typeface="Calibri" panose="020F0502020204030204" pitchFamily="34" charset="0"/>
                <a:ea typeface="Calibri" panose="020F0502020204030204" pitchFamily="34" charset="0"/>
                <a:cs typeface="Calibri" panose="020F0502020204030204" pitchFamily="34" charset="0"/>
                <a:sym typeface="Arial"/>
              </a:rPr>
              <a:t> </a:t>
            </a:r>
            <a:r>
              <a:rPr lang="en-US" altLang="en-US" sz="1200" kern="0" err="1">
                <a:solidFill>
                  <a:prstClr val="black"/>
                </a:solidFill>
                <a:latin typeface="Calibri" panose="020F0502020204030204" pitchFamily="34" charset="0"/>
                <a:ea typeface="Calibri" panose="020F0502020204030204" pitchFamily="34" charset="0"/>
                <a:cs typeface="Calibri" panose="020F0502020204030204" pitchFamily="34" charset="0"/>
                <a:sym typeface="Arial"/>
              </a:rPr>
              <a:t>temelini</a:t>
            </a:r>
            <a:r>
              <a:rPr lang="en-US" altLang="en-US" sz="1200" kern="0">
                <a:solidFill>
                  <a:prstClr val="black"/>
                </a:solidFill>
                <a:latin typeface="Calibri" panose="020F0502020204030204" pitchFamily="34" charset="0"/>
                <a:ea typeface="Calibri" panose="020F0502020204030204" pitchFamily="34" charset="0"/>
                <a:cs typeface="Calibri" panose="020F0502020204030204" pitchFamily="34" charset="0"/>
                <a:sym typeface="Arial"/>
              </a:rPr>
              <a:t> attı</a:t>
            </a:r>
            <a:r>
              <a:rPr lang="en-US" altLang="en-US" sz="1200" kern="0" baseline="30000">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1-2</a:t>
            </a:r>
            <a:endParaRPr lang="en-US" altLang="en-US" sz="1200" kern="0">
              <a:solidFill>
                <a:srgbClr val="353B3E"/>
              </a:solidFill>
              <a:latin typeface="Calibri" panose="020F0502020204030204" pitchFamily="34" charset="0"/>
              <a:ea typeface="Calibri" panose="020F0502020204030204" pitchFamily="34" charset="0"/>
              <a:cs typeface="Calibri" panose="020F0502020204030204" pitchFamily="34" charset="0"/>
              <a:sym typeface="Arial"/>
            </a:endParaRPr>
          </a:p>
          <a:p>
            <a:pPr marL="126206" indent="-126206" defTabSz="685800">
              <a:lnSpc>
                <a:spcPct val="150000"/>
              </a:lnSpc>
              <a:spcBef>
                <a:spcPts val="900"/>
              </a:spcBef>
              <a:buSzPct val="100000"/>
              <a:buFont typeface="Arial" panose="020B0604020202020204" pitchFamily="34" charset="0"/>
              <a:buChar char="•"/>
              <a:defRPr/>
            </a:pPr>
            <a:r>
              <a:rPr lang="en-US" sz="1200" kern="0" err="1">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Örneklem</a:t>
            </a:r>
            <a:r>
              <a:rPr lang="en-US" sz="1200" kern="0">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kern="0" err="1">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büyüklüğü</a:t>
            </a:r>
            <a:r>
              <a:rPr lang="en-US" sz="1200" kern="0">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kern="0" err="1">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ve</a:t>
            </a:r>
            <a:r>
              <a:rPr lang="en-US" sz="1200" kern="0">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kern="0" err="1">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etik</a:t>
            </a:r>
            <a:r>
              <a:rPr lang="en-US" sz="1200" kern="0">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kern="0" err="1">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sorunlar</a:t>
            </a:r>
            <a:r>
              <a:rPr lang="en-US" sz="1200" kern="0">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kern="0" err="1">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göz</a:t>
            </a:r>
            <a:r>
              <a:rPr lang="en-US" sz="1200" kern="0">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kern="0" err="1">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önüne</a:t>
            </a:r>
            <a:r>
              <a:rPr lang="en-US" sz="1200" kern="0">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kern="0" err="1">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alındığında</a:t>
            </a:r>
            <a:r>
              <a:rPr lang="en-US" sz="1200" kern="0">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 KPA20'yi </a:t>
            </a:r>
            <a:r>
              <a:rPr lang="en-US" sz="1200" kern="0" err="1">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plasebo</a:t>
            </a:r>
            <a:r>
              <a:rPr lang="en-US" sz="1200" kern="0">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kern="0" err="1">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ile</a:t>
            </a:r>
            <a:r>
              <a:rPr lang="en-US" sz="1200" kern="0">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kern="0" err="1">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karşılaştıran</a:t>
            </a:r>
            <a:r>
              <a:rPr lang="en-US" sz="1200" kern="0">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kern="0" err="1">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etkinlik</a:t>
            </a:r>
            <a:r>
              <a:rPr lang="en-US" sz="1200" kern="0">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kern="0" err="1">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çalışmaları</a:t>
            </a:r>
            <a:r>
              <a:rPr lang="en-US" sz="1200" kern="0">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kern="0" err="1">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mümkün</a:t>
            </a:r>
            <a:r>
              <a:rPr lang="en-US" sz="1200" kern="0">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 değildir</a:t>
            </a:r>
            <a:r>
              <a:rPr lang="en-US" sz="1200" kern="0" baseline="30000">
                <a:solidFill>
                  <a:srgbClr val="353B3E"/>
                </a:solidFill>
                <a:latin typeface="Calibri" panose="020F0502020204030204" pitchFamily="34" charset="0"/>
                <a:ea typeface="Calibri" panose="020F0502020204030204" pitchFamily="34" charset="0"/>
                <a:cs typeface="Calibri" panose="020F0502020204030204" pitchFamily="34" charset="0"/>
                <a:sym typeface="Arial"/>
              </a:rPr>
              <a:t>1</a:t>
            </a:r>
            <a:endParaRPr lang="en-US" sz="1200">
              <a:solidFill>
                <a:srgbClr val="353B3E"/>
              </a:solidFill>
              <a:latin typeface="Calibri" panose="020F0502020204030204" pitchFamily="34" charset="0"/>
              <a:ea typeface="Calibri" panose="020F0502020204030204" pitchFamily="34" charset="0"/>
              <a:cs typeface="Calibri" panose="020F0502020204030204" pitchFamily="34" charset="0"/>
            </a:endParaRPr>
          </a:p>
          <a:p>
            <a:pPr marL="126206" indent="-126206" defTabSz="685389">
              <a:lnSpc>
                <a:spcPct val="150000"/>
              </a:lnSpc>
              <a:spcBef>
                <a:spcPts val="900"/>
              </a:spcBef>
              <a:buFont typeface="Arial"/>
              <a:buChar char="•"/>
              <a:tabLst>
                <a:tab pos="213233" algn="l"/>
              </a:tabLst>
              <a:defRPr/>
            </a:pPr>
            <a:r>
              <a:rPr lang="en-US" sz="1200" err="1">
                <a:solidFill>
                  <a:srgbClr val="353B3E"/>
                </a:solidFill>
                <a:latin typeface="Calibri" panose="020F0502020204030204" pitchFamily="34" charset="0"/>
                <a:ea typeface="Calibri" panose="020F0502020204030204" pitchFamily="34" charset="0"/>
                <a:cs typeface="Calibri" panose="020F0502020204030204" pitchFamily="34" charset="0"/>
              </a:rPr>
              <a:t>Aşılamadan</a:t>
            </a: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 1 ay </a:t>
            </a:r>
            <a:r>
              <a:rPr lang="en-US" sz="1200" err="1">
                <a:solidFill>
                  <a:srgbClr val="353B3E"/>
                </a:solidFill>
                <a:latin typeface="Calibri" panose="020F0502020204030204" pitchFamily="34" charset="0"/>
                <a:ea typeface="Calibri" panose="020F0502020204030204" pitchFamily="34" charset="0"/>
                <a:cs typeface="Calibri" panose="020F0502020204030204" pitchFamily="34" charset="0"/>
              </a:rPr>
              <a:t>sonra</a:t>
            </a: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 </a:t>
            </a:r>
            <a:r>
              <a:rPr lang="en-US" sz="1200" err="1">
                <a:solidFill>
                  <a:srgbClr val="353B3E"/>
                </a:solidFill>
                <a:latin typeface="Calibri" panose="020F0502020204030204" pitchFamily="34" charset="0"/>
                <a:ea typeface="Calibri" panose="020F0502020204030204" pitchFamily="34" charset="0"/>
                <a:cs typeface="Calibri" panose="020F0502020204030204" pitchFamily="34" charset="0"/>
              </a:rPr>
              <a:t>bağışıklık</a:t>
            </a: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 </a:t>
            </a:r>
            <a:r>
              <a:rPr lang="en-US" sz="1200" err="1">
                <a:solidFill>
                  <a:srgbClr val="353B3E"/>
                </a:solidFill>
                <a:latin typeface="Calibri" panose="020F0502020204030204" pitchFamily="34" charset="0"/>
                <a:ea typeface="Calibri" panose="020F0502020204030204" pitchFamily="34" charset="0"/>
                <a:cs typeface="Calibri" panose="020F0502020204030204" pitchFamily="34" charset="0"/>
              </a:rPr>
              <a:t>yanıtının</a:t>
            </a: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 </a:t>
            </a:r>
            <a:r>
              <a:rPr lang="en-US" sz="1200" err="1">
                <a:solidFill>
                  <a:srgbClr val="353B3E"/>
                </a:solidFill>
                <a:latin typeface="Calibri" panose="020F0502020204030204" pitchFamily="34" charset="0"/>
                <a:ea typeface="Calibri" panose="020F0502020204030204" pitchFamily="34" charset="0"/>
                <a:cs typeface="Calibri" panose="020F0502020204030204" pitchFamily="34" charset="0"/>
              </a:rPr>
              <a:t>birincil</a:t>
            </a: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 </a:t>
            </a:r>
            <a:r>
              <a:rPr lang="en-US" sz="1200" err="1">
                <a:solidFill>
                  <a:srgbClr val="353B3E"/>
                </a:solidFill>
                <a:latin typeface="Calibri" panose="020F0502020204030204" pitchFamily="34" charset="0"/>
                <a:ea typeface="Calibri" panose="020F0502020204030204" pitchFamily="34" charset="0"/>
                <a:cs typeface="Calibri" panose="020F0502020204030204" pitchFamily="34" charset="0"/>
              </a:rPr>
              <a:t>ölçüsü</a:t>
            </a: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 OPA GMT değerleri</a:t>
            </a:r>
            <a:r>
              <a:rPr lang="en-US" sz="1200" baseline="30000">
                <a:solidFill>
                  <a:srgbClr val="353B3E"/>
                </a:solidFill>
                <a:latin typeface="Calibri" panose="020F0502020204030204" pitchFamily="34" charset="0"/>
                <a:ea typeface="Calibri" panose="020F0502020204030204" pitchFamily="34" charset="0"/>
                <a:cs typeface="Calibri" panose="020F0502020204030204" pitchFamily="34" charset="0"/>
              </a:rPr>
              <a:t>2</a:t>
            </a:r>
          </a:p>
          <a:p>
            <a:pPr marL="126206" indent="-126206" defTabSz="685389">
              <a:lnSpc>
                <a:spcPct val="150000"/>
              </a:lnSpc>
              <a:spcBef>
                <a:spcPts val="900"/>
              </a:spcBef>
              <a:buFont typeface="Arial"/>
              <a:buChar char="•"/>
              <a:tabLst>
                <a:tab pos="213233" algn="l"/>
              </a:tabLst>
              <a:defRPr/>
            </a:pP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Her </a:t>
            </a:r>
            <a:r>
              <a:rPr lang="en-US" sz="1200" err="1">
                <a:solidFill>
                  <a:srgbClr val="353B3E"/>
                </a:solidFill>
                <a:latin typeface="Calibri" panose="020F0502020204030204" pitchFamily="34" charset="0"/>
                <a:ea typeface="Calibri" panose="020F0502020204030204" pitchFamily="34" charset="0"/>
                <a:cs typeface="Calibri" panose="020F0502020204030204" pitchFamily="34" charset="0"/>
              </a:rPr>
              <a:t>bir</a:t>
            </a: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 20 </a:t>
            </a:r>
            <a:r>
              <a:rPr lang="en-US" sz="1200" err="1">
                <a:solidFill>
                  <a:srgbClr val="353B3E"/>
                </a:solidFill>
                <a:latin typeface="Calibri" panose="020F0502020204030204" pitchFamily="34" charset="0"/>
                <a:ea typeface="Calibri" panose="020F0502020204030204" pitchFamily="34" charset="0"/>
                <a:cs typeface="Calibri" panose="020F0502020204030204" pitchFamily="34" charset="0"/>
              </a:rPr>
              <a:t>serotip</a:t>
            </a: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 </a:t>
            </a:r>
            <a:r>
              <a:rPr lang="en-US" sz="1200" err="1">
                <a:solidFill>
                  <a:srgbClr val="353B3E"/>
                </a:solidFill>
                <a:latin typeface="Calibri" panose="020F0502020204030204" pitchFamily="34" charset="0"/>
                <a:ea typeface="Calibri" panose="020F0502020204030204" pitchFamily="34" charset="0"/>
                <a:cs typeface="Calibri" panose="020F0502020204030204" pitchFamily="34" charset="0"/>
              </a:rPr>
              <a:t>için</a:t>
            </a: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 </a:t>
            </a:r>
            <a:r>
              <a:rPr lang="en-US" sz="1200" err="1">
                <a:solidFill>
                  <a:srgbClr val="353B3E"/>
                </a:solidFill>
                <a:latin typeface="Calibri" panose="020F0502020204030204" pitchFamily="34" charset="0"/>
                <a:ea typeface="Calibri" panose="020F0502020204030204" pitchFamily="34" charset="0"/>
                <a:cs typeface="Calibri" panose="020F0502020204030204" pitchFamily="34" charset="0"/>
              </a:rPr>
              <a:t>klinik</a:t>
            </a: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 </a:t>
            </a:r>
            <a:r>
              <a:rPr lang="en-US" sz="1200" err="1">
                <a:solidFill>
                  <a:srgbClr val="353B3E"/>
                </a:solidFill>
                <a:latin typeface="Calibri" panose="020F0502020204030204" pitchFamily="34" charset="0"/>
                <a:ea typeface="Calibri" panose="020F0502020204030204" pitchFamily="34" charset="0"/>
                <a:cs typeface="Calibri" panose="020F0502020204030204" pitchFamily="34" charset="0"/>
              </a:rPr>
              <a:t>etkinliği</a:t>
            </a: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 </a:t>
            </a:r>
            <a:r>
              <a:rPr lang="en-US" sz="1200" err="1">
                <a:solidFill>
                  <a:srgbClr val="353B3E"/>
                </a:solidFill>
                <a:latin typeface="Calibri" panose="020F0502020204030204" pitchFamily="34" charset="0"/>
                <a:ea typeface="Calibri" panose="020F0502020204030204" pitchFamily="34" charset="0"/>
                <a:cs typeface="Calibri" panose="020F0502020204030204" pitchFamily="34" charset="0"/>
              </a:rPr>
              <a:t>belgelenmiş</a:t>
            </a: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 </a:t>
            </a:r>
            <a:r>
              <a:rPr lang="en-US" sz="1200" err="1">
                <a:solidFill>
                  <a:srgbClr val="353B3E"/>
                </a:solidFill>
                <a:latin typeface="Calibri" panose="020F0502020204030204" pitchFamily="34" charset="0"/>
                <a:ea typeface="Calibri" panose="020F0502020204030204" pitchFamily="34" charset="0"/>
                <a:cs typeface="Calibri" panose="020F0502020204030204" pitchFamily="34" charset="0"/>
              </a:rPr>
              <a:t>aşılara</a:t>
            </a: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 </a:t>
            </a:r>
            <a:r>
              <a:rPr lang="en-US" sz="1200" err="1">
                <a:solidFill>
                  <a:srgbClr val="353B3E"/>
                </a:solidFill>
                <a:latin typeface="Calibri" panose="020F0502020204030204" pitchFamily="34" charset="0"/>
                <a:ea typeface="Calibri" panose="020F0502020204030204" pitchFamily="34" charset="0"/>
                <a:cs typeface="Calibri" panose="020F0502020204030204" pitchFamily="34" charset="0"/>
              </a:rPr>
              <a:t>karşı</a:t>
            </a: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 </a:t>
            </a:r>
            <a:r>
              <a:rPr lang="en-US" sz="1200" err="1">
                <a:solidFill>
                  <a:srgbClr val="353B3E"/>
                </a:solidFill>
                <a:latin typeface="Calibri" panose="020F0502020204030204" pitchFamily="34" charset="0"/>
                <a:ea typeface="Calibri" panose="020F0502020204030204" pitchFamily="34" charset="0"/>
                <a:cs typeface="Calibri" panose="020F0502020204030204" pitchFamily="34" charset="0"/>
              </a:rPr>
              <a:t>istatistiksel</a:t>
            </a: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 </a:t>
            </a:r>
            <a:r>
              <a:rPr lang="en-US" sz="1200" err="1">
                <a:solidFill>
                  <a:srgbClr val="353B3E"/>
                </a:solidFill>
                <a:latin typeface="Calibri" panose="020F0502020204030204" pitchFamily="34" charset="0"/>
                <a:ea typeface="Calibri" panose="020F0502020204030204" pitchFamily="34" charset="0"/>
                <a:cs typeface="Calibri" panose="020F0502020204030204" pitchFamily="34" charset="0"/>
              </a:rPr>
              <a:t>olarak</a:t>
            </a:r>
            <a:r>
              <a:rPr lang="en-US" sz="1200">
                <a:solidFill>
                  <a:srgbClr val="353B3E"/>
                </a:solidFill>
                <a:latin typeface="Calibri" panose="020F0502020204030204" pitchFamily="34" charset="0"/>
                <a:ea typeface="Calibri" panose="020F0502020204030204" pitchFamily="34" charset="0"/>
                <a:cs typeface="Calibri" panose="020F0502020204030204" pitchFamily="34" charset="0"/>
              </a:rPr>
              <a:t> non-inferiority  değerlendirilmiştir.</a:t>
            </a:r>
            <a:r>
              <a:rPr lang="en-US" sz="1200" baseline="30000">
                <a:solidFill>
                  <a:prstClr val="black"/>
                </a:solidFill>
                <a:latin typeface="Calibri" panose="020F0502020204030204" pitchFamily="34" charset="0"/>
                <a:ea typeface="Calibri" panose="020F0502020204030204" pitchFamily="34" charset="0"/>
                <a:cs typeface="Calibri" panose="020F0502020204030204" pitchFamily="34" charset="0"/>
              </a:rPr>
              <a:t>2</a:t>
            </a:r>
          </a:p>
        </p:txBody>
      </p:sp>
      <p:sp>
        <p:nvSpPr>
          <p:cNvPr id="4" name="TextBox 3">
            <a:extLst>
              <a:ext uri="{FF2B5EF4-FFF2-40B4-BE49-F238E27FC236}">
                <a16:creationId xmlns:a16="http://schemas.microsoft.com/office/drawing/2014/main" id="{7522B6B4-AC58-A946-B17A-34176EE07D67}"/>
              </a:ext>
            </a:extLst>
          </p:cNvPr>
          <p:cNvSpPr txBox="1"/>
          <p:nvPr/>
        </p:nvSpPr>
        <p:spPr>
          <a:xfrm>
            <a:off x="1987667" y="3614639"/>
            <a:ext cx="2721527" cy="299814"/>
          </a:xfrm>
          <a:prstGeom prst="rect">
            <a:avLst/>
          </a:prstGeom>
          <a:noFill/>
        </p:spPr>
        <p:txBody>
          <a:bodyPr wrap="square">
            <a:spAutoFit/>
          </a:bodyPr>
          <a:lstStyle/>
          <a:p>
            <a:pPr marL="0" marR="3807" lvl="1" defTabSz="685389">
              <a:lnSpc>
                <a:spcPct val="95000"/>
              </a:lnSpc>
              <a:spcBef>
                <a:spcPts val="375"/>
              </a:spcBef>
              <a:tabLst>
                <a:tab pos="213233" algn="l"/>
              </a:tabLst>
              <a:defRPr/>
            </a:pPr>
            <a:r>
              <a:rPr lang="tr-TR" sz="1200" b="1">
                <a:solidFill>
                  <a:srgbClr val="0000C8"/>
                </a:solidFill>
                <a:latin typeface="Arial" panose="020B0604020202020204"/>
              </a:rPr>
              <a:t>Pivotal Faz</a:t>
            </a:r>
            <a:r>
              <a:rPr lang="en-US" sz="1200" b="1">
                <a:solidFill>
                  <a:srgbClr val="0000C8"/>
                </a:solidFill>
                <a:latin typeface="Arial" panose="020B0604020202020204"/>
              </a:rPr>
              <a:t> 3 </a:t>
            </a:r>
            <a:r>
              <a:rPr lang="en-US" sz="1200" b="1" err="1">
                <a:solidFill>
                  <a:srgbClr val="0000C8"/>
                </a:solidFill>
                <a:latin typeface="Arial" panose="020B0604020202020204"/>
              </a:rPr>
              <a:t>Karşılaştırması</a:t>
            </a:r>
            <a:endParaRPr lang="en-US" sz="1200">
              <a:solidFill>
                <a:srgbClr val="000000"/>
              </a:solidFill>
              <a:latin typeface="Arial" panose="020B0604020202020204"/>
            </a:endParaRPr>
          </a:p>
        </p:txBody>
      </p:sp>
      <p:pic>
        <p:nvPicPr>
          <p:cNvPr id="10" name="Picture 9" descr="A yellow and blue logo&#10;&#10;Description automatically generated">
            <a:extLst>
              <a:ext uri="{FF2B5EF4-FFF2-40B4-BE49-F238E27FC236}">
                <a16:creationId xmlns:a16="http://schemas.microsoft.com/office/drawing/2014/main" id="{D995C7A0-C7DB-3317-6C3B-C642E392235B}"/>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126149069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56265-62E3-249F-4B3F-01F6EE66BBDF}"/>
              </a:ext>
            </a:extLst>
          </p:cNvPr>
          <p:cNvSpPr>
            <a:spLocks noGrp="1"/>
          </p:cNvSpPr>
          <p:nvPr>
            <p:ph type="title"/>
          </p:nvPr>
        </p:nvSpPr>
        <p:spPr/>
        <p:txBody>
          <a:bodyPr>
            <a:normAutofit/>
          </a:bodyPr>
          <a:lstStyle/>
          <a:p>
            <a:r>
              <a:rPr lang="tr-TR" sz="2000" dirty="0">
                <a:solidFill>
                  <a:schemeClr val="bg1"/>
                </a:solidFill>
              </a:rPr>
              <a:t>B7471007: Daha önce Pnömokok Aşısı Olmayan erişkinlerde Bildirilen Advers Reaksiyonlar</a:t>
            </a:r>
            <a:endParaRPr lang="tr-TR" dirty="0"/>
          </a:p>
        </p:txBody>
      </p:sp>
      <p:sp>
        <p:nvSpPr>
          <p:cNvPr id="3" name="Slide Number Placeholder 2">
            <a:extLst>
              <a:ext uri="{FF2B5EF4-FFF2-40B4-BE49-F238E27FC236}">
                <a16:creationId xmlns:a16="http://schemas.microsoft.com/office/drawing/2014/main" id="{D2B1D4D2-D007-84CE-AFB3-C037C5602974}"/>
              </a:ext>
            </a:extLst>
          </p:cNvPr>
          <p:cNvSpPr>
            <a:spLocks noGrp="1"/>
          </p:cNvSpPr>
          <p:nvPr>
            <p:ph type="sldNum" sz="quarter" idx="4"/>
          </p:nvPr>
        </p:nvSpPr>
        <p:spPr/>
        <p:txBody>
          <a:bodyPr/>
          <a:lstStyle/>
          <a:p>
            <a:pPr defTabSz="685800"/>
            <a:fld id="{03074DEF-F175-4420-8EE3-137377F9872B}" type="slidenum">
              <a:rPr lang="en-US">
                <a:solidFill>
                  <a:srgbClr val="A1AAB1">
                    <a:lumMod val="75000"/>
                  </a:srgbClr>
                </a:solidFill>
                <a:latin typeface="Arial" panose="020B0604020202020204"/>
              </a:rPr>
              <a:pPr defTabSz="685800"/>
              <a:t>74</a:t>
            </a:fld>
            <a:endParaRPr lang="en-US">
              <a:solidFill>
                <a:srgbClr val="A1AAB1">
                  <a:lumMod val="75000"/>
                </a:srgbClr>
              </a:solidFill>
              <a:latin typeface="Arial" panose="020B0604020202020204"/>
            </a:endParaRPr>
          </a:p>
        </p:txBody>
      </p:sp>
      <p:graphicFrame>
        <p:nvGraphicFramePr>
          <p:cNvPr id="5" name="Chart 4">
            <a:extLst>
              <a:ext uri="{FF2B5EF4-FFF2-40B4-BE49-F238E27FC236}">
                <a16:creationId xmlns:a16="http://schemas.microsoft.com/office/drawing/2014/main" id="{9841A303-C2FD-FB52-5076-6FFAEF692B4D}"/>
              </a:ext>
            </a:extLst>
          </p:cNvPr>
          <p:cNvGraphicFramePr/>
          <p:nvPr/>
        </p:nvGraphicFramePr>
        <p:xfrm>
          <a:off x="1665507" y="3570740"/>
          <a:ext cx="3141884" cy="192024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BB23D67B-1549-F641-D845-659642DBB69C}"/>
              </a:ext>
            </a:extLst>
          </p:cNvPr>
          <p:cNvGraphicFramePr/>
          <p:nvPr/>
        </p:nvGraphicFramePr>
        <p:xfrm>
          <a:off x="4600080" y="3570740"/>
          <a:ext cx="3141884" cy="1920240"/>
        </p:xfrm>
        <a:graphic>
          <a:graphicData uri="http://schemas.openxmlformats.org/drawingml/2006/chart">
            <c:chart xmlns:c="http://schemas.openxmlformats.org/drawingml/2006/chart" xmlns:r="http://schemas.openxmlformats.org/officeDocument/2006/relationships" r:id="rId3"/>
          </a:graphicData>
        </a:graphic>
      </p:graphicFrame>
      <p:sp>
        <p:nvSpPr>
          <p:cNvPr id="7" name="Title 1">
            <a:extLst>
              <a:ext uri="{FF2B5EF4-FFF2-40B4-BE49-F238E27FC236}">
                <a16:creationId xmlns:a16="http://schemas.microsoft.com/office/drawing/2014/main" id="{5139C994-FE2C-9A05-A606-5EAD31F068F8}"/>
              </a:ext>
            </a:extLst>
          </p:cNvPr>
          <p:cNvSpPr txBox="1">
            <a:spLocks/>
          </p:cNvSpPr>
          <p:nvPr/>
        </p:nvSpPr>
        <p:spPr>
          <a:xfrm>
            <a:off x="1829911" y="1042499"/>
            <a:ext cx="8194580" cy="685622"/>
          </a:xfrm>
          <a:prstGeom prst="rect">
            <a:avLst/>
          </a:prstGeom>
        </p:spPr>
        <p:txBody>
          <a:bodyPr vert="horz" lIns="68580" tIns="34290" rIns="68580" bIns="0" rtlCol="0" anchor="ctr" anchorCtr="0">
            <a:noAutofit/>
          </a:bodyPr>
          <a:lstStyle>
            <a:lvl1pPr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defTabSz="685800"/>
            <a:endParaRPr lang="en-US" sz="1800" b="1">
              <a:solidFill>
                <a:srgbClr val="002060"/>
              </a:solidFill>
              <a:latin typeface="Calibri Light" panose="020F0302020204030204" pitchFamily="34" charset="0"/>
              <a:cs typeface="Calibri Light" panose="020F0302020204030204" pitchFamily="34" charset="0"/>
            </a:endParaRPr>
          </a:p>
        </p:txBody>
      </p:sp>
      <p:sp>
        <p:nvSpPr>
          <p:cNvPr id="8" name="Text Placeholder 4">
            <a:extLst>
              <a:ext uri="{FF2B5EF4-FFF2-40B4-BE49-F238E27FC236}">
                <a16:creationId xmlns:a16="http://schemas.microsoft.com/office/drawing/2014/main" id="{CF9639E6-AE3F-1CB5-0DBC-510466C03312}"/>
              </a:ext>
            </a:extLst>
          </p:cNvPr>
          <p:cNvSpPr txBox="1">
            <a:spLocks/>
          </p:cNvSpPr>
          <p:nvPr/>
        </p:nvSpPr>
        <p:spPr>
          <a:xfrm>
            <a:off x="2597247" y="5737367"/>
            <a:ext cx="7764843" cy="156966"/>
          </a:xfrm>
          <a:prstGeom prst="rect">
            <a:avLst/>
          </a:prstGeom>
        </p:spPr>
        <p:txBody>
          <a:bodyPr vert="horz" lIns="68580" tIns="34290" rIns="68580" bIns="34290" rtlCol="0" anchor="ctr"/>
          <a:lstStyle>
            <a:defPPr>
              <a:defRPr lang="tr-TR"/>
            </a:defPPr>
            <a:lvl1pPr marL="0" algn="ctr" defTabSz="914400" rtl="0" eaLnBrk="1" latinLnBrk="0" hangingPunct="1">
              <a:defRPr sz="1000" kern="1200">
                <a:solidFill>
                  <a:schemeClr val="tx1">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US" sz="600">
                <a:solidFill>
                  <a:srgbClr val="FFFFFF">
                    <a:lumMod val="65000"/>
                  </a:srgbClr>
                </a:solidFill>
                <a:latin typeface="Arial" panose="020B0604020202020204"/>
              </a:rPr>
              <a:t>Essink B, et al. </a:t>
            </a:r>
            <a:r>
              <a:rPr lang="en-US" sz="600" i="1">
                <a:solidFill>
                  <a:srgbClr val="FFFFFF">
                    <a:lumMod val="65000"/>
                  </a:srgbClr>
                </a:solidFill>
                <a:latin typeface="Arial" panose="020B0604020202020204"/>
              </a:rPr>
              <a:t>Clin Infect Dis. </a:t>
            </a:r>
            <a:r>
              <a:rPr lang="fr-FR" sz="600">
                <a:solidFill>
                  <a:srgbClr val="FFFFFF">
                    <a:lumMod val="65000"/>
                  </a:srgbClr>
                </a:solidFill>
                <a:latin typeface="Arial" panose="020B0604020202020204"/>
              </a:rPr>
              <a:t>2022;75(3):390-398</a:t>
            </a:r>
            <a:r>
              <a:rPr lang="en-US" sz="600">
                <a:solidFill>
                  <a:srgbClr val="FFFFFF">
                    <a:lumMod val="65000"/>
                  </a:srgbClr>
                </a:solidFill>
                <a:latin typeface="Arial" panose="020B0604020202020204"/>
              </a:rPr>
              <a:t>. </a:t>
            </a:r>
          </a:p>
        </p:txBody>
      </p:sp>
      <p:grpSp>
        <p:nvGrpSpPr>
          <p:cNvPr id="9" name="Group 8">
            <a:extLst>
              <a:ext uri="{FF2B5EF4-FFF2-40B4-BE49-F238E27FC236}">
                <a16:creationId xmlns:a16="http://schemas.microsoft.com/office/drawing/2014/main" id="{E9982EB4-EDAF-90F2-C98E-33E31BD87ECD}"/>
              </a:ext>
            </a:extLst>
          </p:cNvPr>
          <p:cNvGrpSpPr/>
          <p:nvPr/>
        </p:nvGrpSpPr>
        <p:grpSpPr>
          <a:xfrm>
            <a:off x="7572430" y="1586446"/>
            <a:ext cx="2961737" cy="1756729"/>
            <a:chOff x="257628" y="2125469"/>
            <a:chExt cx="3952069" cy="2649521"/>
          </a:xfrm>
        </p:grpSpPr>
        <p:graphicFrame>
          <p:nvGraphicFramePr>
            <p:cNvPr id="10" name="Chart 9">
              <a:extLst>
                <a:ext uri="{FF2B5EF4-FFF2-40B4-BE49-F238E27FC236}">
                  <a16:creationId xmlns:a16="http://schemas.microsoft.com/office/drawing/2014/main" id="{E624029D-86A0-56B9-EE85-DD0B83D1F0C4}"/>
                </a:ext>
              </a:extLst>
            </p:cNvPr>
            <p:cNvGraphicFramePr/>
            <p:nvPr/>
          </p:nvGraphicFramePr>
          <p:xfrm>
            <a:off x="257628" y="2360613"/>
            <a:ext cx="3628573" cy="2414377"/>
          </p:xfrm>
          <a:graphic>
            <a:graphicData uri="http://schemas.openxmlformats.org/drawingml/2006/chart">
              <c:chart xmlns:c="http://schemas.openxmlformats.org/drawingml/2006/chart" xmlns:r="http://schemas.openxmlformats.org/officeDocument/2006/relationships" r:id="rId4"/>
            </a:graphicData>
          </a:graphic>
        </p:graphicFrame>
        <p:cxnSp>
          <p:nvCxnSpPr>
            <p:cNvPr id="11" name="Straight Connector 10">
              <a:extLst>
                <a:ext uri="{FF2B5EF4-FFF2-40B4-BE49-F238E27FC236}">
                  <a16:creationId xmlns:a16="http://schemas.microsoft.com/office/drawing/2014/main" id="{3087C919-4496-7076-8AE5-779CA419AAC1}"/>
                </a:ext>
              </a:extLst>
            </p:cNvPr>
            <p:cNvCxnSpPr>
              <a:cxnSpLocks/>
            </p:cNvCxnSpPr>
            <p:nvPr/>
          </p:nvCxnSpPr>
          <p:spPr>
            <a:xfrm>
              <a:off x="1926771" y="2646101"/>
              <a:ext cx="0" cy="1921741"/>
            </a:xfrm>
            <a:prstGeom prst="line">
              <a:avLst/>
            </a:prstGeom>
            <a:noFill/>
            <a:ln w="12700" cap="flat" cmpd="sng" algn="ctr">
              <a:solidFill>
                <a:srgbClr val="000000">
                  <a:lumMod val="65000"/>
                  <a:lumOff val="35000"/>
                </a:srgbClr>
              </a:solidFill>
              <a:prstDash val="sysDash"/>
            </a:ln>
            <a:effectLst/>
          </p:spPr>
        </p:cxnSp>
        <p:cxnSp>
          <p:nvCxnSpPr>
            <p:cNvPr id="12" name="Straight Connector 11">
              <a:extLst>
                <a:ext uri="{FF2B5EF4-FFF2-40B4-BE49-F238E27FC236}">
                  <a16:creationId xmlns:a16="http://schemas.microsoft.com/office/drawing/2014/main" id="{2A09E331-336C-5A3A-1C5D-BA1F4E9D1D9E}"/>
                </a:ext>
              </a:extLst>
            </p:cNvPr>
            <p:cNvCxnSpPr>
              <a:cxnSpLocks/>
            </p:cNvCxnSpPr>
            <p:nvPr/>
          </p:nvCxnSpPr>
          <p:spPr>
            <a:xfrm>
              <a:off x="2845464" y="2646101"/>
              <a:ext cx="0" cy="1921741"/>
            </a:xfrm>
            <a:prstGeom prst="line">
              <a:avLst/>
            </a:prstGeom>
            <a:noFill/>
            <a:ln w="12700" cap="flat" cmpd="sng" algn="ctr">
              <a:solidFill>
                <a:srgbClr val="000000">
                  <a:lumMod val="65000"/>
                  <a:lumOff val="35000"/>
                </a:srgbClr>
              </a:solidFill>
              <a:prstDash val="sysDash"/>
            </a:ln>
            <a:effectLst/>
          </p:spPr>
        </p:cxnSp>
        <p:sp>
          <p:nvSpPr>
            <p:cNvPr id="13" name="TextBox 12">
              <a:extLst>
                <a:ext uri="{FF2B5EF4-FFF2-40B4-BE49-F238E27FC236}">
                  <a16:creationId xmlns:a16="http://schemas.microsoft.com/office/drawing/2014/main" id="{24A2D970-2E90-08C2-2A56-E7F36987DC52}"/>
                </a:ext>
              </a:extLst>
            </p:cNvPr>
            <p:cNvSpPr txBox="1"/>
            <p:nvPr/>
          </p:nvSpPr>
          <p:spPr>
            <a:xfrm>
              <a:off x="2853063" y="2387587"/>
              <a:ext cx="894681" cy="661475"/>
            </a:xfrm>
            <a:prstGeom prst="rect">
              <a:avLst/>
            </a:prstGeom>
            <a:noFill/>
          </p:spPr>
          <p:txBody>
            <a:bodyPr wrap="square" rtlCol="0">
              <a:spAutoFit/>
            </a:bodyPr>
            <a:lstStyle/>
            <a:p>
              <a:pPr algn="ctr" defTabSz="685184">
                <a:defRPr/>
              </a:pPr>
              <a:r>
                <a:rPr lang="en-US" sz="750" kern="0" err="1">
                  <a:solidFill>
                    <a:prstClr val="black"/>
                  </a:solidFill>
                  <a:latin typeface="Arial" panose="020B0604020202020204"/>
                  <a:cs typeface="Arial"/>
                  <a:sym typeface="Arial"/>
                </a:rPr>
                <a:t>Enjeksiyon</a:t>
              </a:r>
              <a:r>
                <a:rPr lang="en-US" sz="750" kern="0">
                  <a:solidFill>
                    <a:prstClr val="black"/>
                  </a:solidFill>
                  <a:latin typeface="Arial" panose="020B0604020202020204"/>
                  <a:cs typeface="Arial"/>
                  <a:sym typeface="Arial"/>
                </a:rPr>
                <a:t> </a:t>
              </a:r>
              <a:r>
                <a:rPr lang="en-US" sz="750" kern="0" err="1">
                  <a:solidFill>
                    <a:prstClr val="black"/>
                  </a:solidFill>
                  <a:latin typeface="Arial" panose="020B0604020202020204"/>
                  <a:cs typeface="Arial"/>
                  <a:sym typeface="Arial"/>
                </a:rPr>
                <a:t>yerinde</a:t>
              </a:r>
              <a:r>
                <a:rPr lang="en-US" sz="750" kern="0">
                  <a:solidFill>
                    <a:prstClr val="black"/>
                  </a:solidFill>
                  <a:latin typeface="Arial" panose="020B0604020202020204"/>
                  <a:cs typeface="Arial"/>
                  <a:sym typeface="Arial"/>
                </a:rPr>
                <a:t> </a:t>
              </a:r>
              <a:r>
                <a:rPr lang="en-US" sz="750" kern="0" err="1">
                  <a:solidFill>
                    <a:prstClr val="black"/>
                  </a:solidFill>
                  <a:latin typeface="Arial" panose="020B0604020202020204"/>
                  <a:cs typeface="Arial"/>
                  <a:sym typeface="Arial"/>
                </a:rPr>
                <a:t>ağrı</a:t>
              </a:r>
              <a:endParaRPr lang="en-US" sz="750" kern="0">
                <a:solidFill>
                  <a:prstClr val="black"/>
                </a:solidFill>
                <a:latin typeface="Arial" panose="020B0604020202020204"/>
                <a:cs typeface="Arial"/>
                <a:sym typeface="Arial"/>
              </a:endParaRPr>
            </a:p>
          </p:txBody>
        </p:sp>
        <p:sp>
          <p:nvSpPr>
            <p:cNvPr id="14" name="TextBox 13">
              <a:extLst>
                <a:ext uri="{FF2B5EF4-FFF2-40B4-BE49-F238E27FC236}">
                  <a16:creationId xmlns:a16="http://schemas.microsoft.com/office/drawing/2014/main" id="{7C66C48B-EFC1-E007-D46D-61714553E0B5}"/>
                </a:ext>
              </a:extLst>
            </p:cNvPr>
            <p:cNvSpPr txBox="1"/>
            <p:nvPr/>
          </p:nvSpPr>
          <p:spPr>
            <a:xfrm>
              <a:off x="1939065" y="2386307"/>
              <a:ext cx="894681" cy="313330"/>
            </a:xfrm>
            <a:prstGeom prst="rect">
              <a:avLst/>
            </a:prstGeom>
            <a:noFill/>
          </p:spPr>
          <p:txBody>
            <a:bodyPr wrap="square" rtlCol="0">
              <a:spAutoFit/>
            </a:bodyPr>
            <a:lstStyle/>
            <a:p>
              <a:pPr algn="ctr" defTabSz="685184">
                <a:defRPr/>
              </a:pPr>
              <a:r>
                <a:rPr lang="en-US" sz="750" kern="0" err="1">
                  <a:solidFill>
                    <a:prstClr val="black"/>
                  </a:solidFill>
                  <a:latin typeface="Arial" panose="020B0604020202020204"/>
                  <a:cs typeface="Arial"/>
                  <a:sym typeface="Arial"/>
                </a:rPr>
                <a:t>Şişlik</a:t>
              </a:r>
              <a:endParaRPr lang="en-US" sz="750" kern="0">
                <a:solidFill>
                  <a:prstClr val="black"/>
                </a:solidFill>
                <a:latin typeface="Arial" panose="020B0604020202020204"/>
                <a:cs typeface="Arial"/>
                <a:sym typeface="Arial"/>
              </a:endParaRPr>
            </a:p>
          </p:txBody>
        </p:sp>
        <p:sp>
          <p:nvSpPr>
            <p:cNvPr id="15" name="TextBox 14">
              <a:extLst>
                <a:ext uri="{FF2B5EF4-FFF2-40B4-BE49-F238E27FC236}">
                  <a16:creationId xmlns:a16="http://schemas.microsoft.com/office/drawing/2014/main" id="{4DBB6DB3-B3A1-CDB0-3A8D-8CD31372ECDF}"/>
                </a:ext>
              </a:extLst>
            </p:cNvPr>
            <p:cNvSpPr txBox="1"/>
            <p:nvPr/>
          </p:nvSpPr>
          <p:spPr>
            <a:xfrm>
              <a:off x="1028091" y="2386307"/>
              <a:ext cx="894681" cy="313330"/>
            </a:xfrm>
            <a:prstGeom prst="rect">
              <a:avLst/>
            </a:prstGeom>
            <a:noFill/>
          </p:spPr>
          <p:txBody>
            <a:bodyPr wrap="square" rtlCol="0">
              <a:spAutoFit/>
            </a:bodyPr>
            <a:lstStyle/>
            <a:p>
              <a:pPr algn="ctr" defTabSz="685184">
                <a:defRPr/>
              </a:pPr>
              <a:r>
                <a:rPr lang="en-US" sz="750" kern="0" err="1">
                  <a:solidFill>
                    <a:prstClr val="black"/>
                  </a:solidFill>
                  <a:latin typeface="Arial" panose="020B0604020202020204"/>
                  <a:cs typeface="Arial"/>
                  <a:sym typeface="Arial"/>
                </a:rPr>
                <a:t>Kızarıklık</a:t>
              </a:r>
              <a:endParaRPr lang="en-US" sz="750" kern="0">
                <a:solidFill>
                  <a:prstClr val="black"/>
                </a:solidFill>
                <a:latin typeface="Arial" panose="020B0604020202020204"/>
                <a:cs typeface="Arial"/>
                <a:sym typeface="Arial"/>
              </a:endParaRPr>
            </a:p>
          </p:txBody>
        </p:sp>
        <p:sp>
          <p:nvSpPr>
            <p:cNvPr id="16" name="TextBox 15">
              <a:extLst>
                <a:ext uri="{FF2B5EF4-FFF2-40B4-BE49-F238E27FC236}">
                  <a16:creationId xmlns:a16="http://schemas.microsoft.com/office/drawing/2014/main" id="{192CCF48-2570-6352-B138-AC7006CEF8C4}"/>
                </a:ext>
              </a:extLst>
            </p:cNvPr>
            <p:cNvSpPr txBox="1"/>
            <p:nvPr/>
          </p:nvSpPr>
          <p:spPr>
            <a:xfrm>
              <a:off x="533996" y="2125469"/>
              <a:ext cx="3675701" cy="382959"/>
            </a:xfrm>
            <a:prstGeom prst="rect">
              <a:avLst/>
            </a:prstGeom>
            <a:noFill/>
          </p:spPr>
          <p:txBody>
            <a:bodyPr wrap="square" rtlCol="0">
              <a:spAutoFit/>
            </a:bodyPr>
            <a:lstStyle/>
            <a:p>
              <a:pPr algn="ctr" defTabSz="342592">
                <a:defRPr/>
              </a:pPr>
              <a:r>
                <a:rPr lang="en-US" sz="1050" b="1" kern="0">
                  <a:solidFill>
                    <a:prstClr val="black"/>
                  </a:solidFill>
                  <a:latin typeface="Arial" panose="020B0604020202020204"/>
                  <a:cs typeface="Arial" panose="020B0604020202020204" pitchFamily="34" charset="0"/>
                  <a:sym typeface="Arial"/>
                </a:rPr>
                <a:t>≥</a:t>
              </a:r>
              <a:r>
                <a:rPr lang="en-US" sz="1050" b="1" kern="0">
                  <a:solidFill>
                    <a:prstClr val="black"/>
                  </a:solidFill>
                  <a:latin typeface="Arial" panose="020B0604020202020204"/>
                  <a:cs typeface="Arial"/>
                  <a:sym typeface="Arial"/>
                </a:rPr>
                <a:t>60 </a:t>
              </a:r>
              <a:r>
                <a:rPr lang="en-US" sz="1050" b="1" kern="0" err="1">
                  <a:solidFill>
                    <a:prstClr val="black"/>
                  </a:solidFill>
                  <a:latin typeface="Arial" panose="020B0604020202020204"/>
                  <a:cs typeface="Arial"/>
                  <a:sym typeface="Arial"/>
                </a:rPr>
                <a:t>Yaş</a:t>
              </a:r>
              <a:endParaRPr lang="en-US" sz="1050" b="1" kern="0">
                <a:solidFill>
                  <a:prstClr val="black"/>
                </a:solidFill>
                <a:latin typeface="Arial" panose="020B0604020202020204"/>
                <a:cs typeface="Arial"/>
                <a:sym typeface="Arial"/>
              </a:endParaRPr>
            </a:p>
          </p:txBody>
        </p:sp>
      </p:grpSp>
      <p:grpSp>
        <p:nvGrpSpPr>
          <p:cNvPr id="17" name="Group 16">
            <a:extLst>
              <a:ext uri="{FF2B5EF4-FFF2-40B4-BE49-F238E27FC236}">
                <a16:creationId xmlns:a16="http://schemas.microsoft.com/office/drawing/2014/main" id="{F5DF4093-E6BA-C756-5F51-EC1CCD4E8425}"/>
              </a:ext>
            </a:extLst>
          </p:cNvPr>
          <p:cNvGrpSpPr/>
          <p:nvPr/>
        </p:nvGrpSpPr>
        <p:grpSpPr>
          <a:xfrm>
            <a:off x="4608221" y="1458423"/>
            <a:ext cx="2832587" cy="2128672"/>
            <a:chOff x="4281713" y="2000059"/>
            <a:chExt cx="3779734" cy="2840448"/>
          </a:xfrm>
        </p:grpSpPr>
        <p:graphicFrame>
          <p:nvGraphicFramePr>
            <p:cNvPr id="18" name="Chart 17">
              <a:extLst>
                <a:ext uri="{FF2B5EF4-FFF2-40B4-BE49-F238E27FC236}">
                  <a16:creationId xmlns:a16="http://schemas.microsoft.com/office/drawing/2014/main" id="{7788C446-3EDA-9875-9564-A3C50999EA1B}"/>
                </a:ext>
              </a:extLst>
            </p:cNvPr>
            <p:cNvGraphicFramePr/>
            <p:nvPr/>
          </p:nvGraphicFramePr>
          <p:xfrm>
            <a:off x="4281713" y="2278185"/>
            <a:ext cx="3628573" cy="2562322"/>
          </p:xfrm>
          <a:graphic>
            <a:graphicData uri="http://schemas.openxmlformats.org/drawingml/2006/chart">
              <c:chart xmlns:c="http://schemas.openxmlformats.org/drawingml/2006/chart" xmlns:r="http://schemas.openxmlformats.org/officeDocument/2006/relationships" r:id="rId5"/>
            </a:graphicData>
          </a:graphic>
        </p:graphicFrame>
        <p:cxnSp>
          <p:nvCxnSpPr>
            <p:cNvPr id="19" name="Straight Connector 18">
              <a:extLst>
                <a:ext uri="{FF2B5EF4-FFF2-40B4-BE49-F238E27FC236}">
                  <a16:creationId xmlns:a16="http://schemas.microsoft.com/office/drawing/2014/main" id="{E5FC7989-E009-D192-920E-0E0641465AC1}"/>
                </a:ext>
              </a:extLst>
            </p:cNvPr>
            <p:cNvCxnSpPr>
              <a:cxnSpLocks/>
            </p:cNvCxnSpPr>
            <p:nvPr/>
          </p:nvCxnSpPr>
          <p:spPr>
            <a:xfrm>
              <a:off x="5950856" y="2413260"/>
              <a:ext cx="0" cy="1738719"/>
            </a:xfrm>
            <a:prstGeom prst="line">
              <a:avLst/>
            </a:prstGeom>
            <a:noFill/>
            <a:ln w="12700" cap="flat" cmpd="sng" algn="ctr">
              <a:solidFill>
                <a:srgbClr val="000000">
                  <a:lumMod val="65000"/>
                  <a:lumOff val="35000"/>
                </a:srgbClr>
              </a:solidFill>
              <a:prstDash val="sysDash"/>
            </a:ln>
            <a:effectLst/>
          </p:spPr>
        </p:cxnSp>
        <p:cxnSp>
          <p:nvCxnSpPr>
            <p:cNvPr id="20" name="Straight Connector 19">
              <a:extLst>
                <a:ext uri="{FF2B5EF4-FFF2-40B4-BE49-F238E27FC236}">
                  <a16:creationId xmlns:a16="http://schemas.microsoft.com/office/drawing/2014/main" id="{035A2F66-AC67-E263-8770-59065F728921}"/>
                </a:ext>
              </a:extLst>
            </p:cNvPr>
            <p:cNvCxnSpPr>
              <a:cxnSpLocks/>
            </p:cNvCxnSpPr>
            <p:nvPr/>
          </p:nvCxnSpPr>
          <p:spPr>
            <a:xfrm>
              <a:off x="6869549" y="2413260"/>
              <a:ext cx="0" cy="1738719"/>
            </a:xfrm>
            <a:prstGeom prst="line">
              <a:avLst/>
            </a:prstGeom>
            <a:noFill/>
            <a:ln w="12700" cap="flat" cmpd="sng" algn="ctr">
              <a:solidFill>
                <a:srgbClr val="000000">
                  <a:lumMod val="65000"/>
                  <a:lumOff val="35000"/>
                </a:srgbClr>
              </a:solidFill>
              <a:prstDash val="sysDash"/>
            </a:ln>
            <a:effectLst/>
          </p:spPr>
        </p:cxnSp>
        <p:sp>
          <p:nvSpPr>
            <p:cNvPr id="21" name="TextBox 20">
              <a:extLst>
                <a:ext uri="{FF2B5EF4-FFF2-40B4-BE49-F238E27FC236}">
                  <a16:creationId xmlns:a16="http://schemas.microsoft.com/office/drawing/2014/main" id="{75FC34F5-826D-2FF9-FEE2-1E735B6159A6}"/>
                </a:ext>
              </a:extLst>
            </p:cNvPr>
            <p:cNvSpPr txBox="1"/>
            <p:nvPr/>
          </p:nvSpPr>
          <p:spPr>
            <a:xfrm>
              <a:off x="6877148" y="2261150"/>
              <a:ext cx="894681" cy="585233"/>
            </a:xfrm>
            <a:prstGeom prst="rect">
              <a:avLst/>
            </a:prstGeom>
            <a:noFill/>
          </p:spPr>
          <p:txBody>
            <a:bodyPr wrap="square" rtlCol="0">
              <a:spAutoFit/>
            </a:bodyPr>
            <a:lstStyle/>
            <a:p>
              <a:pPr algn="ctr" defTabSz="685184">
                <a:defRPr/>
              </a:pPr>
              <a:r>
                <a:rPr lang="en-US" sz="750" kern="0" err="1">
                  <a:solidFill>
                    <a:prstClr val="black"/>
                  </a:solidFill>
                  <a:latin typeface="Arial" panose="020B0604020202020204"/>
                  <a:cs typeface="Arial"/>
                  <a:sym typeface="Arial"/>
                </a:rPr>
                <a:t>Enjeksiyon</a:t>
              </a:r>
              <a:r>
                <a:rPr lang="en-US" sz="750" kern="0">
                  <a:solidFill>
                    <a:prstClr val="black"/>
                  </a:solidFill>
                  <a:latin typeface="Arial" panose="020B0604020202020204"/>
                  <a:cs typeface="Arial"/>
                  <a:sym typeface="Arial"/>
                </a:rPr>
                <a:t> </a:t>
              </a:r>
              <a:r>
                <a:rPr lang="en-US" sz="750" kern="0" err="1">
                  <a:solidFill>
                    <a:prstClr val="black"/>
                  </a:solidFill>
                  <a:latin typeface="Arial" panose="020B0604020202020204"/>
                  <a:cs typeface="Arial"/>
                  <a:sym typeface="Arial"/>
                </a:rPr>
                <a:t>yerinde</a:t>
              </a:r>
              <a:r>
                <a:rPr lang="en-US" sz="750" kern="0">
                  <a:solidFill>
                    <a:prstClr val="black"/>
                  </a:solidFill>
                  <a:latin typeface="Arial" panose="020B0604020202020204"/>
                  <a:cs typeface="Arial"/>
                  <a:sym typeface="Arial"/>
                </a:rPr>
                <a:t> </a:t>
              </a:r>
              <a:r>
                <a:rPr lang="en-US" sz="750" kern="0" err="1">
                  <a:solidFill>
                    <a:prstClr val="black"/>
                  </a:solidFill>
                  <a:latin typeface="Arial" panose="020B0604020202020204"/>
                  <a:cs typeface="Arial"/>
                  <a:sym typeface="Arial"/>
                </a:rPr>
                <a:t>ağrı</a:t>
              </a:r>
              <a:endParaRPr lang="en-US" sz="750" kern="0">
                <a:solidFill>
                  <a:prstClr val="black"/>
                </a:solidFill>
                <a:latin typeface="Arial" panose="020B0604020202020204"/>
                <a:cs typeface="Arial"/>
                <a:sym typeface="Arial"/>
              </a:endParaRPr>
            </a:p>
          </p:txBody>
        </p:sp>
        <p:sp>
          <p:nvSpPr>
            <p:cNvPr id="22" name="TextBox 21">
              <a:extLst>
                <a:ext uri="{FF2B5EF4-FFF2-40B4-BE49-F238E27FC236}">
                  <a16:creationId xmlns:a16="http://schemas.microsoft.com/office/drawing/2014/main" id="{C9372B0F-46B8-7D1D-6684-076CCD103EE9}"/>
                </a:ext>
              </a:extLst>
            </p:cNvPr>
            <p:cNvSpPr txBox="1"/>
            <p:nvPr/>
          </p:nvSpPr>
          <p:spPr>
            <a:xfrm>
              <a:off x="5963150" y="2259869"/>
              <a:ext cx="894681" cy="277215"/>
            </a:xfrm>
            <a:prstGeom prst="rect">
              <a:avLst/>
            </a:prstGeom>
            <a:noFill/>
          </p:spPr>
          <p:txBody>
            <a:bodyPr wrap="square" rtlCol="0">
              <a:spAutoFit/>
            </a:bodyPr>
            <a:lstStyle/>
            <a:p>
              <a:pPr algn="ctr" defTabSz="685184">
                <a:defRPr/>
              </a:pPr>
              <a:r>
                <a:rPr lang="en-US" sz="750" kern="0" err="1">
                  <a:solidFill>
                    <a:prstClr val="black"/>
                  </a:solidFill>
                  <a:latin typeface="Arial" panose="020B0604020202020204"/>
                  <a:cs typeface="Arial"/>
                  <a:sym typeface="Arial"/>
                </a:rPr>
                <a:t>Şişlik</a:t>
              </a:r>
              <a:endParaRPr lang="en-US" sz="750" kern="0">
                <a:solidFill>
                  <a:prstClr val="black"/>
                </a:solidFill>
                <a:latin typeface="Arial" panose="020B0604020202020204"/>
                <a:cs typeface="Arial"/>
                <a:sym typeface="Arial"/>
              </a:endParaRPr>
            </a:p>
          </p:txBody>
        </p:sp>
        <p:sp>
          <p:nvSpPr>
            <p:cNvPr id="23" name="TextBox 22">
              <a:extLst>
                <a:ext uri="{FF2B5EF4-FFF2-40B4-BE49-F238E27FC236}">
                  <a16:creationId xmlns:a16="http://schemas.microsoft.com/office/drawing/2014/main" id="{FD8113FD-D2B5-11B7-9A88-A60D9D231C40}"/>
                </a:ext>
              </a:extLst>
            </p:cNvPr>
            <p:cNvSpPr txBox="1"/>
            <p:nvPr/>
          </p:nvSpPr>
          <p:spPr>
            <a:xfrm>
              <a:off x="5052176" y="2259869"/>
              <a:ext cx="894681" cy="277215"/>
            </a:xfrm>
            <a:prstGeom prst="rect">
              <a:avLst/>
            </a:prstGeom>
            <a:noFill/>
          </p:spPr>
          <p:txBody>
            <a:bodyPr wrap="square" rtlCol="0">
              <a:spAutoFit/>
            </a:bodyPr>
            <a:lstStyle/>
            <a:p>
              <a:pPr algn="ctr" defTabSz="685184">
                <a:defRPr/>
              </a:pPr>
              <a:r>
                <a:rPr lang="en-US" sz="750" kern="0" err="1">
                  <a:solidFill>
                    <a:prstClr val="black"/>
                  </a:solidFill>
                  <a:latin typeface="Arial" panose="020B0604020202020204"/>
                  <a:cs typeface="Arial"/>
                  <a:sym typeface="Arial"/>
                </a:rPr>
                <a:t>Kızarıklık</a:t>
              </a:r>
              <a:endParaRPr lang="en-US" sz="750" kern="0">
                <a:solidFill>
                  <a:prstClr val="black"/>
                </a:solidFill>
                <a:latin typeface="Arial" panose="020B0604020202020204"/>
                <a:cs typeface="Arial"/>
                <a:sym typeface="Arial"/>
              </a:endParaRPr>
            </a:p>
          </p:txBody>
        </p:sp>
        <p:sp>
          <p:nvSpPr>
            <p:cNvPr id="24" name="TextBox 23">
              <a:extLst>
                <a:ext uri="{FF2B5EF4-FFF2-40B4-BE49-F238E27FC236}">
                  <a16:creationId xmlns:a16="http://schemas.microsoft.com/office/drawing/2014/main" id="{D83493B3-63D3-6D9B-AE86-0D294F4B0D71}"/>
                </a:ext>
              </a:extLst>
            </p:cNvPr>
            <p:cNvSpPr txBox="1"/>
            <p:nvPr/>
          </p:nvSpPr>
          <p:spPr>
            <a:xfrm>
              <a:off x="4385746" y="2000059"/>
              <a:ext cx="3675701" cy="338819"/>
            </a:xfrm>
            <a:prstGeom prst="rect">
              <a:avLst/>
            </a:prstGeom>
            <a:noFill/>
          </p:spPr>
          <p:txBody>
            <a:bodyPr wrap="square" rtlCol="0">
              <a:spAutoFit/>
            </a:bodyPr>
            <a:lstStyle/>
            <a:p>
              <a:pPr algn="ctr" defTabSz="342592">
                <a:defRPr/>
              </a:pPr>
              <a:r>
                <a:rPr lang="en-US" sz="1050" b="1" kern="0">
                  <a:solidFill>
                    <a:prstClr val="black"/>
                  </a:solidFill>
                  <a:latin typeface="Arial" panose="020B0604020202020204"/>
                  <a:cs typeface="Arial"/>
                  <a:sym typeface="Arial"/>
                </a:rPr>
                <a:t>50</a:t>
              </a:r>
              <a:r>
                <a:rPr lang="en-US" sz="1050" b="1" kern="0">
                  <a:solidFill>
                    <a:prstClr val="black"/>
                  </a:solidFill>
                  <a:latin typeface="Arial" panose="020B0604020202020204"/>
                  <a:cs typeface="Arial" panose="020B0604020202020204" pitchFamily="34" charset="0"/>
                  <a:sym typeface="Arial"/>
                </a:rPr>
                <a:t>–</a:t>
              </a:r>
              <a:r>
                <a:rPr lang="en-US" sz="1050" b="1" kern="0">
                  <a:solidFill>
                    <a:prstClr val="black"/>
                  </a:solidFill>
                  <a:latin typeface="Arial" panose="020B0604020202020204"/>
                  <a:cs typeface="Arial"/>
                  <a:sym typeface="Arial"/>
                </a:rPr>
                <a:t>59 </a:t>
              </a:r>
              <a:r>
                <a:rPr lang="en-US" sz="1050" b="1" kern="0" err="1">
                  <a:solidFill>
                    <a:prstClr val="black"/>
                  </a:solidFill>
                  <a:latin typeface="Arial" panose="020B0604020202020204"/>
                  <a:cs typeface="Arial"/>
                  <a:sym typeface="Arial"/>
                </a:rPr>
                <a:t>Yaş</a:t>
              </a:r>
              <a:endParaRPr lang="en-US" sz="1050" b="1" kern="0">
                <a:solidFill>
                  <a:prstClr val="black"/>
                </a:solidFill>
                <a:latin typeface="Arial" panose="020B0604020202020204"/>
                <a:cs typeface="Arial"/>
                <a:sym typeface="Arial"/>
              </a:endParaRPr>
            </a:p>
          </p:txBody>
        </p:sp>
      </p:grpSp>
      <p:grpSp>
        <p:nvGrpSpPr>
          <p:cNvPr id="25" name="Group 24">
            <a:extLst>
              <a:ext uri="{FF2B5EF4-FFF2-40B4-BE49-F238E27FC236}">
                <a16:creationId xmlns:a16="http://schemas.microsoft.com/office/drawing/2014/main" id="{A4B332E2-68DA-0E30-58E5-E2864886DCBA}"/>
              </a:ext>
            </a:extLst>
          </p:cNvPr>
          <p:cNvGrpSpPr/>
          <p:nvPr/>
        </p:nvGrpSpPr>
        <p:grpSpPr>
          <a:xfrm>
            <a:off x="5166774" y="5237917"/>
            <a:ext cx="2220937" cy="255980"/>
            <a:chOff x="3117523" y="5913678"/>
            <a:chExt cx="2963563" cy="341574"/>
          </a:xfrm>
        </p:grpSpPr>
        <p:sp>
          <p:nvSpPr>
            <p:cNvPr id="26" name="Rectangle 25">
              <a:extLst>
                <a:ext uri="{FF2B5EF4-FFF2-40B4-BE49-F238E27FC236}">
                  <a16:creationId xmlns:a16="http://schemas.microsoft.com/office/drawing/2014/main" id="{DE9FE8E9-67C0-DD38-19EE-7EBFF114354B}"/>
                </a:ext>
              </a:extLst>
            </p:cNvPr>
            <p:cNvSpPr/>
            <p:nvPr/>
          </p:nvSpPr>
          <p:spPr>
            <a:xfrm>
              <a:off x="3117523" y="5978880"/>
              <a:ext cx="182880" cy="182880"/>
            </a:xfrm>
            <a:prstGeom prst="rect">
              <a:avLst/>
            </a:prstGeom>
            <a:solidFill>
              <a:srgbClr val="0DBDBA"/>
            </a:solidFill>
            <a:ln w="25400" cap="flat" cmpd="sng" algn="ctr">
              <a:noFill/>
              <a:prstDash val="solid"/>
            </a:ln>
            <a:effectLst/>
          </p:spPr>
          <p:txBody>
            <a:bodyPr rtlCol="0" anchor="ctr"/>
            <a:lstStyle/>
            <a:p>
              <a:pPr algn="ctr" defTabSz="685184">
                <a:defRPr/>
              </a:pPr>
              <a:endParaRPr lang="en-US" sz="1348" kern="0">
                <a:solidFill>
                  <a:prstClr val="white"/>
                </a:solidFill>
                <a:latin typeface="Arial"/>
                <a:sym typeface="Arial"/>
              </a:endParaRPr>
            </a:p>
          </p:txBody>
        </p:sp>
        <p:sp>
          <p:nvSpPr>
            <p:cNvPr id="27" name="TextBox 26">
              <a:extLst>
                <a:ext uri="{FF2B5EF4-FFF2-40B4-BE49-F238E27FC236}">
                  <a16:creationId xmlns:a16="http://schemas.microsoft.com/office/drawing/2014/main" id="{1EC960D9-B371-570F-3F1B-EAEE6CF9AA4F}"/>
                </a:ext>
              </a:extLst>
            </p:cNvPr>
            <p:cNvSpPr txBox="1"/>
            <p:nvPr/>
          </p:nvSpPr>
          <p:spPr>
            <a:xfrm>
              <a:off x="3300403" y="5916432"/>
              <a:ext cx="616463" cy="338820"/>
            </a:xfrm>
            <a:prstGeom prst="rect">
              <a:avLst/>
            </a:prstGeom>
            <a:noFill/>
          </p:spPr>
          <p:txBody>
            <a:bodyPr wrap="none" rtlCol="0">
              <a:spAutoFit/>
            </a:bodyPr>
            <a:lstStyle/>
            <a:p>
              <a:pPr defTabSz="685184">
                <a:defRPr/>
              </a:pPr>
              <a:r>
                <a:rPr lang="tr-TR" sz="1050" kern="0">
                  <a:solidFill>
                    <a:prstClr val="black"/>
                  </a:solidFill>
                  <a:latin typeface="Arial" panose="020B0604020202020204"/>
                  <a:cs typeface="Arial"/>
                  <a:sym typeface="Arial"/>
                </a:rPr>
                <a:t>Hafif</a:t>
              </a:r>
              <a:endParaRPr lang="en-US" sz="1050" kern="0">
                <a:solidFill>
                  <a:prstClr val="black"/>
                </a:solidFill>
                <a:latin typeface="Arial" panose="020B0604020202020204"/>
                <a:cs typeface="Arial"/>
                <a:sym typeface="Arial"/>
              </a:endParaRPr>
            </a:p>
          </p:txBody>
        </p:sp>
        <p:sp>
          <p:nvSpPr>
            <p:cNvPr id="28" name="Rectangle 27">
              <a:extLst>
                <a:ext uri="{FF2B5EF4-FFF2-40B4-BE49-F238E27FC236}">
                  <a16:creationId xmlns:a16="http://schemas.microsoft.com/office/drawing/2014/main" id="{0740904E-3A1D-74DD-58BE-968321389193}"/>
                </a:ext>
              </a:extLst>
            </p:cNvPr>
            <p:cNvSpPr/>
            <p:nvPr/>
          </p:nvSpPr>
          <p:spPr>
            <a:xfrm>
              <a:off x="4098833" y="5978880"/>
              <a:ext cx="182880" cy="182880"/>
            </a:xfrm>
            <a:prstGeom prst="rect">
              <a:avLst/>
            </a:prstGeom>
            <a:solidFill>
              <a:srgbClr val="0000C9"/>
            </a:solidFill>
            <a:ln w="25400" cap="flat" cmpd="sng" algn="ctr">
              <a:noFill/>
              <a:prstDash val="solid"/>
            </a:ln>
            <a:effectLst/>
          </p:spPr>
          <p:txBody>
            <a:bodyPr rtlCol="0" anchor="ctr"/>
            <a:lstStyle/>
            <a:p>
              <a:pPr algn="ctr" defTabSz="685184">
                <a:defRPr/>
              </a:pPr>
              <a:endParaRPr lang="en-US" sz="1348" kern="0">
                <a:solidFill>
                  <a:prstClr val="white"/>
                </a:solidFill>
                <a:latin typeface="Arial"/>
                <a:sym typeface="Arial"/>
              </a:endParaRPr>
            </a:p>
          </p:txBody>
        </p:sp>
        <p:sp>
          <p:nvSpPr>
            <p:cNvPr id="29" name="TextBox 28">
              <a:extLst>
                <a:ext uri="{FF2B5EF4-FFF2-40B4-BE49-F238E27FC236}">
                  <a16:creationId xmlns:a16="http://schemas.microsoft.com/office/drawing/2014/main" id="{BFDA68BF-8D2E-0063-7D5C-790048C8B2BA}"/>
                </a:ext>
              </a:extLst>
            </p:cNvPr>
            <p:cNvSpPr txBox="1"/>
            <p:nvPr/>
          </p:nvSpPr>
          <p:spPr>
            <a:xfrm>
              <a:off x="4281713" y="5916432"/>
              <a:ext cx="595073" cy="338820"/>
            </a:xfrm>
            <a:prstGeom prst="rect">
              <a:avLst/>
            </a:prstGeom>
            <a:noFill/>
          </p:spPr>
          <p:txBody>
            <a:bodyPr wrap="none" rtlCol="0">
              <a:spAutoFit/>
            </a:bodyPr>
            <a:lstStyle/>
            <a:p>
              <a:pPr defTabSz="685184">
                <a:defRPr/>
              </a:pPr>
              <a:r>
                <a:rPr lang="tr-TR" sz="1050" kern="0">
                  <a:solidFill>
                    <a:prstClr val="black"/>
                  </a:solidFill>
                  <a:latin typeface="Arial" panose="020B0604020202020204"/>
                  <a:cs typeface="Arial"/>
                  <a:sym typeface="Arial"/>
                </a:rPr>
                <a:t>Orta</a:t>
              </a:r>
            </a:p>
          </p:txBody>
        </p:sp>
        <p:sp>
          <p:nvSpPr>
            <p:cNvPr id="30" name="Rectangle 29">
              <a:extLst>
                <a:ext uri="{FF2B5EF4-FFF2-40B4-BE49-F238E27FC236}">
                  <a16:creationId xmlns:a16="http://schemas.microsoft.com/office/drawing/2014/main" id="{CF9CD26E-A5D0-766B-83FC-9DB85B0C042F}"/>
                </a:ext>
              </a:extLst>
            </p:cNvPr>
            <p:cNvSpPr/>
            <p:nvPr/>
          </p:nvSpPr>
          <p:spPr>
            <a:xfrm>
              <a:off x="5001118" y="5978880"/>
              <a:ext cx="182880" cy="182880"/>
            </a:xfrm>
            <a:prstGeom prst="rect">
              <a:avLst/>
            </a:prstGeom>
            <a:solidFill>
              <a:srgbClr val="FF0000"/>
            </a:solidFill>
            <a:ln w="25400" cap="flat" cmpd="sng" algn="ctr">
              <a:noFill/>
              <a:prstDash val="solid"/>
            </a:ln>
            <a:effectLst/>
          </p:spPr>
          <p:txBody>
            <a:bodyPr rtlCol="0" anchor="ctr"/>
            <a:lstStyle/>
            <a:p>
              <a:pPr algn="ctr" defTabSz="685184">
                <a:defRPr/>
              </a:pPr>
              <a:endParaRPr lang="en-US" sz="1348" kern="0">
                <a:solidFill>
                  <a:prstClr val="white"/>
                </a:solidFill>
                <a:latin typeface="Arial"/>
                <a:sym typeface="Arial"/>
              </a:endParaRPr>
            </a:p>
          </p:txBody>
        </p:sp>
        <p:sp>
          <p:nvSpPr>
            <p:cNvPr id="31" name="TextBox 30">
              <a:extLst>
                <a:ext uri="{FF2B5EF4-FFF2-40B4-BE49-F238E27FC236}">
                  <a16:creationId xmlns:a16="http://schemas.microsoft.com/office/drawing/2014/main" id="{76690D6A-A097-780B-4D72-B562812C1949}"/>
                </a:ext>
              </a:extLst>
            </p:cNvPr>
            <p:cNvSpPr txBox="1"/>
            <p:nvPr/>
          </p:nvSpPr>
          <p:spPr>
            <a:xfrm>
              <a:off x="5242167" y="5913678"/>
              <a:ext cx="838919" cy="338820"/>
            </a:xfrm>
            <a:prstGeom prst="rect">
              <a:avLst/>
            </a:prstGeom>
            <a:noFill/>
          </p:spPr>
          <p:txBody>
            <a:bodyPr wrap="none" rtlCol="0">
              <a:spAutoFit/>
            </a:bodyPr>
            <a:lstStyle/>
            <a:p>
              <a:pPr defTabSz="685184">
                <a:defRPr/>
              </a:pPr>
              <a:r>
                <a:rPr lang="tr-TR" sz="1050" kern="0" err="1">
                  <a:solidFill>
                    <a:prstClr val="black"/>
                  </a:solidFill>
                  <a:latin typeface="Arial" panose="020B0604020202020204"/>
                  <a:cs typeface="Arial"/>
                  <a:sym typeface="Arial"/>
                </a:rPr>
                <a:t>Şidd</a:t>
              </a:r>
              <a:r>
                <a:rPr lang="en-US" sz="1050" kern="0">
                  <a:solidFill>
                    <a:prstClr val="black"/>
                  </a:solidFill>
                  <a:latin typeface="Arial" panose="020B0604020202020204"/>
                  <a:cs typeface="Arial"/>
                  <a:sym typeface="Arial"/>
                </a:rPr>
                <a:t>e</a:t>
              </a:r>
              <a:r>
                <a:rPr lang="tr-TR" sz="1050" kern="0" err="1">
                  <a:solidFill>
                    <a:prstClr val="black"/>
                  </a:solidFill>
                  <a:latin typeface="Arial" panose="020B0604020202020204"/>
                  <a:cs typeface="Arial"/>
                  <a:sym typeface="Arial"/>
                </a:rPr>
                <a:t>tli</a:t>
              </a:r>
              <a:endParaRPr lang="en-US" sz="1050" kern="0">
                <a:solidFill>
                  <a:prstClr val="black"/>
                </a:solidFill>
                <a:latin typeface="Arial" panose="020B0604020202020204"/>
                <a:cs typeface="Arial"/>
                <a:sym typeface="Arial"/>
              </a:endParaRPr>
            </a:p>
          </p:txBody>
        </p:sp>
      </p:grpSp>
      <p:grpSp>
        <p:nvGrpSpPr>
          <p:cNvPr id="32" name="Group 31">
            <a:extLst>
              <a:ext uri="{FF2B5EF4-FFF2-40B4-BE49-F238E27FC236}">
                <a16:creationId xmlns:a16="http://schemas.microsoft.com/office/drawing/2014/main" id="{63D6EBCF-7A36-092F-A4F2-6C6A8BDE0557}"/>
              </a:ext>
            </a:extLst>
          </p:cNvPr>
          <p:cNvGrpSpPr/>
          <p:nvPr/>
        </p:nvGrpSpPr>
        <p:grpSpPr>
          <a:xfrm>
            <a:off x="1732551" y="1548249"/>
            <a:ext cx="2719304" cy="2124287"/>
            <a:chOff x="8305799" y="2000060"/>
            <a:chExt cx="3628573" cy="2834596"/>
          </a:xfrm>
        </p:grpSpPr>
        <p:graphicFrame>
          <p:nvGraphicFramePr>
            <p:cNvPr id="33" name="Chart 32">
              <a:extLst>
                <a:ext uri="{FF2B5EF4-FFF2-40B4-BE49-F238E27FC236}">
                  <a16:creationId xmlns:a16="http://schemas.microsoft.com/office/drawing/2014/main" id="{72F2607D-FDCD-6D28-89A4-BB62FDA418F3}"/>
                </a:ext>
              </a:extLst>
            </p:cNvPr>
            <p:cNvGraphicFramePr/>
            <p:nvPr/>
          </p:nvGraphicFramePr>
          <p:xfrm>
            <a:off x="8305799" y="2272334"/>
            <a:ext cx="3628573" cy="2562322"/>
          </p:xfrm>
          <a:graphic>
            <a:graphicData uri="http://schemas.openxmlformats.org/drawingml/2006/chart">
              <c:chart xmlns:c="http://schemas.openxmlformats.org/drawingml/2006/chart" xmlns:r="http://schemas.openxmlformats.org/officeDocument/2006/relationships" r:id="rId6"/>
            </a:graphicData>
          </a:graphic>
        </p:graphicFrame>
        <p:cxnSp>
          <p:nvCxnSpPr>
            <p:cNvPr id="34" name="Straight Connector 33">
              <a:extLst>
                <a:ext uri="{FF2B5EF4-FFF2-40B4-BE49-F238E27FC236}">
                  <a16:creationId xmlns:a16="http://schemas.microsoft.com/office/drawing/2014/main" id="{ED7F6D09-5616-D268-74F5-9B294F6D6A37}"/>
                </a:ext>
              </a:extLst>
            </p:cNvPr>
            <p:cNvCxnSpPr>
              <a:cxnSpLocks/>
            </p:cNvCxnSpPr>
            <p:nvPr/>
          </p:nvCxnSpPr>
          <p:spPr>
            <a:xfrm>
              <a:off x="9974942" y="2407410"/>
              <a:ext cx="0" cy="1738718"/>
            </a:xfrm>
            <a:prstGeom prst="line">
              <a:avLst/>
            </a:prstGeom>
            <a:noFill/>
            <a:ln w="12700" cap="flat" cmpd="sng" algn="ctr">
              <a:solidFill>
                <a:srgbClr val="000000">
                  <a:lumMod val="65000"/>
                  <a:lumOff val="35000"/>
                </a:srgbClr>
              </a:solidFill>
              <a:prstDash val="sysDash"/>
            </a:ln>
            <a:effectLst/>
          </p:spPr>
        </p:cxnSp>
        <p:cxnSp>
          <p:nvCxnSpPr>
            <p:cNvPr id="35" name="Straight Connector 34">
              <a:extLst>
                <a:ext uri="{FF2B5EF4-FFF2-40B4-BE49-F238E27FC236}">
                  <a16:creationId xmlns:a16="http://schemas.microsoft.com/office/drawing/2014/main" id="{FA24E744-869D-9FA8-5BB4-FE587948F86D}"/>
                </a:ext>
              </a:extLst>
            </p:cNvPr>
            <p:cNvCxnSpPr>
              <a:cxnSpLocks/>
            </p:cNvCxnSpPr>
            <p:nvPr/>
          </p:nvCxnSpPr>
          <p:spPr>
            <a:xfrm>
              <a:off x="10893635" y="2407410"/>
              <a:ext cx="0" cy="1738718"/>
            </a:xfrm>
            <a:prstGeom prst="line">
              <a:avLst/>
            </a:prstGeom>
            <a:noFill/>
            <a:ln w="12700" cap="flat" cmpd="sng" algn="ctr">
              <a:solidFill>
                <a:srgbClr val="000000">
                  <a:lumMod val="65000"/>
                  <a:lumOff val="35000"/>
                </a:srgbClr>
              </a:solidFill>
              <a:prstDash val="sysDash"/>
            </a:ln>
            <a:effectLst/>
          </p:spPr>
        </p:cxnSp>
        <p:sp>
          <p:nvSpPr>
            <p:cNvPr id="36" name="TextBox 35">
              <a:extLst>
                <a:ext uri="{FF2B5EF4-FFF2-40B4-BE49-F238E27FC236}">
                  <a16:creationId xmlns:a16="http://schemas.microsoft.com/office/drawing/2014/main" id="{8FDF3573-88DF-135B-727F-B32D61704F55}"/>
                </a:ext>
              </a:extLst>
            </p:cNvPr>
            <p:cNvSpPr txBox="1"/>
            <p:nvPr/>
          </p:nvSpPr>
          <p:spPr>
            <a:xfrm>
              <a:off x="10901234" y="2256512"/>
              <a:ext cx="894682" cy="585233"/>
            </a:xfrm>
            <a:prstGeom prst="rect">
              <a:avLst/>
            </a:prstGeom>
            <a:noFill/>
          </p:spPr>
          <p:txBody>
            <a:bodyPr wrap="square" rtlCol="0">
              <a:spAutoFit/>
            </a:bodyPr>
            <a:lstStyle/>
            <a:p>
              <a:pPr algn="ctr" defTabSz="685184">
                <a:defRPr/>
              </a:pPr>
              <a:r>
                <a:rPr lang="tr-TR" sz="750" kern="0">
                  <a:solidFill>
                    <a:prstClr val="black"/>
                  </a:solidFill>
                  <a:latin typeface="Arial" panose="020B0604020202020204"/>
                  <a:cs typeface="Arial"/>
                  <a:sym typeface="Arial"/>
                </a:rPr>
                <a:t>Enjeksiyon yerinde ağrı</a:t>
              </a:r>
              <a:endParaRPr lang="en-US" sz="750" kern="0">
                <a:solidFill>
                  <a:prstClr val="black"/>
                </a:solidFill>
                <a:latin typeface="Arial" panose="020B0604020202020204"/>
                <a:cs typeface="Arial"/>
                <a:sym typeface="Arial"/>
              </a:endParaRPr>
            </a:p>
          </p:txBody>
        </p:sp>
        <p:sp>
          <p:nvSpPr>
            <p:cNvPr id="37" name="TextBox 36">
              <a:extLst>
                <a:ext uri="{FF2B5EF4-FFF2-40B4-BE49-F238E27FC236}">
                  <a16:creationId xmlns:a16="http://schemas.microsoft.com/office/drawing/2014/main" id="{75BC182E-3AC7-61BC-C5A5-59F9775830BC}"/>
                </a:ext>
              </a:extLst>
            </p:cNvPr>
            <p:cNvSpPr txBox="1"/>
            <p:nvPr/>
          </p:nvSpPr>
          <p:spPr>
            <a:xfrm>
              <a:off x="9987236" y="2255231"/>
              <a:ext cx="894682" cy="277215"/>
            </a:xfrm>
            <a:prstGeom prst="rect">
              <a:avLst/>
            </a:prstGeom>
            <a:noFill/>
          </p:spPr>
          <p:txBody>
            <a:bodyPr wrap="square" rtlCol="0">
              <a:spAutoFit/>
            </a:bodyPr>
            <a:lstStyle/>
            <a:p>
              <a:pPr algn="ctr" defTabSz="685184">
                <a:defRPr/>
              </a:pPr>
              <a:r>
                <a:rPr lang="tr-TR" sz="750" kern="0">
                  <a:solidFill>
                    <a:prstClr val="black"/>
                  </a:solidFill>
                  <a:latin typeface="Arial" panose="020B0604020202020204"/>
                  <a:cs typeface="Arial"/>
                  <a:sym typeface="Arial"/>
                </a:rPr>
                <a:t>Şişlik</a:t>
              </a:r>
              <a:endParaRPr lang="en-US" sz="750" kern="0">
                <a:solidFill>
                  <a:prstClr val="black"/>
                </a:solidFill>
                <a:latin typeface="Arial" panose="020B0604020202020204"/>
                <a:cs typeface="Arial"/>
                <a:sym typeface="Arial"/>
              </a:endParaRPr>
            </a:p>
          </p:txBody>
        </p:sp>
        <p:sp>
          <p:nvSpPr>
            <p:cNvPr id="38" name="TextBox 37">
              <a:extLst>
                <a:ext uri="{FF2B5EF4-FFF2-40B4-BE49-F238E27FC236}">
                  <a16:creationId xmlns:a16="http://schemas.microsoft.com/office/drawing/2014/main" id="{FC8ED874-869E-666B-DFA1-FF5B5D3781C1}"/>
                </a:ext>
              </a:extLst>
            </p:cNvPr>
            <p:cNvSpPr txBox="1"/>
            <p:nvPr/>
          </p:nvSpPr>
          <p:spPr>
            <a:xfrm>
              <a:off x="9076262" y="2255231"/>
              <a:ext cx="894682" cy="277215"/>
            </a:xfrm>
            <a:prstGeom prst="rect">
              <a:avLst/>
            </a:prstGeom>
            <a:noFill/>
          </p:spPr>
          <p:txBody>
            <a:bodyPr wrap="square" rtlCol="0">
              <a:spAutoFit/>
            </a:bodyPr>
            <a:lstStyle/>
            <a:p>
              <a:pPr algn="ctr" defTabSz="685184">
                <a:defRPr/>
              </a:pPr>
              <a:r>
                <a:rPr lang="tr-TR" sz="750" kern="0">
                  <a:solidFill>
                    <a:prstClr val="black"/>
                  </a:solidFill>
                  <a:latin typeface="Arial" panose="020B0604020202020204"/>
                  <a:cs typeface="Arial"/>
                  <a:sym typeface="Arial"/>
                </a:rPr>
                <a:t>Kızarıklık</a:t>
              </a:r>
              <a:endParaRPr lang="en-US" sz="750" kern="0">
                <a:solidFill>
                  <a:prstClr val="black"/>
                </a:solidFill>
                <a:latin typeface="Arial" panose="020B0604020202020204"/>
                <a:cs typeface="Arial"/>
                <a:sym typeface="Arial"/>
              </a:endParaRPr>
            </a:p>
          </p:txBody>
        </p:sp>
        <p:sp>
          <p:nvSpPr>
            <p:cNvPr id="39" name="TextBox 38">
              <a:extLst>
                <a:ext uri="{FF2B5EF4-FFF2-40B4-BE49-F238E27FC236}">
                  <a16:creationId xmlns:a16="http://schemas.microsoft.com/office/drawing/2014/main" id="{91653362-43BB-CDE1-211D-CB9A57EA73B9}"/>
                </a:ext>
              </a:extLst>
            </p:cNvPr>
            <p:cNvSpPr txBox="1"/>
            <p:nvPr/>
          </p:nvSpPr>
          <p:spPr>
            <a:xfrm>
              <a:off x="8680755" y="2000060"/>
              <a:ext cx="3232442" cy="338819"/>
            </a:xfrm>
            <a:prstGeom prst="rect">
              <a:avLst/>
            </a:prstGeom>
            <a:noFill/>
          </p:spPr>
          <p:txBody>
            <a:bodyPr wrap="square" rtlCol="0">
              <a:spAutoFit/>
            </a:bodyPr>
            <a:lstStyle/>
            <a:p>
              <a:pPr algn="ctr" defTabSz="342592">
                <a:defRPr/>
              </a:pPr>
              <a:r>
                <a:rPr lang="en-US" sz="1050" b="1" kern="0">
                  <a:solidFill>
                    <a:prstClr val="black"/>
                  </a:solidFill>
                  <a:latin typeface="Arial" panose="020B0604020202020204"/>
                  <a:cs typeface="Arial"/>
                  <a:sym typeface="Arial"/>
                </a:rPr>
                <a:t>18</a:t>
              </a:r>
              <a:r>
                <a:rPr lang="en-US" sz="1050" b="1" kern="0">
                  <a:solidFill>
                    <a:prstClr val="black"/>
                  </a:solidFill>
                  <a:latin typeface="Arial" panose="020B0604020202020204"/>
                  <a:cs typeface="Arial" panose="020B0604020202020204" pitchFamily="34" charset="0"/>
                  <a:sym typeface="Arial"/>
                </a:rPr>
                <a:t>–</a:t>
              </a:r>
              <a:r>
                <a:rPr lang="en-US" sz="1050" b="1" kern="0">
                  <a:solidFill>
                    <a:prstClr val="black"/>
                  </a:solidFill>
                  <a:latin typeface="Arial" panose="020B0604020202020204"/>
                  <a:cs typeface="Arial"/>
                  <a:sym typeface="Arial"/>
                </a:rPr>
                <a:t>49 </a:t>
              </a:r>
              <a:r>
                <a:rPr lang="en-US" sz="1050" b="1" kern="0" err="1">
                  <a:solidFill>
                    <a:prstClr val="black"/>
                  </a:solidFill>
                  <a:latin typeface="Arial" panose="020B0604020202020204"/>
                  <a:cs typeface="Arial"/>
                  <a:sym typeface="Arial"/>
                </a:rPr>
                <a:t>Yaş</a:t>
              </a:r>
              <a:endParaRPr lang="en-US" sz="1050" b="1" kern="0">
                <a:solidFill>
                  <a:prstClr val="black"/>
                </a:solidFill>
                <a:latin typeface="Arial" panose="020B0604020202020204"/>
                <a:cs typeface="Arial"/>
                <a:sym typeface="Arial"/>
              </a:endParaRPr>
            </a:p>
          </p:txBody>
        </p:sp>
      </p:grpSp>
      <p:sp>
        <p:nvSpPr>
          <p:cNvPr id="40" name="TextBox 39">
            <a:extLst>
              <a:ext uri="{FF2B5EF4-FFF2-40B4-BE49-F238E27FC236}">
                <a16:creationId xmlns:a16="http://schemas.microsoft.com/office/drawing/2014/main" id="{93AB3CA5-9436-4B6A-F55E-1267DD395906}"/>
              </a:ext>
            </a:extLst>
          </p:cNvPr>
          <p:cNvSpPr txBox="1"/>
          <p:nvPr/>
        </p:nvSpPr>
        <p:spPr bwMode="gray">
          <a:xfrm rot="16200000">
            <a:off x="689639" y="4238001"/>
            <a:ext cx="2191157" cy="230653"/>
          </a:xfrm>
          <a:prstGeom prst="rect">
            <a:avLst/>
          </a:prstGeom>
        </p:spPr>
        <p:txBody>
          <a:bodyPr wrap="none" lIns="34290" tIns="34290" rIns="34290" bIns="34290" rtlCol="0">
            <a:noAutofit/>
          </a:bodyPr>
          <a:lstStyle/>
          <a:p>
            <a:pPr algn="ctr" defTabSz="685800">
              <a:lnSpc>
                <a:spcPct val="90000"/>
              </a:lnSpc>
              <a:spcBef>
                <a:spcPts val="750"/>
              </a:spcBef>
            </a:pPr>
            <a:r>
              <a:rPr lang="tr-TR" sz="1050" b="1">
                <a:solidFill>
                  <a:srgbClr val="353B3E"/>
                </a:solidFill>
                <a:latin typeface="Arial" panose="020B0604020202020204"/>
              </a:rPr>
              <a:t>Sistemik reaksiyon bildiren</a:t>
            </a:r>
            <a:r>
              <a:rPr lang="en-US" sz="1050" b="1">
                <a:solidFill>
                  <a:srgbClr val="353B3E"/>
                </a:solidFill>
                <a:latin typeface="Arial" panose="020B0604020202020204"/>
              </a:rPr>
              <a:t> </a:t>
            </a:r>
            <a:br>
              <a:rPr lang="en-US" sz="1050" b="1">
                <a:solidFill>
                  <a:srgbClr val="353B3E"/>
                </a:solidFill>
                <a:latin typeface="Arial" panose="020B0604020202020204"/>
              </a:rPr>
            </a:br>
            <a:r>
              <a:rPr lang="tr-TR" sz="1050" b="1">
                <a:solidFill>
                  <a:srgbClr val="353B3E"/>
                </a:solidFill>
                <a:latin typeface="Arial" panose="020B0604020202020204"/>
              </a:rPr>
              <a:t>katılımcıların</a:t>
            </a:r>
            <a:r>
              <a:rPr lang="en-US" sz="1050" b="1">
                <a:solidFill>
                  <a:srgbClr val="353B3E"/>
                </a:solidFill>
                <a:latin typeface="Arial" panose="020B0604020202020204"/>
              </a:rPr>
              <a:t> %</a:t>
            </a:r>
            <a:r>
              <a:rPr lang="tr-TR" sz="1050" b="1">
                <a:solidFill>
                  <a:srgbClr val="353B3E"/>
                </a:solidFill>
                <a:latin typeface="Arial" panose="020B0604020202020204"/>
              </a:rPr>
              <a:t>’si</a:t>
            </a:r>
            <a:endParaRPr lang="en-US" sz="1050">
              <a:solidFill>
                <a:srgbClr val="353B3E"/>
              </a:solidFill>
              <a:latin typeface="Arial" panose="020B0604020202020204"/>
            </a:endParaRPr>
          </a:p>
        </p:txBody>
      </p:sp>
      <p:graphicFrame>
        <p:nvGraphicFramePr>
          <p:cNvPr id="41" name="Chart 40">
            <a:extLst>
              <a:ext uri="{FF2B5EF4-FFF2-40B4-BE49-F238E27FC236}">
                <a16:creationId xmlns:a16="http://schemas.microsoft.com/office/drawing/2014/main" id="{4770078F-930A-C52F-A821-A677FCCE8FE7}"/>
              </a:ext>
            </a:extLst>
          </p:cNvPr>
          <p:cNvGraphicFramePr/>
          <p:nvPr/>
        </p:nvGraphicFramePr>
        <p:xfrm>
          <a:off x="7560319" y="3570740"/>
          <a:ext cx="3141884" cy="1920240"/>
        </p:xfrm>
        <a:graphic>
          <a:graphicData uri="http://schemas.openxmlformats.org/drawingml/2006/chart">
            <c:chart xmlns:c="http://schemas.openxmlformats.org/drawingml/2006/chart" xmlns:r="http://schemas.openxmlformats.org/officeDocument/2006/relationships" r:id="rId7"/>
          </a:graphicData>
        </a:graphic>
      </p:graphicFrame>
      <p:sp>
        <p:nvSpPr>
          <p:cNvPr id="42" name="TextBox 41">
            <a:extLst>
              <a:ext uri="{FF2B5EF4-FFF2-40B4-BE49-F238E27FC236}">
                <a16:creationId xmlns:a16="http://schemas.microsoft.com/office/drawing/2014/main" id="{3FB2F549-3F0B-B143-B518-37599D663F2A}"/>
              </a:ext>
            </a:extLst>
          </p:cNvPr>
          <p:cNvSpPr txBox="1"/>
          <p:nvPr/>
        </p:nvSpPr>
        <p:spPr>
          <a:xfrm>
            <a:off x="2308981" y="3662875"/>
            <a:ext cx="481100" cy="135151"/>
          </a:xfrm>
          <a:prstGeom prst="rect">
            <a:avLst/>
          </a:prstGeom>
          <a:noFill/>
        </p:spPr>
        <p:txBody>
          <a:bodyPr wrap="square" lIns="0" tIns="0" rIns="0" bIns="0" rtlCol="0" anchor="t">
            <a:noAutofit/>
          </a:bodyPr>
          <a:lstStyle/>
          <a:p>
            <a:pPr algn="ctr" defTabSz="342592">
              <a:lnSpc>
                <a:spcPct val="95000"/>
              </a:lnSpc>
              <a:defRPr/>
            </a:pPr>
            <a:r>
              <a:rPr lang="en-US" sz="750" kern="0" err="1">
                <a:solidFill>
                  <a:prstClr val="black"/>
                </a:solidFill>
                <a:latin typeface="Arial" panose="020B0604020202020204"/>
                <a:cs typeface="Arial"/>
                <a:sym typeface="Arial"/>
              </a:rPr>
              <a:t>Halsizlik</a:t>
            </a:r>
            <a:endParaRPr lang="en-US" sz="750" kern="0">
              <a:solidFill>
                <a:prstClr val="black"/>
              </a:solidFill>
              <a:latin typeface="Arial" panose="020B0604020202020204"/>
              <a:cs typeface="Arial"/>
              <a:sym typeface="Arial"/>
            </a:endParaRPr>
          </a:p>
        </p:txBody>
      </p:sp>
      <p:sp>
        <p:nvSpPr>
          <p:cNvPr id="43" name="TextBox 42">
            <a:extLst>
              <a:ext uri="{FF2B5EF4-FFF2-40B4-BE49-F238E27FC236}">
                <a16:creationId xmlns:a16="http://schemas.microsoft.com/office/drawing/2014/main" id="{637ECD3C-CAC6-D6AE-DB25-124D8774F47C}"/>
              </a:ext>
            </a:extLst>
          </p:cNvPr>
          <p:cNvSpPr txBox="1"/>
          <p:nvPr/>
        </p:nvSpPr>
        <p:spPr>
          <a:xfrm>
            <a:off x="2928277" y="3662875"/>
            <a:ext cx="481100" cy="135151"/>
          </a:xfrm>
          <a:prstGeom prst="rect">
            <a:avLst/>
          </a:prstGeom>
          <a:noFill/>
        </p:spPr>
        <p:txBody>
          <a:bodyPr wrap="square" lIns="0" tIns="0" rIns="0" bIns="0" rtlCol="0" anchor="t">
            <a:noAutofit/>
          </a:bodyPr>
          <a:lstStyle/>
          <a:p>
            <a:pPr algn="ctr" defTabSz="342592">
              <a:lnSpc>
                <a:spcPct val="95000"/>
              </a:lnSpc>
              <a:defRPr/>
            </a:pPr>
            <a:r>
              <a:rPr lang="en-US" sz="750" kern="0" err="1">
                <a:solidFill>
                  <a:prstClr val="black"/>
                </a:solidFill>
                <a:latin typeface="Arial" panose="020B0604020202020204"/>
                <a:cs typeface="Arial"/>
                <a:sym typeface="Arial"/>
              </a:rPr>
              <a:t>Baş</a:t>
            </a:r>
            <a:r>
              <a:rPr lang="en-US" sz="750" kern="0">
                <a:solidFill>
                  <a:prstClr val="black"/>
                </a:solidFill>
                <a:latin typeface="Arial" panose="020B0604020202020204"/>
                <a:cs typeface="Arial"/>
                <a:sym typeface="Arial"/>
              </a:rPr>
              <a:t> </a:t>
            </a:r>
            <a:r>
              <a:rPr lang="en-US" sz="750" kern="0" err="1">
                <a:solidFill>
                  <a:prstClr val="black"/>
                </a:solidFill>
                <a:latin typeface="Arial" panose="020B0604020202020204"/>
                <a:cs typeface="Arial"/>
                <a:sym typeface="Arial"/>
              </a:rPr>
              <a:t>ağrısı</a:t>
            </a:r>
            <a:endParaRPr lang="en-US" sz="750" kern="0">
              <a:solidFill>
                <a:prstClr val="black"/>
              </a:solidFill>
              <a:latin typeface="Arial" panose="020B0604020202020204"/>
              <a:cs typeface="Arial"/>
              <a:sym typeface="Arial"/>
            </a:endParaRPr>
          </a:p>
        </p:txBody>
      </p:sp>
      <p:sp>
        <p:nvSpPr>
          <p:cNvPr id="44" name="TextBox 43">
            <a:extLst>
              <a:ext uri="{FF2B5EF4-FFF2-40B4-BE49-F238E27FC236}">
                <a16:creationId xmlns:a16="http://schemas.microsoft.com/office/drawing/2014/main" id="{79E1AC48-C2CE-81B8-2C9D-08DB3AEDEEFF}"/>
              </a:ext>
            </a:extLst>
          </p:cNvPr>
          <p:cNvSpPr txBox="1"/>
          <p:nvPr/>
        </p:nvSpPr>
        <p:spPr>
          <a:xfrm>
            <a:off x="3536322" y="3662875"/>
            <a:ext cx="481100" cy="135151"/>
          </a:xfrm>
          <a:prstGeom prst="rect">
            <a:avLst/>
          </a:prstGeom>
          <a:noFill/>
        </p:spPr>
        <p:txBody>
          <a:bodyPr wrap="square" lIns="0" tIns="0" rIns="0" bIns="0" rtlCol="0" anchor="t">
            <a:noAutofit/>
          </a:bodyPr>
          <a:lstStyle/>
          <a:p>
            <a:pPr algn="ctr" defTabSz="342592">
              <a:lnSpc>
                <a:spcPct val="95000"/>
              </a:lnSpc>
              <a:defRPr/>
            </a:pPr>
            <a:r>
              <a:rPr lang="en-US" sz="750" kern="0">
                <a:solidFill>
                  <a:prstClr val="black"/>
                </a:solidFill>
                <a:latin typeface="Arial" panose="020B0604020202020204"/>
                <a:cs typeface="Arial"/>
                <a:sym typeface="Arial"/>
              </a:rPr>
              <a:t>Kas </a:t>
            </a:r>
            <a:r>
              <a:rPr lang="en-US" sz="750" kern="0" err="1">
                <a:solidFill>
                  <a:prstClr val="black"/>
                </a:solidFill>
                <a:latin typeface="Arial" panose="020B0604020202020204"/>
                <a:cs typeface="Arial"/>
                <a:sym typeface="Arial"/>
              </a:rPr>
              <a:t>ağrısı</a:t>
            </a:r>
            <a:endParaRPr lang="en-US" sz="750" kern="0">
              <a:solidFill>
                <a:prstClr val="black"/>
              </a:solidFill>
              <a:latin typeface="Arial" panose="020B0604020202020204"/>
              <a:cs typeface="Arial"/>
              <a:sym typeface="Arial"/>
            </a:endParaRPr>
          </a:p>
        </p:txBody>
      </p:sp>
      <p:sp>
        <p:nvSpPr>
          <p:cNvPr id="45" name="TextBox 44">
            <a:extLst>
              <a:ext uri="{FF2B5EF4-FFF2-40B4-BE49-F238E27FC236}">
                <a16:creationId xmlns:a16="http://schemas.microsoft.com/office/drawing/2014/main" id="{DA5E42E0-2B00-DEA8-F3D4-B07A2B024111}"/>
              </a:ext>
            </a:extLst>
          </p:cNvPr>
          <p:cNvSpPr txBox="1"/>
          <p:nvPr/>
        </p:nvSpPr>
        <p:spPr>
          <a:xfrm>
            <a:off x="4139673" y="3662875"/>
            <a:ext cx="481100" cy="135151"/>
          </a:xfrm>
          <a:prstGeom prst="rect">
            <a:avLst/>
          </a:prstGeom>
          <a:noFill/>
        </p:spPr>
        <p:txBody>
          <a:bodyPr wrap="square" lIns="0" tIns="0" rIns="0" bIns="0" rtlCol="0" anchor="t">
            <a:noAutofit/>
          </a:bodyPr>
          <a:lstStyle/>
          <a:p>
            <a:pPr algn="ctr" defTabSz="342592">
              <a:lnSpc>
                <a:spcPct val="95000"/>
              </a:lnSpc>
              <a:defRPr/>
            </a:pPr>
            <a:r>
              <a:rPr lang="en-US" sz="750" kern="0" err="1">
                <a:solidFill>
                  <a:prstClr val="black"/>
                </a:solidFill>
                <a:latin typeface="Arial" panose="020B0604020202020204"/>
                <a:cs typeface="Arial"/>
                <a:sym typeface="Arial"/>
              </a:rPr>
              <a:t>Eklem</a:t>
            </a:r>
            <a:r>
              <a:rPr lang="en-US" sz="750" kern="0">
                <a:solidFill>
                  <a:prstClr val="black"/>
                </a:solidFill>
                <a:latin typeface="Arial" panose="020B0604020202020204"/>
                <a:cs typeface="Arial"/>
                <a:sym typeface="Arial"/>
              </a:rPr>
              <a:t> </a:t>
            </a:r>
            <a:r>
              <a:rPr lang="en-US" sz="750" kern="0" err="1">
                <a:solidFill>
                  <a:prstClr val="black"/>
                </a:solidFill>
                <a:latin typeface="Arial" panose="020B0604020202020204"/>
                <a:cs typeface="Arial"/>
                <a:sym typeface="Arial"/>
              </a:rPr>
              <a:t>ağrısı</a:t>
            </a:r>
            <a:endParaRPr lang="en-US" sz="750" kern="0">
              <a:solidFill>
                <a:prstClr val="black"/>
              </a:solidFill>
              <a:latin typeface="Arial" panose="020B0604020202020204"/>
              <a:cs typeface="Arial"/>
              <a:sym typeface="Arial"/>
            </a:endParaRPr>
          </a:p>
        </p:txBody>
      </p:sp>
      <p:sp>
        <p:nvSpPr>
          <p:cNvPr id="46" name="TextBox 45">
            <a:extLst>
              <a:ext uri="{FF2B5EF4-FFF2-40B4-BE49-F238E27FC236}">
                <a16:creationId xmlns:a16="http://schemas.microsoft.com/office/drawing/2014/main" id="{1C9F8978-8F71-895A-40BE-3921677F8A07}"/>
              </a:ext>
            </a:extLst>
          </p:cNvPr>
          <p:cNvSpPr txBox="1"/>
          <p:nvPr/>
        </p:nvSpPr>
        <p:spPr>
          <a:xfrm>
            <a:off x="5257315" y="3673500"/>
            <a:ext cx="481100" cy="135151"/>
          </a:xfrm>
          <a:prstGeom prst="rect">
            <a:avLst/>
          </a:prstGeom>
          <a:noFill/>
        </p:spPr>
        <p:txBody>
          <a:bodyPr wrap="square" lIns="0" tIns="0" rIns="0" bIns="0" rtlCol="0" anchor="t">
            <a:noAutofit/>
          </a:bodyPr>
          <a:lstStyle/>
          <a:p>
            <a:pPr algn="ctr" defTabSz="342592">
              <a:lnSpc>
                <a:spcPct val="95000"/>
              </a:lnSpc>
              <a:defRPr/>
            </a:pPr>
            <a:r>
              <a:rPr lang="en-US" sz="750" err="1">
                <a:solidFill>
                  <a:prstClr val="black"/>
                </a:solidFill>
                <a:latin typeface="Arial" panose="020B0604020202020204"/>
                <a:cs typeface="Arial"/>
                <a:sym typeface="Arial"/>
              </a:rPr>
              <a:t>Halsizlik</a:t>
            </a:r>
            <a:endParaRPr lang="en-US" sz="750">
              <a:solidFill>
                <a:prstClr val="black"/>
              </a:solidFill>
              <a:latin typeface="Arial" panose="020B0604020202020204"/>
              <a:cs typeface="Arial"/>
              <a:sym typeface="Arial"/>
            </a:endParaRPr>
          </a:p>
        </p:txBody>
      </p:sp>
      <p:sp>
        <p:nvSpPr>
          <p:cNvPr id="47" name="TextBox 46">
            <a:extLst>
              <a:ext uri="{FF2B5EF4-FFF2-40B4-BE49-F238E27FC236}">
                <a16:creationId xmlns:a16="http://schemas.microsoft.com/office/drawing/2014/main" id="{D92815CB-C9FF-FA1D-E2D0-CFCE215F6C6E}"/>
              </a:ext>
            </a:extLst>
          </p:cNvPr>
          <p:cNvSpPr txBox="1"/>
          <p:nvPr/>
        </p:nvSpPr>
        <p:spPr>
          <a:xfrm>
            <a:off x="5841442" y="3673500"/>
            <a:ext cx="481100" cy="135151"/>
          </a:xfrm>
          <a:prstGeom prst="rect">
            <a:avLst/>
          </a:prstGeom>
          <a:noFill/>
        </p:spPr>
        <p:txBody>
          <a:bodyPr wrap="square" lIns="0" tIns="0" rIns="0" bIns="0" rtlCol="0" anchor="t">
            <a:noAutofit/>
          </a:bodyPr>
          <a:lstStyle/>
          <a:p>
            <a:pPr algn="ctr" defTabSz="342592">
              <a:lnSpc>
                <a:spcPct val="95000"/>
              </a:lnSpc>
              <a:defRPr/>
            </a:pPr>
            <a:r>
              <a:rPr lang="en-US" sz="750" err="1">
                <a:solidFill>
                  <a:prstClr val="black"/>
                </a:solidFill>
                <a:latin typeface="Arial" panose="020B0604020202020204"/>
                <a:cs typeface="Arial"/>
                <a:sym typeface="Arial"/>
              </a:rPr>
              <a:t>Baş</a:t>
            </a:r>
            <a:r>
              <a:rPr lang="en-US" sz="750">
                <a:solidFill>
                  <a:prstClr val="black"/>
                </a:solidFill>
                <a:latin typeface="Arial" panose="020B0604020202020204"/>
                <a:cs typeface="Arial"/>
                <a:sym typeface="Arial"/>
              </a:rPr>
              <a:t> </a:t>
            </a:r>
            <a:r>
              <a:rPr lang="en-US" sz="750" err="1">
                <a:solidFill>
                  <a:prstClr val="black"/>
                </a:solidFill>
                <a:latin typeface="Arial" panose="020B0604020202020204"/>
                <a:cs typeface="Arial"/>
                <a:sym typeface="Arial"/>
              </a:rPr>
              <a:t>ağrısı</a:t>
            </a:r>
            <a:endParaRPr lang="en-US" sz="750">
              <a:solidFill>
                <a:prstClr val="black"/>
              </a:solidFill>
              <a:latin typeface="Arial" panose="020B0604020202020204"/>
              <a:cs typeface="Arial"/>
              <a:sym typeface="Arial"/>
            </a:endParaRPr>
          </a:p>
        </p:txBody>
      </p:sp>
      <p:sp>
        <p:nvSpPr>
          <p:cNvPr id="48" name="TextBox 47">
            <a:extLst>
              <a:ext uri="{FF2B5EF4-FFF2-40B4-BE49-F238E27FC236}">
                <a16:creationId xmlns:a16="http://schemas.microsoft.com/office/drawing/2014/main" id="{2A5453C6-51F7-42C4-F9FA-03C94467DA44}"/>
              </a:ext>
            </a:extLst>
          </p:cNvPr>
          <p:cNvSpPr txBox="1"/>
          <p:nvPr/>
        </p:nvSpPr>
        <p:spPr>
          <a:xfrm>
            <a:off x="6467071" y="3673500"/>
            <a:ext cx="481100" cy="135151"/>
          </a:xfrm>
          <a:prstGeom prst="rect">
            <a:avLst/>
          </a:prstGeom>
          <a:noFill/>
        </p:spPr>
        <p:txBody>
          <a:bodyPr wrap="square" lIns="0" tIns="0" rIns="0" bIns="0" rtlCol="0" anchor="t">
            <a:noAutofit/>
          </a:bodyPr>
          <a:lstStyle/>
          <a:p>
            <a:pPr algn="ctr" defTabSz="342592">
              <a:lnSpc>
                <a:spcPct val="95000"/>
              </a:lnSpc>
              <a:defRPr/>
            </a:pPr>
            <a:r>
              <a:rPr lang="en-US" sz="750">
                <a:solidFill>
                  <a:prstClr val="black"/>
                </a:solidFill>
                <a:latin typeface="Arial" panose="020B0604020202020204"/>
                <a:cs typeface="Arial"/>
                <a:sym typeface="Arial"/>
              </a:rPr>
              <a:t>Kas </a:t>
            </a:r>
            <a:r>
              <a:rPr lang="en-US" sz="750" err="1">
                <a:solidFill>
                  <a:prstClr val="black"/>
                </a:solidFill>
                <a:latin typeface="Arial" panose="020B0604020202020204"/>
                <a:cs typeface="Arial"/>
                <a:sym typeface="Arial"/>
              </a:rPr>
              <a:t>ağrısı</a:t>
            </a:r>
            <a:endParaRPr lang="en-US" sz="750">
              <a:solidFill>
                <a:prstClr val="black"/>
              </a:solidFill>
              <a:latin typeface="Arial" panose="020B0604020202020204"/>
              <a:cs typeface="Arial"/>
              <a:sym typeface="Arial"/>
            </a:endParaRPr>
          </a:p>
        </p:txBody>
      </p:sp>
      <p:sp>
        <p:nvSpPr>
          <p:cNvPr id="49" name="TextBox 48">
            <a:extLst>
              <a:ext uri="{FF2B5EF4-FFF2-40B4-BE49-F238E27FC236}">
                <a16:creationId xmlns:a16="http://schemas.microsoft.com/office/drawing/2014/main" id="{3F7D1059-2732-0281-2823-8D41D77CA03C}"/>
              </a:ext>
            </a:extLst>
          </p:cNvPr>
          <p:cNvSpPr txBox="1"/>
          <p:nvPr/>
        </p:nvSpPr>
        <p:spPr>
          <a:xfrm>
            <a:off x="7052838" y="3673500"/>
            <a:ext cx="481100" cy="135151"/>
          </a:xfrm>
          <a:prstGeom prst="rect">
            <a:avLst/>
          </a:prstGeom>
          <a:noFill/>
        </p:spPr>
        <p:txBody>
          <a:bodyPr wrap="square" lIns="0" tIns="0" rIns="0" bIns="0" rtlCol="0" anchor="t">
            <a:noAutofit/>
          </a:bodyPr>
          <a:lstStyle/>
          <a:p>
            <a:pPr algn="ctr" defTabSz="342592">
              <a:lnSpc>
                <a:spcPct val="95000"/>
              </a:lnSpc>
              <a:defRPr/>
            </a:pPr>
            <a:r>
              <a:rPr lang="tr-TR" sz="750">
                <a:solidFill>
                  <a:prstClr val="black"/>
                </a:solidFill>
                <a:latin typeface="Arial" panose="020B0604020202020204"/>
                <a:cs typeface="Arial"/>
                <a:sym typeface="Arial"/>
              </a:rPr>
              <a:t>Eklem ağrısı</a:t>
            </a:r>
            <a:endParaRPr lang="en-US" sz="750">
              <a:solidFill>
                <a:prstClr val="black"/>
              </a:solidFill>
              <a:latin typeface="Arial" panose="020B0604020202020204"/>
              <a:cs typeface="Arial"/>
              <a:sym typeface="Arial"/>
            </a:endParaRPr>
          </a:p>
        </p:txBody>
      </p:sp>
      <p:sp>
        <p:nvSpPr>
          <p:cNvPr id="50" name="TextBox 49">
            <a:extLst>
              <a:ext uri="{FF2B5EF4-FFF2-40B4-BE49-F238E27FC236}">
                <a16:creationId xmlns:a16="http://schemas.microsoft.com/office/drawing/2014/main" id="{C70A9A1A-8A2A-EA03-B5E1-6C0CF0AAE035}"/>
              </a:ext>
            </a:extLst>
          </p:cNvPr>
          <p:cNvSpPr txBox="1"/>
          <p:nvPr/>
        </p:nvSpPr>
        <p:spPr>
          <a:xfrm>
            <a:off x="8211384" y="3676156"/>
            <a:ext cx="481100" cy="135151"/>
          </a:xfrm>
          <a:prstGeom prst="rect">
            <a:avLst/>
          </a:prstGeom>
          <a:noFill/>
        </p:spPr>
        <p:txBody>
          <a:bodyPr wrap="square" lIns="0" tIns="0" rIns="0" bIns="0" rtlCol="0" anchor="t">
            <a:noAutofit/>
          </a:bodyPr>
          <a:lstStyle/>
          <a:p>
            <a:pPr algn="ctr" defTabSz="342592">
              <a:lnSpc>
                <a:spcPct val="95000"/>
              </a:lnSpc>
              <a:defRPr/>
            </a:pPr>
            <a:r>
              <a:rPr lang="en-US" sz="750" err="1">
                <a:solidFill>
                  <a:prstClr val="black"/>
                </a:solidFill>
                <a:latin typeface="Arial" panose="020B0604020202020204"/>
                <a:cs typeface="Arial"/>
                <a:sym typeface="Arial"/>
              </a:rPr>
              <a:t>Halsizlik</a:t>
            </a:r>
            <a:endParaRPr lang="en-US" sz="750">
              <a:solidFill>
                <a:prstClr val="black"/>
              </a:solidFill>
              <a:latin typeface="Arial" panose="020B0604020202020204"/>
              <a:cs typeface="Arial"/>
              <a:sym typeface="Arial"/>
            </a:endParaRPr>
          </a:p>
        </p:txBody>
      </p:sp>
      <p:sp>
        <p:nvSpPr>
          <p:cNvPr id="51" name="TextBox 50">
            <a:extLst>
              <a:ext uri="{FF2B5EF4-FFF2-40B4-BE49-F238E27FC236}">
                <a16:creationId xmlns:a16="http://schemas.microsoft.com/office/drawing/2014/main" id="{12D98E0A-B701-035A-CE8D-81FD47C06A99}"/>
              </a:ext>
            </a:extLst>
          </p:cNvPr>
          <p:cNvSpPr txBox="1"/>
          <p:nvPr/>
        </p:nvSpPr>
        <p:spPr>
          <a:xfrm>
            <a:off x="8804303" y="3676156"/>
            <a:ext cx="481100" cy="135151"/>
          </a:xfrm>
          <a:prstGeom prst="rect">
            <a:avLst/>
          </a:prstGeom>
          <a:noFill/>
        </p:spPr>
        <p:txBody>
          <a:bodyPr wrap="square" lIns="0" tIns="0" rIns="0" bIns="0" rtlCol="0" anchor="t">
            <a:noAutofit/>
          </a:bodyPr>
          <a:lstStyle/>
          <a:p>
            <a:pPr algn="ctr" defTabSz="342592">
              <a:lnSpc>
                <a:spcPct val="95000"/>
              </a:lnSpc>
              <a:defRPr/>
            </a:pPr>
            <a:r>
              <a:rPr lang="en-US" sz="750" err="1">
                <a:solidFill>
                  <a:prstClr val="black"/>
                </a:solidFill>
                <a:latin typeface="Arial" panose="020B0604020202020204"/>
                <a:cs typeface="Arial"/>
                <a:sym typeface="Arial"/>
              </a:rPr>
              <a:t>Baş</a:t>
            </a:r>
            <a:r>
              <a:rPr lang="en-US" sz="750">
                <a:solidFill>
                  <a:prstClr val="black"/>
                </a:solidFill>
                <a:latin typeface="Arial" panose="020B0604020202020204"/>
                <a:cs typeface="Arial"/>
                <a:sym typeface="Arial"/>
              </a:rPr>
              <a:t> </a:t>
            </a:r>
            <a:r>
              <a:rPr lang="en-US" sz="750" err="1">
                <a:solidFill>
                  <a:prstClr val="black"/>
                </a:solidFill>
                <a:latin typeface="Arial" panose="020B0604020202020204"/>
                <a:cs typeface="Arial"/>
                <a:sym typeface="Arial"/>
              </a:rPr>
              <a:t>ağrısı</a:t>
            </a:r>
            <a:endParaRPr lang="en-US" sz="750">
              <a:solidFill>
                <a:prstClr val="black"/>
              </a:solidFill>
              <a:latin typeface="Arial" panose="020B0604020202020204"/>
              <a:cs typeface="Arial"/>
              <a:sym typeface="Arial"/>
            </a:endParaRPr>
          </a:p>
        </p:txBody>
      </p:sp>
      <p:sp>
        <p:nvSpPr>
          <p:cNvPr id="52" name="TextBox 51">
            <a:extLst>
              <a:ext uri="{FF2B5EF4-FFF2-40B4-BE49-F238E27FC236}">
                <a16:creationId xmlns:a16="http://schemas.microsoft.com/office/drawing/2014/main" id="{9696E1EA-EB9F-9037-4BA4-D0B574F0496B}"/>
              </a:ext>
            </a:extLst>
          </p:cNvPr>
          <p:cNvSpPr txBox="1"/>
          <p:nvPr/>
        </p:nvSpPr>
        <p:spPr>
          <a:xfrm>
            <a:off x="9438724" y="3676156"/>
            <a:ext cx="481100" cy="135151"/>
          </a:xfrm>
          <a:prstGeom prst="rect">
            <a:avLst/>
          </a:prstGeom>
          <a:noFill/>
        </p:spPr>
        <p:txBody>
          <a:bodyPr wrap="square" lIns="0" tIns="0" rIns="0" bIns="0" rtlCol="0" anchor="t">
            <a:noAutofit/>
          </a:bodyPr>
          <a:lstStyle/>
          <a:p>
            <a:pPr algn="ctr" defTabSz="342592">
              <a:lnSpc>
                <a:spcPct val="95000"/>
              </a:lnSpc>
              <a:defRPr/>
            </a:pPr>
            <a:r>
              <a:rPr lang="en-US" sz="750">
                <a:solidFill>
                  <a:prstClr val="black"/>
                </a:solidFill>
                <a:latin typeface="Arial" panose="020B0604020202020204"/>
                <a:cs typeface="Arial"/>
                <a:sym typeface="Arial"/>
              </a:rPr>
              <a:t>Kas </a:t>
            </a:r>
            <a:r>
              <a:rPr lang="en-US" sz="750" err="1">
                <a:solidFill>
                  <a:prstClr val="black"/>
                </a:solidFill>
                <a:latin typeface="Arial" panose="020B0604020202020204"/>
                <a:cs typeface="Arial"/>
                <a:sym typeface="Arial"/>
              </a:rPr>
              <a:t>ağrısı</a:t>
            </a:r>
            <a:endParaRPr lang="en-US" sz="750">
              <a:solidFill>
                <a:prstClr val="black"/>
              </a:solidFill>
              <a:latin typeface="Arial" panose="020B0604020202020204"/>
              <a:cs typeface="Arial"/>
              <a:sym typeface="Arial"/>
            </a:endParaRPr>
          </a:p>
        </p:txBody>
      </p:sp>
      <p:sp>
        <p:nvSpPr>
          <p:cNvPr id="53" name="TextBox 52">
            <a:extLst>
              <a:ext uri="{FF2B5EF4-FFF2-40B4-BE49-F238E27FC236}">
                <a16:creationId xmlns:a16="http://schemas.microsoft.com/office/drawing/2014/main" id="{CA767FC8-A2EB-079D-F7D6-F8AA6F9C8772}"/>
              </a:ext>
            </a:extLst>
          </p:cNvPr>
          <p:cNvSpPr txBox="1"/>
          <p:nvPr/>
        </p:nvSpPr>
        <p:spPr>
          <a:xfrm>
            <a:off x="10024491" y="3676156"/>
            <a:ext cx="481100" cy="135151"/>
          </a:xfrm>
          <a:prstGeom prst="rect">
            <a:avLst/>
          </a:prstGeom>
          <a:noFill/>
        </p:spPr>
        <p:txBody>
          <a:bodyPr wrap="square" lIns="0" tIns="0" rIns="0" bIns="0" rtlCol="0" anchor="t">
            <a:noAutofit/>
          </a:bodyPr>
          <a:lstStyle/>
          <a:p>
            <a:pPr algn="ctr" defTabSz="342592">
              <a:lnSpc>
                <a:spcPct val="95000"/>
              </a:lnSpc>
              <a:defRPr/>
            </a:pPr>
            <a:r>
              <a:rPr lang="tr-TR" sz="750">
                <a:solidFill>
                  <a:prstClr val="black"/>
                </a:solidFill>
                <a:latin typeface="Arial" panose="020B0604020202020204"/>
                <a:cs typeface="Arial"/>
                <a:sym typeface="Arial"/>
              </a:rPr>
              <a:t>Eklem ağrısı</a:t>
            </a:r>
            <a:endParaRPr lang="en-US" sz="750">
              <a:solidFill>
                <a:prstClr val="black"/>
              </a:solidFill>
              <a:latin typeface="Arial" panose="020B0604020202020204"/>
              <a:cs typeface="Arial"/>
              <a:sym typeface="Arial"/>
            </a:endParaRPr>
          </a:p>
        </p:txBody>
      </p:sp>
      <p:cxnSp>
        <p:nvCxnSpPr>
          <p:cNvPr id="54" name="Straight Connector 53">
            <a:extLst>
              <a:ext uri="{FF2B5EF4-FFF2-40B4-BE49-F238E27FC236}">
                <a16:creationId xmlns:a16="http://schemas.microsoft.com/office/drawing/2014/main" id="{CFF275B9-8A44-E274-1FE6-026CA3190EE0}"/>
              </a:ext>
            </a:extLst>
          </p:cNvPr>
          <p:cNvCxnSpPr>
            <a:cxnSpLocks/>
          </p:cNvCxnSpPr>
          <p:nvPr/>
        </p:nvCxnSpPr>
        <p:spPr>
          <a:xfrm>
            <a:off x="2849768" y="3613604"/>
            <a:ext cx="0" cy="1303020"/>
          </a:xfrm>
          <a:prstGeom prst="line">
            <a:avLst/>
          </a:prstGeom>
          <a:noFill/>
          <a:ln w="12700" cap="flat" cmpd="sng" algn="ctr">
            <a:solidFill>
              <a:srgbClr val="000000">
                <a:lumMod val="65000"/>
                <a:lumOff val="35000"/>
              </a:srgbClr>
            </a:solidFill>
            <a:prstDash val="sysDash"/>
          </a:ln>
          <a:effectLst/>
        </p:spPr>
      </p:cxnSp>
      <p:cxnSp>
        <p:nvCxnSpPr>
          <p:cNvPr id="55" name="Straight Connector 54">
            <a:extLst>
              <a:ext uri="{FF2B5EF4-FFF2-40B4-BE49-F238E27FC236}">
                <a16:creationId xmlns:a16="http://schemas.microsoft.com/office/drawing/2014/main" id="{1C9ADC8E-0661-569A-E49C-EBDF67D8A08F}"/>
              </a:ext>
            </a:extLst>
          </p:cNvPr>
          <p:cNvCxnSpPr>
            <a:cxnSpLocks/>
          </p:cNvCxnSpPr>
          <p:nvPr/>
        </p:nvCxnSpPr>
        <p:spPr>
          <a:xfrm>
            <a:off x="3472026" y="3652157"/>
            <a:ext cx="0" cy="1303020"/>
          </a:xfrm>
          <a:prstGeom prst="line">
            <a:avLst/>
          </a:prstGeom>
          <a:noFill/>
          <a:ln w="12700" cap="flat" cmpd="sng" algn="ctr">
            <a:solidFill>
              <a:srgbClr val="000000">
                <a:lumMod val="65000"/>
                <a:lumOff val="35000"/>
              </a:srgbClr>
            </a:solidFill>
            <a:prstDash val="sysDash"/>
          </a:ln>
          <a:effectLst/>
        </p:spPr>
      </p:cxnSp>
      <p:cxnSp>
        <p:nvCxnSpPr>
          <p:cNvPr id="56" name="Straight Connector 55">
            <a:extLst>
              <a:ext uri="{FF2B5EF4-FFF2-40B4-BE49-F238E27FC236}">
                <a16:creationId xmlns:a16="http://schemas.microsoft.com/office/drawing/2014/main" id="{A4346BB4-3BC2-1FCA-554F-E2A52C0A3D12}"/>
              </a:ext>
            </a:extLst>
          </p:cNvPr>
          <p:cNvCxnSpPr>
            <a:cxnSpLocks/>
          </p:cNvCxnSpPr>
          <p:nvPr/>
        </p:nvCxnSpPr>
        <p:spPr>
          <a:xfrm>
            <a:off x="4089077" y="3641441"/>
            <a:ext cx="0" cy="1303020"/>
          </a:xfrm>
          <a:prstGeom prst="line">
            <a:avLst/>
          </a:prstGeom>
          <a:noFill/>
          <a:ln w="12700" cap="flat" cmpd="sng" algn="ctr">
            <a:solidFill>
              <a:srgbClr val="000000">
                <a:lumMod val="65000"/>
                <a:lumOff val="35000"/>
              </a:srgbClr>
            </a:solidFill>
            <a:prstDash val="sysDash"/>
          </a:ln>
          <a:effectLst/>
        </p:spPr>
      </p:cxnSp>
      <p:cxnSp>
        <p:nvCxnSpPr>
          <p:cNvPr id="57" name="Straight Connector 56">
            <a:extLst>
              <a:ext uri="{FF2B5EF4-FFF2-40B4-BE49-F238E27FC236}">
                <a16:creationId xmlns:a16="http://schemas.microsoft.com/office/drawing/2014/main" id="{2DBBFB01-5E0A-D7FD-9F50-72AFA86DB619}"/>
              </a:ext>
            </a:extLst>
          </p:cNvPr>
          <p:cNvCxnSpPr>
            <a:cxnSpLocks/>
          </p:cNvCxnSpPr>
          <p:nvPr/>
        </p:nvCxnSpPr>
        <p:spPr>
          <a:xfrm>
            <a:off x="9980879" y="3613604"/>
            <a:ext cx="0" cy="1303020"/>
          </a:xfrm>
          <a:prstGeom prst="line">
            <a:avLst/>
          </a:prstGeom>
          <a:noFill/>
          <a:ln w="12700" cap="flat" cmpd="sng" algn="ctr">
            <a:solidFill>
              <a:srgbClr val="000000">
                <a:lumMod val="65000"/>
                <a:lumOff val="35000"/>
              </a:srgbClr>
            </a:solidFill>
            <a:prstDash val="sysDash"/>
          </a:ln>
          <a:effectLst/>
        </p:spPr>
      </p:cxnSp>
      <p:cxnSp>
        <p:nvCxnSpPr>
          <p:cNvPr id="58" name="Straight Connector 57">
            <a:extLst>
              <a:ext uri="{FF2B5EF4-FFF2-40B4-BE49-F238E27FC236}">
                <a16:creationId xmlns:a16="http://schemas.microsoft.com/office/drawing/2014/main" id="{DED6F54A-2BDE-7561-B4AD-26F148F93AB3}"/>
              </a:ext>
            </a:extLst>
          </p:cNvPr>
          <p:cNvCxnSpPr>
            <a:cxnSpLocks/>
          </p:cNvCxnSpPr>
          <p:nvPr/>
        </p:nvCxnSpPr>
        <p:spPr>
          <a:xfrm>
            <a:off x="9363713" y="3620009"/>
            <a:ext cx="0" cy="1303020"/>
          </a:xfrm>
          <a:prstGeom prst="line">
            <a:avLst/>
          </a:prstGeom>
          <a:noFill/>
          <a:ln w="12700" cap="flat" cmpd="sng" algn="ctr">
            <a:solidFill>
              <a:srgbClr val="000000">
                <a:lumMod val="65000"/>
                <a:lumOff val="35000"/>
              </a:srgbClr>
            </a:solidFill>
            <a:prstDash val="sysDash"/>
          </a:ln>
          <a:effectLst/>
        </p:spPr>
      </p:cxnSp>
      <p:cxnSp>
        <p:nvCxnSpPr>
          <p:cNvPr id="59" name="Straight Connector 58">
            <a:extLst>
              <a:ext uri="{FF2B5EF4-FFF2-40B4-BE49-F238E27FC236}">
                <a16:creationId xmlns:a16="http://schemas.microsoft.com/office/drawing/2014/main" id="{91F6C185-E3BA-F6F4-20C5-24AAB8D90740}"/>
              </a:ext>
            </a:extLst>
          </p:cNvPr>
          <p:cNvCxnSpPr>
            <a:cxnSpLocks/>
          </p:cNvCxnSpPr>
          <p:nvPr/>
        </p:nvCxnSpPr>
        <p:spPr>
          <a:xfrm>
            <a:off x="8761439" y="3630725"/>
            <a:ext cx="0" cy="1303020"/>
          </a:xfrm>
          <a:prstGeom prst="line">
            <a:avLst/>
          </a:prstGeom>
          <a:noFill/>
          <a:ln w="12700" cap="flat" cmpd="sng" algn="ctr">
            <a:solidFill>
              <a:srgbClr val="000000">
                <a:lumMod val="65000"/>
                <a:lumOff val="35000"/>
              </a:srgbClr>
            </a:solidFill>
            <a:prstDash val="sysDash"/>
          </a:ln>
          <a:effectLst/>
        </p:spPr>
      </p:cxnSp>
      <p:cxnSp>
        <p:nvCxnSpPr>
          <p:cNvPr id="60" name="Straight Connector 59">
            <a:extLst>
              <a:ext uri="{FF2B5EF4-FFF2-40B4-BE49-F238E27FC236}">
                <a16:creationId xmlns:a16="http://schemas.microsoft.com/office/drawing/2014/main" id="{A38AF07E-A2DF-3F6F-F6D1-23A355F2C668}"/>
              </a:ext>
            </a:extLst>
          </p:cNvPr>
          <p:cNvCxnSpPr>
            <a:cxnSpLocks/>
          </p:cNvCxnSpPr>
          <p:nvPr/>
        </p:nvCxnSpPr>
        <p:spPr>
          <a:xfrm>
            <a:off x="7020480" y="3590012"/>
            <a:ext cx="0" cy="1303020"/>
          </a:xfrm>
          <a:prstGeom prst="line">
            <a:avLst/>
          </a:prstGeom>
          <a:noFill/>
          <a:ln w="12700" cap="flat" cmpd="sng" algn="ctr">
            <a:solidFill>
              <a:srgbClr val="000000">
                <a:lumMod val="65000"/>
                <a:lumOff val="35000"/>
              </a:srgbClr>
            </a:solidFill>
            <a:prstDash val="sysDash"/>
          </a:ln>
          <a:effectLst/>
        </p:spPr>
      </p:cxnSp>
      <p:cxnSp>
        <p:nvCxnSpPr>
          <p:cNvPr id="61" name="Straight Connector 60">
            <a:extLst>
              <a:ext uri="{FF2B5EF4-FFF2-40B4-BE49-F238E27FC236}">
                <a16:creationId xmlns:a16="http://schemas.microsoft.com/office/drawing/2014/main" id="{5A2D0A60-4FA8-324B-6166-4E9C2BA1A2C7}"/>
              </a:ext>
            </a:extLst>
          </p:cNvPr>
          <p:cNvCxnSpPr>
            <a:cxnSpLocks/>
          </p:cNvCxnSpPr>
          <p:nvPr/>
        </p:nvCxnSpPr>
        <p:spPr>
          <a:xfrm>
            <a:off x="6415752" y="3590012"/>
            <a:ext cx="0" cy="1303020"/>
          </a:xfrm>
          <a:prstGeom prst="line">
            <a:avLst/>
          </a:prstGeom>
          <a:noFill/>
          <a:ln w="12700" cap="flat" cmpd="sng" algn="ctr">
            <a:solidFill>
              <a:srgbClr val="000000">
                <a:lumMod val="65000"/>
                <a:lumOff val="35000"/>
              </a:srgbClr>
            </a:solidFill>
            <a:prstDash val="sysDash"/>
          </a:ln>
          <a:effectLst/>
        </p:spPr>
      </p:cxnSp>
      <p:cxnSp>
        <p:nvCxnSpPr>
          <p:cNvPr id="62" name="Straight Connector 61">
            <a:extLst>
              <a:ext uri="{FF2B5EF4-FFF2-40B4-BE49-F238E27FC236}">
                <a16:creationId xmlns:a16="http://schemas.microsoft.com/office/drawing/2014/main" id="{47209CBF-771C-A406-9891-2DB9C2C1A314}"/>
              </a:ext>
            </a:extLst>
          </p:cNvPr>
          <p:cNvCxnSpPr>
            <a:cxnSpLocks/>
          </p:cNvCxnSpPr>
          <p:nvPr/>
        </p:nvCxnSpPr>
        <p:spPr>
          <a:xfrm>
            <a:off x="5794395" y="3582578"/>
            <a:ext cx="0" cy="1303020"/>
          </a:xfrm>
          <a:prstGeom prst="line">
            <a:avLst/>
          </a:prstGeom>
          <a:noFill/>
          <a:ln w="12700" cap="flat" cmpd="sng" algn="ctr">
            <a:solidFill>
              <a:srgbClr val="000000">
                <a:lumMod val="65000"/>
                <a:lumOff val="35000"/>
              </a:srgbClr>
            </a:solidFill>
            <a:prstDash val="sysDash"/>
          </a:ln>
          <a:effectLst/>
        </p:spPr>
      </p:cxnSp>
      <p:sp>
        <p:nvSpPr>
          <p:cNvPr id="63" name="TextBox 62">
            <a:extLst>
              <a:ext uri="{FF2B5EF4-FFF2-40B4-BE49-F238E27FC236}">
                <a16:creationId xmlns:a16="http://schemas.microsoft.com/office/drawing/2014/main" id="{1A65A364-8240-FC4A-8107-39230B5CB262}"/>
              </a:ext>
            </a:extLst>
          </p:cNvPr>
          <p:cNvSpPr txBox="1"/>
          <p:nvPr/>
        </p:nvSpPr>
        <p:spPr bwMode="gray">
          <a:xfrm rot="16200000">
            <a:off x="646565" y="2385852"/>
            <a:ext cx="2191157" cy="230653"/>
          </a:xfrm>
          <a:prstGeom prst="rect">
            <a:avLst/>
          </a:prstGeom>
        </p:spPr>
        <p:txBody>
          <a:bodyPr wrap="none" lIns="34290" tIns="34290" rIns="34290" bIns="34290" rtlCol="0">
            <a:noAutofit/>
          </a:bodyPr>
          <a:lstStyle/>
          <a:p>
            <a:pPr algn="ctr" defTabSz="685800">
              <a:lnSpc>
                <a:spcPct val="90000"/>
              </a:lnSpc>
              <a:spcBef>
                <a:spcPts val="750"/>
              </a:spcBef>
            </a:pPr>
            <a:r>
              <a:rPr lang="tr-TR" sz="1050" b="1">
                <a:solidFill>
                  <a:srgbClr val="353B3E"/>
                </a:solidFill>
                <a:latin typeface="Arial" panose="020B0604020202020204"/>
              </a:rPr>
              <a:t>Lokal reaksiyon bildiren</a:t>
            </a:r>
            <a:r>
              <a:rPr lang="en-US" sz="1050" b="1">
                <a:solidFill>
                  <a:srgbClr val="353B3E"/>
                </a:solidFill>
                <a:latin typeface="Arial" panose="020B0604020202020204"/>
              </a:rPr>
              <a:t> </a:t>
            </a:r>
            <a:br>
              <a:rPr lang="en-US" sz="1050" b="1">
                <a:solidFill>
                  <a:srgbClr val="353B3E"/>
                </a:solidFill>
                <a:latin typeface="Arial" panose="020B0604020202020204"/>
              </a:rPr>
            </a:br>
            <a:r>
              <a:rPr lang="tr-TR" sz="1050" b="1">
                <a:solidFill>
                  <a:srgbClr val="353B3E"/>
                </a:solidFill>
                <a:latin typeface="Arial" panose="020B0604020202020204"/>
              </a:rPr>
              <a:t>katılımcıların</a:t>
            </a:r>
            <a:r>
              <a:rPr lang="en-US" sz="1050" b="1">
                <a:solidFill>
                  <a:srgbClr val="353B3E"/>
                </a:solidFill>
                <a:latin typeface="Arial" panose="020B0604020202020204"/>
              </a:rPr>
              <a:t> %</a:t>
            </a:r>
            <a:r>
              <a:rPr lang="tr-TR" sz="1050" b="1">
                <a:solidFill>
                  <a:srgbClr val="353B3E"/>
                </a:solidFill>
                <a:latin typeface="Arial" panose="020B0604020202020204"/>
              </a:rPr>
              <a:t>’si</a:t>
            </a:r>
            <a:endParaRPr lang="en-US" sz="1050">
              <a:solidFill>
                <a:srgbClr val="353B3E"/>
              </a:solidFill>
              <a:latin typeface="Arial" panose="020B0604020202020204"/>
            </a:endParaRPr>
          </a:p>
        </p:txBody>
      </p:sp>
      <p:sp>
        <p:nvSpPr>
          <p:cNvPr id="65" name="Metin kutusu 64">
            <a:extLst>
              <a:ext uri="{FF2B5EF4-FFF2-40B4-BE49-F238E27FC236}">
                <a16:creationId xmlns:a16="http://schemas.microsoft.com/office/drawing/2014/main" id="{F56DEEC0-1435-2B4F-69E0-712C4F859105}"/>
              </a:ext>
            </a:extLst>
          </p:cNvPr>
          <p:cNvSpPr txBox="1"/>
          <p:nvPr/>
        </p:nvSpPr>
        <p:spPr>
          <a:xfrm>
            <a:off x="2044096" y="5628530"/>
            <a:ext cx="4634345" cy="196208"/>
          </a:xfrm>
          <a:prstGeom prst="rect">
            <a:avLst/>
          </a:prstGeom>
          <a:noFill/>
        </p:spPr>
        <p:txBody>
          <a:bodyPr wrap="square">
            <a:spAutoFit/>
          </a:bodyPr>
          <a:lstStyle/>
          <a:p>
            <a:pPr defTabSz="685800"/>
            <a:r>
              <a:rPr lang="tr-TR" sz="675">
                <a:solidFill>
                  <a:srgbClr val="353B3E"/>
                </a:solidFill>
                <a:latin typeface="Arial" panose="020B0604020202020204"/>
              </a:rPr>
              <a:t>PCV= </a:t>
            </a:r>
            <a:r>
              <a:rPr lang="tr-TR" sz="675" err="1">
                <a:solidFill>
                  <a:srgbClr val="353B3E"/>
                </a:solidFill>
                <a:latin typeface="Arial" panose="020B0604020202020204"/>
              </a:rPr>
              <a:t>Pnömokok</a:t>
            </a:r>
            <a:r>
              <a:rPr lang="tr-TR" sz="675">
                <a:solidFill>
                  <a:srgbClr val="353B3E"/>
                </a:solidFill>
                <a:latin typeface="Arial" panose="020B0604020202020204"/>
              </a:rPr>
              <a:t> Konjuge Aşısı</a:t>
            </a:r>
          </a:p>
        </p:txBody>
      </p:sp>
      <p:pic>
        <p:nvPicPr>
          <p:cNvPr id="4" name="Picture 3" descr="A yellow and blue logo&#10;&#10;Description automatically generated">
            <a:extLst>
              <a:ext uri="{FF2B5EF4-FFF2-40B4-BE49-F238E27FC236}">
                <a16:creationId xmlns:a16="http://schemas.microsoft.com/office/drawing/2014/main" id="{C947E586-D02A-7AD7-BC87-E1C0F490552D}"/>
              </a:ext>
            </a:extLst>
          </p:cNvPr>
          <p:cNvPicPr>
            <a:picLocks noChangeAspect="1"/>
          </p:cNvPicPr>
          <p:nvPr/>
        </p:nvPicPr>
        <p:blipFill>
          <a:blip r:embed="rId8">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350784109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0E4F4-447F-E4BE-DF0C-2871E89D64AB}"/>
              </a:ext>
            </a:extLst>
          </p:cNvPr>
          <p:cNvSpPr>
            <a:spLocks noGrp="1"/>
          </p:cNvSpPr>
          <p:nvPr>
            <p:ph type="title"/>
          </p:nvPr>
        </p:nvSpPr>
        <p:spPr>
          <a:xfrm>
            <a:off x="613152" y="195684"/>
            <a:ext cx="10969218" cy="842156"/>
          </a:xfrm>
        </p:spPr>
        <p:txBody>
          <a:bodyPr>
            <a:noAutofit/>
          </a:bodyPr>
          <a:lstStyle/>
          <a:p>
            <a:r>
              <a:rPr lang="tr-TR"/>
              <a:t>KPA20 Uygulama Şeması (ACIP) ‡</a:t>
            </a:r>
            <a:br>
              <a:rPr lang="tr-TR"/>
            </a:br>
            <a:endParaRPr lang="tr-TR"/>
          </a:p>
        </p:txBody>
      </p:sp>
      <p:sp>
        <p:nvSpPr>
          <p:cNvPr id="6" name="Text Placeholder 4">
            <a:extLst>
              <a:ext uri="{FF2B5EF4-FFF2-40B4-BE49-F238E27FC236}">
                <a16:creationId xmlns:a16="http://schemas.microsoft.com/office/drawing/2014/main" id="{9BE2084E-B32F-044F-004D-8E5FB10A0AEF}"/>
              </a:ext>
            </a:extLst>
          </p:cNvPr>
          <p:cNvSpPr txBox="1">
            <a:spLocks/>
          </p:cNvSpPr>
          <p:nvPr/>
        </p:nvSpPr>
        <p:spPr>
          <a:xfrm>
            <a:off x="614510" y="6030731"/>
            <a:ext cx="7672388" cy="269081"/>
          </a:xfrm>
          <a:prstGeom prst="rect">
            <a:avLst/>
          </a:prstGeom>
        </p:spPr>
        <p:txBody>
          <a:bodyPr vert="horz" lIns="68580" tIns="34290" rIns="68580" bIns="34290" rtlCol="0" anchor="b">
            <a:noAutofit/>
          </a:bodyPr>
          <a:lstStyle>
            <a:lvl1pPr marL="0" indent="0" algn="l" defTabSz="914400" rtl="0" eaLnBrk="1" latinLnBrk="0" hangingPunct="1">
              <a:lnSpc>
                <a:spcPct val="90000"/>
              </a:lnSpc>
              <a:spcBef>
                <a:spcPts val="0"/>
              </a:spcBef>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00" dirty="0">
                <a:solidFill>
                  <a:schemeClr val="bg1">
                    <a:lumMod val="50000"/>
                  </a:schemeClr>
                </a:solidFill>
                <a:latin typeface="Nunito" pitchFamily="2" charset="-94"/>
              </a:rPr>
              <a:t>Kobayashi M, Leidner AJ, Gierke R, et al. Expanded Recommendations for Use of Pneumococcal Conjugate Vaccines Among Adults Aged ≥50 Years: Recommendations of the Advisory Committee on Immunization Practices — United States, 2024. MMWR </a:t>
            </a:r>
            <a:r>
              <a:rPr lang="en-US" sz="600" dirty="0" err="1">
                <a:solidFill>
                  <a:schemeClr val="bg1">
                    <a:lumMod val="50000"/>
                  </a:schemeClr>
                </a:solidFill>
                <a:latin typeface="Nunito" pitchFamily="2" charset="-94"/>
              </a:rPr>
              <a:t>Morb</a:t>
            </a:r>
            <a:r>
              <a:rPr lang="en-US" sz="600" dirty="0">
                <a:solidFill>
                  <a:schemeClr val="bg1">
                    <a:lumMod val="50000"/>
                  </a:schemeClr>
                </a:solidFill>
                <a:latin typeface="Nunito" pitchFamily="2" charset="-94"/>
              </a:rPr>
              <a:t> Mortal </a:t>
            </a:r>
            <a:r>
              <a:rPr lang="en-US" sz="600" dirty="0" err="1">
                <a:solidFill>
                  <a:schemeClr val="bg1">
                    <a:lumMod val="50000"/>
                  </a:schemeClr>
                </a:solidFill>
                <a:latin typeface="Nunito" pitchFamily="2" charset="-94"/>
              </a:rPr>
              <a:t>Wkly</a:t>
            </a:r>
            <a:r>
              <a:rPr lang="en-US" sz="600" dirty="0">
                <a:solidFill>
                  <a:schemeClr val="bg1">
                    <a:lumMod val="50000"/>
                  </a:schemeClr>
                </a:solidFill>
                <a:latin typeface="Nunito" pitchFamily="2" charset="-94"/>
              </a:rPr>
              <a:t> Rep 2025;74:1–8. DOI: </a:t>
            </a:r>
            <a:r>
              <a:rPr lang="en-US" sz="600" dirty="0">
                <a:solidFill>
                  <a:schemeClr val="bg1">
                    <a:lumMod val="50000"/>
                  </a:schemeClr>
                </a:solidFill>
                <a:latin typeface="Nunito" pitchFamily="2" charset="-94"/>
                <a:hlinkClick r:id="rId4">
                  <a:extLst>
                    <a:ext uri="{A12FA001-AC4F-418D-AE19-62706E023703}">
                      <ahyp:hlinkClr xmlns:ahyp="http://schemas.microsoft.com/office/drawing/2018/hyperlinkcolor" val="tx"/>
                    </a:ext>
                  </a:extLst>
                </a:hlinkClick>
              </a:rPr>
              <a:t>http://dx.doi.org/10.15585/mmwr.mm7401a1</a:t>
            </a:r>
            <a:endParaRPr lang="en-US" sz="600" dirty="0">
              <a:solidFill>
                <a:schemeClr val="bg1">
                  <a:lumMod val="50000"/>
                </a:schemeClr>
              </a:solidFill>
              <a:latin typeface="Nunito" pitchFamily="2" charset="-94"/>
            </a:endParaRPr>
          </a:p>
          <a:p>
            <a:r>
              <a:rPr lang="tr-TR" sz="600" dirty="0">
                <a:solidFill>
                  <a:schemeClr val="bg1">
                    <a:lumMod val="50000"/>
                  </a:schemeClr>
                </a:solidFill>
              </a:rPr>
              <a:t>‡</a:t>
            </a:r>
            <a:r>
              <a:rPr lang="en-US" sz="600" dirty="0">
                <a:solidFill>
                  <a:schemeClr val="bg1">
                    <a:lumMod val="50000"/>
                  </a:schemeClr>
                </a:solidFill>
              </a:rPr>
              <a:t> </a:t>
            </a:r>
            <a:r>
              <a:rPr lang="en-US" sz="600" dirty="0" err="1">
                <a:solidFill>
                  <a:schemeClr val="bg1">
                    <a:lumMod val="50000"/>
                  </a:schemeClr>
                </a:solidFill>
              </a:rPr>
              <a:t>Türkiyye’de</a:t>
            </a:r>
            <a:r>
              <a:rPr lang="en-US" sz="600" dirty="0">
                <a:solidFill>
                  <a:schemeClr val="bg1">
                    <a:lumMod val="50000"/>
                  </a:schemeClr>
                </a:solidFill>
              </a:rPr>
              <a:t> </a:t>
            </a:r>
            <a:r>
              <a:rPr lang="en-US" sz="600" dirty="0" err="1">
                <a:solidFill>
                  <a:schemeClr val="bg1">
                    <a:lumMod val="50000"/>
                  </a:schemeClr>
                </a:solidFill>
              </a:rPr>
              <a:t>ruhsatlı</a:t>
            </a:r>
            <a:r>
              <a:rPr lang="en-US" sz="600" dirty="0">
                <a:solidFill>
                  <a:schemeClr val="bg1">
                    <a:lumMod val="50000"/>
                  </a:schemeClr>
                </a:solidFill>
              </a:rPr>
              <a:t> </a:t>
            </a:r>
            <a:r>
              <a:rPr lang="en-US" sz="600" dirty="0" err="1">
                <a:solidFill>
                  <a:schemeClr val="bg1">
                    <a:lumMod val="50000"/>
                  </a:schemeClr>
                </a:solidFill>
              </a:rPr>
              <a:t>ve</a:t>
            </a:r>
            <a:r>
              <a:rPr lang="en-US" sz="600" dirty="0">
                <a:solidFill>
                  <a:schemeClr val="bg1">
                    <a:lumMod val="50000"/>
                  </a:schemeClr>
                </a:solidFill>
              </a:rPr>
              <a:t> </a:t>
            </a:r>
            <a:r>
              <a:rPr lang="en-US" sz="600" dirty="0" err="1">
                <a:solidFill>
                  <a:schemeClr val="bg1">
                    <a:lumMod val="50000"/>
                  </a:schemeClr>
                </a:solidFill>
              </a:rPr>
              <a:t>aktif</a:t>
            </a:r>
            <a:r>
              <a:rPr lang="en-US" sz="600" dirty="0">
                <a:solidFill>
                  <a:schemeClr val="bg1">
                    <a:lumMod val="50000"/>
                  </a:schemeClr>
                </a:solidFill>
              </a:rPr>
              <a:t> </a:t>
            </a:r>
            <a:r>
              <a:rPr lang="en-US" sz="600" dirty="0" err="1">
                <a:solidFill>
                  <a:schemeClr val="bg1">
                    <a:lumMod val="50000"/>
                  </a:schemeClr>
                </a:solidFill>
              </a:rPr>
              <a:t>pazarlaması</a:t>
            </a:r>
            <a:r>
              <a:rPr lang="en-US" sz="600" dirty="0">
                <a:solidFill>
                  <a:schemeClr val="bg1">
                    <a:lumMod val="50000"/>
                  </a:schemeClr>
                </a:solidFill>
              </a:rPr>
              <a:t> </a:t>
            </a:r>
            <a:r>
              <a:rPr lang="en-US" sz="600" dirty="0" err="1">
                <a:solidFill>
                  <a:schemeClr val="bg1">
                    <a:lumMod val="50000"/>
                  </a:schemeClr>
                </a:solidFill>
              </a:rPr>
              <a:t>yapılan</a:t>
            </a:r>
            <a:r>
              <a:rPr lang="en-US" sz="600" dirty="0">
                <a:solidFill>
                  <a:schemeClr val="bg1">
                    <a:lumMod val="50000"/>
                  </a:schemeClr>
                </a:solidFill>
              </a:rPr>
              <a:t> </a:t>
            </a:r>
            <a:r>
              <a:rPr lang="en-US" sz="600" dirty="0" err="1">
                <a:solidFill>
                  <a:schemeClr val="bg1">
                    <a:lumMod val="50000"/>
                  </a:schemeClr>
                </a:solidFill>
              </a:rPr>
              <a:t>ürünler</a:t>
            </a:r>
            <a:r>
              <a:rPr lang="en-US" sz="600" dirty="0">
                <a:solidFill>
                  <a:schemeClr val="bg1">
                    <a:lumMod val="50000"/>
                  </a:schemeClr>
                </a:solidFill>
              </a:rPr>
              <a:t> </a:t>
            </a:r>
            <a:r>
              <a:rPr lang="en-US" sz="600" dirty="0" err="1">
                <a:solidFill>
                  <a:schemeClr val="bg1">
                    <a:lumMod val="50000"/>
                  </a:schemeClr>
                </a:solidFill>
              </a:rPr>
              <a:t>için</a:t>
            </a:r>
            <a:r>
              <a:rPr lang="en-US" sz="600" dirty="0">
                <a:solidFill>
                  <a:schemeClr val="bg1">
                    <a:lumMod val="50000"/>
                  </a:schemeClr>
                </a:solidFill>
              </a:rPr>
              <a:t> </a:t>
            </a:r>
            <a:r>
              <a:rPr lang="en-US" sz="600" dirty="0" err="1">
                <a:solidFill>
                  <a:schemeClr val="bg1">
                    <a:lumMod val="50000"/>
                  </a:schemeClr>
                </a:solidFill>
              </a:rPr>
              <a:t>tekrar</a:t>
            </a:r>
            <a:r>
              <a:rPr lang="en-US" sz="600" dirty="0">
                <a:solidFill>
                  <a:schemeClr val="bg1">
                    <a:lumMod val="50000"/>
                  </a:schemeClr>
                </a:solidFill>
              </a:rPr>
              <a:t> </a:t>
            </a:r>
            <a:r>
              <a:rPr lang="en-US" sz="600" dirty="0" err="1">
                <a:solidFill>
                  <a:schemeClr val="bg1">
                    <a:lumMod val="50000"/>
                  </a:schemeClr>
                </a:solidFill>
              </a:rPr>
              <a:t>uyarlanmıştır</a:t>
            </a:r>
            <a:r>
              <a:rPr lang="en-US" sz="600" dirty="0">
                <a:solidFill>
                  <a:schemeClr val="bg1">
                    <a:lumMod val="50000"/>
                  </a:schemeClr>
                </a:solidFill>
              </a:rPr>
              <a:t>. </a:t>
            </a:r>
          </a:p>
        </p:txBody>
      </p:sp>
      <p:graphicFrame>
        <p:nvGraphicFramePr>
          <p:cNvPr id="7" name="Table 6">
            <a:extLst>
              <a:ext uri="{FF2B5EF4-FFF2-40B4-BE49-F238E27FC236}">
                <a16:creationId xmlns:a16="http://schemas.microsoft.com/office/drawing/2014/main" id="{84991911-03B2-8B89-0882-6CF6FE36029F}"/>
              </a:ext>
            </a:extLst>
          </p:cNvPr>
          <p:cNvGraphicFramePr>
            <a:graphicFrameLocks noGrp="1"/>
          </p:cNvGraphicFramePr>
          <p:nvPr>
            <p:extLst>
              <p:ext uri="{D42A27DB-BD31-4B8C-83A1-F6EECF244321}">
                <p14:modId xmlns:p14="http://schemas.microsoft.com/office/powerpoint/2010/main" val="373897207"/>
              </p:ext>
            </p:extLst>
          </p:nvPr>
        </p:nvGraphicFramePr>
        <p:xfrm>
          <a:off x="609600" y="905853"/>
          <a:ext cx="10877550" cy="4614728"/>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3625850">
                  <a:extLst>
                    <a:ext uri="{9D8B030D-6E8A-4147-A177-3AD203B41FA5}">
                      <a16:colId xmlns:a16="http://schemas.microsoft.com/office/drawing/2014/main" val="3469996588"/>
                    </a:ext>
                  </a:extLst>
                </a:gridCol>
                <a:gridCol w="3625850">
                  <a:extLst>
                    <a:ext uri="{9D8B030D-6E8A-4147-A177-3AD203B41FA5}">
                      <a16:colId xmlns:a16="http://schemas.microsoft.com/office/drawing/2014/main" val="3234443699"/>
                    </a:ext>
                  </a:extLst>
                </a:gridCol>
                <a:gridCol w="3625850">
                  <a:extLst>
                    <a:ext uri="{9D8B030D-6E8A-4147-A177-3AD203B41FA5}">
                      <a16:colId xmlns:a16="http://schemas.microsoft.com/office/drawing/2014/main" val="976251816"/>
                    </a:ext>
                  </a:extLst>
                </a:gridCol>
              </a:tblGrid>
              <a:tr h="640514">
                <a:tc>
                  <a:txBody>
                    <a:bodyPr/>
                    <a:lstStyle/>
                    <a:p>
                      <a:pPr algn="ctr">
                        <a:lnSpc>
                          <a:spcPct val="90000"/>
                        </a:lnSpc>
                      </a:pPr>
                      <a:r>
                        <a:rPr lang="tr-TR" sz="1600" b="0" dirty="0">
                          <a:solidFill>
                            <a:schemeClr val="bg1"/>
                          </a:solidFill>
                        </a:rPr>
                        <a:t>Önceki Aşılanma Durumu</a:t>
                      </a:r>
                      <a:endParaRPr lang="en-US" sz="1600" b="0" dirty="0">
                        <a:solidFill>
                          <a:schemeClr val="bg1"/>
                        </a:solidFill>
                      </a:endParaRPr>
                    </a:p>
                  </a:txBody>
                  <a:tcPr marL="51422" marR="51422" marT="25711" marB="25711" anchor="ctr"/>
                </a:tc>
                <a:tc>
                  <a:txBody>
                    <a:bodyPr/>
                    <a:lstStyle/>
                    <a:p>
                      <a:pPr algn="ctr">
                        <a:lnSpc>
                          <a:spcPct val="90000"/>
                        </a:lnSpc>
                      </a:pPr>
                      <a:r>
                        <a:rPr lang="tr-TR" sz="2400" b="0">
                          <a:solidFill>
                            <a:schemeClr val="bg1"/>
                          </a:solidFill>
                        </a:rPr>
                        <a:t>19-49</a:t>
                      </a:r>
                      <a:r>
                        <a:rPr lang="tr-TR" sz="1600" b="0"/>
                        <a:t> yaş arası</a:t>
                      </a:r>
                    </a:p>
                    <a:p>
                      <a:pPr algn="ctr">
                        <a:lnSpc>
                          <a:spcPct val="90000"/>
                        </a:lnSpc>
                      </a:pPr>
                      <a:r>
                        <a:rPr lang="tr-TR" sz="1600" b="0"/>
                        <a:t>riskli bireyler</a:t>
                      </a:r>
                      <a:endParaRPr lang="en-US" sz="1600" b="0"/>
                    </a:p>
                  </a:txBody>
                  <a:tcPr marL="51422" marR="51422" marT="25711" marB="25711" anchor="ctr"/>
                </a:tc>
                <a:tc>
                  <a:txBody>
                    <a:bodyPr/>
                    <a:lstStyle/>
                    <a:p>
                      <a:pPr algn="ctr">
                        <a:lnSpc>
                          <a:spcPct val="90000"/>
                        </a:lnSpc>
                      </a:pPr>
                      <a:r>
                        <a:rPr lang="en-US" sz="2800" b="0">
                          <a:solidFill>
                            <a:schemeClr val="bg1"/>
                          </a:solidFill>
                        </a:rPr>
                        <a:t>≥</a:t>
                      </a:r>
                      <a:r>
                        <a:rPr lang="tr-TR" sz="2800" b="0">
                          <a:solidFill>
                            <a:schemeClr val="bg1"/>
                          </a:solidFill>
                        </a:rPr>
                        <a:t>50</a:t>
                      </a:r>
                      <a:r>
                        <a:rPr lang="en-US" sz="2800" b="0">
                          <a:solidFill>
                            <a:schemeClr val="bg1"/>
                          </a:solidFill>
                        </a:rPr>
                        <a:t> </a:t>
                      </a:r>
                      <a:r>
                        <a:rPr lang="tr-TR" sz="1600" b="0"/>
                        <a:t>yaş</a:t>
                      </a:r>
                      <a:endParaRPr lang="en-US" sz="1600" b="0"/>
                    </a:p>
                  </a:txBody>
                  <a:tcPr marL="51422" marR="51422" marT="25711" marB="25711" anchor="ctr"/>
                </a:tc>
                <a:extLst>
                  <a:ext uri="{0D108BD9-81ED-4DB2-BD59-A6C34878D82A}">
                    <a16:rowId xmlns:a16="http://schemas.microsoft.com/office/drawing/2014/main" val="3518712832"/>
                  </a:ext>
                </a:extLst>
              </a:tr>
              <a:tr h="432954">
                <a:tc>
                  <a:txBody>
                    <a:bodyPr/>
                    <a:lstStyle/>
                    <a:p>
                      <a:pPr algn="ctr">
                        <a:lnSpc>
                          <a:spcPct val="90000"/>
                        </a:lnSpc>
                      </a:pPr>
                      <a:r>
                        <a:rPr lang="tr-TR" sz="1600" b="0" dirty="0"/>
                        <a:t>Daha önce aşılanmamış</a:t>
                      </a:r>
                      <a:endParaRPr lang="en-US" sz="1600" b="0" dirty="0"/>
                    </a:p>
                  </a:txBody>
                  <a:tcPr marL="51422" marR="51422" marT="25711" marB="25711" anchor="ctr"/>
                </a:tc>
                <a:tc gridSpan="2">
                  <a:txBody>
                    <a:bodyPr/>
                    <a:lstStyle/>
                    <a:p>
                      <a:pPr algn="ctr">
                        <a:lnSpc>
                          <a:spcPct val="90000"/>
                        </a:lnSpc>
                      </a:pPr>
                      <a:r>
                        <a:rPr lang="tr-TR" sz="1600" b="0"/>
                        <a:t>Tek doz KPA20</a:t>
                      </a:r>
                    </a:p>
                  </a:txBody>
                  <a:tcPr marL="51422" marR="51422" marT="25711" marB="25711" anchor="ctr"/>
                </a:tc>
                <a:tc hMerge="1">
                  <a:txBody>
                    <a:bodyPr/>
                    <a:lstStyle/>
                    <a:p>
                      <a:endParaRPr/>
                    </a:p>
                  </a:txBody>
                  <a:tcPr marL="68562" marR="68562" marT="34281" marB="34281" anchor="ctr"/>
                </a:tc>
                <a:extLst>
                  <a:ext uri="{0D108BD9-81ED-4DB2-BD59-A6C34878D82A}">
                    <a16:rowId xmlns:a16="http://schemas.microsoft.com/office/drawing/2014/main" val="2755286202"/>
                  </a:ext>
                </a:extLst>
              </a:tr>
              <a:tr h="528441">
                <a:tc>
                  <a:txBody>
                    <a:bodyPr/>
                    <a:lstStyle/>
                    <a:p>
                      <a:pPr algn="ctr">
                        <a:lnSpc>
                          <a:spcPct val="90000"/>
                        </a:lnSpc>
                      </a:pPr>
                      <a:r>
                        <a:rPr lang="tr-TR" sz="1600" b="0">
                          <a:solidFill>
                            <a:schemeClr val="tx1"/>
                          </a:solidFill>
                        </a:rPr>
                        <a:t>Daha önce KPA13 uygulanmış</a:t>
                      </a:r>
                      <a:endParaRPr lang="en-US" sz="1600" b="0">
                        <a:solidFill>
                          <a:schemeClr val="tx1"/>
                        </a:solidFill>
                      </a:endParaRPr>
                    </a:p>
                  </a:txBody>
                  <a:tcPr marL="51422" marR="51422" marT="25711" marB="25711" anchor="ctr"/>
                </a:tc>
                <a:tc rowSpan="2" gridSpan="2">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tr-TR" sz="1600" b="0"/>
                        <a:t>En az 1 yıl sonra </a:t>
                      </a:r>
                    </a:p>
                    <a:p>
                      <a:pPr marL="0" marR="0" lvl="0" indent="0" algn="ctr" defTabSz="457200" rtl="0" eaLnBrk="1" fontAlgn="auto" latinLnBrk="0" hangingPunct="1">
                        <a:lnSpc>
                          <a:spcPct val="90000"/>
                        </a:lnSpc>
                        <a:spcBef>
                          <a:spcPts val="0"/>
                        </a:spcBef>
                        <a:spcAft>
                          <a:spcPts val="0"/>
                        </a:spcAft>
                        <a:buClrTx/>
                        <a:buSzTx/>
                        <a:buFontTx/>
                        <a:buNone/>
                        <a:tabLst/>
                        <a:defRPr/>
                      </a:pPr>
                      <a:r>
                        <a:rPr lang="tr-TR" sz="1600" b="0"/>
                        <a:t>KPA20</a:t>
                      </a:r>
                    </a:p>
                  </a:txBody>
                  <a:tcPr marL="51422" marR="51422" marT="25711" marB="25711" anchor="ctr"/>
                </a:tc>
                <a:tc rowSpan="2" hMerge="1">
                  <a:txBody>
                    <a:bodyPr/>
                    <a:lstStyle/>
                    <a:p>
                      <a:endParaRPr/>
                    </a:p>
                  </a:txBody>
                  <a:tcPr marL="68580" marR="68580" marT="34290" marB="34290"/>
                </a:tc>
                <a:extLst>
                  <a:ext uri="{0D108BD9-81ED-4DB2-BD59-A6C34878D82A}">
                    <a16:rowId xmlns:a16="http://schemas.microsoft.com/office/drawing/2014/main" val="2552380066"/>
                  </a:ext>
                </a:extLst>
              </a:tr>
              <a:tr h="939976">
                <a:tc>
                  <a:txBody>
                    <a:bodyPr/>
                    <a:lstStyle/>
                    <a:p>
                      <a:pPr algn="ctr">
                        <a:lnSpc>
                          <a:spcPct val="90000"/>
                        </a:lnSpc>
                      </a:pPr>
                      <a:r>
                        <a:rPr lang="tr-TR" sz="1600" b="0" dirty="0">
                          <a:solidFill>
                            <a:schemeClr val="tx1"/>
                          </a:solidFill>
                        </a:rPr>
                        <a:t>Daha önce PP</a:t>
                      </a:r>
                      <a:r>
                        <a:rPr lang="en-US" sz="1600" b="0" dirty="0">
                          <a:solidFill>
                            <a:schemeClr val="tx1"/>
                          </a:solidFill>
                        </a:rPr>
                        <a:t>S</a:t>
                      </a:r>
                      <a:r>
                        <a:rPr lang="tr-TR" sz="1600" b="0" dirty="0">
                          <a:solidFill>
                            <a:schemeClr val="tx1"/>
                          </a:solidFill>
                        </a:rPr>
                        <a:t>A23 uygulanmış</a:t>
                      </a:r>
                      <a:endParaRPr lang="en-US" sz="1600" b="0" dirty="0">
                        <a:solidFill>
                          <a:schemeClr val="tx1"/>
                        </a:solidFill>
                      </a:endParaRPr>
                    </a:p>
                  </a:txBody>
                  <a:tcPr marL="51422" marR="51422" marT="25711" marB="25711" anchor="ctr"/>
                </a:tc>
                <a:tc gridSpan="2" vMerge="1">
                  <a:txBody>
                    <a:bodyPr/>
                    <a:lstStyle/>
                    <a:p>
                      <a:endParaRPr/>
                    </a:p>
                  </a:txBody>
                  <a:tcPr marL="68562" marR="68562" marT="34281" marB="34281" anchor="ctr"/>
                </a:tc>
                <a:tc hMerge="1" vMerge="1">
                  <a:txBody>
                    <a:bodyPr/>
                    <a:lstStyle/>
                    <a:p>
                      <a:endParaRPr/>
                    </a:p>
                  </a:txBody>
                  <a:tcPr marL="68580" marR="68580" marT="34290" marB="34290"/>
                </a:tc>
                <a:extLst>
                  <a:ext uri="{0D108BD9-81ED-4DB2-BD59-A6C34878D82A}">
                    <a16:rowId xmlns:a16="http://schemas.microsoft.com/office/drawing/2014/main" val="1728693540"/>
                  </a:ext>
                </a:extLst>
              </a:tr>
              <a:tr h="2072843">
                <a:tc>
                  <a:txBody>
                    <a:bodyPr/>
                    <a:lstStyle/>
                    <a:p>
                      <a:pPr algn="ctr">
                        <a:lnSpc>
                          <a:spcPct val="90000"/>
                        </a:lnSpc>
                      </a:pPr>
                      <a:r>
                        <a:rPr lang="tr-TR" sz="1600" b="0" dirty="0">
                          <a:solidFill>
                            <a:schemeClr val="tx1"/>
                          </a:solidFill>
                        </a:rPr>
                        <a:t>Daha önce KPA13+ PP</a:t>
                      </a:r>
                      <a:r>
                        <a:rPr lang="en-US" sz="1600" b="0" dirty="0">
                          <a:solidFill>
                            <a:schemeClr val="tx1"/>
                          </a:solidFill>
                        </a:rPr>
                        <a:t>S</a:t>
                      </a:r>
                      <a:r>
                        <a:rPr lang="tr-TR" sz="1600" b="0" dirty="0">
                          <a:solidFill>
                            <a:schemeClr val="tx1"/>
                          </a:solidFill>
                        </a:rPr>
                        <a:t>A23 uygulanmış</a:t>
                      </a:r>
                      <a:endParaRPr lang="en-US" sz="1600" b="0" dirty="0">
                        <a:solidFill>
                          <a:schemeClr val="tx1"/>
                        </a:solidFill>
                      </a:endParaRPr>
                    </a:p>
                  </a:txBody>
                  <a:tcPr marL="51422" marR="51422" marT="25711" marB="25711" anchor="ct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tr-TR" sz="1600" b="0" err="1">
                          <a:solidFill>
                            <a:schemeClr val="tx1"/>
                          </a:solidFill>
                        </a:rPr>
                        <a:t>Immunsuprese</a:t>
                      </a:r>
                      <a:r>
                        <a:rPr lang="tr-TR" sz="1600" b="0">
                          <a:solidFill>
                            <a:schemeClr val="tx1"/>
                          </a:solidFill>
                        </a:rPr>
                        <a:t> durum yoksa:</a:t>
                      </a:r>
                    </a:p>
                    <a:p>
                      <a:pPr marL="0" marR="0" lvl="0" indent="0" algn="ctr" defTabSz="914400" rtl="0" eaLnBrk="1" fontAlgn="auto" latinLnBrk="0" hangingPunct="1">
                        <a:lnSpc>
                          <a:spcPct val="90000"/>
                        </a:lnSpc>
                        <a:spcBef>
                          <a:spcPts val="0"/>
                        </a:spcBef>
                        <a:spcAft>
                          <a:spcPts val="0"/>
                        </a:spcAft>
                        <a:buClrTx/>
                        <a:buSzTx/>
                        <a:buFontTx/>
                        <a:buNone/>
                        <a:tabLst/>
                        <a:defRPr/>
                      </a:pPr>
                      <a:r>
                        <a:rPr lang="tr-TR" sz="1600" b="0">
                          <a:solidFill>
                            <a:schemeClr val="tx1"/>
                          </a:solidFill>
                        </a:rPr>
                        <a:t>Aşı önerisi yok</a:t>
                      </a:r>
                    </a:p>
                    <a:p>
                      <a:pPr marL="0" marR="0" lvl="0" indent="0" algn="ctr" defTabSz="914400" rtl="0" eaLnBrk="1" fontAlgn="auto" latinLnBrk="0" hangingPunct="1">
                        <a:lnSpc>
                          <a:spcPct val="90000"/>
                        </a:lnSpc>
                        <a:spcBef>
                          <a:spcPts val="0"/>
                        </a:spcBef>
                        <a:spcAft>
                          <a:spcPts val="0"/>
                        </a:spcAft>
                        <a:buClrTx/>
                        <a:buSzTx/>
                        <a:buFontTx/>
                        <a:buNone/>
                        <a:tabLst/>
                        <a:defRPr/>
                      </a:pPr>
                      <a:endParaRPr lang="tr-TR" sz="1600" b="0">
                        <a:solidFill>
                          <a:schemeClr val="tx1"/>
                        </a:solidFill>
                      </a:endParaRPr>
                    </a:p>
                    <a:p>
                      <a:pPr marL="0" marR="0" lvl="0" indent="0" algn="ctr" defTabSz="914400" rtl="0" eaLnBrk="1" fontAlgn="auto" latinLnBrk="0" hangingPunct="1">
                        <a:lnSpc>
                          <a:spcPct val="90000"/>
                        </a:lnSpc>
                        <a:spcBef>
                          <a:spcPts val="0"/>
                        </a:spcBef>
                        <a:spcAft>
                          <a:spcPts val="0"/>
                        </a:spcAft>
                        <a:buClrTx/>
                        <a:buSzTx/>
                        <a:buFontTx/>
                        <a:buNone/>
                        <a:tabLst/>
                        <a:defRPr/>
                      </a:pPr>
                      <a:endParaRPr lang="tr-TR" sz="1600" b="0">
                        <a:solidFill>
                          <a:schemeClr val="tx1"/>
                        </a:solidFill>
                      </a:endParaRPr>
                    </a:p>
                    <a:p>
                      <a:pPr marL="0" marR="0" lvl="0" indent="0" algn="ctr" defTabSz="914400" rtl="0" eaLnBrk="1" fontAlgn="auto" latinLnBrk="0" hangingPunct="1">
                        <a:lnSpc>
                          <a:spcPct val="90000"/>
                        </a:lnSpc>
                        <a:spcBef>
                          <a:spcPts val="0"/>
                        </a:spcBef>
                        <a:spcAft>
                          <a:spcPts val="0"/>
                        </a:spcAft>
                        <a:buClrTx/>
                        <a:buSzTx/>
                        <a:buFontTx/>
                        <a:buNone/>
                        <a:tabLst/>
                        <a:defRPr/>
                      </a:pPr>
                      <a:r>
                        <a:rPr lang="tr-TR" sz="1600" b="0" err="1">
                          <a:solidFill>
                            <a:schemeClr val="tx1"/>
                          </a:solidFill>
                        </a:rPr>
                        <a:t>Immunsuprese</a:t>
                      </a:r>
                      <a:r>
                        <a:rPr lang="tr-TR" sz="1600" b="0">
                          <a:solidFill>
                            <a:schemeClr val="tx1"/>
                          </a:solidFill>
                        </a:rPr>
                        <a:t> durum varsa:</a:t>
                      </a:r>
                    </a:p>
                    <a:p>
                      <a:pPr marL="0" marR="0" lvl="0" indent="0" algn="ctr" defTabSz="914400" rtl="0" eaLnBrk="1" fontAlgn="auto" latinLnBrk="0" hangingPunct="1">
                        <a:lnSpc>
                          <a:spcPct val="90000"/>
                        </a:lnSpc>
                        <a:spcBef>
                          <a:spcPts val="0"/>
                        </a:spcBef>
                        <a:spcAft>
                          <a:spcPts val="0"/>
                        </a:spcAft>
                        <a:buClrTx/>
                        <a:buSzTx/>
                        <a:buFontTx/>
                        <a:buNone/>
                        <a:tabLst/>
                        <a:defRPr/>
                      </a:pPr>
                      <a:r>
                        <a:rPr lang="tr-TR" sz="1600" b="0">
                          <a:solidFill>
                            <a:schemeClr val="tx1"/>
                          </a:solidFill>
                        </a:rPr>
                        <a:t>En az 5 yıl sonra </a:t>
                      </a:r>
                    </a:p>
                    <a:p>
                      <a:pPr marL="0" marR="0" lvl="0" indent="0" algn="ctr" defTabSz="914400" rtl="0" eaLnBrk="1" fontAlgn="auto" latinLnBrk="0" hangingPunct="1">
                        <a:lnSpc>
                          <a:spcPct val="90000"/>
                        </a:lnSpc>
                        <a:spcBef>
                          <a:spcPts val="0"/>
                        </a:spcBef>
                        <a:spcAft>
                          <a:spcPts val="0"/>
                        </a:spcAft>
                        <a:buClrTx/>
                        <a:buSzTx/>
                        <a:buFontTx/>
                        <a:buNone/>
                        <a:tabLst/>
                        <a:defRPr/>
                      </a:pPr>
                      <a:r>
                        <a:rPr lang="tr-TR" sz="1600" b="0">
                          <a:solidFill>
                            <a:schemeClr val="tx1"/>
                          </a:solidFill>
                        </a:rPr>
                        <a:t>KPA20</a:t>
                      </a:r>
                      <a:endParaRPr lang="en-US" sz="1600" b="0">
                        <a:solidFill>
                          <a:schemeClr val="tx1"/>
                        </a:solidFill>
                      </a:endParaRPr>
                    </a:p>
                  </a:txBody>
                  <a:tcPr marL="51422" marR="51422" marT="25711" marB="25711"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600" b="0" dirty="0">
                          <a:solidFill>
                            <a:schemeClr val="tx1"/>
                          </a:solidFill>
                        </a:rPr>
                        <a:t>PP</a:t>
                      </a:r>
                      <a:r>
                        <a:rPr lang="en-US" sz="1600" b="0" dirty="0">
                          <a:solidFill>
                            <a:schemeClr val="tx1"/>
                          </a:solidFill>
                        </a:rPr>
                        <a:t>S</a:t>
                      </a:r>
                      <a:r>
                        <a:rPr lang="tr-TR" sz="1600" b="0" dirty="0">
                          <a:solidFill>
                            <a:schemeClr val="tx1"/>
                          </a:solidFill>
                        </a:rPr>
                        <a:t>A23 65 yaşından önce uygulandıysa:</a:t>
                      </a:r>
                    </a:p>
                    <a:p>
                      <a:pPr marL="0" marR="0" lvl="0" indent="0" algn="ctr" defTabSz="914400" rtl="0" eaLnBrk="1" fontAlgn="auto" latinLnBrk="0" hangingPunct="1">
                        <a:lnSpc>
                          <a:spcPct val="100000"/>
                        </a:lnSpc>
                        <a:spcBef>
                          <a:spcPts val="0"/>
                        </a:spcBef>
                        <a:spcAft>
                          <a:spcPts val="0"/>
                        </a:spcAft>
                        <a:buClrTx/>
                        <a:buSzTx/>
                        <a:buFontTx/>
                        <a:buNone/>
                        <a:tabLst/>
                        <a:defRPr/>
                      </a:pPr>
                      <a:r>
                        <a:rPr lang="tr-TR" sz="1600" b="0" dirty="0">
                          <a:solidFill>
                            <a:schemeClr val="tx1"/>
                          </a:solidFill>
                        </a:rPr>
                        <a:t>En az 5 yıl sonra </a:t>
                      </a:r>
                    </a:p>
                    <a:p>
                      <a:pPr marL="0" marR="0" lvl="0" indent="0" algn="ctr" defTabSz="914400" rtl="0" eaLnBrk="1" fontAlgn="auto" latinLnBrk="0" hangingPunct="1">
                        <a:lnSpc>
                          <a:spcPct val="100000"/>
                        </a:lnSpc>
                        <a:spcBef>
                          <a:spcPts val="0"/>
                        </a:spcBef>
                        <a:spcAft>
                          <a:spcPts val="0"/>
                        </a:spcAft>
                        <a:buClrTx/>
                        <a:buSzTx/>
                        <a:buFontTx/>
                        <a:buNone/>
                        <a:tabLst/>
                        <a:defRPr/>
                      </a:pPr>
                      <a:r>
                        <a:rPr lang="tr-TR" sz="1600" b="0" dirty="0">
                          <a:solidFill>
                            <a:schemeClr val="tx1"/>
                          </a:solidFill>
                        </a:rPr>
                        <a:t>KPA20</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tr-TR" sz="1600" b="0" dirty="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tr-TR" sz="1600" b="0" dirty="0">
                          <a:solidFill>
                            <a:schemeClr val="tx1"/>
                          </a:solidFill>
                        </a:rPr>
                        <a:t>PP</a:t>
                      </a:r>
                      <a:r>
                        <a:rPr lang="en-US" sz="1600" b="0" dirty="0">
                          <a:solidFill>
                            <a:schemeClr val="tx1"/>
                          </a:solidFill>
                        </a:rPr>
                        <a:t>S</a:t>
                      </a:r>
                      <a:r>
                        <a:rPr lang="tr-TR" sz="1600" b="0" dirty="0">
                          <a:solidFill>
                            <a:schemeClr val="tx1"/>
                          </a:solidFill>
                        </a:rPr>
                        <a:t>A23 65 yaşından sonra uygulandıysa:</a:t>
                      </a:r>
                    </a:p>
                    <a:p>
                      <a:pPr marL="0" marR="0" lvl="0" indent="0" algn="ctr" defTabSz="914400" rtl="0" eaLnBrk="1" fontAlgn="auto" latinLnBrk="0" hangingPunct="1">
                        <a:lnSpc>
                          <a:spcPct val="100000"/>
                        </a:lnSpc>
                        <a:spcBef>
                          <a:spcPts val="0"/>
                        </a:spcBef>
                        <a:spcAft>
                          <a:spcPts val="0"/>
                        </a:spcAft>
                        <a:buClrTx/>
                        <a:buSzTx/>
                        <a:buFontTx/>
                        <a:buNone/>
                        <a:tabLst/>
                        <a:defRPr/>
                      </a:pPr>
                      <a:r>
                        <a:rPr lang="tr-TR" sz="1600" b="0" dirty="0">
                          <a:solidFill>
                            <a:schemeClr val="tx1"/>
                          </a:solidFill>
                        </a:rPr>
                        <a:t>Hekim kararı</a:t>
                      </a:r>
                    </a:p>
                  </a:txBody>
                  <a:tcPr marL="51435" marR="51435" marT="25718" marB="25718"/>
                </a:tc>
                <a:extLst>
                  <a:ext uri="{0D108BD9-81ED-4DB2-BD59-A6C34878D82A}">
                    <a16:rowId xmlns:a16="http://schemas.microsoft.com/office/drawing/2014/main" val="528274088"/>
                  </a:ext>
                </a:extLst>
              </a:tr>
            </a:tbl>
          </a:graphicData>
        </a:graphic>
      </p:graphicFrame>
      <p:sp>
        <p:nvSpPr>
          <p:cNvPr id="9" name="TextBox 8">
            <a:extLst>
              <a:ext uri="{FF2B5EF4-FFF2-40B4-BE49-F238E27FC236}">
                <a16:creationId xmlns:a16="http://schemas.microsoft.com/office/drawing/2014/main" id="{E51CC81A-2099-50F4-6310-AD86458D4C7D}"/>
              </a:ext>
            </a:extLst>
          </p:cNvPr>
          <p:cNvSpPr txBox="1"/>
          <p:nvPr/>
        </p:nvSpPr>
        <p:spPr bwMode="gray">
          <a:xfrm>
            <a:off x="612775" y="5817607"/>
            <a:ext cx="7349384" cy="269080"/>
          </a:xfrm>
          <a:prstGeom prst="rect">
            <a:avLst/>
          </a:prstGeom>
        </p:spPr>
        <p:txBody>
          <a:bodyPr wrap="square" lIns="34290" tIns="34290" rIns="34290" bIns="34290" rtlCol="0">
            <a:noAutofit/>
          </a:bodyPr>
          <a:lstStyle/>
          <a:p>
            <a:pPr>
              <a:lnSpc>
                <a:spcPct val="90000"/>
              </a:lnSpc>
              <a:spcBef>
                <a:spcPts val="750"/>
              </a:spcBef>
            </a:pPr>
            <a:r>
              <a:rPr lang="tr-TR" sz="600">
                <a:solidFill>
                  <a:schemeClr val="bg1">
                    <a:lumMod val="50000"/>
                  </a:schemeClr>
                </a:solidFill>
                <a:latin typeface="Arial" panose="020B0604020202020204" pitchFamily="34" charset="0"/>
              </a:rPr>
              <a:t>  A</a:t>
            </a:r>
            <a:r>
              <a:rPr lang="en-US" sz="600">
                <a:solidFill>
                  <a:schemeClr val="bg1">
                    <a:lumMod val="50000"/>
                  </a:schemeClr>
                </a:solidFill>
                <a:latin typeface="Arial" panose="020B0604020202020204" pitchFamily="34" charset="0"/>
              </a:rPr>
              <a:t>CIP</a:t>
            </a:r>
            <a:r>
              <a:rPr lang="tr-TR" sz="600">
                <a:solidFill>
                  <a:schemeClr val="bg1">
                    <a:lumMod val="50000"/>
                  </a:schemeClr>
                </a:solidFill>
                <a:latin typeface="Arial" panose="020B0604020202020204" pitchFamily="34" charset="0"/>
              </a:rPr>
              <a:t>=</a:t>
            </a:r>
            <a:r>
              <a:rPr lang="en-US" sz="600">
                <a:solidFill>
                  <a:schemeClr val="bg1">
                    <a:lumMod val="50000"/>
                  </a:schemeClr>
                </a:solidFill>
                <a:latin typeface="Arial" panose="020B0604020202020204" pitchFamily="34" charset="0"/>
              </a:rPr>
              <a:t> </a:t>
            </a:r>
            <a:r>
              <a:rPr lang="en-US" sz="600" err="1">
                <a:solidFill>
                  <a:schemeClr val="bg1">
                    <a:lumMod val="50000"/>
                  </a:schemeClr>
                </a:solidFill>
                <a:latin typeface="Arial" panose="020B0604020202020204" pitchFamily="34" charset="0"/>
              </a:rPr>
              <a:t>Bağışıklama</a:t>
            </a:r>
            <a:r>
              <a:rPr lang="en-US" sz="600">
                <a:solidFill>
                  <a:schemeClr val="bg1">
                    <a:lumMod val="50000"/>
                  </a:schemeClr>
                </a:solidFill>
                <a:latin typeface="Arial" panose="020B0604020202020204" pitchFamily="34" charset="0"/>
              </a:rPr>
              <a:t> </a:t>
            </a:r>
            <a:r>
              <a:rPr lang="en-US" sz="600" err="1">
                <a:solidFill>
                  <a:schemeClr val="bg1">
                    <a:lumMod val="50000"/>
                  </a:schemeClr>
                </a:solidFill>
                <a:latin typeface="Arial" panose="020B0604020202020204" pitchFamily="34" charset="0"/>
              </a:rPr>
              <a:t>Uygulamaları</a:t>
            </a:r>
            <a:r>
              <a:rPr lang="en-US" sz="600">
                <a:solidFill>
                  <a:schemeClr val="bg1">
                    <a:lumMod val="50000"/>
                  </a:schemeClr>
                </a:solidFill>
                <a:latin typeface="Arial" panose="020B0604020202020204" pitchFamily="34" charset="0"/>
              </a:rPr>
              <a:t> </a:t>
            </a:r>
            <a:r>
              <a:rPr lang="en-US" sz="600" err="1">
                <a:solidFill>
                  <a:schemeClr val="bg1">
                    <a:lumMod val="50000"/>
                  </a:schemeClr>
                </a:solidFill>
                <a:latin typeface="Arial" panose="020B0604020202020204" pitchFamily="34" charset="0"/>
              </a:rPr>
              <a:t>Danışma</a:t>
            </a:r>
            <a:r>
              <a:rPr lang="en-US" sz="600">
                <a:solidFill>
                  <a:schemeClr val="bg1">
                    <a:lumMod val="50000"/>
                  </a:schemeClr>
                </a:solidFill>
                <a:latin typeface="Arial" panose="020B0604020202020204" pitchFamily="34" charset="0"/>
              </a:rPr>
              <a:t> </a:t>
            </a:r>
            <a:r>
              <a:rPr lang="en-US" sz="600" err="1">
                <a:solidFill>
                  <a:schemeClr val="bg1">
                    <a:lumMod val="50000"/>
                  </a:schemeClr>
                </a:solidFill>
                <a:latin typeface="Arial" panose="020B0604020202020204" pitchFamily="34" charset="0"/>
              </a:rPr>
              <a:t>Kurulu</a:t>
            </a:r>
            <a:r>
              <a:rPr lang="tr-TR" sz="600">
                <a:solidFill>
                  <a:schemeClr val="bg1">
                    <a:lumMod val="50000"/>
                  </a:schemeClr>
                </a:solidFill>
                <a:latin typeface="Arial" panose="020B0604020202020204" pitchFamily="34" charset="0"/>
              </a:rPr>
              <a:t>; </a:t>
            </a:r>
            <a:r>
              <a:rPr lang="en-US" sz="600">
                <a:solidFill>
                  <a:schemeClr val="bg1">
                    <a:lumMod val="50000"/>
                  </a:schemeClr>
                </a:solidFill>
                <a:latin typeface="Arial" panose="020B0604020202020204" pitchFamily="34" charset="0"/>
              </a:rPr>
              <a:t>KPA</a:t>
            </a:r>
            <a:r>
              <a:rPr lang="tr-TR" sz="600">
                <a:solidFill>
                  <a:schemeClr val="bg1">
                    <a:lumMod val="50000"/>
                  </a:schemeClr>
                </a:solidFill>
                <a:latin typeface="Arial" panose="020B0604020202020204" pitchFamily="34" charset="0"/>
              </a:rPr>
              <a:t>=</a:t>
            </a:r>
            <a:r>
              <a:rPr lang="en-US" sz="600">
                <a:solidFill>
                  <a:schemeClr val="bg1">
                    <a:lumMod val="50000"/>
                  </a:schemeClr>
                </a:solidFill>
                <a:latin typeface="Arial" panose="020B0604020202020204" pitchFamily="34" charset="0"/>
              </a:rPr>
              <a:t> </a:t>
            </a:r>
            <a:r>
              <a:rPr lang="en-US" sz="600" err="1">
                <a:solidFill>
                  <a:schemeClr val="bg1">
                    <a:lumMod val="50000"/>
                  </a:schemeClr>
                </a:solidFill>
                <a:latin typeface="Arial" panose="020B0604020202020204" pitchFamily="34" charset="0"/>
              </a:rPr>
              <a:t>Konjüge</a:t>
            </a:r>
            <a:r>
              <a:rPr lang="en-US" sz="600">
                <a:solidFill>
                  <a:schemeClr val="bg1">
                    <a:lumMod val="50000"/>
                  </a:schemeClr>
                </a:solidFill>
                <a:latin typeface="Arial" panose="020B0604020202020204" pitchFamily="34" charset="0"/>
              </a:rPr>
              <a:t> </a:t>
            </a:r>
            <a:r>
              <a:rPr lang="en-US" sz="600" err="1">
                <a:solidFill>
                  <a:schemeClr val="bg1">
                    <a:lumMod val="50000"/>
                  </a:schemeClr>
                </a:solidFill>
                <a:latin typeface="Arial" panose="020B0604020202020204" pitchFamily="34" charset="0"/>
              </a:rPr>
              <a:t>Pnömok</a:t>
            </a:r>
            <a:r>
              <a:rPr lang="en-US" sz="600">
                <a:solidFill>
                  <a:schemeClr val="bg1">
                    <a:lumMod val="50000"/>
                  </a:schemeClr>
                </a:solidFill>
                <a:latin typeface="Arial" panose="020B0604020202020204" pitchFamily="34" charset="0"/>
              </a:rPr>
              <a:t> </a:t>
            </a:r>
            <a:r>
              <a:rPr lang="en-US" sz="600" err="1">
                <a:solidFill>
                  <a:schemeClr val="bg1">
                    <a:lumMod val="50000"/>
                  </a:schemeClr>
                </a:solidFill>
                <a:latin typeface="Arial" panose="020B0604020202020204" pitchFamily="34" charset="0"/>
              </a:rPr>
              <a:t>aşısı</a:t>
            </a:r>
            <a:r>
              <a:rPr lang="en-US" sz="600">
                <a:solidFill>
                  <a:schemeClr val="bg1">
                    <a:lumMod val="50000"/>
                  </a:schemeClr>
                </a:solidFill>
                <a:latin typeface="Arial" panose="020B0604020202020204" pitchFamily="34" charset="0"/>
              </a:rPr>
              <a:t>, PPSA</a:t>
            </a:r>
            <a:r>
              <a:rPr lang="tr-TR" sz="600">
                <a:solidFill>
                  <a:schemeClr val="bg1">
                    <a:lumMod val="50000"/>
                  </a:schemeClr>
                </a:solidFill>
                <a:latin typeface="Arial" panose="020B0604020202020204" pitchFamily="34" charset="0"/>
              </a:rPr>
              <a:t>=</a:t>
            </a:r>
            <a:r>
              <a:rPr lang="en-US" sz="600" err="1">
                <a:solidFill>
                  <a:schemeClr val="bg1">
                    <a:lumMod val="50000"/>
                  </a:schemeClr>
                </a:solidFill>
                <a:latin typeface="Arial" panose="020B0604020202020204" pitchFamily="34" charset="0"/>
              </a:rPr>
              <a:t>Pnömokokal</a:t>
            </a:r>
            <a:r>
              <a:rPr lang="en-US" sz="600">
                <a:solidFill>
                  <a:schemeClr val="bg1">
                    <a:lumMod val="50000"/>
                  </a:schemeClr>
                </a:solidFill>
                <a:latin typeface="Arial" panose="020B0604020202020204" pitchFamily="34" charset="0"/>
              </a:rPr>
              <a:t> </a:t>
            </a:r>
            <a:r>
              <a:rPr lang="en-US" sz="600" err="1">
                <a:solidFill>
                  <a:schemeClr val="bg1">
                    <a:lumMod val="50000"/>
                  </a:schemeClr>
                </a:solidFill>
                <a:latin typeface="Arial" panose="020B0604020202020204" pitchFamily="34" charset="0"/>
              </a:rPr>
              <a:t>Polisakkarit</a:t>
            </a:r>
            <a:r>
              <a:rPr lang="en-US" sz="600">
                <a:solidFill>
                  <a:schemeClr val="bg1">
                    <a:lumMod val="50000"/>
                  </a:schemeClr>
                </a:solidFill>
                <a:latin typeface="Arial" panose="020B0604020202020204" pitchFamily="34" charset="0"/>
              </a:rPr>
              <a:t> </a:t>
            </a:r>
            <a:r>
              <a:rPr lang="en-US" sz="600" err="1">
                <a:solidFill>
                  <a:schemeClr val="bg1">
                    <a:lumMod val="50000"/>
                  </a:schemeClr>
                </a:solidFill>
                <a:latin typeface="Arial" panose="020B0604020202020204" pitchFamily="34" charset="0"/>
              </a:rPr>
              <a:t>Aşı</a:t>
            </a:r>
            <a:endParaRPr lang="en-US" sz="600">
              <a:solidFill>
                <a:schemeClr val="bg1">
                  <a:lumMod val="50000"/>
                </a:schemeClr>
              </a:solidFill>
            </a:endParaRPr>
          </a:p>
        </p:txBody>
      </p:sp>
      <p:pic>
        <p:nvPicPr>
          <p:cNvPr id="4" name="Picture 3" descr="A yellow and blue logo&#10;&#10;Description automatically generated">
            <a:extLst>
              <a:ext uri="{FF2B5EF4-FFF2-40B4-BE49-F238E27FC236}">
                <a16:creationId xmlns:a16="http://schemas.microsoft.com/office/drawing/2014/main" id="{4BCED521-F788-A71B-D2F4-31069172D8A5}"/>
              </a:ext>
            </a:extLst>
          </p:cNvPr>
          <p:cNvPicPr>
            <a:picLocks noChangeAspect="1"/>
          </p:cNvPicPr>
          <p:nvPr/>
        </p:nvPicPr>
        <p:blipFill>
          <a:blip r:embed="rId5">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2728477213"/>
      </p:ext>
    </p:extLst>
  </p:cSld>
  <p:clrMapOvr>
    <a:masterClrMapping/>
  </p:clrMapOvr>
  <p:extLst>
    <p:ext uri="{6950BFC3-D8DA-4A85-94F7-54DA5524770B}">
      <p188:commentRel xmlns:p188="http://schemas.microsoft.com/office/powerpoint/2018/8/main" r:id="rId3"/>
    </p:ext>
  </p:extLs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CB963-6087-FC4C-4A2A-DA9B1FDBB682}"/>
            </a:ext>
          </a:extLst>
        </p:cNvPr>
        <p:cNvGrpSpPr/>
        <p:nvPr/>
      </p:nvGrpSpPr>
      <p:grpSpPr>
        <a:xfrm>
          <a:off x="0" y="0"/>
          <a:ext cx="0" cy="0"/>
          <a:chOff x="0" y="0"/>
          <a:chExt cx="0" cy="0"/>
        </a:xfrm>
      </p:grpSpPr>
      <p:pic>
        <p:nvPicPr>
          <p:cNvPr id="4" name="Picture 3" descr="A black and blue logo&#10;&#10;AI-generated content may be incorrect.">
            <a:extLst>
              <a:ext uri="{FF2B5EF4-FFF2-40B4-BE49-F238E27FC236}">
                <a16:creationId xmlns:a16="http://schemas.microsoft.com/office/drawing/2014/main" id="{6005B248-7A7E-C789-EC85-868FC4DFA442}"/>
              </a:ext>
            </a:extLst>
          </p:cNvPr>
          <p:cNvPicPr>
            <a:picLocks noChangeAspect="1"/>
          </p:cNvPicPr>
          <p:nvPr/>
        </p:nvPicPr>
        <p:blipFill>
          <a:blip r:embed="rId2"/>
          <a:stretch>
            <a:fillRect/>
          </a:stretch>
        </p:blipFill>
        <p:spPr>
          <a:xfrm>
            <a:off x="4350486" y="2913274"/>
            <a:ext cx="4958544" cy="1031452"/>
          </a:xfrm>
          <a:prstGeom prst="rect">
            <a:avLst/>
          </a:prstGeom>
        </p:spPr>
      </p:pic>
    </p:spTree>
    <p:extLst>
      <p:ext uri="{BB962C8B-B14F-4D97-AF65-F5344CB8AC3E}">
        <p14:creationId xmlns:p14="http://schemas.microsoft.com/office/powerpoint/2010/main" val="47368503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F869C0-0A60-042F-3DFA-0E4D1090A284}"/>
              </a:ext>
            </a:extLst>
          </p:cNvPr>
          <p:cNvSpPr/>
          <p:nvPr/>
        </p:nvSpPr>
        <p:spPr>
          <a:xfrm>
            <a:off x="613153" y="2962275"/>
            <a:ext cx="7502148" cy="695325"/>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2" name="Title 1"/>
          <p:cNvSpPr>
            <a:spLocks noGrp="1"/>
          </p:cNvSpPr>
          <p:nvPr>
            <p:ph type="title"/>
          </p:nvPr>
        </p:nvSpPr>
        <p:spPr/>
        <p:txBody>
          <a:bodyPr/>
          <a:lstStyle/>
          <a:p>
            <a:r>
              <a:rPr lang="tr-TR"/>
              <a:t>RSV Aşıları - Genel Bakış</a:t>
            </a:r>
          </a:p>
        </p:txBody>
      </p:sp>
      <p:sp>
        <p:nvSpPr>
          <p:cNvPr id="3" name="Content Placeholder 2"/>
          <p:cNvSpPr>
            <a:spLocks noGrp="1"/>
          </p:cNvSpPr>
          <p:nvPr>
            <p:ph idx="4294967295"/>
          </p:nvPr>
        </p:nvSpPr>
        <p:spPr>
          <a:xfrm>
            <a:off x="723900" y="1344613"/>
            <a:ext cx="9791700" cy="4351337"/>
          </a:xfrm>
        </p:spPr>
        <p:txBody>
          <a:bodyPr anchor="ctr">
            <a:normAutofit/>
          </a:bodyPr>
          <a:lstStyle/>
          <a:p>
            <a:pPr>
              <a:lnSpc>
                <a:spcPct val="200000"/>
              </a:lnSpc>
            </a:pPr>
            <a:r>
              <a:rPr lang="tr-TR" sz="2400" b="1" dirty="0"/>
              <a:t>Abrysvo (Pfizer): Prefüzyon F proteini, bivalan.</a:t>
            </a:r>
          </a:p>
          <a:p>
            <a:pPr>
              <a:lnSpc>
                <a:spcPct val="200000"/>
              </a:lnSpc>
            </a:pPr>
            <a:r>
              <a:rPr lang="tr-TR" sz="1800" dirty="0"/>
              <a:t>Arexvy (GSK): Prefüzyon F + AS01E adjuvanı.</a:t>
            </a:r>
          </a:p>
        </p:txBody>
      </p:sp>
      <p:pic>
        <p:nvPicPr>
          <p:cNvPr id="9" name="Picture 8" descr="A black and blue logo&#10;&#10;AI-generated content may be incorrect.">
            <a:extLst>
              <a:ext uri="{FF2B5EF4-FFF2-40B4-BE49-F238E27FC236}">
                <a16:creationId xmlns:a16="http://schemas.microsoft.com/office/drawing/2014/main" id="{B3281C09-F1BF-3F86-28CE-5F58E91C9610}"/>
              </a:ext>
            </a:extLst>
          </p:cNvPr>
          <p:cNvPicPr>
            <a:picLocks noChangeAspect="1"/>
          </p:cNvPicPr>
          <p:nvPr/>
        </p:nvPicPr>
        <p:blipFill>
          <a:blip r:embed="rId2"/>
          <a:stretch>
            <a:fillRect/>
          </a:stretch>
        </p:blipFill>
        <p:spPr>
          <a:xfrm>
            <a:off x="10371153" y="6494969"/>
            <a:ext cx="981021" cy="204067"/>
          </a:xfrm>
          <a:prstGeom prst="rect">
            <a:avLst/>
          </a:prstGeom>
        </p:spPr>
      </p:pic>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ABC18-AB0E-9148-3F04-F3199913DD4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A17BE4-0230-D794-4D93-FDF161030E4B}"/>
              </a:ext>
            </a:extLst>
          </p:cNvPr>
          <p:cNvSpPr>
            <a:spLocks noGrp="1"/>
          </p:cNvSpPr>
          <p:nvPr>
            <p:ph type="title"/>
          </p:nvPr>
        </p:nvSpPr>
        <p:spPr>
          <a:xfrm>
            <a:off x="613152" y="221942"/>
            <a:ext cx="10969218" cy="815898"/>
          </a:xfrm>
        </p:spPr>
        <p:txBody>
          <a:bodyPr anchor="ctr">
            <a:normAutofit fontScale="90000"/>
          </a:bodyPr>
          <a:lstStyle/>
          <a:p>
            <a:r>
              <a:rPr lang="en-US" sz="3200" dirty="0"/>
              <a:t>RSV F </a:t>
            </a:r>
            <a:r>
              <a:rPr lang="en-US" sz="3200" dirty="0" err="1"/>
              <a:t>proteini</a:t>
            </a:r>
            <a:r>
              <a:rPr lang="en-US" sz="3200" dirty="0"/>
              <a:t>, viral </a:t>
            </a:r>
            <a:r>
              <a:rPr lang="en-US" sz="3200" dirty="0" err="1"/>
              <a:t>giriş</a:t>
            </a:r>
            <a:r>
              <a:rPr lang="en-US" sz="3200" dirty="0"/>
              <a:t> </a:t>
            </a:r>
            <a:r>
              <a:rPr lang="en-US" sz="3200" dirty="0" err="1"/>
              <a:t>sırasında</a:t>
            </a:r>
            <a:r>
              <a:rPr lang="en-US" sz="3200" dirty="0"/>
              <a:t> </a:t>
            </a:r>
            <a:r>
              <a:rPr lang="en-US" sz="3200" dirty="0" err="1"/>
              <a:t>virüsün</a:t>
            </a:r>
            <a:r>
              <a:rPr lang="en-US" sz="3200" dirty="0"/>
              <a:t> konak </a:t>
            </a:r>
            <a:r>
              <a:rPr lang="en-US" sz="3200" dirty="0" err="1"/>
              <a:t>hücreye</a:t>
            </a:r>
            <a:r>
              <a:rPr lang="en-US" sz="3200" dirty="0"/>
              <a:t> </a:t>
            </a:r>
            <a:r>
              <a:rPr lang="en-US" sz="3200" dirty="0" err="1"/>
              <a:t>füzyonuna</a:t>
            </a:r>
            <a:r>
              <a:rPr lang="en-US" sz="3200" dirty="0"/>
              <a:t> </a:t>
            </a:r>
            <a:r>
              <a:rPr lang="en-US" sz="3200" dirty="0" err="1"/>
              <a:t>aracılık</a:t>
            </a:r>
            <a:r>
              <a:rPr lang="en-US" sz="3200" dirty="0"/>
              <a:t> </a:t>
            </a:r>
            <a:r>
              <a:rPr lang="en-US" sz="3200" dirty="0" err="1"/>
              <a:t>eder</a:t>
            </a:r>
            <a:r>
              <a:rPr lang="en-US" sz="3200" dirty="0"/>
              <a:t> </a:t>
            </a:r>
            <a:r>
              <a:rPr lang="en-US" sz="3200" dirty="0" err="1"/>
              <a:t>ve</a:t>
            </a:r>
            <a:r>
              <a:rPr lang="en-US" sz="3200" dirty="0"/>
              <a:t> </a:t>
            </a:r>
            <a:r>
              <a:rPr lang="en-US" sz="3200" dirty="0" err="1"/>
              <a:t>enfeksiyon</a:t>
            </a:r>
            <a:r>
              <a:rPr lang="en-US" sz="3200" dirty="0"/>
              <a:t> </a:t>
            </a:r>
            <a:r>
              <a:rPr lang="en-US" sz="3200" dirty="0" err="1"/>
              <a:t>için</a:t>
            </a:r>
            <a:r>
              <a:rPr lang="en-US" sz="3200" dirty="0"/>
              <a:t> </a:t>
            </a:r>
            <a:r>
              <a:rPr lang="en-US" sz="3200" dirty="0" err="1"/>
              <a:t>çok</a:t>
            </a:r>
            <a:r>
              <a:rPr lang="en-US" sz="3200" dirty="0"/>
              <a:t> </a:t>
            </a:r>
            <a:r>
              <a:rPr lang="en-US" sz="3200" dirty="0" err="1"/>
              <a:t>önemlidir</a:t>
            </a:r>
            <a:endParaRPr lang="tr-TR" sz="3200" dirty="0">
              <a:solidFill>
                <a:schemeClr val="bg1"/>
              </a:solidFill>
              <a:latin typeface="+mj-lt"/>
            </a:endParaRPr>
          </a:p>
        </p:txBody>
      </p:sp>
      <p:sp>
        <p:nvSpPr>
          <p:cNvPr id="3" name="Slide Number Placeholder 2">
            <a:extLst>
              <a:ext uri="{FF2B5EF4-FFF2-40B4-BE49-F238E27FC236}">
                <a16:creationId xmlns:a16="http://schemas.microsoft.com/office/drawing/2014/main" id="{C0C85849-AF25-9D35-DD4D-C0A34DA78AFC}"/>
              </a:ext>
            </a:extLst>
          </p:cNvPr>
          <p:cNvSpPr>
            <a:spLocks noGrp="1"/>
          </p:cNvSpPr>
          <p:nvPr>
            <p:ph type="sldNum" sz="quarter" idx="4"/>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2B39012A-6F33-204B-8224-A57BEFB0AAD0}" type="slidenum">
              <a:rPr kumimoji="0" lang="en-US" sz="700" b="1" i="0" u="none" strike="noStrike" kern="1200" cap="none" spc="0" normalizeH="0" baseline="0" noProof="0" smtClean="0">
                <a:ln>
                  <a:noFill/>
                </a:ln>
                <a:solidFill>
                  <a:srgbClr val="0000C9"/>
                </a:solidFill>
                <a:effectLst/>
                <a:uLnTx/>
                <a:uFillTx/>
                <a:latin typeface="Pfizer Tomorrow"/>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78</a:t>
            </a:fld>
            <a:endParaRPr kumimoji="0" lang="en-US" sz="700" b="1" i="0" u="none" strike="noStrike" kern="1200" cap="none" spc="0" normalizeH="0" baseline="0" noProof="0">
              <a:ln>
                <a:noFill/>
              </a:ln>
              <a:solidFill>
                <a:srgbClr val="0000C9"/>
              </a:solidFill>
              <a:effectLst/>
              <a:uLnTx/>
              <a:uFillTx/>
              <a:latin typeface="Pfizer Tomorrow"/>
              <a:ea typeface="+mn-ea"/>
              <a:cs typeface="+mn-cs"/>
            </a:endParaRPr>
          </a:p>
        </p:txBody>
      </p:sp>
      <p:pic>
        <p:nvPicPr>
          <p:cNvPr id="11" name="Resim 6" descr="ekran görüntüsü, metin, diyagram, daire içeren bir resim&#10;&#10;Yapay zeka tarafından oluşturulmuş içerik yanlış olabilir.">
            <a:extLst>
              <a:ext uri="{FF2B5EF4-FFF2-40B4-BE49-F238E27FC236}">
                <a16:creationId xmlns:a16="http://schemas.microsoft.com/office/drawing/2014/main" id="{B79D5B38-F194-AF77-B7AD-902374CCD808}"/>
              </a:ext>
            </a:extLst>
          </p:cNvPr>
          <p:cNvPicPr>
            <a:picLocks noChangeAspect="1"/>
          </p:cNvPicPr>
          <p:nvPr/>
        </p:nvPicPr>
        <p:blipFill>
          <a:blip r:embed="rId2"/>
          <a:stretch>
            <a:fillRect/>
          </a:stretch>
        </p:blipFill>
        <p:spPr>
          <a:xfrm>
            <a:off x="856585" y="1382224"/>
            <a:ext cx="10478831" cy="4573548"/>
          </a:xfrm>
          <a:prstGeom prst="rect">
            <a:avLst/>
          </a:prstGeom>
        </p:spPr>
      </p:pic>
      <p:sp>
        <p:nvSpPr>
          <p:cNvPr id="12" name="Text Placeholder 10">
            <a:extLst>
              <a:ext uri="{FF2B5EF4-FFF2-40B4-BE49-F238E27FC236}">
                <a16:creationId xmlns:a16="http://schemas.microsoft.com/office/drawing/2014/main" id="{5D4A27D8-B10F-04E1-86EF-2C3C331CD9B2}"/>
              </a:ext>
            </a:extLst>
          </p:cNvPr>
          <p:cNvSpPr txBox="1">
            <a:spLocks/>
          </p:cNvSpPr>
          <p:nvPr/>
        </p:nvSpPr>
        <p:spPr>
          <a:xfrm>
            <a:off x="613152" y="5955772"/>
            <a:ext cx="7825511" cy="3587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Pfizer Tomorrow" panose="02010503040201060303" pitchFamily="50" charset="0"/>
                <a:ea typeface="+mn-ea"/>
                <a:cs typeface="Calibri" panose="020F0502020204030204" pitchFamily="34" charset="0"/>
              </a:rPr>
              <a:t>Jain H, Schweitzer JW, Justice NA. </a:t>
            </a:r>
            <a:r>
              <a:rPr kumimoji="0" lang="en-US" sz="800" b="0" i="0" u="none" strike="noStrike" kern="1200" cap="none" spc="0" normalizeH="0" baseline="0" noProof="0" dirty="0">
                <a:ln>
                  <a:noFill/>
                </a:ln>
                <a:solidFill>
                  <a:prstClr val="black"/>
                </a:solidFill>
                <a:effectLst/>
                <a:uLnTx/>
                <a:uFillTx/>
                <a:latin typeface="Pfizer Tomorrow" panose="02010503040201060303" pitchFamily="50" charset="0"/>
                <a:ea typeface="+mn-ea"/>
                <a:cs typeface="Calibri" panose="020F0502020204030204" pitchFamily="34" charset="0"/>
              </a:rPr>
              <a:t>Respiratory Syncytial Virus Infection in Children. [Updated 2023 Jun 20]. In: </a:t>
            </a:r>
            <a:r>
              <a:rPr kumimoji="0" lang="en-US" sz="800" b="0" i="0" u="none" strike="noStrike" kern="1200" cap="none" spc="0" normalizeH="0" baseline="0" noProof="0" dirty="0" err="1">
                <a:ln>
                  <a:noFill/>
                </a:ln>
                <a:solidFill>
                  <a:prstClr val="black"/>
                </a:solidFill>
                <a:effectLst/>
                <a:uLnTx/>
                <a:uFillTx/>
                <a:latin typeface="Pfizer Tomorrow" panose="02010503040201060303" pitchFamily="50" charset="0"/>
                <a:ea typeface="+mn-ea"/>
                <a:cs typeface="Calibri" panose="020F0502020204030204" pitchFamily="34" charset="0"/>
              </a:rPr>
              <a:t>StatPearls</a:t>
            </a:r>
            <a:r>
              <a:rPr kumimoji="0" lang="en-US" sz="800" b="0" i="0" u="none" strike="noStrike" kern="1200" cap="none" spc="0" normalizeH="0" baseline="0" noProof="0" dirty="0">
                <a:ln>
                  <a:noFill/>
                </a:ln>
                <a:solidFill>
                  <a:prstClr val="black"/>
                </a:solidFill>
                <a:effectLst/>
                <a:uLnTx/>
                <a:uFillTx/>
                <a:latin typeface="Pfizer Tomorrow" panose="02010503040201060303" pitchFamily="50" charset="0"/>
                <a:ea typeface="+mn-ea"/>
                <a:cs typeface="Calibri" panose="020F0502020204030204" pitchFamily="34" charset="0"/>
              </a:rPr>
              <a:t> [Internet]. Treasure Island (FL): </a:t>
            </a:r>
            <a:r>
              <a:rPr kumimoji="0" lang="en-US" sz="800" b="0" i="0" u="none" strike="noStrike" kern="1200" cap="none" spc="0" normalizeH="0" baseline="0" noProof="0" dirty="0" err="1">
                <a:ln>
                  <a:noFill/>
                </a:ln>
                <a:solidFill>
                  <a:prstClr val="black"/>
                </a:solidFill>
                <a:effectLst/>
                <a:uLnTx/>
                <a:uFillTx/>
                <a:latin typeface="Pfizer Tomorrow" panose="02010503040201060303" pitchFamily="50" charset="0"/>
                <a:ea typeface="+mn-ea"/>
                <a:cs typeface="Calibri" panose="020F0502020204030204" pitchFamily="34" charset="0"/>
              </a:rPr>
              <a:t>StatPearls</a:t>
            </a:r>
            <a:r>
              <a:rPr kumimoji="0" lang="en-US" sz="800" b="0" i="0" u="none" strike="noStrike" kern="1200" cap="none" spc="0" normalizeH="0" baseline="0" noProof="0" dirty="0">
                <a:ln>
                  <a:noFill/>
                </a:ln>
                <a:solidFill>
                  <a:prstClr val="black"/>
                </a:solidFill>
                <a:effectLst/>
                <a:uLnTx/>
                <a:uFillTx/>
                <a:latin typeface="Pfizer Tomorrow" panose="02010503040201060303" pitchFamily="50" charset="0"/>
                <a:ea typeface="+mn-ea"/>
                <a:cs typeface="Calibri" panose="020F0502020204030204" pitchFamily="34" charset="0"/>
              </a:rPr>
              <a:t> Publishing; 2024 Jan-. Available from</a:t>
            </a:r>
            <a:r>
              <a:rPr kumimoji="0" lang="en-US" sz="800" b="1" i="0" u="none" strike="noStrike" kern="1200" cap="none" spc="0" normalizeH="0" baseline="0" noProof="0" dirty="0">
                <a:ln>
                  <a:noFill/>
                </a:ln>
                <a:solidFill>
                  <a:prstClr val="black"/>
                </a:solidFill>
                <a:effectLst/>
                <a:uLnTx/>
                <a:uFillTx/>
                <a:latin typeface="Pfizer Tomorrow" panose="02010503040201060303" pitchFamily="50" charset="0"/>
                <a:ea typeface="+mn-ea"/>
                <a:cs typeface="Calibri" panose="020F0502020204030204" pitchFamily="34" charset="0"/>
              </a:rPr>
              <a:t>: </a:t>
            </a:r>
            <a:r>
              <a:rPr kumimoji="0" lang="en-US" sz="800" b="1" i="0" u="none" strike="noStrike" kern="1200" cap="none" spc="0" normalizeH="0" baseline="0" noProof="0" dirty="0">
                <a:ln>
                  <a:noFill/>
                </a:ln>
                <a:solidFill>
                  <a:prstClr val="black"/>
                </a:solidFill>
                <a:effectLst/>
                <a:uLnTx/>
                <a:uFillTx/>
                <a:latin typeface="Pfizer Tomorrow" panose="02010503040201060303" pitchFamily="50" charset="0"/>
                <a:ea typeface="+mn-ea"/>
                <a:cs typeface="Calibri" panose="020F0502020204030204" pitchFamily="34" charset="0"/>
                <a:hlinkClick r:id="rId3"/>
              </a:rPr>
              <a:t>https://www.ncbi.nlm.nih.gov/books/NBK459215/</a:t>
            </a:r>
            <a:r>
              <a:rPr kumimoji="0" lang="en-US" sz="800" b="1" i="0" u="none" strike="noStrike" kern="1200" cap="none" spc="0" normalizeH="0" baseline="0" noProof="0" dirty="0">
                <a:ln>
                  <a:noFill/>
                </a:ln>
                <a:solidFill>
                  <a:prstClr val="black"/>
                </a:solidFill>
                <a:effectLst/>
                <a:uLnTx/>
                <a:uFillTx/>
                <a:latin typeface="Pfizer Tomorrow" panose="02010503040201060303" pitchFamily="50" charset="0"/>
                <a:ea typeface="+mn-ea"/>
                <a:cs typeface="Calibri" panose="020F0502020204030204" pitchFamily="34" charset="0"/>
              </a:rPr>
              <a:t>. </a:t>
            </a:r>
            <a:r>
              <a:rPr kumimoji="0" lang="en-US" sz="800" b="0" i="0" u="none" strike="noStrike" kern="1200" cap="none" spc="0" normalizeH="0" baseline="0" noProof="0" dirty="0">
                <a:ln>
                  <a:noFill/>
                </a:ln>
                <a:solidFill>
                  <a:prstClr val="black"/>
                </a:solidFill>
                <a:effectLst/>
                <a:uLnTx/>
                <a:uFillTx/>
                <a:latin typeface="Pfizer Tomorrow" panose="02010503040201060303" pitchFamily="50" charset="0"/>
                <a:ea typeface="+mn-ea"/>
                <a:cs typeface="Calibri" panose="020F0502020204030204" pitchFamily="34" charset="0"/>
              </a:rPr>
              <a:t>Accessed December 2, 2024. https://www.ncbi.nlm.nih.gov/books/NBK459215/. </a:t>
            </a:r>
            <a:r>
              <a:rPr kumimoji="0" lang="en-US" sz="800" b="1" i="0" u="none" strike="noStrike" kern="1200" cap="none" spc="0" normalizeH="0" baseline="0" noProof="0" dirty="0">
                <a:ln>
                  <a:noFill/>
                </a:ln>
                <a:solidFill>
                  <a:prstClr val="black"/>
                </a:solidFill>
                <a:effectLst/>
                <a:uLnTx/>
                <a:uFillTx/>
                <a:latin typeface="Pfizer Tomorrow" panose="02010503040201060303" pitchFamily="50" charset="0"/>
                <a:ea typeface="+mn-ea"/>
                <a:cs typeface="Calibri" panose="020F0502020204030204" pitchFamily="34" charset="0"/>
              </a:rPr>
              <a:t> Bergeron HC. </a:t>
            </a:r>
            <a:r>
              <a:rPr kumimoji="0" lang="en-US" sz="800" b="0" i="1" u="none" strike="noStrike" kern="1200" cap="none" spc="0" normalizeH="0" baseline="0" noProof="0" dirty="0">
                <a:ln>
                  <a:noFill/>
                </a:ln>
                <a:solidFill>
                  <a:prstClr val="black"/>
                </a:solidFill>
                <a:effectLst/>
                <a:uLnTx/>
                <a:uFillTx/>
                <a:latin typeface="Pfizer Tomorrow" panose="02010503040201060303" pitchFamily="50" charset="0"/>
                <a:ea typeface="+mn-ea"/>
                <a:cs typeface="Calibri" panose="020F0502020204030204" pitchFamily="34" charset="0"/>
              </a:rPr>
              <a:t>Viruses</a:t>
            </a:r>
            <a:r>
              <a:rPr kumimoji="0" lang="en-US" sz="800" b="0" i="0" u="none" strike="noStrike" kern="1200" cap="none" spc="0" normalizeH="0" baseline="0" noProof="0" dirty="0">
                <a:ln>
                  <a:noFill/>
                </a:ln>
                <a:solidFill>
                  <a:prstClr val="black"/>
                </a:solidFill>
                <a:effectLst/>
                <a:uLnTx/>
                <a:uFillTx/>
                <a:latin typeface="Pfizer Tomorrow" panose="02010503040201060303" pitchFamily="50" charset="0"/>
                <a:ea typeface="+mn-ea"/>
                <a:cs typeface="Calibri" panose="020F0502020204030204" pitchFamily="34" charset="0"/>
              </a:rPr>
              <a:t>.  2021;13:2478., </a:t>
            </a:r>
            <a:r>
              <a:rPr kumimoji="0" lang="en-US" sz="800" b="1" i="0" u="none" strike="noStrike" kern="1200" cap="none" spc="0" normalizeH="0" baseline="0" noProof="0" dirty="0">
                <a:ln>
                  <a:noFill/>
                </a:ln>
                <a:solidFill>
                  <a:prstClr val="black"/>
                </a:solidFill>
                <a:effectLst/>
                <a:uLnTx/>
                <a:uFillTx/>
                <a:latin typeface="Pfizer Tomorrow" panose="02010503040201060303" pitchFamily="50" charset="0"/>
                <a:ea typeface="+mn-ea"/>
                <a:cs typeface="Calibri" panose="020F0502020204030204" pitchFamily="34" charset="0"/>
              </a:rPr>
              <a:t>Jung HE, et al. </a:t>
            </a:r>
            <a:r>
              <a:rPr kumimoji="0" lang="en-US" sz="800" b="0" i="1" u="none" strike="noStrike" kern="1200" cap="none" spc="0" normalizeH="0" baseline="0" noProof="0" dirty="0">
                <a:ln>
                  <a:noFill/>
                </a:ln>
                <a:solidFill>
                  <a:prstClr val="black"/>
                </a:solidFill>
                <a:effectLst/>
                <a:uLnTx/>
                <a:uFillTx/>
                <a:latin typeface="Pfizer Tomorrow" panose="02010503040201060303" pitchFamily="50" charset="0"/>
                <a:ea typeface="+mn-ea"/>
                <a:cs typeface="Calibri" panose="020F0502020204030204" pitchFamily="34" charset="0"/>
              </a:rPr>
              <a:t>Viruses.</a:t>
            </a:r>
            <a:r>
              <a:rPr kumimoji="0" lang="en-US" sz="800" b="0" i="0" u="none" strike="noStrike" kern="1200" cap="none" spc="0" normalizeH="0" baseline="0" noProof="0" dirty="0">
                <a:ln>
                  <a:noFill/>
                </a:ln>
                <a:solidFill>
                  <a:prstClr val="black"/>
                </a:solidFill>
                <a:effectLst/>
                <a:uLnTx/>
                <a:uFillTx/>
                <a:latin typeface="Pfizer Tomorrow" panose="02010503040201060303" pitchFamily="50" charset="0"/>
                <a:ea typeface="+mn-ea"/>
                <a:cs typeface="Calibri" panose="020F0502020204030204" pitchFamily="34" charset="0"/>
              </a:rPr>
              <a:t> 2020;12:102. </a:t>
            </a:r>
            <a:endParaRPr kumimoji="0" lang="en-US" sz="800" b="0" i="0" u="none" strike="sngStrike" kern="1200" cap="none" spc="0" normalizeH="0" baseline="0" noProof="0" dirty="0">
              <a:ln>
                <a:noFill/>
              </a:ln>
              <a:solidFill>
                <a:prstClr val="black"/>
              </a:solidFill>
              <a:effectLst/>
              <a:uLnTx/>
              <a:uFillTx/>
              <a:latin typeface="Pfizer Tomorrow" panose="02010503040201060303" pitchFamily="50" charset="0"/>
              <a:ea typeface="+mn-ea"/>
              <a:cs typeface="Calibri" panose="020F0502020204030204" pitchFamily="34" charset="0"/>
            </a:endParaRPr>
          </a:p>
        </p:txBody>
      </p:sp>
      <p:pic>
        <p:nvPicPr>
          <p:cNvPr id="13" name="Picture 12" descr="A black and blue logo&#10;&#10;AI-generated content may be incorrect.">
            <a:extLst>
              <a:ext uri="{FF2B5EF4-FFF2-40B4-BE49-F238E27FC236}">
                <a16:creationId xmlns:a16="http://schemas.microsoft.com/office/drawing/2014/main" id="{8604408A-82C8-25C9-33E4-5ADDE4402A96}"/>
              </a:ext>
            </a:extLst>
          </p:cNvPr>
          <p:cNvPicPr>
            <a:picLocks noChangeAspect="1"/>
          </p:cNvPicPr>
          <p:nvPr/>
        </p:nvPicPr>
        <p:blipFill>
          <a:blip r:embed="rId4"/>
          <a:stretch>
            <a:fillRect/>
          </a:stretch>
        </p:blipFill>
        <p:spPr>
          <a:xfrm>
            <a:off x="10466403" y="6494969"/>
            <a:ext cx="981021" cy="204067"/>
          </a:xfrm>
          <a:prstGeom prst="rect">
            <a:avLst/>
          </a:prstGeom>
        </p:spPr>
      </p:pic>
    </p:spTree>
    <p:extLst>
      <p:ext uri="{BB962C8B-B14F-4D97-AF65-F5344CB8AC3E}">
        <p14:creationId xmlns:p14="http://schemas.microsoft.com/office/powerpoint/2010/main" val="16038305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248045-41D1-1061-7C03-00BD80C989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3E129E-5E60-BE34-6D3F-5725548353CA}"/>
              </a:ext>
            </a:extLst>
          </p:cNvPr>
          <p:cNvSpPr>
            <a:spLocks noGrp="1"/>
          </p:cNvSpPr>
          <p:nvPr>
            <p:ph type="title"/>
          </p:nvPr>
        </p:nvSpPr>
        <p:spPr>
          <a:xfrm>
            <a:off x="613152" y="221942"/>
            <a:ext cx="10969218" cy="815898"/>
          </a:xfrm>
        </p:spPr>
        <p:txBody>
          <a:bodyPr anchor="ctr">
            <a:normAutofit fontScale="90000"/>
          </a:bodyPr>
          <a:lstStyle/>
          <a:p>
            <a:r>
              <a:rPr lang="en-US" sz="3200">
                <a:solidFill>
                  <a:srgbClr val="FFFFFF"/>
                </a:solidFill>
                <a:latin typeface="+mj-lt"/>
              </a:rPr>
              <a:t>RSV, </a:t>
            </a:r>
            <a:r>
              <a:rPr lang="en-US" sz="3200">
                <a:solidFill>
                  <a:schemeClr val="bg1"/>
                </a:solidFill>
                <a:latin typeface="+mj-lt"/>
              </a:rPr>
              <a:t>A </a:t>
            </a:r>
            <a:r>
              <a:rPr lang="en-US" sz="3200" err="1">
                <a:solidFill>
                  <a:schemeClr val="bg1"/>
                </a:solidFill>
                <a:latin typeface="+mj-lt"/>
              </a:rPr>
              <a:t>ve</a:t>
            </a:r>
            <a:r>
              <a:rPr lang="en-US" sz="3200">
                <a:solidFill>
                  <a:schemeClr val="bg1"/>
                </a:solidFill>
                <a:latin typeface="+mj-lt"/>
              </a:rPr>
              <a:t> B </a:t>
            </a:r>
            <a:r>
              <a:rPr lang="en-US" sz="3200" err="1">
                <a:solidFill>
                  <a:schemeClr val="bg1"/>
                </a:solidFill>
                <a:latin typeface="+mj-lt"/>
              </a:rPr>
              <a:t>olmak</a:t>
            </a:r>
            <a:r>
              <a:rPr lang="en-US" sz="3200">
                <a:solidFill>
                  <a:schemeClr val="bg1"/>
                </a:solidFill>
                <a:latin typeface="+mj-lt"/>
              </a:rPr>
              <a:t> </a:t>
            </a:r>
            <a:r>
              <a:rPr lang="en-US" sz="3200" err="1">
                <a:solidFill>
                  <a:schemeClr val="bg1"/>
                </a:solidFill>
                <a:latin typeface="+mj-lt"/>
              </a:rPr>
              <a:t>üzere</a:t>
            </a:r>
            <a:r>
              <a:rPr lang="en-US" sz="3200">
                <a:solidFill>
                  <a:schemeClr val="bg1"/>
                </a:solidFill>
                <a:latin typeface="+mj-lt"/>
              </a:rPr>
              <a:t> 2 alt </a:t>
            </a:r>
            <a:r>
              <a:rPr lang="en-US" sz="3200" err="1">
                <a:solidFill>
                  <a:schemeClr val="bg1"/>
                </a:solidFill>
                <a:latin typeface="+mj-lt"/>
              </a:rPr>
              <a:t>gruptan</a:t>
            </a:r>
            <a:r>
              <a:rPr lang="en-US" sz="3200">
                <a:solidFill>
                  <a:schemeClr val="bg1"/>
                </a:solidFill>
                <a:latin typeface="+mj-lt"/>
              </a:rPr>
              <a:t> </a:t>
            </a:r>
            <a:r>
              <a:rPr lang="en-US" sz="3200" err="1">
                <a:solidFill>
                  <a:srgbClr val="FFFFFF"/>
                </a:solidFill>
                <a:latin typeface="+mj-lt"/>
              </a:rPr>
              <a:t>oluşur</a:t>
            </a:r>
            <a:r>
              <a:rPr lang="en-US" sz="3200">
                <a:solidFill>
                  <a:srgbClr val="FFFFFF"/>
                </a:solidFill>
                <a:latin typeface="+mj-lt"/>
              </a:rPr>
              <a:t> </a:t>
            </a:r>
            <a:r>
              <a:rPr lang="en-US" sz="3200" err="1">
                <a:solidFill>
                  <a:srgbClr val="FFFFFF"/>
                </a:solidFill>
                <a:latin typeface="+mj-lt"/>
              </a:rPr>
              <a:t>ve</a:t>
            </a:r>
            <a:r>
              <a:rPr lang="en-US" sz="3200">
                <a:solidFill>
                  <a:srgbClr val="FFFFFF"/>
                </a:solidFill>
                <a:latin typeface="+mj-lt"/>
              </a:rPr>
              <a:t> </a:t>
            </a:r>
            <a:r>
              <a:rPr lang="en-US" sz="3200" err="1">
                <a:solidFill>
                  <a:srgbClr val="FFFFFF"/>
                </a:solidFill>
                <a:latin typeface="+mj-lt"/>
              </a:rPr>
              <a:t>bir</a:t>
            </a:r>
            <a:r>
              <a:rPr lang="en-US" sz="3200">
                <a:solidFill>
                  <a:srgbClr val="FFFFFF"/>
                </a:solidFill>
                <a:latin typeface="+mj-lt"/>
              </a:rPr>
              <a:t> </a:t>
            </a:r>
            <a:r>
              <a:rPr lang="en-US" sz="3200" err="1">
                <a:solidFill>
                  <a:srgbClr val="FFFFFF"/>
                </a:solidFill>
                <a:latin typeface="+mj-lt"/>
              </a:rPr>
              <a:t>mevsim</a:t>
            </a:r>
            <a:r>
              <a:rPr lang="en-US" sz="3200">
                <a:solidFill>
                  <a:srgbClr val="FFFFFF"/>
                </a:solidFill>
                <a:latin typeface="+mj-lt"/>
              </a:rPr>
              <a:t> </a:t>
            </a:r>
            <a:r>
              <a:rPr lang="en-US" sz="3200" err="1">
                <a:solidFill>
                  <a:srgbClr val="FFFFFF"/>
                </a:solidFill>
                <a:latin typeface="+mj-lt"/>
              </a:rPr>
              <a:t>içinde</a:t>
            </a:r>
            <a:r>
              <a:rPr lang="en-US" sz="3200">
                <a:solidFill>
                  <a:srgbClr val="FFFFFF"/>
                </a:solidFill>
                <a:latin typeface="+mj-lt"/>
              </a:rPr>
              <a:t> </a:t>
            </a:r>
            <a:r>
              <a:rPr lang="en-US" sz="3200" err="1">
                <a:solidFill>
                  <a:srgbClr val="FFFFFF"/>
                </a:solidFill>
                <a:latin typeface="+mj-lt"/>
              </a:rPr>
              <a:t>coğrafi</a:t>
            </a:r>
            <a:r>
              <a:rPr lang="en-US" sz="3200">
                <a:solidFill>
                  <a:srgbClr val="FFFFFF"/>
                </a:solidFill>
                <a:latin typeface="+mj-lt"/>
              </a:rPr>
              <a:t> </a:t>
            </a:r>
            <a:r>
              <a:rPr lang="en-US" sz="3200" err="1">
                <a:solidFill>
                  <a:srgbClr val="FFFFFF"/>
                </a:solidFill>
                <a:latin typeface="+mj-lt"/>
              </a:rPr>
              <a:t>değişkenlik</a:t>
            </a:r>
            <a:r>
              <a:rPr lang="en-US" sz="3200">
                <a:solidFill>
                  <a:srgbClr val="FFFFFF"/>
                </a:solidFill>
                <a:latin typeface="+mj-lt"/>
              </a:rPr>
              <a:t> </a:t>
            </a:r>
            <a:r>
              <a:rPr lang="en-US" sz="3200" err="1">
                <a:solidFill>
                  <a:srgbClr val="FFFFFF"/>
                </a:solidFill>
                <a:latin typeface="+mj-lt"/>
              </a:rPr>
              <a:t>gösterir</a:t>
            </a:r>
            <a:r>
              <a:rPr lang="en-US" sz="3200">
                <a:solidFill>
                  <a:srgbClr val="FFFFFF"/>
                </a:solidFill>
                <a:latin typeface="+mj-lt"/>
              </a:rPr>
              <a:t>.</a:t>
            </a:r>
            <a:endParaRPr lang="tr-TR" sz="3200">
              <a:solidFill>
                <a:schemeClr val="bg1"/>
              </a:solidFill>
              <a:latin typeface="+mj-lt"/>
            </a:endParaRPr>
          </a:p>
        </p:txBody>
      </p:sp>
      <p:sp>
        <p:nvSpPr>
          <p:cNvPr id="3" name="Slide Number Placeholder 2">
            <a:extLst>
              <a:ext uri="{FF2B5EF4-FFF2-40B4-BE49-F238E27FC236}">
                <a16:creationId xmlns:a16="http://schemas.microsoft.com/office/drawing/2014/main" id="{97B6C94A-0B74-E225-A3B2-DB1117D8E3BC}"/>
              </a:ext>
            </a:extLst>
          </p:cNvPr>
          <p:cNvSpPr>
            <a:spLocks noGrp="1"/>
          </p:cNvSpPr>
          <p:nvPr>
            <p:ph type="sldNum" sz="quarter" idx="4"/>
          </p:nvPr>
        </p:nvSpPr>
        <p:spPr/>
        <p:txBody>
          <a:bodyPr/>
          <a:lstStyle/>
          <a:p>
            <a:fld id="{2B39012A-6F33-204B-8224-A57BEFB0AAD0}" type="slidenum">
              <a:rPr lang="en-US" smtClean="0">
                <a:latin typeface="+mj-lt"/>
              </a:rPr>
              <a:pPr/>
              <a:t>79</a:t>
            </a:fld>
            <a:endParaRPr lang="en-US">
              <a:latin typeface="+mj-lt"/>
            </a:endParaRPr>
          </a:p>
        </p:txBody>
      </p:sp>
      <p:sp>
        <p:nvSpPr>
          <p:cNvPr id="15" name="TextBox 14">
            <a:extLst>
              <a:ext uri="{FF2B5EF4-FFF2-40B4-BE49-F238E27FC236}">
                <a16:creationId xmlns:a16="http://schemas.microsoft.com/office/drawing/2014/main" id="{C1EFBF7D-451E-0432-F85B-7783E9C0B34B}"/>
              </a:ext>
            </a:extLst>
          </p:cNvPr>
          <p:cNvSpPr txBox="1"/>
          <p:nvPr/>
        </p:nvSpPr>
        <p:spPr bwMode="gray">
          <a:xfrm>
            <a:off x="967076" y="1333500"/>
            <a:ext cx="10257849" cy="412421"/>
          </a:xfrm>
          <a:prstGeom prst="rect">
            <a:avLst/>
          </a:prstGeom>
          <a:solidFill>
            <a:schemeClr val="accent3"/>
          </a:solidFill>
          <a:effectLst>
            <a:outerShdw dist="12700" dir="16200000" rotWithShape="0">
              <a:schemeClr val="bg2">
                <a:lumMod val="90000"/>
              </a:schemeClr>
            </a:outerShdw>
          </a:effectLst>
        </p:spPr>
        <p:txBody>
          <a:bodyPr wrap="square" lIns="0" tIns="73152" rIns="0">
            <a:spAutoFit/>
          </a:bodyPr>
          <a:lstStyle>
            <a:defPPr>
              <a:defRPr lang="en-US"/>
            </a:defPPr>
            <a:lvl1pPr defTabSz="914400">
              <a:lnSpc>
                <a:spcPct val="95000"/>
              </a:lnSpc>
              <a:defRPr sz="1700" b="1">
                <a:solidFill>
                  <a:schemeClr val="accent2"/>
                </a:solidFill>
              </a:defRPr>
            </a:lvl1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000" i="0" u="none" strike="noStrike" kern="1200" cap="none" spc="0" normalizeH="0" baseline="0" noProof="0">
                <a:ln>
                  <a:noFill/>
                </a:ln>
                <a:solidFill>
                  <a:srgbClr val="002060"/>
                </a:solidFill>
                <a:effectLst/>
                <a:uLnTx/>
                <a:uFillTx/>
                <a:latin typeface="+mj-lt"/>
                <a:cs typeface="Calibri" panose="020F0502020204030204" pitchFamily="34" charset="0"/>
              </a:rPr>
              <a:t>RSV A ve RSV </a:t>
            </a:r>
            <a:r>
              <a:rPr kumimoji="0" lang="en-US" sz="2000" i="0" u="none" strike="noStrike" kern="1200" cap="none" spc="0" normalizeH="0" baseline="0" noProof="0" err="1">
                <a:ln>
                  <a:noFill/>
                </a:ln>
                <a:solidFill>
                  <a:srgbClr val="002060"/>
                </a:solidFill>
                <a:effectLst/>
                <a:uLnTx/>
                <a:uFillTx/>
                <a:latin typeface="+mj-lt"/>
                <a:cs typeface="Calibri" panose="020F0502020204030204" pitchFamily="34" charset="0"/>
              </a:rPr>
              <a:t>B'nin</a:t>
            </a:r>
            <a:r>
              <a:rPr kumimoji="0" lang="en-US" sz="2000" i="0" u="none" strike="noStrike" kern="1200" cap="none" spc="0" normalizeH="0" baseline="0" noProof="0">
                <a:ln>
                  <a:noFill/>
                </a:ln>
                <a:solidFill>
                  <a:srgbClr val="002060"/>
                </a:solidFill>
                <a:effectLst/>
                <a:uLnTx/>
                <a:uFillTx/>
                <a:latin typeface="+mj-lt"/>
                <a:cs typeface="Calibri" panose="020F0502020204030204" pitchFamily="34" charset="0"/>
              </a:rPr>
              <a:t> </a:t>
            </a:r>
            <a:r>
              <a:rPr kumimoji="0" lang="en-US" sz="2000" i="0" u="none" strike="noStrike" kern="1200" cap="none" spc="0" normalizeH="0" baseline="0" noProof="0" err="1">
                <a:ln>
                  <a:noFill/>
                </a:ln>
                <a:solidFill>
                  <a:srgbClr val="002060"/>
                </a:solidFill>
                <a:effectLst/>
                <a:uLnTx/>
                <a:uFillTx/>
                <a:latin typeface="+mj-lt"/>
                <a:cs typeface="Calibri" panose="020F0502020204030204" pitchFamily="34" charset="0"/>
              </a:rPr>
              <a:t>Küresel</a:t>
            </a:r>
            <a:r>
              <a:rPr kumimoji="0" lang="en-US" sz="2000" i="0" u="none" strike="noStrike" kern="1200" cap="none" spc="0" normalizeH="0" baseline="0" noProof="0">
                <a:ln>
                  <a:noFill/>
                </a:ln>
                <a:solidFill>
                  <a:srgbClr val="002060"/>
                </a:solidFill>
                <a:effectLst/>
                <a:uLnTx/>
                <a:uFillTx/>
                <a:latin typeface="+mj-lt"/>
                <a:cs typeface="Calibri" panose="020F0502020204030204" pitchFamily="34" charset="0"/>
              </a:rPr>
              <a:t> </a:t>
            </a:r>
            <a:r>
              <a:rPr kumimoji="0" lang="en-US" sz="2000" i="0" u="none" strike="noStrike" kern="1200" cap="none" spc="0" normalizeH="0" baseline="0" noProof="0" err="1">
                <a:ln>
                  <a:noFill/>
                </a:ln>
                <a:solidFill>
                  <a:srgbClr val="002060"/>
                </a:solidFill>
                <a:effectLst/>
                <a:uLnTx/>
                <a:uFillTx/>
                <a:latin typeface="+mj-lt"/>
                <a:cs typeface="Calibri" panose="020F0502020204030204" pitchFamily="34" charset="0"/>
              </a:rPr>
              <a:t>Dağılımı</a:t>
            </a:r>
            <a:endParaRPr kumimoji="0" lang="en-US" sz="2000" i="0" u="none" strike="noStrike" kern="1200" cap="none" spc="0" normalizeH="0" baseline="0" noProof="0">
              <a:ln>
                <a:noFill/>
              </a:ln>
              <a:solidFill>
                <a:srgbClr val="002060"/>
              </a:solidFill>
              <a:effectLst/>
              <a:uLnTx/>
              <a:uFillTx/>
              <a:latin typeface="+mj-lt"/>
              <a:cs typeface="Calibri" panose="020F0502020204030204" pitchFamily="34" charset="0"/>
            </a:endParaRPr>
          </a:p>
        </p:txBody>
      </p:sp>
      <p:sp>
        <p:nvSpPr>
          <p:cNvPr id="20" name="TextBox 19">
            <a:extLst>
              <a:ext uri="{FF2B5EF4-FFF2-40B4-BE49-F238E27FC236}">
                <a16:creationId xmlns:a16="http://schemas.microsoft.com/office/drawing/2014/main" id="{5483F92D-C07B-34E3-C22A-6805124FB319}"/>
              </a:ext>
            </a:extLst>
          </p:cNvPr>
          <p:cNvSpPr txBox="1"/>
          <p:nvPr/>
        </p:nvSpPr>
        <p:spPr bwMode="gray">
          <a:xfrm>
            <a:off x="967076" y="4117264"/>
            <a:ext cx="10257848" cy="383182"/>
          </a:xfrm>
          <a:prstGeom prst="rect">
            <a:avLst/>
          </a:prstGeom>
          <a:solidFill>
            <a:schemeClr val="accent3"/>
          </a:solidFill>
          <a:effectLst>
            <a:outerShdw dist="12700" dir="16200000" rotWithShape="0">
              <a:schemeClr val="bg2">
                <a:lumMod val="90000"/>
              </a:schemeClr>
            </a:outerShdw>
          </a:effectLst>
        </p:spPr>
        <p:txBody>
          <a:bodyPr wrap="square" lIns="0" tIns="73152" rIns="0">
            <a:spAutoFit/>
          </a:bodyPr>
          <a:lstStyle>
            <a:defPPr>
              <a:defRPr lang="en-US"/>
            </a:defPPr>
            <a:lvl1pPr defTabSz="914400">
              <a:lnSpc>
                <a:spcPct val="95000"/>
              </a:lnSpc>
              <a:defRPr sz="1700" b="1">
                <a:solidFill>
                  <a:schemeClr val="accent2"/>
                </a:solidFill>
              </a:defRPr>
            </a:lvl1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060"/>
                </a:solidFill>
                <a:effectLst/>
                <a:uLnTx/>
                <a:uFillTx/>
                <a:latin typeface="+mj-lt"/>
                <a:cs typeface="Calibri" panose="020F0502020204030204" pitchFamily="34" charset="0"/>
              </a:rPr>
              <a:t>RSV A ve RSV </a:t>
            </a:r>
            <a:r>
              <a:rPr kumimoji="0" lang="en-US" sz="1800" b="1" i="0" u="none" strike="noStrike" kern="1200" cap="none" spc="0" normalizeH="0" baseline="0" noProof="0" err="1">
                <a:ln>
                  <a:noFill/>
                </a:ln>
                <a:solidFill>
                  <a:srgbClr val="002060"/>
                </a:solidFill>
                <a:effectLst/>
                <a:uLnTx/>
                <a:uFillTx/>
                <a:latin typeface="+mj-lt"/>
                <a:cs typeface="Calibri" panose="020F0502020204030204" pitchFamily="34" charset="0"/>
              </a:rPr>
              <a:t>B'nin</a:t>
            </a:r>
            <a:r>
              <a:rPr kumimoji="0" lang="en-US" sz="1800" b="1" i="0" u="none" strike="noStrike" kern="1200" cap="none" spc="0" normalizeH="0" baseline="0" noProof="0">
                <a:ln>
                  <a:noFill/>
                </a:ln>
                <a:solidFill>
                  <a:srgbClr val="002060"/>
                </a:solidFill>
                <a:effectLst/>
                <a:uLnTx/>
                <a:uFillTx/>
                <a:latin typeface="+mj-lt"/>
                <a:cs typeface="Calibri" panose="020F0502020204030204" pitchFamily="34" charset="0"/>
              </a:rPr>
              <a:t> </a:t>
            </a:r>
            <a:r>
              <a:rPr kumimoji="0" lang="en-US" sz="1800" b="1" i="0" u="none" strike="noStrike" kern="1200" cap="none" spc="0" normalizeH="0" baseline="0" noProof="0" err="1">
                <a:ln>
                  <a:noFill/>
                </a:ln>
                <a:solidFill>
                  <a:srgbClr val="002060"/>
                </a:solidFill>
                <a:effectLst/>
                <a:uLnTx/>
                <a:uFillTx/>
                <a:latin typeface="+mj-lt"/>
                <a:cs typeface="Calibri" panose="020F0502020204030204" pitchFamily="34" charset="0"/>
              </a:rPr>
              <a:t>Klinik</a:t>
            </a:r>
            <a:r>
              <a:rPr kumimoji="0" lang="en-US" sz="1800" b="1" i="0" u="none" strike="noStrike" kern="1200" cap="none" spc="0" normalizeH="0" baseline="0" noProof="0">
                <a:ln>
                  <a:noFill/>
                </a:ln>
                <a:solidFill>
                  <a:srgbClr val="002060"/>
                </a:solidFill>
                <a:effectLst/>
                <a:uLnTx/>
                <a:uFillTx/>
                <a:latin typeface="+mj-lt"/>
                <a:cs typeface="Calibri" panose="020F0502020204030204" pitchFamily="34" charset="0"/>
              </a:rPr>
              <a:t> </a:t>
            </a:r>
            <a:r>
              <a:rPr kumimoji="0" lang="en-US" sz="1800" b="1" i="0" u="none" strike="noStrike" kern="1200" cap="none" spc="0" normalizeH="0" baseline="0" noProof="0" err="1">
                <a:ln>
                  <a:noFill/>
                </a:ln>
                <a:solidFill>
                  <a:srgbClr val="002060"/>
                </a:solidFill>
                <a:effectLst/>
                <a:uLnTx/>
                <a:uFillTx/>
                <a:latin typeface="+mj-lt"/>
                <a:cs typeface="Calibri" panose="020F0502020204030204" pitchFamily="34" charset="0"/>
              </a:rPr>
              <a:t>Şiddeti</a:t>
            </a:r>
            <a:endParaRPr kumimoji="0" lang="en-US" sz="1800" b="1" i="0" u="none" strike="noStrike" kern="1200" cap="none" spc="0" normalizeH="0" baseline="0" noProof="0">
              <a:ln>
                <a:noFill/>
              </a:ln>
              <a:solidFill>
                <a:srgbClr val="002060"/>
              </a:solidFill>
              <a:effectLst/>
              <a:uLnTx/>
              <a:uFillTx/>
              <a:latin typeface="+mj-lt"/>
              <a:cs typeface="Calibri" panose="020F0502020204030204" pitchFamily="34" charset="0"/>
            </a:endParaRPr>
          </a:p>
        </p:txBody>
      </p:sp>
      <p:graphicFrame>
        <p:nvGraphicFramePr>
          <p:cNvPr id="21" name="Chart 20">
            <a:extLst>
              <a:ext uri="{FF2B5EF4-FFF2-40B4-BE49-F238E27FC236}">
                <a16:creationId xmlns:a16="http://schemas.microsoft.com/office/drawing/2014/main" id="{59514B2A-D27A-556E-655A-0D12A3F2935E}"/>
              </a:ext>
            </a:extLst>
          </p:cNvPr>
          <p:cNvGraphicFramePr/>
          <p:nvPr/>
        </p:nvGraphicFramePr>
        <p:xfrm>
          <a:off x="5398310" y="1333500"/>
          <a:ext cx="5667883" cy="2332421"/>
        </p:xfrm>
        <a:graphic>
          <a:graphicData uri="http://schemas.openxmlformats.org/drawingml/2006/chart">
            <c:chart xmlns:c="http://schemas.openxmlformats.org/drawingml/2006/chart" xmlns:r="http://schemas.openxmlformats.org/officeDocument/2006/relationships" r:id="rId2"/>
          </a:graphicData>
        </a:graphic>
      </p:graphicFrame>
      <p:sp>
        <p:nvSpPr>
          <p:cNvPr id="22" name="TextBox 21">
            <a:extLst>
              <a:ext uri="{FF2B5EF4-FFF2-40B4-BE49-F238E27FC236}">
                <a16:creationId xmlns:a16="http://schemas.microsoft.com/office/drawing/2014/main" id="{4E18B6D9-17F3-152B-40A7-666F9D2F33BE}"/>
              </a:ext>
            </a:extLst>
          </p:cNvPr>
          <p:cNvSpPr txBox="1"/>
          <p:nvPr/>
        </p:nvSpPr>
        <p:spPr>
          <a:xfrm>
            <a:off x="7319513" y="1360656"/>
            <a:ext cx="2018677" cy="347472"/>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600"/>
              </a:spcBef>
              <a:spcAft>
                <a:spcPts val="0"/>
              </a:spcAft>
              <a:buClr>
                <a:srgbClr val="000000"/>
              </a:buClr>
              <a:buSzTx/>
              <a:buFontTx/>
              <a:buNone/>
              <a:tabLst/>
              <a:defRPr/>
            </a:pPr>
            <a:r>
              <a:rPr kumimoji="0" lang="en-US" sz="1800" b="1" i="0" u="none" strike="noStrike" kern="1200" cap="none" spc="0" normalizeH="0" baseline="0" noProof="0" err="1">
                <a:ln>
                  <a:noFill/>
                </a:ln>
                <a:solidFill>
                  <a:srgbClr val="000000"/>
                </a:solidFill>
                <a:effectLst/>
                <a:uLnTx/>
                <a:uFillTx/>
                <a:latin typeface="+mj-lt"/>
                <a:cs typeface="Calibri" panose="020F0502020204030204" pitchFamily="34" charset="0"/>
              </a:rPr>
              <a:t>Sezonların</a:t>
            </a:r>
            <a:r>
              <a:rPr kumimoji="0" lang="en-US" sz="1800" b="1" i="0" u="none" strike="noStrike" kern="1200" cap="none" spc="0" normalizeH="0" baseline="0" noProof="0">
                <a:ln>
                  <a:noFill/>
                </a:ln>
                <a:solidFill>
                  <a:srgbClr val="000000"/>
                </a:solidFill>
                <a:effectLst/>
                <a:uLnTx/>
                <a:uFillTx/>
                <a:latin typeface="+mj-lt"/>
                <a:cs typeface="Calibri" panose="020F0502020204030204" pitchFamily="34" charset="0"/>
              </a:rPr>
              <a:t> </a:t>
            </a:r>
            <a:r>
              <a:rPr kumimoji="0" lang="en-US" sz="1800" b="1" i="0" u="none" strike="noStrike" kern="1200" cap="none" spc="0" normalizeH="0" baseline="0" noProof="0" err="1">
                <a:ln>
                  <a:noFill/>
                </a:ln>
                <a:solidFill>
                  <a:srgbClr val="000000"/>
                </a:solidFill>
                <a:effectLst/>
                <a:uLnTx/>
                <a:uFillTx/>
                <a:latin typeface="+mj-lt"/>
                <a:cs typeface="Calibri" panose="020F0502020204030204" pitchFamily="34" charset="0"/>
              </a:rPr>
              <a:t>Yüzdesi</a:t>
            </a:r>
            <a:r>
              <a:rPr kumimoji="0" lang="en-US" sz="1800" b="1" i="0" u="none" strike="noStrike" kern="1200" cap="none" spc="0" normalizeH="0" baseline="0" noProof="0">
                <a:ln>
                  <a:noFill/>
                </a:ln>
                <a:solidFill>
                  <a:srgbClr val="000000"/>
                </a:solidFill>
                <a:effectLst/>
                <a:uLnTx/>
                <a:uFillTx/>
                <a:latin typeface="+mj-lt"/>
                <a:cs typeface="Calibri" panose="020F0502020204030204" pitchFamily="34" charset="0"/>
              </a:rPr>
              <a:t>*</a:t>
            </a:r>
          </a:p>
        </p:txBody>
      </p:sp>
      <p:graphicFrame>
        <p:nvGraphicFramePr>
          <p:cNvPr id="23" name="Chart 22">
            <a:extLst>
              <a:ext uri="{FF2B5EF4-FFF2-40B4-BE49-F238E27FC236}">
                <a16:creationId xmlns:a16="http://schemas.microsoft.com/office/drawing/2014/main" id="{63E78172-C812-1E57-0B2A-5A69B1254D2D}"/>
              </a:ext>
            </a:extLst>
          </p:cNvPr>
          <p:cNvGraphicFramePr/>
          <p:nvPr/>
        </p:nvGraphicFramePr>
        <p:xfrm>
          <a:off x="5387839" y="4024226"/>
          <a:ext cx="5678355" cy="2336730"/>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Box 23">
            <a:extLst>
              <a:ext uri="{FF2B5EF4-FFF2-40B4-BE49-F238E27FC236}">
                <a16:creationId xmlns:a16="http://schemas.microsoft.com/office/drawing/2014/main" id="{BB2BBF5A-EBB5-F320-DB84-D7AAF07C24C7}"/>
              </a:ext>
            </a:extLst>
          </p:cNvPr>
          <p:cNvSpPr txBox="1"/>
          <p:nvPr/>
        </p:nvSpPr>
        <p:spPr>
          <a:xfrm>
            <a:off x="7236170" y="4135833"/>
            <a:ext cx="2297963" cy="37548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600"/>
              </a:spcBef>
              <a:spcAft>
                <a:spcPts val="0"/>
              </a:spcAft>
              <a:buClr>
                <a:srgbClr val="000000"/>
              </a:buClr>
              <a:buSzTx/>
              <a:buFontTx/>
              <a:buNone/>
              <a:tabLst/>
              <a:defRPr/>
            </a:pPr>
            <a:r>
              <a:rPr kumimoji="0" lang="en-US" sz="1600" b="1" i="0" u="none" strike="noStrike" kern="1200" cap="none" spc="0" normalizeH="0" baseline="0" noProof="0" err="1">
                <a:ln>
                  <a:noFill/>
                </a:ln>
                <a:solidFill>
                  <a:srgbClr val="000000"/>
                </a:solidFill>
                <a:effectLst/>
                <a:uLnTx/>
                <a:uFillTx/>
                <a:latin typeface="+mj-lt"/>
                <a:ea typeface="+mn-ea"/>
                <a:cs typeface="+mn-cs"/>
              </a:rPr>
              <a:t>Çalışmaların</a:t>
            </a:r>
            <a:r>
              <a:rPr kumimoji="0" lang="en-US" sz="1600" b="1" i="0" u="none" strike="noStrike" kern="1200" cap="none" spc="0" normalizeH="0" baseline="0" noProof="0">
                <a:ln>
                  <a:noFill/>
                </a:ln>
                <a:solidFill>
                  <a:srgbClr val="000000"/>
                </a:solidFill>
                <a:effectLst/>
                <a:uLnTx/>
                <a:uFillTx/>
                <a:latin typeface="+mj-lt"/>
                <a:ea typeface="+mn-ea"/>
                <a:cs typeface="+mn-cs"/>
              </a:rPr>
              <a:t> </a:t>
            </a:r>
            <a:r>
              <a:rPr kumimoji="0" lang="en-US" sz="1600" b="1" i="0" u="none" strike="noStrike" kern="1200" cap="none" spc="0" normalizeH="0" baseline="0" noProof="0" err="1">
                <a:ln>
                  <a:noFill/>
                </a:ln>
                <a:solidFill>
                  <a:srgbClr val="000000"/>
                </a:solidFill>
                <a:effectLst/>
                <a:uLnTx/>
                <a:uFillTx/>
                <a:latin typeface="+mj-lt"/>
                <a:ea typeface="+mn-ea"/>
                <a:cs typeface="+mn-cs"/>
              </a:rPr>
              <a:t>Yüzdesi</a:t>
            </a:r>
            <a:r>
              <a:rPr kumimoji="0" lang="en-US" sz="1600" b="1" i="0" u="none" strike="noStrike" kern="1200" cap="none" spc="0" normalizeH="0" baseline="30000" noProof="0">
                <a:ln>
                  <a:noFill/>
                </a:ln>
                <a:solidFill>
                  <a:srgbClr val="000000"/>
                </a:solidFill>
                <a:effectLst/>
                <a:uLnTx/>
                <a:uFillTx/>
                <a:latin typeface="+mj-lt"/>
                <a:ea typeface="+mn-ea"/>
                <a:cs typeface="+mn-cs"/>
              </a:rPr>
              <a:t>†</a:t>
            </a:r>
            <a:endParaRPr kumimoji="0" lang="en-US" sz="1600" b="1" i="0" u="none" strike="noStrike" kern="1200" cap="none" spc="0" normalizeH="0" baseline="0" noProof="0">
              <a:ln>
                <a:noFill/>
              </a:ln>
              <a:solidFill>
                <a:srgbClr val="000000"/>
              </a:solidFill>
              <a:effectLst/>
              <a:uLnTx/>
              <a:uFillTx/>
              <a:latin typeface="+mj-lt"/>
              <a:ea typeface="+mn-ea"/>
              <a:cs typeface="+mn-cs"/>
            </a:endParaRPr>
          </a:p>
        </p:txBody>
      </p:sp>
      <p:sp>
        <p:nvSpPr>
          <p:cNvPr id="25" name="Content Placeholder 1">
            <a:extLst>
              <a:ext uri="{FF2B5EF4-FFF2-40B4-BE49-F238E27FC236}">
                <a16:creationId xmlns:a16="http://schemas.microsoft.com/office/drawing/2014/main" id="{CF0253C1-D3EB-FC44-2186-F4F10E06CADE}"/>
              </a:ext>
            </a:extLst>
          </p:cNvPr>
          <p:cNvSpPr txBox="1">
            <a:spLocks/>
          </p:cNvSpPr>
          <p:nvPr/>
        </p:nvSpPr>
        <p:spPr>
          <a:xfrm>
            <a:off x="989101" y="2119125"/>
            <a:ext cx="4139823" cy="1312412"/>
          </a:xfrm>
          <a:prstGeom prst="rect">
            <a:avLst/>
          </a:prstGeom>
        </p:spPr>
        <p:txBody>
          <a:bodyPr vert="horz" lIns="0" tIns="0" rIns="0" bIns="0" rtlCol="0" anchor="ctr">
            <a:noAutofit/>
          </a:bodyPr>
          <a:lstStyle>
            <a:lvl1pPr marL="228600" indent="-228600" algn="l" defTabSz="914400" rtl="0" eaLnBrk="1" latinLnBrk="0" hangingPunct="1">
              <a:lnSpc>
                <a:spcPct val="90000"/>
              </a:lnSpc>
              <a:spcBef>
                <a:spcPts val="12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2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2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7600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chemeClr val="accent2"/>
                </a:solidFill>
                <a:effectLst/>
                <a:uLnTx/>
                <a:uFillTx/>
                <a:latin typeface="+mj-lt"/>
                <a:cs typeface="Calibri" panose="020F0502020204030204" pitchFamily="34" charset="0"/>
              </a:rPr>
              <a:t>Hem A hem de B </a:t>
            </a:r>
            <a:r>
              <a:rPr kumimoji="0" lang="en-US" sz="1800" b="1" i="0" u="none" strike="noStrike" kern="1200" cap="none" spc="0" normalizeH="0" baseline="0" noProof="0" err="1">
                <a:ln>
                  <a:noFill/>
                </a:ln>
                <a:solidFill>
                  <a:schemeClr val="accent2"/>
                </a:solidFill>
                <a:effectLst/>
                <a:uLnTx/>
                <a:uFillTx/>
                <a:latin typeface="+mj-lt"/>
                <a:cs typeface="Calibri" panose="020F0502020204030204" pitchFamily="34" charset="0"/>
              </a:rPr>
              <a:t>suşları</a:t>
            </a:r>
            <a:r>
              <a:rPr kumimoji="0" lang="en-US" sz="1800" b="1" i="0" u="none" strike="noStrike" kern="1200" cap="none" spc="0" normalizeH="0" baseline="0" noProof="0">
                <a:ln>
                  <a:noFill/>
                </a:ln>
                <a:solidFill>
                  <a:schemeClr val="accent2"/>
                </a:solidFill>
                <a:effectLst/>
                <a:uLnTx/>
                <a:uFillTx/>
                <a:latin typeface="+mj-lt"/>
                <a:cs typeface="Calibri" panose="020F0502020204030204" pitchFamily="34" charset="0"/>
              </a:rPr>
              <a:t> </a:t>
            </a:r>
            <a:r>
              <a:rPr kumimoji="0" lang="en-US" sz="1800" b="1" i="0" u="none" strike="noStrike" kern="1200" cap="none" spc="0" normalizeH="0" baseline="0" noProof="0" err="1">
                <a:ln>
                  <a:noFill/>
                </a:ln>
                <a:solidFill>
                  <a:schemeClr val="accent2"/>
                </a:solidFill>
                <a:effectLst/>
                <a:uLnTx/>
                <a:uFillTx/>
                <a:latin typeface="+mj-lt"/>
                <a:cs typeface="Calibri" panose="020F0502020204030204" pitchFamily="34" charset="0"/>
              </a:rPr>
              <a:t>genellikle</a:t>
            </a:r>
            <a:r>
              <a:rPr kumimoji="0" lang="en-US" sz="1800" b="1" i="0" u="none" strike="noStrike" kern="1200" cap="none" spc="0" normalizeH="0" baseline="0" noProof="0">
                <a:ln>
                  <a:noFill/>
                </a:ln>
                <a:solidFill>
                  <a:schemeClr val="accent2"/>
                </a:solidFill>
                <a:effectLst/>
                <a:uLnTx/>
                <a:uFillTx/>
                <a:latin typeface="+mj-lt"/>
                <a:cs typeface="Calibri" panose="020F0502020204030204" pitchFamily="34" charset="0"/>
              </a:rPr>
              <a:t> </a:t>
            </a:r>
            <a:r>
              <a:rPr kumimoji="0" lang="en-US" sz="1800" b="1" i="0" u="none" strike="noStrike" kern="1200" cap="none" spc="0" normalizeH="0" baseline="0" noProof="0" err="1">
                <a:ln>
                  <a:noFill/>
                </a:ln>
                <a:solidFill>
                  <a:schemeClr val="accent2"/>
                </a:solidFill>
                <a:effectLst/>
                <a:uLnTx/>
                <a:uFillTx/>
                <a:latin typeface="+mj-lt"/>
                <a:cs typeface="Calibri" panose="020F0502020204030204" pitchFamily="34" charset="0"/>
              </a:rPr>
              <a:t>bir</a:t>
            </a:r>
            <a:r>
              <a:rPr kumimoji="0" lang="en-US" sz="1800" b="1" i="0" u="none" strike="noStrike" kern="1200" cap="none" spc="0" normalizeH="0" baseline="0" noProof="0">
                <a:ln>
                  <a:noFill/>
                </a:ln>
                <a:solidFill>
                  <a:schemeClr val="accent2"/>
                </a:solidFill>
                <a:effectLst/>
                <a:uLnTx/>
                <a:uFillTx/>
                <a:latin typeface="+mj-lt"/>
                <a:cs typeface="Calibri" panose="020F0502020204030204" pitchFamily="34" charset="0"/>
              </a:rPr>
              <a:t> </a:t>
            </a:r>
            <a:r>
              <a:rPr kumimoji="0" lang="en-US" sz="1800" b="1" i="0" u="none" strike="noStrike" kern="1200" cap="none" spc="0" normalizeH="0" baseline="0" noProof="0" err="1">
                <a:ln>
                  <a:noFill/>
                </a:ln>
                <a:solidFill>
                  <a:schemeClr val="accent2"/>
                </a:solidFill>
                <a:effectLst/>
                <a:uLnTx/>
                <a:uFillTx/>
                <a:latin typeface="+mj-lt"/>
                <a:cs typeface="Calibri" panose="020F0502020204030204" pitchFamily="34" charset="0"/>
              </a:rPr>
              <a:t>mevsim</a:t>
            </a:r>
            <a:r>
              <a:rPr kumimoji="0" lang="en-US" sz="1800" b="1" i="0" u="none" strike="noStrike" kern="1200" cap="none" spc="0" normalizeH="0" baseline="0" noProof="0">
                <a:ln>
                  <a:noFill/>
                </a:ln>
                <a:solidFill>
                  <a:schemeClr val="accent2"/>
                </a:solidFill>
                <a:effectLst/>
                <a:uLnTx/>
                <a:uFillTx/>
                <a:latin typeface="+mj-lt"/>
                <a:cs typeface="Calibri" panose="020F0502020204030204" pitchFamily="34" charset="0"/>
              </a:rPr>
              <a:t> </a:t>
            </a:r>
            <a:r>
              <a:rPr kumimoji="0" lang="en-US" sz="1800" b="1" i="0" u="none" strike="noStrike" kern="1200" cap="none" spc="0" normalizeH="0" baseline="0" noProof="0" err="1">
                <a:ln>
                  <a:noFill/>
                </a:ln>
                <a:solidFill>
                  <a:schemeClr val="accent2"/>
                </a:solidFill>
                <a:effectLst/>
                <a:uLnTx/>
                <a:uFillTx/>
                <a:latin typeface="+mj-lt"/>
                <a:cs typeface="Calibri" panose="020F0502020204030204" pitchFamily="34" charset="0"/>
              </a:rPr>
              <a:t>içinde</a:t>
            </a:r>
            <a:r>
              <a:rPr kumimoji="0" lang="en-US" sz="1800" b="1" i="0" u="none" strike="noStrike" kern="1200" cap="none" spc="0" normalizeH="0" baseline="0" noProof="0">
                <a:ln>
                  <a:noFill/>
                </a:ln>
                <a:solidFill>
                  <a:schemeClr val="accent2"/>
                </a:solidFill>
                <a:effectLst/>
                <a:uLnTx/>
                <a:uFillTx/>
                <a:latin typeface="+mj-lt"/>
                <a:cs typeface="Calibri" panose="020F0502020204030204" pitchFamily="34" charset="0"/>
              </a:rPr>
              <a:t> </a:t>
            </a:r>
            <a:r>
              <a:rPr kumimoji="0" lang="en-US" sz="1800" b="1" i="0" u="none" strike="noStrike" kern="1200" cap="none" spc="0" normalizeH="0" baseline="0" noProof="0" err="1">
                <a:ln>
                  <a:noFill/>
                </a:ln>
                <a:solidFill>
                  <a:schemeClr val="accent2"/>
                </a:solidFill>
                <a:effectLst/>
                <a:uLnTx/>
                <a:uFillTx/>
                <a:latin typeface="+mj-lt"/>
                <a:cs typeface="Calibri" panose="020F0502020204030204" pitchFamily="34" charset="0"/>
              </a:rPr>
              <a:t>dolaşır</a:t>
            </a:r>
            <a:r>
              <a:rPr kumimoji="0" lang="en-US" sz="1800" b="1" i="0" u="none" strike="noStrike" kern="1200" cap="none" spc="0" normalizeH="0" baseline="0" noProof="0">
                <a:ln>
                  <a:noFill/>
                </a:ln>
                <a:solidFill>
                  <a:srgbClr val="002060"/>
                </a:solidFill>
                <a:effectLst/>
                <a:uLnTx/>
                <a:uFillTx/>
                <a:latin typeface="+mj-lt"/>
                <a:cs typeface="Calibri" panose="020F0502020204030204" pitchFamily="34" charset="0"/>
              </a:rPr>
              <a:t>, </a:t>
            </a:r>
            <a:r>
              <a:rPr kumimoji="0" lang="en-US" sz="1800" i="0" u="none" strike="noStrike" kern="1200" cap="none" spc="0" normalizeH="0" baseline="0" noProof="0" err="1">
                <a:ln>
                  <a:noFill/>
                </a:ln>
                <a:solidFill>
                  <a:srgbClr val="002060"/>
                </a:solidFill>
                <a:effectLst/>
                <a:uLnTx/>
                <a:uFillTx/>
                <a:latin typeface="+mj-lt"/>
                <a:cs typeface="Calibri" panose="020F0502020204030204" pitchFamily="34" charset="0"/>
              </a:rPr>
              <a:t>baskınlık</a:t>
            </a:r>
            <a:r>
              <a:rPr kumimoji="0" lang="en-US" sz="1800" i="0" u="none" strike="noStrike" kern="1200" cap="none" spc="0" normalizeH="0" baseline="0" noProof="0">
                <a:ln>
                  <a:noFill/>
                </a:ln>
                <a:solidFill>
                  <a:srgbClr val="002060"/>
                </a:solidFill>
                <a:effectLst/>
                <a:uLnTx/>
                <a:uFillTx/>
                <a:latin typeface="+mj-lt"/>
                <a:cs typeface="Calibri" panose="020F0502020204030204" pitchFamily="34" charset="0"/>
              </a:rPr>
              <a:t> </a:t>
            </a:r>
            <a:r>
              <a:rPr kumimoji="0" lang="en-US" sz="1800" i="0" u="none" strike="noStrike" kern="1200" cap="none" spc="0" normalizeH="0" baseline="0" noProof="0" err="1">
                <a:ln>
                  <a:noFill/>
                </a:ln>
                <a:solidFill>
                  <a:srgbClr val="002060"/>
                </a:solidFill>
                <a:effectLst/>
                <a:uLnTx/>
                <a:uFillTx/>
                <a:latin typeface="+mj-lt"/>
                <a:cs typeface="Calibri" panose="020F0502020204030204" pitchFamily="34" charset="0"/>
              </a:rPr>
              <a:t>mevsimlere</a:t>
            </a:r>
            <a:r>
              <a:rPr kumimoji="0" lang="en-US" sz="1800" i="0" u="none" strike="noStrike" kern="1200" cap="none" spc="0" normalizeH="0" baseline="0" noProof="0">
                <a:ln>
                  <a:noFill/>
                </a:ln>
                <a:solidFill>
                  <a:srgbClr val="002060"/>
                </a:solidFill>
                <a:effectLst/>
                <a:uLnTx/>
                <a:uFillTx/>
                <a:latin typeface="+mj-lt"/>
                <a:cs typeface="Calibri" panose="020F0502020204030204" pitchFamily="34" charset="0"/>
              </a:rPr>
              <a:t> ve </a:t>
            </a:r>
            <a:r>
              <a:rPr kumimoji="0" lang="en-US" sz="1800" i="0" u="none" strike="noStrike" kern="1200" cap="none" spc="0" normalizeH="0" baseline="0" noProof="0" err="1">
                <a:ln>
                  <a:noFill/>
                </a:ln>
                <a:solidFill>
                  <a:srgbClr val="002060"/>
                </a:solidFill>
                <a:effectLst/>
                <a:uLnTx/>
                <a:uFillTx/>
                <a:latin typeface="+mj-lt"/>
                <a:cs typeface="Calibri" panose="020F0502020204030204" pitchFamily="34" charset="0"/>
              </a:rPr>
              <a:t>ülkelere</a:t>
            </a:r>
            <a:r>
              <a:rPr kumimoji="0" lang="en-US" sz="1800" i="0" u="none" strike="noStrike" kern="1200" cap="none" spc="0" normalizeH="0" baseline="0" noProof="0">
                <a:ln>
                  <a:noFill/>
                </a:ln>
                <a:solidFill>
                  <a:srgbClr val="002060"/>
                </a:solidFill>
                <a:effectLst/>
                <a:uLnTx/>
                <a:uFillTx/>
                <a:latin typeface="+mj-lt"/>
                <a:cs typeface="Calibri" panose="020F0502020204030204" pitchFamily="34" charset="0"/>
              </a:rPr>
              <a:t> </a:t>
            </a:r>
            <a:r>
              <a:rPr kumimoji="0" lang="en-US" sz="1800" i="0" u="none" strike="noStrike" kern="1200" cap="none" spc="0" normalizeH="0" baseline="0" noProof="0" err="1">
                <a:ln>
                  <a:noFill/>
                </a:ln>
                <a:solidFill>
                  <a:srgbClr val="002060"/>
                </a:solidFill>
                <a:effectLst/>
                <a:uLnTx/>
                <a:uFillTx/>
                <a:latin typeface="+mj-lt"/>
                <a:cs typeface="Calibri" panose="020F0502020204030204" pitchFamily="34" charset="0"/>
              </a:rPr>
              <a:t>göre</a:t>
            </a:r>
            <a:r>
              <a:rPr kumimoji="0" lang="en-US" sz="1800" i="0" u="none" strike="noStrike" kern="1200" cap="none" spc="0" normalizeH="0" baseline="0" noProof="0">
                <a:ln>
                  <a:noFill/>
                </a:ln>
                <a:solidFill>
                  <a:srgbClr val="002060"/>
                </a:solidFill>
                <a:effectLst/>
                <a:uLnTx/>
                <a:uFillTx/>
                <a:latin typeface="+mj-lt"/>
                <a:cs typeface="Calibri" panose="020F0502020204030204" pitchFamily="34" charset="0"/>
              </a:rPr>
              <a:t> </a:t>
            </a:r>
            <a:r>
              <a:rPr kumimoji="0" lang="en-US" sz="1800" i="0" u="none" strike="noStrike" kern="1200" cap="none" spc="0" normalizeH="0" baseline="0" noProof="0" err="1">
                <a:ln>
                  <a:noFill/>
                </a:ln>
                <a:solidFill>
                  <a:srgbClr val="002060"/>
                </a:solidFill>
                <a:effectLst/>
                <a:uLnTx/>
                <a:uFillTx/>
                <a:latin typeface="+mj-lt"/>
                <a:cs typeface="Calibri" panose="020F0502020204030204" pitchFamily="34" charset="0"/>
              </a:rPr>
              <a:t>değişir</a:t>
            </a:r>
            <a:r>
              <a:rPr kumimoji="0" lang="tr-TR" sz="1800" i="0" u="none" strike="noStrike" kern="1200" cap="none" spc="0" normalizeH="0" baseline="0" noProof="0">
                <a:ln>
                  <a:noFill/>
                </a:ln>
                <a:solidFill>
                  <a:srgbClr val="002060"/>
                </a:solidFill>
                <a:effectLst/>
                <a:uLnTx/>
                <a:uFillTx/>
                <a:latin typeface="+mj-lt"/>
                <a:cs typeface="Calibri" panose="020F0502020204030204" pitchFamily="34" charset="0"/>
              </a:rPr>
              <a:t>.</a:t>
            </a:r>
            <a:endParaRPr kumimoji="0" lang="en-US" sz="1800" i="0" u="none" strike="noStrike" kern="1200" cap="none" spc="0" normalizeH="0" baseline="0" noProof="0">
              <a:ln>
                <a:noFill/>
              </a:ln>
              <a:solidFill>
                <a:srgbClr val="002060"/>
              </a:solidFill>
              <a:effectLst/>
              <a:uLnTx/>
              <a:uFillTx/>
              <a:latin typeface="+mj-lt"/>
              <a:cs typeface="Calibri" panose="020F0502020204030204" pitchFamily="34" charset="0"/>
            </a:endParaRPr>
          </a:p>
        </p:txBody>
      </p:sp>
      <p:sp>
        <p:nvSpPr>
          <p:cNvPr id="26" name="Content Placeholder 1">
            <a:extLst>
              <a:ext uri="{FF2B5EF4-FFF2-40B4-BE49-F238E27FC236}">
                <a16:creationId xmlns:a16="http://schemas.microsoft.com/office/drawing/2014/main" id="{BD3E829A-762A-7017-1AEB-72B74CB53CBD}"/>
              </a:ext>
            </a:extLst>
          </p:cNvPr>
          <p:cNvSpPr txBox="1">
            <a:spLocks/>
          </p:cNvSpPr>
          <p:nvPr/>
        </p:nvSpPr>
        <p:spPr bwMode="gray">
          <a:xfrm>
            <a:off x="989100" y="4873266"/>
            <a:ext cx="3583709" cy="974895"/>
          </a:xfrm>
          <a:prstGeom prst="rect">
            <a:avLst/>
          </a:prstGeom>
        </p:spPr>
        <p:txBody>
          <a:bodyPr vert="horz" lIns="0" tIns="0" rIns="0" bIns="0" rtlCol="0" anchor="ctr">
            <a:noAutofit/>
          </a:bodyPr>
          <a:lstStyle>
            <a:lvl1pPr marL="228600" indent="-228600" algn="l" defTabSz="914400" rtl="0" eaLnBrk="1" latinLnBrk="0" hangingPunct="1">
              <a:lnSpc>
                <a:spcPct val="90000"/>
              </a:lnSpc>
              <a:spcBef>
                <a:spcPts val="2000"/>
              </a:spcBef>
              <a:buClr>
                <a:schemeClr val="tx1"/>
              </a:buClr>
              <a:buFont typeface="Arial" panose="020B0604020202020204" pitchFamily="34" charset="0"/>
              <a:buChar char="•"/>
              <a:defRPr sz="2000" kern="1200">
                <a:solidFill>
                  <a:schemeClr val="tx1"/>
                </a:solidFill>
                <a:latin typeface="+mn-lt"/>
                <a:ea typeface="+mn-ea"/>
                <a:cs typeface="+mn-cs"/>
              </a:defRPr>
            </a:lvl1pPr>
            <a:lvl2pPr marL="466344" indent="-173736"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3736"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64592"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78992" indent="-118872"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960120" indent="0" algn="l" defTabSz="914400" rtl="0" eaLnBrk="1" latinLnBrk="0" hangingPunct="1">
              <a:lnSpc>
                <a:spcPct val="90000"/>
              </a:lnSpc>
              <a:spcBef>
                <a:spcPts val="100"/>
              </a:spcBef>
              <a:buClr>
                <a:schemeClr val="accent3"/>
              </a:buClr>
              <a:buFont typeface="Wingdings" panose="05000000000000000000" pitchFamily="2" charset="2"/>
              <a:buNone/>
              <a:defRPr sz="1200" kern="1200">
                <a:solidFill>
                  <a:schemeClr val="tx1"/>
                </a:solidFill>
                <a:latin typeface="+mn-lt"/>
                <a:ea typeface="+mn-ea"/>
                <a:cs typeface="+mn-cs"/>
              </a:defRPr>
            </a:lvl6pPr>
            <a:lvl7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7pPr>
            <a:lvl8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8pPr>
            <a:lvl9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9pPr>
          </a:lstStyle>
          <a:p>
            <a:pPr marL="0" marR="76000" lvl="1"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a:ln>
                  <a:noFill/>
                </a:ln>
                <a:solidFill>
                  <a:schemeClr val="accent2"/>
                </a:solidFill>
                <a:effectLst/>
                <a:uLnTx/>
                <a:uFillTx/>
                <a:latin typeface="+mj-lt"/>
              </a:rPr>
              <a:t>Her </a:t>
            </a:r>
            <a:r>
              <a:rPr kumimoji="0" lang="en-US" sz="1600" b="1" i="0" u="none" strike="noStrike" kern="1200" cap="none" spc="0" normalizeH="0" baseline="0" noProof="0" err="1">
                <a:ln>
                  <a:noFill/>
                </a:ln>
                <a:solidFill>
                  <a:schemeClr val="accent2"/>
                </a:solidFill>
                <a:effectLst/>
                <a:uLnTx/>
                <a:uFillTx/>
                <a:latin typeface="+mj-lt"/>
              </a:rPr>
              <a:t>iki</a:t>
            </a:r>
            <a:r>
              <a:rPr kumimoji="0" lang="en-US" sz="1600" b="1" i="0" u="none" strike="noStrike" kern="1200" cap="none" spc="0" normalizeH="0" baseline="0" noProof="0">
                <a:ln>
                  <a:noFill/>
                </a:ln>
                <a:solidFill>
                  <a:schemeClr val="accent2"/>
                </a:solidFill>
                <a:effectLst/>
                <a:uLnTx/>
                <a:uFillTx/>
                <a:latin typeface="+mj-lt"/>
              </a:rPr>
              <a:t> </a:t>
            </a:r>
            <a:r>
              <a:rPr kumimoji="0" lang="en-US" sz="1600" b="0" i="0" u="none" strike="noStrike" kern="1200" cap="none" spc="0" normalizeH="0" baseline="0" noProof="0">
                <a:ln>
                  <a:noFill/>
                </a:ln>
                <a:solidFill>
                  <a:srgbClr val="002060"/>
                </a:solidFill>
                <a:effectLst/>
                <a:uLnTx/>
                <a:uFillTx/>
                <a:latin typeface="+mj-lt"/>
              </a:rPr>
              <a:t>RSV alt </a:t>
            </a:r>
            <a:r>
              <a:rPr kumimoji="0" lang="en-US" sz="1600" b="0" i="0" u="none" strike="noStrike" kern="1200" cap="none" spc="0" normalizeH="0" baseline="0" noProof="0" err="1">
                <a:ln>
                  <a:noFill/>
                </a:ln>
                <a:solidFill>
                  <a:srgbClr val="002060"/>
                </a:solidFill>
                <a:effectLst/>
                <a:uLnTx/>
                <a:uFillTx/>
                <a:latin typeface="+mj-lt"/>
                <a:cs typeface="Calibri" panose="020F0502020204030204" pitchFamily="34" charset="0"/>
              </a:rPr>
              <a:t>grubu</a:t>
            </a:r>
            <a:r>
              <a:rPr kumimoji="0" lang="en-US" sz="1600" b="0" i="0" u="none" strike="noStrike" kern="1200" cap="none" spc="0" normalizeH="0" baseline="0" noProof="0">
                <a:ln>
                  <a:noFill/>
                </a:ln>
                <a:solidFill>
                  <a:srgbClr val="002060"/>
                </a:solidFill>
                <a:effectLst/>
                <a:uLnTx/>
                <a:uFillTx/>
                <a:latin typeface="+mj-lt"/>
              </a:rPr>
              <a:t> da </a:t>
            </a:r>
            <a:r>
              <a:rPr kumimoji="0" lang="en-US" sz="1600" b="1" i="0" u="none" strike="noStrike" kern="1200" cap="none" spc="0" normalizeH="0" baseline="0" noProof="0" err="1">
                <a:ln>
                  <a:noFill/>
                </a:ln>
                <a:solidFill>
                  <a:schemeClr val="accent2"/>
                </a:solidFill>
                <a:effectLst/>
                <a:uLnTx/>
                <a:uFillTx/>
                <a:latin typeface="+mj-lt"/>
              </a:rPr>
              <a:t>ciddi</a:t>
            </a:r>
            <a:r>
              <a:rPr kumimoji="0" lang="en-US" sz="1600" b="1" i="0" u="none" strike="noStrike" kern="1200" cap="none" spc="0" normalizeH="0" baseline="0" noProof="0">
                <a:ln>
                  <a:noFill/>
                </a:ln>
                <a:solidFill>
                  <a:schemeClr val="accent2"/>
                </a:solidFill>
                <a:effectLst/>
                <a:uLnTx/>
                <a:uFillTx/>
                <a:latin typeface="+mj-lt"/>
              </a:rPr>
              <a:t> </a:t>
            </a:r>
            <a:r>
              <a:rPr kumimoji="0" lang="en-US" sz="1600" b="1" i="0" u="none" strike="noStrike" kern="1200" cap="none" spc="0" normalizeH="0" baseline="0" noProof="0" err="1">
                <a:ln>
                  <a:noFill/>
                </a:ln>
                <a:solidFill>
                  <a:schemeClr val="accent2"/>
                </a:solidFill>
                <a:effectLst/>
                <a:uLnTx/>
                <a:uFillTx/>
                <a:latin typeface="+mj-lt"/>
              </a:rPr>
              <a:t>hastalık</a:t>
            </a:r>
            <a:r>
              <a:rPr kumimoji="0" lang="en-US" sz="1600" b="1" i="0" u="none" strike="noStrike" kern="1200" cap="none" spc="0" normalizeH="0" baseline="0" noProof="0">
                <a:ln>
                  <a:noFill/>
                </a:ln>
                <a:solidFill>
                  <a:schemeClr val="accent2"/>
                </a:solidFill>
                <a:effectLst/>
                <a:uLnTx/>
                <a:uFillTx/>
                <a:latin typeface="+mj-lt"/>
              </a:rPr>
              <a:t> </a:t>
            </a:r>
            <a:r>
              <a:rPr kumimoji="0" lang="en-US" sz="1600" b="0" i="0" u="none" strike="noStrike" kern="1200" cap="none" spc="0" normalizeH="0" baseline="0" noProof="0" err="1">
                <a:ln>
                  <a:noFill/>
                </a:ln>
                <a:solidFill>
                  <a:srgbClr val="002060"/>
                </a:solidFill>
                <a:effectLst/>
                <a:uLnTx/>
                <a:uFillTx/>
                <a:latin typeface="+mj-lt"/>
              </a:rPr>
              <a:t>ile</a:t>
            </a:r>
            <a:r>
              <a:rPr kumimoji="0" lang="en-US" sz="1600" b="0" i="0" u="none" strike="noStrike" kern="1200" cap="none" spc="0" normalizeH="0" baseline="0" noProof="0">
                <a:ln>
                  <a:noFill/>
                </a:ln>
                <a:solidFill>
                  <a:srgbClr val="002060"/>
                </a:solidFill>
                <a:effectLst/>
                <a:uLnTx/>
                <a:uFillTx/>
                <a:latin typeface="+mj-lt"/>
              </a:rPr>
              <a:t> </a:t>
            </a:r>
            <a:r>
              <a:rPr kumimoji="0" lang="en-US" sz="1600" b="0" i="0" u="none" strike="noStrike" kern="1200" cap="none" spc="0" normalizeH="0" baseline="0" noProof="0" err="1">
                <a:ln>
                  <a:noFill/>
                </a:ln>
                <a:solidFill>
                  <a:srgbClr val="002060"/>
                </a:solidFill>
                <a:effectLst/>
                <a:uLnTx/>
                <a:uFillTx/>
                <a:latin typeface="+mj-lt"/>
              </a:rPr>
              <a:t>ilişkilidir</a:t>
            </a:r>
            <a:r>
              <a:rPr kumimoji="0" lang="tr-TR" sz="1600" b="0" i="0" u="none" strike="noStrike" kern="1200" cap="none" spc="0" normalizeH="0" baseline="0" noProof="0">
                <a:ln>
                  <a:noFill/>
                </a:ln>
                <a:solidFill>
                  <a:srgbClr val="002060"/>
                </a:solidFill>
                <a:effectLst/>
                <a:uLnTx/>
                <a:uFillTx/>
                <a:latin typeface="+mj-lt"/>
              </a:rPr>
              <a:t>.</a:t>
            </a:r>
            <a:endParaRPr kumimoji="0" lang="en-US" sz="1600" b="0" i="0" u="none" strike="noStrike" kern="1200" cap="none" spc="0" normalizeH="0" baseline="0" noProof="0">
              <a:ln>
                <a:noFill/>
              </a:ln>
              <a:solidFill>
                <a:srgbClr val="002060"/>
              </a:solidFill>
              <a:effectLst/>
              <a:uLnTx/>
              <a:uFillTx/>
              <a:latin typeface="+mj-lt"/>
            </a:endParaRPr>
          </a:p>
        </p:txBody>
      </p:sp>
      <p:sp>
        <p:nvSpPr>
          <p:cNvPr id="27" name="TextBox 26">
            <a:extLst>
              <a:ext uri="{FF2B5EF4-FFF2-40B4-BE49-F238E27FC236}">
                <a16:creationId xmlns:a16="http://schemas.microsoft.com/office/drawing/2014/main" id="{574C145F-1CBA-4000-0E37-4280C5E3EC2E}"/>
              </a:ext>
            </a:extLst>
          </p:cNvPr>
          <p:cNvSpPr txBox="1"/>
          <p:nvPr/>
        </p:nvSpPr>
        <p:spPr bwMode="gray">
          <a:xfrm>
            <a:off x="9169881" y="2191798"/>
            <a:ext cx="641420" cy="313932"/>
          </a:xfrm>
          <a:prstGeom prst="rect">
            <a:avLst/>
          </a:prstGeom>
          <a:solidFill>
            <a:schemeClr val="bg1"/>
          </a:solidFill>
          <a:ln>
            <a:solidFill>
              <a:schemeClr val="bg1"/>
            </a:solidFill>
          </a:ln>
        </p:spPr>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600" b="1" i="0" u="none" strike="noStrike" kern="1200" cap="none" spc="0" normalizeH="0" baseline="0" noProof="0">
                <a:ln>
                  <a:noFill/>
                </a:ln>
                <a:solidFill>
                  <a:srgbClr val="0095FF">
                    <a:lumMod val="76000"/>
                  </a:srgbClr>
                </a:solidFill>
                <a:effectLst/>
                <a:uLnTx/>
                <a:uFillTx/>
                <a:latin typeface="+mj-lt"/>
                <a:ea typeface="+mn-ea"/>
                <a:cs typeface="Arial"/>
              </a:rPr>
              <a:t>%39</a:t>
            </a:r>
          </a:p>
        </p:txBody>
      </p:sp>
      <p:sp>
        <p:nvSpPr>
          <p:cNvPr id="28" name="TextBox 27">
            <a:extLst>
              <a:ext uri="{FF2B5EF4-FFF2-40B4-BE49-F238E27FC236}">
                <a16:creationId xmlns:a16="http://schemas.microsoft.com/office/drawing/2014/main" id="{7521E9C5-1C0A-5B1B-DCD5-8A9D969D5219}"/>
              </a:ext>
            </a:extLst>
          </p:cNvPr>
          <p:cNvSpPr txBox="1"/>
          <p:nvPr/>
        </p:nvSpPr>
        <p:spPr bwMode="gray">
          <a:xfrm>
            <a:off x="9169880" y="3238501"/>
            <a:ext cx="641420" cy="320088"/>
          </a:xfrm>
          <a:prstGeom prst="rect">
            <a:avLst/>
          </a:prstGeom>
          <a:solidFill>
            <a:schemeClr val="bg1"/>
          </a:solidFill>
          <a:ln>
            <a:solidFill>
              <a:schemeClr val="bg1"/>
            </a:solidFill>
          </a:ln>
        </p:spPr>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600" b="1" i="0" u="none" strike="noStrike" kern="1200" cap="none" spc="0" normalizeH="0" baseline="0" noProof="0">
                <a:ln>
                  <a:noFill/>
                </a:ln>
                <a:solidFill>
                  <a:schemeClr val="accent5"/>
                </a:solidFill>
                <a:effectLst/>
                <a:uLnTx/>
                <a:uFillTx/>
                <a:latin typeface="+mj-lt"/>
                <a:ea typeface="+mn-ea"/>
                <a:cs typeface="Arial"/>
              </a:rPr>
              <a:t>%6</a:t>
            </a:r>
          </a:p>
        </p:txBody>
      </p:sp>
      <p:sp>
        <p:nvSpPr>
          <p:cNvPr id="29" name="Text Placeholder 8">
            <a:extLst>
              <a:ext uri="{FF2B5EF4-FFF2-40B4-BE49-F238E27FC236}">
                <a16:creationId xmlns:a16="http://schemas.microsoft.com/office/drawing/2014/main" id="{8EE8097B-EF41-2A3A-33B0-1961058CBE91}"/>
              </a:ext>
            </a:extLst>
          </p:cNvPr>
          <p:cNvSpPr txBox="1">
            <a:spLocks/>
          </p:cNvSpPr>
          <p:nvPr/>
        </p:nvSpPr>
        <p:spPr>
          <a:xfrm>
            <a:off x="1501756" y="6192968"/>
            <a:ext cx="7464443" cy="590296"/>
          </a:xfrm>
          <a:prstGeom prst="rect">
            <a:avLst/>
          </a:prstGeom>
        </p:spPr>
        <p:txBody>
          <a:bodyPr vert="horz" lIns="45720" tIns="45720" rIns="45720" bIns="4572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800">
                <a:latin typeface="+mj-lt"/>
              </a:rPr>
              <a:t>* </a:t>
            </a:r>
            <a:r>
              <a:rPr lang="en-US" sz="800">
                <a:solidFill>
                  <a:srgbClr val="002060"/>
                </a:solidFill>
                <a:latin typeface="+mj-lt"/>
              </a:rPr>
              <a:t>Analysis of 137 RSV seasons in 29 countries between 1990 and 2021.</a:t>
            </a:r>
            <a:r>
              <a:rPr lang="en-US" sz="800">
                <a:solidFill>
                  <a:srgbClr val="002060"/>
                </a:solidFill>
                <a:latin typeface="+mj-lt"/>
                <a:cs typeface="Arial"/>
              </a:rPr>
              <a:t> </a:t>
            </a:r>
            <a:r>
              <a:rPr lang="en-US" sz="800" baseline="30000">
                <a:solidFill>
                  <a:srgbClr val="002060"/>
                </a:solidFill>
                <a:latin typeface="+mj-lt"/>
              </a:rPr>
              <a:t>†</a:t>
            </a:r>
            <a:r>
              <a:rPr lang="en-US" sz="800">
                <a:solidFill>
                  <a:srgbClr val="002060"/>
                </a:solidFill>
                <a:latin typeface="+mj-lt"/>
              </a:rPr>
              <a:t>Of 46 studies reporting RSV subgroup impact on clinical severity.  </a:t>
            </a:r>
            <a:r>
              <a:rPr lang="en-US" sz="800">
                <a:solidFill>
                  <a:srgbClr val="002060"/>
                </a:solidFill>
                <a:latin typeface="+mj-lt"/>
                <a:cs typeface="Calibri" panose="020F0502020204030204" pitchFamily="34" charset="0"/>
              </a:rPr>
              <a:t>Curcio D, et </a:t>
            </a:r>
            <a:r>
              <a:rPr lang="en-US" sz="800" err="1">
                <a:solidFill>
                  <a:srgbClr val="002060"/>
                </a:solidFill>
                <a:latin typeface="+mj-lt"/>
                <a:cs typeface="Calibri" panose="020F0502020204030204" pitchFamily="34" charset="0"/>
              </a:rPr>
              <a:t>alPoster</a:t>
            </a:r>
            <a:r>
              <a:rPr lang="en-US" sz="800">
                <a:solidFill>
                  <a:srgbClr val="002060"/>
                </a:solidFill>
                <a:latin typeface="+mj-lt"/>
                <a:cs typeface="Calibri" panose="020F0502020204030204" pitchFamily="34" charset="0"/>
              </a:rPr>
              <a:t> Presentation, 2023. </a:t>
            </a:r>
            <a:r>
              <a:rPr lang="en-US" sz="800">
                <a:solidFill>
                  <a:srgbClr val="002060"/>
                </a:solidFill>
                <a:latin typeface="+mj-lt"/>
                <a:cs typeface="Calibri" panose="020F0502020204030204" pitchFamily="34" charset="0"/>
                <a:hlinkClick r:id="rId4">
                  <a:extLst>
                    <a:ext uri="{A12FA001-AC4F-418D-AE19-62706E023703}">
                      <ahyp:hlinkClr xmlns:ahyp="http://schemas.microsoft.com/office/drawing/2018/hyperlinkcolor" val="tx"/>
                    </a:ext>
                  </a:extLst>
                </a:hlinkClick>
              </a:rPr>
              <a:t>https://resvinet.org/conferences/rsvvw23-abstract-booklet/</a:t>
            </a:r>
            <a:r>
              <a:rPr lang="en-US" sz="800">
                <a:solidFill>
                  <a:srgbClr val="002060"/>
                </a:solidFill>
                <a:latin typeface="+mj-lt"/>
                <a:cs typeface="Calibri" panose="020F0502020204030204" pitchFamily="34" charset="0"/>
              </a:rPr>
              <a:t>. Accessed January 29, 2025; </a:t>
            </a:r>
            <a:r>
              <a:rPr lang="en-US" sz="800" err="1">
                <a:solidFill>
                  <a:srgbClr val="002060"/>
                </a:solidFill>
                <a:latin typeface="+mj-lt"/>
                <a:cs typeface="Calibri" panose="020F0502020204030204" pitchFamily="34" charset="0"/>
              </a:rPr>
              <a:t>Nuttens</a:t>
            </a:r>
            <a:r>
              <a:rPr lang="en-US" sz="800">
                <a:solidFill>
                  <a:srgbClr val="002060"/>
                </a:solidFill>
                <a:latin typeface="+mj-lt"/>
                <a:cs typeface="Calibri" panose="020F0502020204030204" pitchFamily="34" charset="0"/>
              </a:rPr>
              <a:t> C, et al. Infect Dis Ther. 2024 Aug;13(8):1725-1742.</a:t>
            </a:r>
          </a:p>
        </p:txBody>
      </p:sp>
      <p:pic>
        <p:nvPicPr>
          <p:cNvPr id="33" name="Picture 32" descr="A black and blue logo&#10;&#10;AI-generated content may be incorrect.">
            <a:extLst>
              <a:ext uri="{FF2B5EF4-FFF2-40B4-BE49-F238E27FC236}">
                <a16:creationId xmlns:a16="http://schemas.microsoft.com/office/drawing/2014/main" id="{0F707561-E6D6-1EF1-B804-63D9F7FD949A}"/>
              </a:ext>
            </a:extLst>
          </p:cNvPr>
          <p:cNvPicPr>
            <a:picLocks noChangeAspect="1"/>
          </p:cNvPicPr>
          <p:nvPr/>
        </p:nvPicPr>
        <p:blipFill>
          <a:blip r:embed="rId5"/>
          <a:stretch>
            <a:fillRect/>
          </a:stretch>
        </p:blipFill>
        <p:spPr>
          <a:xfrm>
            <a:off x="10466403" y="6494969"/>
            <a:ext cx="981021" cy="204067"/>
          </a:xfrm>
          <a:prstGeom prst="rect">
            <a:avLst/>
          </a:prstGeom>
        </p:spPr>
      </p:pic>
    </p:spTree>
    <p:extLst>
      <p:ext uri="{BB962C8B-B14F-4D97-AF65-F5344CB8AC3E}">
        <p14:creationId xmlns:p14="http://schemas.microsoft.com/office/powerpoint/2010/main" val="3192247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24BDB4-2569-BEA2-7569-AB0AFBAD644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434C17D-94FB-F821-8914-79A383199A40}"/>
              </a:ext>
            </a:extLst>
          </p:cNvPr>
          <p:cNvSpPr>
            <a:spLocks noGrp="1"/>
          </p:cNvSpPr>
          <p:nvPr>
            <p:ph type="title"/>
          </p:nvPr>
        </p:nvSpPr>
        <p:spPr>
          <a:xfrm>
            <a:off x="612775" y="429834"/>
            <a:ext cx="10969625" cy="373820"/>
          </a:xfrm>
        </p:spPr>
        <p:txBody>
          <a:bodyPr vert="horz" wrap="square" lIns="0" tIns="0" rIns="0" bIns="0" rtlCol="0" anchor="ctr">
            <a:spAutoFit/>
          </a:bodyPr>
          <a:lstStyle/>
          <a:p>
            <a:r>
              <a:rPr lang="en-US" dirty="0" err="1"/>
              <a:t>İmmünosenesans</a:t>
            </a:r>
            <a:r>
              <a:rPr lang="en-US" dirty="0"/>
              <a:t> </a:t>
            </a:r>
            <a:r>
              <a:rPr lang="en-US" dirty="0" err="1"/>
              <a:t>ve</a:t>
            </a:r>
            <a:r>
              <a:rPr lang="en-US" dirty="0"/>
              <a:t> </a:t>
            </a:r>
            <a:r>
              <a:rPr lang="en-US" dirty="0" err="1"/>
              <a:t>yaşlanma</a:t>
            </a:r>
            <a:r>
              <a:rPr lang="en-US" dirty="0"/>
              <a:t> </a:t>
            </a:r>
            <a:r>
              <a:rPr lang="en-US" dirty="0" err="1"/>
              <a:t>ASYE’lerde</a:t>
            </a:r>
            <a:r>
              <a:rPr lang="en-US" dirty="0"/>
              <a:t> </a:t>
            </a:r>
            <a:r>
              <a:rPr lang="en-US" dirty="0" err="1"/>
              <a:t>artışa</a:t>
            </a:r>
            <a:r>
              <a:rPr lang="en-US" dirty="0"/>
              <a:t> </a:t>
            </a:r>
            <a:r>
              <a:rPr lang="en-US" dirty="0" err="1"/>
              <a:t>yol</a:t>
            </a:r>
            <a:r>
              <a:rPr lang="en-US" dirty="0"/>
              <a:t> </a:t>
            </a:r>
            <a:r>
              <a:rPr lang="en-US" dirty="0" err="1"/>
              <a:t>açabilir</a:t>
            </a:r>
            <a:endParaRPr lang="en-GB" dirty="0"/>
          </a:p>
        </p:txBody>
      </p:sp>
      <p:sp>
        <p:nvSpPr>
          <p:cNvPr id="2" name="Slide Number Placeholder 1">
            <a:extLst>
              <a:ext uri="{FF2B5EF4-FFF2-40B4-BE49-F238E27FC236}">
                <a16:creationId xmlns:a16="http://schemas.microsoft.com/office/drawing/2014/main" id="{836A8870-A594-DDFA-73FB-5998F21E179D}"/>
              </a:ext>
            </a:extLst>
          </p:cNvPr>
          <p:cNvSpPr>
            <a:spLocks noGrp="1"/>
          </p:cNvSpPr>
          <p:nvPr>
            <p:ph type="sldNum" sz="quarter" idx="4"/>
          </p:nvPr>
        </p:nvSpPr>
        <p:spPr>
          <a:xfrm>
            <a:off x="10438834" y="6508427"/>
            <a:ext cx="1143536" cy="153889"/>
          </a:xfrm>
        </p:spPr>
        <p:txBody>
          <a:bodyPr/>
          <a:lstStyle/>
          <a:p>
            <a:pPr lvl="0"/>
            <a:fld id="{2B39012A-6F33-204B-8224-A57BEFB0AAD0}" type="slidenum">
              <a:rPr lang="en-US" noProof="0" smtClean="0"/>
              <a:pPr lvl="0"/>
              <a:t>8</a:t>
            </a:fld>
            <a:endParaRPr lang="en-US" noProof="0"/>
          </a:p>
        </p:txBody>
      </p:sp>
      <p:sp>
        <p:nvSpPr>
          <p:cNvPr id="5" name="TextBox 4">
            <a:extLst>
              <a:ext uri="{FF2B5EF4-FFF2-40B4-BE49-F238E27FC236}">
                <a16:creationId xmlns:a16="http://schemas.microsoft.com/office/drawing/2014/main" id="{7164DE0F-D6D7-40CB-EDEE-D1D61DFABAA3}"/>
              </a:ext>
            </a:extLst>
          </p:cNvPr>
          <p:cNvSpPr txBox="1"/>
          <p:nvPr/>
        </p:nvSpPr>
        <p:spPr>
          <a:xfrm>
            <a:off x="577181" y="6099805"/>
            <a:ext cx="10861668" cy="276999"/>
          </a:xfrm>
          <a:prstGeom prst="rect">
            <a:avLst/>
          </a:prstGeom>
          <a:noFill/>
        </p:spPr>
        <p:txBody>
          <a:bodyPr wrap="square" lIns="0" tIns="0" rIns="0" bIns="0" rtlCol="0" anchor="b">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bg1">
                    <a:lumMod val="50000"/>
                  </a:schemeClr>
                </a:solidFill>
                <a:effectLst/>
                <a:uLnTx/>
                <a:uFillTx/>
                <a:latin typeface="Pfizer Diatype Office"/>
                <a:ea typeface="+mn-ea"/>
                <a:cs typeface="+mn-cs"/>
              </a:rPr>
              <a:t>ASYE, </a:t>
            </a:r>
            <a:r>
              <a:rPr lang="en-GB" sz="900" dirty="0">
                <a:solidFill>
                  <a:schemeClr val="bg1">
                    <a:lumMod val="50000"/>
                  </a:schemeClr>
                </a:solidFill>
                <a:latin typeface="Pfizer Diatype Office"/>
              </a:rPr>
              <a:t>alt </a:t>
            </a:r>
            <a:r>
              <a:rPr lang="en-GB" sz="900" dirty="0" err="1">
                <a:solidFill>
                  <a:schemeClr val="bg1">
                    <a:lumMod val="50000"/>
                  </a:schemeClr>
                </a:solidFill>
                <a:latin typeface="Pfizer Diatype Office"/>
              </a:rPr>
              <a:t>solunum</a:t>
            </a:r>
            <a:r>
              <a:rPr lang="en-GB" sz="900" dirty="0">
                <a:solidFill>
                  <a:schemeClr val="bg1">
                    <a:lumMod val="50000"/>
                  </a:schemeClr>
                </a:solidFill>
                <a:latin typeface="Pfizer Diatype Office"/>
              </a:rPr>
              <a:t> </a:t>
            </a:r>
            <a:r>
              <a:rPr lang="en-GB" sz="900" dirty="0" err="1">
                <a:solidFill>
                  <a:schemeClr val="bg1">
                    <a:lumMod val="50000"/>
                  </a:schemeClr>
                </a:solidFill>
                <a:latin typeface="Pfizer Diatype Office"/>
              </a:rPr>
              <a:t>yolu</a:t>
            </a:r>
            <a:r>
              <a:rPr lang="en-GB" sz="900" dirty="0">
                <a:solidFill>
                  <a:schemeClr val="bg1">
                    <a:lumMod val="50000"/>
                  </a:schemeClr>
                </a:solidFill>
                <a:latin typeface="Pfizer Diatype Office"/>
              </a:rPr>
              <a:t> </a:t>
            </a:r>
            <a:r>
              <a:rPr lang="en-GB" sz="900" dirty="0" err="1">
                <a:solidFill>
                  <a:schemeClr val="bg1">
                    <a:lumMod val="50000"/>
                  </a:schemeClr>
                </a:solidFill>
                <a:latin typeface="Pfizer Diatype Office"/>
              </a:rPr>
              <a:t>enfeksiyonu</a:t>
            </a:r>
            <a:r>
              <a:rPr kumimoji="0" lang="en-GB" sz="900" b="0" i="0" u="none" strike="noStrike" kern="1200" cap="none" spc="0" normalizeH="0" baseline="0" noProof="0" dirty="0">
                <a:ln>
                  <a:noFill/>
                </a:ln>
                <a:solidFill>
                  <a:schemeClr val="bg1">
                    <a:lumMod val="50000"/>
                  </a:schemeClr>
                </a:solidFill>
                <a:effectLst/>
                <a:uLnTx/>
                <a:uFillTx/>
                <a:latin typeface="Pfizer Diatype Office"/>
                <a:ea typeface="+mn-ea"/>
                <a:cs typeface="+mn-cs"/>
              </a:rPr>
              <a:t>.</a:t>
            </a:r>
          </a:p>
          <a:p>
            <a:pPr lvl="0">
              <a:defRPr/>
            </a:pPr>
            <a:r>
              <a:rPr lang="en-GB" dirty="0">
                <a:solidFill>
                  <a:schemeClr val="bg1">
                    <a:lumMod val="50000"/>
                  </a:schemeClr>
                </a:solidFill>
              </a:rPr>
              <a:t>1. Hernandez-Ruiz V, et al. </a:t>
            </a:r>
            <a:r>
              <a:rPr lang="en-GB" i="1" dirty="0" err="1">
                <a:solidFill>
                  <a:schemeClr val="bg1">
                    <a:lumMod val="50000"/>
                  </a:schemeClr>
                </a:solidFill>
              </a:rPr>
              <a:t>Neurol</a:t>
            </a:r>
            <a:r>
              <a:rPr lang="en-GB" i="1" dirty="0">
                <a:solidFill>
                  <a:schemeClr val="bg1">
                    <a:lumMod val="50000"/>
                  </a:schemeClr>
                </a:solidFill>
              </a:rPr>
              <a:t> Sci</a:t>
            </a:r>
            <a:r>
              <a:rPr lang="en-GB" dirty="0">
                <a:solidFill>
                  <a:schemeClr val="bg1">
                    <a:lumMod val="50000"/>
                  </a:schemeClr>
                </a:solidFill>
              </a:rPr>
              <a:t>.</a:t>
            </a:r>
            <a:r>
              <a:rPr lang="en-GB" i="1" dirty="0">
                <a:solidFill>
                  <a:schemeClr val="bg1">
                    <a:lumMod val="50000"/>
                  </a:schemeClr>
                </a:solidFill>
              </a:rPr>
              <a:t> </a:t>
            </a:r>
            <a:r>
              <a:rPr lang="en-GB" dirty="0">
                <a:solidFill>
                  <a:schemeClr val="bg1">
                    <a:lumMod val="50000"/>
                  </a:schemeClr>
                </a:solidFill>
              </a:rPr>
              <a:t>2022;43(11):6215-6224; 2. Lian J, et al. </a:t>
            </a:r>
            <a:r>
              <a:rPr lang="en-GB" i="1" dirty="0">
                <a:solidFill>
                  <a:schemeClr val="bg1">
                    <a:lumMod val="50000"/>
                  </a:schemeClr>
                </a:solidFill>
              </a:rPr>
              <a:t>J </a:t>
            </a:r>
            <a:r>
              <a:rPr lang="en-GB" i="1" dirty="0" err="1">
                <a:solidFill>
                  <a:schemeClr val="bg1">
                    <a:lumMod val="50000"/>
                  </a:schemeClr>
                </a:solidFill>
              </a:rPr>
              <a:t>Hematol</a:t>
            </a:r>
            <a:r>
              <a:rPr lang="en-GB" i="1" dirty="0">
                <a:solidFill>
                  <a:schemeClr val="bg1">
                    <a:lumMod val="50000"/>
                  </a:schemeClr>
                </a:solidFill>
              </a:rPr>
              <a:t> Oncol</a:t>
            </a:r>
            <a:r>
              <a:rPr lang="en-GB" dirty="0">
                <a:solidFill>
                  <a:schemeClr val="bg1">
                    <a:lumMod val="50000"/>
                  </a:schemeClr>
                </a:solidFill>
              </a:rPr>
              <a:t>. 2020;13(1):151.</a:t>
            </a:r>
          </a:p>
        </p:txBody>
      </p:sp>
      <p:sp>
        <p:nvSpPr>
          <p:cNvPr id="8" name="TextBox 7">
            <a:extLst>
              <a:ext uri="{FF2B5EF4-FFF2-40B4-BE49-F238E27FC236}">
                <a16:creationId xmlns:a16="http://schemas.microsoft.com/office/drawing/2014/main" id="{696AB3E4-B337-3CE0-3D27-166B60EF721D}"/>
              </a:ext>
            </a:extLst>
          </p:cNvPr>
          <p:cNvSpPr txBox="1"/>
          <p:nvPr/>
        </p:nvSpPr>
        <p:spPr>
          <a:xfrm>
            <a:off x="612775" y="1367353"/>
            <a:ext cx="8964090" cy="263555"/>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0"/>
              </a:spcBef>
              <a:spcAft>
                <a:spcPts val="1200"/>
              </a:spcAft>
              <a:buClr>
                <a:srgbClr val="000000"/>
              </a:buClr>
              <a:buSzPct val="100000"/>
              <a:buFontTx/>
              <a:buNone/>
              <a:tabLst/>
              <a:defRPr/>
            </a:pPr>
            <a:r>
              <a:rPr kumimoji="0" lang="en-US" sz="1800" b="1" i="0" u="none" strike="noStrike" kern="1200" cap="none" spc="-25" normalizeH="0" baseline="0" noProof="0" dirty="0" err="1">
                <a:ln>
                  <a:noFill/>
                </a:ln>
                <a:solidFill>
                  <a:srgbClr val="0000C9"/>
                </a:solidFill>
                <a:effectLst/>
                <a:uLnTx/>
                <a:uFillTx/>
                <a:latin typeface="Pfizer Tomorrow"/>
                <a:ea typeface="+mn-ea"/>
                <a:cs typeface="+mn-cs"/>
              </a:rPr>
              <a:t>Yaşlı</a:t>
            </a:r>
            <a:r>
              <a:rPr kumimoji="0" lang="en-US" sz="1800" b="1" i="0" u="none" strike="noStrike" kern="1200" cap="none" spc="-25" normalizeH="0" baseline="0" noProof="0" dirty="0">
                <a:ln>
                  <a:noFill/>
                </a:ln>
                <a:solidFill>
                  <a:srgbClr val="0000C9"/>
                </a:solidFill>
                <a:effectLst/>
                <a:uLnTx/>
                <a:uFillTx/>
                <a:latin typeface="Pfizer Tomorrow"/>
                <a:ea typeface="+mn-ea"/>
                <a:cs typeface="+mn-cs"/>
              </a:rPr>
              <a:t> </a:t>
            </a:r>
            <a:r>
              <a:rPr kumimoji="0" lang="en-US" sz="1800" b="1" i="0" u="none" strike="noStrike" kern="1200" cap="none" spc="-25" normalizeH="0" baseline="0" noProof="0" dirty="0" err="1">
                <a:ln>
                  <a:noFill/>
                </a:ln>
                <a:solidFill>
                  <a:srgbClr val="0000C9"/>
                </a:solidFill>
                <a:effectLst/>
                <a:uLnTx/>
                <a:uFillTx/>
                <a:latin typeface="Pfizer Tomorrow"/>
                <a:ea typeface="+mn-ea"/>
                <a:cs typeface="+mn-cs"/>
              </a:rPr>
              <a:t>yetişkinler</a:t>
            </a:r>
            <a:r>
              <a:rPr kumimoji="0" lang="en-US" sz="1800" b="1" i="0" u="none" strike="noStrike" kern="1200" cap="none" spc="-25" normalizeH="0" baseline="0" noProof="0" dirty="0">
                <a:ln>
                  <a:noFill/>
                </a:ln>
                <a:solidFill>
                  <a:srgbClr val="0000C9"/>
                </a:solidFill>
                <a:effectLst/>
                <a:uLnTx/>
                <a:uFillTx/>
                <a:latin typeface="Pfizer Tomorrow"/>
                <a:ea typeface="+mn-ea"/>
                <a:cs typeface="+mn-cs"/>
              </a:rPr>
              <a:t>, </a:t>
            </a:r>
            <a:r>
              <a:rPr kumimoji="0" lang="en-US" sz="1800" b="1" i="0" u="none" strike="noStrike" kern="1200" cap="none" spc="-25" normalizeH="0" baseline="0" noProof="0" dirty="0" err="1">
                <a:ln>
                  <a:noFill/>
                </a:ln>
                <a:solidFill>
                  <a:srgbClr val="0000C9"/>
                </a:solidFill>
                <a:effectLst/>
                <a:uLnTx/>
                <a:uFillTx/>
                <a:latin typeface="Pfizer Tomorrow"/>
                <a:ea typeface="+mn-ea"/>
                <a:cs typeface="+mn-cs"/>
              </a:rPr>
              <a:t>aşağıdakiler</a:t>
            </a:r>
            <a:r>
              <a:rPr kumimoji="0" lang="en-US" sz="1800" b="1" i="0" u="none" strike="noStrike" kern="1200" cap="none" spc="-25" normalizeH="0" baseline="0" noProof="0" dirty="0">
                <a:ln>
                  <a:noFill/>
                </a:ln>
                <a:solidFill>
                  <a:srgbClr val="0000C9"/>
                </a:solidFill>
                <a:effectLst/>
                <a:uLnTx/>
                <a:uFillTx/>
                <a:latin typeface="Pfizer Tomorrow"/>
                <a:ea typeface="+mn-ea"/>
                <a:cs typeface="+mn-cs"/>
              </a:rPr>
              <a:t> </a:t>
            </a:r>
            <a:r>
              <a:rPr kumimoji="0" lang="en-US" sz="1800" b="1" i="0" u="none" strike="noStrike" kern="1200" cap="none" spc="-25" normalizeH="0" baseline="0" noProof="0" dirty="0" err="1">
                <a:ln>
                  <a:noFill/>
                </a:ln>
                <a:solidFill>
                  <a:srgbClr val="0000C9"/>
                </a:solidFill>
                <a:effectLst/>
                <a:uLnTx/>
                <a:uFillTx/>
                <a:latin typeface="Pfizer Tomorrow"/>
                <a:ea typeface="+mn-ea"/>
                <a:cs typeface="+mn-cs"/>
              </a:rPr>
              <a:t>nedeniyle</a:t>
            </a:r>
            <a:r>
              <a:rPr kumimoji="0" lang="en-US" sz="1800" b="1" i="0" u="none" strike="noStrike" kern="1200" cap="none" spc="-25" normalizeH="0" baseline="0" noProof="0" dirty="0">
                <a:ln>
                  <a:noFill/>
                </a:ln>
                <a:solidFill>
                  <a:srgbClr val="0000C9"/>
                </a:solidFill>
                <a:effectLst/>
                <a:uLnTx/>
                <a:uFillTx/>
                <a:latin typeface="Pfizer Tomorrow"/>
                <a:ea typeface="+mn-ea"/>
                <a:cs typeface="+mn-cs"/>
              </a:rPr>
              <a:t> </a:t>
            </a:r>
            <a:r>
              <a:rPr kumimoji="0" lang="en-US" sz="1800" b="1" i="0" u="none" strike="noStrike" kern="1200" cap="none" spc="-25" normalizeH="0" baseline="0" noProof="0" dirty="0" err="1">
                <a:ln>
                  <a:noFill/>
                </a:ln>
                <a:solidFill>
                  <a:srgbClr val="0000C9"/>
                </a:solidFill>
                <a:effectLst/>
                <a:uLnTx/>
                <a:uFillTx/>
                <a:latin typeface="Pfizer Tomorrow"/>
                <a:ea typeface="+mn-ea"/>
                <a:cs typeface="+mn-cs"/>
              </a:rPr>
              <a:t>enfeksiyon</a:t>
            </a:r>
            <a:r>
              <a:rPr kumimoji="0" lang="en-US" sz="1800" b="1" i="0" u="none" strike="noStrike" kern="1200" cap="none" spc="-25" normalizeH="0" baseline="0" noProof="0" dirty="0">
                <a:ln>
                  <a:noFill/>
                </a:ln>
                <a:solidFill>
                  <a:srgbClr val="0000C9"/>
                </a:solidFill>
                <a:effectLst/>
                <a:uLnTx/>
                <a:uFillTx/>
                <a:latin typeface="Pfizer Tomorrow"/>
                <a:ea typeface="+mn-ea"/>
                <a:cs typeface="+mn-cs"/>
              </a:rPr>
              <a:t> </a:t>
            </a:r>
            <a:r>
              <a:rPr kumimoji="0" lang="en-US" sz="1800" b="1" i="0" u="none" strike="noStrike" kern="1200" cap="none" spc="-25" normalizeH="0" baseline="0" noProof="0" dirty="0" err="1">
                <a:ln>
                  <a:noFill/>
                </a:ln>
                <a:solidFill>
                  <a:srgbClr val="0000C9"/>
                </a:solidFill>
                <a:effectLst/>
                <a:uLnTx/>
                <a:uFillTx/>
                <a:latin typeface="Pfizer Tomorrow"/>
                <a:ea typeface="+mn-ea"/>
                <a:cs typeface="+mn-cs"/>
              </a:rPr>
              <a:t>hastalıklarına</a:t>
            </a:r>
            <a:r>
              <a:rPr kumimoji="0" lang="en-US" sz="1800" b="1" i="0" u="none" strike="noStrike" kern="1200" cap="none" spc="-25" normalizeH="0" baseline="0" noProof="0" dirty="0">
                <a:ln>
                  <a:noFill/>
                </a:ln>
                <a:solidFill>
                  <a:srgbClr val="0000C9"/>
                </a:solidFill>
                <a:effectLst/>
                <a:uLnTx/>
                <a:uFillTx/>
                <a:latin typeface="Pfizer Tomorrow"/>
                <a:ea typeface="+mn-ea"/>
                <a:cs typeface="+mn-cs"/>
              </a:rPr>
              <a:t> </a:t>
            </a:r>
            <a:r>
              <a:rPr kumimoji="0" lang="en-US" sz="1800" b="1" i="0" u="none" strike="noStrike" kern="1200" cap="none" spc="-25" normalizeH="0" baseline="0" noProof="0" dirty="0" err="1">
                <a:ln>
                  <a:noFill/>
                </a:ln>
                <a:solidFill>
                  <a:srgbClr val="0000C9"/>
                </a:solidFill>
                <a:effectLst/>
                <a:uLnTx/>
                <a:uFillTx/>
                <a:latin typeface="Pfizer Tomorrow"/>
                <a:ea typeface="+mn-ea"/>
                <a:cs typeface="+mn-cs"/>
              </a:rPr>
              <a:t>daha</a:t>
            </a:r>
            <a:r>
              <a:rPr kumimoji="0" lang="en-US" sz="1800" b="1" i="0" u="none" strike="noStrike" kern="1200" cap="none" spc="-25" normalizeH="0" baseline="0" noProof="0" dirty="0">
                <a:ln>
                  <a:noFill/>
                </a:ln>
                <a:solidFill>
                  <a:srgbClr val="0000C9"/>
                </a:solidFill>
                <a:effectLst/>
                <a:uLnTx/>
                <a:uFillTx/>
                <a:latin typeface="Pfizer Tomorrow"/>
                <a:ea typeface="+mn-ea"/>
                <a:cs typeface="+mn-cs"/>
              </a:rPr>
              <a:t> </a:t>
            </a:r>
            <a:r>
              <a:rPr kumimoji="0" lang="en-US" sz="1800" b="1" i="0" u="none" strike="noStrike" kern="1200" cap="none" spc="-25" normalizeH="0" baseline="0" noProof="0" dirty="0" err="1">
                <a:ln>
                  <a:noFill/>
                </a:ln>
                <a:solidFill>
                  <a:srgbClr val="0000C9"/>
                </a:solidFill>
                <a:effectLst/>
                <a:uLnTx/>
                <a:uFillTx/>
                <a:latin typeface="Pfizer Tomorrow"/>
                <a:ea typeface="+mn-ea"/>
                <a:cs typeface="+mn-cs"/>
              </a:rPr>
              <a:t>duyarlı</a:t>
            </a:r>
            <a:r>
              <a:rPr kumimoji="0" lang="en-US" sz="1800" b="1" i="0" u="none" strike="noStrike" kern="1200" cap="none" spc="-25" normalizeH="0" baseline="0" noProof="0" dirty="0">
                <a:ln>
                  <a:noFill/>
                </a:ln>
                <a:solidFill>
                  <a:srgbClr val="0000C9"/>
                </a:solidFill>
                <a:effectLst/>
                <a:uLnTx/>
                <a:uFillTx/>
                <a:latin typeface="Pfizer Tomorrow"/>
                <a:ea typeface="+mn-ea"/>
                <a:cs typeface="+mn-cs"/>
              </a:rPr>
              <a:t> olabilirler:</a:t>
            </a:r>
            <a:r>
              <a:rPr kumimoji="0" lang="en-US" sz="1800" b="1" i="0" u="none" strike="noStrike" kern="1200" cap="none" spc="-25" normalizeH="0" baseline="30000" noProof="0" dirty="0">
                <a:ln>
                  <a:noFill/>
                </a:ln>
                <a:solidFill>
                  <a:srgbClr val="0000C9"/>
                </a:solidFill>
                <a:effectLst/>
                <a:uLnTx/>
                <a:uFillTx/>
                <a:latin typeface="Pfizer Tomorrow"/>
                <a:ea typeface="+mn-ea"/>
                <a:cs typeface="+mn-cs"/>
              </a:rPr>
              <a:t>1</a:t>
            </a:r>
          </a:p>
        </p:txBody>
      </p:sp>
      <p:grpSp>
        <p:nvGrpSpPr>
          <p:cNvPr id="18" name="Group 17">
            <a:extLst>
              <a:ext uri="{FF2B5EF4-FFF2-40B4-BE49-F238E27FC236}">
                <a16:creationId xmlns:a16="http://schemas.microsoft.com/office/drawing/2014/main" id="{DAA858C2-4B8F-DA89-739D-176395ADF36E}"/>
              </a:ext>
            </a:extLst>
          </p:cNvPr>
          <p:cNvGrpSpPr/>
          <p:nvPr/>
        </p:nvGrpSpPr>
        <p:grpSpPr>
          <a:xfrm>
            <a:off x="577181" y="1831050"/>
            <a:ext cx="11005219" cy="4072102"/>
            <a:chOff x="577181" y="1678292"/>
            <a:chExt cx="11005219" cy="4322618"/>
          </a:xfrm>
        </p:grpSpPr>
        <p:sp>
          <p:nvSpPr>
            <p:cNvPr id="21" name="Rectangle: Rounded Corners 20">
              <a:extLst>
                <a:ext uri="{FF2B5EF4-FFF2-40B4-BE49-F238E27FC236}">
                  <a16:creationId xmlns:a16="http://schemas.microsoft.com/office/drawing/2014/main" id="{F88E2C46-522B-6BFC-1556-2F49CA9EFEE8}"/>
                </a:ext>
              </a:extLst>
            </p:cNvPr>
            <p:cNvSpPr/>
            <p:nvPr/>
          </p:nvSpPr>
          <p:spPr bwMode="gray">
            <a:xfrm>
              <a:off x="577181" y="1678292"/>
              <a:ext cx="4595191" cy="4295230"/>
            </a:xfrm>
            <a:prstGeom prst="roundRect">
              <a:avLst>
                <a:gd name="adj" fmla="val 2278"/>
              </a:avLst>
            </a:prstGeom>
            <a:solidFill>
              <a:srgbClr val="E0F5FF"/>
            </a:solidFill>
            <a:ln w="28575" cap="flat" cmpd="sng" algn="ctr">
              <a:noFill/>
              <a:prstDash val="solid"/>
              <a:miter lim="800000"/>
              <a:headEnd type="none" w="med" len="med"/>
              <a:tailEnd type="none" w="med" len="med"/>
            </a:ln>
            <a:effectLst/>
          </p:spPr>
          <p:txBody>
            <a:bodyPr vert="horz" wrap="square" lIns="90000" tIns="46800" rIns="90000" bIns="468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600"/>
                </a:spcBef>
                <a:spcAft>
                  <a:spcPts val="600"/>
                </a:spcAft>
                <a:buClr>
                  <a:srgbClr val="000000"/>
                </a:buClr>
                <a:buSzPct val="100000"/>
                <a:buFontTx/>
                <a:buNone/>
                <a:tabLst/>
                <a:defRPr/>
              </a:pPr>
              <a:r>
                <a:rPr kumimoji="0" lang="en-US" sz="1600" b="1" i="0" u="none" strike="noStrike" kern="1200" cap="none" spc="-25" normalizeH="0" baseline="0" noProof="0">
                  <a:ln>
                    <a:noFill/>
                  </a:ln>
                  <a:solidFill>
                    <a:srgbClr val="0000C9"/>
                  </a:solidFill>
                  <a:effectLst/>
                  <a:uLnTx/>
                  <a:uFillTx/>
                  <a:latin typeface="Pfizer Tomorrow"/>
                  <a:ea typeface="+mn-ea"/>
                  <a:cs typeface="+mn-cs"/>
                </a:rPr>
                <a:t>İmmünosenesans</a:t>
              </a:r>
              <a:r>
                <a:rPr kumimoji="0" lang="en-US" sz="1600" b="1" i="0" u="none" strike="noStrike" kern="1200" cap="none" spc="-25" normalizeH="0" baseline="30000" noProof="0">
                  <a:ln>
                    <a:noFill/>
                  </a:ln>
                  <a:solidFill>
                    <a:srgbClr val="0000C9"/>
                  </a:solidFill>
                  <a:effectLst/>
                  <a:uLnTx/>
                  <a:uFillTx/>
                  <a:latin typeface="Pfizer Tomorrow"/>
                  <a:ea typeface="+mn-ea"/>
                  <a:cs typeface="+mn-cs"/>
                </a:rPr>
                <a:t>1,2</a:t>
              </a:r>
              <a:endParaRPr kumimoji="0" lang="en-US" sz="1600" b="1" i="0" u="none" strike="noStrike" kern="1200" cap="none" spc="-25" normalizeH="0" baseline="0" noProof="0">
                <a:ln>
                  <a:noFill/>
                </a:ln>
                <a:solidFill>
                  <a:srgbClr val="0000C9"/>
                </a:solidFill>
                <a:effectLst/>
                <a:uLnTx/>
                <a:uFillTx/>
                <a:latin typeface="Pfizer Tomorrow"/>
                <a:ea typeface="+mn-ea"/>
                <a:cs typeface="+mn-cs"/>
              </a:endParaRPr>
            </a:p>
            <a:p>
              <a:pPr marL="173736" marR="0" lvl="0" indent="-173736" algn="l" defTabSz="914400" rtl="0" eaLnBrk="1" fontAlgn="base" latinLnBrk="0" hangingPunct="1">
                <a:lnSpc>
                  <a:spcPct val="100000"/>
                </a:lnSpc>
                <a:spcBef>
                  <a:spcPts val="600"/>
                </a:spcBef>
                <a:spcAft>
                  <a:spcPts val="600"/>
                </a:spcAft>
                <a:buClr>
                  <a:srgbClr val="000000"/>
                </a:buClr>
                <a:buSzPct val="100000"/>
                <a:buFont typeface="Arial" panose="020B0604020202020204" pitchFamily="34" charset="0"/>
                <a:buChar char="•"/>
                <a:tabLst/>
                <a:defRPr/>
              </a:pP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Yaşla</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birlikte</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ilerleyen</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bağışıklık</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fonksiyon</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bozukluğu</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süreci</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a:t>
              </a:r>
            </a:p>
            <a:p>
              <a:pPr marL="173736" marR="0" lvl="0" indent="-173736" algn="l" defTabSz="914400" rtl="0" eaLnBrk="1" fontAlgn="base" latinLnBrk="0" hangingPunct="1">
                <a:lnSpc>
                  <a:spcPct val="100000"/>
                </a:lnSpc>
                <a:spcBef>
                  <a:spcPts val="600"/>
                </a:spcBef>
                <a:spcAft>
                  <a:spcPts val="600"/>
                </a:spcAft>
                <a:buClr>
                  <a:srgbClr val="000000"/>
                </a:buClr>
                <a:buSzPct val="100000"/>
                <a:buFont typeface="Arial" panose="020B0604020202020204" pitchFamily="34" charset="0"/>
                <a:buChar char="•"/>
                <a:tabLst/>
                <a:defRPr/>
              </a:pP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Lenfoid</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organların</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yenide</a:t>
              </a:r>
              <a:r>
                <a:rPr lang="en-US" sz="1400">
                  <a:solidFill>
                    <a:srgbClr val="000000"/>
                  </a:solidFill>
                  <a:latin typeface="Pfizer Diatype Office"/>
                </a:rPr>
                <a:t>n </a:t>
              </a:r>
              <a:r>
                <a:rPr lang="en-US" sz="1400" err="1">
                  <a:solidFill>
                    <a:srgbClr val="000000"/>
                  </a:solidFill>
                  <a:latin typeface="Pfizer Diatype Office"/>
                </a:rPr>
                <a:t>şekillenmesi</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ve</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yaşlı</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bireylerde</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T-</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hücre</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üretiminin</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azalması</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adaptif</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bağışıklığın</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zayıflamasına</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neden</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olur</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ve</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bu</a:t>
              </a:r>
              <a:r>
                <a:rPr lang="en-US" sz="1400">
                  <a:solidFill>
                    <a:srgbClr val="000000"/>
                  </a:solidFill>
                  <a:latin typeface="Pfizer Diatype Office"/>
                </a:rPr>
                <a:t>;</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enfeksiyon</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otoimmün</a:t>
              </a:r>
              <a:r>
                <a:rPr kumimoji="0" lang="en-US"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US" sz="1400" b="0" i="0" u="none" strike="noStrike" kern="1200" cap="none" spc="0" normalizeH="0" baseline="0" noProof="0" err="1">
                  <a:ln>
                    <a:noFill/>
                  </a:ln>
                  <a:solidFill>
                    <a:srgbClr val="000000"/>
                  </a:solidFill>
                  <a:effectLst/>
                  <a:uLnTx/>
                  <a:uFillTx/>
                  <a:latin typeface="Pfizer Diatype Office"/>
                  <a:ea typeface="+mn-ea"/>
                  <a:cs typeface="+mn-cs"/>
                </a:rPr>
                <a:t>hastalık</a:t>
              </a:r>
              <a:r>
                <a:rPr lang="en-US" sz="1400">
                  <a:solidFill>
                    <a:srgbClr val="000000"/>
                  </a:solidFill>
                  <a:latin typeface="Pfizer Diatype Office"/>
                </a:rPr>
                <a:t>, </a:t>
              </a:r>
              <a:r>
                <a:rPr lang="en-US" sz="1400" err="1">
                  <a:solidFill>
                    <a:srgbClr val="000000"/>
                  </a:solidFill>
                  <a:latin typeface="Pfizer Diatype Office"/>
                </a:rPr>
                <a:t>kanser</a:t>
              </a:r>
              <a:r>
                <a:rPr lang="en-US" sz="1400">
                  <a:solidFill>
                    <a:srgbClr val="000000"/>
                  </a:solidFill>
                  <a:latin typeface="Pfizer Diatype Office"/>
                </a:rPr>
                <a:t> </a:t>
              </a:r>
              <a:r>
                <a:rPr lang="en-US" sz="1400" err="1">
                  <a:solidFill>
                    <a:srgbClr val="000000"/>
                  </a:solidFill>
                  <a:latin typeface="Pfizer Diatype Office"/>
                </a:rPr>
                <a:t>ve</a:t>
              </a:r>
              <a:r>
                <a:rPr lang="en-US" sz="1400">
                  <a:solidFill>
                    <a:srgbClr val="000000"/>
                  </a:solidFill>
                  <a:latin typeface="Pfizer Diatype Office"/>
                </a:rPr>
                <a:t> inflammaging </a:t>
              </a:r>
              <a:r>
                <a:rPr lang="en-US" sz="1400" err="1">
                  <a:solidFill>
                    <a:srgbClr val="000000"/>
                  </a:solidFill>
                  <a:latin typeface="Pfizer Diatype Office"/>
                </a:rPr>
                <a:t>sıklığında</a:t>
              </a:r>
              <a:r>
                <a:rPr lang="en-US" sz="1400">
                  <a:solidFill>
                    <a:srgbClr val="000000"/>
                  </a:solidFill>
                  <a:latin typeface="Pfizer Diatype Office"/>
                </a:rPr>
                <a:t> </a:t>
              </a:r>
              <a:r>
                <a:rPr lang="en-US" sz="1400" err="1">
                  <a:solidFill>
                    <a:srgbClr val="000000"/>
                  </a:solidFill>
                  <a:latin typeface="Pfizer Diatype Office"/>
                </a:rPr>
                <a:t>artışa</a:t>
              </a:r>
              <a:r>
                <a:rPr lang="en-US" sz="1400">
                  <a:solidFill>
                    <a:srgbClr val="000000"/>
                  </a:solidFill>
                  <a:latin typeface="Pfizer Diatype Office"/>
                </a:rPr>
                <a:t> </a:t>
              </a:r>
              <a:r>
                <a:rPr lang="en-US" sz="1400" err="1">
                  <a:solidFill>
                    <a:srgbClr val="000000"/>
                  </a:solidFill>
                  <a:latin typeface="Pfizer Diatype Office"/>
                </a:rPr>
                <a:t>yol</a:t>
              </a:r>
              <a:r>
                <a:rPr lang="en-US" sz="1400">
                  <a:solidFill>
                    <a:srgbClr val="000000"/>
                  </a:solidFill>
                  <a:latin typeface="Pfizer Diatype Office"/>
                </a:rPr>
                <a:t> </a:t>
              </a:r>
              <a:r>
                <a:rPr lang="en-US" sz="1400" err="1">
                  <a:solidFill>
                    <a:srgbClr val="000000"/>
                  </a:solidFill>
                  <a:latin typeface="Pfizer Diatype Office"/>
                </a:rPr>
                <a:t>açar</a:t>
              </a:r>
              <a:r>
                <a:rPr lang="en-US" sz="1400">
                  <a:solidFill>
                    <a:srgbClr val="000000"/>
                  </a:solidFill>
                  <a:latin typeface="Pfizer Diatype Office"/>
                </a:rPr>
                <a:t>.  </a:t>
              </a:r>
              <a:endParaRPr kumimoji="0" lang="en-US" sz="1400" b="0" i="0" u="none" strike="noStrike" kern="1200" cap="none" spc="0" normalizeH="0" baseline="30000" noProof="0">
                <a:ln>
                  <a:noFill/>
                </a:ln>
                <a:solidFill>
                  <a:srgbClr val="000000"/>
                </a:solidFill>
                <a:effectLst/>
                <a:uLnTx/>
                <a:uFillTx/>
                <a:latin typeface="Pfizer Diatype Office"/>
                <a:ea typeface="+mn-ea"/>
                <a:cs typeface="+mn-cs"/>
              </a:endParaRPr>
            </a:p>
          </p:txBody>
        </p:sp>
        <p:grpSp>
          <p:nvGrpSpPr>
            <p:cNvPr id="6" name="Group 5">
              <a:extLst>
                <a:ext uri="{FF2B5EF4-FFF2-40B4-BE49-F238E27FC236}">
                  <a16:creationId xmlns:a16="http://schemas.microsoft.com/office/drawing/2014/main" id="{F1770D57-F6E5-1206-838A-7AEE4E5B2167}"/>
                </a:ext>
              </a:extLst>
            </p:cNvPr>
            <p:cNvGrpSpPr/>
            <p:nvPr/>
          </p:nvGrpSpPr>
          <p:grpSpPr>
            <a:xfrm>
              <a:off x="803693" y="4027884"/>
              <a:ext cx="4020582" cy="1927128"/>
              <a:chOff x="866126" y="3995781"/>
              <a:chExt cx="4020582" cy="2025431"/>
            </a:xfrm>
          </p:grpSpPr>
          <p:sp>
            <p:nvSpPr>
              <p:cNvPr id="23" name="Rectangle 22">
                <a:extLst>
                  <a:ext uri="{FF2B5EF4-FFF2-40B4-BE49-F238E27FC236}">
                    <a16:creationId xmlns:a16="http://schemas.microsoft.com/office/drawing/2014/main" id="{5D836CEC-5C1B-7273-612C-B8B337A2DF80}"/>
                  </a:ext>
                </a:extLst>
              </p:cNvPr>
              <p:cNvSpPr/>
              <p:nvPr/>
            </p:nvSpPr>
            <p:spPr>
              <a:xfrm>
                <a:off x="2376699" y="4599710"/>
                <a:ext cx="1014465" cy="20551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22852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95FF"/>
                    </a:solidFill>
                    <a:effectLst/>
                    <a:uLnTx/>
                    <a:uFillTx/>
                    <a:latin typeface="Pfizer Diatype Office"/>
                    <a:ea typeface="+mn-ea"/>
                    <a:cs typeface="+mn-cs"/>
                  </a:rPr>
                  <a:t>Yaşlı yetişkinlik</a:t>
                </a:r>
              </a:p>
              <a:p>
                <a:pPr marL="0" marR="0" lvl="0" indent="0" algn="ctr" defTabSz="22852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Pfizer Diatype Office"/>
                    <a:ea typeface="+mn-ea"/>
                    <a:cs typeface="+mn-cs"/>
                  </a:rPr>
                  <a:t>(70 yaş üzeri)</a:t>
                </a:r>
              </a:p>
            </p:txBody>
          </p:sp>
          <p:sp>
            <p:nvSpPr>
              <p:cNvPr id="24" name="Rectangle: Rounded Corners 23">
                <a:extLst>
                  <a:ext uri="{FF2B5EF4-FFF2-40B4-BE49-F238E27FC236}">
                    <a16:creationId xmlns:a16="http://schemas.microsoft.com/office/drawing/2014/main" id="{57369EA4-E42D-3CEF-8D6F-D033B3AB8AD0}"/>
                  </a:ext>
                </a:extLst>
              </p:cNvPr>
              <p:cNvSpPr>
                <a:spLocks/>
              </p:cNvSpPr>
              <p:nvPr/>
            </p:nvSpPr>
            <p:spPr bwMode="gray">
              <a:xfrm>
                <a:off x="866126" y="3995781"/>
                <a:ext cx="4020582" cy="2025431"/>
              </a:xfrm>
              <a:prstGeom prst="roundRect">
                <a:avLst>
                  <a:gd name="adj" fmla="val 8931"/>
                </a:avLst>
              </a:prstGeom>
              <a:solidFill>
                <a:schemeClr val="bg1"/>
              </a:solidFill>
              <a:ln w="1270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600" b="1" i="0" u="none" strike="noStrike" kern="1200" cap="none" spc="0" normalizeH="0" baseline="0" noProof="0">
                  <a:ln>
                    <a:noFill/>
                  </a:ln>
                  <a:solidFill>
                    <a:srgbClr val="0000C9"/>
                  </a:solidFill>
                  <a:effectLst/>
                  <a:uLnTx/>
                  <a:uFillTx/>
                  <a:latin typeface="Pfizer Diatype Office"/>
                  <a:ea typeface="+mn-ea"/>
                  <a:cs typeface="+mn-cs"/>
                </a:endParaRPr>
              </a:p>
            </p:txBody>
          </p:sp>
          <p:grpSp>
            <p:nvGrpSpPr>
              <p:cNvPr id="25" name="Group 24">
                <a:extLst>
                  <a:ext uri="{FF2B5EF4-FFF2-40B4-BE49-F238E27FC236}">
                    <a16:creationId xmlns:a16="http://schemas.microsoft.com/office/drawing/2014/main" id="{23CF3801-0F1C-1B0D-80BB-B44E38F85826}"/>
                  </a:ext>
                </a:extLst>
              </p:cNvPr>
              <p:cNvGrpSpPr/>
              <p:nvPr/>
            </p:nvGrpSpPr>
            <p:grpSpPr>
              <a:xfrm>
                <a:off x="1601377" y="4118706"/>
                <a:ext cx="2672569" cy="1834120"/>
                <a:chOff x="7373636" y="1690444"/>
                <a:chExt cx="5052278" cy="3699146"/>
              </a:xfrm>
            </p:grpSpPr>
            <p:pic>
              <p:nvPicPr>
                <p:cNvPr id="27" name="Picture 26">
                  <a:extLst>
                    <a:ext uri="{FF2B5EF4-FFF2-40B4-BE49-F238E27FC236}">
                      <a16:creationId xmlns:a16="http://schemas.microsoft.com/office/drawing/2014/main" id="{F99AACDC-9284-F267-294C-468424BBAC92}"/>
                    </a:ext>
                  </a:extLst>
                </p:cNvPr>
                <p:cNvPicPr>
                  <a:picLocks noChangeAspect="1"/>
                </p:cNvPicPr>
                <p:nvPr/>
              </p:nvPicPr>
              <p:blipFill>
                <a:blip r:embed="rId3">
                  <a:alphaModFix amt="20000"/>
                  <a:duotone>
                    <a:schemeClr val="accent2">
                      <a:shade val="45000"/>
                      <a:satMod val="135000"/>
                    </a:schemeClr>
                    <a:prstClr val="white"/>
                  </a:duotone>
                  <a:lum bright="-20000"/>
                </a:blip>
                <a:stretch>
                  <a:fillRect/>
                </a:stretch>
              </p:blipFill>
              <p:spPr bwMode="gray">
                <a:xfrm>
                  <a:off x="7373636" y="2660557"/>
                  <a:ext cx="747444" cy="2355585"/>
                </a:xfrm>
                <a:prstGeom prst="rect">
                  <a:avLst/>
                </a:prstGeom>
              </p:spPr>
            </p:pic>
            <p:pic>
              <p:nvPicPr>
                <p:cNvPr id="28" name="Picture 27">
                  <a:extLst>
                    <a:ext uri="{FF2B5EF4-FFF2-40B4-BE49-F238E27FC236}">
                      <a16:creationId xmlns:a16="http://schemas.microsoft.com/office/drawing/2014/main" id="{F309A642-75C7-DF6A-759A-54361E7785E9}"/>
                    </a:ext>
                  </a:extLst>
                </p:cNvPr>
                <p:cNvPicPr>
                  <a:picLocks noChangeAspect="1"/>
                </p:cNvPicPr>
                <p:nvPr/>
              </p:nvPicPr>
              <p:blipFill>
                <a:blip r:embed="rId4">
                  <a:alphaModFix amt="20000"/>
                  <a:duotone>
                    <a:schemeClr val="accent6">
                      <a:shade val="45000"/>
                      <a:satMod val="135000"/>
                    </a:schemeClr>
                    <a:prstClr val="white"/>
                  </a:duotone>
                  <a:lum bright="-20000" contrast="40000"/>
                </a:blip>
                <a:stretch>
                  <a:fillRect/>
                </a:stretch>
              </p:blipFill>
              <p:spPr bwMode="gray">
                <a:xfrm>
                  <a:off x="11795007" y="1690444"/>
                  <a:ext cx="630907" cy="3285990"/>
                </a:xfrm>
                <a:prstGeom prst="rect">
                  <a:avLst/>
                </a:prstGeom>
              </p:spPr>
            </p:pic>
            <p:cxnSp>
              <p:nvCxnSpPr>
                <p:cNvPr id="29" name="Straight Arrow Connector 28">
                  <a:extLst>
                    <a:ext uri="{FF2B5EF4-FFF2-40B4-BE49-F238E27FC236}">
                      <a16:creationId xmlns:a16="http://schemas.microsoft.com/office/drawing/2014/main" id="{5579FB81-926A-0288-27B2-D0B36893FB10}"/>
                    </a:ext>
                  </a:extLst>
                </p:cNvPr>
                <p:cNvCxnSpPr>
                  <a:cxnSpLocks/>
                </p:cNvCxnSpPr>
                <p:nvPr/>
              </p:nvCxnSpPr>
              <p:spPr bwMode="gray">
                <a:xfrm>
                  <a:off x="7373636" y="5097081"/>
                  <a:ext cx="5052278" cy="0"/>
                </a:xfrm>
                <a:prstGeom prst="straightConnector1">
                  <a:avLst/>
                </a:prstGeom>
                <a:noFill/>
                <a:ln w="28575" cap="sq">
                  <a:solidFill>
                    <a:schemeClr val="tx1"/>
                  </a:solidFill>
                  <a:prstDash val="solid"/>
                  <a:bevel/>
                  <a:headEnd/>
                  <a:tailEnd type="triangle" w="med" len="sm"/>
                </a:ln>
                <a:effectLst/>
              </p:spPr>
            </p:cxnSp>
            <p:sp>
              <p:nvSpPr>
                <p:cNvPr id="30" name="TextBox 29">
                  <a:extLst>
                    <a:ext uri="{FF2B5EF4-FFF2-40B4-BE49-F238E27FC236}">
                      <a16:creationId xmlns:a16="http://schemas.microsoft.com/office/drawing/2014/main" id="{C927429E-B0E7-A88C-6D46-0A6D48E78801}"/>
                    </a:ext>
                  </a:extLst>
                </p:cNvPr>
                <p:cNvSpPr txBox="1"/>
                <p:nvPr/>
              </p:nvSpPr>
              <p:spPr bwMode="gray">
                <a:xfrm>
                  <a:off x="9500079" y="5136996"/>
                  <a:ext cx="701329" cy="252594"/>
                </a:xfrm>
                <a:prstGeom prst="rect">
                  <a:avLst/>
                </a:prstGeom>
              </p:spPr>
              <p:txBody>
                <a:bodyPr wrap="square" lIns="45720" tIns="45720" rIns="45720" bIns="45720" rtlCol="0">
                  <a:no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Pfizer Diatype Office"/>
                      <a:ea typeface="+mn-ea"/>
                      <a:cs typeface="+mn-cs"/>
                    </a:rPr>
                    <a:t>Yaş</a:t>
                  </a:r>
                </a:p>
              </p:txBody>
            </p:sp>
            <p:sp>
              <p:nvSpPr>
                <p:cNvPr id="32" name="TextBox 31">
                  <a:extLst>
                    <a:ext uri="{FF2B5EF4-FFF2-40B4-BE49-F238E27FC236}">
                      <a16:creationId xmlns:a16="http://schemas.microsoft.com/office/drawing/2014/main" id="{DA530AF0-8959-E3AD-90BE-D53A30AEC101}"/>
                    </a:ext>
                  </a:extLst>
                </p:cNvPr>
                <p:cNvSpPr txBox="1"/>
                <p:nvPr/>
              </p:nvSpPr>
              <p:spPr bwMode="gray">
                <a:xfrm rot="19327416" flipH="1">
                  <a:off x="9721846" y="2413628"/>
                  <a:ext cx="2015106" cy="410213"/>
                </a:xfrm>
                <a:prstGeom prst="rect">
                  <a:avLst/>
                </a:prstGeom>
              </p:spPr>
              <p:txBody>
                <a:bodyPr wrap="square" lIns="45720" tIns="45720" rIns="45720" bIns="45720" rtlCol="0">
                  <a:no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US" sz="1050" b="1" i="0" u="none" strike="noStrike" kern="0" cap="none" spc="0" normalizeH="0" baseline="0" noProof="0" err="1">
                      <a:ln>
                        <a:noFill/>
                      </a:ln>
                      <a:solidFill>
                        <a:srgbClr val="FF6969">
                          <a:lumMod val="75000"/>
                        </a:srgbClr>
                      </a:solidFill>
                      <a:effectLst/>
                      <a:uLnTx/>
                      <a:uFillTx/>
                      <a:latin typeface="Pfizer Diatype Office"/>
                      <a:ea typeface="+mn-ea"/>
                      <a:cs typeface="+mn-cs"/>
                    </a:rPr>
                    <a:t>Komorbiditeler</a:t>
                  </a:r>
                  <a:endParaRPr kumimoji="0" lang="en-US" sz="1050" b="1" i="0" u="none" strike="noStrike" kern="0" cap="none" spc="0" normalizeH="0" baseline="30000" noProof="0">
                    <a:ln>
                      <a:noFill/>
                    </a:ln>
                    <a:solidFill>
                      <a:srgbClr val="FF6969">
                        <a:lumMod val="75000"/>
                      </a:srgbClr>
                    </a:solidFill>
                    <a:effectLst/>
                    <a:uLnTx/>
                    <a:uFillTx/>
                    <a:latin typeface="Pfizer Diatype Office"/>
                    <a:ea typeface="+mn-ea"/>
                    <a:cs typeface="+mn-cs"/>
                  </a:endParaRPr>
                </a:p>
              </p:txBody>
            </p:sp>
            <p:grpSp>
              <p:nvGrpSpPr>
                <p:cNvPr id="33" name="Group 32">
                  <a:extLst>
                    <a:ext uri="{FF2B5EF4-FFF2-40B4-BE49-F238E27FC236}">
                      <a16:creationId xmlns:a16="http://schemas.microsoft.com/office/drawing/2014/main" id="{0C21605F-8C29-EA28-D0C9-1A52D1DEF6F9}"/>
                    </a:ext>
                  </a:extLst>
                </p:cNvPr>
                <p:cNvGrpSpPr/>
                <p:nvPr/>
              </p:nvGrpSpPr>
              <p:grpSpPr bwMode="gray">
                <a:xfrm>
                  <a:off x="8594300" y="2798484"/>
                  <a:ext cx="180514" cy="304089"/>
                  <a:chOff x="333633" y="1013896"/>
                  <a:chExt cx="1018905" cy="1228561"/>
                </a:xfrm>
                <a:solidFill>
                  <a:srgbClr val="F8971D"/>
                </a:solidFill>
              </p:grpSpPr>
              <p:sp>
                <p:nvSpPr>
                  <p:cNvPr id="224" name="Rectangle 223">
                    <a:extLst>
                      <a:ext uri="{FF2B5EF4-FFF2-40B4-BE49-F238E27FC236}">
                        <a16:creationId xmlns:a16="http://schemas.microsoft.com/office/drawing/2014/main" id="{8A16A0BC-51F3-B712-6DAD-1FF8190033D7}"/>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25" name="Rectangle 224">
                    <a:extLst>
                      <a:ext uri="{FF2B5EF4-FFF2-40B4-BE49-F238E27FC236}">
                        <a16:creationId xmlns:a16="http://schemas.microsoft.com/office/drawing/2014/main" id="{6F6DD754-FA70-C41C-F550-E30D9281A547}"/>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26" name="Rectangle 225">
                    <a:extLst>
                      <a:ext uri="{FF2B5EF4-FFF2-40B4-BE49-F238E27FC236}">
                        <a16:creationId xmlns:a16="http://schemas.microsoft.com/office/drawing/2014/main" id="{DC7D1F81-6FA7-CF55-A8B6-2942D15BD56F}"/>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27" name="Rectangle 226">
                    <a:extLst>
                      <a:ext uri="{FF2B5EF4-FFF2-40B4-BE49-F238E27FC236}">
                        <a16:creationId xmlns:a16="http://schemas.microsoft.com/office/drawing/2014/main" id="{051319AF-6EC5-7513-90CC-38A827BC77B8}"/>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28" name="Rectangle 227">
                    <a:extLst>
                      <a:ext uri="{FF2B5EF4-FFF2-40B4-BE49-F238E27FC236}">
                        <a16:creationId xmlns:a16="http://schemas.microsoft.com/office/drawing/2014/main" id="{0D7BD798-3B68-2CB7-CDAA-A16E535F4436}"/>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29" name="Rectangle 228">
                    <a:extLst>
                      <a:ext uri="{FF2B5EF4-FFF2-40B4-BE49-F238E27FC236}">
                        <a16:creationId xmlns:a16="http://schemas.microsoft.com/office/drawing/2014/main" id="{2B25A62B-C953-F6CE-8F0A-46834F4B28E9}"/>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34" name="Group 33">
                  <a:extLst>
                    <a:ext uri="{FF2B5EF4-FFF2-40B4-BE49-F238E27FC236}">
                      <a16:creationId xmlns:a16="http://schemas.microsoft.com/office/drawing/2014/main" id="{26B0E628-35A4-95D8-3B9E-0BF4D5BF3A0A}"/>
                    </a:ext>
                  </a:extLst>
                </p:cNvPr>
                <p:cNvGrpSpPr/>
                <p:nvPr/>
              </p:nvGrpSpPr>
              <p:grpSpPr bwMode="gray">
                <a:xfrm>
                  <a:off x="8377132" y="2497260"/>
                  <a:ext cx="180514" cy="304089"/>
                  <a:chOff x="333633" y="1013896"/>
                  <a:chExt cx="1018905" cy="1228561"/>
                </a:xfrm>
                <a:solidFill>
                  <a:srgbClr val="F8971D"/>
                </a:solidFill>
              </p:grpSpPr>
              <p:sp>
                <p:nvSpPr>
                  <p:cNvPr id="218" name="Rectangle 217">
                    <a:extLst>
                      <a:ext uri="{FF2B5EF4-FFF2-40B4-BE49-F238E27FC236}">
                        <a16:creationId xmlns:a16="http://schemas.microsoft.com/office/drawing/2014/main" id="{4DBECAFD-E0FB-CD3B-D085-0D3DFEE982F1}"/>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19" name="Rectangle 218">
                    <a:extLst>
                      <a:ext uri="{FF2B5EF4-FFF2-40B4-BE49-F238E27FC236}">
                        <a16:creationId xmlns:a16="http://schemas.microsoft.com/office/drawing/2014/main" id="{425BDC94-025C-61CB-5E82-E7575CE19010}"/>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20" name="Rectangle 219">
                    <a:extLst>
                      <a:ext uri="{FF2B5EF4-FFF2-40B4-BE49-F238E27FC236}">
                        <a16:creationId xmlns:a16="http://schemas.microsoft.com/office/drawing/2014/main" id="{45067FA9-370E-92F5-805C-4DF34CA6399C}"/>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21" name="Rectangle 220">
                    <a:extLst>
                      <a:ext uri="{FF2B5EF4-FFF2-40B4-BE49-F238E27FC236}">
                        <a16:creationId xmlns:a16="http://schemas.microsoft.com/office/drawing/2014/main" id="{46E2A31B-C697-CB00-64E5-92A2D2EF3198}"/>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22" name="Rectangle 221">
                    <a:extLst>
                      <a:ext uri="{FF2B5EF4-FFF2-40B4-BE49-F238E27FC236}">
                        <a16:creationId xmlns:a16="http://schemas.microsoft.com/office/drawing/2014/main" id="{3720A83A-67B7-506D-F6BE-3A5EDA77BEED}"/>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23" name="Rectangle 222">
                    <a:extLst>
                      <a:ext uri="{FF2B5EF4-FFF2-40B4-BE49-F238E27FC236}">
                        <a16:creationId xmlns:a16="http://schemas.microsoft.com/office/drawing/2014/main" id="{181128BD-8596-705E-4166-46BB3169DCD3}"/>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35" name="Group 34">
                  <a:extLst>
                    <a:ext uri="{FF2B5EF4-FFF2-40B4-BE49-F238E27FC236}">
                      <a16:creationId xmlns:a16="http://schemas.microsoft.com/office/drawing/2014/main" id="{7A1FA90C-FB15-1BC7-1161-9D2668DD9E6C}"/>
                    </a:ext>
                  </a:extLst>
                </p:cNvPr>
                <p:cNvGrpSpPr/>
                <p:nvPr/>
              </p:nvGrpSpPr>
              <p:grpSpPr bwMode="gray">
                <a:xfrm>
                  <a:off x="8211709" y="3806500"/>
                  <a:ext cx="180514" cy="304089"/>
                  <a:chOff x="333633" y="1013896"/>
                  <a:chExt cx="1018905" cy="1228561"/>
                </a:xfrm>
                <a:solidFill>
                  <a:srgbClr val="F8971D"/>
                </a:solidFill>
              </p:grpSpPr>
              <p:sp>
                <p:nvSpPr>
                  <p:cNvPr id="212" name="Rectangle 211">
                    <a:extLst>
                      <a:ext uri="{FF2B5EF4-FFF2-40B4-BE49-F238E27FC236}">
                        <a16:creationId xmlns:a16="http://schemas.microsoft.com/office/drawing/2014/main" id="{342D1118-595E-C999-AC82-9908527956DC}"/>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13" name="Rectangle 212">
                    <a:extLst>
                      <a:ext uri="{FF2B5EF4-FFF2-40B4-BE49-F238E27FC236}">
                        <a16:creationId xmlns:a16="http://schemas.microsoft.com/office/drawing/2014/main" id="{20C03CFB-07F4-9B1C-43AC-B3379660CB36}"/>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14" name="Rectangle 213">
                    <a:extLst>
                      <a:ext uri="{FF2B5EF4-FFF2-40B4-BE49-F238E27FC236}">
                        <a16:creationId xmlns:a16="http://schemas.microsoft.com/office/drawing/2014/main" id="{56D7907A-2DC9-F77B-9DDF-380CB21B5229}"/>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15" name="Rectangle 214">
                    <a:extLst>
                      <a:ext uri="{FF2B5EF4-FFF2-40B4-BE49-F238E27FC236}">
                        <a16:creationId xmlns:a16="http://schemas.microsoft.com/office/drawing/2014/main" id="{3F5B5127-E0CC-F77B-0770-05285A7A8970}"/>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16" name="Rectangle 215">
                    <a:extLst>
                      <a:ext uri="{FF2B5EF4-FFF2-40B4-BE49-F238E27FC236}">
                        <a16:creationId xmlns:a16="http://schemas.microsoft.com/office/drawing/2014/main" id="{B4FFD442-A021-3094-93E7-F61B34DAD60B}"/>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17" name="Rectangle 216">
                    <a:extLst>
                      <a:ext uri="{FF2B5EF4-FFF2-40B4-BE49-F238E27FC236}">
                        <a16:creationId xmlns:a16="http://schemas.microsoft.com/office/drawing/2014/main" id="{CF3BA401-55F6-43DC-773E-0DEE36A73EF0}"/>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36" name="Group 35">
                  <a:extLst>
                    <a:ext uri="{FF2B5EF4-FFF2-40B4-BE49-F238E27FC236}">
                      <a16:creationId xmlns:a16="http://schemas.microsoft.com/office/drawing/2014/main" id="{5B8591F0-2322-CC84-481D-576D82949BD3}"/>
                    </a:ext>
                  </a:extLst>
                </p:cNvPr>
                <p:cNvGrpSpPr/>
                <p:nvPr/>
              </p:nvGrpSpPr>
              <p:grpSpPr bwMode="gray">
                <a:xfrm>
                  <a:off x="9505354" y="4212035"/>
                  <a:ext cx="180514" cy="304089"/>
                  <a:chOff x="333633" y="1013896"/>
                  <a:chExt cx="1018905" cy="1228561"/>
                </a:xfrm>
                <a:solidFill>
                  <a:srgbClr val="F8971D"/>
                </a:solidFill>
              </p:grpSpPr>
              <p:sp>
                <p:nvSpPr>
                  <p:cNvPr id="206" name="Rectangle 205">
                    <a:extLst>
                      <a:ext uri="{FF2B5EF4-FFF2-40B4-BE49-F238E27FC236}">
                        <a16:creationId xmlns:a16="http://schemas.microsoft.com/office/drawing/2014/main" id="{FA9F4ADB-54BF-8B48-416F-AE4ECB0EC396}"/>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07" name="Rectangle 206">
                    <a:extLst>
                      <a:ext uri="{FF2B5EF4-FFF2-40B4-BE49-F238E27FC236}">
                        <a16:creationId xmlns:a16="http://schemas.microsoft.com/office/drawing/2014/main" id="{FF131131-4C55-4ED0-D617-4628FC21C767}"/>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08" name="Rectangle 207">
                    <a:extLst>
                      <a:ext uri="{FF2B5EF4-FFF2-40B4-BE49-F238E27FC236}">
                        <a16:creationId xmlns:a16="http://schemas.microsoft.com/office/drawing/2014/main" id="{7E7CD2CF-7B13-3B11-5CAE-BE44B2A6D43B}"/>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09" name="Rectangle 208">
                    <a:extLst>
                      <a:ext uri="{FF2B5EF4-FFF2-40B4-BE49-F238E27FC236}">
                        <a16:creationId xmlns:a16="http://schemas.microsoft.com/office/drawing/2014/main" id="{37BD0A84-F765-AE0C-80DD-866A80B8C180}"/>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10" name="Rectangle 209">
                    <a:extLst>
                      <a:ext uri="{FF2B5EF4-FFF2-40B4-BE49-F238E27FC236}">
                        <a16:creationId xmlns:a16="http://schemas.microsoft.com/office/drawing/2014/main" id="{C5301A1D-5D88-72FA-DECB-D8DB971F780E}"/>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11" name="Rectangle 210">
                    <a:extLst>
                      <a:ext uri="{FF2B5EF4-FFF2-40B4-BE49-F238E27FC236}">
                        <a16:creationId xmlns:a16="http://schemas.microsoft.com/office/drawing/2014/main" id="{0C8D18F2-13F2-DC34-E2E6-C07D47C48B38}"/>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37" name="Group 36">
                  <a:extLst>
                    <a:ext uri="{FF2B5EF4-FFF2-40B4-BE49-F238E27FC236}">
                      <a16:creationId xmlns:a16="http://schemas.microsoft.com/office/drawing/2014/main" id="{EFCD36E7-DF4A-A1EA-98D1-D6344F9E5A6A}"/>
                    </a:ext>
                  </a:extLst>
                </p:cNvPr>
                <p:cNvGrpSpPr/>
                <p:nvPr/>
              </p:nvGrpSpPr>
              <p:grpSpPr bwMode="gray">
                <a:xfrm>
                  <a:off x="8583969" y="4065991"/>
                  <a:ext cx="180514" cy="304089"/>
                  <a:chOff x="333633" y="1013896"/>
                  <a:chExt cx="1018905" cy="1228561"/>
                </a:xfrm>
                <a:solidFill>
                  <a:srgbClr val="F8971D"/>
                </a:solidFill>
              </p:grpSpPr>
              <p:sp>
                <p:nvSpPr>
                  <p:cNvPr id="200" name="Rectangle 199">
                    <a:extLst>
                      <a:ext uri="{FF2B5EF4-FFF2-40B4-BE49-F238E27FC236}">
                        <a16:creationId xmlns:a16="http://schemas.microsoft.com/office/drawing/2014/main" id="{EF5D5944-C542-17AB-6DC2-B855A5356221}"/>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01" name="Rectangle 200">
                    <a:extLst>
                      <a:ext uri="{FF2B5EF4-FFF2-40B4-BE49-F238E27FC236}">
                        <a16:creationId xmlns:a16="http://schemas.microsoft.com/office/drawing/2014/main" id="{DBEB9965-7F60-1AF0-DE57-808D4620D98F}"/>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02" name="Rectangle 201">
                    <a:extLst>
                      <a:ext uri="{FF2B5EF4-FFF2-40B4-BE49-F238E27FC236}">
                        <a16:creationId xmlns:a16="http://schemas.microsoft.com/office/drawing/2014/main" id="{8A3128C1-13B1-5887-230A-505802FD4B94}"/>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03" name="Rectangle 202">
                    <a:extLst>
                      <a:ext uri="{FF2B5EF4-FFF2-40B4-BE49-F238E27FC236}">
                        <a16:creationId xmlns:a16="http://schemas.microsoft.com/office/drawing/2014/main" id="{ECD3CA2A-C5C5-7A32-5256-6486C4F5B6B8}"/>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04" name="Rectangle 203">
                    <a:extLst>
                      <a:ext uri="{FF2B5EF4-FFF2-40B4-BE49-F238E27FC236}">
                        <a16:creationId xmlns:a16="http://schemas.microsoft.com/office/drawing/2014/main" id="{AF583FDC-1D8E-9D17-191A-85B084A0F7D5}"/>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205" name="Rectangle 204">
                    <a:extLst>
                      <a:ext uri="{FF2B5EF4-FFF2-40B4-BE49-F238E27FC236}">
                        <a16:creationId xmlns:a16="http://schemas.microsoft.com/office/drawing/2014/main" id="{BE962C9F-F9C1-0672-DA06-2C13E09D97F1}"/>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38" name="Group 37">
                  <a:extLst>
                    <a:ext uri="{FF2B5EF4-FFF2-40B4-BE49-F238E27FC236}">
                      <a16:creationId xmlns:a16="http://schemas.microsoft.com/office/drawing/2014/main" id="{E6B50C44-A4C7-9FFC-29B9-B131C89E3F0A}"/>
                    </a:ext>
                  </a:extLst>
                </p:cNvPr>
                <p:cNvGrpSpPr/>
                <p:nvPr/>
              </p:nvGrpSpPr>
              <p:grpSpPr bwMode="gray">
                <a:xfrm>
                  <a:off x="8152956" y="4386491"/>
                  <a:ext cx="180514" cy="304089"/>
                  <a:chOff x="333633" y="1013896"/>
                  <a:chExt cx="1018905" cy="1228561"/>
                </a:xfrm>
                <a:solidFill>
                  <a:srgbClr val="F8971D"/>
                </a:solidFill>
              </p:grpSpPr>
              <p:sp>
                <p:nvSpPr>
                  <p:cNvPr id="194" name="Rectangle 193">
                    <a:extLst>
                      <a:ext uri="{FF2B5EF4-FFF2-40B4-BE49-F238E27FC236}">
                        <a16:creationId xmlns:a16="http://schemas.microsoft.com/office/drawing/2014/main" id="{84DBDFEA-568C-FBCB-8424-8A103DBD8244}"/>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95" name="Rectangle 194">
                    <a:extLst>
                      <a:ext uri="{FF2B5EF4-FFF2-40B4-BE49-F238E27FC236}">
                        <a16:creationId xmlns:a16="http://schemas.microsoft.com/office/drawing/2014/main" id="{AF1E3442-1181-4B95-E8BB-04C323F94A60}"/>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96" name="Rectangle 195">
                    <a:extLst>
                      <a:ext uri="{FF2B5EF4-FFF2-40B4-BE49-F238E27FC236}">
                        <a16:creationId xmlns:a16="http://schemas.microsoft.com/office/drawing/2014/main" id="{E594FEAB-A6CD-AAC2-CE3E-52991EC7F990}"/>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97" name="Rectangle 196">
                    <a:extLst>
                      <a:ext uri="{FF2B5EF4-FFF2-40B4-BE49-F238E27FC236}">
                        <a16:creationId xmlns:a16="http://schemas.microsoft.com/office/drawing/2014/main" id="{9987EDDF-899F-BEEF-B7F7-1F0468310D6D}"/>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98" name="Rectangle 197">
                    <a:extLst>
                      <a:ext uri="{FF2B5EF4-FFF2-40B4-BE49-F238E27FC236}">
                        <a16:creationId xmlns:a16="http://schemas.microsoft.com/office/drawing/2014/main" id="{BD445386-9B38-A434-381F-E4A73D65A991}"/>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99" name="Rectangle 198">
                    <a:extLst>
                      <a:ext uri="{FF2B5EF4-FFF2-40B4-BE49-F238E27FC236}">
                        <a16:creationId xmlns:a16="http://schemas.microsoft.com/office/drawing/2014/main" id="{D176BE7D-7E05-D9B3-639D-C083B6C02270}"/>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39" name="Group 38">
                  <a:extLst>
                    <a:ext uri="{FF2B5EF4-FFF2-40B4-BE49-F238E27FC236}">
                      <a16:creationId xmlns:a16="http://schemas.microsoft.com/office/drawing/2014/main" id="{2CCE4B84-95F3-6CF4-4356-1CCAC97363D9}"/>
                    </a:ext>
                  </a:extLst>
                </p:cNvPr>
                <p:cNvGrpSpPr/>
                <p:nvPr/>
              </p:nvGrpSpPr>
              <p:grpSpPr bwMode="gray">
                <a:xfrm>
                  <a:off x="8772255" y="3183755"/>
                  <a:ext cx="180514" cy="304089"/>
                  <a:chOff x="333633" y="1013896"/>
                  <a:chExt cx="1018905" cy="1228561"/>
                </a:xfrm>
                <a:solidFill>
                  <a:srgbClr val="F8971D"/>
                </a:solidFill>
              </p:grpSpPr>
              <p:sp>
                <p:nvSpPr>
                  <p:cNvPr id="188" name="Rectangle 187">
                    <a:extLst>
                      <a:ext uri="{FF2B5EF4-FFF2-40B4-BE49-F238E27FC236}">
                        <a16:creationId xmlns:a16="http://schemas.microsoft.com/office/drawing/2014/main" id="{5FB90CCA-6C9B-0691-976E-CDAC4AD586D2}"/>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89" name="Rectangle 188">
                    <a:extLst>
                      <a:ext uri="{FF2B5EF4-FFF2-40B4-BE49-F238E27FC236}">
                        <a16:creationId xmlns:a16="http://schemas.microsoft.com/office/drawing/2014/main" id="{A636B806-489A-56E9-7233-7C28517F24AB}"/>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90" name="Rectangle 189">
                    <a:extLst>
                      <a:ext uri="{FF2B5EF4-FFF2-40B4-BE49-F238E27FC236}">
                        <a16:creationId xmlns:a16="http://schemas.microsoft.com/office/drawing/2014/main" id="{DF7C90A6-54BA-3391-5800-CB94AA615307}"/>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91" name="Rectangle 190">
                    <a:extLst>
                      <a:ext uri="{FF2B5EF4-FFF2-40B4-BE49-F238E27FC236}">
                        <a16:creationId xmlns:a16="http://schemas.microsoft.com/office/drawing/2014/main" id="{54B3C01B-43DF-9703-8B96-677888EE9A5E}"/>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92" name="Rectangle 191">
                    <a:extLst>
                      <a:ext uri="{FF2B5EF4-FFF2-40B4-BE49-F238E27FC236}">
                        <a16:creationId xmlns:a16="http://schemas.microsoft.com/office/drawing/2014/main" id="{1A9AC24C-25C2-C8DB-71E3-E3F2F4B803FA}"/>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93" name="Rectangle 192">
                    <a:extLst>
                      <a:ext uri="{FF2B5EF4-FFF2-40B4-BE49-F238E27FC236}">
                        <a16:creationId xmlns:a16="http://schemas.microsoft.com/office/drawing/2014/main" id="{3994356C-22E9-CA0E-E78D-3D998EF8C0A4}"/>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40" name="Group 39">
                  <a:extLst>
                    <a:ext uri="{FF2B5EF4-FFF2-40B4-BE49-F238E27FC236}">
                      <a16:creationId xmlns:a16="http://schemas.microsoft.com/office/drawing/2014/main" id="{523951DC-AFBA-36C0-3F83-12B19589A7A0}"/>
                    </a:ext>
                  </a:extLst>
                </p:cNvPr>
                <p:cNvGrpSpPr/>
                <p:nvPr/>
              </p:nvGrpSpPr>
              <p:grpSpPr bwMode="gray">
                <a:xfrm>
                  <a:off x="9520959" y="3794304"/>
                  <a:ext cx="180514" cy="304089"/>
                  <a:chOff x="333633" y="1013896"/>
                  <a:chExt cx="1018905" cy="1228561"/>
                </a:xfrm>
                <a:solidFill>
                  <a:srgbClr val="F8971D"/>
                </a:solidFill>
              </p:grpSpPr>
              <p:sp>
                <p:nvSpPr>
                  <p:cNvPr id="182" name="Rectangle 181">
                    <a:extLst>
                      <a:ext uri="{FF2B5EF4-FFF2-40B4-BE49-F238E27FC236}">
                        <a16:creationId xmlns:a16="http://schemas.microsoft.com/office/drawing/2014/main" id="{1D6D4CC5-D974-7FCE-4EE8-D5DDEEB95114}"/>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83" name="Rectangle 182">
                    <a:extLst>
                      <a:ext uri="{FF2B5EF4-FFF2-40B4-BE49-F238E27FC236}">
                        <a16:creationId xmlns:a16="http://schemas.microsoft.com/office/drawing/2014/main" id="{24C0AF1A-ED92-D722-A4BE-FE0C56AD14B0}"/>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84" name="Rectangle 183">
                    <a:extLst>
                      <a:ext uri="{FF2B5EF4-FFF2-40B4-BE49-F238E27FC236}">
                        <a16:creationId xmlns:a16="http://schemas.microsoft.com/office/drawing/2014/main" id="{ABFB3D44-5190-45EC-D939-F25D54E3A054}"/>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85" name="Rectangle 184">
                    <a:extLst>
                      <a:ext uri="{FF2B5EF4-FFF2-40B4-BE49-F238E27FC236}">
                        <a16:creationId xmlns:a16="http://schemas.microsoft.com/office/drawing/2014/main" id="{958ACCB5-7CF0-623C-B308-7BB8363BBA38}"/>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86" name="Rectangle 185">
                    <a:extLst>
                      <a:ext uri="{FF2B5EF4-FFF2-40B4-BE49-F238E27FC236}">
                        <a16:creationId xmlns:a16="http://schemas.microsoft.com/office/drawing/2014/main" id="{96624DBF-D923-30FF-7923-D23EC730971A}"/>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87" name="Rectangle 186">
                    <a:extLst>
                      <a:ext uri="{FF2B5EF4-FFF2-40B4-BE49-F238E27FC236}">
                        <a16:creationId xmlns:a16="http://schemas.microsoft.com/office/drawing/2014/main" id="{ADE60848-8BFF-8C78-E4D3-0B764EE503F9}"/>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41" name="Group 40">
                  <a:extLst>
                    <a:ext uri="{FF2B5EF4-FFF2-40B4-BE49-F238E27FC236}">
                      <a16:creationId xmlns:a16="http://schemas.microsoft.com/office/drawing/2014/main" id="{B9A71A01-84F6-0274-4390-E2819EE54D6A}"/>
                    </a:ext>
                  </a:extLst>
                </p:cNvPr>
                <p:cNvGrpSpPr/>
                <p:nvPr/>
              </p:nvGrpSpPr>
              <p:grpSpPr bwMode="gray">
                <a:xfrm>
                  <a:off x="9257954" y="3188400"/>
                  <a:ext cx="180514" cy="304089"/>
                  <a:chOff x="333633" y="1013896"/>
                  <a:chExt cx="1018905" cy="1228561"/>
                </a:xfrm>
                <a:solidFill>
                  <a:srgbClr val="F8971D"/>
                </a:solidFill>
              </p:grpSpPr>
              <p:sp>
                <p:nvSpPr>
                  <p:cNvPr id="176" name="Rectangle 175">
                    <a:extLst>
                      <a:ext uri="{FF2B5EF4-FFF2-40B4-BE49-F238E27FC236}">
                        <a16:creationId xmlns:a16="http://schemas.microsoft.com/office/drawing/2014/main" id="{8F770171-693C-A97B-BB41-D314F93C8325}"/>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77" name="Rectangle 176">
                    <a:extLst>
                      <a:ext uri="{FF2B5EF4-FFF2-40B4-BE49-F238E27FC236}">
                        <a16:creationId xmlns:a16="http://schemas.microsoft.com/office/drawing/2014/main" id="{79ED9580-606E-96D0-E6D5-9C14CAB41E70}"/>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78" name="Rectangle 177">
                    <a:extLst>
                      <a:ext uri="{FF2B5EF4-FFF2-40B4-BE49-F238E27FC236}">
                        <a16:creationId xmlns:a16="http://schemas.microsoft.com/office/drawing/2014/main" id="{8850B940-97C9-2814-19E4-1995298CCFA9}"/>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79" name="Rectangle 178">
                    <a:extLst>
                      <a:ext uri="{FF2B5EF4-FFF2-40B4-BE49-F238E27FC236}">
                        <a16:creationId xmlns:a16="http://schemas.microsoft.com/office/drawing/2014/main" id="{211A89B0-E227-D1CF-2F44-AA7CA0484071}"/>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80" name="Rectangle 179">
                    <a:extLst>
                      <a:ext uri="{FF2B5EF4-FFF2-40B4-BE49-F238E27FC236}">
                        <a16:creationId xmlns:a16="http://schemas.microsoft.com/office/drawing/2014/main" id="{119A3DF7-626D-E404-3944-2606DFE23582}"/>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81" name="Rectangle 180">
                    <a:extLst>
                      <a:ext uri="{FF2B5EF4-FFF2-40B4-BE49-F238E27FC236}">
                        <a16:creationId xmlns:a16="http://schemas.microsoft.com/office/drawing/2014/main" id="{3B05E71B-B17D-D590-443D-1986D3B760C1}"/>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42" name="Group 41">
                  <a:extLst>
                    <a:ext uri="{FF2B5EF4-FFF2-40B4-BE49-F238E27FC236}">
                      <a16:creationId xmlns:a16="http://schemas.microsoft.com/office/drawing/2014/main" id="{6309977F-98BA-1675-0E72-3C5DDF9C250B}"/>
                    </a:ext>
                  </a:extLst>
                </p:cNvPr>
                <p:cNvGrpSpPr/>
                <p:nvPr/>
              </p:nvGrpSpPr>
              <p:grpSpPr bwMode="gray">
                <a:xfrm>
                  <a:off x="8894156" y="4088738"/>
                  <a:ext cx="180514" cy="304089"/>
                  <a:chOff x="333633" y="1013896"/>
                  <a:chExt cx="1018905" cy="1228561"/>
                </a:xfrm>
                <a:solidFill>
                  <a:srgbClr val="F8971D"/>
                </a:solidFill>
              </p:grpSpPr>
              <p:sp>
                <p:nvSpPr>
                  <p:cNvPr id="170" name="Rectangle 169">
                    <a:extLst>
                      <a:ext uri="{FF2B5EF4-FFF2-40B4-BE49-F238E27FC236}">
                        <a16:creationId xmlns:a16="http://schemas.microsoft.com/office/drawing/2014/main" id="{67715B63-CBE3-CE8F-A9E1-05E190C775DF}"/>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71" name="Rectangle 170">
                    <a:extLst>
                      <a:ext uri="{FF2B5EF4-FFF2-40B4-BE49-F238E27FC236}">
                        <a16:creationId xmlns:a16="http://schemas.microsoft.com/office/drawing/2014/main" id="{0E343D07-25EB-D0AA-FB3E-72263E57E572}"/>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72" name="Rectangle 171">
                    <a:extLst>
                      <a:ext uri="{FF2B5EF4-FFF2-40B4-BE49-F238E27FC236}">
                        <a16:creationId xmlns:a16="http://schemas.microsoft.com/office/drawing/2014/main" id="{82052A5E-AF9C-2F8B-CFB6-429E936C4794}"/>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73" name="Rectangle 172">
                    <a:extLst>
                      <a:ext uri="{FF2B5EF4-FFF2-40B4-BE49-F238E27FC236}">
                        <a16:creationId xmlns:a16="http://schemas.microsoft.com/office/drawing/2014/main" id="{435DAB18-D0DB-2518-528D-BBB6D10C4E63}"/>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74" name="Rectangle 173">
                    <a:extLst>
                      <a:ext uri="{FF2B5EF4-FFF2-40B4-BE49-F238E27FC236}">
                        <a16:creationId xmlns:a16="http://schemas.microsoft.com/office/drawing/2014/main" id="{2D7945F9-D1CC-231E-961F-8ACCC328763E}"/>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75" name="Rectangle 174">
                    <a:extLst>
                      <a:ext uri="{FF2B5EF4-FFF2-40B4-BE49-F238E27FC236}">
                        <a16:creationId xmlns:a16="http://schemas.microsoft.com/office/drawing/2014/main" id="{84F155F6-84A4-F17E-C8B3-5507F40CF93A}"/>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43" name="Group 42">
                  <a:extLst>
                    <a:ext uri="{FF2B5EF4-FFF2-40B4-BE49-F238E27FC236}">
                      <a16:creationId xmlns:a16="http://schemas.microsoft.com/office/drawing/2014/main" id="{7AE8044A-0AD0-9938-E67B-40E6887E2306}"/>
                    </a:ext>
                  </a:extLst>
                </p:cNvPr>
                <p:cNvGrpSpPr/>
                <p:nvPr/>
              </p:nvGrpSpPr>
              <p:grpSpPr bwMode="gray">
                <a:xfrm>
                  <a:off x="9311559" y="3528654"/>
                  <a:ext cx="180514" cy="304089"/>
                  <a:chOff x="333633" y="1013896"/>
                  <a:chExt cx="1018905" cy="1228561"/>
                </a:xfrm>
                <a:solidFill>
                  <a:srgbClr val="F8971D"/>
                </a:solidFill>
              </p:grpSpPr>
              <p:sp>
                <p:nvSpPr>
                  <p:cNvPr id="164" name="Rectangle 163">
                    <a:extLst>
                      <a:ext uri="{FF2B5EF4-FFF2-40B4-BE49-F238E27FC236}">
                        <a16:creationId xmlns:a16="http://schemas.microsoft.com/office/drawing/2014/main" id="{4BCBC5A4-466A-D0C3-5C31-B4B9B3ECAFE1}"/>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65" name="Rectangle 164">
                    <a:extLst>
                      <a:ext uri="{FF2B5EF4-FFF2-40B4-BE49-F238E27FC236}">
                        <a16:creationId xmlns:a16="http://schemas.microsoft.com/office/drawing/2014/main" id="{928CF50B-67AD-CDEA-DDFA-BAD2F5C09B22}"/>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66" name="Rectangle 165">
                    <a:extLst>
                      <a:ext uri="{FF2B5EF4-FFF2-40B4-BE49-F238E27FC236}">
                        <a16:creationId xmlns:a16="http://schemas.microsoft.com/office/drawing/2014/main" id="{D29280FE-3C3F-0C09-A04A-E47B57F66CA5}"/>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67" name="Rectangle 166">
                    <a:extLst>
                      <a:ext uri="{FF2B5EF4-FFF2-40B4-BE49-F238E27FC236}">
                        <a16:creationId xmlns:a16="http://schemas.microsoft.com/office/drawing/2014/main" id="{6D593D73-61F8-7588-C3F9-D43236EC765C}"/>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68" name="Rectangle 167">
                    <a:extLst>
                      <a:ext uri="{FF2B5EF4-FFF2-40B4-BE49-F238E27FC236}">
                        <a16:creationId xmlns:a16="http://schemas.microsoft.com/office/drawing/2014/main" id="{3601C640-59AA-6A46-4E72-6E48F8DF21B3}"/>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69" name="Rectangle 168">
                    <a:extLst>
                      <a:ext uri="{FF2B5EF4-FFF2-40B4-BE49-F238E27FC236}">
                        <a16:creationId xmlns:a16="http://schemas.microsoft.com/office/drawing/2014/main" id="{1ED9D8CF-02F6-BFD8-5273-605EA6683C15}"/>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44" name="Group 43">
                  <a:extLst>
                    <a:ext uri="{FF2B5EF4-FFF2-40B4-BE49-F238E27FC236}">
                      <a16:creationId xmlns:a16="http://schemas.microsoft.com/office/drawing/2014/main" id="{19143635-9F30-BE66-0A08-9E04D8ED0BCB}"/>
                    </a:ext>
                  </a:extLst>
                </p:cNvPr>
                <p:cNvGrpSpPr/>
                <p:nvPr/>
              </p:nvGrpSpPr>
              <p:grpSpPr bwMode="gray">
                <a:xfrm>
                  <a:off x="9175128" y="4457005"/>
                  <a:ext cx="180514" cy="304089"/>
                  <a:chOff x="333633" y="1013896"/>
                  <a:chExt cx="1018905" cy="1228561"/>
                </a:xfrm>
                <a:solidFill>
                  <a:srgbClr val="F8971D"/>
                </a:solidFill>
              </p:grpSpPr>
              <p:sp>
                <p:nvSpPr>
                  <p:cNvPr id="158" name="Rectangle 157">
                    <a:extLst>
                      <a:ext uri="{FF2B5EF4-FFF2-40B4-BE49-F238E27FC236}">
                        <a16:creationId xmlns:a16="http://schemas.microsoft.com/office/drawing/2014/main" id="{E81E9B60-DA73-C19F-7D37-D7CF7985A5A8}"/>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59" name="Rectangle 158">
                    <a:extLst>
                      <a:ext uri="{FF2B5EF4-FFF2-40B4-BE49-F238E27FC236}">
                        <a16:creationId xmlns:a16="http://schemas.microsoft.com/office/drawing/2014/main" id="{9E4FF12C-C25F-B1CF-3700-203466995DBD}"/>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60" name="Rectangle 159">
                    <a:extLst>
                      <a:ext uri="{FF2B5EF4-FFF2-40B4-BE49-F238E27FC236}">
                        <a16:creationId xmlns:a16="http://schemas.microsoft.com/office/drawing/2014/main" id="{F3ADB8CF-9375-220B-58F6-5D59E7BFC8E9}"/>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61" name="Rectangle 160">
                    <a:extLst>
                      <a:ext uri="{FF2B5EF4-FFF2-40B4-BE49-F238E27FC236}">
                        <a16:creationId xmlns:a16="http://schemas.microsoft.com/office/drawing/2014/main" id="{A1E05E04-D007-10B7-2B46-BAAA8F58ADCD}"/>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62" name="Rectangle 161">
                    <a:extLst>
                      <a:ext uri="{FF2B5EF4-FFF2-40B4-BE49-F238E27FC236}">
                        <a16:creationId xmlns:a16="http://schemas.microsoft.com/office/drawing/2014/main" id="{54681E3F-2AC6-DE76-51B5-1441C1E8BD68}"/>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63" name="Rectangle 162">
                    <a:extLst>
                      <a:ext uri="{FF2B5EF4-FFF2-40B4-BE49-F238E27FC236}">
                        <a16:creationId xmlns:a16="http://schemas.microsoft.com/office/drawing/2014/main" id="{07102036-BB7E-EE71-844E-77D382FFB57A}"/>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45" name="Group 44">
                  <a:extLst>
                    <a:ext uri="{FF2B5EF4-FFF2-40B4-BE49-F238E27FC236}">
                      <a16:creationId xmlns:a16="http://schemas.microsoft.com/office/drawing/2014/main" id="{93EBA876-09AE-CA37-D592-5D98D9D94FD5}"/>
                    </a:ext>
                  </a:extLst>
                </p:cNvPr>
                <p:cNvGrpSpPr/>
                <p:nvPr/>
              </p:nvGrpSpPr>
              <p:grpSpPr bwMode="gray">
                <a:xfrm>
                  <a:off x="9656497" y="3455658"/>
                  <a:ext cx="180514" cy="304089"/>
                  <a:chOff x="333633" y="1013896"/>
                  <a:chExt cx="1018905" cy="1228561"/>
                </a:xfrm>
                <a:solidFill>
                  <a:srgbClr val="F8971D"/>
                </a:solidFill>
              </p:grpSpPr>
              <p:sp>
                <p:nvSpPr>
                  <p:cNvPr id="152" name="Rectangle 151">
                    <a:extLst>
                      <a:ext uri="{FF2B5EF4-FFF2-40B4-BE49-F238E27FC236}">
                        <a16:creationId xmlns:a16="http://schemas.microsoft.com/office/drawing/2014/main" id="{778E3CBC-0B84-8312-AC1E-0259C0F90221}"/>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53" name="Rectangle 152">
                    <a:extLst>
                      <a:ext uri="{FF2B5EF4-FFF2-40B4-BE49-F238E27FC236}">
                        <a16:creationId xmlns:a16="http://schemas.microsoft.com/office/drawing/2014/main" id="{37D2236F-A4F8-0483-7A7F-D3DB6652C0ED}"/>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54" name="Rectangle 153">
                    <a:extLst>
                      <a:ext uri="{FF2B5EF4-FFF2-40B4-BE49-F238E27FC236}">
                        <a16:creationId xmlns:a16="http://schemas.microsoft.com/office/drawing/2014/main" id="{95E36EE2-C9E3-9D14-1DED-E239276D2C48}"/>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55" name="Rectangle 154">
                    <a:extLst>
                      <a:ext uri="{FF2B5EF4-FFF2-40B4-BE49-F238E27FC236}">
                        <a16:creationId xmlns:a16="http://schemas.microsoft.com/office/drawing/2014/main" id="{D787C737-1470-1987-3BDD-5D0B086D0544}"/>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56" name="Rectangle 155">
                    <a:extLst>
                      <a:ext uri="{FF2B5EF4-FFF2-40B4-BE49-F238E27FC236}">
                        <a16:creationId xmlns:a16="http://schemas.microsoft.com/office/drawing/2014/main" id="{7D7DD792-31C6-C918-4957-4076094200E6}"/>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57" name="Rectangle 156">
                    <a:extLst>
                      <a:ext uri="{FF2B5EF4-FFF2-40B4-BE49-F238E27FC236}">
                        <a16:creationId xmlns:a16="http://schemas.microsoft.com/office/drawing/2014/main" id="{98A964F7-773D-192E-DF17-E9AD16B49941}"/>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46" name="Group 45">
                  <a:extLst>
                    <a:ext uri="{FF2B5EF4-FFF2-40B4-BE49-F238E27FC236}">
                      <a16:creationId xmlns:a16="http://schemas.microsoft.com/office/drawing/2014/main" id="{870A3241-D059-D6CC-79E6-E5D0BFD022FF}"/>
                    </a:ext>
                  </a:extLst>
                </p:cNvPr>
                <p:cNvGrpSpPr/>
                <p:nvPr/>
              </p:nvGrpSpPr>
              <p:grpSpPr bwMode="gray">
                <a:xfrm>
                  <a:off x="11330825" y="4595102"/>
                  <a:ext cx="180514" cy="304089"/>
                  <a:chOff x="333633" y="1013896"/>
                  <a:chExt cx="1018905" cy="1228561"/>
                </a:xfrm>
                <a:solidFill>
                  <a:srgbClr val="F8971D">
                    <a:alpha val="15000"/>
                  </a:srgbClr>
                </a:solidFill>
              </p:grpSpPr>
              <p:sp>
                <p:nvSpPr>
                  <p:cNvPr id="146" name="Rectangle 145">
                    <a:extLst>
                      <a:ext uri="{FF2B5EF4-FFF2-40B4-BE49-F238E27FC236}">
                        <a16:creationId xmlns:a16="http://schemas.microsoft.com/office/drawing/2014/main" id="{D2E880C3-8B72-5587-F750-01B1A36A1F65}"/>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47" name="Rectangle 146">
                    <a:extLst>
                      <a:ext uri="{FF2B5EF4-FFF2-40B4-BE49-F238E27FC236}">
                        <a16:creationId xmlns:a16="http://schemas.microsoft.com/office/drawing/2014/main" id="{9DFE5E09-358E-C2D3-C8E0-1B35574348D4}"/>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48" name="Rectangle 147">
                    <a:extLst>
                      <a:ext uri="{FF2B5EF4-FFF2-40B4-BE49-F238E27FC236}">
                        <a16:creationId xmlns:a16="http://schemas.microsoft.com/office/drawing/2014/main" id="{B0F72BD5-545F-078F-AD74-85E8243319FB}"/>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49" name="Rectangle 148">
                    <a:extLst>
                      <a:ext uri="{FF2B5EF4-FFF2-40B4-BE49-F238E27FC236}">
                        <a16:creationId xmlns:a16="http://schemas.microsoft.com/office/drawing/2014/main" id="{D6C6925C-E4D4-BF36-D282-32319ACD7F03}"/>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50" name="Rectangle 149">
                    <a:extLst>
                      <a:ext uri="{FF2B5EF4-FFF2-40B4-BE49-F238E27FC236}">
                        <a16:creationId xmlns:a16="http://schemas.microsoft.com/office/drawing/2014/main" id="{9B2017A5-2636-F10C-BD55-3532F8343EE8}"/>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51" name="Rectangle 150">
                    <a:extLst>
                      <a:ext uri="{FF2B5EF4-FFF2-40B4-BE49-F238E27FC236}">
                        <a16:creationId xmlns:a16="http://schemas.microsoft.com/office/drawing/2014/main" id="{4E94A072-C086-E03D-0A08-08C4F9D35BCF}"/>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47" name="Group 46">
                  <a:extLst>
                    <a:ext uri="{FF2B5EF4-FFF2-40B4-BE49-F238E27FC236}">
                      <a16:creationId xmlns:a16="http://schemas.microsoft.com/office/drawing/2014/main" id="{B0F19D7B-83CA-447B-AA92-0AB8AAA57F4E}"/>
                    </a:ext>
                  </a:extLst>
                </p:cNvPr>
                <p:cNvGrpSpPr/>
                <p:nvPr/>
              </p:nvGrpSpPr>
              <p:grpSpPr bwMode="gray">
                <a:xfrm>
                  <a:off x="10603691" y="4618467"/>
                  <a:ext cx="180514" cy="304089"/>
                  <a:chOff x="333633" y="1013896"/>
                  <a:chExt cx="1018905" cy="1228561"/>
                </a:xfrm>
                <a:solidFill>
                  <a:srgbClr val="F8971D">
                    <a:alpha val="24797"/>
                  </a:srgbClr>
                </a:solidFill>
              </p:grpSpPr>
              <p:sp>
                <p:nvSpPr>
                  <p:cNvPr id="140" name="Rectangle 139">
                    <a:extLst>
                      <a:ext uri="{FF2B5EF4-FFF2-40B4-BE49-F238E27FC236}">
                        <a16:creationId xmlns:a16="http://schemas.microsoft.com/office/drawing/2014/main" id="{2104FC78-1727-8DFC-FD80-ED55C5344134}"/>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41" name="Rectangle 140">
                    <a:extLst>
                      <a:ext uri="{FF2B5EF4-FFF2-40B4-BE49-F238E27FC236}">
                        <a16:creationId xmlns:a16="http://schemas.microsoft.com/office/drawing/2014/main" id="{6CF1CAD2-4683-6CF2-D94C-904010963AEA}"/>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42" name="Rectangle 141">
                    <a:extLst>
                      <a:ext uri="{FF2B5EF4-FFF2-40B4-BE49-F238E27FC236}">
                        <a16:creationId xmlns:a16="http://schemas.microsoft.com/office/drawing/2014/main" id="{0918B082-CA1E-18EF-E5FD-EDCAC28F3AF9}"/>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43" name="Rectangle 142">
                    <a:extLst>
                      <a:ext uri="{FF2B5EF4-FFF2-40B4-BE49-F238E27FC236}">
                        <a16:creationId xmlns:a16="http://schemas.microsoft.com/office/drawing/2014/main" id="{0518EE50-FE3D-1586-75B0-A8C8CE489F12}"/>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44" name="Rectangle 143">
                    <a:extLst>
                      <a:ext uri="{FF2B5EF4-FFF2-40B4-BE49-F238E27FC236}">
                        <a16:creationId xmlns:a16="http://schemas.microsoft.com/office/drawing/2014/main" id="{73BF15AF-B4FA-1F21-60D4-BB75841A13FB}"/>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45" name="Rectangle 144">
                    <a:extLst>
                      <a:ext uri="{FF2B5EF4-FFF2-40B4-BE49-F238E27FC236}">
                        <a16:creationId xmlns:a16="http://schemas.microsoft.com/office/drawing/2014/main" id="{9228008E-85F4-8BF5-A4B2-7AB961F1975A}"/>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48" name="Group 47">
                  <a:extLst>
                    <a:ext uri="{FF2B5EF4-FFF2-40B4-BE49-F238E27FC236}">
                      <a16:creationId xmlns:a16="http://schemas.microsoft.com/office/drawing/2014/main" id="{34FC306E-ACD0-FF68-330E-9D924E3FE23E}"/>
                    </a:ext>
                  </a:extLst>
                </p:cNvPr>
                <p:cNvGrpSpPr/>
                <p:nvPr/>
              </p:nvGrpSpPr>
              <p:grpSpPr bwMode="gray">
                <a:xfrm>
                  <a:off x="10996930" y="4274443"/>
                  <a:ext cx="180518" cy="304089"/>
                  <a:chOff x="333632" y="1013895"/>
                  <a:chExt cx="1018906" cy="1228562"/>
                </a:xfrm>
                <a:solidFill>
                  <a:srgbClr val="F8971D">
                    <a:alpha val="15000"/>
                  </a:srgbClr>
                </a:solidFill>
              </p:grpSpPr>
              <p:sp>
                <p:nvSpPr>
                  <p:cNvPr id="134" name="Rectangle 133">
                    <a:extLst>
                      <a:ext uri="{FF2B5EF4-FFF2-40B4-BE49-F238E27FC236}">
                        <a16:creationId xmlns:a16="http://schemas.microsoft.com/office/drawing/2014/main" id="{6E976B34-E868-1592-8486-209E494069BA}"/>
                      </a:ext>
                    </a:extLst>
                  </p:cNvPr>
                  <p:cNvSpPr/>
                  <p:nvPr/>
                </p:nvSpPr>
                <p:spPr bwMode="gray">
                  <a:xfrm>
                    <a:off x="871798" y="1578429"/>
                    <a:ext cx="118801"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35" name="Rectangle 134">
                    <a:extLst>
                      <a:ext uri="{FF2B5EF4-FFF2-40B4-BE49-F238E27FC236}">
                        <a16:creationId xmlns:a16="http://schemas.microsoft.com/office/drawing/2014/main" id="{7A0EF969-0DEB-F36A-D4A2-402D2F4CA472}"/>
                      </a:ext>
                    </a:extLst>
                  </p:cNvPr>
                  <p:cNvSpPr/>
                  <p:nvPr/>
                </p:nvSpPr>
                <p:spPr bwMode="gray">
                  <a:xfrm>
                    <a:off x="699511" y="1578429"/>
                    <a:ext cx="118801"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36" name="Rectangle 135">
                    <a:extLst>
                      <a:ext uri="{FF2B5EF4-FFF2-40B4-BE49-F238E27FC236}">
                        <a16:creationId xmlns:a16="http://schemas.microsoft.com/office/drawing/2014/main" id="{165EFC6D-E0B0-B719-006B-159095BCC2EA}"/>
                      </a:ext>
                    </a:extLst>
                  </p:cNvPr>
                  <p:cNvSpPr/>
                  <p:nvPr/>
                </p:nvSpPr>
                <p:spPr bwMode="gray">
                  <a:xfrm rot="2107635">
                    <a:off x="1052021" y="1013897"/>
                    <a:ext cx="118801"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37" name="Rectangle 136">
                    <a:extLst>
                      <a:ext uri="{FF2B5EF4-FFF2-40B4-BE49-F238E27FC236}">
                        <a16:creationId xmlns:a16="http://schemas.microsoft.com/office/drawing/2014/main" id="{7909C942-21E4-4AD4-25A5-FD5634B24D88}"/>
                      </a:ext>
                    </a:extLst>
                  </p:cNvPr>
                  <p:cNvSpPr/>
                  <p:nvPr/>
                </p:nvSpPr>
                <p:spPr bwMode="gray">
                  <a:xfrm rot="19492365" flipV="1">
                    <a:off x="519288" y="1013895"/>
                    <a:ext cx="118801"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38" name="Rectangle 137">
                    <a:extLst>
                      <a:ext uri="{FF2B5EF4-FFF2-40B4-BE49-F238E27FC236}">
                        <a16:creationId xmlns:a16="http://schemas.microsoft.com/office/drawing/2014/main" id="{C06C52DE-FDAC-64EB-53CB-7CB86C1C6C60}"/>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39" name="Rectangle 138">
                    <a:extLst>
                      <a:ext uri="{FF2B5EF4-FFF2-40B4-BE49-F238E27FC236}">
                        <a16:creationId xmlns:a16="http://schemas.microsoft.com/office/drawing/2014/main" id="{7BB2A39F-EAEA-D210-5D34-39FE07703388}"/>
                      </a:ext>
                    </a:extLst>
                  </p:cNvPr>
                  <p:cNvSpPr/>
                  <p:nvPr/>
                </p:nvSpPr>
                <p:spPr bwMode="gray">
                  <a:xfrm rot="19492365" flipH="1">
                    <a:off x="333632" y="1140497"/>
                    <a:ext cx="118598"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49" name="Group 48">
                  <a:extLst>
                    <a:ext uri="{FF2B5EF4-FFF2-40B4-BE49-F238E27FC236}">
                      <a16:creationId xmlns:a16="http://schemas.microsoft.com/office/drawing/2014/main" id="{E6D8CB81-E7D0-1514-64D9-767669B43218}"/>
                    </a:ext>
                  </a:extLst>
                </p:cNvPr>
                <p:cNvGrpSpPr/>
                <p:nvPr/>
              </p:nvGrpSpPr>
              <p:grpSpPr bwMode="gray">
                <a:xfrm>
                  <a:off x="8534724" y="4525237"/>
                  <a:ext cx="180514" cy="304089"/>
                  <a:chOff x="333633" y="1013896"/>
                  <a:chExt cx="1018905" cy="1228561"/>
                </a:xfrm>
                <a:solidFill>
                  <a:srgbClr val="F8971D"/>
                </a:solidFill>
              </p:grpSpPr>
              <p:sp>
                <p:nvSpPr>
                  <p:cNvPr id="128" name="Rectangle 127">
                    <a:extLst>
                      <a:ext uri="{FF2B5EF4-FFF2-40B4-BE49-F238E27FC236}">
                        <a16:creationId xmlns:a16="http://schemas.microsoft.com/office/drawing/2014/main" id="{40391F05-B260-8A4C-2F50-92B9E7745D04}"/>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29" name="Rectangle 128">
                    <a:extLst>
                      <a:ext uri="{FF2B5EF4-FFF2-40B4-BE49-F238E27FC236}">
                        <a16:creationId xmlns:a16="http://schemas.microsoft.com/office/drawing/2014/main" id="{4642513F-B52B-5419-771A-9027F8C5C220}"/>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30" name="Rectangle 129">
                    <a:extLst>
                      <a:ext uri="{FF2B5EF4-FFF2-40B4-BE49-F238E27FC236}">
                        <a16:creationId xmlns:a16="http://schemas.microsoft.com/office/drawing/2014/main" id="{CD85C521-5676-5147-4597-87ACF956B505}"/>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31" name="Rectangle 130">
                    <a:extLst>
                      <a:ext uri="{FF2B5EF4-FFF2-40B4-BE49-F238E27FC236}">
                        <a16:creationId xmlns:a16="http://schemas.microsoft.com/office/drawing/2014/main" id="{53868ECE-363E-FD92-994C-280935B45B13}"/>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32" name="Rectangle 131">
                    <a:extLst>
                      <a:ext uri="{FF2B5EF4-FFF2-40B4-BE49-F238E27FC236}">
                        <a16:creationId xmlns:a16="http://schemas.microsoft.com/office/drawing/2014/main" id="{9F72E886-CA7B-B329-C158-AA7530004DB8}"/>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33" name="Rectangle 132">
                    <a:extLst>
                      <a:ext uri="{FF2B5EF4-FFF2-40B4-BE49-F238E27FC236}">
                        <a16:creationId xmlns:a16="http://schemas.microsoft.com/office/drawing/2014/main" id="{D948AB36-46BD-EA42-E70B-FC2ABD57433E}"/>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50" name="Group 49">
                  <a:extLst>
                    <a:ext uri="{FF2B5EF4-FFF2-40B4-BE49-F238E27FC236}">
                      <a16:creationId xmlns:a16="http://schemas.microsoft.com/office/drawing/2014/main" id="{720A78F1-675F-E15B-5128-A75EE3A3144E}"/>
                    </a:ext>
                  </a:extLst>
                </p:cNvPr>
                <p:cNvGrpSpPr/>
                <p:nvPr/>
              </p:nvGrpSpPr>
              <p:grpSpPr bwMode="gray">
                <a:xfrm>
                  <a:off x="8188971" y="2916273"/>
                  <a:ext cx="180514" cy="304089"/>
                  <a:chOff x="333633" y="1013896"/>
                  <a:chExt cx="1018905" cy="1228561"/>
                </a:xfrm>
                <a:solidFill>
                  <a:srgbClr val="F8971D"/>
                </a:solidFill>
              </p:grpSpPr>
              <p:sp>
                <p:nvSpPr>
                  <p:cNvPr id="122" name="Rectangle 121">
                    <a:extLst>
                      <a:ext uri="{FF2B5EF4-FFF2-40B4-BE49-F238E27FC236}">
                        <a16:creationId xmlns:a16="http://schemas.microsoft.com/office/drawing/2014/main" id="{9E061AAD-537D-8449-201C-7FA20B327AE8}"/>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23" name="Rectangle 122">
                    <a:extLst>
                      <a:ext uri="{FF2B5EF4-FFF2-40B4-BE49-F238E27FC236}">
                        <a16:creationId xmlns:a16="http://schemas.microsoft.com/office/drawing/2014/main" id="{595DA8CB-F8E5-4558-FD09-687D62D58504}"/>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24" name="Rectangle 123">
                    <a:extLst>
                      <a:ext uri="{FF2B5EF4-FFF2-40B4-BE49-F238E27FC236}">
                        <a16:creationId xmlns:a16="http://schemas.microsoft.com/office/drawing/2014/main" id="{933CD6F6-1D3C-9835-8C19-4ACC59C78E2D}"/>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25" name="Rectangle 124">
                    <a:extLst>
                      <a:ext uri="{FF2B5EF4-FFF2-40B4-BE49-F238E27FC236}">
                        <a16:creationId xmlns:a16="http://schemas.microsoft.com/office/drawing/2014/main" id="{BB4FE78F-90EA-CC4F-148B-01094D5D3314}"/>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26" name="Rectangle 125">
                    <a:extLst>
                      <a:ext uri="{FF2B5EF4-FFF2-40B4-BE49-F238E27FC236}">
                        <a16:creationId xmlns:a16="http://schemas.microsoft.com/office/drawing/2014/main" id="{235C5ECF-AC6B-9CEF-AADD-0721737B3897}"/>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27" name="Rectangle 126">
                    <a:extLst>
                      <a:ext uri="{FF2B5EF4-FFF2-40B4-BE49-F238E27FC236}">
                        <a16:creationId xmlns:a16="http://schemas.microsoft.com/office/drawing/2014/main" id="{5EECA74C-6281-1D9C-3E15-5E12BEF0BF72}"/>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51" name="Group 50">
                  <a:extLst>
                    <a:ext uri="{FF2B5EF4-FFF2-40B4-BE49-F238E27FC236}">
                      <a16:creationId xmlns:a16="http://schemas.microsoft.com/office/drawing/2014/main" id="{A373537F-117D-A531-E7D4-146F64FFF2CA}"/>
                    </a:ext>
                  </a:extLst>
                </p:cNvPr>
                <p:cNvGrpSpPr/>
                <p:nvPr/>
              </p:nvGrpSpPr>
              <p:grpSpPr bwMode="gray">
                <a:xfrm>
                  <a:off x="8394549" y="3424603"/>
                  <a:ext cx="180514" cy="304089"/>
                  <a:chOff x="333633" y="1013896"/>
                  <a:chExt cx="1018905" cy="1228561"/>
                </a:xfrm>
                <a:solidFill>
                  <a:srgbClr val="F8971D"/>
                </a:solidFill>
              </p:grpSpPr>
              <p:sp>
                <p:nvSpPr>
                  <p:cNvPr id="116" name="Rectangle 115">
                    <a:extLst>
                      <a:ext uri="{FF2B5EF4-FFF2-40B4-BE49-F238E27FC236}">
                        <a16:creationId xmlns:a16="http://schemas.microsoft.com/office/drawing/2014/main" id="{3A20E6EF-22FC-66F0-C579-FB9933F61180}"/>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17" name="Rectangle 116">
                    <a:extLst>
                      <a:ext uri="{FF2B5EF4-FFF2-40B4-BE49-F238E27FC236}">
                        <a16:creationId xmlns:a16="http://schemas.microsoft.com/office/drawing/2014/main" id="{0881C370-65FE-7B1A-DC55-6DE4A766508C}"/>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18" name="Rectangle 117">
                    <a:extLst>
                      <a:ext uri="{FF2B5EF4-FFF2-40B4-BE49-F238E27FC236}">
                        <a16:creationId xmlns:a16="http://schemas.microsoft.com/office/drawing/2014/main" id="{C5FC147D-E8E9-EB32-62FF-70D72DFCE7F2}"/>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19" name="Rectangle 118">
                    <a:extLst>
                      <a:ext uri="{FF2B5EF4-FFF2-40B4-BE49-F238E27FC236}">
                        <a16:creationId xmlns:a16="http://schemas.microsoft.com/office/drawing/2014/main" id="{D7D8ED79-BAC1-857A-AD20-BC20337ED690}"/>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20" name="Rectangle 119">
                    <a:extLst>
                      <a:ext uri="{FF2B5EF4-FFF2-40B4-BE49-F238E27FC236}">
                        <a16:creationId xmlns:a16="http://schemas.microsoft.com/office/drawing/2014/main" id="{901DD241-CD5A-CCF1-1D01-20F439A3269A}"/>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21" name="Rectangle 120">
                    <a:extLst>
                      <a:ext uri="{FF2B5EF4-FFF2-40B4-BE49-F238E27FC236}">
                        <a16:creationId xmlns:a16="http://schemas.microsoft.com/office/drawing/2014/main" id="{B6914BA0-A73B-321C-C2BB-013BB9F5E592}"/>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52" name="Group 51">
                  <a:extLst>
                    <a:ext uri="{FF2B5EF4-FFF2-40B4-BE49-F238E27FC236}">
                      <a16:creationId xmlns:a16="http://schemas.microsoft.com/office/drawing/2014/main" id="{071AA07C-B1BD-C030-B930-AD025771AB91}"/>
                    </a:ext>
                  </a:extLst>
                </p:cNvPr>
                <p:cNvGrpSpPr/>
                <p:nvPr/>
              </p:nvGrpSpPr>
              <p:grpSpPr bwMode="gray">
                <a:xfrm>
                  <a:off x="8914908" y="3604826"/>
                  <a:ext cx="180514" cy="304089"/>
                  <a:chOff x="333633" y="1013896"/>
                  <a:chExt cx="1018905" cy="1228561"/>
                </a:xfrm>
                <a:solidFill>
                  <a:srgbClr val="F8971D"/>
                </a:solidFill>
              </p:grpSpPr>
              <p:sp>
                <p:nvSpPr>
                  <p:cNvPr id="110" name="Rectangle 109">
                    <a:extLst>
                      <a:ext uri="{FF2B5EF4-FFF2-40B4-BE49-F238E27FC236}">
                        <a16:creationId xmlns:a16="http://schemas.microsoft.com/office/drawing/2014/main" id="{CEBEF736-4246-1E6D-3864-F13BEFA7A65E}"/>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11" name="Rectangle 110">
                    <a:extLst>
                      <a:ext uri="{FF2B5EF4-FFF2-40B4-BE49-F238E27FC236}">
                        <a16:creationId xmlns:a16="http://schemas.microsoft.com/office/drawing/2014/main" id="{6AA2EA75-0D73-D1A4-49D1-B492089B568A}"/>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12" name="Rectangle 111">
                    <a:extLst>
                      <a:ext uri="{FF2B5EF4-FFF2-40B4-BE49-F238E27FC236}">
                        <a16:creationId xmlns:a16="http://schemas.microsoft.com/office/drawing/2014/main" id="{D4D0F6E4-032E-2CD4-5CDA-1625FEB15BFE}"/>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13" name="Rectangle 112">
                    <a:extLst>
                      <a:ext uri="{FF2B5EF4-FFF2-40B4-BE49-F238E27FC236}">
                        <a16:creationId xmlns:a16="http://schemas.microsoft.com/office/drawing/2014/main" id="{48DBD05B-7F09-DEC9-1EF1-E74F45679188}"/>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14" name="Rectangle 113">
                    <a:extLst>
                      <a:ext uri="{FF2B5EF4-FFF2-40B4-BE49-F238E27FC236}">
                        <a16:creationId xmlns:a16="http://schemas.microsoft.com/office/drawing/2014/main" id="{1E7EEDC7-1D64-368A-E494-78B1C8017564}"/>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15" name="Rectangle 114">
                    <a:extLst>
                      <a:ext uri="{FF2B5EF4-FFF2-40B4-BE49-F238E27FC236}">
                        <a16:creationId xmlns:a16="http://schemas.microsoft.com/office/drawing/2014/main" id="{9B5C82E6-7FDB-B1A5-475C-1E4374CDD525}"/>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53" name="Group 52">
                  <a:extLst>
                    <a:ext uri="{FF2B5EF4-FFF2-40B4-BE49-F238E27FC236}">
                      <a16:creationId xmlns:a16="http://schemas.microsoft.com/office/drawing/2014/main" id="{C11334AC-607D-3BCD-FF03-A050CCEDA581}"/>
                    </a:ext>
                  </a:extLst>
                </p:cNvPr>
                <p:cNvGrpSpPr/>
                <p:nvPr/>
              </p:nvGrpSpPr>
              <p:grpSpPr bwMode="gray">
                <a:xfrm>
                  <a:off x="9832016" y="4576934"/>
                  <a:ext cx="180514" cy="304089"/>
                  <a:chOff x="333633" y="1013896"/>
                  <a:chExt cx="1018905" cy="1228561"/>
                </a:xfrm>
                <a:solidFill>
                  <a:srgbClr val="F8971D"/>
                </a:solidFill>
              </p:grpSpPr>
              <p:sp>
                <p:nvSpPr>
                  <p:cNvPr id="104" name="Rectangle 103">
                    <a:extLst>
                      <a:ext uri="{FF2B5EF4-FFF2-40B4-BE49-F238E27FC236}">
                        <a16:creationId xmlns:a16="http://schemas.microsoft.com/office/drawing/2014/main" id="{914B1E71-40BA-D140-0B93-2D682DEA064F}"/>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05" name="Rectangle 104">
                    <a:extLst>
                      <a:ext uri="{FF2B5EF4-FFF2-40B4-BE49-F238E27FC236}">
                        <a16:creationId xmlns:a16="http://schemas.microsoft.com/office/drawing/2014/main" id="{E471D1AF-25ED-093D-76EC-400A6A9CA37A}"/>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06" name="Rectangle 105">
                    <a:extLst>
                      <a:ext uri="{FF2B5EF4-FFF2-40B4-BE49-F238E27FC236}">
                        <a16:creationId xmlns:a16="http://schemas.microsoft.com/office/drawing/2014/main" id="{649B734E-0BC7-FA26-7DF7-4480AFA51A4F}"/>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07" name="Rectangle 106">
                    <a:extLst>
                      <a:ext uri="{FF2B5EF4-FFF2-40B4-BE49-F238E27FC236}">
                        <a16:creationId xmlns:a16="http://schemas.microsoft.com/office/drawing/2014/main" id="{C22E6F1A-C5F2-4A73-059B-B3C6F6BF412A}"/>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08" name="Rectangle 107">
                    <a:extLst>
                      <a:ext uri="{FF2B5EF4-FFF2-40B4-BE49-F238E27FC236}">
                        <a16:creationId xmlns:a16="http://schemas.microsoft.com/office/drawing/2014/main" id="{C91F2CF3-6131-FC20-DEE1-CFAAA9922A46}"/>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09" name="Rectangle 108">
                    <a:extLst>
                      <a:ext uri="{FF2B5EF4-FFF2-40B4-BE49-F238E27FC236}">
                        <a16:creationId xmlns:a16="http://schemas.microsoft.com/office/drawing/2014/main" id="{6426D24B-825B-F1CD-F467-A9829E63A198}"/>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54" name="Group 53">
                  <a:extLst>
                    <a:ext uri="{FF2B5EF4-FFF2-40B4-BE49-F238E27FC236}">
                      <a16:creationId xmlns:a16="http://schemas.microsoft.com/office/drawing/2014/main" id="{247A0E2C-9167-E4D8-2AA7-B234BD63F669}"/>
                    </a:ext>
                  </a:extLst>
                </p:cNvPr>
                <p:cNvGrpSpPr/>
                <p:nvPr/>
              </p:nvGrpSpPr>
              <p:grpSpPr bwMode="gray">
                <a:xfrm>
                  <a:off x="9278993" y="3976252"/>
                  <a:ext cx="180514" cy="304089"/>
                  <a:chOff x="333633" y="1013896"/>
                  <a:chExt cx="1018905" cy="1228561"/>
                </a:xfrm>
                <a:solidFill>
                  <a:srgbClr val="F8971D"/>
                </a:solidFill>
              </p:grpSpPr>
              <p:sp>
                <p:nvSpPr>
                  <p:cNvPr id="98" name="Rectangle 97">
                    <a:extLst>
                      <a:ext uri="{FF2B5EF4-FFF2-40B4-BE49-F238E27FC236}">
                        <a16:creationId xmlns:a16="http://schemas.microsoft.com/office/drawing/2014/main" id="{A3C95891-B6D8-B841-E2A9-459CC39A49FE}"/>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99" name="Rectangle 98">
                    <a:extLst>
                      <a:ext uri="{FF2B5EF4-FFF2-40B4-BE49-F238E27FC236}">
                        <a16:creationId xmlns:a16="http://schemas.microsoft.com/office/drawing/2014/main" id="{DD076B08-3CC8-3432-5AC2-6A2A4B542529}"/>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00" name="Rectangle 99">
                    <a:extLst>
                      <a:ext uri="{FF2B5EF4-FFF2-40B4-BE49-F238E27FC236}">
                        <a16:creationId xmlns:a16="http://schemas.microsoft.com/office/drawing/2014/main" id="{31F0A0C5-FB21-F3FB-A6D1-F728D9347444}"/>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01" name="Rectangle 100">
                    <a:extLst>
                      <a:ext uri="{FF2B5EF4-FFF2-40B4-BE49-F238E27FC236}">
                        <a16:creationId xmlns:a16="http://schemas.microsoft.com/office/drawing/2014/main" id="{56D457CB-D882-E26B-CE71-CAC12B2259CB}"/>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02" name="Rectangle 101">
                    <a:extLst>
                      <a:ext uri="{FF2B5EF4-FFF2-40B4-BE49-F238E27FC236}">
                        <a16:creationId xmlns:a16="http://schemas.microsoft.com/office/drawing/2014/main" id="{80056B30-4946-1BFF-0E53-BC291195B343}"/>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103" name="Rectangle 102">
                    <a:extLst>
                      <a:ext uri="{FF2B5EF4-FFF2-40B4-BE49-F238E27FC236}">
                        <a16:creationId xmlns:a16="http://schemas.microsoft.com/office/drawing/2014/main" id="{FDA87D5B-9630-2400-EE29-3E8F99BBBA5A}"/>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55" name="Group 54">
                  <a:extLst>
                    <a:ext uri="{FF2B5EF4-FFF2-40B4-BE49-F238E27FC236}">
                      <a16:creationId xmlns:a16="http://schemas.microsoft.com/office/drawing/2014/main" id="{558CD31F-4A78-07DE-2CDD-6677E480B2BD}"/>
                    </a:ext>
                  </a:extLst>
                </p:cNvPr>
                <p:cNvGrpSpPr/>
                <p:nvPr/>
              </p:nvGrpSpPr>
              <p:grpSpPr bwMode="gray">
                <a:xfrm>
                  <a:off x="10009018" y="3831876"/>
                  <a:ext cx="180514" cy="304089"/>
                  <a:chOff x="333633" y="1013896"/>
                  <a:chExt cx="1018905" cy="1228561"/>
                </a:xfrm>
                <a:solidFill>
                  <a:srgbClr val="F8971D">
                    <a:alpha val="49534"/>
                  </a:srgbClr>
                </a:solidFill>
              </p:grpSpPr>
              <p:sp>
                <p:nvSpPr>
                  <p:cNvPr id="92" name="Rectangle 91">
                    <a:extLst>
                      <a:ext uri="{FF2B5EF4-FFF2-40B4-BE49-F238E27FC236}">
                        <a16:creationId xmlns:a16="http://schemas.microsoft.com/office/drawing/2014/main" id="{5727FB21-CF9C-5B5C-5194-8F33329A86F5}"/>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93" name="Rectangle 92">
                    <a:extLst>
                      <a:ext uri="{FF2B5EF4-FFF2-40B4-BE49-F238E27FC236}">
                        <a16:creationId xmlns:a16="http://schemas.microsoft.com/office/drawing/2014/main" id="{B02FB1B0-819A-BFB3-59FA-EA01E8436E26}"/>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94" name="Rectangle 93">
                    <a:extLst>
                      <a:ext uri="{FF2B5EF4-FFF2-40B4-BE49-F238E27FC236}">
                        <a16:creationId xmlns:a16="http://schemas.microsoft.com/office/drawing/2014/main" id="{E491B143-396D-9C0E-CAFD-8602F1BDBAB9}"/>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95" name="Rectangle 94">
                    <a:extLst>
                      <a:ext uri="{FF2B5EF4-FFF2-40B4-BE49-F238E27FC236}">
                        <a16:creationId xmlns:a16="http://schemas.microsoft.com/office/drawing/2014/main" id="{795DC078-D96F-501B-66F9-60147B869A95}"/>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96" name="Rectangle 95">
                    <a:extLst>
                      <a:ext uri="{FF2B5EF4-FFF2-40B4-BE49-F238E27FC236}">
                        <a16:creationId xmlns:a16="http://schemas.microsoft.com/office/drawing/2014/main" id="{A308D4B3-DE9D-EE80-BF7C-3E15236C727A}"/>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97" name="Rectangle 96">
                    <a:extLst>
                      <a:ext uri="{FF2B5EF4-FFF2-40B4-BE49-F238E27FC236}">
                        <a16:creationId xmlns:a16="http://schemas.microsoft.com/office/drawing/2014/main" id="{79B6326D-8829-31CE-589A-7325739EA915}"/>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56" name="Group 55">
                  <a:extLst>
                    <a:ext uri="{FF2B5EF4-FFF2-40B4-BE49-F238E27FC236}">
                      <a16:creationId xmlns:a16="http://schemas.microsoft.com/office/drawing/2014/main" id="{1CA6CA42-4C04-CFA9-A200-7569AA65686C}"/>
                    </a:ext>
                  </a:extLst>
                </p:cNvPr>
                <p:cNvGrpSpPr/>
                <p:nvPr/>
              </p:nvGrpSpPr>
              <p:grpSpPr bwMode="gray">
                <a:xfrm>
                  <a:off x="10195612" y="4466391"/>
                  <a:ext cx="180514" cy="304089"/>
                  <a:chOff x="333633" y="1013896"/>
                  <a:chExt cx="1018905" cy="1228561"/>
                </a:xfrm>
                <a:solidFill>
                  <a:srgbClr val="F8971D">
                    <a:alpha val="49879"/>
                  </a:srgbClr>
                </a:solidFill>
              </p:grpSpPr>
              <p:sp>
                <p:nvSpPr>
                  <p:cNvPr id="86" name="Rectangle 85">
                    <a:extLst>
                      <a:ext uri="{FF2B5EF4-FFF2-40B4-BE49-F238E27FC236}">
                        <a16:creationId xmlns:a16="http://schemas.microsoft.com/office/drawing/2014/main" id="{8CCC0AFD-FA86-10EB-EFCE-473A6506E66C}"/>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87" name="Rectangle 86">
                    <a:extLst>
                      <a:ext uri="{FF2B5EF4-FFF2-40B4-BE49-F238E27FC236}">
                        <a16:creationId xmlns:a16="http://schemas.microsoft.com/office/drawing/2014/main" id="{A0CC4E59-5B0E-4C57-7A85-D64E825AEB9C}"/>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88" name="Rectangle 87">
                    <a:extLst>
                      <a:ext uri="{FF2B5EF4-FFF2-40B4-BE49-F238E27FC236}">
                        <a16:creationId xmlns:a16="http://schemas.microsoft.com/office/drawing/2014/main" id="{ACA2D1F8-232D-278E-2564-5D975B35B076}"/>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89" name="Rectangle 88">
                    <a:extLst>
                      <a:ext uri="{FF2B5EF4-FFF2-40B4-BE49-F238E27FC236}">
                        <a16:creationId xmlns:a16="http://schemas.microsoft.com/office/drawing/2014/main" id="{EEE85961-D70D-7036-1115-C0D4F113F7D0}"/>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90" name="Rectangle 89">
                    <a:extLst>
                      <a:ext uri="{FF2B5EF4-FFF2-40B4-BE49-F238E27FC236}">
                        <a16:creationId xmlns:a16="http://schemas.microsoft.com/office/drawing/2014/main" id="{7BD586E2-5385-9FD9-6B54-5FA9CDD747C6}"/>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91" name="Rectangle 90">
                    <a:extLst>
                      <a:ext uri="{FF2B5EF4-FFF2-40B4-BE49-F238E27FC236}">
                        <a16:creationId xmlns:a16="http://schemas.microsoft.com/office/drawing/2014/main" id="{FE9C9E3B-00A6-A2F4-AE53-80E47F703CB8}"/>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57" name="Group 56">
                  <a:extLst>
                    <a:ext uri="{FF2B5EF4-FFF2-40B4-BE49-F238E27FC236}">
                      <a16:creationId xmlns:a16="http://schemas.microsoft.com/office/drawing/2014/main" id="{2F46E48C-CEF9-47AE-6C24-FEA326A5E3CA}"/>
                    </a:ext>
                  </a:extLst>
                </p:cNvPr>
                <p:cNvGrpSpPr/>
                <p:nvPr/>
              </p:nvGrpSpPr>
              <p:grpSpPr bwMode="gray">
                <a:xfrm>
                  <a:off x="9778843" y="4079937"/>
                  <a:ext cx="180514" cy="304089"/>
                  <a:chOff x="333633" y="1013896"/>
                  <a:chExt cx="1018905" cy="1228561"/>
                </a:xfrm>
                <a:solidFill>
                  <a:srgbClr val="F8971D">
                    <a:alpha val="49534"/>
                  </a:srgbClr>
                </a:solidFill>
              </p:grpSpPr>
              <p:sp>
                <p:nvSpPr>
                  <p:cNvPr id="80" name="Rectangle 79">
                    <a:extLst>
                      <a:ext uri="{FF2B5EF4-FFF2-40B4-BE49-F238E27FC236}">
                        <a16:creationId xmlns:a16="http://schemas.microsoft.com/office/drawing/2014/main" id="{14B835AD-6BFA-09D9-F7A3-B4DB4759ED93}"/>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81" name="Rectangle 80">
                    <a:extLst>
                      <a:ext uri="{FF2B5EF4-FFF2-40B4-BE49-F238E27FC236}">
                        <a16:creationId xmlns:a16="http://schemas.microsoft.com/office/drawing/2014/main" id="{45450288-F16C-ABF1-737A-A6688EC119AB}"/>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82" name="Rectangle 81">
                    <a:extLst>
                      <a:ext uri="{FF2B5EF4-FFF2-40B4-BE49-F238E27FC236}">
                        <a16:creationId xmlns:a16="http://schemas.microsoft.com/office/drawing/2014/main" id="{E493AEC7-FEDC-7264-E174-E35C6DAEE0BF}"/>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83" name="Rectangle 82">
                    <a:extLst>
                      <a:ext uri="{FF2B5EF4-FFF2-40B4-BE49-F238E27FC236}">
                        <a16:creationId xmlns:a16="http://schemas.microsoft.com/office/drawing/2014/main" id="{91B3035A-DFE6-56E8-6B23-5CAB9EC656C7}"/>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84" name="Rectangle 83">
                    <a:extLst>
                      <a:ext uri="{FF2B5EF4-FFF2-40B4-BE49-F238E27FC236}">
                        <a16:creationId xmlns:a16="http://schemas.microsoft.com/office/drawing/2014/main" id="{F146B140-52C1-E5D0-2C27-65F335BC0851}"/>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85" name="Rectangle 84">
                    <a:extLst>
                      <a:ext uri="{FF2B5EF4-FFF2-40B4-BE49-F238E27FC236}">
                        <a16:creationId xmlns:a16="http://schemas.microsoft.com/office/drawing/2014/main" id="{CA79E1AF-6C89-7060-E52B-986F531A7AAC}"/>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58" name="Group 57">
                  <a:extLst>
                    <a:ext uri="{FF2B5EF4-FFF2-40B4-BE49-F238E27FC236}">
                      <a16:creationId xmlns:a16="http://schemas.microsoft.com/office/drawing/2014/main" id="{35415FD5-E581-0476-D72D-3953A5C86B9A}"/>
                    </a:ext>
                  </a:extLst>
                </p:cNvPr>
                <p:cNvGrpSpPr/>
                <p:nvPr/>
              </p:nvGrpSpPr>
              <p:grpSpPr bwMode="gray">
                <a:xfrm>
                  <a:off x="10274945" y="3947237"/>
                  <a:ext cx="180514" cy="304089"/>
                  <a:chOff x="333633" y="1013896"/>
                  <a:chExt cx="1018905" cy="1228561"/>
                </a:xfrm>
                <a:solidFill>
                  <a:srgbClr val="F8971D">
                    <a:alpha val="35000"/>
                  </a:srgbClr>
                </a:solidFill>
              </p:grpSpPr>
              <p:sp>
                <p:nvSpPr>
                  <p:cNvPr id="74" name="Rectangle 73">
                    <a:extLst>
                      <a:ext uri="{FF2B5EF4-FFF2-40B4-BE49-F238E27FC236}">
                        <a16:creationId xmlns:a16="http://schemas.microsoft.com/office/drawing/2014/main" id="{232CD811-0F95-8078-3738-6F40BB78F50F}"/>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75" name="Rectangle 74">
                    <a:extLst>
                      <a:ext uri="{FF2B5EF4-FFF2-40B4-BE49-F238E27FC236}">
                        <a16:creationId xmlns:a16="http://schemas.microsoft.com/office/drawing/2014/main" id="{E78E24BF-7204-9D6B-9118-4C657EAD0489}"/>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76" name="Rectangle 75">
                    <a:extLst>
                      <a:ext uri="{FF2B5EF4-FFF2-40B4-BE49-F238E27FC236}">
                        <a16:creationId xmlns:a16="http://schemas.microsoft.com/office/drawing/2014/main" id="{6F21FA5D-29C7-9E11-37E2-DBB2D297ADD1}"/>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77" name="Rectangle 76">
                    <a:extLst>
                      <a:ext uri="{FF2B5EF4-FFF2-40B4-BE49-F238E27FC236}">
                        <a16:creationId xmlns:a16="http://schemas.microsoft.com/office/drawing/2014/main" id="{592A03F4-BD79-37BD-FD82-4309D792F5D1}"/>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78" name="Rectangle 77">
                    <a:extLst>
                      <a:ext uri="{FF2B5EF4-FFF2-40B4-BE49-F238E27FC236}">
                        <a16:creationId xmlns:a16="http://schemas.microsoft.com/office/drawing/2014/main" id="{A4785E4B-398E-3E6C-50AF-C5EBEDE6E3D6}"/>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79" name="Rectangle 78">
                    <a:extLst>
                      <a:ext uri="{FF2B5EF4-FFF2-40B4-BE49-F238E27FC236}">
                        <a16:creationId xmlns:a16="http://schemas.microsoft.com/office/drawing/2014/main" id="{59018DC0-2CE4-37A0-30F8-2AF827FE8125}"/>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59" name="Group 58">
                  <a:extLst>
                    <a:ext uri="{FF2B5EF4-FFF2-40B4-BE49-F238E27FC236}">
                      <a16:creationId xmlns:a16="http://schemas.microsoft.com/office/drawing/2014/main" id="{1E6F915B-922F-E271-BA67-95BF72D1E810}"/>
                    </a:ext>
                  </a:extLst>
                </p:cNvPr>
                <p:cNvGrpSpPr/>
                <p:nvPr/>
              </p:nvGrpSpPr>
              <p:grpSpPr bwMode="gray">
                <a:xfrm>
                  <a:off x="10446596" y="4221149"/>
                  <a:ext cx="180514" cy="304089"/>
                  <a:chOff x="333633" y="1013896"/>
                  <a:chExt cx="1018905" cy="1228561"/>
                </a:xfrm>
                <a:solidFill>
                  <a:srgbClr val="F8971D">
                    <a:alpha val="35000"/>
                  </a:srgbClr>
                </a:solidFill>
              </p:grpSpPr>
              <p:sp>
                <p:nvSpPr>
                  <p:cNvPr id="68" name="Rectangle 67">
                    <a:extLst>
                      <a:ext uri="{FF2B5EF4-FFF2-40B4-BE49-F238E27FC236}">
                        <a16:creationId xmlns:a16="http://schemas.microsoft.com/office/drawing/2014/main" id="{9FA2425F-D6BA-7207-BAE8-65313E5A8F09}"/>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69" name="Rectangle 68">
                    <a:extLst>
                      <a:ext uri="{FF2B5EF4-FFF2-40B4-BE49-F238E27FC236}">
                        <a16:creationId xmlns:a16="http://schemas.microsoft.com/office/drawing/2014/main" id="{D9C38CDB-757A-45D4-661C-3E3130F830A9}"/>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70" name="Rectangle 69">
                    <a:extLst>
                      <a:ext uri="{FF2B5EF4-FFF2-40B4-BE49-F238E27FC236}">
                        <a16:creationId xmlns:a16="http://schemas.microsoft.com/office/drawing/2014/main" id="{7FB2067C-536E-1410-7FC5-45BFD856A616}"/>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71" name="Rectangle 70">
                    <a:extLst>
                      <a:ext uri="{FF2B5EF4-FFF2-40B4-BE49-F238E27FC236}">
                        <a16:creationId xmlns:a16="http://schemas.microsoft.com/office/drawing/2014/main" id="{051A416C-2CAC-BCF7-1811-9CFC0417767D}"/>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72" name="Rectangle 71">
                    <a:extLst>
                      <a:ext uri="{FF2B5EF4-FFF2-40B4-BE49-F238E27FC236}">
                        <a16:creationId xmlns:a16="http://schemas.microsoft.com/office/drawing/2014/main" id="{41564795-A15E-7C37-D15F-179147916291}"/>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73" name="Rectangle 72">
                    <a:extLst>
                      <a:ext uri="{FF2B5EF4-FFF2-40B4-BE49-F238E27FC236}">
                        <a16:creationId xmlns:a16="http://schemas.microsoft.com/office/drawing/2014/main" id="{4118F625-7A4A-7B54-E920-8EBEBD45B5B4}"/>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grpSp>
              <p:nvGrpSpPr>
                <p:cNvPr id="60" name="Group 59">
                  <a:extLst>
                    <a:ext uri="{FF2B5EF4-FFF2-40B4-BE49-F238E27FC236}">
                      <a16:creationId xmlns:a16="http://schemas.microsoft.com/office/drawing/2014/main" id="{14E7B40F-43EA-5AB9-AC02-8051EC289EE0}"/>
                    </a:ext>
                  </a:extLst>
                </p:cNvPr>
                <p:cNvGrpSpPr/>
                <p:nvPr/>
              </p:nvGrpSpPr>
              <p:grpSpPr bwMode="gray">
                <a:xfrm>
                  <a:off x="10970768" y="4507071"/>
                  <a:ext cx="180514" cy="304089"/>
                  <a:chOff x="333633" y="1013896"/>
                  <a:chExt cx="1018905" cy="1228561"/>
                </a:xfrm>
                <a:solidFill>
                  <a:srgbClr val="F8971D">
                    <a:alpha val="24797"/>
                  </a:srgbClr>
                </a:solidFill>
              </p:grpSpPr>
              <p:sp>
                <p:nvSpPr>
                  <p:cNvPr id="62" name="Rectangle 61">
                    <a:extLst>
                      <a:ext uri="{FF2B5EF4-FFF2-40B4-BE49-F238E27FC236}">
                        <a16:creationId xmlns:a16="http://schemas.microsoft.com/office/drawing/2014/main" id="{18A2D296-4059-98EE-402B-31E1B50C447A}"/>
                      </a:ext>
                    </a:extLst>
                  </p:cNvPr>
                  <p:cNvSpPr/>
                  <p:nvPr/>
                </p:nvSpPr>
                <p:spPr bwMode="gray">
                  <a:xfrm>
                    <a:off x="871799"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63" name="Rectangle 62">
                    <a:extLst>
                      <a:ext uri="{FF2B5EF4-FFF2-40B4-BE49-F238E27FC236}">
                        <a16:creationId xmlns:a16="http://schemas.microsoft.com/office/drawing/2014/main" id="{78A32CFC-2301-EE83-3D17-96F3BB470C5F}"/>
                      </a:ext>
                    </a:extLst>
                  </p:cNvPr>
                  <p:cNvSpPr/>
                  <p:nvPr/>
                </p:nvSpPr>
                <p:spPr bwMode="gray">
                  <a:xfrm>
                    <a:off x="699510" y="1578429"/>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64" name="Rectangle 63">
                    <a:extLst>
                      <a:ext uri="{FF2B5EF4-FFF2-40B4-BE49-F238E27FC236}">
                        <a16:creationId xmlns:a16="http://schemas.microsoft.com/office/drawing/2014/main" id="{A7D89F59-5F16-1A04-D66E-2D1130095FDC}"/>
                      </a:ext>
                    </a:extLst>
                  </p:cNvPr>
                  <p:cNvSpPr/>
                  <p:nvPr/>
                </p:nvSpPr>
                <p:spPr bwMode="gray">
                  <a:xfrm rot="2107635">
                    <a:off x="1052020"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65" name="Rectangle 64">
                    <a:extLst>
                      <a:ext uri="{FF2B5EF4-FFF2-40B4-BE49-F238E27FC236}">
                        <a16:creationId xmlns:a16="http://schemas.microsoft.com/office/drawing/2014/main" id="{8CBBDF97-20B0-596E-3815-FD8D73AF7778}"/>
                      </a:ext>
                    </a:extLst>
                  </p:cNvPr>
                  <p:cNvSpPr/>
                  <p:nvPr/>
                </p:nvSpPr>
                <p:spPr bwMode="gray">
                  <a:xfrm rot="19492365" flipV="1">
                    <a:off x="519288" y="1013896"/>
                    <a:ext cx="118802" cy="66402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66" name="Rectangle 65">
                    <a:extLst>
                      <a:ext uri="{FF2B5EF4-FFF2-40B4-BE49-F238E27FC236}">
                        <a16:creationId xmlns:a16="http://schemas.microsoft.com/office/drawing/2014/main" id="{83A153CA-A27F-9BDE-8441-D3E42B2D9E34}"/>
                      </a:ext>
                    </a:extLst>
                  </p:cNvPr>
                  <p:cNvSpPr/>
                  <p:nvPr/>
                </p:nvSpPr>
                <p:spPr bwMode="gray">
                  <a:xfrm rot="2107635">
                    <a:off x="1233939" y="1126094"/>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sp>
                <p:nvSpPr>
                  <p:cNvPr id="67" name="Rectangle 66">
                    <a:extLst>
                      <a:ext uri="{FF2B5EF4-FFF2-40B4-BE49-F238E27FC236}">
                        <a16:creationId xmlns:a16="http://schemas.microsoft.com/office/drawing/2014/main" id="{2AB244E9-E0C4-95F7-600E-32BB82F088AB}"/>
                      </a:ext>
                    </a:extLst>
                  </p:cNvPr>
                  <p:cNvSpPr/>
                  <p:nvPr/>
                </p:nvSpPr>
                <p:spPr bwMode="gray">
                  <a:xfrm rot="19492365" flipH="1">
                    <a:off x="333633" y="1140501"/>
                    <a:ext cx="118599" cy="528678"/>
                  </a:xfrm>
                  <a:prstGeom prst="rect">
                    <a:avLst/>
                  </a:prstGeom>
                  <a:grp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1000" b="1" i="0" u="none" strike="noStrike" kern="0" cap="none" spc="0" normalizeH="0" baseline="0" noProof="0">
                      <a:ln>
                        <a:noFill/>
                      </a:ln>
                      <a:solidFill>
                        <a:srgbClr val="0000C9"/>
                      </a:solidFill>
                      <a:effectLst/>
                      <a:uLnTx/>
                      <a:uFillTx/>
                      <a:latin typeface="Pfizer Diatype Office"/>
                      <a:ea typeface="+mn-ea"/>
                      <a:cs typeface="+mn-cs"/>
                    </a:endParaRPr>
                  </a:p>
                </p:txBody>
              </p:sp>
            </p:grpSp>
            <p:cxnSp>
              <p:nvCxnSpPr>
                <p:cNvPr id="61" name="Straight Arrow Connector 60">
                  <a:extLst>
                    <a:ext uri="{FF2B5EF4-FFF2-40B4-BE49-F238E27FC236}">
                      <a16:creationId xmlns:a16="http://schemas.microsoft.com/office/drawing/2014/main" id="{88F3CF32-0D02-F79A-A266-1874BB34C8C9}"/>
                    </a:ext>
                  </a:extLst>
                </p:cNvPr>
                <p:cNvCxnSpPr>
                  <a:cxnSpLocks/>
                </p:cNvCxnSpPr>
                <p:nvPr/>
              </p:nvCxnSpPr>
              <p:spPr bwMode="gray">
                <a:xfrm flipV="1">
                  <a:off x="8186564" y="2113860"/>
                  <a:ext cx="3582240" cy="2983220"/>
                </a:xfrm>
                <a:prstGeom prst="straightConnector1">
                  <a:avLst/>
                </a:prstGeom>
                <a:noFill/>
                <a:ln w="76200" cap="rnd">
                  <a:gradFill>
                    <a:gsLst>
                      <a:gs pos="0">
                        <a:schemeClr val="accent6">
                          <a:alpha val="0"/>
                        </a:schemeClr>
                      </a:gs>
                      <a:gs pos="100000">
                        <a:schemeClr val="accent6"/>
                      </a:gs>
                    </a:gsLst>
                    <a:lin ang="5400000" scaled="1"/>
                  </a:gradFill>
                  <a:prstDash val="solid"/>
                  <a:round/>
                  <a:headEnd/>
                  <a:tailEnd type="triangle" w="med" len="sm"/>
                </a:ln>
                <a:effectLst/>
              </p:spPr>
            </p:cxnSp>
          </p:grpSp>
          <p:cxnSp>
            <p:nvCxnSpPr>
              <p:cNvPr id="26" name="Straight Arrow Connector 25">
                <a:extLst>
                  <a:ext uri="{FF2B5EF4-FFF2-40B4-BE49-F238E27FC236}">
                    <a16:creationId xmlns:a16="http://schemas.microsoft.com/office/drawing/2014/main" id="{E1C7A5C1-DD7C-B280-7C8C-677729E4AAA1}"/>
                  </a:ext>
                </a:extLst>
              </p:cNvPr>
              <p:cNvCxnSpPr>
                <a:cxnSpLocks/>
              </p:cNvCxnSpPr>
              <p:nvPr/>
            </p:nvCxnSpPr>
            <p:spPr bwMode="gray">
              <a:xfrm>
                <a:off x="2017219" y="4339750"/>
                <a:ext cx="1908179" cy="1335282"/>
              </a:xfrm>
              <a:prstGeom prst="straightConnector1">
                <a:avLst/>
              </a:prstGeom>
              <a:noFill/>
              <a:ln w="76200" cap="rnd">
                <a:gradFill>
                  <a:gsLst>
                    <a:gs pos="0">
                      <a:schemeClr val="accent2"/>
                    </a:gs>
                    <a:gs pos="100000">
                      <a:schemeClr val="accent2">
                        <a:alpha val="21000"/>
                      </a:schemeClr>
                    </a:gs>
                  </a:gsLst>
                  <a:lin ang="5400000" scaled="1"/>
                </a:gradFill>
                <a:prstDash val="solid"/>
                <a:round/>
                <a:headEnd/>
                <a:tailEnd type="triangle" w="med" len="sm"/>
              </a:ln>
              <a:effectLst/>
            </p:spPr>
          </p:cxnSp>
        </p:grpSp>
        <p:sp>
          <p:nvSpPr>
            <p:cNvPr id="3" name="Rectangle: Rounded Corners 2">
              <a:extLst>
                <a:ext uri="{FF2B5EF4-FFF2-40B4-BE49-F238E27FC236}">
                  <a16:creationId xmlns:a16="http://schemas.microsoft.com/office/drawing/2014/main" id="{5AA00172-7847-47D5-3AA0-127801E9C046}"/>
                </a:ext>
              </a:extLst>
            </p:cNvPr>
            <p:cNvSpPr/>
            <p:nvPr/>
          </p:nvSpPr>
          <p:spPr bwMode="gray">
            <a:xfrm>
              <a:off x="5269583" y="1705680"/>
              <a:ext cx="6312817" cy="1247828"/>
            </a:xfrm>
            <a:prstGeom prst="roundRect">
              <a:avLst>
                <a:gd name="adj" fmla="val 7842"/>
              </a:avLst>
            </a:prstGeom>
            <a:solidFill>
              <a:schemeClr val="accent5">
                <a:alpha val="20000"/>
              </a:schemeClr>
            </a:solidFill>
            <a:ln w="28575" cap="flat" cmpd="sng" algn="ctr">
              <a:noFill/>
              <a:prstDash val="solid"/>
              <a:miter lim="800000"/>
              <a:headEnd type="none" w="med" len="med"/>
              <a:tailEnd type="none" w="med" len="med"/>
            </a:ln>
            <a:effectLst/>
          </p:spPr>
          <p:txBody>
            <a:bodyPr vert="horz" wrap="square" lIns="90000" tIns="46800" rIns="90000" bIns="468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1200"/>
                </a:spcAft>
                <a:buClr>
                  <a:srgbClr val="000000"/>
                </a:buClr>
                <a:buSzPct val="100000"/>
                <a:buFontTx/>
                <a:buNone/>
                <a:tabLst/>
                <a:defRPr/>
              </a:pPr>
              <a:r>
                <a:rPr kumimoji="0" lang="en-US" sz="1600" b="1" i="0" u="none" strike="noStrike" kern="1200" cap="none" spc="-25" normalizeH="0" baseline="0" noProof="0" dirty="0">
                  <a:ln>
                    <a:noFill/>
                  </a:ln>
                  <a:solidFill>
                    <a:schemeClr val="accent5"/>
                  </a:solidFill>
                  <a:effectLst/>
                  <a:uLnTx/>
                  <a:uFillTx/>
                  <a:latin typeface="Pfizer Tomorrow"/>
                  <a:ea typeface="+mn-ea"/>
                  <a:cs typeface="+mn-cs"/>
                </a:rPr>
                <a:t>Inflammaging</a:t>
              </a:r>
              <a:r>
                <a:rPr kumimoji="0" lang="en-US" sz="1600" b="1" i="0" u="none" strike="noStrike" kern="1200" cap="none" spc="-25" normalizeH="0" baseline="30000" noProof="0" dirty="0">
                  <a:ln>
                    <a:noFill/>
                  </a:ln>
                  <a:solidFill>
                    <a:schemeClr val="accent5"/>
                  </a:solidFill>
                  <a:effectLst/>
                  <a:uLnTx/>
                  <a:uFillTx/>
                  <a:latin typeface="Pfizer Tomorrow"/>
                  <a:ea typeface="+mn-ea"/>
                  <a:cs typeface="+mn-cs"/>
                </a:rPr>
                <a:t>1</a:t>
              </a:r>
            </a:p>
            <a:p>
              <a:pPr marL="173736" marR="0" lvl="0" indent="-173736" algn="l" defTabSz="914400" rtl="0" eaLnBrk="1" fontAlgn="base" latinLnBrk="0" hangingPunct="1">
                <a:lnSpc>
                  <a:spcPct val="100000"/>
                </a:lnSpc>
                <a:spcBef>
                  <a:spcPts val="0"/>
                </a:spcBef>
                <a:spcAft>
                  <a:spcPts val="1200"/>
                </a:spcAft>
                <a:buClr>
                  <a:srgbClr val="000000"/>
                </a:buClr>
                <a:buSzPct val="100000"/>
                <a:buFont typeface="Arial" panose="020B0604020202020204" pitchFamily="34" charset="0"/>
                <a:buChar char="•"/>
                <a:tabLst/>
                <a:defRPr/>
              </a:pPr>
              <a:r>
                <a:rPr lang="en-GB" sz="1400" dirty="0" err="1">
                  <a:solidFill>
                    <a:srgbClr val="000000"/>
                  </a:solidFill>
                  <a:latin typeface="Pfizer Diatype Office"/>
                </a:rPr>
                <a:t>İmmünosenesans</a:t>
              </a:r>
              <a:r>
                <a:rPr lang="en-GB" sz="1400" dirty="0">
                  <a:solidFill>
                    <a:srgbClr val="000000"/>
                  </a:solidFill>
                  <a:latin typeface="Pfizer Diatype Office"/>
                </a:rPr>
                <a:t> </a:t>
              </a:r>
              <a:r>
                <a:rPr lang="en-GB" sz="1400" dirty="0" err="1">
                  <a:solidFill>
                    <a:srgbClr val="000000"/>
                  </a:solidFill>
                  <a:latin typeface="Pfizer Diatype Office"/>
                </a:rPr>
                <a:t>ile</a:t>
              </a:r>
              <a:r>
                <a:rPr lang="en-GB" sz="1400" dirty="0">
                  <a:solidFill>
                    <a:srgbClr val="000000"/>
                  </a:solidFill>
                  <a:latin typeface="Pfizer Diatype Office"/>
                </a:rPr>
                <a:t> </a:t>
              </a:r>
              <a:r>
                <a:rPr lang="en-GB" sz="1400" dirty="0" err="1">
                  <a:solidFill>
                    <a:srgbClr val="000000"/>
                  </a:solidFill>
                  <a:latin typeface="Pfizer Diatype Office"/>
                </a:rPr>
                <a:t>ortaya</a:t>
              </a:r>
              <a:r>
                <a:rPr lang="en-GB" sz="1400" dirty="0">
                  <a:solidFill>
                    <a:srgbClr val="000000"/>
                  </a:solidFill>
                  <a:latin typeface="Pfizer Diatype Office"/>
                </a:rPr>
                <a:t> </a:t>
              </a:r>
              <a:r>
                <a:rPr lang="en-GB" sz="1400" dirty="0" err="1">
                  <a:solidFill>
                    <a:srgbClr val="000000"/>
                  </a:solidFill>
                  <a:latin typeface="Pfizer Diatype Office"/>
                </a:rPr>
                <a:t>çıkan</a:t>
              </a:r>
              <a:r>
                <a:rPr lang="en-GB" sz="1400" dirty="0">
                  <a:solidFill>
                    <a:srgbClr val="000000"/>
                  </a:solidFill>
                  <a:latin typeface="Pfizer Diatype Office"/>
                </a:rPr>
                <a:t> pro-</a:t>
              </a:r>
              <a:r>
                <a:rPr lang="en-GB" sz="1400" dirty="0" err="1">
                  <a:solidFill>
                    <a:srgbClr val="000000"/>
                  </a:solidFill>
                  <a:latin typeface="Pfizer Diatype Office"/>
                </a:rPr>
                <a:t>inflamatuar</a:t>
              </a:r>
              <a:r>
                <a:rPr lang="en-GB" sz="1400" dirty="0">
                  <a:solidFill>
                    <a:srgbClr val="000000"/>
                  </a:solidFill>
                  <a:latin typeface="Pfizer Diatype Office"/>
                </a:rPr>
                <a:t> </a:t>
              </a:r>
              <a:r>
                <a:rPr lang="en-GB" sz="1400" dirty="0" err="1">
                  <a:solidFill>
                    <a:srgbClr val="000000"/>
                  </a:solidFill>
                  <a:latin typeface="Pfizer Diatype Office"/>
                </a:rPr>
                <a:t>hücresel</a:t>
              </a:r>
              <a:r>
                <a:rPr lang="en-GB" sz="1400" dirty="0">
                  <a:solidFill>
                    <a:srgbClr val="000000"/>
                  </a:solidFill>
                  <a:latin typeface="Pfizer Diatype Office"/>
                </a:rPr>
                <a:t> </a:t>
              </a:r>
              <a:br>
                <a:rPr lang="en-GB" sz="1400" dirty="0">
                  <a:solidFill>
                    <a:srgbClr val="000000"/>
                  </a:solidFill>
                  <a:latin typeface="Pfizer Diatype Office"/>
                </a:rPr>
              </a:br>
              <a:r>
                <a:rPr lang="en-GB" sz="1400" dirty="0" err="1">
                  <a:solidFill>
                    <a:srgbClr val="000000"/>
                  </a:solidFill>
                  <a:latin typeface="Pfizer Diatype Office"/>
                </a:rPr>
                <a:t>fenotipten</a:t>
              </a:r>
              <a:r>
                <a:rPr lang="en-GB" sz="1400" dirty="0">
                  <a:solidFill>
                    <a:srgbClr val="000000"/>
                  </a:solidFill>
                  <a:latin typeface="Pfizer Diatype Office"/>
                </a:rPr>
                <a:t> </a:t>
              </a:r>
              <a:r>
                <a:rPr lang="en-GB" sz="1400" dirty="0" err="1">
                  <a:solidFill>
                    <a:srgbClr val="000000"/>
                  </a:solidFill>
                  <a:latin typeface="Pfizer Diatype Office"/>
                </a:rPr>
                <a:t>kaynaklandığı</a:t>
              </a:r>
              <a:r>
                <a:rPr lang="en-GB" sz="1400" dirty="0">
                  <a:solidFill>
                    <a:srgbClr val="000000"/>
                  </a:solidFill>
                  <a:latin typeface="Pfizer Diatype Office"/>
                </a:rPr>
                <a:t> </a:t>
              </a:r>
              <a:r>
                <a:rPr lang="en-GB" sz="1400" dirty="0" err="1">
                  <a:solidFill>
                    <a:srgbClr val="000000"/>
                  </a:solidFill>
                  <a:latin typeface="Pfizer Diatype Office"/>
                </a:rPr>
                <a:t>düşünülen</a:t>
              </a:r>
              <a:r>
                <a:rPr lang="en-GB" sz="1400" dirty="0">
                  <a:solidFill>
                    <a:srgbClr val="000000"/>
                  </a:solidFill>
                  <a:latin typeface="Pfizer Diatype Office"/>
                </a:rPr>
                <a:t> </a:t>
              </a:r>
              <a:r>
                <a:rPr lang="en-GB" sz="1400" dirty="0" err="1">
                  <a:solidFill>
                    <a:srgbClr val="000000"/>
                  </a:solidFill>
                  <a:latin typeface="Pfizer Diatype Office"/>
                </a:rPr>
                <a:t>kronik</a:t>
              </a:r>
              <a:r>
                <a:rPr lang="en-GB" sz="1400" dirty="0">
                  <a:solidFill>
                    <a:srgbClr val="000000"/>
                  </a:solidFill>
                  <a:latin typeface="Pfizer Diatype Office"/>
                </a:rPr>
                <a:t> </a:t>
              </a:r>
              <a:r>
                <a:rPr lang="en-GB" sz="1400" dirty="0" err="1">
                  <a:solidFill>
                    <a:srgbClr val="000000"/>
                  </a:solidFill>
                  <a:latin typeface="Pfizer Diatype Office"/>
                </a:rPr>
                <a:t>düşük</a:t>
              </a:r>
              <a:r>
                <a:rPr lang="en-GB" sz="1400" dirty="0">
                  <a:solidFill>
                    <a:srgbClr val="000000"/>
                  </a:solidFill>
                  <a:latin typeface="Pfizer Diatype Office"/>
                </a:rPr>
                <a:t> </a:t>
              </a:r>
              <a:r>
                <a:rPr lang="en-GB" sz="1400" dirty="0" err="1">
                  <a:solidFill>
                    <a:srgbClr val="000000"/>
                  </a:solidFill>
                  <a:latin typeface="Pfizer Diatype Office"/>
                </a:rPr>
                <a:t>dereceli</a:t>
              </a:r>
              <a:r>
                <a:rPr lang="en-GB" sz="1400" dirty="0">
                  <a:solidFill>
                    <a:srgbClr val="000000"/>
                  </a:solidFill>
                  <a:latin typeface="Pfizer Diatype Office"/>
                </a:rPr>
                <a:t> </a:t>
              </a:r>
              <a:br>
                <a:rPr lang="en-GB" sz="1400" dirty="0">
                  <a:solidFill>
                    <a:srgbClr val="000000"/>
                  </a:solidFill>
                  <a:latin typeface="Pfizer Diatype Office"/>
                </a:rPr>
              </a:br>
              <a:r>
                <a:rPr lang="en-GB" sz="1400" dirty="0" err="1">
                  <a:solidFill>
                    <a:srgbClr val="000000"/>
                  </a:solidFill>
                  <a:latin typeface="Pfizer Diatype Office"/>
                </a:rPr>
                <a:t>inflamatuvar</a:t>
              </a:r>
              <a:r>
                <a:rPr lang="en-GB" sz="1400" dirty="0">
                  <a:solidFill>
                    <a:srgbClr val="000000"/>
                  </a:solidFill>
                  <a:latin typeface="Pfizer Diatype Office"/>
                </a:rPr>
                <a:t> durum. </a:t>
              </a:r>
              <a:endParaRPr kumimoji="0" lang="en-US" sz="1400" b="0" i="0" u="none" strike="noStrike" kern="1200" cap="none" spc="0" normalizeH="0" baseline="30000" noProof="0" dirty="0">
                <a:ln>
                  <a:noFill/>
                </a:ln>
                <a:solidFill>
                  <a:srgbClr val="000000"/>
                </a:solidFill>
                <a:effectLst/>
                <a:uLnTx/>
                <a:uFillTx/>
                <a:latin typeface="Pfizer Diatype Office"/>
                <a:ea typeface="+mn-ea"/>
                <a:cs typeface="+mn-cs"/>
              </a:endParaRPr>
            </a:p>
          </p:txBody>
        </p:sp>
        <p:sp>
          <p:nvSpPr>
            <p:cNvPr id="9" name="Rectangle: Rounded Corners 8">
              <a:extLst>
                <a:ext uri="{FF2B5EF4-FFF2-40B4-BE49-F238E27FC236}">
                  <a16:creationId xmlns:a16="http://schemas.microsoft.com/office/drawing/2014/main" id="{146ADD35-83AC-1C58-9034-D16C984C60D1}"/>
                </a:ext>
              </a:extLst>
            </p:cNvPr>
            <p:cNvSpPr/>
            <p:nvPr/>
          </p:nvSpPr>
          <p:spPr bwMode="gray">
            <a:xfrm>
              <a:off x="5268147" y="4315712"/>
              <a:ext cx="6312818" cy="1685198"/>
            </a:xfrm>
            <a:prstGeom prst="roundRect">
              <a:avLst>
                <a:gd name="adj" fmla="val 5807"/>
              </a:avLst>
            </a:prstGeom>
            <a:solidFill>
              <a:schemeClr val="accent6">
                <a:alpha val="20000"/>
              </a:schemeClr>
            </a:solidFill>
            <a:ln w="28575" cap="flat" cmpd="sng" algn="ctr">
              <a:noFill/>
              <a:prstDash val="solid"/>
              <a:miter lim="800000"/>
              <a:headEnd type="none" w="med" len="med"/>
              <a:tailEnd type="none" w="med" len="med"/>
            </a:ln>
            <a:effectLst/>
          </p:spPr>
          <p:txBody>
            <a:bodyPr vert="horz" wrap="square" lIns="90000" tIns="46800" rIns="90000" bIns="468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1200"/>
                </a:spcAft>
                <a:buClr>
                  <a:srgbClr val="000000"/>
                </a:buClr>
                <a:buSzPct val="100000"/>
                <a:buFontTx/>
                <a:buNone/>
                <a:tabLst/>
                <a:defRPr/>
              </a:pPr>
              <a:r>
                <a:rPr kumimoji="0" lang="en-US" sz="1600" b="1" i="0" u="none" strike="noStrike" kern="1200" cap="none" spc="-25" normalizeH="0" baseline="0" noProof="0" err="1">
                  <a:ln>
                    <a:noFill/>
                  </a:ln>
                  <a:solidFill>
                    <a:schemeClr val="accent6"/>
                  </a:solidFill>
                  <a:effectLst/>
                  <a:uLnTx/>
                  <a:uFillTx/>
                  <a:latin typeface="Pfizer Tomorrow"/>
                  <a:ea typeface="+mn-ea"/>
                  <a:cs typeface="+mn-cs"/>
                </a:rPr>
                <a:t>Kronik</a:t>
              </a:r>
              <a:r>
                <a:rPr kumimoji="0" lang="en-US" sz="1600" b="1" i="0" u="none" strike="noStrike" kern="1200" cap="none" spc="-25" normalizeH="0" baseline="0" noProof="0">
                  <a:ln>
                    <a:noFill/>
                  </a:ln>
                  <a:solidFill>
                    <a:schemeClr val="accent6"/>
                  </a:solidFill>
                  <a:effectLst/>
                  <a:uLnTx/>
                  <a:uFillTx/>
                  <a:latin typeface="Pfizer Tomorrow"/>
                  <a:ea typeface="+mn-ea"/>
                  <a:cs typeface="+mn-cs"/>
                </a:rPr>
                <a:t> </a:t>
              </a:r>
              <a:r>
                <a:rPr kumimoji="0" lang="en-US" sz="1600" b="1" i="0" u="none" strike="noStrike" kern="1200" cap="none" spc="-25" normalizeH="0" baseline="0" noProof="0" err="1">
                  <a:ln>
                    <a:noFill/>
                  </a:ln>
                  <a:solidFill>
                    <a:schemeClr val="accent6"/>
                  </a:solidFill>
                  <a:effectLst/>
                  <a:uLnTx/>
                  <a:uFillTx/>
                  <a:latin typeface="Pfizer Tomorrow"/>
                  <a:ea typeface="+mn-ea"/>
                  <a:cs typeface="+mn-cs"/>
                </a:rPr>
                <a:t>tıbbi</a:t>
              </a:r>
              <a:r>
                <a:rPr kumimoji="0" lang="en-US" sz="1600" b="1" i="0" u="none" strike="noStrike" kern="1200" cap="none" spc="-25" normalizeH="0" baseline="0" noProof="0">
                  <a:ln>
                    <a:noFill/>
                  </a:ln>
                  <a:solidFill>
                    <a:schemeClr val="accent6"/>
                  </a:solidFill>
                  <a:effectLst/>
                  <a:uLnTx/>
                  <a:uFillTx/>
                  <a:latin typeface="Pfizer Tomorrow"/>
                  <a:ea typeface="+mn-ea"/>
                  <a:cs typeface="+mn-cs"/>
                </a:rPr>
                <a:t> </a:t>
              </a:r>
              <a:r>
                <a:rPr kumimoji="0" lang="en-US" sz="1600" b="1" i="0" u="none" strike="noStrike" kern="1200" cap="none" spc="-25" normalizeH="0" baseline="0" noProof="0" err="1">
                  <a:ln>
                    <a:noFill/>
                  </a:ln>
                  <a:solidFill>
                    <a:schemeClr val="accent6"/>
                  </a:solidFill>
                  <a:effectLst/>
                  <a:uLnTx/>
                  <a:uFillTx/>
                  <a:latin typeface="Pfizer Tomorrow"/>
                  <a:ea typeface="+mn-ea"/>
                  <a:cs typeface="+mn-cs"/>
                </a:rPr>
                <a:t>durumlar</a:t>
              </a:r>
              <a:r>
                <a:rPr kumimoji="0" lang="en-US" sz="1600" b="1" i="0" u="none" strike="noStrike" kern="1200" cap="none" spc="-25" normalizeH="0" baseline="0" noProof="0">
                  <a:ln>
                    <a:noFill/>
                  </a:ln>
                  <a:solidFill>
                    <a:schemeClr val="accent6"/>
                  </a:solidFill>
                  <a:effectLst/>
                  <a:uLnTx/>
                  <a:uFillTx/>
                  <a:latin typeface="Pfizer Tomorrow"/>
                  <a:ea typeface="+mn-ea"/>
                  <a:cs typeface="+mn-cs"/>
                </a:rPr>
                <a:t> </a:t>
              </a:r>
              <a:r>
                <a:rPr kumimoji="0" lang="en-US" sz="1600" b="1" i="0" u="none" strike="noStrike" kern="1200" cap="none" spc="-25" normalizeH="0" baseline="0" noProof="0" err="1">
                  <a:ln>
                    <a:noFill/>
                  </a:ln>
                  <a:solidFill>
                    <a:schemeClr val="accent6"/>
                  </a:solidFill>
                  <a:effectLst/>
                  <a:uLnTx/>
                  <a:uFillTx/>
                  <a:latin typeface="Pfizer Tomorrow"/>
                  <a:ea typeface="+mn-ea"/>
                  <a:cs typeface="+mn-cs"/>
                </a:rPr>
                <a:t>ve</a:t>
              </a:r>
              <a:r>
                <a:rPr kumimoji="0" lang="en-US" sz="1600" b="1" i="0" u="none" strike="noStrike" kern="1200" cap="none" spc="-25" normalizeH="0" baseline="0" noProof="0">
                  <a:ln>
                    <a:noFill/>
                  </a:ln>
                  <a:solidFill>
                    <a:schemeClr val="accent6"/>
                  </a:solidFill>
                  <a:effectLst/>
                  <a:uLnTx/>
                  <a:uFillTx/>
                  <a:latin typeface="Pfizer Tomorrow"/>
                  <a:ea typeface="+mn-ea"/>
                  <a:cs typeface="+mn-cs"/>
                </a:rPr>
                <a:t> </a:t>
              </a:r>
              <a:r>
                <a:rPr kumimoji="0" lang="en-US" sz="1600" b="1" i="0" u="none" strike="noStrike" kern="1200" cap="none" spc="-25" normalizeH="0" baseline="0" noProof="0" err="1">
                  <a:ln>
                    <a:noFill/>
                  </a:ln>
                  <a:solidFill>
                    <a:schemeClr val="accent6"/>
                  </a:solidFill>
                  <a:effectLst/>
                  <a:uLnTx/>
                  <a:uFillTx/>
                  <a:latin typeface="Pfizer Tomorrow"/>
                  <a:ea typeface="+mn-ea"/>
                  <a:cs typeface="+mn-cs"/>
                </a:rPr>
                <a:t>tedavileri</a:t>
              </a:r>
              <a:r>
                <a:rPr lang="en-US" sz="1600" b="1" spc="-25" baseline="30000">
                  <a:solidFill>
                    <a:schemeClr val="accent6"/>
                  </a:solidFill>
                  <a:latin typeface="Pfizer Tomorrow"/>
                </a:rPr>
                <a:t>1</a:t>
              </a:r>
              <a:endParaRPr kumimoji="0" lang="en-US" sz="1600" b="1" i="0" u="none" strike="noStrike" kern="1200" cap="none" spc="-25" normalizeH="0" baseline="0" noProof="0">
                <a:ln>
                  <a:noFill/>
                </a:ln>
                <a:solidFill>
                  <a:schemeClr val="accent6"/>
                </a:solidFill>
                <a:effectLst/>
                <a:uLnTx/>
                <a:uFillTx/>
                <a:latin typeface="Pfizer Tomorrow"/>
                <a:ea typeface="+mn-ea"/>
                <a:cs typeface="+mn-cs"/>
              </a:endParaRPr>
            </a:p>
            <a:p>
              <a:pPr marL="173736" marR="0" lvl="0" indent="-173736" algn="l" defTabSz="914400" rtl="0" eaLnBrk="1" fontAlgn="base" latinLnBrk="0" hangingPunct="1">
                <a:lnSpc>
                  <a:spcPct val="100000"/>
                </a:lnSpc>
                <a:spcBef>
                  <a:spcPts val="0"/>
                </a:spcBef>
                <a:spcAft>
                  <a:spcPts val="1200"/>
                </a:spcAft>
                <a:buClr>
                  <a:srgbClr val="000000"/>
                </a:buClr>
                <a:buSzPct val="100000"/>
                <a:buFont typeface="Arial" panose="020B0604020202020204" pitchFamily="34" charset="0"/>
                <a:buChar char="•"/>
                <a:tabLst/>
                <a:defRPr/>
              </a:pP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Diyabet</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ve</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böbrek</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hastalıkları</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gibi</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kronik</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durumlar</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br>
                <a:rPr kumimoji="0" lang="en-GB" sz="1400" b="0" i="0" u="none" strike="noStrike" kern="1200" cap="none" spc="0" normalizeH="0" baseline="0" noProof="0">
                  <a:ln>
                    <a:noFill/>
                  </a:ln>
                  <a:solidFill>
                    <a:srgbClr val="000000"/>
                  </a:solidFill>
                  <a:effectLst/>
                  <a:uLnTx/>
                  <a:uFillTx/>
                  <a:latin typeface="Pfizer Diatype Office"/>
                  <a:ea typeface="+mn-ea"/>
                  <a:cs typeface="+mn-cs"/>
                </a:rPr>
              </a:b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bağışıklık</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sistemini</a:t>
              </a:r>
              <a:r>
                <a:rPr kumimoji="0" lang="en-GB" sz="1400" b="0" i="0" u="none" strike="noStrike" kern="1200" cap="none" spc="0" normalizeH="0" baseline="0" noProof="0">
                  <a:ln>
                    <a:noFill/>
                  </a:ln>
                  <a:solidFill>
                    <a:srgbClr val="000000"/>
                  </a:solidFill>
                  <a:effectLst/>
                  <a:uLnTx/>
                  <a:uFillTx/>
                  <a:latin typeface="Pfizer Diatype Office"/>
                  <a:ea typeface="+mn-ea"/>
                  <a:cs typeface="+mn-cs"/>
                </a:rPr>
                <a:t> </a:t>
              </a:r>
              <a:r>
                <a:rPr kumimoji="0" lang="en-GB" sz="1400" b="0" i="0" u="none" strike="noStrike" kern="1200" cap="none" spc="0" normalizeH="0" baseline="0" noProof="0" err="1">
                  <a:ln>
                    <a:noFill/>
                  </a:ln>
                  <a:solidFill>
                    <a:srgbClr val="000000"/>
                  </a:solidFill>
                  <a:effectLst/>
                  <a:uLnTx/>
                  <a:uFillTx/>
                  <a:latin typeface="Pfizer Diatype Office"/>
                  <a:ea typeface="+mn-ea"/>
                  <a:cs typeface="+mn-cs"/>
                </a:rPr>
                <a:t>baskılar</a:t>
              </a:r>
              <a:r>
                <a:rPr lang="en-GB" sz="1400">
                  <a:solidFill>
                    <a:srgbClr val="000000"/>
                  </a:solidFill>
                  <a:latin typeface="Pfizer Diatype Office"/>
                </a:rPr>
                <a:t>.</a:t>
              </a:r>
              <a:endParaRPr kumimoji="0" lang="en-GB" sz="1400" b="0" i="0" u="none" strike="noStrike" kern="1200" cap="none" spc="0" normalizeH="0" baseline="0" noProof="0">
                <a:ln>
                  <a:noFill/>
                </a:ln>
                <a:solidFill>
                  <a:srgbClr val="000000"/>
                </a:solidFill>
                <a:effectLst/>
                <a:uLnTx/>
                <a:uFillTx/>
                <a:latin typeface="Pfizer Diatype Office"/>
                <a:ea typeface="+mn-ea"/>
                <a:cs typeface="+mn-cs"/>
              </a:endParaRPr>
            </a:p>
            <a:p>
              <a:pPr marL="173736" marR="0" lvl="0" indent="-173736" algn="l" defTabSz="914400" rtl="0" eaLnBrk="1" fontAlgn="base" latinLnBrk="0" hangingPunct="1">
                <a:lnSpc>
                  <a:spcPct val="100000"/>
                </a:lnSpc>
                <a:spcBef>
                  <a:spcPts val="0"/>
                </a:spcBef>
                <a:spcAft>
                  <a:spcPts val="1200"/>
                </a:spcAft>
                <a:buClr>
                  <a:srgbClr val="000000"/>
                </a:buClr>
                <a:buSzPct val="100000"/>
                <a:buFont typeface="Arial" panose="020B0604020202020204" pitchFamily="34" charset="0"/>
                <a:buChar char="•"/>
                <a:tabLst/>
                <a:defRPr/>
              </a:pPr>
              <a:r>
                <a:rPr lang="en-GB" sz="1400" err="1">
                  <a:solidFill>
                    <a:srgbClr val="000000"/>
                  </a:solidFill>
                  <a:latin typeface="Pfizer Diatype Office"/>
                </a:rPr>
                <a:t>Tıbbi</a:t>
              </a:r>
              <a:r>
                <a:rPr lang="en-GB" sz="1400">
                  <a:solidFill>
                    <a:srgbClr val="000000"/>
                  </a:solidFill>
                  <a:latin typeface="Pfizer Diatype Office"/>
                </a:rPr>
                <a:t> </a:t>
              </a:r>
              <a:r>
                <a:rPr lang="en-GB" sz="1400" err="1">
                  <a:solidFill>
                    <a:srgbClr val="000000"/>
                  </a:solidFill>
                  <a:latin typeface="Pfizer Diatype Office"/>
                </a:rPr>
                <a:t>girişim</a:t>
              </a:r>
              <a:r>
                <a:rPr lang="en-GB" sz="1400">
                  <a:solidFill>
                    <a:srgbClr val="000000"/>
                  </a:solidFill>
                  <a:latin typeface="Pfizer Diatype Office"/>
                </a:rPr>
                <a:t> </a:t>
              </a:r>
              <a:r>
                <a:rPr lang="en-GB" sz="1400" err="1">
                  <a:solidFill>
                    <a:srgbClr val="000000"/>
                  </a:solidFill>
                  <a:latin typeface="Pfizer Diatype Office"/>
                </a:rPr>
                <a:t>gerektiren</a:t>
              </a:r>
              <a:r>
                <a:rPr lang="en-GB" sz="1400">
                  <a:solidFill>
                    <a:srgbClr val="000000"/>
                  </a:solidFill>
                  <a:latin typeface="Pfizer Diatype Office"/>
                </a:rPr>
                <a:t> </a:t>
              </a:r>
              <a:r>
                <a:rPr lang="en-GB" sz="1400" err="1">
                  <a:solidFill>
                    <a:srgbClr val="000000"/>
                  </a:solidFill>
                  <a:latin typeface="Pfizer Diatype Office"/>
                </a:rPr>
                <a:t>veya</a:t>
              </a:r>
              <a:r>
                <a:rPr lang="en-GB" sz="1400">
                  <a:solidFill>
                    <a:srgbClr val="000000"/>
                  </a:solidFill>
                  <a:latin typeface="Pfizer Diatype Office"/>
                </a:rPr>
                <a:t> </a:t>
              </a:r>
              <a:r>
                <a:rPr lang="en-GB" sz="1400" err="1">
                  <a:solidFill>
                    <a:srgbClr val="000000"/>
                  </a:solidFill>
                  <a:latin typeface="Pfizer Diatype Office"/>
                </a:rPr>
                <a:t>çoklu</a:t>
              </a:r>
              <a:r>
                <a:rPr lang="en-GB" sz="1400">
                  <a:solidFill>
                    <a:srgbClr val="000000"/>
                  </a:solidFill>
                  <a:latin typeface="Pfizer Diatype Office"/>
                </a:rPr>
                <a:t> </a:t>
              </a:r>
              <a:r>
                <a:rPr lang="en-GB" sz="1400" err="1">
                  <a:solidFill>
                    <a:srgbClr val="000000"/>
                  </a:solidFill>
                  <a:latin typeface="Pfizer Diatype Office"/>
                </a:rPr>
                <a:t>ilaç</a:t>
              </a:r>
              <a:r>
                <a:rPr lang="en-GB" sz="1400">
                  <a:solidFill>
                    <a:srgbClr val="000000"/>
                  </a:solidFill>
                  <a:latin typeface="Pfizer Diatype Office"/>
                </a:rPr>
                <a:t> </a:t>
              </a:r>
              <a:r>
                <a:rPr lang="en-GB" sz="1400" err="1">
                  <a:solidFill>
                    <a:srgbClr val="000000"/>
                  </a:solidFill>
                  <a:latin typeface="Pfizer Diatype Office"/>
                </a:rPr>
                <a:t>kullanımı</a:t>
              </a:r>
              <a:r>
                <a:rPr lang="en-GB" sz="1400">
                  <a:solidFill>
                    <a:srgbClr val="000000"/>
                  </a:solidFill>
                  <a:latin typeface="Pfizer Diatype Office"/>
                </a:rPr>
                <a:t> </a:t>
              </a:r>
              <a:r>
                <a:rPr lang="en-GB" sz="1400" err="1">
                  <a:solidFill>
                    <a:srgbClr val="000000"/>
                  </a:solidFill>
                  <a:latin typeface="Pfizer Diatype Office"/>
                </a:rPr>
                <a:t>ile</a:t>
              </a:r>
              <a:r>
                <a:rPr lang="en-GB" sz="1400">
                  <a:solidFill>
                    <a:srgbClr val="000000"/>
                  </a:solidFill>
                  <a:latin typeface="Pfizer Diatype Office"/>
                </a:rPr>
                <a:t> </a:t>
              </a:r>
              <a:r>
                <a:rPr lang="en-GB" sz="1400" err="1">
                  <a:solidFill>
                    <a:srgbClr val="000000"/>
                  </a:solidFill>
                  <a:latin typeface="Pfizer Diatype Office"/>
                </a:rPr>
                <a:t>seyreden</a:t>
              </a:r>
              <a:r>
                <a:rPr lang="en-GB" sz="1400">
                  <a:solidFill>
                    <a:srgbClr val="000000"/>
                  </a:solidFill>
                  <a:latin typeface="Pfizer Diatype Office"/>
                </a:rPr>
                <a:t> </a:t>
              </a:r>
              <a:r>
                <a:rPr lang="en-GB" sz="1400" err="1">
                  <a:solidFill>
                    <a:srgbClr val="000000"/>
                  </a:solidFill>
                  <a:latin typeface="Pfizer Diatype Office"/>
                </a:rPr>
                <a:t>multimorbidite</a:t>
              </a:r>
              <a:r>
                <a:rPr lang="en-GB" sz="1400">
                  <a:solidFill>
                    <a:srgbClr val="000000"/>
                  </a:solidFill>
                  <a:latin typeface="Pfizer Diatype Office"/>
                </a:rPr>
                <a:t>, </a:t>
              </a:r>
              <a:r>
                <a:rPr lang="en-GB" sz="1400" err="1">
                  <a:solidFill>
                    <a:srgbClr val="000000"/>
                  </a:solidFill>
                  <a:latin typeface="Pfizer Diatype Office"/>
                </a:rPr>
                <a:t>bazı</a:t>
              </a:r>
              <a:r>
                <a:rPr lang="en-GB" sz="1400">
                  <a:solidFill>
                    <a:srgbClr val="000000"/>
                  </a:solidFill>
                  <a:latin typeface="Pfizer Diatype Office"/>
                </a:rPr>
                <a:t> </a:t>
              </a:r>
              <a:r>
                <a:rPr lang="en-GB" sz="1400" err="1">
                  <a:solidFill>
                    <a:srgbClr val="000000"/>
                  </a:solidFill>
                  <a:latin typeface="Pfizer Diatype Office"/>
                </a:rPr>
                <a:t>enfeksiyon</a:t>
              </a:r>
              <a:r>
                <a:rPr lang="en-GB" sz="1400">
                  <a:solidFill>
                    <a:srgbClr val="000000"/>
                  </a:solidFill>
                  <a:latin typeface="Pfizer Diatype Office"/>
                </a:rPr>
                <a:t> </a:t>
              </a:r>
              <a:r>
                <a:rPr lang="en-GB" sz="1400" err="1">
                  <a:solidFill>
                    <a:srgbClr val="000000"/>
                  </a:solidFill>
                  <a:latin typeface="Pfizer Diatype Office"/>
                </a:rPr>
                <a:t>risklerini</a:t>
              </a:r>
              <a:r>
                <a:rPr lang="en-GB" sz="1400">
                  <a:solidFill>
                    <a:srgbClr val="000000"/>
                  </a:solidFill>
                  <a:latin typeface="Pfizer Diatype Office"/>
                </a:rPr>
                <a:t> </a:t>
              </a:r>
              <a:r>
                <a:rPr lang="en-GB" sz="1400" err="1">
                  <a:solidFill>
                    <a:srgbClr val="000000"/>
                  </a:solidFill>
                  <a:latin typeface="Pfizer Diatype Office"/>
                </a:rPr>
                <a:t>artırabilir</a:t>
              </a:r>
              <a:r>
                <a:rPr lang="en-GB" sz="1400">
                  <a:solidFill>
                    <a:srgbClr val="000000"/>
                  </a:solidFill>
                  <a:latin typeface="Pfizer Diatype Office"/>
                </a:rPr>
                <a:t>. </a:t>
              </a:r>
              <a:endParaRPr kumimoji="0" lang="en-GB" sz="1400" b="0" i="0" u="none" strike="noStrike" kern="1200" cap="none" spc="0" normalizeH="0" baseline="0" noProof="0">
                <a:ln>
                  <a:noFill/>
                </a:ln>
                <a:solidFill>
                  <a:srgbClr val="000000"/>
                </a:solidFill>
                <a:effectLst/>
                <a:uLnTx/>
                <a:uFillTx/>
                <a:latin typeface="Pfizer Diatype Office"/>
                <a:ea typeface="+mn-ea"/>
                <a:cs typeface="+mn-cs"/>
              </a:endParaRPr>
            </a:p>
          </p:txBody>
        </p:sp>
        <p:sp>
          <p:nvSpPr>
            <p:cNvPr id="11" name="Rectangle: Rounded Corners 10">
              <a:extLst>
                <a:ext uri="{FF2B5EF4-FFF2-40B4-BE49-F238E27FC236}">
                  <a16:creationId xmlns:a16="http://schemas.microsoft.com/office/drawing/2014/main" id="{89409413-6672-3A05-2B3B-AD11BDC80EA3}"/>
                </a:ext>
              </a:extLst>
            </p:cNvPr>
            <p:cNvSpPr/>
            <p:nvPr/>
          </p:nvSpPr>
          <p:spPr bwMode="gray">
            <a:xfrm>
              <a:off x="5269583" y="3142309"/>
              <a:ext cx="6311381" cy="984601"/>
            </a:xfrm>
            <a:prstGeom prst="roundRect">
              <a:avLst>
                <a:gd name="adj" fmla="val 9939"/>
              </a:avLst>
            </a:prstGeom>
            <a:solidFill>
              <a:srgbClr val="E0F5FF"/>
            </a:solidFill>
            <a:ln w="28575" cap="flat" cmpd="sng" algn="ctr">
              <a:noFill/>
              <a:prstDash val="solid"/>
              <a:miter lim="800000"/>
              <a:headEnd type="none" w="med" len="med"/>
              <a:tailEnd type="none" w="med" len="med"/>
            </a:ln>
            <a:effectLst/>
          </p:spPr>
          <p:txBody>
            <a:bodyPr vert="horz" wrap="square" lIns="90000" tIns="46800" rIns="90000" bIns="46800" numCol="1" rtlCol="0" anchor="t" anchorCtr="0" compatLnSpc="1">
              <a:prstTxWarp prst="textNoShape">
                <a:avLst/>
              </a:prstTxWarp>
              <a:noAutofit/>
            </a:bodyPr>
            <a:lstStyle/>
            <a:p>
              <a:pPr defTabSz="914400" fontAlgn="base">
                <a:spcAft>
                  <a:spcPts val="600"/>
                </a:spcAft>
                <a:buClr>
                  <a:srgbClr val="000000"/>
                </a:buClr>
                <a:buSzPct val="100000"/>
              </a:pPr>
              <a:r>
                <a:rPr lang="en-US" sz="1600" b="1" spc="-25">
                  <a:solidFill>
                    <a:schemeClr val="accent2"/>
                  </a:solidFill>
                  <a:latin typeface="Pfizer Tomorrow"/>
                </a:rPr>
                <a:t>Yaşa </a:t>
              </a:r>
              <a:r>
                <a:rPr lang="en-US" sz="1600" b="1" spc="-25" err="1">
                  <a:solidFill>
                    <a:schemeClr val="accent2"/>
                  </a:solidFill>
                  <a:latin typeface="Pfizer Tomorrow"/>
                </a:rPr>
                <a:t>bağlı</a:t>
              </a:r>
              <a:r>
                <a:rPr lang="en-US" sz="1600" b="1" spc="-25">
                  <a:solidFill>
                    <a:schemeClr val="accent2"/>
                  </a:solidFill>
                  <a:latin typeface="Pfizer Tomorrow"/>
                </a:rPr>
                <a:t> </a:t>
              </a:r>
              <a:r>
                <a:rPr lang="en-US" sz="1600" b="1" spc="-25" err="1">
                  <a:solidFill>
                    <a:schemeClr val="accent2"/>
                  </a:solidFill>
                  <a:latin typeface="Pfizer Tomorrow"/>
                </a:rPr>
                <a:t>ilgili</a:t>
              </a:r>
              <a:r>
                <a:rPr lang="en-US" sz="1600" b="1" spc="-25">
                  <a:solidFill>
                    <a:schemeClr val="accent2"/>
                  </a:solidFill>
                  <a:latin typeface="Pfizer Tomorrow"/>
                </a:rPr>
                <a:t> değişiklikler</a:t>
              </a:r>
              <a:r>
                <a:rPr lang="en-US" sz="1600" b="1" spc="-25" baseline="30000">
                  <a:solidFill>
                    <a:schemeClr val="accent2"/>
                  </a:solidFill>
                  <a:latin typeface="Pfizer Tomorrow"/>
                </a:rPr>
                <a:t>1</a:t>
              </a:r>
            </a:p>
            <a:p>
              <a:pPr marL="173736" indent="-173736" defTabSz="914400" fontAlgn="base">
                <a:spcAft>
                  <a:spcPts val="1200"/>
                </a:spcAft>
                <a:buClr>
                  <a:srgbClr val="000000"/>
                </a:buClr>
                <a:buSzPct val="100000"/>
                <a:buFont typeface="Arial" panose="020B0604020202020204" pitchFamily="34" charset="0"/>
                <a:buChar char="•"/>
                <a:defRPr/>
              </a:pPr>
              <a:r>
                <a:rPr lang="en-GB" sz="1400" err="1">
                  <a:solidFill>
                    <a:srgbClr val="000000"/>
                  </a:solidFill>
                  <a:latin typeface="Pfizer Diatype Office"/>
                </a:rPr>
                <a:t>Azalmış</a:t>
              </a:r>
              <a:r>
                <a:rPr lang="en-GB" sz="1400">
                  <a:solidFill>
                    <a:srgbClr val="000000"/>
                  </a:solidFill>
                  <a:latin typeface="Pfizer Diatype Office"/>
                </a:rPr>
                <a:t> </a:t>
              </a:r>
              <a:r>
                <a:rPr lang="en-GB" sz="1400" err="1">
                  <a:solidFill>
                    <a:srgbClr val="000000"/>
                  </a:solidFill>
                  <a:latin typeface="Pfizer Diatype Office"/>
                </a:rPr>
                <a:t>fiziksel</a:t>
              </a:r>
              <a:r>
                <a:rPr lang="en-GB" sz="1400">
                  <a:solidFill>
                    <a:srgbClr val="000000"/>
                  </a:solidFill>
                  <a:latin typeface="Pfizer Diatype Office"/>
                </a:rPr>
                <a:t> </a:t>
              </a:r>
              <a:r>
                <a:rPr lang="en-GB" sz="1400" err="1">
                  <a:solidFill>
                    <a:srgbClr val="000000"/>
                  </a:solidFill>
                  <a:latin typeface="Pfizer Diatype Office"/>
                </a:rPr>
                <a:t>bariyerleri</a:t>
              </a:r>
              <a:r>
                <a:rPr lang="en-GB" sz="1400">
                  <a:solidFill>
                    <a:srgbClr val="000000"/>
                  </a:solidFill>
                  <a:latin typeface="Pfizer Diatype Office"/>
                </a:rPr>
                <a:t> (</a:t>
              </a:r>
              <a:r>
                <a:rPr lang="en-GB" sz="1400" err="1">
                  <a:solidFill>
                    <a:srgbClr val="000000"/>
                  </a:solidFill>
                  <a:latin typeface="Pfizer Diatype Office"/>
                </a:rPr>
                <a:t>örn</a:t>
              </a:r>
              <a:r>
                <a:rPr lang="en-GB" sz="1400">
                  <a:solidFill>
                    <a:srgbClr val="000000"/>
                  </a:solidFill>
                  <a:latin typeface="Pfizer Diatype Office"/>
                </a:rPr>
                <a:t>., </a:t>
              </a:r>
              <a:r>
                <a:rPr lang="en-GB" sz="1400" err="1">
                  <a:solidFill>
                    <a:srgbClr val="000000"/>
                  </a:solidFill>
                  <a:latin typeface="Pfizer Diatype Office"/>
                </a:rPr>
                <a:t>cilt</a:t>
              </a:r>
              <a:r>
                <a:rPr lang="en-GB" sz="1400">
                  <a:solidFill>
                    <a:srgbClr val="000000"/>
                  </a:solidFill>
                  <a:latin typeface="Pfizer Diatype Office"/>
                </a:rPr>
                <a:t>), </a:t>
              </a:r>
              <a:r>
                <a:rPr lang="en-GB" sz="1400" err="1">
                  <a:solidFill>
                    <a:srgbClr val="000000"/>
                  </a:solidFill>
                  <a:latin typeface="Pfizer Diatype Office"/>
                </a:rPr>
                <a:t>kırılganlıkta</a:t>
              </a:r>
              <a:r>
                <a:rPr lang="en-GB" sz="1400">
                  <a:solidFill>
                    <a:srgbClr val="000000"/>
                  </a:solidFill>
                  <a:latin typeface="Pfizer Diatype Office"/>
                </a:rPr>
                <a:t> </a:t>
              </a:r>
              <a:r>
                <a:rPr lang="en-GB" sz="1400" err="1">
                  <a:solidFill>
                    <a:srgbClr val="000000"/>
                  </a:solidFill>
                  <a:latin typeface="Pfizer Diatype Office"/>
                </a:rPr>
                <a:t>zayıflamış</a:t>
              </a:r>
              <a:r>
                <a:rPr lang="en-GB" sz="1400">
                  <a:solidFill>
                    <a:srgbClr val="000000"/>
                  </a:solidFill>
                  <a:latin typeface="Pfizer Diatype Office"/>
                </a:rPr>
                <a:t> </a:t>
              </a:r>
              <a:r>
                <a:rPr lang="en-GB" sz="1400" err="1">
                  <a:solidFill>
                    <a:srgbClr val="000000"/>
                  </a:solidFill>
                  <a:latin typeface="Pfizer Diatype Office"/>
                </a:rPr>
                <a:t>öksürük</a:t>
              </a:r>
              <a:r>
                <a:rPr lang="en-GB" sz="1400">
                  <a:solidFill>
                    <a:srgbClr val="000000"/>
                  </a:solidFill>
                  <a:latin typeface="Pfizer Diatype Office"/>
                </a:rPr>
                <a:t> </a:t>
              </a:r>
              <a:r>
                <a:rPr lang="en-GB" sz="1400" err="1">
                  <a:solidFill>
                    <a:srgbClr val="000000"/>
                  </a:solidFill>
                  <a:latin typeface="Pfizer Diatype Office"/>
                </a:rPr>
                <a:t>refleksini</a:t>
              </a:r>
              <a:r>
                <a:rPr lang="en-GB" sz="1400">
                  <a:solidFill>
                    <a:srgbClr val="000000"/>
                  </a:solidFill>
                  <a:latin typeface="Pfizer Diatype Office"/>
                </a:rPr>
                <a:t> </a:t>
              </a:r>
              <a:r>
                <a:rPr lang="en-GB" sz="1400" err="1">
                  <a:solidFill>
                    <a:srgbClr val="000000"/>
                  </a:solidFill>
                  <a:latin typeface="Pfizer Diatype Office"/>
                </a:rPr>
                <a:t>ve</a:t>
              </a:r>
              <a:r>
                <a:rPr lang="en-GB" sz="1400">
                  <a:solidFill>
                    <a:srgbClr val="000000"/>
                  </a:solidFill>
                  <a:latin typeface="Pfizer Diatype Office"/>
                </a:rPr>
                <a:t> </a:t>
              </a:r>
              <a:r>
                <a:rPr lang="en-GB" sz="1400" err="1">
                  <a:solidFill>
                    <a:srgbClr val="000000"/>
                  </a:solidFill>
                  <a:latin typeface="Pfizer Diatype Office"/>
                </a:rPr>
                <a:t>mikrobiyota</a:t>
              </a:r>
              <a:r>
                <a:rPr lang="en-GB" sz="1400">
                  <a:solidFill>
                    <a:srgbClr val="000000"/>
                  </a:solidFill>
                  <a:latin typeface="Pfizer Diatype Office"/>
                </a:rPr>
                <a:t> </a:t>
              </a:r>
              <a:r>
                <a:rPr lang="en-GB" sz="1400" err="1">
                  <a:solidFill>
                    <a:srgbClr val="000000"/>
                  </a:solidFill>
                  <a:latin typeface="Pfizer Diatype Office"/>
                </a:rPr>
                <a:t>değişikliklerini</a:t>
              </a:r>
              <a:r>
                <a:rPr lang="en-GB" sz="1400">
                  <a:solidFill>
                    <a:srgbClr val="000000"/>
                  </a:solidFill>
                  <a:latin typeface="Pfizer Diatype Office"/>
                </a:rPr>
                <a:t> </a:t>
              </a:r>
              <a:r>
                <a:rPr lang="en-GB" sz="1400" err="1">
                  <a:solidFill>
                    <a:srgbClr val="000000"/>
                  </a:solidFill>
                  <a:latin typeface="Pfizer Diatype Office"/>
                </a:rPr>
                <a:t>içerir</a:t>
              </a:r>
              <a:r>
                <a:rPr lang="en-GB" sz="1400">
                  <a:solidFill>
                    <a:srgbClr val="000000"/>
                  </a:solidFill>
                  <a:latin typeface="Pfizer Diatype Office"/>
                </a:rPr>
                <a:t>.  </a:t>
              </a:r>
              <a:endParaRPr lang="en-US" sz="1600" b="1" spc="-25">
                <a:solidFill>
                  <a:srgbClr val="0000C9"/>
                </a:solidFill>
                <a:latin typeface="Pfizer Tomorrow"/>
              </a:endParaRPr>
            </a:p>
          </p:txBody>
        </p:sp>
        <p:grpSp>
          <p:nvGrpSpPr>
            <p:cNvPr id="10" name="Group 9">
              <a:extLst>
                <a:ext uri="{FF2B5EF4-FFF2-40B4-BE49-F238E27FC236}">
                  <a16:creationId xmlns:a16="http://schemas.microsoft.com/office/drawing/2014/main" id="{2CAB4BD9-A9A2-2AE8-E4BE-4FEC73DC6775}"/>
                </a:ext>
              </a:extLst>
            </p:cNvPr>
            <p:cNvGrpSpPr/>
            <p:nvPr/>
          </p:nvGrpSpPr>
          <p:grpSpPr>
            <a:xfrm>
              <a:off x="10805989" y="2022113"/>
              <a:ext cx="577121" cy="549111"/>
              <a:chOff x="11561991" y="1522384"/>
              <a:chExt cx="577121" cy="577121"/>
            </a:xfrm>
          </p:grpSpPr>
          <p:sp>
            <p:nvSpPr>
              <p:cNvPr id="12" name="Freeform: Shape 11">
                <a:extLst>
                  <a:ext uri="{FF2B5EF4-FFF2-40B4-BE49-F238E27FC236}">
                    <a16:creationId xmlns:a16="http://schemas.microsoft.com/office/drawing/2014/main" id="{129885F8-14E4-F0C3-CDA2-355A8E0B7E08}"/>
                  </a:ext>
                </a:extLst>
              </p:cNvPr>
              <p:cNvSpPr/>
              <p:nvPr/>
            </p:nvSpPr>
            <p:spPr>
              <a:xfrm>
                <a:off x="11773475" y="1720726"/>
                <a:ext cx="289723" cy="240680"/>
              </a:xfrm>
              <a:custGeom>
                <a:avLst/>
                <a:gdLst>
                  <a:gd name="connsiteX0" fmla="*/ 229482 w 289723"/>
                  <a:gd name="connsiteY0" fmla="*/ 17777 h 240680"/>
                  <a:gd name="connsiteX1" fmla="*/ 122835 w 289723"/>
                  <a:gd name="connsiteY1" fmla="*/ 3365 h 240680"/>
                  <a:gd name="connsiteX2" fmla="*/ 1776 w 289723"/>
                  <a:gd name="connsiteY2" fmla="*/ 147482 h 240680"/>
                  <a:gd name="connsiteX3" fmla="*/ 60383 w 289723"/>
                  <a:gd name="connsiteY3" fmla="*/ 222425 h 240680"/>
                  <a:gd name="connsiteX4" fmla="*/ 134362 w 289723"/>
                  <a:gd name="connsiteY4" fmla="*/ 240681 h 240680"/>
                  <a:gd name="connsiteX5" fmla="*/ 167029 w 289723"/>
                  <a:gd name="connsiteY5" fmla="*/ 237797 h 240680"/>
                  <a:gd name="connsiteX6" fmla="*/ 261186 w 289723"/>
                  <a:gd name="connsiteY6" fmla="*/ 185914 h 240680"/>
                  <a:gd name="connsiteX7" fmla="*/ 288089 w 289723"/>
                  <a:gd name="connsiteY7" fmla="*/ 94639 h 240680"/>
                  <a:gd name="connsiteX8" fmla="*/ 229479 w 289723"/>
                  <a:gd name="connsiteY8" fmla="*/ 17777 h 240680"/>
                  <a:gd name="connsiteX9" fmla="*/ 245816 w 289723"/>
                  <a:gd name="connsiteY9" fmla="*/ 171502 h 240680"/>
                  <a:gd name="connsiteX10" fmla="*/ 163189 w 289723"/>
                  <a:gd name="connsiteY10" fmla="*/ 217621 h 240680"/>
                  <a:gd name="connsiteX11" fmla="*/ 69032 w 289723"/>
                  <a:gd name="connsiteY11" fmla="*/ 205129 h 240680"/>
                  <a:gd name="connsiteX12" fmla="*/ 20993 w 289723"/>
                  <a:gd name="connsiteY12" fmla="*/ 143639 h 240680"/>
                  <a:gd name="connsiteX13" fmla="*/ 126679 w 289723"/>
                  <a:gd name="connsiteY13" fmla="*/ 22580 h 240680"/>
                  <a:gd name="connsiteX14" fmla="*/ 155503 w 289723"/>
                  <a:gd name="connsiteY14" fmla="*/ 19696 h 240680"/>
                  <a:gd name="connsiteX15" fmla="*/ 219874 w 289723"/>
                  <a:gd name="connsiteY15" fmla="*/ 35068 h 240680"/>
                  <a:gd name="connsiteX16" fmla="*/ 267913 w 289723"/>
                  <a:gd name="connsiteY16" fmla="*/ 96559 h 240680"/>
                  <a:gd name="connsiteX17" fmla="*/ 245816 w 289723"/>
                  <a:gd name="connsiteY17" fmla="*/ 171501 h 24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9723" h="240680">
                    <a:moveTo>
                      <a:pt x="229482" y="17777"/>
                    </a:moveTo>
                    <a:cubicBezTo>
                      <a:pt x="198738" y="1445"/>
                      <a:pt x="160307" y="-4323"/>
                      <a:pt x="122835" y="3365"/>
                    </a:cubicBezTo>
                    <a:cubicBezTo>
                      <a:pt x="44052" y="17777"/>
                      <a:pt x="-10714" y="82148"/>
                      <a:pt x="1776" y="147482"/>
                    </a:cubicBezTo>
                    <a:cubicBezTo>
                      <a:pt x="7540" y="179190"/>
                      <a:pt x="28679" y="206089"/>
                      <a:pt x="60383" y="222425"/>
                    </a:cubicBezTo>
                    <a:cubicBezTo>
                      <a:pt x="82483" y="233953"/>
                      <a:pt x="107462" y="240681"/>
                      <a:pt x="134362" y="240681"/>
                    </a:cubicBezTo>
                    <a:cubicBezTo>
                      <a:pt x="144929" y="240681"/>
                      <a:pt x="156461" y="239721"/>
                      <a:pt x="167029" y="237797"/>
                    </a:cubicBezTo>
                    <a:cubicBezTo>
                      <a:pt x="204500" y="231073"/>
                      <a:pt x="238128" y="211857"/>
                      <a:pt x="261186" y="185914"/>
                    </a:cubicBezTo>
                    <a:cubicBezTo>
                      <a:pt x="284245" y="159010"/>
                      <a:pt x="293853" y="126347"/>
                      <a:pt x="288089" y="94639"/>
                    </a:cubicBezTo>
                    <a:cubicBezTo>
                      <a:pt x="281362" y="61012"/>
                      <a:pt x="261186" y="34109"/>
                      <a:pt x="229479" y="17777"/>
                    </a:cubicBezTo>
                    <a:close/>
                    <a:moveTo>
                      <a:pt x="245816" y="171502"/>
                    </a:moveTo>
                    <a:cubicBezTo>
                      <a:pt x="225641" y="194562"/>
                      <a:pt x="195857" y="210893"/>
                      <a:pt x="163189" y="217621"/>
                    </a:cubicBezTo>
                    <a:cubicBezTo>
                      <a:pt x="129562" y="224345"/>
                      <a:pt x="95934" y="219541"/>
                      <a:pt x="69032" y="205129"/>
                    </a:cubicBezTo>
                    <a:cubicBezTo>
                      <a:pt x="43093" y="190718"/>
                      <a:pt x="25797" y="168618"/>
                      <a:pt x="20993" y="143639"/>
                    </a:cubicBezTo>
                    <a:cubicBezTo>
                      <a:pt x="10425" y="89836"/>
                      <a:pt x="58465" y="35070"/>
                      <a:pt x="126679" y="22580"/>
                    </a:cubicBezTo>
                    <a:cubicBezTo>
                      <a:pt x="136287" y="20660"/>
                      <a:pt x="145895" y="19696"/>
                      <a:pt x="155503" y="19696"/>
                    </a:cubicBezTo>
                    <a:cubicBezTo>
                      <a:pt x="178562" y="19696"/>
                      <a:pt x="200658" y="25461"/>
                      <a:pt x="219874" y="35068"/>
                    </a:cubicBezTo>
                    <a:cubicBezTo>
                      <a:pt x="245813" y="49479"/>
                      <a:pt x="263109" y="71579"/>
                      <a:pt x="267913" y="96559"/>
                    </a:cubicBezTo>
                    <a:cubicBezTo>
                      <a:pt x="273680" y="122501"/>
                      <a:pt x="265032" y="148442"/>
                      <a:pt x="245816" y="171501"/>
                    </a:cubicBezTo>
                    <a:close/>
                  </a:path>
                </a:pathLst>
              </a:custGeom>
              <a:solidFill>
                <a:schemeClr val="accent5"/>
              </a:solidFill>
              <a:ln w="794" cap="flat">
                <a:solidFill>
                  <a:schemeClr val="accent5"/>
                </a:solidFill>
                <a:prstDash val="solid"/>
                <a:miter/>
              </a:ln>
            </p:spPr>
            <p:txBody>
              <a:bodyPr rtlCol="0" anchor="ctr"/>
              <a:lstStyle/>
              <a:p>
                <a:endParaRPr lang="en-GB" sz="800"/>
              </a:p>
            </p:txBody>
          </p:sp>
          <p:sp>
            <p:nvSpPr>
              <p:cNvPr id="13" name="Freeform: Shape 12">
                <a:extLst>
                  <a:ext uri="{FF2B5EF4-FFF2-40B4-BE49-F238E27FC236}">
                    <a16:creationId xmlns:a16="http://schemas.microsoft.com/office/drawing/2014/main" id="{DB829386-F5A0-787D-5BCE-1B037BA1FF61}"/>
                  </a:ext>
                </a:extLst>
              </p:cNvPr>
              <p:cNvSpPr/>
              <p:nvPr/>
            </p:nvSpPr>
            <p:spPr>
              <a:xfrm>
                <a:off x="11611916" y="1578411"/>
                <a:ext cx="166809" cy="243681"/>
              </a:xfrm>
              <a:custGeom>
                <a:avLst/>
                <a:gdLst>
                  <a:gd name="connsiteX0" fmla="*/ 166217 w 166809"/>
                  <a:gd name="connsiteY0" fmla="*/ 6367 h 243681"/>
                  <a:gd name="connsiteX1" fmla="*/ 153725 w 166809"/>
                  <a:gd name="connsiteY1" fmla="*/ 603 h 243681"/>
                  <a:gd name="connsiteX2" fmla="*/ 0 w 166809"/>
                  <a:gd name="connsiteY2" fmla="*/ 234073 h 243681"/>
                  <a:gd name="connsiteX3" fmla="*/ 9608 w 166809"/>
                  <a:gd name="connsiteY3" fmla="*/ 243681 h 243681"/>
                  <a:gd name="connsiteX4" fmla="*/ 19216 w 166809"/>
                  <a:gd name="connsiteY4" fmla="*/ 234073 h 243681"/>
                  <a:gd name="connsiteX5" fmla="*/ 159490 w 166809"/>
                  <a:gd name="connsiteY5" fmla="*/ 18858 h 243681"/>
                  <a:gd name="connsiteX6" fmla="*/ 166217 w 166809"/>
                  <a:gd name="connsiteY6" fmla="*/ 6366 h 243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809" h="243681">
                    <a:moveTo>
                      <a:pt x="166217" y="6367"/>
                    </a:moveTo>
                    <a:cubicBezTo>
                      <a:pt x="164297" y="1563"/>
                      <a:pt x="159493" y="-1321"/>
                      <a:pt x="153725" y="603"/>
                    </a:cubicBezTo>
                    <a:cubicBezTo>
                      <a:pt x="151805" y="1563"/>
                      <a:pt x="2882" y="53446"/>
                      <a:pt x="0" y="234073"/>
                    </a:cubicBezTo>
                    <a:cubicBezTo>
                      <a:pt x="0" y="239837"/>
                      <a:pt x="3844" y="243681"/>
                      <a:pt x="9608" y="243681"/>
                    </a:cubicBezTo>
                    <a:cubicBezTo>
                      <a:pt x="14412" y="243681"/>
                      <a:pt x="19216" y="239837"/>
                      <a:pt x="19216" y="234073"/>
                    </a:cubicBezTo>
                    <a:cubicBezTo>
                      <a:pt x="21136" y="67858"/>
                      <a:pt x="154686" y="20779"/>
                      <a:pt x="159490" y="18858"/>
                    </a:cubicBezTo>
                    <a:cubicBezTo>
                      <a:pt x="165254" y="16934"/>
                      <a:pt x="168138" y="12130"/>
                      <a:pt x="166217" y="6366"/>
                    </a:cubicBezTo>
                    <a:close/>
                  </a:path>
                </a:pathLst>
              </a:custGeom>
              <a:solidFill>
                <a:schemeClr val="accent5"/>
              </a:solidFill>
              <a:ln w="794" cap="flat">
                <a:solidFill>
                  <a:schemeClr val="accent5"/>
                </a:solidFill>
                <a:prstDash val="solid"/>
                <a:miter/>
              </a:ln>
            </p:spPr>
            <p:txBody>
              <a:bodyPr rtlCol="0" anchor="ctr"/>
              <a:lstStyle/>
              <a:p>
                <a:endParaRPr lang="en-GB" sz="800"/>
              </a:p>
            </p:txBody>
          </p:sp>
          <p:sp>
            <p:nvSpPr>
              <p:cNvPr id="14" name="Oval 13">
                <a:extLst>
                  <a:ext uri="{FF2B5EF4-FFF2-40B4-BE49-F238E27FC236}">
                    <a16:creationId xmlns:a16="http://schemas.microsoft.com/office/drawing/2014/main" id="{D48578EF-8EE3-F4CC-F14F-39C0C717152B}"/>
                  </a:ext>
                </a:extLst>
              </p:cNvPr>
              <p:cNvSpPr/>
              <p:nvPr/>
            </p:nvSpPr>
            <p:spPr>
              <a:xfrm>
                <a:off x="11561991" y="1522384"/>
                <a:ext cx="577121" cy="577121"/>
              </a:xfrm>
              <a:prstGeom prst="ellipse">
                <a:avLst/>
              </a:prstGeom>
              <a:noFill/>
              <a:ln w="2222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grpSp>
        <p:sp>
          <p:nvSpPr>
            <p:cNvPr id="259" name="Graphic 103">
              <a:extLst>
                <a:ext uri="{FF2B5EF4-FFF2-40B4-BE49-F238E27FC236}">
                  <a16:creationId xmlns:a16="http://schemas.microsoft.com/office/drawing/2014/main" id="{F1B22A49-DA45-3636-A062-7738CAC57F15}"/>
                </a:ext>
              </a:extLst>
            </p:cNvPr>
            <p:cNvSpPr/>
            <p:nvPr/>
          </p:nvSpPr>
          <p:spPr>
            <a:xfrm>
              <a:off x="10827047" y="3396288"/>
              <a:ext cx="535005" cy="538433"/>
            </a:xfrm>
            <a:custGeom>
              <a:avLst/>
              <a:gdLst>
                <a:gd name="connsiteX0" fmla="*/ 89297 w 464343"/>
                <a:gd name="connsiteY0" fmla="*/ 428649 h 491156"/>
                <a:gd name="connsiteX1" fmla="*/ 53578 w 464343"/>
                <a:gd name="connsiteY1" fmla="*/ 428649 h 491156"/>
                <a:gd name="connsiteX2" fmla="*/ 53578 w 464343"/>
                <a:gd name="connsiteY2" fmla="*/ 455438 h 491156"/>
                <a:gd name="connsiteX3" fmla="*/ 89297 w 464343"/>
                <a:gd name="connsiteY3" fmla="*/ 455438 h 491156"/>
                <a:gd name="connsiteX4" fmla="*/ 89297 w 464343"/>
                <a:gd name="connsiteY4" fmla="*/ 428649 h 491156"/>
                <a:gd name="connsiteX5" fmla="*/ 142875 w 464343"/>
                <a:gd name="connsiteY5" fmla="*/ 357211 h 491156"/>
                <a:gd name="connsiteX6" fmla="*/ 107156 w 464343"/>
                <a:gd name="connsiteY6" fmla="*/ 357211 h 491156"/>
                <a:gd name="connsiteX7" fmla="*/ 107156 w 464343"/>
                <a:gd name="connsiteY7" fmla="*/ 384000 h 491156"/>
                <a:gd name="connsiteX8" fmla="*/ 142875 w 464343"/>
                <a:gd name="connsiteY8" fmla="*/ 384000 h 491156"/>
                <a:gd name="connsiteX9" fmla="*/ 142875 w 464343"/>
                <a:gd name="connsiteY9" fmla="*/ 357211 h 491156"/>
                <a:gd name="connsiteX10" fmla="*/ 303609 w 464343"/>
                <a:gd name="connsiteY10" fmla="*/ 26813 h 491156"/>
                <a:gd name="connsiteX11" fmla="*/ 464344 w 464343"/>
                <a:gd name="connsiteY11" fmla="*/ 26813 h 491156"/>
                <a:gd name="connsiteX12" fmla="*/ 464344 w 464343"/>
                <a:gd name="connsiteY12" fmla="*/ 0 h 491156"/>
                <a:gd name="connsiteX13" fmla="*/ 303609 w 464343"/>
                <a:gd name="connsiteY13" fmla="*/ 0 h 491156"/>
                <a:gd name="connsiteX14" fmla="*/ 165021 w 464343"/>
                <a:gd name="connsiteY14" fmla="*/ 138494 h 491156"/>
                <a:gd name="connsiteX15" fmla="*/ 165164 w 464343"/>
                <a:gd name="connsiteY15" fmla="*/ 168640 h 491156"/>
                <a:gd name="connsiteX16" fmla="*/ 107156 w 464343"/>
                <a:gd name="connsiteY16" fmla="*/ 226957 h 491156"/>
                <a:gd name="connsiteX17" fmla="*/ 107156 w 464343"/>
                <a:gd name="connsiteY17" fmla="*/ 276749 h 491156"/>
                <a:gd name="connsiteX18" fmla="*/ 164949 w 464343"/>
                <a:gd name="connsiteY18" fmla="*/ 276749 h 491156"/>
                <a:gd name="connsiteX19" fmla="*/ 164949 w 464343"/>
                <a:gd name="connsiteY19" fmla="*/ 352663 h 491156"/>
                <a:gd name="connsiteX20" fmla="*/ 250079 w 464343"/>
                <a:gd name="connsiteY20" fmla="*/ 437579 h 491156"/>
                <a:gd name="connsiteX21" fmla="*/ 254484 w 464343"/>
                <a:gd name="connsiteY21" fmla="*/ 437555 h 491156"/>
                <a:gd name="connsiteX22" fmla="*/ 254484 w 464343"/>
                <a:gd name="connsiteY22" fmla="*/ 491133 h 491156"/>
                <a:gd name="connsiteX23" fmla="*/ 464344 w 464343"/>
                <a:gd name="connsiteY23" fmla="*/ 491133 h 491156"/>
                <a:gd name="connsiteX24" fmla="*/ 464344 w 464343"/>
                <a:gd name="connsiteY24" fmla="*/ 464344 h 491156"/>
                <a:gd name="connsiteX25" fmla="*/ 281273 w 464343"/>
                <a:gd name="connsiteY25" fmla="*/ 464344 h 491156"/>
                <a:gd name="connsiteX26" fmla="*/ 281273 w 464343"/>
                <a:gd name="connsiteY26" fmla="*/ 410647 h 491156"/>
                <a:gd name="connsiteX27" fmla="*/ 250031 w 464343"/>
                <a:gd name="connsiteY27" fmla="*/ 410789 h 491156"/>
                <a:gd name="connsiteX28" fmla="*/ 191738 w 464343"/>
                <a:gd name="connsiteY28" fmla="*/ 352663 h 491156"/>
                <a:gd name="connsiteX29" fmla="*/ 191738 w 464343"/>
                <a:gd name="connsiteY29" fmla="*/ 249960 h 491156"/>
                <a:gd name="connsiteX30" fmla="*/ 122063 w 464343"/>
                <a:gd name="connsiteY30" fmla="*/ 249960 h 491156"/>
                <a:gd name="connsiteX31" fmla="*/ 192024 w 464343"/>
                <a:gd name="connsiteY31" fmla="*/ 179642 h 491156"/>
                <a:gd name="connsiteX32" fmla="*/ 191786 w 464343"/>
                <a:gd name="connsiteY32" fmla="*/ 138446 h 491156"/>
                <a:gd name="connsiteX33" fmla="*/ 303609 w 464343"/>
                <a:gd name="connsiteY33" fmla="*/ 26789 h 491156"/>
                <a:gd name="connsiteX34" fmla="*/ 53578 w 464343"/>
                <a:gd name="connsiteY34" fmla="*/ 285774 h 491156"/>
                <a:gd name="connsiteX35" fmla="*/ 53578 w 464343"/>
                <a:gd name="connsiteY35" fmla="*/ 312539 h 491156"/>
                <a:gd name="connsiteX36" fmla="*/ 89297 w 464343"/>
                <a:gd name="connsiteY36" fmla="*/ 312539 h 491156"/>
                <a:gd name="connsiteX37" fmla="*/ 89297 w 464343"/>
                <a:gd name="connsiteY37" fmla="*/ 285774 h 491156"/>
                <a:gd name="connsiteX38" fmla="*/ 53578 w 464343"/>
                <a:gd name="connsiteY38" fmla="*/ 285774 h 491156"/>
                <a:gd name="connsiteX39" fmla="*/ 89297 w 464343"/>
                <a:gd name="connsiteY39" fmla="*/ 357211 h 491156"/>
                <a:gd name="connsiteX40" fmla="*/ 53578 w 464343"/>
                <a:gd name="connsiteY40" fmla="*/ 357211 h 491156"/>
                <a:gd name="connsiteX41" fmla="*/ 53578 w 464343"/>
                <a:gd name="connsiteY41" fmla="*/ 384000 h 491156"/>
                <a:gd name="connsiteX42" fmla="*/ 89297 w 464343"/>
                <a:gd name="connsiteY42" fmla="*/ 384000 h 491156"/>
                <a:gd name="connsiteX43" fmla="*/ 89297 w 464343"/>
                <a:gd name="connsiteY43" fmla="*/ 357211 h 491156"/>
                <a:gd name="connsiteX44" fmla="*/ 35719 w 464343"/>
                <a:gd name="connsiteY44" fmla="*/ 357211 h 491156"/>
                <a:gd name="connsiteX45" fmla="*/ 0 w 464343"/>
                <a:gd name="connsiteY45" fmla="*/ 357211 h 491156"/>
                <a:gd name="connsiteX46" fmla="*/ 0 w 464343"/>
                <a:gd name="connsiteY46" fmla="*/ 384000 h 491156"/>
                <a:gd name="connsiteX47" fmla="*/ 35719 w 464343"/>
                <a:gd name="connsiteY47" fmla="*/ 384000 h 491156"/>
                <a:gd name="connsiteX48" fmla="*/ 35719 w 464343"/>
                <a:gd name="connsiteY48" fmla="*/ 357211 h 491156"/>
                <a:gd name="connsiteX49" fmla="*/ 35719 w 464343"/>
                <a:gd name="connsiteY49" fmla="*/ 464368 h 491156"/>
                <a:gd name="connsiteX50" fmla="*/ 0 w 464343"/>
                <a:gd name="connsiteY50" fmla="*/ 464368 h 491156"/>
                <a:gd name="connsiteX51" fmla="*/ 0 w 464343"/>
                <a:gd name="connsiteY51" fmla="*/ 491157 h 491156"/>
                <a:gd name="connsiteX52" fmla="*/ 35719 w 464343"/>
                <a:gd name="connsiteY52" fmla="*/ 491157 h 491156"/>
                <a:gd name="connsiteX53" fmla="*/ 35719 w 464343"/>
                <a:gd name="connsiteY53" fmla="*/ 464368 h 491156"/>
                <a:gd name="connsiteX54" fmla="*/ 35719 w 464343"/>
                <a:gd name="connsiteY54" fmla="*/ 250055 h 491156"/>
                <a:gd name="connsiteX55" fmla="*/ 0 w 464343"/>
                <a:gd name="connsiteY55" fmla="*/ 250055 h 491156"/>
                <a:gd name="connsiteX56" fmla="*/ 0 w 464343"/>
                <a:gd name="connsiteY56" fmla="*/ 276820 h 491156"/>
                <a:gd name="connsiteX57" fmla="*/ 35719 w 464343"/>
                <a:gd name="connsiteY57" fmla="*/ 276820 h 491156"/>
                <a:gd name="connsiteX58" fmla="*/ 35719 w 464343"/>
                <a:gd name="connsiteY58" fmla="*/ 250055 h 49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64343" h="491156">
                  <a:moveTo>
                    <a:pt x="89297" y="428649"/>
                  </a:moveTo>
                  <a:lnTo>
                    <a:pt x="53578" y="428649"/>
                  </a:lnTo>
                  <a:lnTo>
                    <a:pt x="53578" y="455438"/>
                  </a:lnTo>
                  <a:lnTo>
                    <a:pt x="89297" y="455438"/>
                  </a:lnTo>
                  <a:lnTo>
                    <a:pt x="89297" y="428649"/>
                  </a:lnTo>
                  <a:close/>
                  <a:moveTo>
                    <a:pt x="142875" y="357211"/>
                  </a:moveTo>
                  <a:lnTo>
                    <a:pt x="107156" y="357211"/>
                  </a:lnTo>
                  <a:lnTo>
                    <a:pt x="107156" y="384000"/>
                  </a:lnTo>
                  <a:lnTo>
                    <a:pt x="142875" y="384000"/>
                  </a:lnTo>
                  <a:lnTo>
                    <a:pt x="142875" y="357211"/>
                  </a:lnTo>
                  <a:close/>
                  <a:moveTo>
                    <a:pt x="303609" y="26813"/>
                  </a:moveTo>
                  <a:lnTo>
                    <a:pt x="464344" y="26813"/>
                  </a:lnTo>
                  <a:lnTo>
                    <a:pt x="464344" y="0"/>
                  </a:lnTo>
                  <a:lnTo>
                    <a:pt x="303609" y="0"/>
                  </a:lnTo>
                  <a:cubicBezTo>
                    <a:pt x="227314" y="0"/>
                    <a:pt x="165164" y="62103"/>
                    <a:pt x="165021" y="138494"/>
                  </a:cubicBezTo>
                  <a:lnTo>
                    <a:pt x="165164" y="168640"/>
                  </a:lnTo>
                  <a:lnTo>
                    <a:pt x="107156" y="226957"/>
                  </a:lnTo>
                  <a:lnTo>
                    <a:pt x="107156" y="276749"/>
                  </a:lnTo>
                  <a:lnTo>
                    <a:pt x="164949" y="276749"/>
                  </a:lnTo>
                  <a:lnTo>
                    <a:pt x="164949" y="352663"/>
                  </a:lnTo>
                  <a:cubicBezTo>
                    <a:pt x="165054" y="399600"/>
                    <a:pt x="203142" y="437593"/>
                    <a:pt x="250079" y="437579"/>
                  </a:cubicBezTo>
                  <a:lnTo>
                    <a:pt x="254484" y="437555"/>
                  </a:lnTo>
                  <a:lnTo>
                    <a:pt x="254484" y="491133"/>
                  </a:lnTo>
                  <a:lnTo>
                    <a:pt x="464344" y="491133"/>
                  </a:lnTo>
                  <a:lnTo>
                    <a:pt x="464344" y="464344"/>
                  </a:lnTo>
                  <a:lnTo>
                    <a:pt x="281273" y="464344"/>
                  </a:lnTo>
                  <a:lnTo>
                    <a:pt x="281273" y="410647"/>
                  </a:lnTo>
                  <a:lnTo>
                    <a:pt x="250031" y="410789"/>
                  </a:lnTo>
                  <a:cubicBezTo>
                    <a:pt x="217896" y="410804"/>
                    <a:pt x="191817" y="384798"/>
                    <a:pt x="191738" y="352663"/>
                  </a:cubicBezTo>
                  <a:lnTo>
                    <a:pt x="191738" y="249960"/>
                  </a:lnTo>
                  <a:lnTo>
                    <a:pt x="122063" y="249960"/>
                  </a:lnTo>
                  <a:lnTo>
                    <a:pt x="192024" y="179642"/>
                  </a:lnTo>
                  <a:lnTo>
                    <a:pt x="191786" y="138446"/>
                  </a:lnTo>
                  <a:cubicBezTo>
                    <a:pt x="191969" y="76791"/>
                    <a:pt x="241954" y="26881"/>
                    <a:pt x="303609" y="26789"/>
                  </a:cubicBezTo>
                  <a:close/>
                  <a:moveTo>
                    <a:pt x="53578" y="285774"/>
                  </a:moveTo>
                  <a:lnTo>
                    <a:pt x="53578" y="312539"/>
                  </a:lnTo>
                  <a:lnTo>
                    <a:pt x="89297" y="312539"/>
                  </a:lnTo>
                  <a:lnTo>
                    <a:pt x="89297" y="285774"/>
                  </a:lnTo>
                  <a:lnTo>
                    <a:pt x="53578" y="285774"/>
                  </a:lnTo>
                  <a:close/>
                  <a:moveTo>
                    <a:pt x="89297" y="357211"/>
                  </a:moveTo>
                  <a:lnTo>
                    <a:pt x="53578" y="357211"/>
                  </a:lnTo>
                  <a:lnTo>
                    <a:pt x="53578" y="384000"/>
                  </a:lnTo>
                  <a:lnTo>
                    <a:pt x="89297" y="384000"/>
                  </a:lnTo>
                  <a:lnTo>
                    <a:pt x="89297" y="357211"/>
                  </a:lnTo>
                  <a:close/>
                  <a:moveTo>
                    <a:pt x="35719" y="357211"/>
                  </a:moveTo>
                  <a:lnTo>
                    <a:pt x="0" y="357211"/>
                  </a:lnTo>
                  <a:lnTo>
                    <a:pt x="0" y="384000"/>
                  </a:lnTo>
                  <a:lnTo>
                    <a:pt x="35719" y="384000"/>
                  </a:lnTo>
                  <a:lnTo>
                    <a:pt x="35719" y="357211"/>
                  </a:lnTo>
                  <a:close/>
                  <a:moveTo>
                    <a:pt x="35719" y="464368"/>
                  </a:moveTo>
                  <a:lnTo>
                    <a:pt x="0" y="464368"/>
                  </a:lnTo>
                  <a:lnTo>
                    <a:pt x="0" y="491157"/>
                  </a:lnTo>
                  <a:lnTo>
                    <a:pt x="35719" y="491157"/>
                  </a:lnTo>
                  <a:lnTo>
                    <a:pt x="35719" y="464368"/>
                  </a:lnTo>
                  <a:close/>
                  <a:moveTo>
                    <a:pt x="35719" y="250055"/>
                  </a:moveTo>
                  <a:lnTo>
                    <a:pt x="0" y="250055"/>
                  </a:lnTo>
                  <a:lnTo>
                    <a:pt x="0" y="276820"/>
                  </a:lnTo>
                  <a:lnTo>
                    <a:pt x="35719" y="276820"/>
                  </a:lnTo>
                  <a:lnTo>
                    <a:pt x="35719" y="250055"/>
                  </a:lnTo>
                  <a:close/>
                </a:path>
              </a:pathLst>
            </a:custGeom>
            <a:solidFill>
              <a:schemeClr val="accent2"/>
            </a:solidFill>
            <a:ln w="2381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600"/>
            </a:p>
          </p:txBody>
        </p:sp>
        <p:pic>
          <p:nvPicPr>
            <p:cNvPr id="260" name="Graphic 259">
              <a:extLst>
                <a:ext uri="{FF2B5EF4-FFF2-40B4-BE49-F238E27FC236}">
                  <a16:creationId xmlns:a16="http://schemas.microsoft.com/office/drawing/2014/main" id="{3452525E-2CB9-CA6E-33A6-0251612865F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0750249" y="4471997"/>
              <a:ext cx="688600" cy="655179"/>
            </a:xfrm>
            <a:prstGeom prst="rect">
              <a:avLst/>
            </a:prstGeom>
          </p:spPr>
        </p:pic>
        <p:sp>
          <p:nvSpPr>
            <p:cNvPr id="7" name="TextBox 6">
              <a:extLst>
                <a:ext uri="{FF2B5EF4-FFF2-40B4-BE49-F238E27FC236}">
                  <a16:creationId xmlns:a16="http://schemas.microsoft.com/office/drawing/2014/main" id="{56050130-205F-488E-3501-70E61FB4DCEB}"/>
                </a:ext>
              </a:extLst>
            </p:cNvPr>
            <p:cNvSpPr txBox="1"/>
            <p:nvPr/>
          </p:nvSpPr>
          <p:spPr bwMode="gray">
            <a:xfrm rot="2117672">
              <a:off x="1832515" y="4458767"/>
              <a:ext cx="1197273" cy="337270"/>
            </a:xfrm>
            <a:prstGeom prst="rect">
              <a:avLst/>
            </a:prstGeom>
          </p:spPr>
          <p:txBody>
            <a:bodyPr wrap="square" lIns="45720" tIns="45720" rIns="45720" bIns="45720" rtlCol="0">
              <a:no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sz="1050" b="1" kern="0" err="1">
                  <a:solidFill>
                    <a:srgbClr val="0095FF"/>
                  </a:solidFill>
                  <a:latin typeface="Pfizer Diatype Office"/>
                </a:rPr>
                <a:t>İmmün</a:t>
              </a:r>
              <a:r>
                <a:rPr lang="en-US" sz="1050" b="1" kern="0">
                  <a:solidFill>
                    <a:srgbClr val="0095FF"/>
                  </a:solidFill>
                  <a:latin typeface="Pfizer Diatype Office"/>
                </a:rPr>
                <a:t> </a:t>
              </a:r>
              <a:r>
                <a:rPr lang="en-US" sz="1050" b="1" kern="0" err="1">
                  <a:solidFill>
                    <a:srgbClr val="0095FF"/>
                  </a:solidFill>
                  <a:latin typeface="Pfizer Diatype Office"/>
                </a:rPr>
                <a:t>Fonksiyon</a:t>
              </a:r>
              <a:endParaRPr kumimoji="0" lang="en-US" sz="1050" b="1" i="0" u="none" strike="noStrike" kern="0" cap="none" spc="0" normalizeH="0" baseline="30000" noProof="0">
                <a:ln>
                  <a:noFill/>
                </a:ln>
                <a:solidFill>
                  <a:srgbClr val="0095FF"/>
                </a:solidFill>
                <a:effectLst/>
                <a:uLnTx/>
                <a:uFillTx/>
                <a:latin typeface="Pfizer Diatype Office"/>
                <a:ea typeface="+mn-ea"/>
                <a:cs typeface="+mn-cs"/>
              </a:endParaRPr>
            </a:p>
          </p:txBody>
        </p:sp>
      </p:grpSp>
      <p:grpSp>
        <p:nvGrpSpPr>
          <p:cNvPr id="19" name="Group 18">
            <a:extLst>
              <a:ext uri="{FF2B5EF4-FFF2-40B4-BE49-F238E27FC236}">
                <a16:creationId xmlns:a16="http://schemas.microsoft.com/office/drawing/2014/main" id="{4704BDA8-5905-6AD4-A086-E6EC9C330845}"/>
              </a:ext>
            </a:extLst>
          </p:cNvPr>
          <p:cNvGrpSpPr/>
          <p:nvPr/>
        </p:nvGrpSpPr>
        <p:grpSpPr>
          <a:xfrm>
            <a:off x="9513903" y="6320005"/>
            <a:ext cx="1895426" cy="453867"/>
            <a:chOff x="9513903" y="6320005"/>
            <a:chExt cx="1895426" cy="453867"/>
          </a:xfrm>
        </p:grpSpPr>
        <p:pic>
          <p:nvPicPr>
            <p:cNvPr id="20" name="Picture 19" descr="A yellow and blue logo&#10;&#10;Description automatically generated">
              <a:extLst>
                <a:ext uri="{FF2B5EF4-FFF2-40B4-BE49-F238E27FC236}">
                  <a16:creationId xmlns:a16="http://schemas.microsoft.com/office/drawing/2014/main" id="{D43439A2-5F90-C4FF-2C9F-6E309F9B8FDF}"/>
                </a:ext>
              </a:extLst>
            </p:cNvPr>
            <p:cNvPicPr>
              <a:picLocks noChangeAspect="1"/>
            </p:cNvPicPr>
            <p:nvPr/>
          </p:nvPicPr>
          <p:blipFill>
            <a:blip r:embed="rId7">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22" name="Picture 21" descr="A black and blue logo&#10;&#10;AI-generated content may be incorrect.">
              <a:extLst>
                <a:ext uri="{FF2B5EF4-FFF2-40B4-BE49-F238E27FC236}">
                  <a16:creationId xmlns:a16="http://schemas.microsoft.com/office/drawing/2014/main" id="{1677FFB7-1070-3D8A-99B1-ED1DD9920CF0}"/>
                </a:ext>
              </a:extLst>
            </p:cNvPr>
            <p:cNvPicPr>
              <a:picLocks noChangeAspect="1"/>
            </p:cNvPicPr>
            <p:nvPr/>
          </p:nvPicPr>
          <p:blipFill>
            <a:blip r:embed="rId8"/>
            <a:stretch>
              <a:fillRect/>
            </a:stretch>
          </p:blipFill>
          <p:spPr>
            <a:xfrm>
              <a:off x="9513903" y="6494969"/>
              <a:ext cx="981021" cy="204067"/>
            </a:xfrm>
            <a:prstGeom prst="rect">
              <a:avLst/>
            </a:prstGeom>
          </p:spPr>
        </p:pic>
      </p:grpSp>
    </p:spTree>
    <p:extLst>
      <p:ext uri="{BB962C8B-B14F-4D97-AF65-F5344CB8AC3E}">
        <p14:creationId xmlns:p14="http://schemas.microsoft.com/office/powerpoint/2010/main" val="318385089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730F98-418D-0D70-6018-668E3F5EB8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658D39-C847-107F-EAF2-2B89E67DFACD}"/>
              </a:ext>
            </a:extLst>
          </p:cNvPr>
          <p:cNvSpPr>
            <a:spLocks noGrp="1"/>
          </p:cNvSpPr>
          <p:nvPr>
            <p:ph type="title"/>
          </p:nvPr>
        </p:nvSpPr>
        <p:spPr>
          <a:xfrm>
            <a:off x="613152" y="221942"/>
            <a:ext cx="10969218" cy="815898"/>
          </a:xfrm>
        </p:spPr>
        <p:txBody>
          <a:bodyPr anchor="ctr">
            <a:normAutofit/>
          </a:bodyPr>
          <a:lstStyle/>
          <a:p>
            <a:r>
              <a:rPr lang="en-US" sz="3200" dirty="0" err="1">
                <a:solidFill>
                  <a:srgbClr val="FFFFFF"/>
                </a:solidFill>
              </a:rPr>
              <a:t>Bivalan</a:t>
            </a:r>
            <a:r>
              <a:rPr lang="en-US" sz="3200" dirty="0">
                <a:solidFill>
                  <a:srgbClr val="FFFFFF"/>
                </a:solidFill>
              </a:rPr>
              <a:t> RSV </a:t>
            </a:r>
            <a:r>
              <a:rPr lang="en-US" sz="3200" dirty="0" err="1">
                <a:solidFill>
                  <a:srgbClr val="FFFFFF"/>
                </a:solidFill>
              </a:rPr>
              <a:t>Aşısı</a:t>
            </a:r>
            <a:r>
              <a:rPr lang="en-US" sz="3200" dirty="0">
                <a:solidFill>
                  <a:srgbClr val="FFFFFF"/>
                </a:solidFill>
              </a:rPr>
              <a:t> | </a:t>
            </a:r>
            <a:r>
              <a:rPr lang="en-US" sz="3200" dirty="0" err="1">
                <a:solidFill>
                  <a:srgbClr val="FFFFFF"/>
                </a:solidFill>
              </a:rPr>
              <a:t>Karşılanan</a:t>
            </a:r>
            <a:r>
              <a:rPr lang="en-US" sz="3200" dirty="0">
                <a:solidFill>
                  <a:srgbClr val="FFFFFF"/>
                </a:solidFill>
              </a:rPr>
              <a:t> </a:t>
            </a:r>
            <a:r>
              <a:rPr lang="en-US" sz="3200" dirty="0" err="1">
                <a:solidFill>
                  <a:srgbClr val="FFFFFF"/>
                </a:solidFill>
              </a:rPr>
              <a:t>İhtiyaç</a:t>
            </a:r>
            <a:endParaRPr lang="tr-TR" sz="3200" dirty="0">
              <a:solidFill>
                <a:schemeClr val="bg1"/>
              </a:solidFill>
              <a:latin typeface="+mj-lt"/>
            </a:endParaRPr>
          </a:p>
        </p:txBody>
      </p:sp>
      <p:sp>
        <p:nvSpPr>
          <p:cNvPr id="3" name="Slide Number Placeholder 2">
            <a:extLst>
              <a:ext uri="{FF2B5EF4-FFF2-40B4-BE49-F238E27FC236}">
                <a16:creationId xmlns:a16="http://schemas.microsoft.com/office/drawing/2014/main" id="{96FF5ECD-531B-44D5-29F7-356EAB9567B5}"/>
              </a:ext>
            </a:extLst>
          </p:cNvPr>
          <p:cNvSpPr>
            <a:spLocks noGrp="1"/>
          </p:cNvSpPr>
          <p:nvPr>
            <p:ph type="sldNum" sz="quarter" idx="4"/>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2B39012A-6F33-204B-8224-A57BEFB0AAD0}" type="slidenum">
              <a:rPr kumimoji="0" lang="en-US" sz="700" b="1" i="0" u="none" strike="noStrike" kern="1200" cap="none" spc="0" normalizeH="0" baseline="0" noProof="0" smtClean="0">
                <a:ln>
                  <a:noFill/>
                </a:ln>
                <a:solidFill>
                  <a:srgbClr val="0000C9"/>
                </a:solidFill>
                <a:effectLst/>
                <a:uLnTx/>
                <a:uFillTx/>
                <a:latin typeface="Pfizer Tomorrow"/>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80</a:t>
            </a:fld>
            <a:endParaRPr kumimoji="0" lang="en-US" sz="700" b="1" i="0" u="none" strike="noStrike" kern="1200" cap="none" spc="0" normalizeH="0" baseline="0" noProof="0">
              <a:ln>
                <a:noFill/>
              </a:ln>
              <a:solidFill>
                <a:srgbClr val="0000C9"/>
              </a:solidFill>
              <a:effectLst/>
              <a:uLnTx/>
              <a:uFillTx/>
              <a:latin typeface="Pfizer Tomorrow"/>
              <a:ea typeface="+mn-ea"/>
              <a:cs typeface="+mn-cs"/>
            </a:endParaRPr>
          </a:p>
        </p:txBody>
      </p:sp>
      <p:sp>
        <p:nvSpPr>
          <p:cNvPr id="4" name="Metin kutusu 4">
            <a:extLst>
              <a:ext uri="{FF2B5EF4-FFF2-40B4-BE49-F238E27FC236}">
                <a16:creationId xmlns:a16="http://schemas.microsoft.com/office/drawing/2014/main" id="{64B8231D-07D6-0657-9128-22AC46BD21FD}"/>
              </a:ext>
            </a:extLst>
          </p:cNvPr>
          <p:cNvSpPr txBox="1"/>
          <p:nvPr/>
        </p:nvSpPr>
        <p:spPr>
          <a:xfrm>
            <a:off x="530372" y="1863959"/>
            <a:ext cx="8156428" cy="2337178"/>
          </a:xfrm>
          <a:prstGeom prst="rect">
            <a:avLst/>
          </a:prstGeom>
          <a:noFill/>
        </p:spPr>
        <p:txBody>
          <a:bodyPr wrap="square">
            <a:spAutoFit/>
          </a:bodyPr>
          <a:lstStyle/>
          <a:p>
            <a:pPr marL="342900" marR="0" lvl="0" indent="-342900" algn="l" defTabSz="228520" rtl="0" eaLnBrk="0" fontAlgn="base" latinLnBrk="0" hangingPunct="0">
              <a:lnSpc>
                <a:spcPct val="150000"/>
              </a:lnSpc>
              <a:spcBef>
                <a:spcPts val="300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RSV </a:t>
            </a:r>
            <a:r>
              <a:rPr kumimoji="0" lang="en-US" sz="2000" b="0"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evrimsel</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0"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değişimleri</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G </a:t>
            </a:r>
            <a:r>
              <a:rPr kumimoji="0" lang="en-US" sz="2000" b="1"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proteini</a:t>
            </a:r>
            <a:r>
              <a:rPr kumimoji="0" lang="en-US" sz="2000" b="1"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ile</a:t>
            </a:r>
            <a:r>
              <a:rPr kumimoji="0" lang="en-US" sz="2000" b="1"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ilişkili</a:t>
            </a:r>
            <a:r>
              <a:rPr kumimoji="0" lang="en-US" sz="2000" b="1"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varyasyo</a:t>
            </a:r>
            <a:r>
              <a:rPr kumimoji="0" lang="en-US" sz="2000" b="0"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nlarla</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0"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ilişkilidir</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Ontario 1 (RSV A</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0"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ve</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Buenos Aires 9 (RSV B)</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0"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baskın</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0"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genotipler</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p>
          <a:p>
            <a:pPr marL="342900" marR="0" lvl="0" indent="-342900" algn="l" defTabSz="228520" rtl="0" eaLnBrk="0" fontAlgn="base" latinLnBrk="0" hangingPunct="0">
              <a:lnSpc>
                <a:spcPct val="150000"/>
              </a:lnSpc>
              <a:spcBef>
                <a:spcPts val="300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RSV F, RSV </a:t>
            </a:r>
            <a:r>
              <a:rPr kumimoji="0" lang="en-US" sz="2000" b="1"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G'den</a:t>
            </a:r>
            <a:r>
              <a:rPr kumimoji="0" lang="en-US" sz="2000" b="1"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evrimsel</a:t>
            </a:r>
            <a:r>
              <a:rPr kumimoji="0" lang="en-US" sz="2000" b="1"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olarak</a:t>
            </a:r>
            <a:r>
              <a:rPr kumimoji="0" lang="en-US" sz="2000" b="1"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daha</a:t>
            </a:r>
            <a:r>
              <a:rPr kumimoji="0" lang="en-US" sz="2000" b="1"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korunmuştur</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0"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ancak</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RSV- A </a:t>
            </a:r>
            <a:r>
              <a:rPr kumimoji="0" lang="en-US" sz="2000" b="0"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ve</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RSV B </a:t>
            </a:r>
            <a:r>
              <a:rPr kumimoji="0" lang="en-US" sz="2000" b="0"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arasında</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aminosasit</a:t>
            </a:r>
            <a:r>
              <a:rPr kumimoji="0" lang="en-US" sz="2000" b="1"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farklılıkları</a:t>
            </a:r>
            <a:r>
              <a:rPr kumimoji="0" lang="en-US" sz="2000" b="1"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da </a:t>
            </a:r>
            <a:r>
              <a:rPr kumimoji="0" lang="en-US" sz="2000" b="1"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tanımlanmıştır</a:t>
            </a:r>
            <a:r>
              <a:rPr kumimoji="0" lang="en-US" sz="2000" b="1"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a:t>
            </a:r>
          </a:p>
        </p:txBody>
      </p:sp>
      <p:pic>
        <p:nvPicPr>
          <p:cNvPr id="5" name="Picture 2" descr="Cartoon depicting RSV F subgroup A and B amino acid sequence differences cluster &#10;in prefusion-specific sites">
            <a:extLst>
              <a:ext uri="{FF2B5EF4-FFF2-40B4-BE49-F238E27FC236}">
                <a16:creationId xmlns:a16="http://schemas.microsoft.com/office/drawing/2014/main" id="{FBB5A670-7748-BF68-0F25-852C715268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57309" y="1695857"/>
            <a:ext cx="3127793" cy="484587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13">
            <a:extLst>
              <a:ext uri="{FF2B5EF4-FFF2-40B4-BE49-F238E27FC236}">
                <a16:creationId xmlns:a16="http://schemas.microsoft.com/office/drawing/2014/main" id="{CC194CD5-A236-24A9-C004-19A70C8D9AC9}"/>
              </a:ext>
            </a:extLst>
          </p:cNvPr>
          <p:cNvSpPr txBox="1"/>
          <p:nvPr/>
        </p:nvSpPr>
        <p:spPr>
          <a:xfrm>
            <a:off x="592756" y="4927207"/>
            <a:ext cx="8002704" cy="943438"/>
          </a:xfrm>
          <a:prstGeom prst="rect">
            <a:avLst/>
          </a:prstGeom>
          <a:solidFill>
            <a:schemeClr val="tx2">
              <a:lumMod val="90000"/>
              <a:lumOff val="10000"/>
            </a:schemeClr>
          </a:solidFill>
        </p:spPr>
        <p:txBody>
          <a:bodyPr wrap="square" lIns="0" anchor="ctr">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err="1">
                <a:ln>
                  <a:noFill/>
                </a:ln>
                <a:solidFill>
                  <a:srgbClr val="FFFFFF"/>
                </a:solidFill>
                <a:effectLst/>
                <a:uLnTx/>
                <a:uFillTx/>
                <a:latin typeface="Pfizer Tomorrow" panose="02010503040201060303" pitchFamily="50" charset="0"/>
                <a:ea typeface="+mn-ea"/>
                <a:cs typeface="+mn-cs"/>
              </a:rPr>
              <a:t>Bivalan</a:t>
            </a:r>
            <a:r>
              <a:rPr kumimoji="0" lang="en-US" sz="2400" b="1" i="0" u="none" strike="noStrike" kern="1200" cap="none" spc="0" normalizeH="0" baseline="0" noProof="0">
                <a:ln>
                  <a:noFill/>
                </a:ln>
                <a:solidFill>
                  <a:srgbClr val="FFFFFF"/>
                </a:solidFill>
                <a:effectLst/>
                <a:uLnTx/>
                <a:uFillTx/>
                <a:latin typeface="Pfizer Tomorrow" panose="02010503040201060303" pitchFamily="50" charset="0"/>
                <a:ea typeface="+mn-ea"/>
                <a:cs typeface="+mn-cs"/>
              </a:rPr>
              <a:t> (RSV-A/B stabilize) RSV </a:t>
            </a:r>
            <a:r>
              <a:rPr kumimoji="0" lang="en-US" sz="2400" b="1" i="0" u="none" strike="noStrike" kern="1200" cap="none" spc="0" normalizeH="0" baseline="0" noProof="0" err="1">
                <a:ln>
                  <a:noFill/>
                </a:ln>
                <a:solidFill>
                  <a:srgbClr val="FFFFFF"/>
                </a:solidFill>
                <a:effectLst/>
                <a:uLnTx/>
                <a:uFillTx/>
                <a:latin typeface="Pfizer Tomorrow" panose="02010503040201060303" pitchFamily="50" charset="0"/>
                <a:ea typeface="+mn-ea"/>
                <a:cs typeface="+mn-cs"/>
              </a:rPr>
              <a:t>Prefüzyon</a:t>
            </a:r>
            <a:r>
              <a:rPr kumimoji="0" lang="en-US" sz="2400" b="1" i="0" u="none" strike="noStrike" kern="1200" cap="none" spc="0" normalizeH="0" baseline="0" noProof="0">
                <a:ln>
                  <a:noFill/>
                </a:ln>
                <a:solidFill>
                  <a:srgbClr val="FFFFFF"/>
                </a:solidFill>
                <a:effectLst/>
                <a:uLnTx/>
                <a:uFillTx/>
                <a:latin typeface="Pfizer Tomorrow" panose="02010503040201060303" pitchFamily="50" charset="0"/>
                <a:ea typeface="+mn-ea"/>
                <a:cs typeface="+mn-cs"/>
              </a:rPr>
              <a:t> F </a:t>
            </a:r>
            <a:r>
              <a:rPr kumimoji="0" lang="en-US" sz="2400" b="1" i="0" u="none" strike="noStrike" kern="1200" cap="none" spc="0" normalizeH="0" baseline="0" noProof="0" err="1">
                <a:ln>
                  <a:noFill/>
                </a:ln>
                <a:solidFill>
                  <a:srgbClr val="FFFFFF"/>
                </a:solidFill>
                <a:effectLst/>
                <a:uLnTx/>
                <a:uFillTx/>
                <a:latin typeface="Pfizer Tomorrow" panose="02010503040201060303" pitchFamily="50" charset="0"/>
                <a:ea typeface="+mn-ea"/>
                <a:cs typeface="+mn-cs"/>
              </a:rPr>
              <a:t>Aşısı</a:t>
            </a:r>
            <a:endParaRPr kumimoji="0" lang="en-US" sz="2400" b="1" i="0" u="none" strike="noStrike" kern="1200" cap="none" spc="0" normalizeH="0" baseline="30000" noProof="0">
              <a:ln>
                <a:noFill/>
              </a:ln>
              <a:solidFill>
                <a:srgbClr val="FFFFFF"/>
              </a:solidFill>
              <a:effectLst/>
              <a:uLnTx/>
              <a:uFillTx/>
              <a:latin typeface="Pfizer Tomorrow" panose="02010503040201060303" pitchFamily="50" charset="0"/>
              <a:ea typeface="+mn-ea"/>
              <a:cs typeface="+mn-cs"/>
            </a:endParaRPr>
          </a:p>
        </p:txBody>
      </p:sp>
      <p:sp>
        <p:nvSpPr>
          <p:cNvPr id="7" name="Metin kutusu 14">
            <a:extLst>
              <a:ext uri="{FF2B5EF4-FFF2-40B4-BE49-F238E27FC236}">
                <a16:creationId xmlns:a16="http://schemas.microsoft.com/office/drawing/2014/main" id="{4F4385A8-6DE8-2285-4BF4-1EA17015B37D}"/>
              </a:ext>
            </a:extLst>
          </p:cNvPr>
          <p:cNvSpPr txBox="1"/>
          <p:nvPr/>
        </p:nvSpPr>
        <p:spPr>
          <a:xfrm>
            <a:off x="530372" y="6045458"/>
            <a:ext cx="5477116" cy="338554"/>
          </a:xfrm>
          <a:prstGeom prst="rect">
            <a:avLst/>
          </a:prstGeom>
          <a:noFill/>
        </p:spPr>
        <p:txBody>
          <a:bodyPr wrap="square">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err="1">
                <a:ln>
                  <a:noFill/>
                </a:ln>
                <a:solidFill>
                  <a:srgbClr val="002060"/>
                </a:solidFill>
                <a:effectLst/>
                <a:uLnTx/>
                <a:uFillTx/>
                <a:latin typeface="Pfizer Tomorrow" panose="02010503040201060303" pitchFamily="50" charset="0"/>
                <a:ea typeface="+mn-ea"/>
                <a:cs typeface="Calibri" panose="020F0502020204030204" pitchFamily="34" charset="0"/>
              </a:rPr>
              <a:t>Nuttens</a:t>
            </a:r>
            <a:r>
              <a:rPr kumimoji="0" lang="en-US" sz="800" b="1" i="0" u="none" strike="noStrike" kern="1200" cap="none" spc="0" normalizeH="0" baseline="0" noProof="0">
                <a:ln>
                  <a:noFill/>
                </a:ln>
                <a:solidFill>
                  <a:srgbClr val="002060"/>
                </a:solidFill>
                <a:effectLst/>
                <a:uLnTx/>
                <a:uFillTx/>
                <a:latin typeface="Pfizer Tomorrow" panose="02010503040201060303" pitchFamily="50" charset="0"/>
                <a:ea typeface="+mn-ea"/>
                <a:cs typeface="Calibri" panose="020F0502020204030204" pitchFamily="34" charset="0"/>
              </a:rPr>
              <a:t> C, et al</a:t>
            </a:r>
            <a:r>
              <a:rPr kumimoji="0" lang="en-US" sz="800" b="0" i="0" u="none" strike="noStrike" kern="1200" cap="none" spc="0" normalizeH="0" baseline="0" noProof="0">
                <a:ln>
                  <a:noFill/>
                </a:ln>
                <a:solidFill>
                  <a:srgbClr val="002060"/>
                </a:solidFill>
                <a:effectLst/>
                <a:uLnTx/>
                <a:uFillTx/>
                <a:latin typeface="Pfizer Tomorrow" panose="02010503040201060303" pitchFamily="50" charset="0"/>
                <a:ea typeface="+mn-ea"/>
                <a:cs typeface="Calibri" panose="020F0502020204030204" pitchFamily="34" charset="0"/>
              </a:rPr>
              <a:t>. Infect Dis Ther. 2024 Aug;13(8):1725-1742.</a:t>
            </a:r>
            <a:r>
              <a:rPr kumimoji="0" lang="en-US" sz="800" b="0" i="0" u="none" strike="noStrike" kern="1200" cap="none" spc="0" normalizeH="0" baseline="0" noProof="0">
                <a:ln>
                  <a:noFill/>
                </a:ln>
                <a:solidFill>
                  <a:srgbClr val="000000"/>
                </a:solidFill>
                <a:effectLst/>
                <a:uLnTx/>
                <a:uFillTx/>
                <a:latin typeface="Pfizer Tomorrow" panose="02010503040201060303" pitchFamily="50" charset="0"/>
                <a:ea typeface="+mn-ea"/>
                <a:cs typeface="Calibri" panose="020F0502020204030204" pitchFamily="34" charset="0"/>
              </a:rPr>
              <a:t> </a:t>
            </a:r>
            <a:r>
              <a:rPr kumimoji="0" lang="en-US" altLang="en-US" sz="800" b="1" i="0" u="none" strike="noStrike" kern="1200" cap="none" spc="0" normalizeH="0" baseline="0" noProof="0">
                <a:ln>
                  <a:noFill/>
                </a:ln>
                <a:solidFill>
                  <a:srgbClr val="000000"/>
                </a:solidFill>
                <a:effectLst/>
                <a:uLnTx/>
                <a:uFillTx/>
                <a:latin typeface="Pfizer Tomorrow" panose="02010503040201060303" pitchFamily="50" charset="0"/>
                <a:ea typeface="+mn-ea"/>
                <a:cs typeface="Calibri" panose="020F0502020204030204" pitchFamily="34" charset="0"/>
              </a:rPr>
              <a:t>Crank MC, et al. </a:t>
            </a:r>
            <a:r>
              <a:rPr kumimoji="0" lang="en-US" altLang="en-US" sz="800" b="0" i="1" u="none" strike="noStrike" kern="1200" cap="none" spc="0" normalizeH="0" baseline="0" noProof="0">
                <a:ln>
                  <a:noFill/>
                </a:ln>
                <a:solidFill>
                  <a:srgbClr val="000000"/>
                </a:solidFill>
                <a:effectLst/>
                <a:uLnTx/>
                <a:uFillTx/>
                <a:latin typeface="Pfizer Tomorrow" panose="02010503040201060303" pitchFamily="50" charset="0"/>
                <a:ea typeface="+mn-ea"/>
                <a:cs typeface="Calibri" panose="020F0502020204030204" pitchFamily="34" charset="0"/>
              </a:rPr>
              <a:t>Science.</a:t>
            </a:r>
            <a:r>
              <a:rPr kumimoji="0" lang="en-US" altLang="en-US" sz="800" b="0" i="0" u="none" strike="noStrike" kern="1200" cap="none" spc="0" normalizeH="0" baseline="0" noProof="0">
                <a:ln>
                  <a:noFill/>
                </a:ln>
                <a:solidFill>
                  <a:srgbClr val="000000"/>
                </a:solidFill>
                <a:effectLst/>
                <a:uLnTx/>
                <a:uFillTx/>
                <a:latin typeface="Pfizer Tomorrow" panose="02010503040201060303" pitchFamily="50" charset="0"/>
                <a:ea typeface="+mn-ea"/>
                <a:cs typeface="Calibri" panose="020F0502020204030204" pitchFamily="34" charset="0"/>
              </a:rPr>
              <a:t> 2019;365:505-509</a:t>
            </a:r>
            <a:endParaRPr kumimoji="0" lang="en-US" sz="800" b="0" i="0" u="none" strike="noStrike" kern="1200" cap="none" spc="0" normalizeH="0" baseline="0" noProof="0">
              <a:ln>
                <a:noFill/>
              </a:ln>
              <a:solidFill>
                <a:srgbClr val="000000"/>
              </a:solidFill>
              <a:effectLst/>
              <a:uLnTx/>
              <a:uFillTx/>
              <a:latin typeface="Pfizer Tomorrow" panose="02010503040201060303" pitchFamily="50" charset="0"/>
              <a:ea typeface="+mn-ea"/>
              <a:cs typeface="Calibri" panose="020F0502020204030204" pitchFamily="34" charset="0"/>
            </a:endParaRPr>
          </a:p>
        </p:txBody>
      </p:sp>
      <p:sp>
        <p:nvSpPr>
          <p:cNvPr id="11" name="Sağ Ok 6">
            <a:extLst>
              <a:ext uri="{FF2B5EF4-FFF2-40B4-BE49-F238E27FC236}">
                <a16:creationId xmlns:a16="http://schemas.microsoft.com/office/drawing/2014/main" id="{BA2E6607-02D7-77F1-329C-E3B2D7635099}"/>
              </a:ext>
            </a:extLst>
          </p:cNvPr>
          <p:cNvSpPr/>
          <p:nvPr/>
        </p:nvSpPr>
        <p:spPr>
          <a:xfrm rot="5400000">
            <a:off x="4318079" y="4291151"/>
            <a:ext cx="489673" cy="484632"/>
          </a:xfrm>
          <a:prstGeom prst="right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Pfizer Tomorrow" panose="02010503040201060303" pitchFamily="50" charset="0"/>
              <a:ea typeface="+mn-ea"/>
              <a:cs typeface="+mn-cs"/>
            </a:endParaRPr>
          </a:p>
        </p:txBody>
      </p:sp>
      <p:sp>
        <p:nvSpPr>
          <p:cNvPr id="12" name="Title 1">
            <a:extLst>
              <a:ext uri="{FF2B5EF4-FFF2-40B4-BE49-F238E27FC236}">
                <a16:creationId xmlns:a16="http://schemas.microsoft.com/office/drawing/2014/main" id="{E7FEE010-46C5-DCD0-B9F8-CD07FCB9AE36}"/>
              </a:ext>
            </a:extLst>
          </p:cNvPr>
          <p:cNvSpPr txBox="1">
            <a:spLocks/>
          </p:cNvSpPr>
          <p:nvPr/>
        </p:nvSpPr>
        <p:spPr>
          <a:xfrm>
            <a:off x="304798" y="5339697"/>
            <a:ext cx="11582400" cy="88659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30000" noProof="0">
              <a:ln>
                <a:noFill/>
              </a:ln>
              <a:solidFill>
                <a:srgbClr val="000000"/>
              </a:solidFill>
              <a:effectLst/>
              <a:uLnTx/>
              <a:uFillTx/>
              <a:latin typeface="Pfizer Tomorrow"/>
              <a:ea typeface="+mj-ea"/>
              <a:cs typeface="+mj-cs"/>
            </a:endParaRPr>
          </a:p>
        </p:txBody>
      </p:sp>
      <p:pic>
        <p:nvPicPr>
          <p:cNvPr id="14" name="Picture 13" descr="A black and blue logo&#10;&#10;AI-generated content may be incorrect.">
            <a:extLst>
              <a:ext uri="{FF2B5EF4-FFF2-40B4-BE49-F238E27FC236}">
                <a16:creationId xmlns:a16="http://schemas.microsoft.com/office/drawing/2014/main" id="{63BF4A74-BB2E-1D3C-0858-0A2C9FD61AC0}"/>
              </a:ext>
            </a:extLst>
          </p:cNvPr>
          <p:cNvPicPr>
            <a:picLocks noChangeAspect="1"/>
          </p:cNvPicPr>
          <p:nvPr/>
        </p:nvPicPr>
        <p:blipFill>
          <a:blip r:embed="rId3"/>
          <a:stretch>
            <a:fillRect/>
          </a:stretch>
        </p:blipFill>
        <p:spPr>
          <a:xfrm>
            <a:off x="10466403" y="6494969"/>
            <a:ext cx="981021" cy="204067"/>
          </a:xfrm>
          <a:prstGeom prst="rect">
            <a:avLst/>
          </a:prstGeom>
        </p:spPr>
      </p:pic>
    </p:spTree>
    <p:extLst>
      <p:ext uri="{BB962C8B-B14F-4D97-AF65-F5344CB8AC3E}">
        <p14:creationId xmlns:p14="http://schemas.microsoft.com/office/powerpoint/2010/main" val="182949164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1BA5C-78BE-1A1F-2421-A24C782BB2D8}"/>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41ED5914-4304-AAFB-BE2C-8799A3D0E566}"/>
              </a:ext>
            </a:extLst>
          </p:cNvPr>
          <p:cNvSpPr>
            <a:spLocks noGrp="1"/>
          </p:cNvSpPr>
          <p:nvPr>
            <p:ph type="title"/>
          </p:nvPr>
        </p:nvSpPr>
        <p:spPr>
          <a:xfrm>
            <a:off x="628651" y="211946"/>
            <a:ext cx="11249020" cy="637794"/>
          </a:xfrm>
        </p:spPr>
        <p:txBody>
          <a:bodyPr>
            <a:normAutofit/>
          </a:bodyPr>
          <a:lstStyle/>
          <a:p>
            <a:pPr>
              <a:lnSpc>
                <a:spcPct val="90000"/>
              </a:lnSpc>
            </a:pPr>
            <a:r>
              <a:rPr lang="tr-TR" sz="2800" dirty="0"/>
              <a:t>Maternal</a:t>
            </a:r>
            <a:r>
              <a:rPr lang="en-US" sz="2800" dirty="0"/>
              <a:t> </a:t>
            </a:r>
            <a:r>
              <a:rPr lang="en-US" sz="2800" dirty="0" err="1"/>
              <a:t>ve</a:t>
            </a:r>
            <a:r>
              <a:rPr lang="en-US" sz="2800" dirty="0"/>
              <a:t> </a:t>
            </a:r>
            <a:r>
              <a:rPr lang="tr-TR" sz="2800" dirty="0"/>
              <a:t>Erişkin </a:t>
            </a:r>
            <a:r>
              <a:rPr lang="en-US" sz="2800" dirty="0" err="1"/>
              <a:t>Endikasyonları</a:t>
            </a:r>
            <a:r>
              <a:rPr lang="en-US" sz="2800" dirty="0"/>
              <a:t> </a:t>
            </a:r>
            <a:r>
              <a:rPr lang="en-US" sz="2800" dirty="0" err="1"/>
              <a:t>için</a:t>
            </a:r>
            <a:r>
              <a:rPr lang="en-US" sz="2800" dirty="0"/>
              <a:t> </a:t>
            </a:r>
            <a:r>
              <a:rPr lang="en-US" sz="2800" dirty="0" err="1"/>
              <a:t>Klinik</a:t>
            </a:r>
            <a:r>
              <a:rPr lang="en-US" sz="2800" dirty="0"/>
              <a:t> </a:t>
            </a:r>
            <a:r>
              <a:rPr lang="en-US" sz="2800" dirty="0" err="1"/>
              <a:t>Geliştirme</a:t>
            </a:r>
            <a:r>
              <a:rPr lang="en-US" sz="2800" dirty="0"/>
              <a:t> </a:t>
            </a:r>
            <a:r>
              <a:rPr lang="en-US" sz="2800" dirty="0" err="1"/>
              <a:t>Programı</a:t>
            </a:r>
            <a:r>
              <a:rPr lang="en-US" sz="2800" dirty="0"/>
              <a:t> </a:t>
            </a:r>
          </a:p>
        </p:txBody>
      </p:sp>
      <p:graphicFrame>
        <p:nvGraphicFramePr>
          <p:cNvPr id="7" name="Table 18">
            <a:extLst>
              <a:ext uri="{FF2B5EF4-FFF2-40B4-BE49-F238E27FC236}">
                <a16:creationId xmlns:a16="http://schemas.microsoft.com/office/drawing/2014/main" id="{8D781986-6474-8238-E058-FCC0C900EB50}"/>
              </a:ext>
            </a:extLst>
          </p:cNvPr>
          <p:cNvGraphicFramePr>
            <a:graphicFrameLocks/>
          </p:cNvGraphicFramePr>
          <p:nvPr>
            <p:extLst>
              <p:ext uri="{D42A27DB-BD31-4B8C-83A1-F6EECF244321}">
                <p14:modId xmlns:p14="http://schemas.microsoft.com/office/powerpoint/2010/main" val="1427485058"/>
              </p:ext>
            </p:extLst>
          </p:nvPr>
        </p:nvGraphicFramePr>
        <p:xfrm>
          <a:off x="628651" y="885554"/>
          <a:ext cx="11249024" cy="5002450"/>
        </p:xfrm>
        <a:graphic>
          <a:graphicData uri="http://schemas.openxmlformats.org/drawingml/2006/table">
            <a:tbl>
              <a:tblPr firstRow="1" bandRow="1">
                <a:effectLst/>
                <a:tableStyleId>{5C22544A-7EE6-4342-B048-85BDC9FD1C3A}</a:tableStyleId>
              </a:tblPr>
              <a:tblGrid>
                <a:gridCol w="1228114">
                  <a:extLst>
                    <a:ext uri="{9D8B030D-6E8A-4147-A177-3AD203B41FA5}">
                      <a16:colId xmlns:a16="http://schemas.microsoft.com/office/drawing/2014/main" val="1245947098"/>
                    </a:ext>
                  </a:extLst>
                </a:gridCol>
                <a:gridCol w="1168690">
                  <a:extLst>
                    <a:ext uri="{9D8B030D-6E8A-4147-A177-3AD203B41FA5}">
                      <a16:colId xmlns:a16="http://schemas.microsoft.com/office/drawing/2014/main" val="55216826"/>
                    </a:ext>
                  </a:extLst>
                </a:gridCol>
                <a:gridCol w="3842070">
                  <a:extLst>
                    <a:ext uri="{9D8B030D-6E8A-4147-A177-3AD203B41FA5}">
                      <a16:colId xmlns:a16="http://schemas.microsoft.com/office/drawing/2014/main" val="2493104195"/>
                    </a:ext>
                  </a:extLst>
                </a:gridCol>
                <a:gridCol w="835025">
                  <a:extLst>
                    <a:ext uri="{9D8B030D-6E8A-4147-A177-3AD203B41FA5}">
                      <a16:colId xmlns:a16="http://schemas.microsoft.com/office/drawing/2014/main" val="1945866654"/>
                    </a:ext>
                  </a:extLst>
                </a:gridCol>
                <a:gridCol w="835025">
                  <a:extLst>
                    <a:ext uri="{9D8B030D-6E8A-4147-A177-3AD203B41FA5}">
                      <a16:colId xmlns:a16="http://schemas.microsoft.com/office/drawing/2014/main" val="3388850336"/>
                    </a:ext>
                  </a:extLst>
                </a:gridCol>
                <a:gridCol w="835025">
                  <a:extLst>
                    <a:ext uri="{9D8B030D-6E8A-4147-A177-3AD203B41FA5}">
                      <a16:colId xmlns:a16="http://schemas.microsoft.com/office/drawing/2014/main" val="4178249593"/>
                    </a:ext>
                  </a:extLst>
                </a:gridCol>
                <a:gridCol w="835025">
                  <a:extLst>
                    <a:ext uri="{9D8B030D-6E8A-4147-A177-3AD203B41FA5}">
                      <a16:colId xmlns:a16="http://schemas.microsoft.com/office/drawing/2014/main" val="3088606309"/>
                    </a:ext>
                  </a:extLst>
                </a:gridCol>
                <a:gridCol w="835025">
                  <a:extLst>
                    <a:ext uri="{9D8B030D-6E8A-4147-A177-3AD203B41FA5}">
                      <a16:colId xmlns:a16="http://schemas.microsoft.com/office/drawing/2014/main" val="3236433047"/>
                    </a:ext>
                  </a:extLst>
                </a:gridCol>
                <a:gridCol w="835025">
                  <a:extLst>
                    <a:ext uri="{9D8B030D-6E8A-4147-A177-3AD203B41FA5}">
                      <a16:colId xmlns:a16="http://schemas.microsoft.com/office/drawing/2014/main" val="1557214225"/>
                    </a:ext>
                  </a:extLst>
                </a:gridCol>
              </a:tblGrid>
              <a:tr h="194950">
                <a:tc>
                  <a:txBody>
                    <a:bodyPr/>
                    <a:lstStyle/>
                    <a:p>
                      <a:pPr>
                        <a:lnSpc>
                          <a:spcPct val="90000"/>
                        </a:lnSpc>
                      </a:pPr>
                      <a:endParaRPr lang="en-US" sz="900" b="0">
                        <a:solidFill>
                          <a:schemeClr val="accent1"/>
                        </a:solidFill>
                        <a:latin typeface="+mj-lt"/>
                      </a:endParaRPr>
                    </a:p>
                  </a:txBody>
                  <a:tcPr marL="68580" marR="68580" marT="34290" marB="3429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endParaRPr lang="en-US" sz="900" b="0">
                        <a:solidFill>
                          <a:schemeClr val="accent1"/>
                        </a:solidFill>
                        <a:latin typeface="+mj-lt"/>
                      </a:endParaRPr>
                    </a:p>
                  </a:txBody>
                  <a:tcPr marL="68580" marR="68580" marT="34290" marB="3429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endParaRPr lang="en-US" sz="900" b="0">
                        <a:solidFill>
                          <a:schemeClr val="accent1"/>
                        </a:solidFill>
                        <a:latin typeface="+mj-lt"/>
                      </a:endParaRPr>
                    </a:p>
                  </a:txBody>
                  <a:tcPr marL="68580" marR="68580" marT="34290" marB="3429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tx1"/>
                          </a:solidFill>
                          <a:effectLst/>
                          <a:uLnTx/>
                          <a:uFillTx/>
                          <a:latin typeface="+mj-lt"/>
                          <a:ea typeface="+mn-ea"/>
                          <a:cs typeface="+mn-cs"/>
                        </a:rPr>
                        <a:t>2018</a:t>
                      </a:r>
                    </a:p>
                  </a:txBody>
                  <a:tcPr marL="68580" marR="68580" marT="34290" marB="3429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tx1"/>
                          </a:solidFill>
                          <a:effectLst/>
                          <a:uLnTx/>
                          <a:uFillTx/>
                          <a:latin typeface="+mj-lt"/>
                          <a:ea typeface="+mn-ea"/>
                          <a:cs typeface="+mn-cs"/>
                        </a:rPr>
                        <a:t>2019</a:t>
                      </a:r>
                    </a:p>
                  </a:txBody>
                  <a:tcPr marL="68580" marR="68580" marT="34290" marB="3429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tx1"/>
                          </a:solidFill>
                          <a:effectLst/>
                          <a:uLnTx/>
                          <a:uFillTx/>
                          <a:latin typeface="+mj-lt"/>
                          <a:ea typeface="+mn-ea"/>
                          <a:cs typeface="+mn-cs"/>
                        </a:rPr>
                        <a:t>2020</a:t>
                      </a:r>
                    </a:p>
                  </a:txBody>
                  <a:tcPr marL="68580" marR="68580" marT="34290" marB="3429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tx1"/>
                          </a:solidFill>
                          <a:effectLst/>
                          <a:uLnTx/>
                          <a:uFillTx/>
                          <a:latin typeface="+mj-lt"/>
                          <a:ea typeface="+mn-ea"/>
                          <a:cs typeface="+mn-cs"/>
                        </a:rPr>
                        <a:t>2021</a:t>
                      </a:r>
                    </a:p>
                  </a:txBody>
                  <a:tcPr marL="68580" marR="68580" marT="34290" marB="3429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tx1"/>
                          </a:solidFill>
                          <a:effectLst/>
                          <a:uLnTx/>
                          <a:uFillTx/>
                          <a:latin typeface="+mj-lt"/>
                          <a:ea typeface="+mn-ea"/>
                          <a:cs typeface="+mn-cs"/>
                        </a:rPr>
                        <a:t>2022</a:t>
                      </a:r>
                    </a:p>
                  </a:txBody>
                  <a:tcPr marL="68580" marR="68580" marT="34290" marB="34290" anchor="b">
                    <a:lnL w="12700" cmpd="sng">
                      <a:noFill/>
                    </a:lnL>
                    <a:lnR w="12700" cap="flat" cmpd="sng" algn="ctr">
                      <a:noFill/>
                      <a:prstDash val="sysDot"/>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tx1"/>
                          </a:solidFill>
                          <a:effectLst/>
                          <a:uLnTx/>
                          <a:uFillTx/>
                          <a:latin typeface="+mn-lt"/>
                          <a:ea typeface="+mn-ea"/>
                          <a:cs typeface="+mn-cs"/>
                        </a:rPr>
                        <a:t>2023</a:t>
                      </a:r>
                      <a:endParaRPr kumimoji="0" lang="en-US" sz="900" b="1" i="0" u="none" strike="noStrike" kern="1200" cap="none" spc="0" normalizeH="0" baseline="0" noProof="0">
                        <a:ln>
                          <a:noFill/>
                        </a:ln>
                        <a:solidFill>
                          <a:schemeClr val="tx1"/>
                        </a:solidFill>
                        <a:effectLst/>
                        <a:uLnTx/>
                        <a:uFillTx/>
                        <a:latin typeface="+mj-lt"/>
                        <a:ea typeface="+mn-ea"/>
                        <a:cs typeface="+mn-cs"/>
                      </a:endParaRPr>
                    </a:p>
                  </a:txBody>
                  <a:tcPr marL="68580" marR="68580" marT="34290" marB="34290" anchor="b">
                    <a:lnL w="12700" cmpd="sng">
                      <a:noFill/>
                    </a:lnL>
                    <a:lnR w="12700" cap="flat" cmpd="sng" algn="ctr">
                      <a:noFill/>
                      <a:prstDash val="sysDot"/>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353215"/>
                  </a:ext>
                </a:extLst>
              </a:tr>
              <a:tr h="0">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Maternal </a:t>
                      </a:r>
                      <a:r>
                        <a:rPr kumimoji="0" lang="tr-TR" sz="1400" b="1" i="0" u="none" strike="noStrike" kern="1200" cap="none" spc="0" normalizeH="0" baseline="0" noProof="0" dirty="0">
                          <a:ln>
                            <a:noFill/>
                          </a:ln>
                          <a:solidFill>
                            <a:schemeClr val="tx1"/>
                          </a:solidFill>
                          <a:effectLst/>
                          <a:uLnTx/>
                          <a:uFillTx/>
                          <a:latin typeface="+mn-lt"/>
                          <a:ea typeface="+mn-ea"/>
                          <a:cs typeface="+mn-cs"/>
                        </a:rPr>
                        <a:t>ve Yetişkinler</a:t>
                      </a:r>
                      <a:endParaRPr kumimoji="0" lang="en-US" sz="1400" b="1"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1"/>
                          </a:solidFill>
                          <a:effectLst/>
                          <a:uLnTx/>
                          <a:uFillTx/>
                          <a:latin typeface="+mn-lt"/>
                          <a:ea typeface="+mn-ea"/>
                          <a:cs typeface="+mn-cs"/>
                        </a:rPr>
                        <a:t>Faz </a:t>
                      </a:r>
                      <a:r>
                        <a:rPr lang="en-US" sz="600" b="1" i="0" u="none" strike="noStrike" kern="1200" cap="none" spc="0" normalizeH="0" baseline="0" noProof="0" dirty="0">
                          <a:ln>
                            <a:noFill/>
                          </a:ln>
                          <a:solidFill>
                            <a:schemeClr val="tx1"/>
                          </a:solidFill>
                          <a:effectLst/>
                          <a:uLnTx/>
                          <a:uFillTx/>
                          <a:latin typeface="+mn-lt"/>
                          <a:ea typeface="+mn-ea"/>
                          <a:cs typeface="+mn-cs"/>
                        </a:rPr>
                        <a:t>1/2</a:t>
                      </a:r>
                      <a:r>
                        <a:rPr kumimoji="0" lang="en-US" sz="600" b="1" i="0" u="none" strike="noStrike" kern="1200" cap="none" spc="0" normalizeH="0" baseline="30000" noProof="0" dirty="0">
                          <a:ln>
                            <a:noFill/>
                          </a:ln>
                          <a:solidFill>
                            <a:schemeClr val="tx1"/>
                          </a:solidFill>
                          <a:effectLst/>
                          <a:uLnTx/>
                          <a:uFillTx/>
                          <a:latin typeface="+mn-lt"/>
                          <a:ea typeface="+mn-ea"/>
                          <a:cs typeface="+mn-cs"/>
                        </a:rPr>
                        <a:t>1,a</a:t>
                      </a:r>
                      <a:br>
                        <a:rPr kumimoji="0" lang="en-US" sz="600" b="1" i="0" u="none" strike="noStrike" kern="1200" cap="none" spc="0" normalizeH="0" baseline="0" noProof="0" dirty="0">
                          <a:ln>
                            <a:noFill/>
                          </a:ln>
                          <a:solidFill>
                            <a:srgbClr val="000000"/>
                          </a:solidFill>
                          <a:effectLst/>
                          <a:uLnTx/>
                          <a:uFillTx/>
                          <a:latin typeface="+mn-lt"/>
                          <a:ea typeface="+mn-ea"/>
                          <a:cs typeface="+mn-cs"/>
                        </a:rPr>
                      </a:br>
                      <a:r>
                        <a:rPr kumimoji="0" lang="en-US" sz="600" b="1" i="0" u="none" strike="noStrike" kern="1200" cap="none" spc="0" normalizeH="0" baseline="0" noProof="0" dirty="0" err="1">
                          <a:ln>
                            <a:noFill/>
                          </a:ln>
                          <a:solidFill>
                            <a:schemeClr val="tx1"/>
                          </a:solidFill>
                          <a:effectLst/>
                          <a:uLnTx/>
                          <a:uFillTx/>
                          <a:latin typeface="+mn-lt"/>
                          <a:ea typeface="+mn-ea"/>
                          <a:cs typeface="+mn-cs"/>
                        </a:rPr>
                        <a:t>insan</a:t>
                      </a:r>
                      <a:r>
                        <a:rPr kumimoji="0" lang="en-US" sz="600" b="1" i="0" u="none" strike="noStrike" kern="1200" cap="none" spc="0" normalizeH="0" baseline="0" noProof="0" dirty="0">
                          <a:ln>
                            <a:noFill/>
                          </a:ln>
                          <a:solidFill>
                            <a:schemeClr val="tx1"/>
                          </a:solidFill>
                          <a:effectLst/>
                          <a:uLnTx/>
                          <a:uFillTx/>
                          <a:latin typeface="+mn-lt"/>
                          <a:ea typeface="+mn-ea"/>
                          <a:cs typeface="+mn-cs"/>
                        </a:rPr>
                        <a:t> </a:t>
                      </a:r>
                      <a:r>
                        <a:rPr kumimoji="0" lang="en-US" sz="600" b="1" i="0" u="none" strike="noStrike" kern="1200" cap="none" spc="0" normalizeH="0" baseline="0" noProof="0" dirty="0" err="1">
                          <a:ln>
                            <a:noFill/>
                          </a:ln>
                          <a:solidFill>
                            <a:schemeClr val="tx1"/>
                          </a:solidFill>
                          <a:effectLst/>
                          <a:uLnTx/>
                          <a:uFillTx/>
                          <a:latin typeface="+mn-lt"/>
                          <a:ea typeface="+mn-ea"/>
                          <a:cs typeface="+mn-cs"/>
                        </a:rPr>
                        <a:t>üzerinde</a:t>
                      </a:r>
                      <a:r>
                        <a:rPr kumimoji="0" lang="en-US" sz="600" b="1" i="0" u="none" strike="noStrike" kern="1200" cap="none" spc="0" normalizeH="0" baseline="0" noProof="0" dirty="0">
                          <a:ln>
                            <a:noFill/>
                          </a:ln>
                          <a:solidFill>
                            <a:schemeClr val="tx1"/>
                          </a:solidFill>
                          <a:effectLst/>
                          <a:uLnTx/>
                          <a:uFillTx/>
                          <a:latin typeface="+mn-lt"/>
                          <a:ea typeface="+mn-ea"/>
                          <a:cs typeface="+mn-cs"/>
                        </a:rPr>
                        <a:t> ilk </a:t>
                      </a:r>
                      <a:r>
                        <a:rPr kumimoji="0" lang="en-US" sz="600" b="1" i="0" u="none" strike="noStrike" kern="1200" cap="none" spc="0" normalizeH="0" baseline="0" noProof="0" dirty="0" err="1">
                          <a:ln>
                            <a:noFill/>
                          </a:ln>
                          <a:solidFill>
                            <a:schemeClr val="tx1"/>
                          </a:solidFill>
                          <a:effectLst/>
                          <a:uLnTx/>
                          <a:uFillTx/>
                          <a:latin typeface="+mn-lt"/>
                          <a:ea typeface="+mn-ea"/>
                          <a:cs typeface="+mn-cs"/>
                        </a:rPr>
                        <a:t>deneme</a:t>
                      </a:r>
                      <a:br>
                        <a:rPr kumimoji="0" lang="en-US" sz="600" b="1" i="0" u="none" strike="noStrike" kern="1200" cap="none" spc="0" normalizeH="0" baseline="0" noProof="0" dirty="0">
                          <a:ln>
                            <a:noFill/>
                          </a:ln>
                          <a:solidFill>
                            <a:schemeClr val="tx1"/>
                          </a:solidFill>
                          <a:effectLst/>
                          <a:uLnTx/>
                          <a:uFillTx/>
                          <a:latin typeface="+mn-lt"/>
                          <a:ea typeface="+mn-ea"/>
                          <a:cs typeface="+mn-cs"/>
                        </a:rPr>
                      </a:br>
                      <a:r>
                        <a:rPr kumimoji="0" lang="en-US" sz="600" b="1" i="0" u="none" strike="noStrike" kern="1200" cap="none" spc="0" normalizeH="0" baseline="0" noProof="0" dirty="0">
                          <a:ln>
                            <a:noFill/>
                          </a:ln>
                          <a:solidFill>
                            <a:schemeClr val="tx1"/>
                          </a:solidFill>
                          <a:effectLst/>
                          <a:uLnTx/>
                          <a:uFillTx/>
                          <a:latin typeface="+mn-lt"/>
                          <a:ea typeface="+mn-ea"/>
                          <a:cs typeface="+mn-cs"/>
                        </a:rPr>
                        <a:t>NCT03529773</a:t>
                      </a:r>
                      <a:endParaRPr kumimoji="0" lang="en-US" sz="600" b="1" i="0" u="none" strike="noStrike" kern="1200" cap="none" spc="0" normalizeH="0" baseline="3000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tr-TR" sz="600" b="0" i="0" u="none" strike="noStrike" kern="1200" cap="none" spc="0" normalizeH="0" baseline="0" noProof="0" dirty="0">
                          <a:ln>
                            <a:noFill/>
                          </a:ln>
                          <a:solidFill>
                            <a:schemeClr val="tx1"/>
                          </a:solidFill>
                          <a:effectLst/>
                          <a:uLnTx/>
                          <a:uFillTx/>
                          <a:latin typeface="+mn-lt"/>
                          <a:ea typeface="+mn-ea"/>
                          <a:cs typeface="+mn-cs"/>
                        </a:rPr>
                        <a:t>Yetişkinler</a:t>
                      </a:r>
                      <a:r>
                        <a:rPr kumimoji="0" lang="en-US" sz="600" b="0" i="0" u="none" strike="noStrike" kern="1200" cap="none" spc="0" normalizeH="0" baseline="0" noProof="0" dirty="0">
                          <a:ln>
                            <a:noFill/>
                          </a:ln>
                          <a:solidFill>
                            <a:schemeClr val="tx1"/>
                          </a:solidFill>
                          <a:effectLst/>
                          <a:uLnTx/>
                          <a:uFillTx/>
                          <a:latin typeface="+mn-lt"/>
                          <a:ea typeface="+mn-ea"/>
                          <a:cs typeface="+mn-cs"/>
                        </a:rPr>
                        <a:t>, 18-85 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0" i="0" u="none" strike="noStrike" kern="1200" cap="none" spc="0" normalizeH="0" baseline="0" noProof="0" dirty="0" err="1">
                          <a:ln>
                            <a:noFill/>
                          </a:ln>
                          <a:solidFill>
                            <a:schemeClr val="tx1"/>
                          </a:solidFill>
                          <a:effectLst/>
                          <a:uLnTx/>
                          <a:uFillTx/>
                          <a:latin typeface="+mn-lt"/>
                          <a:ea typeface="+mn-ea"/>
                          <a:cs typeface="+mn-cs"/>
                        </a:rPr>
                        <a:t>Güvenlilik</a:t>
                      </a:r>
                      <a:r>
                        <a:rPr kumimoji="0" lang="en-US" sz="600" b="0" i="0" u="none" strike="noStrike" kern="1200" cap="none" spc="0" normalizeH="0" baseline="0" noProof="0" dirty="0">
                          <a:ln>
                            <a:noFill/>
                          </a:ln>
                          <a:solidFill>
                            <a:schemeClr val="tx1"/>
                          </a:solidFill>
                          <a:effectLst/>
                          <a:uLnTx/>
                          <a:uFillTx/>
                          <a:latin typeface="+mn-lt"/>
                          <a:ea typeface="+mn-ea"/>
                          <a:cs typeface="+mn-cs"/>
                        </a:rPr>
                        <a:t> </a:t>
                      </a:r>
                      <a:r>
                        <a:rPr kumimoji="0" lang="en-US" sz="600" b="0" i="0" u="none" strike="noStrike" kern="1200" cap="none" spc="0" normalizeH="0" baseline="0" noProof="0" dirty="0" err="1">
                          <a:ln>
                            <a:noFill/>
                          </a:ln>
                          <a:solidFill>
                            <a:schemeClr val="tx1"/>
                          </a:solidFill>
                          <a:effectLst/>
                          <a:uLnTx/>
                          <a:uFillTx/>
                          <a:latin typeface="+mn-lt"/>
                          <a:ea typeface="+mn-ea"/>
                          <a:cs typeface="+mn-cs"/>
                        </a:rPr>
                        <a:t>ve</a:t>
                      </a:r>
                      <a:r>
                        <a:rPr kumimoji="0" lang="en-US" sz="600" b="0" i="0" u="none" strike="noStrike" kern="1200" cap="none" spc="0" normalizeH="0" baseline="0" noProof="0" dirty="0">
                          <a:ln>
                            <a:noFill/>
                          </a:ln>
                          <a:solidFill>
                            <a:schemeClr val="tx1"/>
                          </a:solidFill>
                          <a:effectLst/>
                          <a:uLnTx/>
                          <a:uFillTx/>
                          <a:latin typeface="+mn-lt"/>
                          <a:ea typeface="+mn-ea"/>
                          <a:cs typeface="+mn-cs"/>
                        </a:rPr>
                        <a:t> </a:t>
                      </a:r>
                      <a:r>
                        <a:rPr kumimoji="0" lang="en-US" sz="600" b="0" i="0" u="none" strike="noStrike" kern="1200" cap="none" spc="0" normalizeH="0" baseline="0" noProof="0" dirty="0" err="1">
                          <a:ln>
                            <a:noFill/>
                          </a:ln>
                          <a:solidFill>
                            <a:schemeClr val="tx1"/>
                          </a:solidFill>
                          <a:effectLst/>
                          <a:uLnTx/>
                          <a:uFillTx/>
                          <a:latin typeface="+mn-lt"/>
                          <a:ea typeface="+mn-ea"/>
                          <a:cs typeface="+mn-cs"/>
                        </a:rPr>
                        <a:t>immünojenisite</a:t>
                      </a:r>
                      <a:endParaRPr kumimoji="0" lang="tr-TR" sz="6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solidFill>
                          <a:effectLst/>
                          <a:uLnTx/>
                          <a:uFillTx/>
                          <a:latin typeface="+mn-lt"/>
                          <a:ea typeface="+mn-ea"/>
                          <a:cs typeface="+mn-cs"/>
                        </a:rPr>
                        <a:t>± Al(OH)</a:t>
                      </a:r>
                      <a:r>
                        <a:rPr kumimoji="0" lang="en-US" sz="600" b="0" i="0" u="none" strike="noStrike" kern="1200" cap="none" spc="0" normalizeH="0" baseline="-25000" noProof="0" dirty="0">
                          <a:ln>
                            <a:noFill/>
                          </a:ln>
                          <a:solidFill>
                            <a:schemeClr val="tx1"/>
                          </a:solidFill>
                          <a:effectLst/>
                          <a:uLnTx/>
                          <a:uFillTx/>
                          <a:latin typeface="+mn-lt"/>
                          <a:ea typeface="+mn-ea"/>
                          <a:cs typeface="+mn-cs"/>
                        </a:rPr>
                        <a:t>3 </a:t>
                      </a:r>
                      <a:r>
                        <a:rPr kumimoji="0" lang="en-US" sz="600" b="0" i="0" u="none" strike="noStrike" kern="1200" cap="none" spc="0" normalizeH="0" baseline="0" noProof="0" dirty="0">
                          <a:ln>
                            <a:noFill/>
                          </a:ln>
                          <a:solidFill>
                            <a:schemeClr val="tx1"/>
                          </a:solidFill>
                          <a:effectLst/>
                          <a:uLnTx/>
                          <a:uFillTx/>
                          <a:latin typeface="+mn-lt"/>
                          <a:ea typeface="+mn-ea"/>
                          <a:cs typeface="+mn-cs"/>
                        </a:rPr>
                        <a:t>± SIIV</a:t>
                      </a:r>
                    </a:p>
                  </a:txBody>
                  <a:tcPr marL="68580" marR="68580" marT="34290" marB="3429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hMerge="1">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669561"/>
                  </a:ext>
                </a:extLst>
              </a:tr>
              <a:tr h="0">
                <a:tc rowSpan="3">
                  <a:txBody>
                    <a:bodyPr/>
                    <a:lstStyle/>
                    <a:p>
                      <a:pPr algn="ctr"/>
                      <a:r>
                        <a:rPr lang="en-US" sz="1400" b="1" dirty="0">
                          <a:solidFill>
                            <a:schemeClr val="tx1"/>
                          </a:solidFill>
                        </a:rPr>
                        <a:t>Maternal</a:t>
                      </a:r>
                    </a:p>
                  </a:txBody>
                  <a:tcPr marL="68580" marR="68580" marT="34290" marB="34290" anchor="ctr">
                    <a:lnR w="12700" cap="flat" cmpd="sng" algn="ctr">
                      <a:solidFill>
                        <a:srgbClr val="F2F2F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1"/>
                          </a:solidFill>
                          <a:effectLst/>
                          <a:uLnTx/>
                          <a:uFillTx/>
                          <a:latin typeface="+mn-lt"/>
                          <a:ea typeface="+mn-ea"/>
                          <a:cs typeface="+mn-cs"/>
                        </a:rPr>
                        <a:t>Faz 2b</a:t>
                      </a:r>
                      <a:r>
                        <a:rPr kumimoji="0" lang="en-US" sz="600" b="1" i="0" u="none" strike="noStrike" kern="1200" cap="none" spc="0" normalizeH="0" baseline="30000" noProof="0" dirty="0">
                          <a:ln>
                            <a:noFill/>
                          </a:ln>
                          <a:solidFill>
                            <a:schemeClr val="tx1"/>
                          </a:solidFill>
                          <a:effectLst/>
                          <a:uLnTx/>
                          <a:uFillTx/>
                          <a:latin typeface="+mn-lt"/>
                          <a:ea typeface="+mn-ea"/>
                          <a:cs typeface="+mn-cs"/>
                        </a:rPr>
                        <a:t>2-4</a:t>
                      </a:r>
                      <a:endParaRPr kumimoji="0" lang="en-US" sz="6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1"/>
                          </a:solidFill>
                          <a:effectLst/>
                          <a:uLnTx/>
                          <a:uFillTx/>
                          <a:latin typeface="+mn-lt"/>
                          <a:ea typeface="+mn-ea"/>
                          <a:cs typeface="+mn-cs"/>
                        </a:rPr>
                        <a:t>SAVV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1"/>
                          </a:solidFill>
                          <a:effectLst/>
                          <a:uLnTx/>
                          <a:uFillTx/>
                          <a:latin typeface="+mn-lt"/>
                          <a:ea typeface="+mn-ea"/>
                          <a:cs typeface="+mn-cs"/>
                        </a:rPr>
                        <a:t>NCT04032093</a:t>
                      </a:r>
                      <a:endParaRPr kumimoji="0" lang="en-US" sz="600" b="1" i="0" u="none" strike="noStrike" kern="1200" cap="none" spc="0" normalizeH="0" baseline="30000" noProof="0" dirty="0">
                        <a:ln>
                          <a:noFill/>
                        </a:ln>
                        <a:solidFill>
                          <a:schemeClr val="tx1"/>
                        </a:solidFill>
                        <a:effectLst/>
                        <a:uLnTx/>
                        <a:uFillTx/>
                        <a:latin typeface="+mn-lt"/>
                        <a:ea typeface="+mn-ea"/>
                        <a:cs typeface="+mn-cs"/>
                      </a:endParaRPr>
                    </a:p>
                  </a:txBody>
                  <a:tcPr marL="68580" marR="68580" marT="34290" marB="34290" anchor="ctr">
                    <a:lnL w="12700" cap="flat" cmpd="sng" algn="ctr">
                      <a:solidFill>
                        <a:srgbClr val="F2F2F2"/>
                      </a:solid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tr-TR" sz="600" b="0" i="0" u="none" strike="noStrike" kern="1200" cap="none" spc="0" normalizeH="0" baseline="0" noProof="0">
                          <a:ln>
                            <a:noFill/>
                          </a:ln>
                          <a:solidFill>
                            <a:schemeClr val="tx1"/>
                          </a:solidFill>
                          <a:effectLst/>
                          <a:uLnTx/>
                          <a:uFillTx/>
                          <a:latin typeface="+mn-lt"/>
                          <a:ea typeface="+mn-ea"/>
                          <a:cs typeface="+mn-cs"/>
                        </a:rPr>
                        <a:t>Gebe katılımcılar</a:t>
                      </a:r>
                      <a:r>
                        <a:rPr kumimoji="0" lang="en-US" sz="600" b="0" i="0" u="none" strike="noStrike" kern="1200" cap="none" spc="0" normalizeH="0" baseline="0" noProof="0">
                          <a:ln>
                            <a:noFill/>
                          </a:ln>
                          <a:solidFill>
                            <a:schemeClr val="tx1"/>
                          </a:solidFill>
                          <a:effectLst/>
                          <a:uLnTx/>
                          <a:uFillTx/>
                          <a:latin typeface="+mn-lt"/>
                          <a:ea typeface="+mn-ea"/>
                          <a:cs typeface="+mn-cs"/>
                        </a:rPr>
                        <a:t>, 18-49 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0" i="0" u="none" strike="noStrike" kern="1200" cap="none" spc="0" normalizeH="0" baseline="0" noProof="0" err="1">
                          <a:ln>
                            <a:noFill/>
                          </a:ln>
                          <a:solidFill>
                            <a:schemeClr val="tx1"/>
                          </a:solidFill>
                          <a:effectLst/>
                          <a:uLnTx/>
                          <a:uFillTx/>
                          <a:latin typeface="+mn-lt"/>
                          <a:ea typeface="+mn-ea"/>
                          <a:cs typeface="+mn-cs"/>
                        </a:rPr>
                        <a:t>Etkinlik</a:t>
                      </a:r>
                      <a:r>
                        <a:rPr kumimoji="0" lang="en-US" sz="600" b="0" i="0" u="none" strike="noStrike" kern="1200" cap="none" spc="0" normalizeH="0" baseline="0" noProof="0">
                          <a:ln>
                            <a:noFill/>
                          </a:ln>
                          <a:solidFill>
                            <a:schemeClr val="tx1"/>
                          </a:solidFill>
                          <a:effectLst/>
                          <a:uLnTx/>
                          <a:uFillTx/>
                          <a:latin typeface="+mn-lt"/>
                          <a:ea typeface="+mn-ea"/>
                          <a:cs typeface="+mn-cs"/>
                        </a:rPr>
                        <a:t>, </a:t>
                      </a:r>
                      <a:r>
                        <a:rPr kumimoji="0" lang="en-US" sz="600" b="0" i="0" u="none" strike="noStrike" kern="1200" cap="none" spc="0" normalizeH="0" baseline="0" noProof="0" err="1">
                          <a:ln>
                            <a:noFill/>
                          </a:ln>
                          <a:solidFill>
                            <a:schemeClr val="tx1"/>
                          </a:solidFill>
                          <a:effectLst/>
                          <a:uLnTx/>
                          <a:uFillTx/>
                          <a:latin typeface="+mn-lt"/>
                          <a:ea typeface="+mn-ea"/>
                          <a:cs typeface="+mn-cs"/>
                        </a:rPr>
                        <a:t>immünojenisite</a:t>
                      </a:r>
                      <a:r>
                        <a:rPr kumimoji="0" lang="en-US" sz="600" b="0" i="0" u="none" strike="noStrike" kern="1200" cap="none" spc="0" normalizeH="0" baseline="0" noProof="0">
                          <a:ln>
                            <a:noFill/>
                          </a:ln>
                          <a:solidFill>
                            <a:schemeClr val="tx1"/>
                          </a:solidFill>
                          <a:effectLst/>
                          <a:uLnTx/>
                          <a:uFillTx/>
                          <a:latin typeface="+mn-lt"/>
                          <a:ea typeface="+mn-ea"/>
                          <a:cs typeface="+mn-cs"/>
                        </a:rPr>
                        <a:t> </a:t>
                      </a:r>
                      <a:r>
                        <a:rPr kumimoji="0" lang="en-US" sz="600" b="0" i="0" u="none" strike="noStrike" kern="1200" cap="none" spc="0" normalizeH="0" baseline="0" noProof="0" err="1">
                          <a:ln>
                            <a:noFill/>
                          </a:ln>
                          <a:solidFill>
                            <a:schemeClr val="tx1"/>
                          </a:solidFill>
                          <a:effectLst/>
                          <a:uLnTx/>
                          <a:uFillTx/>
                          <a:latin typeface="+mn-lt"/>
                          <a:ea typeface="+mn-ea"/>
                          <a:cs typeface="+mn-cs"/>
                        </a:rPr>
                        <a:t>ve</a:t>
                      </a:r>
                      <a:r>
                        <a:rPr kumimoji="0" lang="en-US" sz="600" b="0" i="0" u="none" strike="noStrike" kern="1200" cap="none" spc="0" normalizeH="0" baseline="0" noProof="0">
                          <a:ln>
                            <a:noFill/>
                          </a:ln>
                          <a:solidFill>
                            <a:schemeClr val="tx1"/>
                          </a:solidFill>
                          <a:effectLst/>
                          <a:uLnTx/>
                          <a:uFillTx/>
                          <a:latin typeface="+mn-lt"/>
                          <a:ea typeface="+mn-ea"/>
                          <a:cs typeface="+mn-cs"/>
                        </a:rPr>
                        <a:t> </a:t>
                      </a:r>
                      <a:r>
                        <a:rPr kumimoji="0" lang="en-US" sz="600" b="0" i="0" u="none" strike="noStrike" kern="1200" cap="none" spc="0" normalizeH="0" baseline="0" noProof="0" err="1">
                          <a:ln>
                            <a:noFill/>
                          </a:ln>
                          <a:solidFill>
                            <a:schemeClr val="tx1"/>
                          </a:solidFill>
                          <a:effectLst/>
                          <a:uLnTx/>
                          <a:uFillTx/>
                          <a:latin typeface="+mn-lt"/>
                          <a:ea typeface="+mn-ea"/>
                          <a:cs typeface="+mn-cs"/>
                        </a:rPr>
                        <a:t>güvenlilik</a:t>
                      </a:r>
                      <a:endParaRPr kumimoji="0" lang="tr-TR" sz="600" b="0" i="0" u="none" strike="noStrike" kern="1200" cap="none" spc="0" normalizeH="0" baseline="0" noProof="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tx1"/>
                        </a:solidFill>
                        <a:effectLst/>
                        <a:uLnTx/>
                        <a:uFillTx/>
                        <a:latin typeface="+mn-lt"/>
                        <a:ea typeface="+mn-ea"/>
                        <a:cs typeface="+mn-cs"/>
                      </a:endParaRPr>
                    </a:p>
                  </a:txBody>
                  <a:tcPr marL="68580" marR="68580" marT="34290" marB="34290" anchor="ctr">
                    <a:lnL w="12700" cmpd="sng">
                      <a:noFill/>
                    </a:lnL>
                    <a:lnR w="12700" cmpd="sng">
                      <a:noFill/>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4686349"/>
                  </a:ext>
                </a:extLst>
              </a:tr>
              <a:tr h="0">
                <a:tc vMerge="1">
                  <a:txBody>
                    <a:bodyPr/>
                    <a:lstStyle/>
                    <a:p>
                      <a:endParaRPr lang="en-US"/>
                    </a:p>
                  </a:txBody>
                  <a:tcPr>
                    <a:lnT w="12700" cap="flat" cmpd="sng" algn="ctr">
                      <a:solidFill>
                        <a:srgbClr val="BFBFBF"/>
                      </a:solidFill>
                      <a:prstDash val="solid"/>
                      <a:round/>
                      <a:headEnd type="none" w="med" len="med"/>
                      <a:tailEnd type="none" w="med" len="med"/>
                    </a:lnT>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1"/>
                          </a:solidFill>
                          <a:effectLst/>
                          <a:uLnTx/>
                          <a:uFillTx/>
                          <a:latin typeface="+mn-lt"/>
                          <a:ea typeface="+mn-ea"/>
                          <a:cs typeface="+mn-cs"/>
                        </a:rPr>
                        <a:t>Faz 2b</a:t>
                      </a:r>
                      <a:r>
                        <a:rPr kumimoji="0" lang="en-US" sz="600" b="1" i="0" u="none" strike="noStrike" kern="1200" cap="none" spc="0" normalizeH="0" baseline="30000" noProof="0" dirty="0">
                          <a:ln>
                            <a:noFill/>
                          </a:ln>
                          <a:solidFill>
                            <a:schemeClr val="tx1"/>
                          </a:solidFill>
                          <a:effectLst/>
                          <a:uLnTx/>
                          <a:uFillTx/>
                          <a:latin typeface="+mn-lt"/>
                          <a:ea typeface="+mn-ea"/>
                          <a:cs typeface="+mn-cs"/>
                        </a:rPr>
                        <a:t>5</a:t>
                      </a:r>
                      <a:endParaRPr kumimoji="0" lang="en-US" sz="6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1" i="0" u="none" strike="noStrike" kern="1200" cap="none" spc="0" normalizeH="0" baseline="0" noProof="0" dirty="0" err="1">
                          <a:ln>
                            <a:noFill/>
                          </a:ln>
                          <a:solidFill>
                            <a:schemeClr val="tx1"/>
                          </a:solidFill>
                          <a:effectLst/>
                          <a:uLnTx/>
                          <a:uFillTx/>
                          <a:latin typeface="+mn-lt"/>
                          <a:ea typeface="+mn-ea"/>
                          <a:cs typeface="+mn-cs"/>
                        </a:rPr>
                        <a:t>Eşdeğerlik</a:t>
                      </a:r>
                      <a:endParaRPr kumimoji="0" lang="en-US" sz="6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1"/>
                          </a:solidFill>
                          <a:effectLst/>
                          <a:uLnTx/>
                          <a:uFillTx/>
                          <a:latin typeface="+mn-lt"/>
                          <a:ea typeface="+mn-ea"/>
                          <a:cs typeface="+mn-cs"/>
                        </a:rPr>
                        <a:t>NCT04071158</a:t>
                      </a:r>
                    </a:p>
                  </a:txBody>
                  <a:tcPr marL="68580" marR="68580" marT="34290" marB="34290" anchor="ctr">
                    <a:lnR w="12700" cmpd="sng">
                      <a:noFill/>
                    </a:lnR>
                    <a:lnT w="6350" cap="flat" cmpd="sng" algn="ctr">
                      <a:solidFill>
                        <a:schemeClr val="bg1">
                          <a:lumMod val="8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tr-TR" sz="600" b="0" i="0" u="none" strike="noStrike" kern="1200" cap="none" spc="0" normalizeH="0" baseline="0" noProof="0" dirty="0">
                          <a:ln>
                            <a:noFill/>
                          </a:ln>
                          <a:solidFill>
                            <a:schemeClr val="tx1"/>
                          </a:solidFill>
                          <a:effectLst/>
                          <a:uLnTx/>
                          <a:uFillTx/>
                          <a:latin typeface="+mn-lt"/>
                          <a:ea typeface="+mn-ea"/>
                          <a:cs typeface="+mn-cs"/>
                        </a:rPr>
                        <a:t>G</a:t>
                      </a:r>
                      <a:r>
                        <a:rPr kumimoji="0" lang="en-US" sz="600" b="0" i="0" u="none" strike="noStrike" kern="1200" cap="none" spc="0" normalizeH="0" baseline="0" noProof="0" dirty="0" err="1">
                          <a:ln>
                            <a:noFill/>
                          </a:ln>
                          <a:solidFill>
                            <a:schemeClr val="tx1"/>
                          </a:solidFill>
                          <a:effectLst/>
                          <a:uLnTx/>
                          <a:uFillTx/>
                          <a:latin typeface="+mn-lt"/>
                          <a:ea typeface="+mn-ea"/>
                          <a:cs typeface="+mn-cs"/>
                        </a:rPr>
                        <a:t>ebe</a:t>
                      </a:r>
                      <a:r>
                        <a:rPr kumimoji="0" lang="en-US" sz="600" b="0" i="0" u="none" strike="noStrike" kern="1200" cap="none" spc="0" normalizeH="0" baseline="0" noProof="0" dirty="0">
                          <a:ln>
                            <a:noFill/>
                          </a:ln>
                          <a:solidFill>
                            <a:schemeClr val="tx1"/>
                          </a:solidFill>
                          <a:effectLst/>
                          <a:uLnTx/>
                          <a:uFillTx/>
                          <a:latin typeface="+mn-lt"/>
                          <a:ea typeface="+mn-ea"/>
                          <a:cs typeface="+mn-cs"/>
                        </a:rPr>
                        <a:t> </a:t>
                      </a:r>
                      <a:r>
                        <a:rPr kumimoji="0" lang="en-US" sz="600" b="0" i="0" u="none" strike="noStrike" kern="1200" cap="none" spc="0" normalizeH="0" baseline="0" noProof="0" dirty="0" err="1">
                          <a:ln>
                            <a:noFill/>
                          </a:ln>
                          <a:solidFill>
                            <a:schemeClr val="tx1"/>
                          </a:solidFill>
                          <a:effectLst/>
                          <a:uLnTx/>
                          <a:uFillTx/>
                          <a:latin typeface="+mn-lt"/>
                          <a:ea typeface="+mn-ea"/>
                          <a:cs typeface="+mn-cs"/>
                        </a:rPr>
                        <a:t>olmayan</a:t>
                      </a:r>
                      <a:r>
                        <a:rPr kumimoji="0" lang="en-US" sz="600" b="0" i="0" u="none" strike="noStrike" kern="1200" cap="none" spc="0" normalizeH="0" baseline="0" noProof="0" dirty="0">
                          <a:ln>
                            <a:noFill/>
                          </a:ln>
                          <a:solidFill>
                            <a:schemeClr val="tx1"/>
                          </a:solidFill>
                          <a:effectLst/>
                          <a:uLnTx/>
                          <a:uFillTx/>
                          <a:latin typeface="+mn-lt"/>
                          <a:ea typeface="+mn-ea"/>
                          <a:cs typeface="+mn-cs"/>
                        </a:rPr>
                        <a:t> </a:t>
                      </a:r>
                      <a:r>
                        <a:rPr kumimoji="0" lang="tr-TR" sz="600" b="0" i="0" u="none" strike="noStrike" kern="1200" cap="none" spc="0" normalizeH="0" baseline="0" noProof="0" dirty="0">
                          <a:ln>
                            <a:noFill/>
                          </a:ln>
                          <a:solidFill>
                            <a:schemeClr val="tx1"/>
                          </a:solidFill>
                          <a:effectLst/>
                          <a:uLnTx/>
                          <a:uFillTx/>
                          <a:latin typeface="+mn-lt"/>
                          <a:ea typeface="+mn-ea"/>
                          <a:cs typeface="+mn-cs"/>
                        </a:rPr>
                        <a:t>katılımcılar</a:t>
                      </a:r>
                      <a:r>
                        <a:rPr kumimoji="0" lang="en-US" sz="600" b="0" i="0" u="none" strike="noStrike" kern="1200" cap="none" spc="0" normalizeH="0" baseline="0" noProof="0" dirty="0">
                          <a:ln>
                            <a:noFill/>
                          </a:ln>
                          <a:solidFill>
                            <a:schemeClr val="tx1"/>
                          </a:solidFill>
                          <a:effectLst/>
                          <a:uLnTx/>
                          <a:uFillTx/>
                          <a:latin typeface="+mn-lt"/>
                          <a:ea typeface="+mn-ea"/>
                          <a:cs typeface="+mn-cs"/>
                        </a:rPr>
                        <a:t>, 18-49 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0" i="0" u="none" strike="noStrike" kern="1200" cap="none" spc="0" normalizeH="0" baseline="0" noProof="0" dirty="0" err="1">
                          <a:ln>
                            <a:noFill/>
                          </a:ln>
                          <a:solidFill>
                            <a:schemeClr val="tx1"/>
                          </a:solidFill>
                          <a:effectLst/>
                          <a:uLnTx/>
                          <a:uFillTx/>
                          <a:latin typeface="+mn-lt"/>
                          <a:ea typeface="+mn-ea"/>
                          <a:cs typeface="+mn-cs"/>
                        </a:rPr>
                        <a:t>Güvenlilik</a:t>
                      </a:r>
                      <a:r>
                        <a:rPr kumimoji="0" lang="en-US" sz="600" b="0" i="0" u="none" strike="noStrike" kern="1200" cap="none" spc="0" normalizeH="0" baseline="0" noProof="0" dirty="0">
                          <a:ln>
                            <a:noFill/>
                          </a:ln>
                          <a:solidFill>
                            <a:schemeClr val="tx1"/>
                          </a:solidFill>
                          <a:effectLst/>
                          <a:uLnTx/>
                          <a:uFillTx/>
                          <a:latin typeface="+mn-lt"/>
                          <a:ea typeface="+mn-ea"/>
                          <a:cs typeface="+mn-cs"/>
                        </a:rPr>
                        <a:t> </a:t>
                      </a:r>
                      <a:r>
                        <a:rPr kumimoji="0" lang="en-US" sz="600" b="0" i="0" u="none" strike="noStrike" kern="1200" cap="none" spc="0" normalizeH="0" baseline="0" noProof="0" dirty="0" err="1">
                          <a:ln>
                            <a:noFill/>
                          </a:ln>
                          <a:solidFill>
                            <a:schemeClr val="tx1"/>
                          </a:solidFill>
                          <a:effectLst/>
                          <a:uLnTx/>
                          <a:uFillTx/>
                          <a:latin typeface="+mn-lt"/>
                          <a:ea typeface="+mn-ea"/>
                          <a:cs typeface="+mn-cs"/>
                        </a:rPr>
                        <a:t>ve</a:t>
                      </a:r>
                      <a:r>
                        <a:rPr kumimoji="0" lang="en-US" sz="600" b="0" i="0" u="none" strike="noStrike" kern="1200" cap="none" spc="0" normalizeH="0" baseline="0" noProof="0" dirty="0">
                          <a:ln>
                            <a:noFill/>
                          </a:ln>
                          <a:solidFill>
                            <a:schemeClr val="tx1"/>
                          </a:solidFill>
                          <a:effectLst/>
                          <a:uLnTx/>
                          <a:uFillTx/>
                          <a:latin typeface="+mn-lt"/>
                          <a:ea typeface="+mn-ea"/>
                          <a:cs typeface="+mn-cs"/>
                        </a:rPr>
                        <a:t> </a:t>
                      </a:r>
                      <a:r>
                        <a:rPr kumimoji="0" lang="en-US" sz="600" b="0" i="0" u="none" strike="noStrike" kern="1200" cap="none" spc="0" normalizeH="0" baseline="0" noProof="0" dirty="0" err="1">
                          <a:ln>
                            <a:noFill/>
                          </a:ln>
                          <a:solidFill>
                            <a:schemeClr val="tx1"/>
                          </a:solidFill>
                          <a:effectLst/>
                          <a:uLnTx/>
                          <a:uFillTx/>
                          <a:latin typeface="+mn-lt"/>
                          <a:ea typeface="+mn-ea"/>
                          <a:cs typeface="+mn-cs"/>
                        </a:rPr>
                        <a:t>immünojenisite</a:t>
                      </a:r>
                      <a:r>
                        <a:rPr kumimoji="0" lang="tr-TR" sz="600" b="0" i="0" u="none" strike="noStrike" kern="1200" cap="none" spc="0" normalizeH="0" baseline="0" noProof="0" dirty="0">
                          <a:ln>
                            <a:noFill/>
                          </a:ln>
                          <a:solidFill>
                            <a:schemeClr val="tx1"/>
                          </a:solidFill>
                          <a:effectLst/>
                          <a:uLnTx/>
                          <a:uFillTx/>
                          <a:latin typeface="+mn-lt"/>
                          <a:ea typeface="+mn-ea"/>
                          <a:cs typeface="+mn-cs"/>
                        </a:rPr>
                        <a:t> </a:t>
                      </a:r>
                      <a:r>
                        <a:rPr kumimoji="0" lang="en-US" sz="600" b="0" i="0" u="none" strike="noStrike" kern="1200" cap="none" spc="0" normalizeH="0" baseline="0" noProof="0" dirty="0">
                          <a:ln>
                            <a:noFill/>
                          </a:ln>
                          <a:solidFill>
                            <a:schemeClr val="tx1"/>
                          </a:solidFill>
                          <a:effectLst/>
                          <a:uLnTx/>
                          <a:uFillTx/>
                          <a:latin typeface="+mn-lt"/>
                          <a:ea typeface="+mn-ea"/>
                          <a:cs typeface="+mn-cs"/>
                        </a:rPr>
                        <a:t>± Tdap</a:t>
                      </a:r>
                    </a:p>
                  </a:txBody>
                  <a:tcPr marL="68580" marR="68580" marT="34290" marB="34290" anchor="ctr">
                    <a:lnL w="12700" cmpd="sng">
                      <a:noFill/>
                    </a:lnL>
                    <a:lnR w="12700" cmpd="sng">
                      <a:noFill/>
                    </a:lnR>
                    <a:lnT w="6350" cap="flat" cmpd="sng" algn="ctr">
                      <a:solidFill>
                        <a:schemeClr val="bg1">
                          <a:lumMod val="8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173651"/>
                  </a:ext>
                </a:extLst>
              </a:tr>
              <a:tr h="640080">
                <a:tc vMerge="1">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tx1"/>
                        </a:solidFill>
                        <a:effectLst/>
                        <a:uLnTx/>
                        <a:uFillTx/>
                        <a:latin typeface="+mn-lt"/>
                        <a:ea typeface="+mn-ea"/>
                        <a:cs typeface="+mn-cs"/>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1"/>
                          </a:solidFill>
                          <a:effectLst/>
                          <a:uLnTx/>
                          <a:uFillTx/>
                          <a:latin typeface="+mn-lt"/>
                          <a:ea typeface="+mn-ea"/>
                          <a:cs typeface="+mn-cs"/>
                        </a:rPr>
                        <a:t>Faz 3</a:t>
                      </a:r>
                      <a:r>
                        <a:rPr kumimoji="0" lang="en-US" sz="900" b="1" i="0" u="none" strike="noStrike" kern="1200" cap="none" spc="0" normalizeH="0" baseline="30000" noProof="0" dirty="0">
                          <a:ln>
                            <a:noFill/>
                          </a:ln>
                          <a:solidFill>
                            <a:schemeClr val="tx1"/>
                          </a:solidFill>
                          <a:effectLst/>
                          <a:uLnTx/>
                          <a:uFillTx/>
                          <a:latin typeface="+mn-lt"/>
                          <a:ea typeface="+mn-ea"/>
                          <a:cs typeface="+mn-cs"/>
                        </a:rPr>
                        <a:t>4,6-8</a:t>
                      </a:r>
                      <a:endParaRPr kumimoji="0" lang="en-US" sz="1050" b="1" i="0" u="none" strike="noStrike" kern="1200" cap="none" spc="0" normalizeH="0" baseline="3000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mn-lt"/>
                          <a:ea typeface="+mn-ea"/>
                          <a:cs typeface="+mn-cs"/>
                        </a:rPr>
                        <a:t>MATISS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mn-lt"/>
                          <a:ea typeface="+mn-ea"/>
                          <a:cs typeface="+mn-cs"/>
                        </a:rPr>
                        <a:t>NCT04424316</a:t>
                      </a:r>
                    </a:p>
                  </a:txBody>
                  <a:tcPr marL="68580" marR="68580" marT="34290" marB="34290" anchor="ctr">
                    <a:lnL w="28575" cap="flat" cmpd="sng" algn="ctr">
                      <a:solidFill>
                        <a:srgbClr val="C00000"/>
                      </a:solidFill>
                      <a:prstDash val="solid"/>
                      <a:round/>
                      <a:headEnd type="none" w="med" len="med"/>
                      <a:tailEnd type="none" w="med" len="med"/>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tr-TR" sz="1200" b="1" i="0" u="none" strike="noStrike" kern="1200" cap="none" spc="0" normalizeH="0" baseline="0" noProof="0" dirty="0">
                          <a:ln>
                            <a:noFill/>
                          </a:ln>
                          <a:solidFill>
                            <a:schemeClr val="tx1"/>
                          </a:solidFill>
                          <a:effectLst/>
                          <a:uLnTx/>
                          <a:uFillTx/>
                          <a:latin typeface="+mn-lt"/>
                          <a:ea typeface="+mn-ea"/>
                          <a:cs typeface="+mn-cs"/>
                        </a:rPr>
                        <a:t>G</a:t>
                      </a:r>
                      <a:r>
                        <a:rPr kumimoji="0" lang="en-US" sz="1200" b="1" i="0" u="none" strike="noStrike" kern="1200" cap="none" spc="0" normalizeH="0" baseline="0" noProof="0" dirty="0" err="1">
                          <a:ln>
                            <a:noFill/>
                          </a:ln>
                          <a:solidFill>
                            <a:schemeClr val="tx1"/>
                          </a:solidFill>
                          <a:effectLst/>
                          <a:uLnTx/>
                          <a:uFillTx/>
                          <a:latin typeface="+mn-lt"/>
                          <a:ea typeface="+mn-ea"/>
                          <a:cs typeface="+mn-cs"/>
                        </a:rPr>
                        <a:t>ebe</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tr-TR" sz="1200" b="1" i="0" u="none" strike="noStrike" kern="1200" cap="none" spc="0" normalizeH="0" baseline="0" noProof="0" dirty="0">
                          <a:ln>
                            <a:noFill/>
                          </a:ln>
                          <a:solidFill>
                            <a:schemeClr val="tx1"/>
                          </a:solidFill>
                          <a:effectLst/>
                          <a:uLnTx/>
                          <a:uFillTx/>
                          <a:latin typeface="+mn-lt"/>
                          <a:ea typeface="+mn-ea"/>
                          <a:cs typeface="+mn-cs"/>
                        </a:rPr>
                        <a:t>katılımcılardan</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1" i="0" u="none" strike="noStrike" kern="1200" cap="none" spc="0" normalizeH="0" baseline="0" noProof="0" dirty="0" err="1">
                          <a:ln>
                            <a:noFill/>
                          </a:ln>
                          <a:solidFill>
                            <a:schemeClr val="tx1"/>
                          </a:solidFill>
                          <a:effectLst/>
                          <a:uLnTx/>
                          <a:uFillTx/>
                          <a:latin typeface="+mn-lt"/>
                          <a:ea typeface="+mn-ea"/>
                          <a:cs typeface="+mn-cs"/>
                        </a:rPr>
                        <a:t>doğan</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1" i="0" u="none" strike="noStrike" kern="1200" cap="none" spc="0" normalizeH="0" baseline="0" noProof="0" dirty="0" err="1">
                          <a:ln>
                            <a:noFill/>
                          </a:ln>
                          <a:solidFill>
                            <a:schemeClr val="tx1"/>
                          </a:solidFill>
                          <a:effectLst/>
                          <a:uLnTx/>
                          <a:uFillTx/>
                          <a:latin typeface="+mn-lt"/>
                          <a:ea typeface="+mn-ea"/>
                          <a:cs typeface="+mn-cs"/>
                        </a:rPr>
                        <a:t>bebekler</a:t>
                      </a:r>
                      <a:r>
                        <a:rPr kumimoji="0" lang="en-US" sz="1200" b="1" i="0" u="none" strike="noStrike" kern="1200" cap="none" spc="0" normalizeH="0" baseline="0" noProof="0" dirty="0">
                          <a:ln>
                            <a:noFill/>
                          </a:ln>
                          <a:solidFill>
                            <a:schemeClr val="tx1"/>
                          </a:solidFill>
                          <a:effectLst/>
                          <a:uLnTx/>
                          <a:uFillTx/>
                          <a:latin typeface="+mn-lt"/>
                          <a:ea typeface="+mn-ea"/>
                          <a:cs typeface="+mn-cs"/>
                        </a:rPr>
                        <a:t>, ≤49 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chemeClr val="tx1"/>
                          </a:solidFill>
                          <a:effectLst/>
                          <a:uLnTx/>
                          <a:uFillTx/>
                          <a:latin typeface="+mn-lt"/>
                          <a:ea typeface="+mn-ea"/>
                          <a:cs typeface="+mn-cs"/>
                        </a:rPr>
                        <a:t>Etkinlik</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1" i="0" u="none" strike="noStrike" kern="1200" cap="none" spc="0" normalizeH="0" baseline="0" noProof="0" dirty="0" err="1">
                          <a:ln>
                            <a:noFill/>
                          </a:ln>
                          <a:solidFill>
                            <a:schemeClr val="tx1"/>
                          </a:solidFill>
                          <a:effectLst/>
                          <a:uLnTx/>
                          <a:uFillTx/>
                          <a:latin typeface="+mn-lt"/>
                          <a:ea typeface="+mn-ea"/>
                          <a:cs typeface="+mn-cs"/>
                        </a:rPr>
                        <a:t>immünojenisite</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1" i="0" u="none" strike="noStrike" kern="1200" cap="none" spc="0" normalizeH="0" baseline="0" noProof="0" dirty="0" err="1">
                          <a:ln>
                            <a:noFill/>
                          </a:ln>
                          <a:solidFill>
                            <a:schemeClr val="tx1"/>
                          </a:solidFill>
                          <a:effectLst/>
                          <a:uLnTx/>
                          <a:uFillTx/>
                          <a:latin typeface="+mn-lt"/>
                          <a:ea typeface="+mn-ea"/>
                          <a:cs typeface="+mn-cs"/>
                        </a:rPr>
                        <a:t>ve</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1" i="0" u="none" strike="noStrike" kern="1200" cap="none" spc="0" normalizeH="0" baseline="0" noProof="0" dirty="0" err="1">
                          <a:ln>
                            <a:noFill/>
                          </a:ln>
                          <a:solidFill>
                            <a:schemeClr val="tx1"/>
                          </a:solidFill>
                          <a:effectLst/>
                          <a:uLnTx/>
                          <a:uFillTx/>
                          <a:latin typeface="+mn-lt"/>
                          <a:ea typeface="+mn-ea"/>
                          <a:cs typeface="+mn-cs"/>
                        </a:rPr>
                        <a:t>güvenlilik</a:t>
                      </a: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lnSpc>
                          <a:spcPct val="90000"/>
                        </a:lnSpc>
                        <a:tabLst>
                          <a:tab pos="571500" algn="dec"/>
                        </a:tabLst>
                      </a:pPr>
                      <a:endParaRPr lang="en-US" sz="900" b="1" kern="1200" dirty="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b="1"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b="1"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b="1"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b="1"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b="1"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28575" cap="flat" cmpd="sng" algn="ctr">
                      <a:solidFill>
                        <a:srgbClr val="C00000"/>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235762385"/>
                  </a:ext>
                </a:extLst>
              </a:tr>
              <a:tr h="457200">
                <a:tc rowSpan="4">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tr-TR" sz="1400" b="1" i="0" u="none" strike="noStrike" kern="1200" cap="none" spc="0" normalizeH="0" baseline="0" noProof="0" dirty="0">
                          <a:ln>
                            <a:noFill/>
                          </a:ln>
                          <a:solidFill>
                            <a:schemeClr val="tx1"/>
                          </a:solidFill>
                          <a:effectLst/>
                          <a:uLnTx/>
                          <a:uFillTx/>
                          <a:latin typeface="+mn-lt"/>
                          <a:ea typeface="+mn-ea"/>
                          <a:cs typeface="+mn-cs"/>
                        </a:rPr>
                        <a:t>Yaşlı Yetişkinler</a:t>
                      </a:r>
                      <a:endParaRPr kumimoji="0" lang="en-US" sz="1400" b="1"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ap="flat" cmpd="sng" algn="ctr">
                      <a:solidFill>
                        <a:srgbClr val="F2F2F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1"/>
                          </a:solidFill>
                          <a:effectLst/>
                          <a:uLnTx/>
                          <a:uFillTx/>
                          <a:latin typeface="+mn-lt"/>
                          <a:ea typeface="+mn-ea"/>
                          <a:cs typeface="+mn-cs"/>
                        </a:rPr>
                        <a:t>Faz 1/2</a:t>
                      </a:r>
                      <a:r>
                        <a:rPr kumimoji="0" lang="en-US" sz="600" b="1" i="0" u="none" strike="noStrike" kern="1200" cap="none" spc="0" normalizeH="0" baseline="30000" noProof="0" dirty="0">
                          <a:ln>
                            <a:noFill/>
                          </a:ln>
                          <a:solidFill>
                            <a:schemeClr val="tx1"/>
                          </a:solidFill>
                          <a:effectLst/>
                          <a:uLnTx/>
                          <a:uFillTx/>
                          <a:latin typeface="+mn-lt"/>
                          <a:ea typeface="+mn-ea"/>
                          <a:cs typeface="+mn-cs"/>
                        </a:rPr>
                        <a:t>9,10</a:t>
                      </a:r>
                      <a:endParaRPr kumimoji="0" lang="en-US" sz="6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1" i="0" u="none" strike="noStrike" kern="1200" cap="none" spc="0" normalizeH="0" baseline="0" noProof="0" dirty="0" err="1">
                          <a:ln>
                            <a:noFill/>
                          </a:ln>
                          <a:solidFill>
                            <a:schemeClr val="tx1"/>
                          </a:solidFill>
                          <a:effectLst/>
                          <a:uLnTx/>
                          <a:uFillTx/>
                          <a:latin typeface="+mn-lt"/>
                          <a:ea typeface="+mn-ea"/>
                          <a:cs typeface="+mn-cs"/>
                        </a:rPr>
                        <a:t>insan</a:t>
                      </a:r>
                      <a:r>
                        <a:rPr kumimoji="0" lang="en-US" sz="600" b="1" i="0" u="none" strike="noStrike" kern="1200" cap="none" spc="0" normalizeH="0" baseline="0" noProof="0" dirty="0">
                          <a:ln>
                            <a:noFill/>
                          </a:ln>
                          <a:solidFill>
                            <a:schemeClr val="tx1"/>
                          </a:solidFill>
                          <a:effectLst/>
                          <a:uLnTx/>
                          <a:uFillTx/>
                          <a:latin typeface="+mn-lt"/>
                          <a:ea typeface="+mn-ea"/>
                          <a:cs typeface="+mn-cs"/>
                        </a:rPr>
                        <a:t> </a:t>
                      </a:r>
                      <a:r>
                        <a:rPr kumimoji="0" lang="en-US" sz="600" b="1" i="0" u="none" strike="noStrike" kern="1200" cap="none" spc="0" normalizeH="0" baseline="0" noProof="0" dirty="0" err="1">
                          <a:ln>
                            <a:noFill/>
                          </a:ln>
                          <a:solidFill>
                            <a:schemeClr val="tx1"/>
                          </a:solidFill>
                          <a:effectLst/>
                          <a:uLnTx/>
                          <a:uFillTx/>
                          <a:latin typeface="+mn-lt"/>
                          <a:ea typeface="+mn-ea"/>
                          <a:cs typeface="+mn-cs"/>
                        </a:rPr>
                        <a:t>üzerinde</a:t>
                      </a:r>
                      <a:r>
                        <a:rPr kumimoji="0" lang="en-US" sz="600" b="1" i="0" u="none" strike="noStrike" kern="1200" cap="none" spc="0" normalizeH="0" baseline="0" noProof="0" dirty="0">
                          <a:ln>
                            <a:noFill/>
                          </a:ln>
                          <a:solidFill>
                            <a:schemeClr val="tx1"/>
                          </a:solidFill>
                          <a:effectLst/>
                          <a:uLnTx/>
                          <a:uFillTx/>
                          <a:latin typeface="+mn-lt"/>
                          <a:ea typeface="+mn-ea"/>
                          <a:cs typeface="+mn-cs"/>
                        </a:rPr>
                        <a:t> ilk </a:t>
                      </a:r>
                      <a:r>
                        <a:rPr kumimoji="0" lang="en-US" sz="600" b="1" i="0" u="none" strike="noStrike" kern="1200" cap="none" spc="0" normalizeH="0" baseline="0" noProof="0" dirty="0" err="1">
                          <a:ln>
                            <a:noFill/>
                          </a:ln>
                          <a:solidFill>
                            <a:schemeClr val="tx1"/>
                          </a:solidFill>
                          <a:effectLst/>
                          <a:uLnTx/>
                          <a:uFillTx/>
                          <a:latin typeface="+mn-lt"/>
                          <a:ea typeface="+mn-ea"/>
                          <a:cs typeface="+mn-cs"/>
                        </a:rPr>
                        <a:t>deneme</a:t>
                      </a:r>
                      <a:r>
                        <a:rPr kumimoji="0" lang="en-US" sz="600" b="1" i="0" u="none" strike="noStrike" kern="1200" cap="none" spc="0" normalizeH="0" baseline="0" noProof="0" dirty="0">
                          <a:ln>
                            <a:noFill/>
                          </a:ln>
                          <a:solidFill>
                            <a:schemeClr val="tx1"/>
                          </a:solidFill>
                          <a:effectLst/>
                          <a:uLnTx/>
                          <a:uFillTx/>
                          <a:latin typeface="+mn-lt"/>
                          <a:ea typeface="+mn-ea"/>
                          <a:cs typeface="+mn-cs"/>
                        </a:rPr>
                        <a:t> NCT03572062</a:t>
                      </a:r>
                      <a:endParaRPr kumimoji="0" lang="en-US" sz="600" b="1" i="0" u="none" strike="noStrike" kern="1200" cap="none" spc="0" normalizeH="0" baseline="30000" noProof="0" dirty="0">
                        <a:ln>
                          <a:noFill/>
                        </a:ln>
                        <a:solidFill>
                          <a:schemeClr val="tx1"/>
                        </a:solidFill>
                        <a:effectLst/>
                        <a:uLnTx/>
                        <a:uFillTx/>
                        <a:latin typeface="+mn-lt"/>
                        <a:ea typeface="+mn-ea"/>
                        <a:cs typeface="+mn-cs"/>
                      </a:endParaRPr>
                    </a:p>
                  </a:txBody>
                  <a:tcPr marL="68580" marR="68580" marT="34290" marB="34290" anchor="ctr">
                    <a:lnL w="12700" cap="flat" cmpd="sng" algn="ctr">
                      <a:solidFill>
                        <a:srgbClr val="F2F2F2"/>
                      </a:solidFill>
                      <a:prstDash val="solid"/>
                      <a:round/>
                      <a:headEnd type="none" w="med" len="med"/>
                      <a:tailEnd type="none" w="med" len="med"/>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tr-TR" sz="600" b="0" i="0" u="none" strike="noStrike" kern="1200" cap="none" spc="0" normalizeH="0" baseline="0" noProof="0" dirty="0">
                          <a:ln>
                            <a:noFill/>
                          </a:ln>
                          <a:solidFill>
                            <a:schemeClr val="tx1"/>
                          </a:solidFill>
                          <a:effectLst/>
                          <a:uLnTx/>
                          <a:uFillTx/>
                          <a:latin typeface="+mn-lt"/>
                          <a:ea typeface="+mn-ea"/>
                          <a:cs typeface="+mn-cs"/>
                        </a:rPr>
                        <a:t>Yetişkinler</a:t>
                      </a:r>
                      <a:r>
                        <a:rPr kumimoji="0" lang="en-US" sz="600" b="0" i="0" u="none" strike="noStrike" kern="1200" cap="none" spc="0" normalizeH="0" baseline="0" noProof="0" dirty="0">
                          <a:ln>
                            <a:noFill/>
                          </a:ln>
                          <a:solidFill>
                            <a:schemeClr val="tx1"/>
                          </a:solidFill>
                          <a:effectLst/>
                          <a:uLnTx/>
                          <a:uFillTx/>
                          <a:latin typeface="+mn-lt"/>
                          <a:ea typeface="+mn-ea"/>
                          <a:cs typeface="+mn-cs"/>
                        </a:rPr>
                        <a:t>, 65-85 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0" i="0" u="none" strike="noStrike" kern="1200" cap="none" spc="0" normalizeH="0" baseline="0" noProof="0" dirty="0" err="1">
                          <a:ln>
                            <a:noFill/>
                          </a:ln>
                          <a:solidFill>
                            <a:schemeClr val="tx1"/>
                          </a:solidFill>
                          <a:effectLst/>
                          <a:uLnTx/>
                          <a:uFillTx/>
                          <a:latin typeface="+mn-lt"/>
                          <a:ea typeface="+mn-ea"/>
                          <a:cs typeface="+mn-cs"/>
                        </a:rPr>
                        <a:t>Güvenlilik</a:t>
                      </a:r>
                      <a:r>
                        <a:rPr kumimoji="0" lang="en-US" sz="600" b="0" i="0" u="none" strike="noStrike" kern="1200" cap="none" spc="0" normalizeH="0" baseline="0" noProof="0" dirty="0">
                          <a:ln>
                            <a:noFill/>
                          </a:ln>
                          <a:solidFill>
                            <a:schemeClr val="tx1"/>
                          </a:solidFill>
                          <a:effectLst/>
                          <a:uLnTx/>
                          <a:uFillTx/>
                          <a:latin typeface="+mn-lt"/>
                          <a:ea typeface="+mn-ea"/>
                          <a:cs typeface="+mn-cs"/>
                        </a:rPr>
                        <a:t> </a:t>
                      </a:r>
                      <a:r>
                        <a:rPr kumimoji="0" lang="en-US" sz="600" b="0" i="0" u="none" strike="noStrike" kern="1200" cap="none" spc="0" normalizeH="0" baseline="0" noProof="0" dirty="0" err="1">
                          <a:ln>
                            <a:noFill/>
                          </a:ln>
                          <a:solidFill>
                            <a:schemeClr val="tx1"/>
                          </a:solidFill>
                          <a:effectLst/>
                          <a:uLnTx/>
                          <a:uFillTx/>
                          <a:latin typeface="+mn-lt"/>
                          <a:ea typeface="+mn-ea"/>
                          <a:cs typeface="+mn-cs"/>
                        </a:rPr>
                        <a:t>ve</a:t>
                      </a:r>
                      <a:r>
                        <a:rPr kumimoji="0" lang="en-US" sz="600" b="0" i="0" u="none" strike="noStrike" kern="1200" cap="none" spc="0" normalizeH="0" baseline="0" noProof="0" dirty="0">
                          <a:ln>
                            <a:noFill/>
                          </a:ln>
                          <a:solidFill>
                            <a:schemeClr val="tx1"/>
                          </a:solidFill>
                          <a:effectLst/>
                          <a:uLnTx/>
                          <a:uFillTx/>
                          <a:latin typeface="+mn-lt"/>
                          <a:ea typeface="+mn-ea"/>
                          <a:cs typeface="+mn-cs"/>
                        </a:rPr>
                        <a:t> </a:t>
                      </a:r>
                      <a:r>
                        <a:rPr kumimoji="0" lang="en-US" sz="600" b="0" i="0" u="none" strike="noStrike" kern="1200" cap="none" spc="0" normalizeH="0" baseline="0" noProof="0" dirty="0" err="1">
                          <a:ln>
                            <a:noFill/>
                          </a:ln>
                          <a:solidFill>
                            <a:schemeClr val="tx1"/>
                          </a:solidFill>
                          <a:effectLst/>
                          <a:uLnTx/>
                          <a:uFillTx/>
                          <a:latin typeface="+mn-lt"/>
                          <a:ea typeface="+mn-ea"/>
                          <a:cs typeface="+mn-cs"/>
                        </a:rPr>
                        <a:t>immünojenisite</a:t>
                      </a: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lnSpc>
                          <a:spcPct val="90000"/>
                        </a:lnSpc>
                        <a:tabLst>
                          <a:tab pos="571500" algn="dec"/>
                        </a:tabLst>
                      </a:pPr>
                      <a:endParaRPr lang="en-US" sz="600" kern="1200" dirty="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0000C9"/>
                    </a:solid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0000C9"/>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no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1953769"/>
                  </a:ext>
                </a:extLst>
              </a:tr>
              <a:tr h="822960">
                <a:tc vMerge="1">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tx1"/>
                        </a:solidFill>
                        <a:effectLst/>
                        <a:uLnTx/>
                        <a:uFillTx/>
                        <a:latin typeface="+mn-lt"/>
                        <a:ea typeface="+mn-ea"/>
                        <a:cs typeface="+mn-cs"/>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1"/>
                          </a:solidFill>
                          <a:effectLst/>
                          <a:uLnTx/>
                          <a:uFillTx/>
                          <a:latin typeface="+mn-lt"/>
                          <a:ea typeface="+mn-ea"/>
                          <a:cs typeface="+mn-cs"/>
                        </a:rPr>
                        <a:t>Faz 2</a:t>
                      </a:r>
                      <a:r>
                        <a:rPr kumimoji="0" lang="en-US" sz="600" b="1" i="0" u="none" strike="noStrike" kern="1200" cap="none" spc="0" normalizeH="0" baseline="30000" noProof="0" dirty="0">
                          <a:ln>
                            <a:noFill/>
                          </a:ln>
                          <a:solidFill>
                            <a:schemeClr val="tx1"/>
                          </a:solidFill>
                          <a:effectLst/>
                          <a:uLnTx/>
                          <a:uFillTx/>
                          <a:latin typeface="+mn-lt"/>
                          <a:ea typeface="+mn-ea"/>
                          <a:cs typeface="+mn-cs"/>
                        </a:rPr>
                        <a:t>11,12</a:t>
                      </a:r>
                      <a:endParaRPr kumimoji="0" lang="en-US" sz="6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mn-lt"/>
                          <a:ea typeface="+mn-ea"/>
                          <a:cs typeface="+mn-cs"/>
                        </a:rPr>
                        <a:t>ADJUVAN</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1" i="0" u="none" strike="noStrike" kern="1200" cap="none" spc="0" normalizeH="0" baseline="0" noProof="0" dirty="0" err="1">
                          <a:ln>
                            <a:noFill/>
                          </a:ln>
                          <a:solidFill>
                            <a:schemeClr val="tx1"/>
                          </a:solidFill>
                          <a:effectLst/>
                          <a:uLnTx/>
                          <a:uFillTx/>
                          <a:latin typeface="+mn-lt"/>
                          <a:ea typeface="+mn-ea"/>
                          <a:cs typeface="+mn-cs"/>
                        </a:rPr>
                        <a:t>değerlendirme</a:t>
                      </a: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1" i="0" u="none" strike="noStrike" kern="1200" cap="none" spc="0" normalizeH="0" baseline="0" dirty="0">
                          <a:ln>
                            <a:noFill/>
                          </a:ln>
                          <a:solidFill>
                            <a:schemeClr val="tx1"/>
                          </a:solidFill>
                          <a:effectLst/>
                          <a:uLnTx/>
                          <a:uFillTx/>
                          <a:latin typeface="+mn-lt"/>
                          <a:ea typeface="+mn-ea"/>
                          <a:cs typeface="+mn-cs"/>
                        </a:rPr>
                        <a:t>NCT05886777</a:t>
                      </a:r>
                      <a:endParaRPr kumimoji="0" lang="en-US" sz="600" b="1"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28575" cap="flat" cmpd="sng" algn="ctr">
                      <a:solidFill>
                        <a:srgbClr val="C00000"/>
                      </a:solidFill>
                      <a:prstDash val="solid"/>
                      <a:round/>
                      <a:headEnd type="none" w="med" len="med"/>
                      <a:tailEnd type="none" w="med" len="med"/>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tr-TR" sz="1200" b="1" i="0" u="none" strike="noStrike" kern="1200" cap="none" spc="0" normalizeH="0" baseline="0" noProof="0" dirty="0">
                          <a:ln>
                            <a:noFill/>
                          </a:ln>
                          <a:solidFill>
                            <a:schemeClr val="tx1"/>
                          </a:solidFill>
                          <a:effectLst/>
                          <a:uLnTx/>
                          <a:uFillTx/>
                          <a:latin typeface="+mn-lt"/>
                          <a:ea typeface="+mn-ea"/>
                          <a:cs typeface="+mn-cs"/>
                        </a:rPr>
                        <a:t>Yetişkinler</a:t>
                      </a:r>
                      <a:r>
                        <a:rPr kumimoji="0" lang="en-US" sz="1200" b="1" i="0" u="none" strike="noStrike" kern="1200" cap="none" spc="0" normalizeH="0" baseline="0" noProof="0" dirty="0">
                          <a:ln>
                            <a:noFill/>
                          </a:ln>
                          <a:solidFill>
                            <a:schemeClr val="tx1"/>
                          </a:solidFill>
                          <a:effectLst/>
                          <a:uLnTx/>
                          <a:uFillTx/>
                          <a:latin typeface="+mn-lt"/>
                          <a:ea typeface="+mn-ea"/>
                          <a:cs typeface="+mn-cs"/>
                        </a:rPr>
                        <a:t>, 65-85 y </a:t>
                      </a:r>
                      <a:r>
                        <a:rPr kumimoji="0" lang="en-US" sz="1200" b="1" i="0" u="none" strike="noStrike" kern="1200" cap="none" spc="0" normalizeH="0" baseline="0" noProof="0" dirty="0" err="1">
                          <a:ln>
                            <a:noFill/>
                          </a:ln>
                          <a:solidFill>
                            <a:schemeClr val="tx1"/>
                          </a:solidFill>
                          <a:effectLst/>
                          <a:uLnTx/>
                          <a:uFillTx/>
                          <a:latin typeface="+mn-lt"/>
                          <a:ea typeface="+mn-ea"/>
                          <a:cs typeface="+mn-cs"/>
                        </a:rPr>
                        <a:t>immünojenisite</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1" i="0" u="none" strike="noStrike" kern="1200" cap="none" spc="0" normalizeH="0" baseline="0" noProof="0" dirty="0" err="1">
                          <a:ln>
                            <a:noFill/>
                          </a:ln>
                          <a:solidFill>
                            <a:schemeClr val="tx1"/>
                          </a:solidFill>
                          <a:effectLst/>
                          <a:uLnTx/>
                          <a:uFillTx/>
                          <a:latin typeface="+mn-lt"/>
                          <a:ea typeface="+mn-ea"/>
                          <a:cs typeface="+mn-cs"/>
                        </a:rPr>
                        <a:t>ve</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1" i="0" u="none" strike="noStrike" kern="1200" cap="none" spc="0" normalizeH="0" baseline="0" noProof="0" dirty="0" err="1">
                          <a:ln>
                            <a:noFill/>
                          </a:ln>
                          <a:solidFill>
                            <a:schemeClr val="tx1"/>
                          </a:solidFill>
                          <a:effectLst/>
                          <a:uLnTx/>
                          <a:uFillTx/>
                          <a:latin typeface="+mn-lt"/>
                          <a:ea typeface="+mn-ea"/>
                          <a:cs typeface="+mn-cs"/>
                        </a:rPr>
                        <a:t>güvenlilik</a:t>
                      </a: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28575" cap="flat" cmpd="sng" algn="ctr">
                      <a:solidFill>
                        <a:srgbClr val="C00000"/>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2283274"/>
                  </a:ext>
                </a:extLst>
              </a:tr>
              <a:tr h="431334">
                <a:tc vMerge="1">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tx1"/>
                        </a:solidFill>
                        <a:effectLst/>
                        <a:uLnTx/>
                        <a:uFillTx/>
                        <a:latin typeface="+mn-lt"/>
                        <a:ea typeface="+mn-ea"/>
                        <a:cs typeface="+mn-cs"/>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1"/>
                          </a:solidFill>
                          <a:effectLst/>
                          <a:uLnTx/>
                          <a:uFillTx/>
                          <a:latin typeface="+mn-lt"/>
                          <a:ea typeface="+mn-ea"/>
                          <a:cs typeface="+mn-cs"/>
                        </a:rPr>
                        <a:t>Faz 3</a:t>
                      </a:r>
                      <a:r>
                        <a:rPr kumimoji="0" lang="en-US" sz="600" b="1" i="0" u="none" strike="noStrike" kern="1200" cap="none" spc="0" normalizeH="0" baseline="30000" noProof="0" dirty="0">
                          <a:ln>
                            <a:noFill/>
                          </a:ln>
                          <a:solidFill>
                            <a:schemeClr val="tx1"/>
                          </a:solidFill>
                          <a:effectLst/>
                          <a:uLnTx/>
                          <a:uFillTx/>
                          <a:latin typeface="+mn-lt"/>
                          <a:ea typeface="+mn-ea"/>
                          <a:cs typeface="+mn-cs"/>
                        </a:rPr>
                        <a:t>13</a:t>
                      </a:r>
                      <a:endParaRPr kumimoji="0" lang="en-US" sz="6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1"/>
                          </a:solidFill>
                          <a:effectLst/>
                          <a:uLnTx/>
                          <a:uFillTx/>
                          <a:latin typeface="+mn-lt"/>
                          <a:ea typeface="+mn-ea"/>
                          <a:cs typeface="+mn-cs"/>
                        </a:rPr>
                        <a:t>NCT05301322</a:t>
                      </a:r>
                      <a:endParaRPr kumimoji="0" lang="en-US" sz="600" b="1" i="0" u="none" strike="noStrike" kern="1200" cap="none" spc="0" normalizeH="0" baseline="30000" noProof="0" dirty="0">
                        <a:ln>
                          <a:noFill/>
                        </a:ln>
                        <a:solidFill>
                          <a:schemeClr val="tx1"/>
                        </a:solidFill>
                        <a:effectLst/>
                        <a:uLnTx/>
                        <a:uFillTx/>
                        <a:latin typeface="+mn-lt"/>
                        <a:ea typeface="+mn-ea"/>
                        <a:cs typeface="+mn-cs"/>
                      </a:endParaRPr>
                    </a:p>
                  </a:txBody>
                  <a:tcPr marL="68580" marR="68580" marT="34290" marB="34290" anchor="ctr">
                    <a:lnL w="12700" cap="flat" cmpd="sng" algn="ctr">
                      <a:solidFill>
                        <a:srgbClr val="F2F2F2"/>
                      </a:solidFill>
                      <a:prstDash val="solid"/>
                      <a:round/>
                      <a:headEnd type="none" w="med" len="med"/>
                      <a:tailEnd type="none" w="med" len="med"/>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tr-TR" sz="600" b="0" i="0" u="none" strike="noStrike" kern="1200" cap="none" spc="0" normalizeH="0" baseline="0" noProof="0" dirty="0">
                          <a:ln>
                            <a:noFill/>
                          </a:ln>
                          <a:solidFill>
                            <a:schemeClr val="tx1"/>
                          </a:solidFill>
                          <a:effectLst/>
                          <a:uLnTx/>
                          <a:uFillTx/>
                          <a:latin typeface="+mn-lt"/>
                          <a:ea typeface="+mn-ea"/>
                          <a:cs typeface="+mn-cs"/>
                        </a:rPr>
                        <a:t>Yetişkinler</a:t>
                      </a:r>
                      <a:r>
                        <a:rPr kumimoji="0" lang="en-US" sz="600" b="0" i="0" u="none" strike="noStrike" kern="1200" cap="none" spc="0" normalizeH="0" baseline="0" noProof="0" dirty="0">
                          <a:ln>
                            <a:noFill/>
                          </a:ln>
                          <a:solidFill>
                            <a:schemeClr val="tx1"/>
                          </a:solidFill>
                          <a:effectLst/>
                          <a:uLnTx/>
                          <a:uFillTx/>
                          <a:latin typeface="+mn-lt"/>
                          <a:ea typeface="+mn-ea"/>
                          <a:cs typeface="+mn-cs"/>
                        </a:rPr>
                        <a:t>, ≥65 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0" i="0" u="none" strike="noStrike" kern="1200" cap="none" spc="0" normalizeH="0" baseline="0" noProof="0" dirty="0" err="1">
                          <a:ln>
                            <a:noFill/>
                          </a:ln>
                          <a:solidFill>
                            <a:schemeClr val="tx1"/>
                          </a:solidFill>
                          <a:effectLst/>
                          <a:uLnTx/>
                          <a:uFillTx/>
                          <a:latin typeface="+mn-lt"/>
                          <a:ea typeface="+mn-ea"/>
                          <a:cs typeface="+mn-cs"/>
                        </a:rPr>
                        <a:t>Güvenlilik</a:t>
                      </a:r>
                      <a:r>
                        <a:rPr kumimoji="0" lang="en-US" sz="600" b="0" i="0" u="none" strike="noStrike" kern="1200" cap="none" spc="0" normalizeH="0" baseline="0" noProof="0" dirty="0">
                          <a:ln>
                            <a:noFill/>
                          </a:ln>
                          <a:solidFill>
                            <a:schemeClr val="tx1"/>
                          </a:solidFill>
                          <a:effectLst/>
                          <a:uLnTx/>
                          <a:uFillTx/>
                          <a:latin typeface="+mn-lt"/>
                          <a:ea typeface="+mn-ea"/>
                          <a:cs typeface="+mn-cs"/>
                        </a:rPr>
                        <a:t> </a:t>
                      </a:r>
                      <a:r>
                        <a:rPr kumimoji="0" lang="en-US" sz="600" b="0" i="0" u="none" strike="noStrike" kern="1200" cap="none" spc="0" normalizeH="0" baseline="0" noProof="0" dirty="0" err="1">
                          <a:ln>
                            <a:noFill/>
                          </a:ln>
                          <a:solidFill>
                            <a:schemeClr val="tx1"/>
                          </a:solidFill>
                          <a:effectLst/>
                          <a:uLnTx/>
                          <a:uFillTx/>
                          <a:latin typeface="+mn-lt"/>
                          <a:ea typeface="+mn-ea"/>
                          <a:cs typeface="+mn-cs"/>
                        </a:rPr>
                        <a:t>ve</a:t>
                      </a:r>
                      <a:r>
                        <a:rPr kumimoji="0" lang="en-US" sz="600" b="0" i="0" u="none" strike="noStrike" kern="1200" cap="none" spc="0" normalizeH="0" baseline="0" noProof="0" dirty="0">
                          <a:ln>
                            <a:noFill/>
                          </a:ln>
                          <a:solidFill>
                            <a:schemeClr val="tx1"/>
                          </a:solidFill>
                          <a:effectLst/>
                          <a:uLnTx/>
                          <a:uFillTx/>
                          <a:latin typeface="+mn-lt"/>
                          <a:ea typeface="+mn-ea"/>
                          <a:cs typeface="+mn-cs"/>
                        </a:rPr>
                        <a:t> </a:t>
                      </a:r>
                      <a:r>
                        <a:rPr kumimoji="0" lang="en-US" sz="600" b="0" i="0" u="none" strike="noStrike" kern="1200" cap="none" spc="0" normalizeH="0" baseline="0" noProof="0" dirty="0" err="1">
                          <a:ln>
                            <a:noFill/>
                          </a:ln>
                          <a:solidFill>
                            <a:schemeClr val="tx1"/>
                          </a:solidFill>
                          <a:effectLst/>
                          <a:uLnTx/>
                          <a:uFillTx/>
                          <a:latin typeface="+mn-lt"/>
                          <a:ea typeface="+mn-ea"/>
                          <a:cs typeface="+mn-cs"/>
                        </a:rPr>
                        <a:t>immünojenisite</a:t>
                      </a:r>
                      <a:r>
                        <a:rPr kumimoji="0" lang="tr-TR" sz="600" b="0" i="0" u="none" strike="noStrike" kern="1200" cap="none" spc="0" normalizeH="0" baseline="0" noProof="0" dirty="0">
                          <a:ln>
                            <a:noFill/>
                          </a:ln>
                          <a:solidFill>
                            <a:schemeClr val="tx1"/>
                          </a:solidFill>
                          <a:effectLst/>
                          <a:uLnTx/>
                          <a:uFillTx/>
                          <a:latin typeface="+mn-lt"/>
                          <a:ea typeface="+mn-ea"/>
                          <a:cs typeface="+mn-cs"/>
                        </a:rPr>
                        <a:t> </a:t>
                      </a:r>
                      <a:r>
                        <a:rPr kumimoji="0" lang="en-US" sz="600" b="0" i="0" u="none" strike="noStrike" kern="1200" cap="none" spc="0" normalizeH="0" baseline="0" noProof="0" dirty="0">
                          <a:ln>
                            <a:noFill/>
                          </a:ln>
                          <a:solidFill>
                            <a:schemeClr val="tx1"/>
                          </a:solidFill>
                          <a:effectLst/>
                          <a:uLnTx/>
                          <a:uFillTx/>
                          <a:latin typeface="+mn-lt"/>
                          <a:ea typeface="+mn-ea"/>
                          <a:cs typeface="+mn-cs"/>
                        </a:rPr>
                        <a:t>+ SIIV</a:t>
                      </a:r>
                    </a:p>
                  </a:txBody>
                  <a:tcPr marL="68580" marR="68580" marT="34290" marB="34290" anchor="ctr">
                    <a:lnL w="12700" cmpd="sng">
                      <a:noFill/>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lnSpc>
                          <a:spcPct val="90000"/>
                        </a:lnSpc>
                        <a:tabLst>
                          <a:tab pos="571500" algn="dec"/>
                        </a:tabLst>
                      </a:pPr>
                      <a:endParaRPr lang="en-US" sz="600" kern="1200" dirty="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6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6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6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6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6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no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4299311"/>
                  </a:ext>
                </a:extLst>
              </a:tr>
              <a:tr h="640080">
                <a:tc vMerge="1">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tx1"/>
                        </a:solidFill>
                        <a:effectLst/>
                        <a:uLnTx/>
                        <a:uFillTx/>
                        <a:latin typeface="+mn-lt"/>
                        <a:ea typeface="+mn-ea"/>
                        <a:cs typeface="+mn-cs"/>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1"/>
                          </a:solidFill>
                          <a:effectLst/>
                          <a:uLnTx/>
                          <a:uFillTx/>
                          <a:latin typeface="+mn-lt"/>
                          <a:ea typeface="+mn-ea"/>
                          <a:cs typeface="+mn-cs"/>
                        </a:rPr>
                        <a:t>Faz 3</a:t>
                      </a:r>
                      <a:r>
                        <a:rPr kumimoji="0" lang="en-US" sz="900" b="1" i="0" u="none" strike="noStrike" kern="1200" cap="none" spc="0" normalizeH="0" baseline="30000" noProof="0" dirty="0">
                          <a:ln>
                            <a:noFill/>
                          </a:ln>
                          <a:solidFill>
                            <a:schemeClr val="tx1"/>
                          </a:solidFill>
                          <a:effectLst/>
                          <a:uLnTx/>
                          <a:uFillTx/>
                          <a:latin typeface="+mn-lt"/>
                          <a:ea typeface="+mn-ea"/>
                          <a:cs typeface="+mn-cs"/>
                        </a:rPr>
                        <a:t>14</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mn-lt"/>
                          <a:ea typeface="+mn-ea"/>
                          <a:cs typeface="+mn-cs"/>
                        </a:rPr>
                        <a:t>RENOI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1"/>
                          </a:solidFill>
                          <a:effectLst/>
                          <a:uLnTx/>
                          <a:uFillTx/>
                          <a:latin typeface="+mn-lt"/>
                          <a:ea typeface="+mn-ea"/>
                          <a:cs typeface="+mn-cs"/>
                        </a:rPr>
                        <a:t>NCT05035212</a:t>
                      </a:r>
                      <a:endParaRPr kumimoji="0" lang="en-US" sz="900" b="1" i="0" u="none" strike="noStrike" kern="1200" cap="none" spc="0" normalizeH="0" baseline="30000" noProof="0" dirty="0">
                        <a:ln>
                          <a:noFill/>
                        </a:ln>
                        <a:solidFill>
                          <a:schemeClr val="tx1"/>
                        </a:solidFill>
                        <a:effectLst/>
                        <a:uLnTx/>
                        <a:uFillTx/>
                        <a:latin typeface="+mn-lt"/>
                        <a:ea typeface="+mn-ea"/>
                        <a:cs typeface="+mn-cs"/>
                      </a:endParaRPr>
                    </a:p>
                  </a:txBody>
                  <a:tcPr marL="68580" marR="68580" marT="34290" marB="34290" anchor="ctr">
                    <a:lnL w="28575" cap="flat" cmpd="sng" algn="ctr">
                      <a:solidFill>
                        <a:srgbClr val="C00000"/>
                      </a:solidFill>
                      <a:prstDash val="solid"/>
                      <a:round/>
                      <a:headEnd type="none" w="med" len="med"/>
                      <a:tailEnd type="none" w="med" len="med"/>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tr-TR" sz="1050" b="1" i="0" u="none" strike="noStrike" kern="1200" cap="none" spc="0" normalizeH="0" baseline="0" noProof="0" dirty="0">
                          <a:ln>
                            <a:noFill/>
                          </a:ln>
                          <a:solidFill>
                            <a:schemeClr val="tx1"/>
                          </a:solidFill>
                          <a:effectLst/>
                          <a:uLnTx/>
                          <a:uFillTx/>
                          <a:latin typeface="+mn-lt"/>
                          <a:ea typeface="+mn-ea"/>
                          <a:cs typeface="+mn-cs"/>
                        </a:rPr>
                        <a:t>Yetişkinler</a:t>
                      </a:r>
                      <a:r>
                        <a:rPr kumimoji="0" lang="en-US" sz="1050" b="1" i="0" u="none" strike="noStrike" kern="1200" cap="none" spc="0" normalizeH="0" baseline="0" noProof="0" dirty="0">
                          <a:ln>
                            <a:noFill/>
                          </a:ln>
                          <a:solidFill>
                            <a:schemeClr val="tx1"/>
                          </a:solidFill>
                          <a:effectLst/>
                          <a:uLnTx/>
                          <a:uFillTx/>
                          <a:latin typeface="+mn-lt"/>
                          <a:ea typeface="+mn-ea"/>
                          <a:cs typeface="+mn-cs"/>
                        </a:rPr>
                        <a:t>, ≥60 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dirty="0" err="1">
                          <a:ln>
                            <a:noFill/>
                          </a:ln>
                          <a:solidFill>
                            <a:schemeClr val="tx1"/>
                          </a:solidFill>
                          <a:effectLst/>
                          <a:uLnTx/>
                          <a:uFillTx/>
                          <a:latin typeface="+mn-lt"/>
                          <a:ea typeface="+mn-ea"/>
                          <a:cs typeface="+mn-cs"/>
                        </a:rPr>
                        <a:t>Etkinlik</a:t>
                      </a:r>
                      <a:r>
                        <a:rPr kumimoji="0" lang="en-US" sz="1050" b="1" i="0" u="none" strike="noStrike" kern="1200" cap="none" spc="0" normalizeH="0" baseline="0" noProof="0" dirty="0">
                          <a:ln>
                            <a:noFill/>
                          </a:ln>
                          <a:solidFill>
                            <a:schemeClr val="tx1"/>
                          </a:solidFill>
                          <a:effectLst/>
                          <a:uLnTx/>
                          <a:uFillTx/>
                          <a:latin typeface="+mn-lt"/>
                          <a:ea typeface="+mn-ea"/>
                          <a:cs typeface="+mn-cs"/>
                        </a:rPr>
                        <a:t>, </a:t>
                      </a:r>
                      <a:r>
                        <a:rPr kumimoji="0" lang="en-US" sz="1050" b="1" i="0" u="none" strike="noStrike" kern="1200" cap="none" spc="0" normalizeH="0" baseline="0" noProof="0" dirty="0" err="1">
                          <a:ln>
                            <a:noFill/>
                          </a:ln>
                          <a:solidFill>
                            <a:schemeClr val="tx1"/>
                          </a:solidFill>
                          <a:effectLst/>
                          <a:uLnTx/>
                          <a:uFillTx/>
                          <a:latin typeface="+mn-lt"/>
                          <a:ea typeface="+mn-ea"/>
                          <a:cs typeface="+mn-cs"/>
                        </a:rPr>
                        <a:t>immünojenisite</a:t>
                      </a:r>
                      <a:r>
                        <a:rPr kumimoji="0" lang="en-US" sz="1050" b="1" i="0" u="none" strike="noStrike" kern="1200" cap="none" spc="0" normalizeH="0" baseline="0" noProof="0" dirty="0">
                          <a:ln>
                            <a:noFill/>
                          </a:ln>
                          <a:solidFill>
                            <a:schemeClr val="tx1"/>
                          </a:solidFill>
                          <a:effectLst/>
                          <a:uLnTx/>
                          <a:uFillTx/>
                          <a:latin typeface="+mn-lt"/>
                          <a:ea typeface="+mn-ea"/>
                          <a:cs typeface="+mn-cs"/>
                        </a:rPr>
                        <a:t> </a:t>
                      </a:r>
                      <a:r>
                        <a:rPr kumimoji="0" lang="en-US" sz="1050" b="1" i="0" u="none" strike="noStrike" kern="1200" cap="none" spc="0" normalizeH="0" baseline="0" noProof="0" dirty="0" err="1">
                          <a:ln>
                            <a:noFill/>
                          </a:ln>
                          <a:solidFill>
                            <a:schemeClr val="tx1"/>
                          </a:solidFill>
                          <a:effectLst/>
                          <a:uLnTx/>
                          <a:uFillTx/>
                          <a:latin typeface="+mn-lt"/>
                          <a:ea typeface="+mn-ea"/>
                          <a:cs typeface="+mn-cs"/>
                        </a:rPr>
                        <a:t>ve</a:t>
                      </a:r>
                      <a:r>
                        <a:rPr kumimoji="0" lang="en-US" sz="1050" b="1" i="0" u="none" strike="noStrike" kern="1200" cap="none" spc="0" normalizeH="0" baseline="0" noProof="0" dirty="0">
                          <a:ln>
                            <a:noFill/>
                          </a:ln>
                          <a:solidFill>
                            <a:schemeClr val="tx1"/>
                          </a:solidFill>
                          <a:effectLst/>
                          <a:uLnTx/>
                          <a:uFillTx/>
                          <a:latin typeface="+mn-lt"/>
                          <a:ea typeface="+mn-ea"/>
                          <a:cs typeface="+mn-cs"/>
                        </a:rPr>
                        <a:t> </a:t>
                      </a:r>
                      <a:r>
                        <a:rPr kumimoji="0" lang="en-US" sz="1050" b="1" i="0" u="none" strike="noStrike" kern="1200" cap="none" spc="0" normalizeH="0" baseline="0" noProof="0" dirty="0" err="1">
                          <a:ln>
                            <a:noFill/>
                          </a:ln>
                          <a:solidFill>
                            <a:schemeClr val="tx1"/>
                          </a:solidFill>
                          <a:effectLst/>
                          <a:uLnTx/>
                          <a:uFillTx/>
                          <a:latin typeface="+mn-lt"/>
                          <a:ea typeface="+mn-ea"/>
                          <a:cs typeface="+mn-cs"/>
                        </a:rPr>
                        <a:t>güvenlilik</a:t>
                      </a:r>
                      <a:endParaRPr kumimoji="0" lang="tr-TR" sz="1050" b="1"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lnSpc>
                          <a:spcPct val="90000"/>
                        </a:lnSpc>
                        <a:tabLst>
                          <a:tab pos="571500" algn="dec"/>
                        </a:tabLst>
                      </a:pPr>
                      <a:endParaRPr lang="en-US" sz="800" kern="1200" dirty="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28575" cap="flat" cmpd="sng" algn="ctr">
                      <a:solidFill>
                        <a:srgbClr val="C00000"/>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406152311"/>
                  </a:ext>
                </a:extLst>
              </a:tr>
              <a:tr h="640080">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28575"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1"/>
                          </a:solidFill>
                          <a:effectLst/>
                          <a:uLnTx/>
                          <a:uFillTx/>
                          <a:latin typeface="+mn-lt"/>
                          <a:ea typeface="+mn-ea"/>
                          <a:cs typeface="+mn-cs"/>
                        </a:rPr>
                        <a:t>Faz 3</a:t>
                      </a:r>
                      <a:r>
                        <a:rPr kumimoji="0" lang="en-US" sz="900" b="1" i="0" u="none" strike="noStrike" kern="1200" cap="none" spc="0" normalizeH="0" baseline="30000" noProof="0" dirty="0">
                          <a:ln>
                            <a:noFill/>
                          </a:ln>
                          <a:solidFill>
                            <a:schemeClr val="tx1"/>
                          </a:solidFill>
                          <a:effectLst/>
                          <a:uLnTx/>
                          <a:uFillTx/>
                          <a:latin typeface="+mn-lt"/>
                          <a:ea typeface="+mn-ea"/>
                          <a:cs typeface="+mn-cs"/>
                        </a:rPr>
                        <a:t>14</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chemeClr val="tx1"/>
                          </a:solidFill>
                          <a:effectLst/>
                          <a:uLnTx/>
                          <a:uFillTx/>
                          <a:latin typeface="+mn-lt"/>
                          <a:ea typeface="+mn-ea"/>
                          <a:cs typeface="+mn-cs"/>
                        </a:rPr>
                        <a:t>MONeT</a:t>
                      </a:r>
                      <a:endParaRPr kumimoji="0" lang="en-US" sz="16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dirty="0">
                          <a:ln>
                            <a:noFill/>
                          </a:ln>
                          <a:solidFill>
                            <a:schemeClr val="tx1"/>
                          </a:solidFill>
                          <a:effectLst/>
                          <a:uLnTx/>
                          <a:uFillTx/>
                          <a:latin typeface="+mn-lt"/>
                          <a:ea typeface="+mn-ea"/>
                          <a:cs typeface="+mn-cs"/>
                        </a:rPr>
                        <a:t>NCT05842967</a:t>
                      </a:r>
                      <a:endParaRPr kumimoji="0" lang="en-US" sz="900" b="1" i="0" u="none" strike="noStrike" kern="1200" cap="none" spc="0" normalizeH="0" baseline="30000" noProof="0" dirty="0">
                        <a:ln>
                          <a:noFill/>
                        </a:ln>
                        <a:solidFill>
                          <a:schemeClr val="tx1"/>
                        </a:solidFill>
                        <a:effectLst/>
                        <a:uLnTx/>
                        <a:uFillTx/>
                        <a:latin typeface="+mn-lt"/>
                        <a:ea typeface="+mn-ea"/>
                        <a:cs typeface="+mn-cs"/>
                      </a:endParaRPr>
                    </a:p>
                  </a:txBody>
                  <a:tcPr marL="68580" marR="68580" marT="34290" marB="34290" anchor="ctr">
                    <a:lnL w="28575" cap="flat" cmpd="sng" algn="ctr">
                      <a:solidFill>
                        <a:srgbClr val="C00000"/>
                      </a:solidFill>
                      <a:prstDash val="solid"/>
                      <a:round/>
                      <a:headEnd type="none" w="med" len="med"/>
                      <a:tailEnd type="none" w="med" len="med"/>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tx1"/>
                          </a:solidFill>
                          <a:effectLst/>
                          <a:uLnTx/>
                          <a:uFillTx/>
                          <a:latin typeface="+mn-lt"/>
                          <a:ea typeface="+mn-ea"/>
                          <a:cs typeface="+mn-cs"/>
                        </a:rPr>
                        <a:t>Alt </a:t>
                      </a:r>
                      <a:r>
                        <a:rPr kumimoji="0" lang="en-US" sz="1050" b="1" i="0" u="none" strike="noStrike" kern="1200" cap="none" spc="0" normalizeH="0" baseline="0" noProof="0" dirty="0" err="1">
                          <a:ln>
                            <a:noFill/>
                          </a:ln>
                          <a:solidFill>
                            <a:schemeClr val="tx1"/>
                          </a:solidFill>
                          <a:effectLst/>
                          <a:uLnTx/>
                          <a:uFillTx/>
                          <a:latin typeface="+mn-lt"/>
                          <a:ea typeface="+mn-ea"/>
                          <a:cs typeface="+mn-cs"/>
                        </a:rPr>
                        <a:t>Çalışma</a:t>
                      </a:r>
                      <a:r>
                        <a:rPr kumimoji="0" lang="en-US" sz="1050" b="1" i="0" u="none" strike="noStrike" kern="1200" cap="none" spc="0" normalizeH="0" baseline="0" noProof="0" dirty="0">
                          <a:ln>
                            <a:noFill/>
                          </a:ln>
                          <a:solidFill>
                            <a:schemeClr val="tx1"/>
                          </a:solidFill>
                          <a:effectLst/>
                          <a:uLnTx/>
                          <a:uFillTx/>
                          <a:latin typeface="+mn-lt"/>
                          <a:ea typeface="+mn-ea"/>
                          <a:cs typeface="+mn-cs"/>
                        </a:rPr>
                        <a:t> A: Yüksek </a:t>
                      </a:r>
                      <a:r>
                        <a:rPr kumimoji="0" lang="en-US" sz="1050" b="1" i="0" u="none" strike="noStrike" kern="1200" cap="none" spc="0" normalizeH="0" baseline="0" noProof="0" dirty="0" err="1">
                          <a:ln>
                            <a:noFill/>
                          </a:ln>
                          <a:solidFill>
                            <a:schemeClr val="tx1"/>
                          </a:solidFill>
                          <a:effectLst/>
                          <a:uLnTx/>
                          <a:uFillTx/>
                          <a:latin typeface="+mn-lt"/>
                          <a:ea typeface="+mn-ea"/>
                          <a:cs typeface="+mn-cs"/>
                        </a:rPr>
                        <a:t>Riskli</a:t>
                      </a:r>
                      <a:r>
                        <a:rPr kumimoji="0" lang="en-US" sz="1050" b="1" i="0" u="none" strike="noStrike" kern="1200" cap="none" spc="0" normalizeH="0" baseline="0" noProof="0" dirty="0">
                          <a:ln>
                            <a:noFill/>
                          </a:ln>
                          <a:solidFill>
                            <a:schemeClr val="tx1"/>
                          </a:solidFill>
                          <a:effectLst/>
                          <a:uLnTx/>
                          <a:uFillTx/>
                          <a:latin typeface="+mn-lt"/>
                          <a:ea typeface="+mn-ea"/>
                          <a:cs typeface="+mn-cs"/>
                        </a:rPr>
                        <a:t> </a:t>
                      </a:r>
                      <a:r>
                        <a:rPr kumimoji="0" lang="en-US" sz="1050" b="1" i="0" u="none" strike="noStrike" kern="1200" cap="none" spc="0" normalizeH="0" baseline="0" noProof="0" dirty="0" err="1">
                          <a:ln>
                            <a:noFill/>
                          </a:ln>
                          <a:solidFill>
                            <a:schemeClr val="tx1"/>
                          </a:solidFill>
                          <a:effectLst/>
                          <a:uLnTx/>
                          <a:uFillTx/>
                          <a:latin typeface="+mn-lt"/>
                          <a:ea typeface="+mn-ea"/>
                          <a:cs typeface="+mn-cs"/>
                        </a:rPr>
                        <a:t>Yetişkinler</a:t>
                      </a:r>
                      <a:r>
                        <a:rPr kumimoji="0" lang="en-US" sz="1050" b="1" i="0" u="none" strike="noStrike" kern="1200" cap="none" spc="0" normalizeH="0" baseline="0" noProof="0" dirty="0">
                          <a:ln>
                            <a:noFill/>
                          </a:ln>
                          <a:solidFill>
                            <a:schemeClr val="tx1"/>
                          </a:solidFill>
                          <a:effectLst/>
                          <a:uLnTx/>
                          <a:uFillTx/>
                          <a:latin typeface="+mn-lt"/>
                          <a:ea typeface="+mn-ea"/>
                          <a:cs typeface="+mn-cs"/>
                        </a:rPr>
                        <a:t>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tx1"/>
                          </a:solidFill>
                          <a:effectLst/>
                          <a:uLnTx/>
                          <a:uFillTx/>
                          <a:latin typeface="+mn-lt"/>
                          <a:ea typeface="+mn-ea"/>
                          <a:cs typeface="+mn-cs"/>
                        </a:rPr>
                        <a:t>Alt </a:t>
                      </a:r>
                      <a:r>
                        <a:rPr kumimoji="0" lang="en-US" sz="1050" b="1" i="0" u="none" strike="noStrike" kern="1200" cap="none" spc="0" normalizeH="0" baseline="0" noProof="0" dirty="0" err="1">
                          <a:ln>
                            <a:noFill/>
                          </a:ln>
                          <a:solidFill>
                            <a:schemeClr val="tx1"/>
                          </a:solidFill>
                          <a:effectLst/>
                          <a:uLnTx/>
                          <a:uFillTx/>
                          <a:latin typeface="+mn-lt"/>
                          <a:ea typeface="+mn-ea"/>
                          <a:cs typeface="+mn-cs"/>
                        </a:rPr>
                        <a:t>Çalışma</a:t>
                      </a:r>
                      <a:r>
                        <a:rPr kumimoji="0" lang="en-US" sz="1050" b="1" i="0" u="none" strike="noStrike" kern="1200" cap="none" spc="0" normalizeH="0" baseline="0" noProof="0" dirty="0">
                          <a:ln>
                            <a:noFill/>
                          </a:ln>
                          <a:solidFill>
                            <a:schemeClr val="tx1"/>
                          </a:solidFill>
                          <a:effectLst/>
                          <a:uLnTx/>
                          <a:uFillTx/>
                          <a:latin typeface="+mn-lt"/>
                          <a:ea typeface="+mn-ea"/>
                          <a:cs typeface="+mn-cs"/>
                        </a:rPr>
                        <a:t> B: </a:t>
                      </a:r>
                      <a:r>
                        <a:rPr kumimoji="0" lang="en-US" sz="1050" b="1" i="0" u="none" strike="noStrike" kern="1200" cap="none" spc="0" normalizeH="0" baseline="0" noProof="0" dirty="0" err="1">
                          <a:ln>
                            <a:noFill/>
                          </a:ln>
                          <a:solidFill>
                            <a:schemeClr val="tx1"/>
                          </a:solidFill>
                          <a:effectLst/>
                          <a:uLnTx/>
                          <a:uFillTx/>
                          <a:latin typeface="+mn-lt"/>
                          <a:ea typeface="+mn-ea"/>
                          <a:cs typeface="+mn-cs"/>
                        </a:rPr>
                        <a:t>Bağışıklık</a:t>
                      </a:r>
                      <a:r>
                        <a:rPr kumimoji="0" lang="en-US" sz="1050" b="1" i="0" u="none" strike="noStrike" kern="1200" cap="none" spc="0" normalizeH="0" baseline="0" noProof="0" dirty="0">
                          <a:ln>
                            <a:noFill/>
                          </a:ln>
                          <a:solidFill>
                            <a:schemeClr val="tx1"/>
                          </a:solidFill>
                          <a:effectLst/>
                          <a:uLnTx/>
                          <a:uFillTx/>
                          <a:latin typeface="+mn-lt"/>
                          <a:ea typeface="+mn-ea"/>
                          <a:cs typeface="+mn-cs"/>
                        </a:rPr>
                        <a:t> Sistemi </a:t>
                      </a:r>
                      <a:r>
                        <a:rPr kumimoji="0" lang="en-US" sz="1050" b="1" i="0" u="none" strike="noStrike" kern="1200" cap="none" spc="0" normalizeH="0" baseline="0" noProof="0" dirty="0" err="1">
                          <a:ln>
                            <a:noFill/>
                          </a:ln>
                          <a:solidFill>
                            <a:schemeClr val="tx1"/>
                          </a:solidFill>
                          <a:effectLst/>
                          <a:uLnTx/>
                          <a:uFillTx/>
                          <a:latin typeface="+mn-lt"/>
                          <a:ea typeface="+mn-ea"/>
                          <a:cs typeface="+mn-cs"/>
                        </a:rPr>
                        <a:t>Baskılanmış</a:t>
                      </a:r>
                      <a:r>
                        <a:rPr kumimoji="0" lang="en-US" sz="1050" b="1" i="0" u="none" strike="noStrike" kern="1200" cap="none" spc="0" normalizeH="0" baseline="0" noProof="0" dirty="0">
                          <a:ln>
                            <a:noFill/>
                          </a:ln>
                          <a:solidFill>
                            <a:schemeClr val="tx1"/>
                          </a:solidFill>
                          <a:effectLst/>
                          <a:uLnTx/>
                          <a:uFillTx/>
                          <a:latin typeface="+mn-lt"/>
                          <a:ea typeface="+mn-ea"/>
                          <a:cs typeface="+mn-cs"/>
                        </a:rPr>
                        <a:t> </a:t>
                      </a:r>
                      <a:r>
                        <a:rPr kumimoji="0" lang="en-US" sz="1050" b="1" i="0" u="none" strike="noStrike" kern="1200" cap="none" spc="0" normalizeH="0" baseline="0" noProof="0" dirty="0" err="1">
                          <a:ln>
                            <a:noFill/>
                          </a:ln>
                          <a:solidFill>
                            <a:schemeClr val="tx1"/>
                          </a:solidFill>
                          <a:effectLst/>
                          <a:uLnTx/>
                          <a:uFillTx/>
                          <a:latin typeface="+mn-lt"/>
                          <a:ea typeface="+mn-ea"/>
                          <a:cs typeface="+mn-cs"/>
                        </a:rPr>
                        <a:t>Yetişkinler</a:t>
                      </a:r>
                      <a:endParaRPr kumimoji="0" lang="en-US" sz="105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dirty="0" err="1">
                          <a:ln>
                            <a:noFill/>
                          </a:ln>
                          <a:solidFill>
                            <a:schemeClr val="tx1"/>
                          </a:solidFill>
                          <a:effectLst/>
                          <a:uLnTx/>
                          <a:uFillTx/>
                          <a:latin typeface="+mn-lt"/>
                          <a:ea typeface="+mn-ea"/>
                          <a:cs typeface="+mn-cs"/>
                        </a:rPr>
                        <a:t>İmmünojenisite</a:t>
                      </a:r>
                      <a:r>
                        <a:rPr kumimoji="0" lang="en-US" sz="1050" b="1" i="0" u="none" strike="noStrike" kern="1200" cap="none" spc="0" normalizeH="0" baseline="0" noProof="0" dirty="0">
                          <a:ln>
                            <a:noFill/>
                          </a:ln>
                          <a:solidFill>
                            <a:schemeClr val="tx1"/>
                          </a:solidFill>
                          <a:effectLst/>
                          <a:uLnTx/>
                          <a:uFillTx/>
                          <a:latin typeface="+mn-lt"/>
                          <a:ea typeface="+mn-ea"/>
                          <a:cs typeface="+mn-cs"/>
                        </a:rPr>
                        <a:t> </a:t>
                      </a:r>
                      <a:r>
                        <a:rPr kumimoji="0" lang="en-US" sz="1050" b="1" i="0" u="none" strike="noStrike" kern="1200" cap="none" spc="0" normalizeH="0" baseline="0" noProof="0" dirty="0" err="1">
                          <a:ln>
                            <a:noFill/>
                          </a:ln>
                          <a:solidFill>
                            <a:schemeClr val="tx1"/>
                          </a:solidFill>
                          <a:effectLst/>
                          <a:uLnTx/>
                          <a:uFillTx/>
                          <a:latin typeface="+mn-lt"/>
                          <a:ea typeface="+mn-ea"/>
                          <a:cs typeface="+mn-cs"/>
                        </a:rPr>
                        <a:t>ve</a:t>
                      </a:r>
                      <a:r>
                        <a:rPr kumimoji="0" lang="en-US" sz="1050" b="1" i="0" u="none" strike="noStrike" kern="1200" cap="none" spc="0" normalizeH="0" baseline="0" noProof="0" dirty="0">
                          <a:ln>
                            <a:noFill/>
                          </a:ln>
                          <a:solidFill>
                            <a:schemeClr val="tx1"/>
                          </a:solidFill>
                          <a:effectLst/>
                          <a:uLnTx/>
                          <a:uFillTx/>
                          <a:latin typeface="+mn-lt"/>
                          <a:ea typeface="+mn-ea"/>
                          <a:cs typeface="+mn-cs"/>
                        </a:rPr>
                        <a:t> </a:t>
                      </a:r>
                      <a:r>
                        <a:rPr kumimoji="0" lang="en-US" sz="1050" b="1" i="0" u="none" strike="noStrike" kern="1200" cap="none" spc="0" normalizeH="0" baseline="0" noProof="0" dirty="0" err="1">
                          <a:ln>
                            <a:noFill/>
                          </a:ln>
                          <a:solidFill>
                            <a:schemeClr val="tx1"/>
                          </a:solidFill>
                          <a:effectLst/>
                          <a:uLnTx/>
                          <a:uFillTx/>
                          <a:latin typeface="+mn-lt"/>
                          <a:ea typeface="+mn-ea"/>
                          <a:cs typeface="+mn-cs"/>
                        </a:rPr>
                        <a:t>güvenlilik</a:t>
                      </a:r>
                      <a:endParaRPr kumimoji="0" lang="tr-TR" sz="1050" b="1"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lnSpc>
                          <a:spcPct val="90000"/>
                        </a:lnSpc>
                        <a:tabLst>
                          <a:tab pos="571500" algn="dec"/>
                        </a:tabLst>
                      </a:pPr>
                      <a:endParaRPr lang="en-US" sz="800" kern="1200" dirty="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28575" cap="flat" cmpd="sng" algn="ctr">
                      <a:solidFill>
                        <a:srgbClr val="C00000"/>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741032634"/>
                  </a:ext>
                </a:extLst>
              </a:tr>
            </a:tbl>
          </a:graphicData>
        </a:graphic>
      </p:graphicFrame>
      <p:sp>
        <p:nvSpPr>
          <p:cNvPr id="8" name="TextBox 7">
            <a:extLst>
              <a:ext uri="{FF2B5EF4-FFF2-40B4-BE49-F238E27FC236}">
                <a16:creationId xmlns:a16="http://schemas.microsoft.com/office/drawing/2014/main" id="{CCB5A82D-31AB-55CB-3C0B-588574BD2438}"/>
              </a:ext>
            </a:extLst>
          </p:cNvPr>
          <p:cNvSpPr txBox="1"/>
          <p:nvPr/>
        </p:nvSpPr>
        <p:spPr bwMode="gray">
          <a:xfrm>
            <a:off x="628651" y="5712643"/>
            <a:ext cx="8570644" cy="711939"/>
          </a:xfrm>
          <a:prstGeom prst="rect">
            <a:avLst/>
          </a:prstGeom>
        </p:spPr>
        <p:txBody>
          <a:bodyPr wrap="square" lIns="34290" tIns="34290" rIns="34290" bIns="34290" rtlCol="0" anchor="b">
            <a:noAutofit/>
          </a:bodyPr>
          <a:lstStyle/>
          <a:p>
            <a:pPr defTabSz="685800">
              <a:lnSpc>
                <a:spcPct val="90000"/>
              </a:lnSpc>
              <a:spcBef>
                <a:spcPts val="750"/>
              </a:spcBef>
              <a:defRPr/>
            </a:pPr>
            <a:r>
              <a:rPr lang="pt-BR" sz="500" b="1" dirty="0">
                <a:solidFill>
                  <a:schemeClr val="bg1">
                    <a:lumMod val="50000"/>
                  </a:schemeClr>
                </a:solidFill>
                <a:latin typeface="Arial" panose="020B0604020202020204"/>
              </a:rPr>
              <a:t>Al(OH)</a:t>
            </a:r>
            <a:r>
              <a:rPr lang="pt-BR" sz="500" b="1" baseline="-25000" dirty="0">
                <a:solidFill>
                  <a:schemeClr val="bg1">
                    <a:lumMod val="50000"/>
                  </a:schemeClr>
                </a:solidFill>
                <a:latin typeface="Arial" panose="020B0604020202020204"/>
              </a:rPr>
              <a:t>3</a:t>
            </a:r>
            <a:r>
              <a:rPr lang="pt-BR" sz="500" b="1" dirty="0">
                <a:solidFill>
                  <a:schemeClr val="bg1">
                    <a:lumMod val="50000"/>
                  </a:schemeClr>
                </a:solidFill>
                <a:latin typeface="Arial" panose="020B0604020202020204"/>
              </a:rPr>
              <a:t>: </a:t>
            </a:r>
            <a:r>
              <a:rPr lang="pt-BR" sz="500" dirty="0">
                <a:solidFill>
                  <a:schemeClr val="bg1">
                    <a:lumMod val="50000"/>
                  </a:schemeClr>
                </a:solidFill>
                <a:latin typeface="Arial" panose="020B0604020202020204"/>
              </a:rPr>
              <a:t>Alüminyum hidroksit; </a:t>
            </a:r>
            <a:r>
              <a:rPr lang="en-US" sz="500" b="1" dirty="0">
                <a:solidFill>
                  <a:schemeClr val="bg1">
                    <a:lumMod val="50000"/>
                  </a:schemeClr>
                </a:solidFill>
                <a:latin typeface="Arial" panose="020B0604020202020204"/>
              </a:rPr>
              <a:t>SIIV:</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Mevsimsel</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inaktif</a:t>
            </a:r>
            <a:r>
              <a:rPr lang="en-US" sz="500" dirty="0">
                <a:solidFill>
                  <a:schemeClr val="bg1">
                    <a:lumMod val="50000"/>
                  </a:schemeClr>
                </a:solidFill>
                <a:latin typeface="Arial" panose="020B0604020202020204"/>
              </a:rPr>
              <a:t> grip </a:t>
            </a:r>
            <a:r>
              <a:rPr lang="en-US" sz="500" dirty="0" err="1">
                <a:solidFill>
                  <a:schemeClr val="bg1">
                    <a:lumMod val="50000"/>
                  </a:schemeClr>
                </a:solidFill>
                <a:latin typeface="Arial" panose="020B0604020202020204"/>
              </a:rPr>
              <a:t>aşısı</a:t>
            </a:r>
            <a:r>
              <a:rPr lang="en-US" sz="500" dirty="0">
                <a:solidFill>
                  <a:schemeClr val="bg1">
                    <a:lumMod val="50000"/>
                  </a:schemeClr>
                </a:solidFill>
                <a:latin typeface="Arial" panose="020B0604020202020204"/>
              </a:rPr>
              <a:t>; </a:t>
            </a:r>
            <a:r>
              <a:rPr lang="en-US" sz="500" b="1" dirty="0">
                <a:solidFill>
                  <a:schemeClr val="bg1">
                    <a:lumMod val="50000"/>
                  </a:schemeClr>
                </a:solidFill>
                <a:latin typeface="Arial" panose="020B0604020202020204"/>
                <a:ea typeface="SimSun" panose="02010600030101010101" pitchFamily="2" charset="-122"/>
                <a:cs typeface="Times New Roman" panose="02020603050405020304" pitchFamily="18" charset="0"/>
              </a:rPr>
              <a:t>Tdap: </a:t>
            </a:r>
            <a:r>
              <a:rPr lang="en-US" sz="500" dirty="0">
                <a:solidFill>
                  <a:schemeClr val="bg1">
                    <a:lumMod val="50000"/>
                  </a:schemeClr>
                </a:solidFill>
                <a:latin typeface="Arial" panose="020B0604020202020204"/>
                <a:ea typeface="SimSun" panose="02010600030101010101" pitchFamily="2" charset="-122"/>
                <a:cs typeface="Times New Roman" panose="02020603050405020304" pitchFamily="18" charset="0"/>
              </a:rPr>
              <a:t>Tetanoz-difteri-boğmaca.</a:t>
            </a:r>
            <a:br>
              <a:rPr lang="en-US" sz="500" dirty="0">
                <a:solidFill>
                  <a:schemeClr val="bg1">
                    <a:lumMod val="50000"/>
                  </a:schemeClr>
                </a:solidFill>
                <a:latin typeface="Arial" panose="020B0604020202020204"/>
                <a:ea typeface="Calibri" panose="020F0502020204030204" pitchFamily="34" charset="0"/>
              </a:rPr>
            </a:br>
            <a:r>
              <a:rPr lang="en-US" sz="500" baseline="30000" dirty="0">
                <a:solidFill>
                  <a:schemeClr val="bg1">
                    <a:lumMod val="50000"/>
                  </a:schemeClr>
                </a:solidFill>
                <a:latin typeface="Arial" panose="020B0604020202020204"/>
              </a:rPr>
              <a:t>a</a:t>
            </a:r>
            <a:r>
              <a:rPr lang="en-US" sz="500" dirty="0">
                <a:solidFill>
                  <a:schemeClr val="bg1">
                    <a:lumMod val="50000"/>
                  </a:schemeClr>
                </a:solidFill>
                <a:latin typeface="Arial" panose="020B0604020202020204"/>
              </a:rPr>
              <a:t>NCT03529773, hem Al(OH)3 (</a:t>
            </a:r>
            <a:r>
              <a:rPr lang="en-US" sz="500" dirty="0" err="1">
                <a:solidFill>
                  <a:schemeClr val="bg1">
                    <a:lumMod val="50000"/>
                  </a:schemeClr>
                </a:solidFill>
                <a:latin typeface="Arial" panose="020B0604020202020204"/>
              </a:rPr>
              <a:t>alüminyum</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hidroksit</a:t>
            </a:r>
            <a:r>
              <a:rPr lang="en-US" sz="500" dirty="0">
                <a:solidFill>
                  <a:schemeClr val="bg1">
                    <a:lumMod val="50000"/>
                  </a:schemeClr>
                </a:solidFill>
                <a:latin typeface="Arial" panose="020B0604020202020204"/>
              </a:rPr>
              <a:t>) hem de SIIV (</a:t>
            </a:r>
            <a:r>
              <a:rPr lang="en-US" sz="500" dirty="0" err="1">
                <a:solidFill>
                  <a:schemeClr val="bg1">
                    <a:lumMod val="50000"/>
                  </a:schemeClr>
                </a:solidFill>
                <a:latin typeface="Arial" panose="020B0604020202020204"/>
              </a:rPr>
              <a:t>mevsimsel</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inaktive</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edilmiş</a:t>
            </a:r>
            <a:r>
              <a:rPr lang="en-US" sz="500" dirty="0">
                <a:solidFill>
                  <a:schemeClr val="bg1">
                    <a:lumMod val="50000"/>
                  </a:schemeClr>
                </a:solidFill>
                <a:latin typeface="Arial" panose="020B0604020202020204"/>
              </a:rPr>
              <a:t> influenza </a:t>
            </a:r>
            <a:r>
              <a:rPr lang="en-US" sz="500" dirty="0" err="1">
                <a:solidFill>
                  <a:schemeClr val="bg1">
                    <a:lumMod val="50000"/>
                  </a:schemeClr>
                </a:solidFill>
                <a:latin typeface="Arial" panose="020B0604020202020204"/>
              </a:rPr>
              <a:t>aşısı</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için</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birinci</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ve</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ikinci</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aşama</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insan</a:t>
            </a:r>
            <a:r>
              <a:rPr lang="en-US" sz="500" dirty="0">
                <a:solidFill>
                  <a:schemeClr val="bg1">
                    <a:lumMod val="50000"/>
                  </a:schemeClr>
                </a:solidFill>
                <a:latin typeface="Arial" panose="020B0604020202020204"/>
              </a:rPr>
              <a:t> denemesidir.</a:t>
            </a:r>
            <a:r>
              <a:rPr lang="en-US" sz="500" baseline="30000" dirty="0">
                <a:solidFill>
                  <a:schemeClr val="bg1">
                    <a:lumMod val="50000"/>
                  </a:schemeClr>
                </a:solidFill>
                <a:latin typeface="Arial" panose="020B0604020202020204"/>
              </a:rPr>
              <a:t>1</a:t>
            </a:r>
            <a:br>
              <a:rPr lang="en-US" sz="500" dirty="0">
                <a:solidFill>
                  <a:schemeClr val="bg1">
                    <a:lumMod val="50000"/>
                  </a:schemeClr>
                </a:solidFill>
                <a:latin typeface="Arial" panose="020B0604020202020204"/>
              </a:rPr>
            </a:br>
            <a:r>
              <a:rPr lang="en-US" sz="500" b="1" dirty="0" err="1">
                <a:solidFill>
                  <a:schemeClr val="bg1">
                    <a:lumMod val="50000"/>
                  </a:schemeClr>
                </a:solidFill>
                <a:latin typeface="Arial" panose="020B0604020202020204"/>
              </a:rPr>
              <a:t>Referanslar</a:t>
            </a:r>
            <a:r>
              <a:rPr lang="en-US" sz="500" b="1" dirty="0">
                <a:solidFill>
                  <a:schemeClr val="bg1">
                    <a:lumMod val="50000"/>
                  </a:schemeClr>
                </a:solidFill>
                <a:latin typeface="Arial" panose="020B0604020202020204"/>
              </a:rPr>
              <a:t>: 1. </a:t>
            </a:r>
            <a:r>
              <a:rPr lang="fr-FR" sz="500" dirty="0" err="1">
                <a:solidFill>
                  <a:schemeClr val="bg1">
                    <a:lumMod val="50000"/>
                  </a:schemeClr>
                </a:solidFill>
                <a:latin typeface="Arial" panose="020B0604020202020204"/>
              </a:rPr>
              <a:t>Falsey</a:t>
            </a:r>
            <a:r>
              <a:rPr lang="fr-FR" sz="500" dirty="0">
                <a:solidFill>
                  <a:schemeClr val="bg1">
                    <a:lumMod val="50000"/>
                  </a:schemeClr>
                </a:solidFill>
                <a:latin typeface="Arial" panose="020B0604020202020204"/>
              </a:rPr>
              <a:t> AR, et al. </a:t>
            </a:r>
            <a:r>
              <a:rPr lang="fr-FR" sz="500" i="1" dirty="0">
                <a:solidFill>
                  <a:schemeClr val="bg1">
                    <a:lumMod val="50000"/>
                  </a:schemeClr>
                </a:solidFill>
                <a:latin typeface="Arial" panose="020B0604020202020204"/>
                <a:hlinkClick r:id="rId3">
                  <a:extLst>
                    <a:ext uri="{A12FA001-AC4F-418D-AE19-62706E023703}">
                      <ahyp:hlinkClr xmlns:ahyp="http://schemas.microsoft.com/office/drawing/2018/hyperlinkcolor" val="tx"/>
                    </a:ext>
                  </a:extLst>
                </a:hlinkClick>
              </a:rPr>
              <a:t>J Infect Dis.</a:t>
            </a:r>
            <a:r>
              <a:rPr lang="fr-FR" sz="500" dirty="0">
                <a:solidFill>
                  <a:schemeClr val="bg1">
                    <a:lumMod val="50000"/>
                  </a:schemeClr>
                </a:solidFill>
                <a:latin typeface="Arial" panose="020B0604020202020204"/>
              </a:rPr>
              <a:t> 2022;225(12):2056-2066. </a:t>
            </a:r>
            <a:r>
              <a:rPr lang="fr-FR" sz="500" b="1" dirty="0">
                <a:solidFill>
                  <a:schemeClr val="bg1">
                    <a:lumMod val="50000"/>
                  </a:schemeClr>
                </a:solidFill>
                <a:latin typeface="Arial" panose="020B0604020202020204"/>
              </a:rPr>
              <a:t>2.</a:t>
            </a:r>
            <a:r>
              <a:rPr lang="en-US" sz="500" b="1" dirty="0">
                <a:solidFill>
                  <a:schemeClr val="bg1">
                    <a:lumMod val="50000"/>
                  </a:schemeClr>
                </a:solidFill>
                <a:latin typeface="Arial" panose="020B0604020202020204"/>
              </a:rPr>
              <a:t> </a:t>
            </a:r>
            <a:r>
              <a:rPr lang="da-DK" sz="500" dirty="0">
                <a:solidFill>
                  <a:schemeClr val="bg1">
                    <a:lumMod val="50000"/>
                  </a:schemeClr>
                </a:solidFill>
                <a:latin typeface="Arial" panose="020B0604020202020204"/>
              </a:rPr>
              <a:t>Simões EAF, et al. </a:t>
            </a:r>
            <a:r>
              <a:rPr lang="da-DK" sz="500" i="1" dirty="0">
                <a:solidFill>
                  <a:schemeClr val="bg1">
                    <a:lumMod val="50000"/>
                  </a:schemeClr>
                </a:solidFill>
                <a:latin typeface="Arial" panose="020B0604020202020204"/>
                <a:hlinkClick r:id="rId4">
                  <a:extLst>
                    <a:ext uri="{A12FA001-AC4F-418D-AE19-62706E023703}">
                      <ahyp:hlinkClr xmlns:ahyp="http://schemas.microsoft.com/office/drawing/2018/hyperlinkcolor" val="tx"/>
                    </a:ext>
                  </a:extLst>
                </a:hlinkClick>
              </a:rPr>
              <a:t>N Engl J Med.</a:t>
            </a:r>
            <a:r>
              <a:rPr lang="da-DK" sz="500" dirty="0">
                <a:solidFill>
                  <a:schemeClr val="bg1">
                    <a:lumMod val="50000"/>
                  </a:schemeClr>
                </a:solidFill>
                <a:latin typeface="Arial" panose="020B0604020202020204"/>
              </a:rPr>
              <a:t> 2022;386(17):1615-1626. </a:t>
            </a:r>
            <a:r>
              <a:rPr lang="da-DK" sz="500" b="1" dirty="0">
                <a:solidFill>
                  <a:schemeClr val="bg1">
                    <a:lumMod val="50000"/>
                  </a:schemeClr>
                </a:solidFill>
                <a:latin typeface="Arial" panose="020B0604020202020204"/>
              </a:rPr>
              <a:t>3. </a:t>
            </a:r>
            <a:r>
              <a:rPr lang="da-DK" sz="500" dirty="0">
                <a:solidFill>
                  <a:schemeClr val="bg1">
                    <a:lumMod val="50000"/>
                  </a:schemeClr>
                </a:solidFill>
                <a:latin typeface="Arial" panose="020B0604020202020204"/>
              </a:rPr>
              <a:t>ClinicalTrials.gov identifier: </a:t>
            </a:r>
            <a:r>
              <a:rPr lang="da-DK" sz="500" dirty="0">
                <a:solidFill>
                  <a:schemeClr val="bg1">
                    <a:lumMod val="50000"/>
                  </a:schemeClr>
                </a:solidFill>
                <a:latin typeface="Arial" panose="020B0604020202020204"/>
                <a:hlinkClick r:id="rId5">
                  <a:extLst>
                    <a:ext uri="{A12FA001-AC4F-418D-AE19-62706E023703}">
                      <ahyp:hlinkClr xmlns:ahyp="http://schemas.microsoft.com/office/drawing/2018/hyperlinkcolor" val="tx"/>
                    </a:ext>
                  </a:extLst>
                </a:hlinkClick>
              </a:rPr>
              <a:t>NCT04032093</a:t>
            </a:r>
            <a:r>
              <a:rPr lang="da-DK" sz="500" dirty="0">
                <a:solidFill>
                  <a:schemeClr val="bg1">
                    <a:lumMod val="50000"/>
                  </a:schemeClr>
                </a:solidFill>
                <a:latin typeface="Arial" panose="020B0604020202020204"/>
              </a:rPr>
              <a:t>. Updated October 18, 2022. Accessed March 22, 2023. </a:t>
            </a:r>
            <a:r>
              <a:rPr lang="da-DK" sz="500" b="1" dirty="0">
                <a:solidFill>
                  <a:schemeClr val="bg1">
                    <a:lumMod val="50000"/>
                  </a:schemeClr>
                </a:solidFill>
                <a:latin typeface="Arial" panose="020B0604020202020204"/>
              </a:rPr>
              <a:t>4. </a:t>
            </a:r>
            <a:r>
              <a:rPr lang="en-US" sz="500" dirty="0">
                <a:solidFill>
                  <a:schemeClr val="bg1">
                    <a:lumMod val="50000"/>
                  </a:schemeClr>
                </a:solidFill>
                <a:latin typeface="Arial" panose="020B0604020202020204"/>
                <a:ea typeface="SimSun" panose="02010600030101010101" pitchFamily="2" charset="-122"/>
                <a:cs typeface="Times New Roman" panose="02020603050405020304" pitchFamily="18" charset="0"/>
              </a:rPr>
              <a:t>Munjal I. Presented at: </a:t>
            </a:r>
            <a:r>
              <a:rPr lang="en-US" sz="500" dirty="0">
                <a:solidFill>
                  <a:schemeClr val="bg1">
                    <a:lumMod val="50000"/>
                  </a:schemeClr>
                </a:solidFill>
                <a:latin typeface="Arial" panose="020B0604020202020204"/>
                <a:ea typeface="SimSun" panose="02010600030101010101" pitchFamily="2" charset="-122"/>
                <a:cs typeface="Times New Roman" panose="02020603050405020304" pitchFamily="18" charset="0"/>
                <a:hlinkClick r:id="rId6">
                  <a:extLst>
                    <a:ext uri="{A12FA001-AC4F-418D-AE19-62706E023703}">
                      <ahyp:hlinkClr xmlns:ahyp="http://schemas.microsoft.com/office/drawing/2018/hyperlinkcolor" val="tx"/>
                    </a:ext>
                  </a:extLst>
                </a:hlinkClick>
              </a:rPr>
              <a:t>ACIP 2023</a:t>
            </a:r>
            <a:r>
              <a:rPr lang="en-US" sz="500" dirty="0">
                <a:solidFill>
                  <a:schemeClr val="bg1">
                    <a:lumMod val="50000"/>
                  </a:schemeClr>
                </a:solidFill>
                <a:latin typeface="Arial" panose="020B0604020202020204"/>
                <a:ea typeface="SimSun" panose="02010600030101010101" pitchFamily="2" charset="-122"/>
                <a:cs typeface="Times New Roman" panose="02020603050405020304" pitchFamily="18" charset="0"/>
              </a:rPr>
              <a:t>; February 23, 2023; Atlanta, GA. </a:t>
            </a:r>
            <a:r>
              <a:rPr lang="da-DK" sz="500" b="1" dirty="0">
                <a:solidFill>
                  <a:schemeClr val="bg1">
                    <a:lumMod val="50000"/>
                  </a:schemeClr>
                </a:solidFill>
                <a:latin typeface="Arial" panose="020B0604020202020204"/>
                <a:ea typeface="SimSun" panose="02010600030101010101" pitchFamily="2" charset="-122"/>
                <a:cs typeface="Times New Roman" panose="02020603050405020304" pitchFamily="18" charset="0"/>
              </a:rPr>
              <a:t>5</a:t>
            </a:r>
            <a:r>
              <a:rPr lang="da-DK" sz="500" b="1" dirty="0">
                <a:solidFill>
                  <a:schemeClr val="bg1">
                    <a:lumMod val="50000"/>
                  </a:schemeClr>
                </a:solidFill>
                <a:latin typeface="Arial" panose="020B0604020202020204"/>
              </a:rPr>
              <a:t>.</a:t>
            </a:r>
            <a:r>
              <a:rPr lang="da-DK" sz="500" dirty="0">
                <a:solidFill>
                  <a:schemeClr val="bg1">
                    <a:lumMod val="50000"/>
                  </a:schemeClr>
                </a:solidFill>
                <a:latin typeface="Arial" panose="020B0604020202020204"/>
              </a:rPr>
              <a:t> </a:t>
            </a:r>
            <a:r>
              <a:rPr lang="en-US" sz="500" dirty="0">
                <a:solidFill>
                  <a:schemeClr val="bg1">
                    <a:lumMod val="50000"/>
                  </a:schemeClr>
                </a:solidFill>
                <a:latin typeface="Arial" panose="020B0604020202020204"/>
              </a:rPr>
              <a:t>Peterson JT, et al. </a:t>
            </a:r>
            <a:r>
              <a:rPr lang="en-US" sz="500" i="1" dirty="0">
                <a:solidFill>
                  <a:schemeClr val="bg1">
                    <a:lumMod val="50000"/>
                  </a:schemeClr>
                </a:solidFill>
                <a:latin typeface="Arial" panose="020B0604020202020204"/>
                <a:hlinkClick r:id="rId7">
                  <a:extLst>
                    <a:ext uri="{A12FA001-AC4F-418D-AE19-62706E023703}">
                      <ahyp:hlinkClr xmlns:ahyp="http://schemas.microsoft.com/office/drawing/2018/hyperlinkcolor" val="tx"/>
                    </a:ext>
                  </a:extLst>
                </a:hlinkClick>
              </a:rPr>
              <a:t>J Infect Dis.</a:t>
            </a:r>
            <a:r>
              <a:rPr lang="en-US" sz="500" dirty="0">
                <a:solidFill>
                  <a:schemeClr val="bg1">
                    <a:lumMod val="50000"/>
                  </a:schemeClr>
                </a:solidFill>
                <a:latin typeface="Arial" panose="020B0604020202020204"/>
              </a:rPr>
              <a:t> 2022;225(12):2077-2086. </a:t>
            </a:r>
            <a:r>
              <a:rPr lang="nl-NL" sz="500" b="1" dirty="0">
                <a:solidFill>
                  <a:schemeClr val="bg1">
                    <a:lumMod val="50000"/>
                  </a:schemeClr>
                </a:solidFill>
                <a:latin typeface="Arial" panose="020B0604020202020204"/>
              </a:rPr>
              <a:t>6.</a:t>
            </a:r>
            <a:r>
              <a:rPr lang="nl-NL" sz="500" dirty="0">
                <a:solidFill>
                  <a:schemeClr val="bg1">
                    <a:lumMod val="50000"/>
                  </a:schemeClr>
                </a:solidFill>
                <a:latin typeface="Arial" panose="020B0604020202020204"/>
              </a:rPr>
              <a:t> </a:t>
            </a:r>
            <a:r>
              <a:rPr lang="en-US" sz="500" dirty="0">
                <a:solidFill>
                  <a:schemeClr val="bg1">
                    <a:lumMod val="50000"/>
                  </a:schemeClr>
                </a:solidFill>
                <a:latin typeface="Arial" panose="020B0604020202020204"/>
              </a:rPr>
              <a:t>ClinicalTrials.gov identifier: </a:t>
            </a:r>
            <a:r>
              <a:rPr lang="en-US" sz="500" dirty="0">
                <a:solidFill>
                  <a:schemeClr val="bg1">
                    <a:lumMod val="50000"/>
                  </a:schemeClr>
                </a:solidFill>
                <a:latin typeface="Arial" panose="020B0604020202020204"/>
                <a:hlinkClick r:id="rId8">
                  <a:extLst>
                    <a:ext uri="{A12FA001-AC4F-418D-AE19-62706E023703}">
                      <ahyp:hlinkClr xmlns:ahyp="http://schemas.microsoft.com/office/drawing/2018/hyperlinkcolor" val="tx"/>
                    </a:ext>
                  </a:extLst>
                </a:hlinkClick>
              </a:rPr>
              <a:t>NCT04424316</a:t>
            </a:r>
            <a:r>
              <a:rPr lang="en-US" sz="500" dirty="0">
                <a:solidFill>
                  <a:schemeClr val="bg1">
                    <a:lumMod val="50000"/>
                  </a:schemeClr>
                </a:solidFill>
                <a:latin typeface="Arial" panose="020B0604020202020204"/>
              </a:rPr>
              <a:t>. Updated April 18, 2023. Accessed May 12, 2023. 7. </a:t>
            </a:r>
            <a:r>
              <a:rPr lang="en-US" sz="500" dirty="0">
                <a:solidFill>
                  <a:schemeClr val="bg1">
                    <a:lumMod val="50000"/>
                  </a:schemeClr>
                </a:solidFill>
                <a:latin typeface="Arial" panose="020B0604020202020204"/>
                <a:ea typeface="Calibri" panose="020F0502020204030204" pitchFamily="34" charset="0"/>
                <a:cs typeface="Times New Roman" panose="02020603050405020304" pitchFamily="18" charset="0"/>
                <a:hlinkClick r:id="rId9">
                  <a:extLst>
                    <a:ext uri="{A12FA001-AC4F-418D-AE19-62706E023703}">
                      <ahyp:hlinkClr xmlns:ahyp="http://schemas.microsoft.com/office/drawing/2018/hyperlinkcolor" val="tx"/>
                    </a:ext>
                  </a:extLst>
                </a:hlinkClick>
              </a:rPr>
              <a:t>News release</a:t>
            </a:r>
            <a:r>
              <a:rPr lang="en-US" sz="500" dirty="0">
                <a:solidFill>
                  <a:schemeClr val="bg1">
                    <a:lumMod val="50000"/>
                  </a:schemeClr>
                </a:solidFill>
                <a:latin typeface="Arial" panose="020B0604020202020204"/>
                <a:ea typeface="Calibri" panose="020F0502020204030204" pitchFamily="34" charset="0"/>
                <a:cs typeface="Times New Roman" panose="02020603050405020304" pitchFamily="18" charset="0"/>
              </a:rPr>
              <a:t>. Pfizer; February 21, 2023. Accessed March 22, 2023. </a:t>
            </a:r>
            <a:r>
              <a:rPr lang="en-US" sz="500" b="1" dirty="0">
                <a:solidFill>
                  <a:schemeClr val="bg1">
                    <a:lumMod val="50000"/>
                  </a:schemeClr>
                </a:solidFill>
                <a:latin typeface="Arial" panose="020B0604020202020204"/>
                <a:ea typeface="Calibri" panose="020F0502020204030204" pitchFamily="34" charset="0"/>
                <a:cs typeface="Times New Roman" panose="02020603050405020304" pitchFamily="18" charset="0"/>
              </a:rPr>
              <a:t>8. </a:t>
            </a:r>
            <a:r>
              <a:rPr lang="en-US" sz="500" dirty="0">
                <a:solidFill>
                  <a:schemeClr val="bg1">
                    <a:lumMod val="50000"/>
                  </a:schemeClr>
                </a:solidFill>
                <a:latin typeface="Arial" panose="020B0604020202020204"/>
              </a:rPr>
              <a:t>Kampmann B, et al. </a:t>
            </a:r>
            <a:r>
              <a:rPr lang="en-US" sz="500" i="1" dirty="0">
                <a:solidFill>
                  <a:schemeClr val="bg1">
                    <a:lumMod val="50000"/>
                  </a:schemeClr>
                </a:solidFill>
                <a:latin typeface="Arial" panose="020B0604020202020204"/>
                <a:hlinkClick r:id="rId10">
                  <a:extLst>
                    <a:ext uri="{A12FA001-AC4F-418D-AE19-62706E023703}">
                      <ahyp:hlinkClr xmlns:ahyp="http://schemas.microsoft.com/office/drawing/2018/hyperlinkcolor" val="tx"/>
                    </a:ext>
                  </a:extLst>
                </a:hlinkClick>
              </a:rPr>
              <a:t>N Engl J Med</a:t>
            </a:r>
            <a:r>
              <a:rPr lang="en-US" sz="500" dirty="0">
                <a:solidFill>
                  <a:schemeClr val="bg1">
                    <a:lumMod val="50000"/>
                  </a:schemeClr>
                </a:solidFill>
                <a:latin typeface="Arial" panose="020B0604020202020204"/>
              </a:rPr>
              <a:t>. 2023;10.1056/NEJMoa2216480. </a:t>
            </a:r>
            <a:r>
              <a:rPr lang="en-US" sz="500" b="1" dirty="0">
                <a:solidFill>
                  <a:schemeClr val="bg1">
                    <a:lumMod val="50000"/>
                  </a:schemeClr>
                </a:solidFill>
                <a:latin typeface="Arial" panose="020B0604020202020204"/>
                <a:cs typeface="Times New Roman" panose="02020603050405020304" pitchFamily="18" charset="0"/>
              </a:rPr>
              <a:t>9</a:t>
            </a:r>
            <a:r>
              <a:rPr lang="en-US" sz="500" b="1" dirty="0">
                <a:solidFill>
                  <a:schemeClr val="bg1">
                    <a:lumMod val="50000"/>
                  </a:schemeClr>
                </a:solidFill>
                <a:latin typeface="Arial" panose="020B0604020202020204"/>
                <a:ea typeface="Calibri" panose="020F0502020204030204" pitchFamily="34" charset="0"/>
                <a:cs typeface="Times New Roman" panose="02020603050405020304" pitchFamily="18" charset="0"/>
              </a:rPr>
              <a:t>.</a:t>
            </a:r>
            <a:r>
              <a:rPr lang="en-US" sz="500" dirty="0">
                <a:solidFill>
                  <a:schemeClr val="bg1">
                    <a:lumMod val="50000"/>
                  </a:schemeClr>
                </a:solidFill>
                <a:latin typeface="Arial" panose="020B0604020202020204"/>
                <a:ea typeface="Calibri" panose="020F0502020204030204" pitchFamily="34" charset="0"/>
                <a:cs typeface="Times New Roman" panose="02020603050405020304" pitchFamily="18" charset="0"/>
              </a:rPr>
              <a:t> </a:t>
            </a:r>
            <a:r>
              <a:rPr lang="en-US" sz="500" dirty="0">
                <a:solidFill>
                  <a:schemeClr val="bg1">
                    <a:lumMod val="50000"/>
                  </a:schemeClr>
                </a:solidFill>
                <a:latin typeface="Arial" panose="020B0604020202020204"/>
              </a:rPr>
              <a:t>Baber J, et al. </a:t>
            </a:r>
            <a:r>
              <a:rPr lang="en-US" sz="500" i="1" dirty="0">
                <a:solidFill>
                  <a:schemeClr val="bg1">
                    <a:lumMod val="50000"/>
                  </a:schemeClr>
                </a:solidFill>
                <a:latin typeface="Arial" panose="020B0604020202020204"/>
                <a:hlinkClick r:id="rId11">
                  <a:extLst>
                    <a:ext uri="{A12FA001-AC4F-418D-AE19-62706E023703}">
                      <ahyp:hlinkClr xmlns:ahyp="http://schemas.microsoft.com/office/drawing/2018/hyperlinkcolor" val="tx"/>
                    </a:ext>
                  </a:extLst>
                </a:hlinkClick>
              </a:rPr>
              <a:t>J Infect Dis.</a:t>
            </a:r>
            <a:r>
              <a:rPr lang="en-US" sz="500" dirty="0">
                <a:solidFill>
                  <a:schemeClr val="bg1">
                    <a:lumMod val="50000"/>
                  </a:schemeClr>
                </a:solidFill>
                <a:latin typeface="Arial" panose="020B0604020202020204"/>
              </a:rPr>
              <a:t> 2022;226(12):2054-2063. </a:t>
            </a:r>
            <a:r>
              <a:rPr lang="en-US" sz="500" b="1" dirty="0">
                <a:solidFill>
                  <a:schemeClr val="bg1">
                    <a:lumMod val="50000"/>
                  </a:schemeClr>
                </a:solidFill>
                <a:latin typeface="Arial" panose="020B0604020202020204"/>
              </a:rPr>
              <a:t>10.</a:t>
            </a:r>
            <a:r>
              <a:rPr lang="en-US" sz="500" dirty="0">
                <a:solidFill>
                  <a:schemeClr val="bg1">
                    <a:lumMod val="50000"/>
                  </a:schemeClr>
                </a:solidFill>
                <a:latin typeface="Arial" panose="020B0604020202020204"/>
              </a:rPr>
              <a:t> ClinicalTrials.gov identifier: </a:t>
            </a:r>
            <a:r>
              <a:rPr lang="en-US" sz="500" dirty="0">
                <a:solidFill>
                  <a:schemeClr val="bg1">
                    <a:lumMod val="50000"/>
                  </a:schemeClr>
                </a:solidFill>
                <a:latin typeface="Arial" panose="020B0604020202020204"/>
                <a:hlinkClick r:id="rId12">
                  <a:extLst>
                    <a:ext uri="{A12FA001-AC4F-418D-AE19-62706E023703}">
                      <ahyp:hlinkClr xmlns:ahyp="http://schemas.microsoft.com/office/drawing/2018/hyperlinkcolor" val="tx"/>
                    </a:ext>
                  </a:extLst>
                </a:hlinkClick>
              </a:rPr>
              <a:t>NCT03572062</a:t>
            </a:r>
            <a:r>
              <a:rPr lang="en-US" sz="500" dirty="0">
                <a:solidFill>
                  <a:schemeClr val="bg1">
                    <a:lumMod val="50000"/>
                  </a:schemeClr>
                </a:solidFill>
                <a:latin typeface="Arial" panose="020B0604020202020204"/>
              </a:rPr>
              <a:t>. Updated August 26, 2021. Accessed March 22, 2023. </a:t>
            </a:r>
            <a:r>
              <a:rPr lang="en-US" sz="500" b="1" dirty="0">
                <a:solidFill>
                  <a:schemeClr val="bg1">
                    <a:lumMod val="50000"/>
                  </a:schemeClr>
                </a:solidFill>
                <a:latin typeface="Arial" panose="020B0604020202020204"/>
              </a:rPr>
              <a:t>11.</a:t>
            </a:r>
            <a:r>
              <a:rPr lang="en-US" sz="500" dirty="0">
                <a:solidFill>
                  <a:schemeClr val="bg1">
                    <a:lumMod val="50000"/>
                  </a:schemeClr>
                </a:solidFill>
                <a:latin typeface="Arial" panose="020B0604020202020204"/>
              </a:rPr>
              <a:t> </a:t>
            </a:r>
            <a:r>
              <a:rPr lang="nl-NL" sz="500" dirty="0">
                <a:solidFill>
                  <a:schemeClr val="bg1">
                    <a:lumMod val="50000"/>
                  </a:schemeClr>
                </a:solidFill>
                <a:latin typeface="Arial" panose="020B0604020202020204"/>
              </a:rPr>
              <a:t>Schmoele-Thoma B, et al. </a:t>
            </a:r>
            <a:r>
              <a:rPr lang="nl-NL" sz="500" i="1" dirty="0">
                <a:solidFill>
                  <a:schemeClr val="bg1">
                    <a:lumMod val="50000"/>
                  </a:schemeClr>
                </a:solidFill>
                <a:latin typeface="Arial" panose="020B0604020202020204"/>
                <a:hlinkClick r:id="rId13">
                  <a:extLst>
                    <a:ext uri="{A12FA001-AC4F-418D-AE19-62706E023703}">
                      <ahyp:hlinkClr xmlns:ahyp="http://schemas.microsoft.com/office/drawing/2018/hyperlinkcolor" val="tx"/>
                    </a:ext>
                  </a:extLst>
                </a:hlinkClick>
              </a:rPr>
              <a:t>N Engl J Med.</a:t>
            </a:r>
            <a:r>
              <a:rPr lang="nl-NL" sz="500" dirty="0">
                <a:solidFill>
                  <a:schemeClr val="bg1">
                    <a:lumMod val="50000"/>
                  </a:schemeClr>
                </a:solidFill>
                <a:latin typeface="Arial" panose="020B0604020202020204"/>
              </a:rPr>
              <a:t> 2022;386(25):2377-2386. </a:t>
            </a:r>
            <a:r>
              <a:rPr lang="nl-NL" sz="500" b="1" dirty="0">
                <a:solidFill>
                  <a:schemeClr val="bg1">
                    <a:lumMod val="50000"/>
                  </a:schemeClr>
                </a:solidFill>
                <a:latin typeface="Arial" panose="020B0604020202020204"/>
              </a:rPr>
              <a:t>12. </a:t>
            </a:r>
            <a:r>
              <a:rPr lang="nl-NL" sz="500" dirty="0">
                <a:solidFill>
                  <a:schemeClr val="bg1">
                    <a:lumMod val="50000"/>
                  </a:schemeClr>
                </a:solidFill>
                <a:latin typeface="Arial" panose="020B0604020202020204"/>
              </a:rPr>
              <a:t>ClinicalTrials.gov identifier: </a:t>
            </a:r>
            <a:r>
              <a:rPr lang="nl-NL" sz="500" dirty="0">
                <a:solidFill>
                  <a:schemeClr val="bg1">
                    <a:lumMod val="50000"/>
                  </a:schemeClr>
                </a:solidFill>
                <a:latin typeface="Arial" panose="020B0604020202020204"/>
                <a:hlinkClick r:id="rId14">
                  <a:extLst>
                    <a:ext uri="{A12FA001-AC4F-418D-AE19-62706E023703}">
                      <ahyp:hlinkClr xmlns:ahyp="http://schemas.microsoft.com/office/drawing/2018/hyperlinkcolor" val="tx"/>
                    </a:ext>
                  </a:extLst>
                </a:hlinkClick>
              </a:rPr>
              <a:t>NCT04785612</a:t>
            </a:r>
            <a:r>
              <a:rPr lang="nl-NL" sz="500" dirty="0">
                <a:solidFill>
                  <a:schemeClr val="bg1">
                    <a:lumMod val="50000"/>
                  </a:schemeClr>
                </a:solidFill>
                <a:latin typeface="Arial" panose="020B0604020202020204"/>
              </a:rPr>
              <a:t>. Updated September 2, 2021. Accessed March 22, 2023. </a:t>
            </a:r>
            <a:r>
              <a:rPr lang="nl-NL" sz="500" b="1" dirty="0">
                <a:solidFill>
                  <a:schemeClr val="bg1">
                    <a:lumMod val="50000"/>
                  </a:schemeClr>
                </a:solidFill>
                <a:latin typeface="Arial" panose="020B0604020202020204"/>
              </a:rPr>
              <a:t>13.</a:t>
            </a:r>
            <a:r>
              <a:rPr lang="nl-NL" sz="500" dirty="0">
                <a:solidFill>
                  <a:schemeClr val="bg1">
                    <a:lumMod val="50000"/>
                  </a:schemeClr>
                </a:solidFill>
                <a:latin typeface="Arial" panose="020B0604020202020204"/>
              </a:rPr>
              <a:t> </a:t>
            </a:r>
            <a:r>
              <a:rPr lang="en-US" sz="500" dirty="0">
                <a:solidFill>
                  <a:schemeClr val="bg1">
                    <a:lumMod val="50000"/>
                  </a:schemeClr>
                </a:solidFill>
                <a:latin typeface="Arial" panose="020B0604020202020204"/>
              </a:rPr>
              <a:t>ClinicalTrials.gov identifier: </a:t>
            </a:r>
            <a:r>
              <a:rPr lang="en-US" sz="500" dirty="0">
                <a:solidFill>
                  <a:schemeClr val="bg1">
                    <a:lumMod val="50000"/>
                  </a:schemeClr>
                </a:solidFill>
                <a:latin typeface="Arial" panose="020B0604020202020204"/>
                <a:hlinkClick r:id="rId15">
                  <a:extLst>
                    <a:ext uri="{A12FA001-AC4F-418D-AE19-62706E023703}">
                      <ahyp:hlinkClr xmlns:ahyp="http://schemas.microsoft.com/office/drawing/2018/hyperlinkcolor" val="tx"/>
                    </a:ext>
                  </a:extLst>
                </a:hlinkClick>
              </a:rPr>
              <a:t>NCT05301322</a:t>
            </a:r>
            <a:r>
              <a:rPr lang="en-US" sz="500" dirty="0">
                <a:solidFill>
                  <a:schemeClr val="bg1">
                    <a:lumMod val="50000"/>
                  </a:schemeClr>
                </a:solidFill>
                <a:latin typeface="Arial" panose="020B0604020202020204"/>
              </a:rPr>
              <a:t>. Updated February 23, 2023. Accessed March 22, 2023. </a:t>
            </a:r>
            <a:r>
              <a:rPr lang="en-US" sz="500" b="1" dirty="0">
                <a:solidFill>
                  <a:schemeClr val="bg1">
                    <a:lumMod val="50000"/>
                  </a:schemeClr>
                </a:solidFill>
                <a:latin typeface="Arial" panose="020B0604020202020204"/>
              </a:rPr>
              <a:t>14.</a:t>
            </a:r>
            <a:r>
              <a:rPr lang="en-US" sz="500" dirty="0">
                <a:solidFill>
                  <a:schemeClr val="bg1">
                    <a:lumMod val="50000"/>
                  </a:schemeClr>
                </a:solidFill>
                <a:latin typeface="Arial" panose="020B0604020202020204"/>
              </a:rPr>
              <a:t> ClinicalTrials.gov identifier: </a:t>
            </a:r>
            <a:r>
              <a:rPr lang="en-US" sz="500" dirty="0">
                <a:solidFill>
                  <a:schemeClr val="bg1">
                    <a:lumMod val="50000"/>
                  </a:schemeClr>
                </a:solidFill>
                <a:latin typeface="Arial" panose="020B0604020202020204"/>
                <a:hlinkClick r:id="rId16">
                  <a:extLst>
                    <a:ext uri="{A12FA001-AC4F-418D-AE19-62706E023703}">
                      <ahyp:hlinkClr xmlns:ahyp="http://schemas.microsoft.com/office/drawing/2018/hyperlinkcolor" val="tx"/>
                    </a:ext>
                  </a:extLst>
                </a:hlinkClick>
              </a:rPr>
              <a:t>NCT05035212</a:t>
            </a:r>
            <a:r>
              <a:rPr lang="en-US" sz="500" dirty="0">
                <a:solidFill>
                  <a:schemeClr val="bg1">
                    <a:lumMod val="50000"/>
                  </a:schemeClr>
                </a:solidFill>
                <a:latin typeface="Arial" panose="020B0604020202020204"/>
              </a:rPr>
              <a:t>. Updated March 20, 2023. Accessed March 22, 2023. </a:t>
            </a:r>
          </a:p>
        </p:txBody>
      </p:sp>
      <p:sp>
        <p:nvSpPr>
          <p:cNvPr id="9" name="Rectangle 8">
            <a:extLst>
              <a:ext uri="{FF2B5EF4-FFF2-40B4-BE49-F238E27FC236}">
                <a16:creationId xmlns:a16="http://schemas.microsoft.com/office/drawing/2014/main" id="{341557C9-C9B5-3722-8D88-E9F0E6CD704E}"/>
              </a:ext>
            </a:extLst>
          </p:cNvPr>
          <p:cNvSpPr/>
          <p:nvPr/>
        </p:nvSpPr>
        <p:spPr>
          <a:xfrm>
            <a:off x="1838319" y="1105274"/>
            <a:ext cx="10010771" cy="1121329"/>
          </a:xfrm>
          <a:prstGeom prst="rect">
            <a:avLst/>
          </a:prstGeom>
          <a:solidFill>
            <a:srgbClr val="F9F9F9">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0" name="Rectangle 9">
            <a:extLst>
              <a:ext uri="{FF2B5EF4-FFF2-40B4-BE49-F238E27FC236}">
                <a16:creationId xmlns:a16="http://schemas.microsoft.com/office/drawing/2014/main" id="{3179A132-12CB-F4AF-3E44-9E4E2173B794}"/>
              </a:ext>
            </a:extLst>
          </p:cNvPr>
          <p:cNvSpPr/>
          <p:nvPr/>
        </p:nvSpPr>
        <p:spPr>
          <a:xfrm>
            <a:off x="1838320" y="2909661"/>
            <a:ext cx="10010771" cy="420114"/>
          </a:xfrm>
          <a:prstGeom prst="rect">
            <a:avLst/>
          </a:prstGeom>
          <a:solidFill>
            <a:srgbClr val="F9F9F9">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1" name="Rectangle 10">
            <a:extLst>
              <a:ext uri="{FF2B5EF4-FFF2-40B4-BE49-F238E27FC236}">
                <a16:creationId xmlns:a16="http://schemas.microsoft.com/office/drawing/2014/main" id="{A906D774-3964-8BBE-9E57-494C77D621D4}"/>
              </a:ext>
            </a:extLst>
          </p:cNvPr>
          <p:cNvSpPr/>
          <p:nvPr/>
        </p:nvSpPr>
        <p:spPr>
          <a:xfrm>
            <a:off x="1866900" y="4210762"/>
            <a:ext cx="10010771" cy="361299"/>
          </a:xfrm>
          <a:prstGeom prst="rect">
            <a:avLst/>
          </a:prstGeom>
          <a:solidFill>
            <a:srgbClr val="F9F9F9">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2" name="Speech Bubble: Rectangle with Corners Rounded 11">
            <a:extLst>
              <a:ext uri="{FF2B5EF4-FFF2-40B4-BE49-F238E27FC236}">
                <a16:creationId xmlns:a16="http://schemas.microsoft.com/office/drawing/2014/main" id="{086731E2-037E-B55B-D2A4-59648E694823}"/>
              </a:ext>
            </a:extLst>
          </p:cNvPr>
          <p:cNvSpPr/>
          <p:nvPr/>
        </p:nvSpPr>
        <p:spPr>
          <a:xfrm>
            <a:off x="6691304" y="2427209"/>
            <a:ext cx="2195515" cy="307523"/>
          </a:xfrm>
          <a:prstGeom prst="wedgeRoundRectCallout">
            <a:avLst>
              <a:gd name="adj1" fmla="val -52043"/>
              <a:gd name="adj2" fmla="val 22246"/>
              <a:gd name="adj3" fmla="val 16667"/>
            </a:avLst>
          </a:prstGeom>
          <a:solidFill>
            <a:srgbClr val="FFFFFF">
              <a:alpha val="80000"/>
            </a:srgb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dirty="0">
                <a:solidFill>
                  <a:schemeClr val="accent1"/>
                </a:solidFill>
              </a:rPr>
              <a:t>Maternal </a:t>
            </a:r>
            <a:r>
              <a:rPr lang="en-US" sz="1400" b="1" dirty="0" err="1">
                <a:solidFill>
                  <a:schemeClr val="accent1"/>
                </a:solidFill>
              </a:rPr>
              <a:t>Endikasyon</a:t>
            </a:r>
            <a:r>
              <a:rPr lang="en-US" sz="1400" b="1" dirty="0">
                <a:solidFill>
                  <a:schemeClr val="accent1"/>
                </a:solidFill>
              </a:rPr>
              <a:t> </a:t>
            </a:r>
            <a:endParaRPr lang="tr-TR" sz="1200" i="1" dirty="0">
              <a:solidFill>
                <a:schemeClr val="accent1"/>
              </a:solidFill>
            </a:endParaRPr>
          </a:p>
        </p:txBody>
      </p:sp>
      <p:sp>
        <p:nvSpPr>
          <p:cNvPr id="13" name="Speech Bubble: Rectangle with Corners Rounded 12">
            <a:extLst>
              <a:ext uri="{FF2B5EF4-FFF2-40B4-BE49-F238E27FC236}">
                <a16:creationId xmlns:a16="http://schemas.microsoft.com/office/drawing/2014/main" id="{97A82F70-DDD9-47D6-6D16-639197A50BD2}"/>
              </a:ext>
            </a:extLst>
          </p:cNvPr>
          <p:cNvSpPr/>
          <p:nvPr/>
        </p:nvSpPr>
        <p:spPr>
          <a:xfrm>
            <a:off x="6691304" y="3379721"/>
            <a:ext cx="3081346" cy="741177"/>
          </a:xfrm>
          <a:prstGeom prst="wedgeRoundRectCallout">
            <a:avLst>
              <a:gd name="adj1" fmla="val -51707"/>
              <a:gd name="adj2" fmla="val 20076"/>
              <a:gd name="adj3" fmla="val 16667"/>
            </a:avLst>
          </a:prstGeom>
          <a:solidFill>
            <a:srgbClr val="FFFFFF">
              <a:alpha val="80000"/>
            </a:srgb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dirty="0" err="1">
                <a:solidFill>
                  <a:schemeClr val="accent1"/>
                </a:solidFill>
              </a:rPr>
              <a:t>Adjuvanlı</a:t>
            </a:r>
            <a:r>
              <a:rPr lang="en-US" sz="1400" b="1" dirty="0">
                <a:solidFill>
                  <a:schemeClr val="accent1"/>
                </a:solidFill>
              </a:rPr>
              <a:t> vs. </a:t>
            </a:r>
            <a:r>
              <a:rPr lang="en-US" sz="1400" b="1" dirty="0" err="1">
                <a:solidFill>
                  <a:schemeClr val="accent1"/>
                </a:solidFill>
              </a:rPr>
              <a:t>Adjuvansız</a:t>
            </a:r>
            <a:r>
              <a:rPr lang="en-US" sz="1400" b="1" dirty="0">
                <a:solidFill>
                  <a:schemeClr val="accent1"/>
                </a:solidFill>
              </a:rPr>
              <a:t> </a:t>
            </a:r>
            <a:r>
              <a:rPr lang="en-US" sz="1400" b="1" dirty="0" err="1">
                <a:solidFill>
                  <a:schemeClr val="accent1"/>
                </a:solidFill>
              </a:rPr>
              <a:t>Immunojenite</a:t>
            </a:r>
            <a:r>
              <a:rPr lang="en-US" sz="1400" b="1" dirty="0">
                <a:solidFill>
                  <a:schemeClr val="accent1"/>
                </a:solidFill>
              </a:rPr>
              <a:t> </a:t>
            </a:r>
            <a:r>
              <a:rPr lang="en-US" sz="1400" b="1" dirty="0" err="1">
                <a:solidFill>
                  <a:schemeClr val="accent1"/>
                </a:solidFill>
              </a:rPr>
              <a:t>ve</a:t>
            </a:r>
            <a:r>
              <a:rPr lang="en-US" sz="1400" b="1" dirty="0">
                <a:solidFill>
                  <a:schemeClr val="accent1"/>
                </a:solidFill>
              </a:rPr>
              <a:t> </a:t>
            </a:r>
            <a:r>
              <a:rPr lang="en-US" sz="1400" b="1" dirty="0" err="1">
                <a:solidFill>
                  <a:schemeClr val="accent1"/>
                </a:solidFill>
              </a:rPr>
              <a:t>Güvenlilik</a:t>
            </a:r>
            <a:r>
              <a:rPr lang="en-US" sz="1400" b="1" dirty="0">
                <a:solidFill>
                  <a:schemeClr val="accent1"/>
                </a:solidFill>
              </a:rPr>
              <a:t> </a:t>
            </a:r>
            <a:r>
              <a:rPr lang="en-US" sz="1400" b="1" dirty="0" err="1">
                <a:solidFill>
                  <a:schemeClr val="accent1"/>
                </a:solidFill>
              </a:rPr>
              <a:t>Denemeleri</a:t>
            </a:r>
            <a:endParaRPr lang="tr-TR" sz="1200" b="1" dirty="0">
              <a:solidFill>
                <a:schemeClr val="accent1"/>
              </a:solidFill>
            </a:endParaRPr>
          </a:p>
        </p:txBody>
      </p:sp>
      <p:sp>
        <p:nvSpPr>
          <p:cNvPr id="14" name="Speech Bubble: Rectangle with Corners Rounded 13">
            <a:extLst>
              <a:ext uri="{FF2B5EF4-FFF2-40B4-BE49-F238E27FC236}">
                <a16:creationId xmlns:a16="http://schemas.microsoft.com/office/drawing/2014/main" id="{AC25C064-648D-8643-A3B0-7436B5448CB4}"/>
              </a:ext>
            </a:extLst>
          </p:cNvPr>
          <p:cNvSpPr/>
          <p:nvPr/>
        </p:nvSpPr>
        <p:spPr>
          <a:xfrm>
            <a:off x="6691304" y="4681472"/>
            <a:ext cx="2986095" cy="384342"/>
          </a:xfrm>
          <a:prstGeom prst="wedgeRoundRectCallout">
            <a:avLst>
              <a:gd name="adj1" fmla="val -53345"/>
              <a:gd name="adj2" fmla="val 19634"/>
              <a:gd name="adj3" fmla="val 16667"/>
            </a:avLst>
          </a:prstGeom>
          <a:solidFill>
            <a:srgbClr val="FFFFFF">
              <a:alpha val="80000"/>
            </a:srgb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dirty="0">
                <a:solidFill>
                  <a:schemeClr val="accent1"/>
                </a:solidFill>
              </a:rPr>
              <a:t>60+ </a:t>
            </a:r>
            <a:r>
              <a:rPr lang="en-US" sz="1400" b="1" dirty="0" err="1">
                <a:solidFill>
                  <a:schemeClr val="accent1"/>
                </a:solidFill>
              </a:rPr>
              <a:t>Erişkin</a:t>
            </a:r>
            <a:r>
              <a:rPr lang="en-US" sz="1400" b="1" dirty="0">
                <a:solidFill>
                  <a:schemeClr val="accent1"/>
                </a:solidFill>
              </a:rPr>
              <a:t> </a:t>
            </a:r>
            <a:r>
              <a:rPr lang="en-US" sz="1400" b="1" dirty="0" err="1">
                <a:solidFill>
                  <a:schemeClr val="accent1"/>
                </a:solidFill>
              </a:rPr>
              <a:t>Endikasyon</a:t>
            </a:r>
            <a:endParaRPr lang="tr-TR" sz="1200" i="1" dirty="0">
              <a:solidFill>
                <a:schemeClr val="accent1"/>
              </a:solidFill>
            </a:endParaRPr>
          </a:p>
        </p:txBody>
      </p:sp>
      <p:sp>
        <p:nvSpPr>
          <p:cNvPr id="15" name="Speech Bubble: Rectangle with Corners Rounded 14">
            <a:extLst>
              <a:ext uri="{FF2B5EF4-FFF2-40B4-BE49-F238E27FC236}">
                <a16:creationId xmlns:a16="http://schemas.microsoft.com/office/drawing/2014/main" id="{9CAFBE86-1B0D-49CA-6B39-8DA4E8E78FA3}"/>
              </a:ext>
            </a:extLst>
          </p:cNvPr>
          <p:cNvSpPr/>
          <p:nvPr/>
        </p:nvSpPr>
        <p:spPr>
          <a:xfrm>
            <a:off x="6691304" y="5399176"/>
            <a:ext cx="2986096" cy="354931"/>
          </a:xfrm>
          <a:prstGeom prst="wedgeRoundRectCallout">
            <a:avLst>
              <a:gd name="adj1" fmla="val -54212"/>
              <a:gd name="adj2" fmla="val 22610"/>
              <a:gd name="adj3" fmla="val 16667"/>
            </a:avLst>
          </a:prstGeom>
          <a:solidFill>
            <a:srgbClr val="FFFFFF">
              <a:alpha val="80000"/>
            </a:srgb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dirty="0">
                <a:solidFill>
                  <a:schemeClr val="accent1"/>
                </a:solidFill>
              </a:rPr>
              <a:t>18 – 59 </a:t>
            </a:r>
            <a:r>
              <a:rPr lang="en-US" sz="1400" b="1" dirty="0" err="1">
                <a:solidFill>
                  <a:schemeClr val="accent1"/>
                </a:solidFill>
              </a:rPr>
              <a:t>Yaş</a:t>
            </a:r>
            <a:r>
              <a:rPr lang="en-US" sz="1400" b="1" dirty="0">
                <a:solidFill>
                  <a:schemeClr val="accent1"/>
                </a:solidFill>
              </a:rPr>
              <a:t> </a:t>
            </a:r>
            <a:r>
              <a:rPr lang="en-US" sz="1400" b="1" dirty="0" err="1">
                <a:solidFill>
                  <a:schemeClr val="accent1"/>
                </a:solidFill>
              </a:rPr>
              <a:t>Erişkin</a:t>
            </a:r>
            <a:r>
              <a:rPr lang="en-US" sz="1400" b="1" dirty="0">
                <a:solidFill>
                  <a:schemeClr val="accent1"/>
                </a:solidFill>
              </a:rPr>
              <a:t> </a:t>
            </a:r>
            <a:r>
              <a:rPr lang="en-US" sz="1400" b="1" dirty="0" err="1">
                <a:solidFill>
                  <a:schemeClr val="accent1"/>
                </a:solidFill>
              </a:rPr>
              <a:t>Endikasyon</a:t>
            </a:r>
            <a:endParaRPr lang="tr-TR" sz="1200" i="1" dirty="0">
              <a:solidFill>
                <a:schemeClr val="accent1"/>
              </a:solidFill>
            </a:endParaRPr>
          </a:p>
        </p:txBody>
      </p:sp>
      <p:pic>
        <p:nvPicPr>
          <p:cNvPr id="16" name="Picture 15" descr="A black and blue logo&#10;&#10;AI-generated content may be incorrect.">
            <a:extLst>
              <a:ext uri="{FF2B5EF4-FFF2-40B4-BE49-F238E27FC236}">
                <a16:creationId xmlns:a16="http://schemas.microsoft.com/office/drawing/2014/main" id="{DEBB3886-D79C-D7E0-354B-D665F7ADB63F}"/>
              </a:ext>
            </a:extLst>
          </p:cNvPr>
          <p:cNvPicPr>
            <a:picLocks noChangeAspect="1"/>
          </p:cNvPicPr>
          <p:nvPr/>
        </p:nvPicPr>
        <p:blipFill>
          <a:blip r:embed="rId17"/>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168377798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Background pattern&#10;&#10;Description automatically generated with low confidence">
            <a:extLst>
              <a:ext uri="{FF2B5EF4-FFF2-40B4-BE49-F238E27FC236}">
                <a16:creationId xmlns:a16="http://schemas.microsoft.com/office/drawing/2014/main" id="{AE505DA1-9EE9-9BF0-7667-B82205AA3DC2}"/>
              </a:ext>
            </a:extLst>
          </p:cNvPr>
          <p:cNvPicPr>
            <a:picLocks noChangeAspect="1"/>
          </p:cNvPicPr>
          <p:nvPr/>
        </p:nvPicPr>
        <p:blipFill rotWithShape="1">
          <a:blip r:embed="rId3"/>
          <a:srcRect l="2283" t="87597" r="86627" b="5244"/>
          <a:stretch/>
        </p:blipFill>
        <p:spPr bwMode="gray">
          <a:xfrm>
            <a:off x="10348562" y="343456"/>
            <a:ext cx="1674631" cy="607987"/>
          </a:xfrm>
          <a:prstGeom prst="rect">
            <a:avLst/>
          </a:prstGeom>
        </p:spPr>
      </p:pic>
      <p:sp>
        <p:nvSpPr>
          <p:cNvPr id="2" name="Title 1">
            <a:extLst>
              <a:ext uri="{FF2B5EF4-FFF2-40B4-BE49-F238E27FC236}">
                <a16:creationId xmlns:a16="http://schemas.microsoft.com/office/drawing/2014/main" id="{26711CEA-E31D-4787-9B31-38B63259A1FC}"/>
              </a:ext>
            </a:extLst>
          </p:cNvPr>
          <p:cNvSpPr>
            <a:spLocks noGrp="1"/>
          </p:cNvSpPr>
          <p:nvPr>
            <p:ph type="title"/>
          </p:nvPr>
        </p:nvSpPr>
        <p:spPr/>
        <p:txBody>
          <a:bodyPr>
            <a:normAutofit/>
          </a:bodyPr>
          <a:lstStyle/>
          <a:p>
            <a:r>
              <a:rPr lang="en-US" dirty="0" err="1"/>
              <a:t>Etkinliğin</a:t>
            </a:r>
            <a:r>
              <a:rPr lang="en-US" dirty="0"/>
              <a:t> </a:t>
            </a:r>
            <a:r>
              <a:rPr lang="en-US" dirty="0" err="1"/>
              <a:t>değerlendirilmesi</a:t>
            </a:r>
            <a:r>
              <a:rPr lang="en-US" dirty="0"/>
              <a:t>: Temel </a:t>
            </a:r>
            <a:r>
              <a:rPr lang="en-US" dirty="0" err="1"/>
              <a:t>çalışma</a:t>
            </a:r>
            <a:r>
              <a:rPr lang="en-US" dirty="0"/>
              <a:t> tanımları</a:t>
            </a:r>
            <a:r>
              <a:rPr lang="en-US" baseline="30000" dirty="0"/>
              <a:t>1,2</a:t>
            </a:r>
          </a:p>
        </p:txBody>
      </p:sp>
      <p:sp>
        <p:nvSpPr>
          <p:cNvPr id="3" name="Slide Number Placeholder 2">
            <a:extLst>
              <a:ext uri="{FF2B5EF4-FFF2-40B4-BE49-F238E27FC236}">
                <a16:creationId xmlns:a16="http://schemas.microsoft.com/office/drawing/2014/main" id="{B2FCF90F-77DD-DEA9-912C-E7B9C7B98BBE}"/>
              </a:ext>
            </a:extLst>
          </p:cNvPr>
          <p:cNvSpPr>
            <a:spLocks noGrp="1"/>
          </p:cNvSpPr>
          <p:nvPr>
            <p:ph type="sldNum" sz="quarter" idx="4"/>
          </p:nvPr>
        </p:nvSpPr>
        <p:spPr/>
        <p:txBody>
          <a:bodyPr anchor="t"/>
          <a:lstStyle/>
          <a:p>
            <a:fld id="{8C13A29A-185B-4182-9583-7B13F1AC164D}" type="slidenum">
              <a:rPr lang="en-US"/>
              <a:pPr/>
              <a:t>82</a:t>
            </a:fld>
            <a:endParaRPr lang="en-US"/>
          </a:p>
        </p:txBody>
      </p:sp>
      <p:sp>
        <p:nvSpPr>
          <p:cNvPr id="7" name="Text Placeholder 6">
            <a:extLst>
              <a:ext uri="{FF2B5EF4-FFF2-40B4-BE49-F238E27FC236}">
                <a16:creationId xmlns:a16="http://schemas.microsoft.com/office/drawing/2014/main" id="{D8AA52D0-6A1E-BFB9-E63F-7A93B6A82372}"/>
              </a:ext>
            </a:extLst>
          </p:cNvPr>
          <p:cNvSpPr>
            <a:spLocks noGrp="1"/>
          </p:cNvSpPr>
          <p:nvPr>
            <p:ph type="body" sz="quarter" idx="4294967295"/>
          </p:nvPr>
        </p:nvSpPr>
        <p:spPr>
          <a:xfrm>
            <a:off x="536420" y="6033171"/>
            <a:ext cx="10215563" cy="358775"/>
          </a:xfrm>
        </p:spPr>
        <p:txBody>
          <a:bodyPr anchor="t">
            <a:normAutofit/>
          </a:bodyPr>
          <a:lstStyle/>
          <a:p>
            <a:pPr marL="0" indent="0">
              <a:buNone/>
            </a:pPr>
            <a:r>
              <a:rPr lang="en-US" sz="600" dirty="0"/>
              <a:t>1. ABRYSVO® </a:t>
            </a:r>
            <a:r>
              <a:rPr lang="en-US" sz="600" dirty="0" err="1"/>
              <a:t>Kısa</a:t>
            </a:r>
            <a:r>
              <a:rPr lang="en-US" sz="600" dirty="0"/>
              <a:t> </a:t>
            </a:r>
            <a:r>
              <a:rPr lang="en-US" sz="600" dirty="0" err="1"/>
              <a:t>Ürün</a:t>
            </a:r>
            <a:r>
              <a:rPr lang="en-US" sz="600" dirty="0"/>
              <a:t> </a:t>
            </a:r>
            <a:r>
              <a:rPr lang="en-US" sz="600" dirty="0" err="1"/>
              <a:t>Bilgisi</a:t>
            </a:r>
            <a:r>
              <a:rPr lang="en-US" sz="600" dirty="0"/>
              <a:t>. 2. Walsh EE, et al. N Engl J Med. 2024;391:1459-1460. </a:t>
            </a:r>
          </a:p>
        </p:txBody>
      </p:sp>
      <p:grpSp>
        <p:nvGrpSpPr>
          <p:cNvPr id="55" name="Group 54">
            <a:extLst>
              <a:ext uri="{FF2B5EF4-FFF2-40B4-BE49-F238E27FC236}">
                <a16:creationId xmlns:a16="http://schemas.microsoft.com/office/drawing/2014/main" id="{0891D3ED-0D69-E3F6-BF56-BD9E81228082}"/>
              </a:ext>
            </a:extLst>
          </p:cNvPr>
          <p:cNvGrpSpPr/>
          <p:nvPr/>
        </p:nvGrpSpPr>
        <p:grpSpPr>
          <a:xfrm>
            <a:off x="7440366" y="5348876"/>
            <a:ext cx="4215214" cy="699697"/>
            <a:chOff x="6772099" y="753532"/>
            <a:chExt cx="4543601" cy="719237"/>
          </a:xfrm>
        </p:grpSpPr>
        <p:sp>
          <p:nvSpPr>
            <p:cNvPr id="12" name="Rectangle: Rounded Corners 11">
              <a:extLst>
                <a:ext uri="{FF2B5EF4-FFF2-40B4-BE49-F238E27FC236}">
                  <a16:creationId xmlns:a16="http://schemas.microsoft.com/office/drawing/2014/main" id="{4B6A875E-703D-6081-C9FF-222D707EE8AC}"/>
                </a:ext>
              </a:extLst>
            </p:cNvPr>
            <p:cNvSpPr/>
            <p:nvPr/>
          </p:nvSpPr>
          <p:spPr>
            <a:xfrm>
              <a:off x="6772099" y="753532"/>
              <a:ext cx="4543601" cy="719237"/>
            </a:xfrm>
            <a:prstGeom prst="roundRect">
              <a:avLst>
                <a:gd name="adj" fmla="val 7838"/>
              </a:avLst>
            </a:prstGeom>
            <a:solidFill>
              <a:schemeClr val="bg1"/>
            </a:solidFill>
            <a:ln w="127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600">
                <a:solidFill>
                  <a:srgbClr val="FFFFFF"/>
                </a:solidFill>
                <a:latin typeface="Arial" panose="020B0604020202020204"/>
              </a:endParaRPr>
            </a:p>
          </p:txBody>
        </p:sp>
        <p:sp>
          <p:nvSpPr>
            <p:cNvPr id="14" name="Rectangle 13">
              <a:extLst>
                <a:ext uri="{FF2B5EF4-FFF2-40B4-BE49-F238E27FC236}">
                  <a16:creationId xmlns:a16="http://schemas.microsoft.com/office/drawing/2014/main" id="{FFC0F34A-F3F1-5D22-AAE2-6E5753A0EC1D}"/>
                </a:ext>
              </a:extLst>
            </p:cNvPr>
            <p:cNvSpPr/>
            <p:nvPr/>
          </p:nvSpPr>
          <p:spPr>
            <a:xfrm>
              <a:off x="7186304" y="841905"/>
              <a:ext cx="3625036" cy="5913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685389">
                <a:defRPr/>
              </a:pPr>
              <a:endParaRPr lang="en-US" sz="1050" b="1">
                <a:solidFill>
                  <a:srgbClr val="0095FF"/>
                </a:solidFill>
                <a:latin typeface="Arial" panose="020B0604020202020204"/>
              </a:endParaRPr>
            </a:p>
            <a:p>
              <a:pPr defTabSz="685389">
                <a:defRPr/>
              </a:pPr>
              <a:endParaRPr lang="en-US" sz="1050" b="1">
                <a:solidFill>
                  <a:srgbClr val="0095FF"/>
                </a:solidFill>
                <a:latin typeface="Arial" panose="020B0604020202020204"/>
              </a:endParaRPr>
            </a:p>
            <a:p>
              <a:pPr defTabSz="685389">
                <a:defRPr/>
              </a:pPr>
              <a:r>
                <a:rPr lang="en-US" sz="1050" b="1">
                  <a:solidFill>
                    <a:srgbClr val="0095FF"/>
                  </a:solidFill>
                  <a:latin typeface="Arial" panose="020B0604020202020204"/>
                </a:rPr>
                <a:t>ARI </a:t>
              </a:r>
              <a:r>
                <a:rPr lang="en-US" sz="1050" b="1" err="1">
                  <a:solidFill>
                    <a:srgbClr val="0095FF"/>
                  </a:solidFill>
                  <a:latin typeface="Arial" panose="020B0604020202020204"/>
                </a:rPr>
                <a:t>semptomları</a:t>
              </a:r>
              <a:r>
                <a:rPr lang="en-US" sz="1050" b="1">
                  <a:solidFill>
                    <a:srgbClr val="0095FF"/>
                  </a:solidFill>
                  <a:latin typeface="Arial" panose="020B0604020202020204"/>
                </a:rPr>
                <a:t> </a:t>
              </a:r>
              <a:r>
                <a:rPr lang="en-US" sz="1050" b="1" err="1">
                  <a:solidFill>
                    <a:srgbClr val="0095FF"/>
                  </a:solidFill>
                  <a:latin typeface="Arial" panose="020B0604020202020204"/>
                </a:rPr>
                <a:t>için</a:t>
              </a:r>
              <a:r>
                <a:rPr lang="en-US" sz="1050" b="1">
                  <a:solidFill>
                    <a:srgbClr val="0095FF"/>
                  </a:solidFill>
                  <a:latin typeface="Arial" panose="020B0604020202020204"/>
                </a:rPr>
                <a:t> </a:t>
              </a:r>
              <a:r>
                <a:rPr lang="en-US" sz="1050" b="1" err="1">
                  <a:solidFill>
                    <a:srgbClr val="0095FF"/>
                  </a:solidFill>
                  <a:latin typeface="Arial" panose="020B0604020202020204"/>
                </a:rPr>
                <a:t>haftalık</a:t>
              </a:r>
              <a:r>
                <a:rPr lang="en-US" sz="1050" b="1">
                  <a:solidFill>
                    <a:srgbClr val="0095FF"/>
                  </a:solidFill>
                  <a:latin typeface="Arial" panose="020B0604020202020204"/>
                </a:rPr>
                <a:t> </a:t>
              </a:r>
              <a:r>
                <a:rPr lang="en-US" sz="1050" b="1" err="1">
                  <a:solidFill>
                    <a:srgbClr val="0095FF"/>
                  </a:solidFill>
                  <a:latin typeface="Arial" panose="020B0604020202020204"/>
                </a:rPr>
                <a:t>aktif</a:t>
              </a:r>
              <a:r>
                <a:rPr lang="en-US" sz="1050" b="1">
                  <a:solidFill>
                    <a:srgbClr val="0095FF"/>
                  </a:solidFill>
                  <a:latin typeface="Arial" panose="020B0604020202020204"/>
                </a:rPr>
                <a:t> </a:t>
              </a:r>
              <a:r>
                <a:rPr lang="en-US" sz="1050" b="1" err="1">
                  <a:solidFill>
                    <a:srgbClr val="0095FF"/>
                  </a:solidFill>
                  <a:latin typeface="Arial" panose="020B0604020202020204"/>
                </a:rPr>
                <a:t>sürveyans</a:t>
              </a:r>
              <a:r>
                <a:rPr lang="en-US" sz="1050" b="1">
                  <a:solidFill>
                    <a:srgbClr val="0095FF"/>
                  </a:solidFill>
                  <a:latin typeface="Arial" panose="020B0604020202020204"/>
                </a:rPr>
                <a:t>. </a:t>
              </a:r>
              <a:r>
                <a:rPr lang="en-US" sz="1050" b="1" err="1">
                  <a:solidFill>
                    <a:srgbClr val="0095FF"/>
                  </a:solidFill>
                  <a:latin typeface="Arial" panose="020B0604020202020204"/>
                </a:rPr>
                <a:t>Semptom</a:t>
              </a:r>
              <a:r>
                <a:rPr lang="en-US" sz="1050" b="1">
                  <a:solidFill>
                    <a:srgbClr val="0095FF"/>
                  </a:solidFill>
                  <a:latin typeface="Arial" panose="020B0604020202020204"/>
                </a:rPr>
                <a:t> </a:t>
              </a:r>
              <a:r>
                <a:rPr lang="en-US" sz="1050" b="1" err="1">
                  <a:solidFill>
                    <a:srgbClr val="0095FF"/>
                  </a:solidFill>
                  <a:latin typeface="Arial" panose="020B0604020202020204"/>
                </a:rPr>
                <a:t>gözlenen</a:t>
              </a:r>
              <a:r>
                <a:rPr lang="en-US" sz="1050" b="1">
                  <a:solidFill>
                    <a:srgbClr val="0095FF"/>
                  </a:solidFill>
                  <a:latin typeface="Arial" panose="020B0604020202020204"/>
                </a:rPr>
                <a:t> </a:t>
              </a:r>
              <a:r>
                <a:rPr lang="en-US" sz="1050" b="1" err="1">
                  <a:solidFill>
                    <a:srgbClr val="0095FF"/>
                  </a:solidFill>
                  <a:latin typeface="Arial" panose="020B0604020202020204"/>
                </a:rPr>
                <a:t>bireylerden</a:t>
              </a:r>
              <a:r>
                <a:rPr lang="en-US" sz="1050" b="1">
                  <a:solidFill>
                    <a:srgbClr val="0095FF"/>
                  </a:solidFill>
                  <a:latin typeface="Arial" panose="020B0604020202020204"/>
                </a:rPr>
                <a:t> </a:t>
              </a:r>
              <a:r>
                <a:rPr lang="en-US" sz="1050" b="1" err="1">
                  <a:solidFill>
                    <a:srgbClr val="0095FF"/>
                  </a:solidFill>
                  <a:latin typeface="Arial" panose="020B0604020202020204"/>
                </a:rPr>
                <a:t>nazal</a:t>
              </a:r>
              <a:r>
                <a:rPr lang="en-US" sz="1050" b="1">
                  <a:solidFill>
                    <a:srgbClr val="0095FF"/>
                  </a:solidFill>
                  <a:latin typeface="Arial" panose="020B0604020202020204"/>
                </a:rPr>
                <a:t> </a:t>
              </a:r>
              <a:r>
                <a:rPr lang="en-US" sz="1050" b="1" err="1">
                  <a:solidFill>
                    <a:srgbClr val="0095FF"/>
                  </a:solidFill>
                  <a:latin typeface="Arial" panose="020B0604020202020204"/>
                </a:rPr>
                <a:t>sürüntü</a:t>
              </a:r>
              <a:r>
                <a:rPr lang="en-US" sz="1050" b="1">
                  <a:solidFill>
                    <a:srgbClr val="0095FF"/>
                  </a:solidFill>
                  <a:latin typeface="Arial" panose="020B0604020202020204"/>
                </a:rPr>
                <a:t> </a:t>
              </a:r>
              <a:r>
                <a:rPr lang="en-US" sz="1050" b="1" err="1">
                  <a:solidFill>
                    <a:srgbClr val="0095FF"/>
                  </a:solidFill>
                  <a:latin typeface="Arial" panose="020B0604020202020204"/>
                </a:rPr>
                <a:t>alınır</a:t>
              </a:r>
              <a:r>
                <a:rPr lang="en-US" sz="1050" b="1">
                  <a:solidFill>
                    <a:srgbClr val="0095FF"/>
                  </a:solidFill>
                  <a:latin typeface="Arial" panose="020B0604020202020204"/>
                </a:rPr>
                <a:t>.</a:t>
              </a:r>
              <a:endParaRPr lang="en-US" sz="1050">
                <a:solidFill>
                  <a:srgbClr val="000000"/>
                </a:solidFill>
                <a:latin typeface="Arial" panose="020B0604020202020204"/>
              </a:endParaRPr>
            </a:p>
          </p:txBody>
        </p:sp>
        <p:grpSp>
          <p:nvGrpSpPr>
            <p:cNvPr id="39" name="Group 38">
              <a:extLst>
                <a:ext uri="{FF2B5EF4-FFF2-40B4-BE49-F238E27FC236}">
                  <a16:creationId xmlns:a16="http://schemas.microsoft.com/office/drawing/2014/main" id="{84ABB4E1-EDE3-9FFC-B8F8-FAC2EF6FF66C}"/>
                </a:ext>
              </a:extLst>
            </p:cNvPr>
            <p:cNvGrpSpPr/>
            <p:nvPr/>
          </p:nvGrpSpPr>
          <p:grpSpPr>
            <a:xfrm>
              <a:off x="6873872" y="833032"/>
              <a:ext cx="335077" cy="573369"/>
              <a:chOff x="8921426" y="1525000"/>
              <a:chExt cx="474142" cy="811332"/>
            </a:xfrm>
          </p:grpSpPr>
          <p:sp>
            <p:nvSpPr>
              <p:cNvPr id="40" name="Rectangle: Rounded Corners 39">
                <a:extLst>
                  <a:ext uri="{FF2B5EF4-FFF2-40B4-BE49-F238E27FC236}">
                    <a16:creationId xmlns:a16="http://schemas.microsoft.com/office/drawing/2014/main" id="{8D205B63-67D4-EFFE-187C-156EEACD2135}"/>
                  </a:ext>
                </a:extLst>
              </p:cNvPr>
              <p:cNvSpPr/>
              <p:nvPr/>
            </p:nvSpPr>
            <p:spPr>
              <a:xfrm>
                <a:off x="8944354" y="1540547"/>
                <a:ext cx="428287" cy="7819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595">
                  <a:defRPr/>
                </a:pPr>
                <a:endParaRPr lang="en-US" sz="1600">
                  <a:solidFill>
                    <a:srgbClr val="FFFFFF"/>
                  </a:solidFill>
                  <a:latin typeface="Arial" panose="020B0604020202020204"/>
                </a:endParaRPr>
              </a:p>
            </p:txBody>
          </p:sp>
          <p:sp>
            <p:nvSpPr>
              <p:cNvPr id="41" name="Freeform: Shape 40">
                <a:extLst>
                  <a:ext uri="{FF2B5EF4-FFF2-40B4-BE49-F238E27FC236}">
                    <a16:creationId xmlns:a16="http://schemas.microsoft.com/office/drawing/2014/main" id="{630514A1-6D25-360D-C39C-F09CDFFD5700}"/>
                  </a:ext>
                </a:extLst>
              </p:cNvPr>
              <p:cNvSpPr/>
              <p:nvPr/>
            </p:nvSpPr>
            <p:spPr>
              <a:xfrm>
                <a:off x="8921426" y="1525000"/>
                <a:ext cx="474142" cy="811332"/>
              </a:xfrm>
              <a:custGeom>
                <a:avLst/>
                <a:gdLst>
                  <a:gd name="connsiteX0" fmla="*/ 516981 w 630390"/>
                  <a:gd name="connsiteY0" fmla="*/ 1185836 h 1185835"/>
                  <a:gd name="connsiteX1" fmla="*/ 113382 w 630390"/>
                  <a:gd name="connsiteY1" fmla="*/ 1185836 h 1185835"/>
                  <a:gd name="connsiteX2" fmla="*/ 0 w 630390"/>
                  <a:gd name="connsiteY2" fmla="*/ 1072455 h 1185835"/>
                  <a:gd name="connsiteX3" fmla="*/ 0 w 630390"/>
                  <a:gd name="connsiteY3" fmla="*/ 113382 h 1185835"/>
                  <a:gd name="connsiteX4" fmla="*/ 113382 w 630390"/>
                  <a:gd name="connsiteY4" fmla="*/ 0 h 1185835"/>
                  <a:gd name="connsiteX5" fmla="*/ 517009 w 630390"/>
                  <a:gd name="connsiteY5" fmla="*/ 0 h 1185835"/>
                  <a:gd name="connsiteX6" fmla="*/ 630390 w 630390"/>
                  <a:gd name="connsiteY6" fmla="*/ 113382 h 1185835"/>
                  <a:gd name="connsiteX7" fmla="*/ 630390 w 630390"/>
                  <a:gd name="connsiteY7" fmla="*/ 1072455 h 1185835"/>
                  <a:gd name="connsiteX8" fmla="*/ 516981 w 630390"/>
                  <a:gd name="connsiteY8" fmla="*/ 1185836 h 1185835"/>
                  <a:gd name="connsiteX9" fmla="*/ 113382 w 630390"/>
                  <a:gd name="connsiteY9" fmla="*/ 41330 h 1185835"/>
                  <a:gd name="connsiteX10" fmla="*/ 41330 w 630390"/>
                  <a:gd name="connsiteY10" fmla="*/ 113382 h 1185835"/>
                  <a:gd name="connsiteX11" fmla="*/ 41330 w 630390"/>
                  <a:gd name="connsiteY11" fmla="*/ 1072455 h 1185835"/>
                  <a:gd name="connsiteX12" fmla="*/ 113382 w 630390"/>
                  <a:gd name="connsiteY12" fmla="*/ 1144506 h 1185835"/>
                  <a:gd name="connsiteX13" fmla="*/ 517009 w 630390"/>
                  <a:gd name="connsiteY13" fmla="*/ 1144506 h 1185835"/>
                  <a:gd name="connsiteX14" fmla="*/ 589061 w 630390"/>
                  <a:gd name="connsiteY14" fmla="*/ 1072455 h 1185835"/>
                  <a:gd name="connsiteX15" fmla="*/ 589061 w 630390"/>
                  <a:gd name="connsiteY15" fmla="*/ 113382 h 1185835"/>
                  <a:gd name="connsiteX16" fmla="*/ 517009 w 630390"/>
                  <a:gd name="connsiteY16" fmla="*/ 41330 h 1185835"/>
                  <a:gd name="connsiteX17" fmla="*/ 113382 w 630390"/>
                  <a:gd name="connsiteY17" fmla="*/ 41330 h 118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30390" h="1185835">
                    <a:moveTo>
                      <a:pt x="516981" y="1185836"/>
                    </a:moveTo>
                    <a:lnTo>
                      <a:pt x="113382" y="1185836"/>
                    </a:lnTo>
                    <a:cubicBezTo>
                      <a:pt x="50863" y="1185836"/>
                      <a:pt x="0" y="1134973"/>
                      <a:pt x="0" y="1072455"/>
                    </a:cubicBezTo>
                    <a:lnTo>
                      <a:pt x="0" y="113382"/>
                    </a:lnTo>
                    <a:cubicBezTo>
                      <a:pt x="0" y="50863"/>
                      <a:pt x="50863" y="0"/>
                      <a:pt x="113382" y="0"/>
                    </a:cubicBezTo>
                    <a:lnTo>
                      <a:pt x="517009" y="0"/>
                    </a:lnTo>
                    <a:cubicBezTo>
                      <a:pt x="579527" y="0"/>
                      <a:pt x="630390" y="50863"/>
                      <a:pt x="630390" y="113382"/>
                    </a:cubicBezTo>
                    <a:lnTo>
                      <a:pt x="630390" y="1072455"/>
                    </a:lnTo>
                    <a:cubicBezTo>
                      <a:pt x="630363" y="1134973"/>
                      <a:pt x="579500" y="1185836"/>
                      <a:pt x="516981" y="1185836"/>
                    </a:cubicBezTo>
                    <a:close/>
                    <a:moveTo>
                      <a:pt x="113382" y="41330"/>
                    </a:moveTo>
                    <a:cubicBezTo>
                      <a:pt x="73650" y="41330"/>
                      <a:pt x="41330" y="73650"/>
                      <a:pt x="41330" y="113382"/>
                    </a:cubicBezTo>
                    <a:lnTo>
                      <a:pt x="41330" y="1072455"/>
                    </a:lnTo>
                    <a:cubicBezTo>
                      <a:pt x="41330" y="1112186"/>
                      <a:pt x="73650" y="1144506"/>
                      <a:pt x="113382" y="1144506"/>
                    </a:cubicBezTo>
                    <a:lnTo>
                      <a:pt x="517009" y="1144506"/>
                    </a:lnTo>
                    <a:cubicBezTo>
                      <a:pt x="556741" y="1144506"/>
                      <a:pt x="589061" y="1112186"/>
                      <a:pt x="589061" y="1072455"/>
                    </a:cubicBezTo>
                    <a:lnTo>
                      <a:pt x="589061" y="113382"/>
                    </a:lnTo>
                    <a:cubicBezTo>
                      <a:pt x="589061" y="73650"/>
                      <a:pt x="556741" y="41330"/>
                      <a:pt x="517009" y="41330"/>
                    </a:cubicBezTo>
                    <a:lnTo>
                      <a:pt x="113382" y="41330"/>
                    </a:lnTo>
                    <a:close/>
                  </a:path>
                </a:pathLst>
              </a:custGeom>
              <a:solidFill>
                <a:schemeClr val="accent2"/>
              </a:solidFill>
              <a:ln w="275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5">
                  <a:defRPr/>
                </a:pPr>
                <a:endParaRPr lang="en-US" sz="1600">
                  <a:solidFill>
                    <a:srgbClr val="000000"/>
                  </a:solidFill>
                  <a:latin typeface="Arial" panose="020B0604020202020204"/>
                </a:endParaRPr>
              </a:p>
            </p:txBody>
          </p:sp>
          <p:sp>
            <p:nvSpPr>
              <p:cNvPr id="42" name="Freeform: Shape 41">
                <a:extLst>
                  <a:ext uri="{FF2B5EF4-FFF2-40B4-BE49-F238E27FC236}">
                    <a16:creationId xmlns:a16="http://schemas.microsoft.com/office/drawing/2014/main" id="{AB6688B5-D131-051D-B8AB-04C3599B3CE5}"/>
                  </a:ext>
                </a:extLst>
              </p:cNvPr>
              <p:cNvSpPr/>
              <p:nvPr/>
            </p:nvSpPr>
            <p:spPr>
              <a:xfrm>
                <a:off x="8937083" y="2175736"/>
                <a:ext cx="443455" cy="28277"/>
              </a:xfrm>
              <a:custGeom>
                <a:avLst/>
                <a:gdLst>
                  <a:gd name="connsiteX0" fmla="*/ 610304 w 630969"/>
                  <a:gd name="connsiteY0" fmla="*/ 41330 h 41329"/>
                  <a:gd name="connsiteX1" fmla="*/ 20665 w 630969"/>
                  <a:gd name="connsiteY1" fmla="*/ 41330 h 41329"/>
                  <a:gd name="connsiteX2" fmla="*/ 0 w 630969"/>
                  <a:gd name="connsiteY2" fmla="*/ 20665 h 41329"/>
                  <a:gd name="connsiteX3" fmla="*/ 20665 w 630969"/>
                  <a:gd name="connsiteY3" fmla="*/ 0 h 41329"/>
                  <a:gd name="connsiteX4" fmla="*/ 610304 w 630969"/>
                  <a:gd name="connsiteY4" fmla="*/ 0 h 41329"/>
                  <a:gd name="connsiteX5" fmla="*/ 630969 w 630969"/>
                  <a:gd name="connsiteY5" fmla="*/ 20665 h 41329"/>
                  <a:gd name="connsiteX6" fmla="*/ 610304 w 630969"/>
                  <a:gd name="connsiteY6" fmla="*/ 41330 h 4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969" h="41329">
                    <a:moveTo>
                      <a:pt x="610304" y="41330"/>
                    </a:moveTo>
                    <a:lnTo>
                      <a:pt x="20665" y="41330"/>
                    </a:lnTo>
                    <a:cubicBezTo>
                      <a:pt x="9258" y="41330"/>
                      <a:pt x="0" y="32072"/>
                      <a:pt x="0" y="20665"/>
                    </a:cubicBezTo>
                    <a:cubicBezTo>
                      <a:pt x="0" y="9258"/>
                      <a:pt x="9258" y="0"/>
                      <a:pt x="20665" y="0"/>
                    </a:cubicBezTo>
                    <a:lnTo>
                      <a:pt x="610304" y="0"/>
                    </a:lnTo>
                    <a:cubicBezTo>
                      <a:pt x="621711" y="0"/>
                      <a:pt x="630969" y="9258"/>
                      <a:pt x="630969" y="20665"/>
                    </a:cubicBezTo>
                    <a:cubicBezTo>
                      <a:pt x="630969" y="32072"/>
                      <a:pt x="621711" y="41330"/>
                      <a:pt x="610304" y="41330"/>
                    </a:cubicBezTo>
                    <a:close/>
                  </a:path>
                </a:pathLst>
              </a:custGeom>
              <a:solidFill>
                <a:schemeClr val="accent2"/>
              </a:solidFill>
              <a:ln w="275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5">
                  <a:defRPr/>
                </a:pPr>
                <a:endParaRPr lang="en-US" sz="1600">
                  <a:solidFill>
                    <a:srgbClr val="000000"/>
                  </a:solidFill>
                  <a:latin typeface="Arial" panose="020B0604020202020204"/>
                </a:endParaRPr>
              </a:p>
            </p:txBody>
          </p:sp>
          <p:sp>
            <p:nvSpPr>
              <p:cNvPr id="44" name="Freeform: Shape 43">
                <a:extLst>
                  <a:ext uri="{FF2B5EF4-FFF2-40B4-BE49-F238E27FC236}">
                    <a16:creationId xmlns:a16="http://schemas.microsoft.com/office/drawing/2014/main" id="{4EAF7D92-5B52-FFD2-CCC9-3E34748C1633}"/>
                  </a:ext>
                </a:extLst>
              </p:cNvPr>
              <p:cNvSpPr/>
              <p:nvPr/>
            </p:nvSpPr>
            <p:spPr>
              <a:xfrm>
                <a:off x="8937083" y="1600765"/>
                <a:ext cx="443455" cy="28277"/>
              </a:xfrm>
              <a:custGeom>
                <a:avLst/>
                <a:gdLst>
                  <a:gd name="connsiteX0" fmla="*/ 610304 w 630969"/>
                  <a:gd name="connsiteY0" fmla="*/ 41330 h 41329"/>
                  <a:gd name="connsiteX1" fmla="*/ 20665 w 630969"/>
                  <a:gd name="connsiteY1" fmla="*/ 41330 h 41329"/>
                  <a:gd name="connsiteX2" fmla="*/ 0 w 630969"/>
                  <a:gd name="connsiteY2" fmla="*/ 20665 h 41329"/>
                  <a:gd name="connsiteX3" fmla="*/ 20665 w 630969"/>
                  <a:gd name="connsiteY3" fmla="*/ 0 h 41329"/>
                  <a:gd name="connsiteX4" fmla="*/ 610304 w 630969"/>
                  <a:gd name="connsiteY4" fmla="*/ 0 h 41329"/>
                  <a:gd name="connsiteX5" fmla="*/ 630969 w 630969"/>
                  <a:gd name="connsiteY5" fmla="*/ 20665 h 41329"/>
                  <a:gd name="connsiteX6" fmla="*/ 610304 w 630969"/>
                  <a:gd name="connsiteY6" fmla="*/ 41330 h 4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969" h="41329">
                    <a:moveTo>
                      <a:pt x="610304" y="41330"/>
                    </a:moveTo>
                    <a:lnTo>
                      <a:pt x="20665" y="41330"/>
                    </a:lnTo>
                    <a:cubicBezTo>
                      <a:pt x="9258" y="41330"/>
                      <a:pt x="0" y="32072"/>
                      <a:pt x="0" y="20665"/>
                    </a:cubicBezTo>
                    <a:cubicBezTo>
                      <a:pt x="0" y="9258"/>
                      <a:pt x="9258" y="0"/>
                      <a:pt x="20665" y="0"/>
                    </a:cubicBezTo>
                    <a:lnTo>
                      <a:pt x="610304" y="0"/>
                    </a:lnTo>
                    <a:cubicBezTo>
                      <a:pt x="621711" y="0"/>
                      <a:pt x="630969" y="9258"/>
                      <a:pt x="630969" y="20665"/>
                    </a:cubicBezTo>
                    <a:cubicBezTo>
                      <a:pt x="630969" y="32072"/>
                      <a:pt x="621711" y="41330"/>
                      <a:pt x="610304" y="41330"/>
                    </a:cubicBezTo>
                    <a:close/>
                  </a:path>
                </a:pathLst>
              </a:custGeom>
              <a:solidFill>
                <a:schemeClr val="accent2"/>
              </a:solidFill>
              <a:ln w="275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5">
                  <a:defRPr/>
                </a:pPr>
                <a:endParaRPr lang="en-US" sz="1600">
                  <a:solidFill>
                    <a:srgbClr val="000000"/>
                  </a:solidFill>
                  <a:latin typeface="Arial" panose="020B0604020202020204"/>
                </a:endParaRPr>
              </a:p>
            </p:txBody>
          </p:sp>
          <p:sp>
            <p:nvSpPr>
              <p:cNvPr id="46" name="Freeform: Shape 45">
                <a:extLst>
                  <a:ext uri="{FF2B5EF4-FFF2-40B4-BE49-F238E27FC236}">
                    <a16:creationId xmlns:a16="http://schemas.microsoft.com/office/drawing/2014/main" id="{055D4F72-E0A7-5887-E436-4B8ABCA5AF80}"/>
                  </a:ext>
                </a:extLst>
              </p:cNvPr>
              <p:cNvSpPr/>
              <p:nvPr/>
            </p:nvSpPr>
            <p:spPr>
              <a:xfrm>
                <a:off x="9111868" y="2237947"/>
                <a:ext cx="93258" cy="28277"/>
              </a:xfrm>
              <a:custGeom>
                <a:avLst/>
                <a:gdLst>
                  <a:gd name="connsiteX0" fmla="*/ 103325 w 123989"/>
                  <a:gd name="connsiteY0" fmla="*/ 41330 h 41329"/>
                  <a:gd name="connsiteX1" fmla="*/ 20665 w 123989"/>
                  <a:gd name="connsiteY1" fmla="*/ 41330 h 41329"/>
                  <a:gd name="connsiteX2" fmla="*/ 0 w 123989"/>
                  <a:gd name="connsiteY2" fmla="*/ 20665 h 41329"/>
                  <a:gd name="connsiteX3" fmla="*/ 20665 w 123989"/>
                  <a:gd name="connsiteY3" fmla="*/ 0 h 41329"/>
                  <a:gd name="connsiteX4" fmla="*/ 103325 w 123989"/>
                  <a:gd name="connsiteY4" fmla="*/ 0 h 41329"/>
                  <a:gd name="connsiteX5" fmla="*/ 123990 w 123989"/>
                  <a:gd name="connsiteY5" fmla="*/ 20665 h 41329"/>
                  <a:gd name="connsiteX6" fmla="*/ 103325 w 123989"/>
                  <a:gd name="connsiteY6" fmla="*/ 41330 h 4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989" h="41329">
                    <a:moveTo>
                      <a:pt x="103325" y="41330"/>
                    </a:moveTo>
                    <a:lnTo>
                      <a:pt x="20665" y="41330"/>
                    </a:lnTo>
                    <a:cubicBezTo>
                      <a:pt x="9258" y="41330"/>
                      <a:pt x="0" y="32072"/>
                      <a:pt x="0" y="20665"/>
                    </a:cubicBezTo>
                    <a:cubicBezTo>
                      <a:pt x="0" y="9258"/>
                      <a:pt x="9258" y="0"/>
                      <a:pt x="20665" y="0"/>
                    </a:cubicBezTo>
                    <a:lnTo>
                      <a:pt x="103325" y="0"/>
                    </a:lnTo>
                    <a:cubicBezTo>
                      <a:pt x="114732" y="0"/>
                      <a:pt x="123990" y="9258"/>
                      <a:pt x="123990" y="20665"/>
                    </a:cubicBezTo>
                    <a:cubicBezTo>
                      <a:pt x="123990" y="32072"/>
                      <a:pt x="114732" y="41330"/>
                      <a:pt x="103325" y="41330"/>
                    </a:cubicBezTo>
                    <a:close/>
                  </a:path>
                </a:pathLst>
              </a:custGeom>
              <a:solidFill>
                <a:schemeClr val="accent2"/>
              </a:solidFill>
              <a:ln w="275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5">
                  <a:defRPr/>
                </a:pPr>
                <a:endParaRPr lang="en-US" sz="1600">
                  <a:solidFill>
                    <a:srgbClr val="000000"/>
                  </a:solidFill>
                  <a:latin typeface="Arial" panose="020B0604020202020204"/>
                </a:endParaRPr>
              </a:p>
            </p:txBody>
          </p:sp>
          <p:sp>
            <p:nvSpPr>
              <p:cNvPr id="47" name="TextBox 46">
                <a:extLst>
                  <a:ext uri="{FF2B5EF4-FFF2-40B4-BE49-F238E27FC236}">
                    <a16:creationId xmlns:a16="http://schemas.microsoft.com/office/drawing/2014/main" id="{CCF63935-82E0-C8DC-903C-561804C9D035}"/>
                  </a:ext>
                </a:extLst>
              </p:cNvPr>
              <p:cNvSpPr txBox="1"/>
              <p:nvPr/>
            </p:nvSpPr>
            <p:spPr>
              <a:xfrm>
                <a:off x="9032781" y="1755407"/>
                <a:ext cx="242316" cy="263518"/>
              </a:xfrm>
              <a:custGeom>
                <a:avLst/>
                <a:gdLst/>
                <a:ahLst/>
                <a:cxnLst/>
                <a:rect l="l" t="t" r="r" b="b"/>
                <a:pathLst>
                  <a:path w="242316" h="263518">
                    <a:moveTo>
                      <a:pt x="123177" y="45939"/>
                    </a:moveTo>
                    <a:cubicBezTo>
                      <a:pt x="106686" y="45939"/>
                      <a:pt x="92888" y="51155"/>
                      <a:pt x="81782" y="61588"/>
                    </a:cubicBezTo>
                    <a:cubicBezTo>
                      <a:pt x="70676" y="72021"/>
                      <a:pt x="64281" y="85483"/>
                      <a:pt x="62598" y="101974"/>
                    </a:cubicBezTo>
                    <a:lnTo>
                      <a:pt x="179213" y="101974"/>
                    </a:lnTo>
                    <a:cubicBezTo>
                      <a:pt x="178540" y="85147"/>
                      <a:pt x="173155" y="71601"/>
                      <a:pt x="163059" y="61336"/>
                    </a:cubicBezTo>
                    <a:cubicBezTo>
                      <a:pt x="152962" y="51071"/>
                      <a:pt x="139668" y="45939"/>
                      <a:pt x="123177" y="45939"/>
                    </a:cubicBezTo>
                    <a:close/>
                    <a:moveTo>
                      <a:pt x="123682" y="0"/>
                    </a:moveTo>
                    <a:cubicBezTo>
                      <a:pt x="161039" y="0"/>
                      <a:pt x="190151" y="11947"/>
                      <a:pt x="211017" y="35842"/>
                    </a:cubicBezTo>
                    <a:cubicBezTo>
                      <a:pt x="231883" y="59737"/>
                      <a:pt x="242316" y="92046"/>
                      <a:pt x="242316" y="132769"/>
                    </a:cubicBezTo>
                    <a:lnTo>
                      <a:pt x="242316" y="146399"/>
                    </a:lnTo>
                    <a:lnTo>
                      <a:pt x="63103" y="146399"/>
                    </a:lnTo>
                    <a:cubicBezTo>
                      <a:pt x="63440" y="166255"/>
                      <a:pt x="69329" y="182662"/>
                      <a:pt x="80772" y="195619"/>
                    </a:cubicBezTo>
                    <a:cubicBezTo>
                      <a:pt x="92215" y="208577"/>
                      <a:pt x="107191" y="215055"/>
                      <a:pt x="125701" y="215055"/>
                    </a:cubicBezTo>
                    <a:cubicBezTo>
                      <a:pt x="139500" y="215055"/>
                      <a:pt x="151195" y="211437"/>
                      <a:pt x="160787" y="204201"/>
                    </a:cubicBezTo>
                    <a:cubicBezTo>
                      <a:pt x="170378" y="196966"/>
                      <a:pt x="176184" y="186953"/>
                      <a:pt x="178203" y="174164"/>
                    </a:cubicBezTo>
                    <a:lnTo>
                      <a:pt x="240802" y="174164"/>
                    </a:lnTo>
                    <a:cubicBezTo>
                      <a:pt x="239119" y="190992"/>
                      <a:pt x="233313" y="206221"/>
                      <a:pt x="223385" y="219851"/>
                    </a:cubicBezTo>
                    <a:cubicBezTo>
                      <a:pt x="213457" y="233481"/>
                      <a:pt x="200079" y="244167"/>
                      <a:pt x="183252" y="251907"/>
                    </a:cubicBezTo>
                    <a:cubicBezTo>
                      <a:pt x="166424" y="259648"/>
                      <a:pt x="147241" y="263518"/>
                      <a:pt x="125701" y="263518"/>
                    </a:cubicBezTo>
                    <a:cubicBezTo>
                      <a:pt x="101133" y="263518"/>
                      <a:pt x="79342" y="258302"/>
                      <a:pt x="60327" y="247869"/>
                    </a:cubicBezTo>
                    <a:cubicBezTo>
                      <a:pt x="41312" y="237436"/>
                      <a:pt x="26503" y="222291"/>
                      <a:pt x="15902" y="202435"/>
                    </a:cubicBezTo>
                    <a:cubicBezTo>
                      <a:pt x="5301" y="182578"/>
                      <a:pt x="0" y="158683"/>
                      <a:pt x="0" y="130749"/>
                    </a:cubicBezTo>
                    <a:cubicBezTo>
                      <a:pt x="0" y="105172"/>
                      <a:pt x="5301" y="82455"/>
                      <a:pt x="15902" y="62598"/>
                    </a:cubicBezTo>
                    <a:cubicBezTo>
                      <a:pt x="26503" y="42742"/>
                      <a:pt x="41227" y="27344"/>
                      <a:pt x="60074" y="16407"/>
                    </a:cubicBezTo>
                    <a:cubicBezTo>
                      <a:pt x="78921" y="5469"/>
                      <a:pt x="100124" y="0"/>
                      <a:pt x="123682" y="0"/>
                    </a:cubicBezTo>
                    <a:close/>
                  </a:path>
                </a:pathLst>
              </a:custGeom>
              <a:solidFill>
                <a:srgbClr val="70AD47">
                  <a:tint val="1000"/>
                </a:srgbClr>
              </a:solidFill>
              <a:ln w="9525" cmpd="sng">
                <a:solidFill>
                  <a:schemeClr val="accent2"/>
                </a:solidFill>
                <a:prstDash val="solid"/>
              </a:ln>
              <a:effectLst>
                <a:glow rad="38100">
                  <a:schemeClr val="accent2">
                    <a:alpha val="25000"/>
                  </a:schemeClr>
                </a:glow>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595">
                  <a:defRPr/>
                </a:pPr>
                <a:endParaRPr lang="en-US" sz="3600" b="1" spc="38">
                  <a:ln w="9525" cmpd="sng">
                    <a:solidFill>
                      <a:srgbClr val="0000C9"/>
                    </a:solidFill>
                    <a:prstDash val="solid"/>
                  </a:ln>
                  <a:solidFill>
                    <a:srgbClr val="70AD47">
                      <a:tint val="1000"/>
                    </a:srgbClr>
                  </a:solidFill>
                  <a:effectLst>
                    <a:glow rad="38100">
                      <a:srgbClr val="0000C9">
                        <a:alpha val="25000"/>
                      </a:srgbClr>
                    </a:glow>
                  </a:effectLst>
                  <a:latin typeface="Arial" panose="020B0604020202020204"/>
                </a:endParaRPr>
              </a:p>
            </p:txBody>
          </p:sp>
        </p:grpSp>
        <p:sp>
          <p:nvSpPr>
            <p:cNvPr id="54" name="Freeform: Shape 53">
              <a:extLst>
                <a:ext uri="{FF2B5EF4-FFF2-40B4-BE49-F238E27FC236}">
                  <a16:creationId xmlns:a16="http://schemas.microsoft.com/office/drawing/2014/main" id="{17734122-551C-FFC0-49E4-E65E0A8F457D}"/>
                </a:ext>
              </a:extLst>
            </p:cNvPr>
            <p:cNvSpPr/>
            <p:nvPr/>
          </p:nvSpPr>
          <p:spPr>
            <a:xfrm>
              <a:off x="10620081" y="788987"/>
              <a:ext cx="538708" cy="677863"/>
            </a:xfrm>
            <a:custGeom>
              <a:avLst/>
              <a:gdLst>
                <a:gd name="connsiteX0" fmla="*/ 416797 w 538708"/>
                <a:gd name="connsiteY0" fmla="*/ 535736 h 677863"/>
                <a:gd name="connsiteX1" fmla="*/ 390640 w 538708"/>
                <a:gd name="connsiteY1" fmla="*/ 546804 h 677863"/>
                <a:gd name="connsiteX2" fmla="*/ 380359 w 538708"/>
                <a:gd name="connsiteY2" fmla="*/ 573263 h 677863"/>
                <a:gd name="connsiteX3" fmla="*/ 390519 w 538708"/>
                <a:gd name="connsiteY3" fmla="*/ 599904 h 677863"/>
                <a:gd name="connsiteX4" fmla="*/ 416766 w 538708"/>
                <a:gd name="connsiteY4" fmla="*/ 611062 h 677863"/>
                <a:gd name="connsiteX5" fmla="*/ 443014 w 538708"/>
                <a:gd name="connsiteY5" fmla="*/ 599904 h 677863"/>
                <a:gd name="connsiteX6" fmla="*/ 453204 w 538708"/>
                <a:gd name="connsiteY6" fmla="*/ 573263 h 677863"/>
                <a:gd name="connsiteX7" fmla="*/ 442923 w 538708"/>
                <a:gd name="connsiteY7" fmla="*/ 546804 h 677863"/>
                <a:gd name="connsiteX8" fmla="*/ 416797 w 538708"/>
                <a:gd name="connsiteY8" fmla="*/ 535736 h 677863"/>
                <a:gd name="connsiteX9" fmla="*/ 211443 w 538708"/>
                <a:gd name="connsiteY9" fmla="*/ 364585 h 677863"/>
                <a:gd name="connsiteX10" fmla="*/ 211443 w 538708"/>
                <a:gd name="connsiteY10" fmla="*/ 397183 h 677863"/>
                <a:gd name="connsiteX11" fmla="*/ 206394 w 538708"/>
                <a:gd name="connsiteY11" fmla="*/ 417473 h 677863"/>
                <a:gd name="connsiteX12" fmla="*/ 269381 w 538708"/>
                <a:gd name="connsiteY12" fmla="*/ 446896 h 677863"/>
                <a:gd name="connsiteX13" fmla="*/ 332369 w 538708"/>
                <a:gd name="connsiteY13" fmla="*/ 417473 h 677863"/>
                <a:gd name="connsiteX14" fmla="*/ 327320 w 538708"/>
                <a:gd name="connsiteY14" fmla="*/ 397183 h 677863"/>
                <a:gd name="connsiteX15" fmla="*/ 327320 w 538708"/>
                <a:gd name="connsiteY15" fmla="*/ 364585 h 677863"/>
                <a:gd name="connsiteX16" fmla="*/ 278544 w 538708"/>
                <a:gd name="connsiteY16" fmla="*/ 384271 h 677863"/>
                <a:gd name="connsiteX17" fmla="*/ 260218 w 538708"/>
                <a:gd name="connsiteY17" fmla="*/ 384271 h 677863"/>
                <a:gd name="connsiteX18" fmla="*/ 211443 w 538708"/>
                <a:gd name="connsiteY18" fmla="*/ 364585 h 677863"/>
                <a:gd name="connsiteX19" fmla="*/ 418731 w 538708"/>
                <a:gd name="connsiteY19" fmla="*/ 260808 h 677863"/>
                <a:gd name="connsiteX20" fmla="*/ 403792 w 538708"/>
                <a:gd name="connsiteY20" fmla="*/ 263651 h 677863"/>
                <a:gd name="connsiteX21" fmla="*/ 394993 w 538708"/>
                <a:gd name="connsiteY21" fmla="*/ 263651 h 677863"/>
                <a:gd name="connsiteX22" fmla="*/ 380055 w 538708"/>
                <a:gd name="connsiteY22" fmla="*/ 309947 h 677863"/>
                <a:gd name="connsiteX23" fmla="*/ 339776 w 538708"/>
                <a:gd name="connsiteY23" fmla="*/ 356001 h 677863"/>
                <a:gd name="connsiteX24" fmla="*/ 339776 w 538708"/>
                <a:gd name="connsiteY24" fmla="*/ 397187 h 677863"/>
                <a:gd name="connsiteX25" fmla="*/ 359129 w 538708"/>
                <a:gd name="connsiteY25" fmla="*/ 425944 h 677863"/>
                <a:gd name="connsiteX26" fmla="*/ 359160 w 538708"/>
                <a:gd name="connsiteY26" fmla="*/ 425944 h 677863"/>
                <a:gd name="connsiteX27" fmla="*/ 454261 w 538708"/>
                <a:gd name="connsiteY27" fmla="*/ 464680 h 677863"/>
                <a:gd name="connsiteX28" fmla="*/ 454261 w 538708"/>
                <a:gd name="connsiteY28" fmla="*/ 428968 h 677863"/>
                <a:gd name="connsiteX29" fmla="*/ 442830 w 538708"/>
                <a:gd name="connsiteY29" fmla="*/ 405774 h 677863"/>
                <a:gd name="connsiteX30" fmla="*/ 418729 w 538708"/>
                <a:gd name="connsiteY30" fmla="*/ 356635 h 677863"/>
                <a:gd name="connsiteX31" fmla="*/ 418729 w 538708"/>
                <a:gd name="connsiteY31" fmla="*/ 260837 h 677863"/>
                <a:gd name="connsiteX32" fmla="*/ 119995 w 538708"/>
                <a:gd name="connsiteY32" fmla="*/ 260808 h 677863"/>
                <a:gd name="connsiteX33" fmla="*/ 119965 w 538708"/>
                <a:gd name="connsiteY33" fmla="*/ 260837 h 677863"/>
                <a:gd name="connsiteX34" fmla="*/ 119997 w 538708"/>
                <a:gd name="connsiteY34" fmla="*/ 356634 h 677863"/>
                <a:gd name="connsiteX35" fmla="*/ 95866 w 538708"/>
                <a:gd name="connsiteY35" fmla="*/ 405773 h 677863"/>
                <a:gd name="connsiteX36" fmla="*/ 84465 w 538708"/>
                <a:gd name="connsiteY36" fmla="*/ 428966 h 677863"/>
                <a:gd name="connsiteX37" fmla="*/ 84496 w 538708"/>
                <a:gd name="connsiteY37" fmla="*/ 428966 h 677863"/>
                <a:gd name="connsiteX38" fmla="*/ 84496 w 538708"/>
                <a:gd name="connsiteY38" fmla="*/ 464679 h 677863"/>
                <a:gd name="connsiteX39" fmla="*/ 179596 w 538708"/>
                <a:gd name="connsiteY39" fmla="*/ 425942 h 677863"/>
                <a:gd name="connsiteX40" fmla="*/ 198949 w 538708"/>
                <a:gd name="connsiteY40" fmla="*/ 397186 h 677863"/>
                <a:gd name="connsiteX41" fmla="*/ 198949 w 538708"/>
                <a:gd name="connsiteY41" fmla="*/ 356000 h 677863"/>
                <a:gd name="connsiteX42" fmla="*/ 158641 w 538708"/>
                <a:gd name="connsiteY42" fmla="*/ 309946 h 677863"/>
                <a:gd name="connsiteX43" fmla="*/ 143763 w 538708"/>
                <a:gd name="connsiteY43" fmla="*/ 263650 h 677863"/>
                <a:gd name="connsiteX44" fmla="*/ 134964 w 538708"/>
                <a:gd name="connsiteY44" fmla="*/ 263650 h 677863"/>
                <a:gd name="connsiteX45" fmla="*/ 119995 w 538708"/>
                <a:gd name="connsiteY45" fmla="*/ 260808 h 677863"/>
                <a:gd name="connsiteX46" fmla="*/ 395591 w 538708"/>
                <a:gd name="connsiteY46" fmla="*/ 194433 h 677863"/>
                <a:gd name="connsiteX47" fmla="*/ 395620 w 538708"/>
                <a:gd name="connsiteY47" fmla="*/ 251223 h 677863"/>
                <a:gd name="connsiteX48" fmla="*/ 403785 w 538708"/>
                <a:gd name="connsiteY48" fmla="*/ 251223 h 677863"/>
                <a:gd name="connsiteX49" fmla="*/ 431666 w 538708"/>
                <a:gd name="connsiteY49" fmla="*/ 222828 h 677863"/>
                <a:gd name="connsiteX50" fmla="*/ 403785 w 538708"/>
                <a:gd name="connsiteY50" fmla="*/ 194433 h 677863"/>
                <a:gd name="connsiteX51" fmla="*/ 134959 w 538708"/>
                <a:gd name="connsiteY51" fmla="*/ 194432 h 677863"/>
                <a:gd name="connsiteX52" fmla="*/ 134929 w 538708"/>
                <a:gd name="connsiteY52" fmla="*/ 194433 h 677863"/>
                <a:gd name="connsiteX53" fmla="*/ 134957 w 538708"/>
                <a:gd name="connsiteY53" fmla="*/ 194433 h 677863"/>
                <a:gd name="connsiteX54" fmla="*/ 115187 w 538708"/>
                <a:gd name="connsiteY54" fmla="*/ 202926 h 677863"/>
                <a:gd name="connsiteX55" fmla="*/ 107048 w 538708"/>
                <a:gd name="connsiteY55" fmla="*/ 222827 h 677863"/>
                <a:gd name="connsiteX56" fmla="*/ 134959 w 538708"/>
                <a:gd name="connsiteY56" fmla="*/ 251222 h 677863"/>
                <a:gd name="connsiteX57" fmla="*/ 143063 w 538708"/>
                <a:gd name="connsiteY57" fmla="*/ 251222 h 677863"/>
                <a:gd name="connsiteX58" fmla="*/ 143063 w 538708"/>
                <a:gd name="connsiteY58" fmla="*/ 194433 h 677863"/>
                <a:gd name="connsiteX59" fmla="*/ 134957 w 538708"/>
                <a:gd name="connsiteY59" fmla="*/ 194433 h 677863"/>
                <a:gd name="connsiteX60" fmla="*/ 315359 w 538708"/>
                <a:gd name="connsiteY60" fmla="*/ 112213 h 677863"/>
                <a:gd name="connsiteX61" fmla="*/ 314724 w 538708"/>
                <a:gd name="connsiteY61" fmla="*/ 112576 h 677863"/>
                <a:gd name="connsiteX62" fmla="*/ 156726 w 538708"/>
                <a:gd name="connsiteY62" fmla="*/ 180675 h 677863"/>
                <a:gd name="connsiteX63" fmla="*/ 155486 w 538708"/>
                <a:gd name="connsiteY63" fmla="*/ 181915 h 677863"/>
                <a:gd name="connsiteX64" fmla="*/ 155486 w 538708"/>
                <a:gd name="connsiteY64" fmla="*/ 251283 h 677863"/>
                <a:gd name="connsiteX65" fmla="*/ 169457 w 538708"/>
                <a:gd name="connsiteY65" fmla="*/ 303717 h 677863"/>
                <a:gd name="connsiteX66" fmla="*/ 262776 w 538708"/>
                <a:gd name="connsiteY66" fmla="*/ 372087 h 677863"/>
                <a:gd name="connsiteX67" fmla="*/ 275960 w 538708"/>
                <a:gd name="connsiteY67" fmla="*/ 372087 h 677863"/>
                <a:gd name="connsiteX68" fmla="*/ 369281 w 538708"/>
                <a:gd name="connsiteY68" fmla="*/ 303717 h 677863"/>
                <a:gd name="connsiteX69" fmla="*/ 383251 w 538708"/>
                <a:gd name="connsiteY69" fmla="*/ 251283 h 677863"/>
                <a:gd name="connsiteX70" fmla="*/ 383251 w 538708"/>
                <a:gd name="connsiteY70" fmla="*/ 179586 h 677863"/>
                <a:gd name="connsiteX71" fmla="*/ 382465 w 538708"/>
                <a:gd name="connsiteY71" fmla="*/ 178437 h 677863"/>
                <a:gd name="connsiteX72" fmla="*/ 316785 w 538708"/>
                <a:gd name="connsiteY72" fmla="*/ 112940 h 677863"/>
                <a:gd name="connsiteX73" fmla="*/ 315516 w 538708"/>
                <a:gd name="connsiteY73" fmla="*/ 112213 h 677863"/>
                <a:gd name="connsiteX74" fmla="*/ 274149 w 538708"/>
                <a:gd name="connsiteY74" fmla="*/ 10763 h 677863"/>
                <a:gd name="connsiteX75" fmla="*/ 165594 w 538708"/>
                <a:gd name="connsiteY75" fmla="*/ 52613 h 677863"/>
                <a:gd name="connsiteX76" fmla="*/ 119994 w 538708"/>
                <a:gd name="connsiteY76" fmla="*/ 159628 h 677863"/>
                <a:gd name="connsiteX77" fmla="*/ 119994 w 538708"/>
                <a:gd name="connsiteY77" fmla="*/ 184787 h 677863"/>
                <a:gd name="connsiteX78" fmla="*/ 134962 w 538708"/>
                <a:gd name="connsiteY78" fmla="*/ 181944 h 677863"/>
                <a:gd name="connsiteX79" fmla="*/ 143066 w 538708"/>
                <a:gd name="connsiteY79" fmla="*/ 181944 h 677863"/>
                <a:gd name="connsiteX80" fmla="*/ 156372 w 538708"/>
                <a:gd name="connsiteY80" fmla="*/ 168276 h 677863"/>
                <a:gd name="connsiteX81" fmla="*/ 305932 w 538708"/>
                <a:gd name="connsiteY81" fmla="*/ 103807 h 677863"/>
                <a:gd name="connsiteX82" fmla="*/ 318148 w 538708"/>
                <a:gd name="connsiteY82" fmla="*/ 100027 h 677863"/>
                <a:gd name="connsiteX83" fmla="*/ 328158 w 538708"/>
                <a:gd name="connsiteY83" fmla="*/ 108010 h 677863"/>
                <a:gd name="connsiteX84" fmla="*/ 387335 w 538708"/>
                <a:gd name="connsiteY84" fmla="*/ 167066 h 677863"/>
                <a:gd name="connsiteX85" fmla="*/ 395620 w 538708"/>
                <a:gd name="connsiteY85" fmla="*/ 179585 h 677863"/>
                <a:gd name="connsiteX86" fmla="*/ 395620 w 538708"/>
                <a:gd name="connsiteY86" fmla="*/ 182005 h 677863"/>
                <a:gd name="connsiteX87" fmla="*/ 403785 w 538708"/>
                <a:gd name="connsiteY87" fmla="*/ 182005 h 677863"/>
                <a:gd name="connsiteX88" fmla="*/ 418724 w 538708"/>
                <a:gd name="connsiteY88" fmla="*/ 184817 h 677863"/>
                <a:gd name="connsiteX89" fmla="*/ 418724 w 538708"/>
                <a:gd name="connsiteY89" fmla="*/ 159658 h 677863"/>
                <a:gd name="connsiteX90" fmla="*/ 376510 w 538708"/>
                <a:gd name="connsiteY90" fmla="*/ 56027 h 677863"/>
                <a:gd name="connsiteX91" fmla="*/ 274148 w 538708"/>
                <a:gd name="connsiteY91" fmla="*/ 10788 h 677863"/>
                <a:gd name="connsiteX92" fmla="*/ 276236 w 538708"/>
                <a:gd name="connsiteY92" fmla="*/ 144 h 677863"/>
                <a:gd name="connsiteX93" fmla="*/ 385426 w 538708"/>
                <a:gd name="connsiteY93" fmla="*/ 49070 h 677863"/>
                <a:gd name="connsiteX94" fmla="*/ 431117 w 538708"/>
                <a:gd name="connsiteY94" fmla="*/ 159653 h 677863"/>
                <a:gd name="connsiteX95" fmla="*/ 431117 w 538708"/>
                <a:gd name="connsiteY95" fmla="*/ 192524 h 677863"/>
                <a:gd name="connsiteX96" fmla="*/ 444573 w 538708"/>
                <a:gd name="connsiteY96" fmla="*/ 222823 h 677863"/>
                <a:gd name="connsiteX97" fmla="*/ 431117 w 538708"/>
                <a:gd name="connsiteY97" fmla="*/ 253123 h 677863"/>
                <a:gd name="connsiteX98" fmla="*/ 431117 w 538708"/>
                <a:gd name="connsiteY98" fmla="*/ 356631 h 677863"/>
                <a:gd name="connsiteX99" fmla="*/ 450439 w 538708"/>
                <a:gd name="connsiteY99" fmla="*/ 395971 h 677863"/>
                <a:gd name="connsiteX100" fmla="*/ 466648 w 538708"/>
                <a:gd name="connsiteY100" fmla="*/ 428962 h 677863"/>
                <a:gd name="connsiteX101" fmla="*/ 466648 w 538708"/>
                <a:gd name="connsiteY101" fmla="*/ 469754 h 677863"/>
                <a:gd name="connsiteX102" fmla="*/ 488359 w 538708"/>
                <a:gd name="connsiteY102" fmla="*/ 478554 h 677863"/>
                <a:gd name="connsiteX103" fmla="*/ 538708 w 538708"/>
                <a:gd name="connsiteY103" fmla="*/ 553396 h 677863"/>
                <a:gd name="connsiteX104" fmla="*/ 538708 w 538708"/>
                <a:gd name="connsiteY104" fmla="*/ 677863 h 677863"/>
                <a:gd name="connsiteX105" fmla="*/ 526201 w 538708"/>
                <a:gd name="connsiteY105" fmla="*/ 677863 h 677863"/>
                <a:gd name="connsiteX106" fmla="*/ 526201 w 538708"/>
                <a:gd name="connsiteY106" fmla="*/ 553398 h 677863"/>
                <a:gd name="connsiteX107" fmla="*/ 483625 w 538708"/>
                <a:gd name="connsiteY107" fmla="*/ 490077 h 677863"/>
                <a:gd name="connsiteX108" fmla="*/ 483625 w 538708"/>
                <a:gd name="connsiteY108" fmla="*/ 490047 h 677863"/>
                <a:gd name="connsiteX109" fmla="*/ 422966 w 538708"/>
                <a:gd name="connsiteY109" fmla="*/ 465372 h 677863"/>
                <a:gd name="connsiteX110" fmla="*/ 422966 w 538708"/>
                <a:gd name="connsiteY110" fmla="*/ 524762 h 677863"/>
                <a:gd name="connsiteX111" fmla="*/ 465512 w 538708"/>
                <a:gd name="connsiteY111" fmla="*/ 576380 h 677863"/>
                <a:gd name="connsiteX112" fmla="*/ 416737 w 538708"/>
                <a:gd name="connsiteY112" fmla="*/ 622132 h 677863"/>
                <a:gd name="connsiteX113" fmla="*/ 367961 w 538708"/>
                <a:gd name="connsiteY113" fmla="*/ 576380 h 677863"/>
                <a:gd name="connsiteX114" fmla="*/ 410507 w 538708"/>
                <a:gd name="connsiteY114" fmla="*/ 524762 h 677863"/>
                <a:gd name="connsiteX115" fmla="*/ 410507 w 538708"/>
                <a:gd name="connsiteY115" fmla="*/ 460322 h 677863"/>
                <a:gd name="connsiteX116" fmla="*/ 354414 w 538708"/>
                <a:gd name="connsiteY116" fmla="*/ 437462 h 677863"/>
                <a:gd name="connsiteX117" fmla="*/ 339838 w 538708"/>
                <a:gd name="connsiteY117" fmla="*/ 427786 h 677863"/>
                <a:gd name="connsiteX118" fmla="*/ 269290 w 538708"/>
                <a:gd name="connsiteY118" fmla="*/ 459355 h 677863"/>
                <a:gd name="connsiteX119" fmla="*/ 198743 w 538708"/>
                <a:gd name="connsiteY119" fmla="*/ 427786 h 677863"/>
                <a:gd name="connsiteX120" fmla="*/ 198679 w 538708"/>
                <a:gd name="connsiteY120" fmla="*/ 427784 h 677863"/>
                <a:gd name="connsiteX121" fmla="*/ 184134 w 538708"/>
                <a:gd name="connsiteY121" fmla="*/ 437461 h 677863"/>
                <a:gd name="connsiteX122" fmla="*/ 184165 w 538708"/>
                <a:gd name="connsiteY122" fmla="*/ 437490 h 677863"/>
                <a:gd name="connsiteX123" fmla="*/ 153683 w 538708"/>
                <a:gd name="connsiteY123" fmla="*/ 449889 h 677863"/>
                <a:gd name="connsiteX124" fmla="*/ 153683 w 538708"/>
                <a:gd name="connsiteY124" fmla="*/ 486750 h 677863"/>
                <a:gd name="connsiteX125" fmla="*/ 191875 w 538708"/>
                <a:gd name="connsiteY125" fmla="*/ 521767 h 677863"/>
                <a:gd name="connsiteX126" fmla="*/ 191906 w 538708"/>
                <a:gd name="connsiteY126" fmla="*/ 521767 h 677863"/>
                <a:gd name="connsiteX127" fmla="*/ 213254 w 538708"/>
                <a:gd name="connsiteY127" fmla="*/ 616116 h 677863"/>
                <a:gd name="connsiteX128" fmla="*/ 208507 w 538708"/>
                <a:gd name="connsiteY128" fmla="*/ 634139 h 677863"/>
                <a:gd name="connsiteX129" fmla="*/ 188005 w 538708"/>
                <a:gd name="connsiteY129" fmla="*/ 646960 h 677863"/>
                <a:gd name="connsiteX130" fmla="*/ 174064 w 538708"/>
                <a:gd name="connsiteY130" fmla="*/ 655941 h 677863"/>
                <a:gd name="connsiteX131" fmla="*/ 162030 w 538708"/>
                <a:gd name="connsiteY131" fmla="*/ 644571 h 677863"/>
                <a:gd name="connsiteX132" fmla="*/ 170164 w 538708"/>
                <a:gd name="connsiteY132" fmla="*/ 630116 h 677863"/>
                <a:gd name="connsiteX133" fmla="*/ 186130 w 538708"/>
                <a:gd name="connsiteY133" fmla="*/ 634531 h 677863"/>
                <a:gd name="connsiteX134" fmla="*/ 199314 w 538708"/>
                <a:gd name="connsiteY134" fmla="*/ 625792 h 677863"/>
                <a:gd name="connsiteX135" fmla="*/ 201159 w 538708"/>
                <a:gd name="connsiteY135" fmla="*/ 618838 h 677863"/>
                <a:gd name="connsiteX136" fmla="*/ 201128 w 538708"/>
                <a:gd name="connsiteY136" fmla="*/ 618838 h 677863"/>
                <a:gd name="connsiteX137" fmla="*/ 179780 w 538708"/>
                <a:gd name="connsiteY137" fmla="*/ 524488 h 677863"/>
                <a:gd name="connsiteX138" fmla="*/ 147515 w 538708"/>
                <a:gd name="connsiteY138" fmla="*/ 498724 h 677863"/>
                <a:gd name="connsiteX139" fmla="*/ 115249 w 538708"/>
                <a:gd name="connsiteY139" fmla="*/ 524488 h 677863"/>
                <a:gd name="connsiteX140" fmla="*/ 93840 w 538708"/>
                <a:gd name="connsiteY140" fmla="*/ 618838 h 677863"/>
                <a:gd name="connsiteX141" fmla="*/ 95655 w 538708"/>
                <a:gd name="connsiteY141" fmla="*/ 625792 h 677863"/>
                <a:gd name="connsiteX142" fmla="*/ 108838 w 538708"/>
                <a:gd name="connsiteY142" fmla="*/ 634531 h 677863"/>
                <a:gd name="connsiteX143" fmla="*/ 124805 w 538708"/>
                <a:gd name="connsiteY143" fmla="*/ 630026 h 677863"/>
                <a:gd name="connsiteX144" fmla="*/ 133030 w 538708"/>
                <a:gd name="connsiteY144" fmla="*/ 644450 h 677863"/>
                <a:gd name="connsiteX145" fmla="*/ 121025 w 538708"/>
                <a:gd name="connsiteY145" fmla="*/ 655880 h 677863"/>
                <a:gd name="connsiteX146" fmla="*/ 107024 w 538708"/>
                <a:gd name="connsiteY146" fmla="*/ 646961 h 677863"/>
                <a:gd name="connsiteX147" fmla="*/ 86492 w 538708"/>
                <a:gd name="connsiteY147" fmla="*/ 634139 h 677863"/>
                <a:gd name="connsiteX148" fmla="*/ 81745 w 538708"/>
                <a:gd name="connsiteY148" fmla="*/ 616117 h 677863"/>
                <a:gd name="connsiteX149" fmla="*/ 103184 w 538708"/>
                <a:gd name="connsiteY149" fmla="*/ 521768 h 677863"/>
                <a:gd name="connsiteX150" fmla="*/ 141315 w 538708"/>
                <a:gd name="connsiteY150" fmla="*/ 486751 h 677863"/>
                <a:gd name="connsiteX151" fmla="*/ 141315 w 538708"/>
                <a:gd name="connsiteY151" fmla="*/ 454939 h 677863"/>
                <a:gd name="connsiteX152" fmla="*/ 55016 w 538708"/>
                <a:gd name="connsiteY152" fmla="*/ 490077 h 677863"/>
                <a:gd name="connsiteX153" fmla="*/ 12410 w 538708"/>
                <a:gd name="connsiteY153" fmla="*/ 553398 h 677863"/>
                <a:gd name="connsiteX154" fmla="*/ 12410 w 538708"/>
                <a:gd name="connsiteY154" fmla="*/ 677863 h 677863"/>
                <a:gd name="connsiteX155" fmla="*/ 0 w 538708"/>
                <a:gd name="connsiteY155" fmla="*/ 677863 h 677863"/>
                <a:gd name="connsiteX156" fmla="*/ 0 w 538708"/>
                <a:gd name="connsiteY156" fmla="*/ 553396 h 677863"/>
                <a:gd name="connsiteX157" fmla="*/ 50348 w 538708"/>
                <a:gd name="connsiteY157" fmla="*/ 478554 h 677863"/>
                <a:gd name="connsiteX158" fmla="*/ 50348 w 538708"/>
                <a:gd name="connsiteY158" fmla="*/ 478524 h 677863"/>
                <a:gd name="connsiteX159" fmla="*/ 72030 w 538708"/>
                <a:gd name="connsiteY159" fmla="*/ 469724 h 677863"/>
                <a:gd name="connsiteX160" fmla="*/ 72030 w 538708"/>
                <a:gd name="connsiteY160" fmla="*/ 428962 h 677863"/>
                <a:gd name="connsiteX161" fmla="*/ 88268 w 538708"/>
                <a:gd name="connsiteY161" fmla="*/ 395971 h 677863"/>
                <a:gd name="connsiteX162" fmla="*/ 107591 w 538708"/>
                <a:gd name="connsiteY162" fmla="*/ 356631 h 677863"/>
                <a:gd name="connsiteX163" fmla="*/ 107591 w 538708"/>
                <a:gd name="connsiteY163" fmla="*/ 253123 h 677863"/>
                <a:gd name="connsiteX164" fmla="*/ 94135 w 538708"/>
                <a:gd name="connsiteY164" fmla="*/ 222823 h 677863"/>
                <a:gd name="connsiteX165" fmla="*/ 107591 w 538708"/>
                <a:gd name="connsiteY165" fmla="*/ 192524 h 677863"/>
                <a:gd name="connsiteX166" fmla="*/ 107591 w 538708"/>
                <a:gd name="connsiteY166" fmla="*/ 159653 h 677863"/>
                <a:gd name="connsiteX167" fmla="*/ 158182 w 538708"/>
                <a:gd name="connsiteY167" fmla="*/ 44263 h 677863"/>
                <a:gd name="connsiteX168" fmla="*/ 276235 w 538708"/>
                <a:gd name="connsiteY168" fmla="*/ 144 h 677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538708" h="677863">
                  <a:moveTo>
                    <a:pt x="416797" y="535736"/>
                  </a:moveTo>
                  <a:cubicBezTo>
                    <a:pt x="406939" y="535736"/>
                    <a:pt x="397504" y="539728"/>
                    <a:pt x="390640" y="546804"/>
                  </a:cubicBezTo>
                  <a:cubicBezTo>
                    <a:pt x="383776" y="553850"/>
                    <a:pt x="380057" y="563406"/>
                    <a:pt x="380359" y="573263"/>
                  </a:cubicBezTo>
                  <a:cubicBezTo>
                    <a:pt x="379966" y="583151"/>
                    <a:pt x="383655" y="592767"/>
                    <a:pt x="390519" y="599904"/>
                  </a:cubicBezTo>
                  <a:cubicBezTo>
                    <a:pt x="397413" y="607010"/>
                    <a:pt x="406879" y="611062"/>
                    <a:pt x="416766" y="611062"/>
                  </a:cubicBezTo>
                  <a:cubicBezTo>
                    <a:pt x="426685" y="611062"/>
                    <a:pt x="436150" y="607010"/>
                    <a:pt x="443014" y="599904"/>
                  </a:cubicBezTo>
                  <a:cubicBezTo>
                    <a:pt x="449908" y="592767"/>
                    <a:pt x="453568" y="583151"/>
                    <a:pt x="453204" y="573263"/>
                  </a:cubicBezTo>
                  <a:cubicBezTo>
                    <a:pt x="453477" y="563405"/>
                    <a:pt x="449788" y="553880"/>
                    <a:pt x="442923" y="546804"/>
                  </a:cubicBezTo>
                  <a:cubicBezTo>
                    <a:pt x="436059" y="539728"/>
                    <a:pt x="426624" y="535736"/>
                    <a:pt x="416797" y="535736"/>
                  </a:cubicBezTo>
                  <a:close/>
                  <a:moveTo>
                    <a:pt x="211443" y="364585"/>
                  </a:moveTo>
                  <a:lnTo>
                    <a:pt x="211443" y="397183"/>
                  </a:lnTo>
                  <a:cubicBezTo>
                    <a:pt x="211414" y="404259"/>
                    <a:pt x="209689" y="411214"/>
                    <a:pt x="206394" y="417473"/>
                  </a:cubicBezTo>
                  <a:cubicBezTo>
                    <a:pt x="221997" y="436131"/>
                    <a:pt x="245070" y="446896"/>
                    <a:pt x="269381" y="446896"/>
                  </a:cubicBezTo>
                  <a:cubicBezTo>
                    <a:pt x="293693" y="446896"/>
                    <a:pt x="316766" y="436131"/>
                    <a:pt x="332369" y="417473"/>
                  </a:cubicBezTo>
                  <a:cubicBezTo>
                    <a:pt x="329074" y="411214"/>
                    <a:pt x="327349" y="404259"/>
                    <a:pt x="327320" y="397183"/>
                  </a:cubicBezTo>
                  <a:lnTo>
                    <a:pt x="327320" y="364585"/>
                  </a:lnTo>
                  <a:cubicBezTo>
                    <a:pt x="312320" y="373869"/>
                    <a:pt x="295811" y="380552"/>
                    <a:pt x="278544" y="384271"/>
                  </a:cubicBezTo>
                  <a:cubicBezTo>
                    <a:pt x="272496" y="385572"/>
                    <a:pt x="266267" y="385572"/>
                    <a:pt x="260218" y="384271"/>
                  </a:cubicBezTo>
                  <a:cubicBezTo>
                    <a:pt x="242952" y="380552"/>
                    <a:pt x="226442" y="373869"/>
                    <a:pt x="211443" y="364585"/>
                  </a:cubicBezTo>
                  <a:close/>
                  <a:moveTo>
                    <a:pt x="418731" y="260808"/>
                  </a:moveTo>
                  <a:cubicBezTo>
                    <a:pt x="413983" y="262683"/>
                    <a:pt x="408903" y="263651"/>
                    <a:pt x="403792" y="263651"/>
                  </a:cubicBezTo>
                  <a:lnTo>
                    <a:pt x="394993" y="263651"/>
                  </a:lnTo>
                  <a:cubicBezTo>
                    <a:pt x="393269" y="279950"/>
                    <a:pt x="388189" y="295735"/>
                    <a:pt x="380055" y="309947"/>
                  </a:cubicBezTo>
                  <a:cubicBezTo>
                    <a:pt x="369834" y="327818"/>
                    <a:pt x="356136" y="343482"/>
                    <a:pt x="339776" y="356001"/>
                  </a:cubicBezTo>
                  <a:lnTo>
                    <a:pt x="339776" y="397187"/>
                  </a:lnTo>
                  <a:cubicBezTo>
                    <a:pt x="339776" y="409827"/>
                    <a:pt x="347427" y="421196"/>
                    <a:pt x="359129" y="425944"/>
                  </a:cubicBezTo>
                  <a:lnTo>
                    <a:pt x="359160" y="425944"/>
                  </a:lnTo>
                  <a:lnTo>
                    <a:pt x="454261" y="464680"/>
                  </a:lnTo>
                  <a:lnTo>
                    <a:pt x="454261" y="428968"/>
                  </a:lnTo>
                  <a:cubicBezTo>
                    <a:pt x="454261" y="419896"/>
                    <a:pt x="450026" y="411338"/>
                    <a:pt x="442830" y="405774"/>
                  </a:cubicBezTo>
                  <a:cubicBezTo>
                    <a:pt x="427649" y="394010"/>
                    <a:pt x="418729" y="375868"/>
                    <a:pt x="418729" y="356635"/>
                  </a:cubicBezTo>
                  <a:lnTo>
                    <a:pt x="418729" y="260837"/>
                  </a:lnTo>
                  <a:close/>
                  <a:moveTo>
                    <a:pt x="119995" y="260808"/>
                  </a:moveTo>
                  <a:lnTo>
                    <a:pt x="119965" y="260837"/>
                  </a:lnTo>
                  <a:lnTo>
                    <a:pt x="119997" y="356634"/>
                  </a:lnTo>
                  <a:cubicBezTo>
                    <a:pt x="119997" y="375866"/>
                    <a:pt x="111076" y="394010"/>
                    <a:pt x="95866" y="405773"/>
                  </a:cubicBezTo>
                  <a:cubicBezTo>
                    <a:pt x="88669" y="411337"/>
                    <a:pt x="84465" y="419895"/>
                    <a:pt x="84465" y="428966"/>
                  </a:cubicBezTo>
                  <a:lnTo>
                    <a:pt x="84496" y="428966"/>
                  </a:lnTo>
                  <a:lnTo>
                    <a:pt x="84496" y="464679"/>
                  </a:lnTo>
                  <a:lnTo>
                    <a:pt x="179596" y="425942"/>
                  </a:lnTo>
                  <a:cubicBezTo>
                    <a:pt x="191299" y="421196"/>
                    <a:pt x="198919" y="409826"/>
                    <a:pt x="198949" y="397186"/>
                  </a:cubicBezTo>
                  <a:lnTo>
                    <a:pt x="198949" y="356000"/>
                  </a:lnTo>
                  <a:cubicBezTo>
                    <a:pt x="182560" y="343481"/>
                    <a:pt x="168862" y="327818"/>
                    <a:pt x="158641" y="309946"/>
                  </a:cubicBezTo>
                  <a:cubicBezTo>
                    <a:pt x="150537" y="295703"/>
                    <a:pt x="145457" y="279949"/>
                    <a:pt x="143763" y="263650"/>
                  </a:cubicBezTo>
                  <a:lnTo>
                    <a:pt x="134964" y="263650"/>
                  </a:lnTo>
                  <a:cubicBezTo>
                    <a:pt x="129823" y="263650"/>
                    <a:pt x="124743" y="262682"/>
                    <a:pt x="119995" y="260808"/>
                  </a:cubicBezTo>
                  <a:close/>
                  <a:moveTo>
                    <a:pt x="395591" y="194433"/>
                  </a:moveTo>
                  <a:lnTo>
                    <a:pt x="395620" y="251223"/>
                  </a:lnTo>
                  <a:lnTo>
                    <a:pt x="403785" y="251223"/>
                  </a:lnTo>
                  <a:cubicBezTo>
                    <a:pt x="419268" y="250950"/>
                    <a:pt x="431666" y="238310"/>
                    <a:pt x="431666" y="222828"/>
                  </a:cubicBezTo>
                  <a:cubicBezTo>
                    <a:pt x="431666" y="207346"/>
                    <a:pt x="419268" y="194705"/>
                    <a:pt x="403785" y="194433"/>
                  </a:cubicBezTo>
                  <a:close/>
                  <a:moveTo>
                    <a:pt x="134959" y="194432"/>
                  </a:moveTo>
                  <a:lnTo>
                    <a:pt x="134929" y="194433"/>
                  </a:lnTo>
                  <a:lnTo>
                    <a:pt x="134957" y="194433"/>
                  </a:lnTo>
                  <a:lnTo>
                    <a:pt x="115187" y="202926"/>
                  </a:lnTo>
                  <a:cubicBezTo>
                    <a:pt x="110148" y="208055"/>
                    <a:pt x="107048" y="215085"/>
                    <a:pt x="107048" y="222827"/>
                  </a:cubicBezTo>
                  <a:cubicBezTo>
                    <a:pt x="107048" y="238309"/>
                    <a:pt x="119447" y="250950"/>
                    <a:pt x="134959" y="251222"/>
                  </a:cubicBezTo>
                  <a:lnTo>
                    <a:pt x="143063" y="251222"/>
                  </a:lnTo>
                  <a:lnTo>
                    <a:pt x="143063" y="194433"/>
                  </a:lnTo>
                  <a:lnTo>
                    <a:pt x="134957" y="194433"/>
                  </a:lnTo>
                  <a:close/>
                  <a:moveTo>
                    <a:pt x="315359" y="112213"/>
                  </a:moveTo>
                  <a:cubicBezTo>
                    <a:pt x="315116" y="112274"/>
                    <a:pt x="314905" y="112395"/>
                    <a:pt x="314724" y="112576"/>
                  </a:cubicBezTo>
                  <a:cubicBezTo>
                    <a:pt x="272665" y="154578"/>
                    <a:pt x="216145" y="178921"/>
                    <a:pt x="156726" y="180675"/>
                  </a:cubicBezTo>
                  <a:cubicBezTo>
                    <a:pt x="156060" y="180675"/>
                    <a:pt x="155486" y="181249"/>
                    <a:pt x="155486" y="181915"/>
                  </a:cubicBezTo>
                  <a:lnTo>
                    <a:pt x="155486" y="251283"/>
                  </a:lnTo>
                  <a:cubicBezTo>
                    <a:pt x="155486" y="269668"/>
                    <a:pt x="160324" y="287751"/>
                    <a:pt x="169457" y="303717"/>
                  </a:cubicBezTo>
                  <a:cubicBezTo>
                    <a:pt x="189476" y="338703"/>
                    <a:pt x="223406" y="363559"/>
                    <a:pt x="262776" y="372087"/>
                  </a:cubicBezTo>
                  <a:cubicBezTo>
                    <a:pt x="267131" y="373025"/>
                    <a:pt x="271606" y="373025"/>
                    <a:pt x="275960" y="372087"/>
                  </a:cubicBezTo>
                  <a:cubicBezTo>
                    <a:pt x="315365" y="363560"/>
                    <a:pt x="349293" y="338703"/>
                    <a:pt x="369281" y="303717"/>
                  </a:cubicBezTo>
                  <a:cubicBezTo>
                    <a:pt x="378443" y="287751"/>
                    <a:pt x="383251" y="269668"/>
                    <a:pt x="383251" y="251283"/>
                  </a:cubicBezTo>
                  <a:lnTo>
                    <a:pt x="383251" y="179586"/>
                  </a:lnTo>
                  <a:cubicBezTo>
                    <a:pt x="383251" y="179072"/>
                    <a:pt x="382949" y="178619"/>
                    <a:pt x="382465" y="178437"/>
                  </a:cubicBezTo>
                  <a:cubicBezTo>
                    <a:pt x="353072" y="165707"/>
                    <a:pt x="329576" y="142302"/>
                    <a:pt x="316785" y="112940"/>
                  </a:cubicBezTo>
                  <a:cubicBezTo>
                    <a:pt x="316544" y="112456"/>
                    <a:pt x="316060" y="112153"/>
                    <a:pt x="315516" y="112213"/>
                  </a:cubicBezTo>
                  <a:close/>
                  <a:moveTo>
                    <a:pt x="274149" y="10763"/>
                  </a:moveTo>
                  <a:cubicBezTo>
                    <a:pt x="233814" y="9462"/>
                    <a:pt x="194654" y="24552"/>
                    <a:pt x="165594" y="52613"/>
                  </a:cubicBezTo>
                  <a:cubicBezTo>
                    <a:pt x="136565" y="80644"/>
                    <a:pt x="120115" y="119259"/>
                    <a:pt x="119994" y="159628"/>
                  </a:cubicBezTo>
                  <a:lnTo>
                    <a:pt x="119994" y="184787"/>
                  </a:lnTo>
                  <a:cubicBezTo>
                    <a:pt x="124742" y="182912"/>
                    <a:pt x="129822" y="181944"/>
                    <a:pt x="134962" y="181944"/>
                  </a:cubicBezTo>
                  <a:lnTo>
                    <a:pt x="143066" y="181944"/>
                  </a:lnTo>
                  <a:cubicBezTo>
                    <a:pt x="143066" y="174536"/>
                    <a:pt x="148964" y="168488"/>
                    <a:pt x="156372" y="168276"/>
                  </a:cubicBezTo>
                  <a:cubicBezTo>
                    <a:pt x="212612" y="166614"/>
                    <a:pt x="266108" y="143541"/>
                    <a:pt x="305932" y="103807"/>
                  </a:cubicBezTo>
                  <a:cubicBezTo>
                    <a:pt x="309137" y="100602"/>
                    <a:pt x="313703" y="99180"/>
                    <a:pt x="318148" y="100027"/>
                  </a:cubicBezTo>
                  <a:cubicBezTo>
                    <a:pt x="322593" y="100873"/>
                    <a:pt x="326344" y="103836"/>
                    <a:pt x="328158" y="108010"/>
                  </a:cubicBezTo>
                  <a:cubicBezTo>
                    <a:pt x="339679" y="134469"/>
                    <a:pt x="360846" y="155575"/>
                    <a:pt x="387335" y="167066"/>
                  </a:cubicBezTo>
                  <a:cubicBezTo>
                    <a:pt x="392355" y="169214"/>
                    <a:pt x="395591" y="174142"/>
                    <a:pt x="395620" y="179585"/>
                  </a:cubicBezTo>
                  <a:lnTo>
                    <a:pt x="395620" y="182005"/>
                  </a:lnTo>
                  <a:lnTo>
                    <a:pt x="403785" y="182005"/>
                  </a:lnTo>
                  <a:cubicBezTo>
                    <a:pt x="408896" y="181974"/>
                    <a:pt x="413976" y="182942"/>
                    <a:pt x="418724" y="184817"/>
                  </a:cubicBezTo>
                  <a:lnTo>
                    <a:pt x="418724" y="159658"/>
                  </a:lnTo>
                  <a:cubicBezTo>
                    <a:pt x="418633" y="120949"/>
                    <a:pt x="403483" y="83785"/>
                    <a:pt x="376510" y="56027"/>
                  </a:cubicBezTo>
                  <a:cubicBezTo>
                    <a:pt x="349535" y="28236"/>
                    <a:pt x="312824" y="12028"/>
                    <a:pt x="274148" y="10788"/>
                  </a:cubicBezTo>
                  <a:close/>
                  <a:moveTo>
                    <a:pt x="276236" y="144"/>
                  </a:moveTo>
                  <a:cubicBezTo>
                    <a:pt x="317539" y="1928"/>
                    <a:pt x="356607" y="19436"/>
                    <a:pt x="385426" y="49070"/>
                  </a:cubicBezTo>
                  <a:cubicBezTo>
                    <a:pt x="414213" y="78735"/>
                    <a:pt x="430573" y="118317"/>
                    <a:pt x="431117" y="159653"/>
                  </a:cubicBezTo>
                  <a:lnTo>
                    <a:pt x="431117" y="192524"/>
                  </a:lnTo>
                  <a:cubicBezTo>
                    <a:pt x="439705" y="200265"/>
                    <a:pt x="444573" y="211271"/>
                    <a:pt x="444573" y="222823"/>
                  </a:cubicBezTo>
                  <a:cubicBezTo>
                    <a:pt x="444573" y="234375"/>
                    <a:pt x="439705" y="245382"/>
                    <a:pt x="431117" y="253123"/>
                  </a:cubicBezTo>
                  <a:lnTo>
                    <a:pt x="431117" y="356631"/>
                  </a:lnTo>
                  <a:cubicBezTo>
                    <a:pt x="431117" y="372022"/>
                    <a:pt x="438254" y="386536"/>
                    <a:pt x="450439" y="395971"/>
                  </a:cubicBezTo>
                  <a:cubicBezTo>
                    <a:pt x="460661" y="403863"/>
                    <a:pt x="466648" y="416050"/>
                    <a:pt x="466648" y="428962"/>
                  </a:cubicBezTo>
                  <a:lnTo>
                    <a:pt x="466648" y="469754"/>
                  </a:lnTo>
                  <a:lnTo>
                    <a:pt x="488359" y="478554"/>
                  </a:lnTo>
                  <a:cubicBezTo>
                    <a:pt x="518810" y="490922"/>
                    <a:pt x="538708" y="520525"/>
                    <a:pt x="538708" y="553396"/>
                  </a:cubicBezTo>
                  <a:lnTo>
                    <a:pt x="538708" y="677863"/>
                  </a:lnTo>
                  <a:lnTo>
                    <a:pt x="526201" y="677863"/>
                  </a:lnTo>
                  <a:lnTo>
                    <a:pt x="526201" y="553398"/>
                  </a:lnTo>
                  <a:cubicBezTo>
                    <a:pt x="526201" y="525577"/>
                    <a:pt x="509389" y="500540"/>
                    <a:pt x="483625" y="490077"/>
                  </a:cubicBezTo>
                  <a:lnTo>
                    <a:pt x="483625" y="490047"/>
                  </a:lnTo>
                  <a:lnTo>
                    <a:pt x="422966" y="465372"/>
                  </a:lnTo>
                  <a:lnTo>
                    <a:pt x="422966" y="524762"/>
                  </a:lnTo>
                  <a:cubicBezTo>
                    <a:pt x="448548" y="528058"/>
                    <a:pt x="467175" y="550647"/>
                    <a:pt x="465512" y="576380"/>
                  </a:cubicBezTo>
                  <a:cubicBezTo>
                    <a:pt x="463879" y="602114"/>
                    <a:pt x="442530" y="622132"/>
                    <a:pt x="416737" y="622132"/>
                  </a:cubicBezTo>
                  <a:cubicBezTo>
                    <a:pt x="390943" y="622132"/>
                    <a:pt x="369594" y="602114"/>
                    <a:pt x="367961" y="576380"/>
                  </a:cubicBezTo>
                  <a:cubicBezTo>
                    <a:pt x="366298" y="550647"/>
                    <a:pt x="384924" y="528058"/>
                    <a:pt x="410507" y="524762"/>
                  </a:cubicBezTo>
                  <a:lnTo>
                    <a:pt x="410507" y="460322"/>
                  </a:lnTo>
                  <a:lnTo>
                    <a:pt x="354414" y="437462"/>
                  </a:lnTo>
                  <a:cubicBezTo>
                    <a:pt x="348940" y="435255"/>
                    <a:pt x="343981" y="431958"/>
                    <a:pt x="339838" y="427786"/>
                  </a:cubicBezTo>
                  <a:cubicBezTo>
                    <a:pt x="321877" y="447864"/>
                    <a:pt x="296234" y="459355"/>
                    <a:pt x="269290" y="459355"/>
                  </a:cubicBezTo>
                  <a:cubicBezTo>
                    <a:pt x="242347" y="459355"/>
                    <a:pt x="216674" y="447864"/>
                    <a:pt x="198743" y="427786"/>
                  </a:cubicBezTo>
                  <a:lnTo>
                    <a:pt x="198679" y="427784"/>
                  </a:lnTo>
                  <a:cubicBezTo>
                    <a:pt x="194537" y="431957"/>
                    <a:pt x="189607" y="435253"/>
                    <a:pt x="184134" y="437461"/>
                  </a:cubicBezTo>
                  <a:lnTo>
                    <a:pt x="184165" y="437490"/>
                  </a:lnTo>
                  <a:lnTo>
                    <a:pt x="153683" y="449889"/>
                  </a:lnTo>
                  <a:lnTo>
                    <a:pt x="153683" y="486750"/>
                  </a:lnTo>
                  <a:cubicBezTo>
                    <a:pt x="172462" y="489320"/>
                    <a:pt x="187673" y="503261"/>
                    <a:pt x="191875" y="521767"/>
                  </a:cubicBezTo>
                  <a:lnTo>
                    <a:pt x="191906" y="521767"/>
                  </a:lnTo>
                  <a:lnTo>
                    <a:pt x="213254" y="616116"/>
                  </a:lnTo>
                  <a:cubicBezTo>
                    <a:pt x="214706" y="622527"/>
                    <a:pt x="212952" y="629270"/>
                    <a:pt x="208507" y="634139"/>
                  </a:cubicBezTo>
                  <a:cubicBezTo>
                    <a:pt x="203003" y="640217"/>
                    <a:pt x="195897" y="644662"/>
                    <a:pt x="188005" y="646960"/>
                  </a:cubicBezTo>
                  <a:cubicBezTo>
                    <a:pt x="185979" y="652796"/>
                    <a:pt x="180233" y="656516"/>
                    <a:pt x="174064" y="655941"/>
                  </a:cubicBezTo>
                  <a:cubicBezTo>
                    <a:pt x="167926" y="655366"/>
                    <a:pt x="162937" y="650679"/>
                    <a:pt x="162030" y="644571"/>
                  </a:cubicBezTo>
                  <a:cubicBezTo>
                    <a:pt x="161092" y="638463"/>
                    <a:pt x="164449" y="632475"/>
                    <a:pt x="170164" y="630116"/>
                  </a:cubicBezTo>
                  <a:cubicBezTo>
                    <a:pt x="175849" y="627758"/>
                    <a:pt x="182441" y="629572"/>
                    <a:pt x="186130" y="634531"/>
                  </a:cubicBezTo>
                  <a:cubicBezTo>
                    <a:pt x="191180" y="632778"/>
                    <a:pt x="195716" y="629753"/>
                    <a:pt x="199314" y="625792"/>
                  </a:cubicBezTo>
                  <a:cubicBezTo>
                    <a:pt x="201038" y="623918"/>
                    <a:pt x="201703" y="621317"/>
                    <a:pt x="201159" y="618838"/>
                  </a:cubicBezTo>
                  <a:lnTo>
                    <a:pt x="201128" y="618838"/>
                  </a:lnTo>
                  <a:lnTo>
                    <a:pt x="179780" y="524488"/>
                  </a:lnTo>
                  <a:cubicBezTo>
                    <a:pt x="176393" y="509429"/>
                    <a:pt x="162966" y="498724"/>
                    <a:pt x="147515" y="498724"/>
                  </a:cubicBezTo>
                  <a:cubicBezTo>
                    <a:pt x="132063" y="498724"/>
                    <a:pt x="118666" y="509429"/>
                    <a:pt x="115249" y="524488"/>
                  </a:cubicBezTo>
                  <a:lnTo>
                    <a:pt x="93840" y="618838"/>
                  </a:lnTo>
                  <a:cubicBezTo>
                    <a:pt x="93266" y="621317"/>
                    <a:pt x="93931" y="623918"/>
                    <a:pt x="95655" y="625792"/>
                  </a:cubicBezTo>
                  <a:cubicBezTo>
                    <a:pt x="99252" y="629753"/>
                    <a:pt x="103789" y="632778"/>
                    <a:pt x="108838" y="634531"/>
                  </a:cubicBezTo>
                  <a:cubicBezTo>
                    <a:pt x="112498" y="629542"/>
                    <a:pt x="119090" y="627698"/>
                    <a:pt x="124805" y="630026"/>
                  </a:cubicBezTo>
                  <a:cubicBezTo>
                    <a:pt x="130520" y="632385"/>
                    <a:pt x="133906" y="638312"/>
                    <a:pt x="133030" y="644450"/>
                  </a:cubicBezTo>
                  <a:cubicBezTo>
                    <a:pt x="132123" y="650558"/>
                    <a:pt x="127163" y="655276"/>
                    <a:pt x="121025" y="655880"/>
                  </a:cubicBezTo>
                  <a:cubicBezTo>
                    <a:pt x="114856" y="656486"/>
                    <a:pt x="109080" y="652796"/>
                    <a:pt x="107024" y="646961"/>
                  </a:cubicBezTo>
                  <a:cubicBezTo>
                    <a:pt x="99132" y="644693"/>
                    <a:pt x="91995" y="640248"/>
                    <a:pt x="86492" y="634139"/>
                  </a:cubicBezTo>
                  <a:cubicBezTo>
                    <a:pt x="82047" y="629271"/>
                    <a:pt x="80293" y="622528"/>
                    <a:pt x="81745" y="616117"/>
                  </a:cubicBezTo>
                  <a:lnTo>
                    <a:pt x="103184" y="521768"/>
                  </a:lnTo>
                  <a:cubicBezTo>
                    <a:pt x="107387" y="503291"/>
                    <a:pt x="122567" y="489352"/>
                    <a:pt x="141315" y="486751"/>
                  </a:cubicBezTo>
                  <a:lnTo>
                    <a:pt x="141315" y="454939"/>
                  </a:lnTo>
                  <a:lnTo>
                    <a:pt x="55016" y="490077"/>
                  </a:lnTo>
                  <a:cubicBezTo>
                    <a:pt x="29253" y="500540"/>
                    <a:pt x="12410" y="525577"/>
                    <a:pt x="12410" y="553398"/>
                  </a:cubicBezTo>
                  <a:lnTo>
                    <a:pt x="12410" y="677863"/>
                  </a:lnTo>
                  <a:lnTo>
                    <a:pt x="0" y="677863"/>
                  </a:lnTo>
                  <a:lnTo>
                    <a:pt x="0" y="553396"/>
                  </a:lnTo>
                  <a:cubicBezTo>
                    <a:pt x="0" y="520525"/>
                    <a:pt x="19897" y="490922"/>
                    <a:pt x="50348" y="478554"/>
                  </a:cubicBezTo>
                  <a:lnTo>
                    <a:pt x="50348" y="478524"/>
                  </a:lnTo>
                  <a:lnTo>
                    <a:pt x="72030" y="469724"/>
                  </a:lnTo>
                  <a:lnTo>
                    <a:pt x="72030" y="428962"/>
                  </a:lnTo>
                  <a:cubicBezTo>
                    <a:pt x="72030" y="416050"/>
                    <a:pt x="78048" y="403863"/>
                    <a:pt x="88268" y="395971"/>
                  </a:cubicBezTo>
                  <a:cubicBezTo>
                    <a:pt x="100455" y="386537"/>
                    <a:pt x="107591" y="372023"/>
                    <a:pt x="107591" y="356631"/>
                  </a:cubicBezTo>
                  <a:lnTo>
                    <a:pt x="107591" y="253123"/>
                  </a:lnTo>
                  <a:cubicBezTo>
                    <a:pt x="99003" y="245382"/>
                    <a:pt x="94135" y="234375"/>
                    <a:pt x="94135" y="222823"/>
                  </a:cubicBezTo>
                  <a:cubicBezTo>
                    <a:pt x="94135" y="211271"/>
                    <a:pt x="99003" y="200265"/>
                    <a:pt x="107591" y="192524"/>
                  </a:cubicBezTo>
                  <a:lnTo>
                    <a:pt x="107591" y="159653"/>
                  </a:lnTo>
                  <a:cubicBezTo>
                    <a:pt x="108166" y="115929"/>
                    <a:pt x="126430" y="74290"/>
                    <a:pt x="158182" y="44263"/>
                  </a:cubicBezTo>
                  <a:cubicBezTo>
                    <a:pt x="189959" y="14205"/>
                    <a:pt x="232539" y="-1700"/>
                    <a:pt x="276235" y="144"/>
                  </a:cubicBezTo>
                  <a:close/>
                </a:path>
              </a:pathLst>
            </a:custGeom>
            <a:solidFill>
              <a:srgbClr val="51A7F9"/>
            </a:solidFill>
            <a:ln w="10668" cap="flat">
              <a:noFill/>
              <a:prstDash val="solid"/>
              <a:miter/>
            </a:ln>
          </p:spPr>
          <p:txBody>
            <a:bodyPr rtlCol="0" anchor="ctr"/>
            <a:lstStyle/>
            <a:p>
              <a:pPr defTabSz="171390">
                <a:defRPr/>
              </a:pPr>
              <a:endParaRPr lang="en-US">
                <a:solidFill>
                  <a:srgbClr val="000000"/>
                </a:solidFill>
                <a:latin typeface="Arial" panose="020B0604020202020204"/>
              </a:endParaRPr>
            </a:p>
          </p:txBody>
        </p:sp>
      </p:grpSp>
      <p:grpSp>
        <p:nvGrpSpPr>
          <p:cNvPr id="4" name="Group 3">
            <a:extLst>
              <a:ext uri="{FF2B5EF4-FFF2-40B4-BE49-F238E27FC236}">
                <a16:creationId xmlns:a16="http://schemas.microsoft.com/office/drawing/2014/main" id="{932C5515-B44C-9A79-5163-702A38F1C0B2}"/>
              </a:ext>
            </a:extLst>
          </p:cNvPr>
          <p:cNvGrpSpPr/>
          <p:nvPr/>
        </p:nvGrpSpPr>
        <p:grpSpPr>
          <a:xfrm>
            <a:off x="839992" y="2095500"/>
            <a:ext cx="10799558" cy="3243790"/>
            <a:chOff x="1592372" y="1685362"/>
            <a:chExt cx="8847029" cy="3524062"/>
          </a:xfrm>
        </p:grpSpPr>
        <p:sp>
          <p:nvSpPr>
            <p:cNvPr id="88" name="Rectangle 87">
              <a:extLst>
                <a:ext uri="{FF2B5EF4-FFF2-40B4-BE49-F238E27FC236}">
                  <a16:creationId xmlns:a16="http://schemas.microsoft.com/office/drawing/2014/main" id="{F737CF0D-D3A0-BFBB-7899-2E6824D4BBDC}"/>
                </a:ext>
              </a:extLst>
            </p:cNvPr>
            <p:cNvSpPr/>
            <p:nvPr/>
          </p:nvSpPr>
          <p:spPr>
            <a:xfrm>
              <a:off x="2357932" y="4308637"/>
              <a:ext cx="8081468" cy="78465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49">
                <a:solidFill>
                  <a:srgbClr val="FFFFFF"/>
                </a:solidFill>
                <a:latin typeface="Arial" panose="020B0604020202020204"/>
              </a:endParaRPr>
            </a:p>
          </p:txBody>
        </p:sp>
        <p:sp>
          <p:nvSpPr>
            <p:cNvPr id="90" name="Oval 89">
              <a:extLst>
                <a:ext uri="{FF2B5EF4-FFF2-40B4-BE49-F238E27FC236}">
                  <a16:creationId xmlns:a16="http://schemas.microsoft.com/office/drawing/2014/main" id="{4A376854-CE6A-B9F7-C5C8-F910C1325C26}"/>
                </a:ext>
              </a:extLst>
            </p:cNvPr>
            <p:cNvSpPr/>
            <p:nvPr/>
          </p:nvSpPr>
          <p:spPr>
            <a:xfrm>
              <a:off x="1752601" y="4235792"/>
              <a:ext cx="750857" cy="973632"/>
            </a:xfrm>
            <a:prstGeom prst="ellipse">
              <a:avLst/>
            </a:prstGeom>
            <a:solidFill>
              <a:srgbClr val="FFFFFF"/>
            </a:solidFill>
            <a:ln w="28575" cap="flat" cmpd="sng" algn="ctr">
              <a:solidFill>
                <a:srgbClr val="344068"/>
              </a:solidFill>
              <a:prstDash val="solid"/>
            </a:ln>
            <a:effectLst/>
          </p:spPr>
          <p:txBody>
            <a:bodyPr rtlCol="0" anchor="ctr"/>
            <a:lstStyle/>
            <a:p>
              <a:pPr algn="ctr" defTabSz="685595">
                <a:defRPr/>
              </a:pPr>
              <a:endParaRPr lang="en-US" sz="1349" kern="0">
                <a:solidFill>
                  <a:srgbClr val="FFFFFF"/>
                </a:solidFill>
                <a:latin typeface="Arial" panose="020B0604020202020204"/>
              </a:endParaRPr>
            </a:p>
          </p:txBody>
        </p:sp>
        <p:sp>
          <p:nvSpPr>
            <p:cNvPr id="97" name="TextBox 96">
              <a:extLst>
                <a:ext uri="{FF2B5EF4-FFF2-40B4-BE49-F238E27FC236}">
                  <a16:creationId xmlns:a16="http://schemas.microsoft.com/office/drawing/2014/main" id="{D1FD8113-A686-0FE3-FB70-BA5CE5607344}"/>
                </a:ext>
              </a:extLst>
            </p:cNvPr>
            <p:cNvSpPr txBox="1"/>
            <p:nvPr/>
          </p:nvSpPr>
          <p:spPr>
            <a:xfrm>
              <a:off x="2643320" y="4257159"/>
              <a:ext cx="1387967" cy="707886"/>
            </a:xfrm>
            <a:prstGeom prst="rect">
              <a:avLst/>
            </a:prstGeom>
            <a:noFill/>
          </p:spPr>
          <p:txBody>
            <a:bodyPr wrap="square" rtlCol="0" anchor="ctr">
              <a:spAutoFit/>
            </a:bodyPr>
            <a:lstStyle/>
            <a:p>
              <a:pPr defTabSz="685389">
                <a:defRPr/>
              </a:pPr>
              <a:r>
                <a:rPr lang="en-US" sz="1000" err="1">
                  <a:solidFill>
                    <a:srgbClr val="000067"/>
                  </a:solidFill>
                  <a:latin typeface="Arial" panose="020B0604020202020204"/>
                </a:rPr>
                <a:t>Merkezi</a:t>
              </a:r>
              <a:r>
                <a:rPr lang="en-US" sz="1000">
                  <a:solidFill>
                    <a:srgbClr val="000067"/>
                  </a:solidFill>
                  <a:latin typeface="Arial" panose="020B0604020202020204"/>
                </a:rPr>
                <a:t> </a:t>
              </a:r>
              <a:r>
                <a:rPr lang="en-US" sz="1000" err="1">
                  <a:solidFill>
                    <a:srgbClr val="000067"/>
                  </a:solidFill>
                  <a:latin typeface="Arial" panose="020B0604020202020204"/>
                </a:rPr>
                <a:t>laboratuvarda</a:t>
              </a:r>
              <a:r>
                <a:rPr lang="en-US" sz="1000">
                  <a:solidFill>
                    <a:srgbClr val="000067"/>
                  </a:solidFill>
                  <a:latin typeface="Arial" panose="020B0604020202020204"/>
                </a:rPr>
                <a:t> </a:t>
              </a:r>
              <a:r>
                <a:rPr lang="en-US" sz="1000" err="1">
                  <a:solidFill>
                    <a:srgbClr val="000067"/>
                  </a:solidFill>
                  <a:latin typeface="Arial" panose="020B0604020202020204"/>
                </a:rPr>
                <a:t>pozitif</a:t>
              </a:r>
              <a:r>
                <a:rPr lang="en-US" sz="1000">
                  <a:solidFill>
                    <a:srgbClr val="000067"/>
                  </a:solidFill>
                  <a:latin typeface="Arial" panose="020B0604020202020204"/>
                </a:rPr>
                <a:t> </a:t>
              </a:r>
              <a:r>
                <a:rPr lang="en-US" sz="1000" err="1">
                  <a:solidFill>
                    <a:srgbClr val="000067"/>
                  </a:solidFill>
                  <a:latin typeface="Arial" panose="020B0604020202020204"/>
                </a:rPr>
                <a:t>doğrulanmış</a:t>
              </a:r>
              <a:r>
                <a:rPr lang="en-US" sz="1000">
                  <a:solidFill>
                    <a:srgbClr val="000067"/>
                  </a:solidFill>
                  <a:latin typeface="Arial" panose="020B0604020202020204"/>
                </a:rPr>
                <a:t> RT-PCR</a:t>
              </a:r>
              <a:endParaRPr lang="en-US">
                <a:solidFill>
                  <a:srgbClr val="00004E"/>
                </a:solidFill>
                <a:latin typeface="Arial" panose="020B0604020202020204"/>
              </a:endParaRPr>
            </a:p>
          </p:txBody>
        </p:sp>
        <p:grpSp>
          <p:nvGrpSpPr>
            <p:cNvPr id="50" name="Group 49">
              <a:extLst>
                <a:ext uri="{FF2B5EF4-FFF2-40B4-BE49-F238E27FC236}">
                  <a16:creationId xmlns:a16="http://schemas.microsoft.com/office/drawing/2014/main" id="{CB6AC0FD-87C0-BFD5-69A3-F919DDE6B83D}"/>
                </a:ext>
              </a:extLst>
            </p:cNvPr>
            <p:cNvGrpSpPr/>
            <p:nvPr/>
          </p:nvGrpSpPr>
          <p:grpSpPr>
            <a:xfrm>
              <a:off x="1863978" y="4387169"/>
              <a:ext cx="482619" cy="580928"/>
              <a:chOff x="-2038337" y="4526568"/>
              <a:chExt cx="718219" cy="666498"/>
            </a:xfrm>
            <a:solidFill>
              <a:schemeClr val="tx2"/>
            </a:solidFill>
          </p:grpSpPr>
          <p:grpSp>
            <p:nvGrpSpPr>
              <p:cNvPr id="36" name="Group 35">
                <a:extLst>
                  <a:ext uri="{FF2B5EF4-FFF2-40B4-BE49-F238E27FC236}">
                    <a16:creationId xmlns:a16="http://schemas.microsoft.com/office/drawing/2014/main" id="{A524F857-3A0B-E841-61F6-CEB6DDF9CC1B}"/>
                  </a:ext>
                </a:extLst>
              </p:cNvPr>
              <p:cNvGrpSpPr/>
              <p:nvPr/>
            </p:nvGrpSpPr>
            <p:grpSpPr bwMode="gray">
              <a:xfrm>
                <a:off x="-1646885" y="4896497"/>
                <a:ext cx="291955" cy="289610"/>
                <a:chOff x="9044047" y="1001835"/>
                <a:chExt cx="525646" cy="522546"/>
              </a:xfrm>
              <a:grpFill/>
            </p:grpSpPr>
            <p:sp>
              <p:nvSpPr>
                <p:cNvPr id="37" name="Freeform 6">
                  <a:extLst>
                    <a:ext uri="{FF2B5EF4-FFF2-40B4-BE49-F238E27FC236}">
                      <a16:creationId xmlns:a16="http://schemas.microsoft.com/office/drawing/2014/main" id="{BF8E6215-4D3F-170B-D456-93E3314AF27A}"/>
                    </a:ext>
                  </a:extLst>
                </p:cNvPr>
                <p:cNvSpPr>
                  <a:spLocks noEditPoints="1"/>
                </p:cNvSpPr>
                <p:nvPr/>
              </p:nvSpPr>
              <p:spPr bwMode="gray">
                <a:xfrm>
                  <a:off x="9044047" y="1001835"/>
                  <a:ext cx="525646" cy="522546"/>
                </a:xfrm>
                <a:custGeom>
                  <a:avLst/>
                  <a:gdLst>
                    <a:gd name="T0" fmla="*/ 510 w 1020"/>
                    <a:gd name="T1" fmla="*/ 0 h 1020"/>
                    <a:gd name="T2" fmla="*/ 0 w 1020"/>
                    <a:gd name="T3" fmla="*/ 510 h 1020"/>
                    <a:gd name="T4" fmla="*/ 510 w 1020"/>
                    <a:gd name="T5" fmla="*/ 1020 h 1020"/>
                    <a:gd name="T6" fmla="*/ 1020 w 1020"/>
                    <a:gd name="T7" fmla="*/ 510 h 1020"/>
                    <a:gd name="T8" fmla="*/ 510 w 1020"/>
                    <a:gd name="T9" fmla="*/ 0 h 1020"/>
                    <a:gd name="T10" fmla="*/ 510 w 1020"/>
                    <a:gd name="T11" fmla="*/ 900 h 1020"/>
                    <a:gd name="T12" fmla="*/ 120 w 1020"/>
                    <a:gd name="T13" fmla="*/ 510 h 1020"/>
                    <a:gd name="T14" fmla="*/ 510 w 1020"/>
                    <a:gd name="T15" fmla="*/ 120 h 1020"/>
                    <a:gd name="T16" fmla="*/ 900 w 1020"/>
                    <a:gd name="T17" fmla="*/ 510 h 1020"/>
                    <a:gd name="T18" fmla="*/ 510 w 1020"/>
                    <a:gd name="T19" fmla="*/ 900 h 1020"/>
                    <a:gd name="T20" fmla="*/ 510 w 1020"/>
                    <a:gd name="T21" fmla="*/ 900 h 1020"/>
                    <a:gd name="T22" fmla="*/ 510 w 1020"/>
                    <a:gd name="T23" fmla="*/ 90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0" h="1020">
                      <a:moveTo>
                        <a:pt x="510" y="0"/>
                      </a:moveTo>
                      <a:cubicBezTo>
                        <a:pt x="229" y="0"/>
                        <a:pt x="0" y="229"/>
                        <a:pt x="0" y="510"/>
                      </a:cubicBezTo>
                      <a:cubicBezTo>
                        <a:pt x="0" y="791"/>
                        <a:pt x="229" y="1020"/>
                        <a:pt x="510" y="1020"/>
                      </a:cubicBezTo>
                      <a:cubicBezTo>
                        <a:pt x="791" y="1020"/>
                        <a:pt x="1020" y="791"/>
                        <a:pt x="1020" y="510"/>
                      </a:cubicBezTo>
                      <a:cubicBezTo>
                        <a:pt x="1020" y="229"/>
                        <a:pt x="791" y="0"/>
                        <a:pt x="510" y="0"/>
                      </a:cubicBezTo>
                      <a:close/>
                      <a:moveTo>
                        <a:pt x="510" y="900"/>
                      </a:moveTo>
                      <a:cubicBezTo>
                        <a:pt x="295" y="900"/>
                        <a:pt x="120" y="725"/>
                        <a:pt x="120" y="510"/>
                      </a:cubicBezTo>
                      <a:cubicBezTo>
                        <a:pt x="120" y="295"/>
                        <a:pt x="295" y="120"/>
                        <a:pt x="510" y="120"/>
                      </a:cubicBezTo>
                      <a:cubicBezTo>
                        <a:pt x="725" y="120"/>
                        <a:pt x="900" y="295"/>
                        <a:pt x="900" y="510"/>
                      </a:cubicBezTo>
                      <a:cubicBezTo>
                        <a:pt x="900" y="725"/>
                        <a:pt x="725" y="900"/>
                        <a:pt x="510" y="900"/>
                      </a:cubicBezTo>
                      <a:close/>
                      <a:moveTo>
                        <a:pt x="510" y="900"/>
                      </a:moveTo>
                      <a:cubicBezTo>
                        <a:pt x="510" y="900"/>
                        <a:pt x="510" y="900"/>
                        <a:pt x="510" y="900"/>
                      </a:cubicBezTo>
                    </a:path>
                  </a:pathLst>
                </a:custGeom>
                <a:grpFill/>
                <a:ln w="9525">
                  <a:solidFill>
                    <a:srgbClr val="000000"/>
                  </a:solidFill>
                  <a:round/>
                  <a:headEnd/>
                  <a:tailEnd/>
                </a:ln>
              </p:spPr>
              <p:txBody>
                <a:bodyPr vert="horz" wrap="square" lIns="68562" tIns="34281" rIns="68562" bIns="34281" numCol="1" anchor="t" anchorCtr="0" compatLnSpc="1">
                  <a:prstTxWarp prst="textNoShape">
                    <a:avLst/>
                  </a:prstTxWarp>
                </a:bodyPr>
                <a:lstStyle/>
                <a:p>
                  <a:pPr defTabSz="685595">
                    <a:defRPr/>
                  </a:pPr>
                  <a:endParaRPr lang="en-US" sz="1200">
                    <a:solidFill>
                      <a:prstClr val="black"/>
                    </a:solidFill>
                    <a:latin typeface="Arial" panose="020B0604020202020204"/>
                  </a:endParaRPr>
                </a:p>
              </p:txBody>
            </p:sp>
            <p:sp>
              <p:nvSpPr>
                <p:cNvPr id="38" name="Freeform 7">
                  <a:extLst>
                    <a:ext uri="{FF2B5EF4-FFF2-40B4-BE49-F238E27FC236}">
                      <a16:creationId xmlns:a16="http://schemas.microsoft.com/office/drawing/2014/main" id="{2E01F146-91EB-67E4-7A45-4E55D0C918B6}"/>
                    </a:ext>
                  </a:extLst>
                </p:cNvPr>
                <p:cNvSpPr>
                  <a:spLocks noEditPoints="1"/>
                </p:cNvSpPr>
                <p:nvPr/>
              </p:nvSpPr>
              <p:spPr bwMode="gray">
                <a:xfrm>
                  <a:off x="9171584" y="1170112"/>
                  <a:ext cx="266587" cy="207690"/>
                </a:xfrm>
                <a:custGeom>
                  <a:avLst/>
                  <a:gdLst>
                    <a:gd name="T0" fmla="*/ 410 w 518"/>
                    <a:gd name="T1" fmla="*/ 24 h 406"/>
                    <a:gd name="T2" fmla="*/ 173 w 518"/>
                    <a:gd name="T3" fmla="*/ 261 h 406"/>
                    <a:gd name="T4" fmla="*/ 108 w 518"/>
                    <a:gd name="T5" fmla="*/ 196 h 406"/>
                    <a:gd name="T6" fmla="*/ 23 w 518"/>
                    <a:gd name="T7" fmla="*/ 196 h 406"/>
                    <a:gd name="T8" fmla="*/ 23 w 518"/>
                    <a:gd name="T9" fmla="*/ 281 h 406"/>
                    <a:gd name="T10" fmla="*/ 130 w 518"/>
                    <a:gd name="T11" fmla="*/ 388 h 406"/>
                    <a:gd name="T12" fmla="*/ 173 w 518"/>
                    <a:gd name="T13" fmla="*/ 406 h 406"/>
                    <a:gd name="T14" fmla="*/ 215 w 518"/>
                    <a:gd name="T15" fmla="*/ 388 h 406"/>
                    <a:gd name="T16" fmla="*/ 495 w 518"/>
                    <a:gd name="T17" fmla="*/ 109 h 406"/>
                    <a:gd name="T18" fmla="*/ 495 w 518"/>
                    <a:gd name="T19" fmla="*/ 24 h 406"/>
                    <a:gd name="T20" fmla="*/ 410 w 518"/>
                    <a:gd name="T21" fmla="*/ 24 h 406"/>
                    <a:gd name="T22" fmla="*/ 410 w 518"/>
                    <a:gd name="T23" fmla="*/ 24 h 406"/>
                    <a:gd name="T24" fmla="*/ 410 w 518"/>
                    <a:gd name="T25" fmla="*/ 24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8" h="406">
                      <a:moveTo>
                        <a:pt x="410" y="24"/>
                      </a:moveTo>
                      <a:cubicBezTo>
                        <a:pt x="173" y="261"/>
                        <a:pt x="173" y="261"/>
                        <a:pt x="173" y="261"/>
                      </a:cubicBezTo>
                      <a:cubicBezTo>
                        <a:pt x="108" y="196"/>
                        <a:pt x="108" y="196"/>
                        <a:pt x="108" y="196"/>
                      </a:cubicBezTo>
                      <a:cubicBezTo>
                        <a:pt x="85" y="173"/>
                        <a:pt x="47" y="173"/>
                        <a:pt x="23" y="196"/>
                      </a:cubicBezTo>
                      <a:cubicBezTo>
                        <a:pt x="0" y="220"/>
                        <a:pt x="0" y="258"/>
                        <a:pt x="23" y="281"/>
                      </a:cubicBezTo>
                      <a:cubicBezTo>
                        <a:pt x="130" y="388"/>
                        <a:pt x="130" y="388"/>
                        <a:pt x="130" y="388"/>
                      </a:cubicBezTo>
                      <a:cubicBezTo>
                        <a:pt x="142" y="400"/>
                        <a:pt x="157" y="406"/>
                        <a:pt x="173" y="406"/>
                      </a:cubicBezTo>
                      <a:cubicBezTo>
                        <a:pt x="188" y="406"/>
                        <a:pt x="203" y="400"/>
                        <a:pt x="215" y="388"/>
                      </a:cubicBezTo>
                      <a:cubicBezTo>
                        <a:pt x="495" y="109"/>
                        <a:pt x="495" y="109"/>
                        <a:pt x="495" y="109"/>
                      </a:cubicBezTo>
                      <a:cubicBezTo>
                        <a:pt x="518" y="85"/>
                        <a:pt x="518" y="47"/>
                        <a:pt x="495" y="24"/>
                      </a:cubicBezTo>
                      <a:cubicBezTo>
                        <a:pt x="471" y="0"/>
                        <a:pt x="433" y="0"/>
                        <a:pt x="410" y="24"/>
                      </a:cubicBezTo>
                      <a:close/>
                      <a:moveTo>
                        <a:pt x="410" y="24"/>
                      </a:moveTo>
                      <a:cubicBezTo>
                        <a:pt x="410" y="24"/>
                        <a:pt x="410" y="24"/>
                        <a:pt x="410" y="24"/>
                      </a:cubicBezTo>
                    </a:path>
                  </a:pathLst>
                </a:custGeom>
                <a:grpFill/>
                <a:ln w="9525">
                  <a:solidFill>
                    <a:srgbClr val="000000"/>
                  </a:solidFill>
                  <a:round/>
                  <a:headEnd/>
                  <a:tailEnd/>
                </a:ln>
              </p:spPr>
              <p:txBody>
                <a:bodyPr vert="horz" wrap="square" lIns="68562" tIns="34281" rIns="68562" bIns="34281" numCol="1" anchor="t" anchorCtr="0" compatLnSpc="1">
                  <a:prstTxWarp prst="textNoShape">
                    <a:avLst/>
                  </a:prstTxWarp>
                </a:bodyPr>
                <a:lstStyle/>
                <a:p>
                  <a:pPr defTabSz="685595">
                    <a:defRPr/>
                  </a:pPr>
                  <a:endParaRPr lang="en-US" sz="1200">
                    <a:solidFill>
                      <a:prstClr val="black"/>
                    </a:solidFill>
                    <a:latin typeface="Arial" panose="020B0604020202020204"/>
                  </a:endParaRPr>
                </a:p>
              </p:txBody>
            </p:sp>
          </p:grpSp>
          <p:sp>
            <p:nvSpPr>
              <p:cNvPr id="49" name="Freeform: Shape 48">
                <a:extLst>
                  <a:ext uri="{FF2B5EF4-FFF2-40B4-BE49-F238E27FC236}">
                    <a16:creationId xmlns:a16="http://schemas.microsoft.com/office/drawing/2014/main" id="{EF7D75AB-45A0-1656-6004-8663FA002B5B}"/>
                  </a:ext>
                </a:extLst>
              </p:cNvPr>
              <p:cNvSpPr/>
              <p:nvPr/>
            </p:nvSpPr>
            <p:spPr>
              <a:xfrm>
                <a:off x="-2038337" y="4526568"/>
                <a:ext cx="718219" cy="666498"/>
              </a:xfrm>
              <a:custGeom>
                <a:avLst/>
                <a:gdLst>
                  <a:gd name="connsiteX0" fmla="*/ 227397 w 718219"/>
                  <a:gd name="connsiteY0" fmla="*/ 439159 h 666498"/>
                  <a:gd name="connsiteX1" fmla="*/ 27569 w 718219"/>
                  <a:gd name="connsiteY1" fmla="*/ 624594 h 666498"/>
                  <a:gd name="connsiteX2" fmla="*/ 23894 w 718219"/>
                  <a:gd name="connsiteY2" fmla="*/ 632808 h 666498"/>
                  <a:gd name="connsiteX3" fmla="*/ 36253 w 718219"/>
                  <a:gd name="connsiteY3" fmla="*/ 644290 h 666498"/>
                  <a:gd name="connsiteX4" fmla="*/ 36295 w 718219"/>
                  <a:gd name="connsiteY4" fmla="*/ 644290 h 666498"/>
                  <a:gd name="connsiteX5" fmla="*/ 45119 w 718219"/>
                  <a:gd name="connsiteY5" fmla="*/ 640866 h 666498"/>
                  <a:gd name="connsiteX6" fmla="*/ 227397 w 718219"/>
                  <a:gd name="connsiteY6" fmla="*/ 471729 h 666498"/>
                  <a:gd name="connsiteX7" fmla="*/ 571443 w 718219"/>
                  <a:gd name="connsiteY7" fmla="*/ 119917 h 666498"/>
                  <a:gd name="connsiteX8" fmla="*/ 490762 w 718219"/>
                  <a:gd name="connsiteY8" fmla="*/ 194781 h 666498"/>
                  <a:gd name="connsiteX9" fmla="*/ 490762 w 718219"/>
                  <a:gd name="connsiteY9" fmla="*/ 227351 h 666498"/>
                  <a:gd name="connsiteX10" fmla="*/ 588993 w 718219"/>
                  <a:gd name="connsiteY10" fmla="*/ 136189 h 666498"/>
                  <a:gd name="connsiteX11" fmla="*/ 670220 w 718219"/>
                  <a:gd name="connsiteY11" fmla="*/ 24082 h 666498"/>
                  <a:gd name="connsiteX12" fmla="*/ 628007 w 718219"/>
                  <a:gd name="connsiteY12" fmla="*/ 38284 h 666498"/>
                  <a:gd name="connsiteX13" fmla="*/ 586496 w 718219"/>
                  <a:gd name="connsiteY13" fmla="*/ 102461 h 666498"/>
                  <a:gd name="connsiteX14" fmla="*/ 607806 w 718219"/>
                  <a:gd name="connsiteY14" fmla="*/ 122234 h 666498"/>
                  <a:gd name="connsiteX15" fmla="*/ 676968 w 718219"/>
                  <a:gd name="connsiteY15" fmla="*/ 83729 h 666498"/>
                  <a:gd name="connsiteX16" fmla="*/ 693999 w 718219"/>
                  <a:gd name="connsiteY16" fmla="*/ 59412 h 666498"/>
                  <a:gd name="connsiteX17" fmla="*/ 670220 w 718219"/>
                  <a:gd name="connsiteY17" fmla="*/ 24082 h 666498"/>
                  <a:gd name="connsiteX18" fmla="*/ 227397 w 718219"/>
                  <a:gd name="connsiteY18" fmla="*/ 22234 h 666498"/>
                  <a:gd name="connsiteX19" fmla="*/ 227397 w 718219"/>
                  <a:gd name="connsiteY19" fmla="*/ 77767 h 666498"/>
                  <a:gd name="connsiteX20" fmla="*/ 239364 w 718219"/>
                  <a:gd name="connsiteY20" fmla="*/ 88884 h 666498"/>
                  <a:gd name="connsiteX21" fmla="*/ 478782 w 718219"/>
                  <a:gd name="connsiteY21" fmla="*/ 88884 h 666498"/>
                  <a:gd name="connsiteX22" fmla="*/ 490762 w 718219"/>
                  <a:gd name="connsiteY22" fmla="*/ 77767 h 666498"/>
                  <a:gd name="connsiteX23" fmla="*/ 490762 w 718219"/>
                  <a:gd name="connsiteY23" fmla="*/ 22234 h 666498"/>
                  <a:gd name="connsiteX24" fmla="*/ 227397 w 718219"/>
                  <a:gd name="connsiteY24" fmla="*/ 13 h 666498"/>
                  <a:gd name="connsiteX25" fmla="*/ 490762 w 718219"/>
                  <a:gd name="connsiteY25" fmla="*/ 13 h 666498"/>
                  <a:gd name="connsiteX26" fmla="*/ 514696 w 718219"/>
                  <a:gd name="connsiteY26" fmla="*/ 22234 h 666498"/>
                  <a:gd name="connsiteX27" fmla="*/ 514696 w 718219"/>
                  <a:gd name="connsiteY27" fmla="*/ 77767 h 666498"/>
                  <a:gd name="connsiteX28" fmla="*/ 490762 w 718219"/>
                  <a:gd name="connsiteY28" fmla="*/ 109048 h 666498"/>
                  <a:gd name="connsiteX29" fmla="*/ 490762 w 718219"/>
                  <a:gd name="connsiteY29" fmla="*/ 163370 h 666498"/>
                  <a:gd name="connsiteX30" fmla="*/ 561847 w 718219"/>
                  <a:gd name="connsiteY30" fmla="*/ 97410 h 666498"/>
                  <a:gd name="connsiteX31" fmla="*/ 607469 w 718219"/>
                  <a:gd name="connsiteY31" fmla="*/ 26842 h 666498"/>
                  <a:gd name="connsiteX32" fmla="*/ 651281 w 718219"/>
                  <a:gd name="connsiteY32" fmla="*/ 429 h 666498"/>
                  <a:gd name="connsiteX33" fmla="*/ 700691 w 718219"/>
                  <a:gd name="connsiteY33" fmla="*/ 16207 h 666498"/>
                  <a:gd name="connsiteX34" fmla="*/ 717778 w 718219"/>
                  <a:gd name="connsiteY34" fmla="*/ 62067 h 666498"/>
                  <a:gd name="connsiteX35" fmla="*/ 689300 w 718219"/>
                  <a:gd name="connsiteY35" fmla="*/ 102773 h 666498"/>
                  <a:gd name="connsiteX36" fmla="*/ 613263 w 718219"/>
                  <a:gd name="connsiteY36" fmla="*/ 145106 h 666498"/>
                  <a:gd name="connsiteX37" fmla="*/ 490776 w 718219"/>
                  <a:gd name="connsiteY37" fmla="*/ 258762 h 666498"/>
                  <a:gd name="connsiteX38" fmla="*/ 490776 w 718219"/>
                  <a:gd name="connsiteY38" fmla="*/ 337858 h 666498"/>
                  <a:gd name="connsiteX39" fmla="*/ 466829 w 718219"/>
                  <a:gd name="connsiteY39" fmla="*/ 345276 h 666498"/>
                  <a:gd name="connsiteX40" fmla="*/ 466829 w 718219"/>
                  <a:gd name="connsiteY40" fmla="*/ 111091 h 666498"/>
                  <a:gd name="connsiteX41" fmla="*/ 251345 w 718219"/>
                  <a:gd name="connsiteY41" fmla="*/ 111091 h 666498"/>
                  <a:gd name="connsiteX42" fmla="*/ 251345 w 718219"/>
                  <a:gd name="connsiteY42" fmla="*/ 411016 h 666498"/>
                  <a:gd name="connsiteX43" fmla="*/ 311206 w 718219"/>
                  <a:gd name="connsiteY43" fmla="*/ 411016 h 666498"/>
                  <a:gd name="connsiteX44" fmla="*/ 311206 w 718219"/>
                  <a:gd name="connsiteY44" fmla="*/ 377704 h 666498"/>
                  <a:gd name="connsiteX45" fmla="*/ 299225 w 718219"/>
                  <a:gd name="connsiteY45" fmla="*/ 377704 h 666498"/>
                  <a:gd name="connsiteX46" fmla="*/ 287259 w 718219"/>
                  <a:gd name="connsiteY46" fmla="*/ 366587 h 666498"/>
                  <a:gd name="connsiteX47" fmla="*/ 299225 w 718219"/>
                  <a:gd name="connsiteY47" fmla="*/ 355483 h 666498"/>
                  <a:gd name="connsiteX48" fmla="*/ 311206 w 718219"/>
                  <a:gd name="connsiteY48" fmla="*/ 355483 h 666498"/>
                  <a:gd name="connsiteX49" fmla="*/ 311206 w 718219"/>
                  <a:gd name="connsiteY49" fmla="*/ 322158 h 666498"/>
                  <a:gd name="connsiteX50" fmla="*/ 299225 w 718219"/>
                  <a:gd name="connsiteY50" fmla="*/ 322158 h 666498"/>
                  <a:gd name="connsiteX51" fmla="*/ 287259 w 718219"/>
                  <a:gd name="connsiteY51" fmla="*/ 311054 h 666498"/>
                  <a:gd name="connsiteX52" fmla="*/ 299225 w 718219"/>
                  <a:gd name="connsiteY52" fmla="*/ 299937 h 666498"/>
                  <a:gd name="connsiteX53" fmla="*/ 311206 w 718219"/>
                  <a:gd name="connsiteY53" fmla="*/ 299937 h 666498"/>
                  <a:gd name="connsiteX54" fmla="*/ 311206 w 718219"/>
                  <a:gd name="connsiteY54" fmla="*/ 266612 h 666498"/>
                  <a:gd name="connsiteX55" fmla="*/ 299225 w 718219"/>
                  <a:gd name="connsiteY55" fmla="*/ 266612 h 666498"/>
                  <a:gd name="connsiteX56" fmla="*/ 287259 w 718219"/>
                  <a:gd name="connsiteY56" fmla="*/ 255508 h 666498"/>
                  <a:gd name="connsiteX57" fmla="*/ 299225 w 718219"/>
                  <a:gd name="connsiteY57" fmla="*/ 244391 h 666498"/>
                  <a:gd name="connsiteX58" fmla="*/ 311206 w 718219"/>
                  <a:gd name="connsiteY58" fmla="*/ 244391 h 666498"/>
                  <a:gd name="connsiteX59" fmla="*/ 311206 w 718219"/>
                  <a:gd name="connsiteY59" fmla="*/ 211066 h 666498"/>
                  <a:gd name="connsiteX60" fmla="*/ 299225 w 718219"/>
                  <a:gd name="connsiteY60" fmla="*/ 211066 h 666498"/>
                  <a:gd name="connsiteX61" fmla="*/ 287259 w 718219"/>
                  <a:gd name="connsiteY61" fmla="*/ 199949 h 666498"/>
                  <a:gd name="connsiteX62" fmla="*/ 299225 w 718219"/>
                  <a:gd name="connsiteY62" fmla="*/ 188845 h 666498"/>
                  <a:gd name="connsiteX63" fmla="*/ 311206 w 718219"/>
                  <a:gd name="connsiteY63" fmla="*/ 188845 h 666498"/>
                  <a:gd name="connsiteX64" fmla="*/ 311206 w 718219"/>
                  <a:gd name="connsiteY64" fmla="*/ 155520 h 666498"/>
                  <a:gd name="connsiteX65" fmla="*/ 299225 w 718219"/>
                  <a:gd name="connsiteY65" fmla="*/ 155520 h 666498"/>
                  <a:gd name="connsiteX66" fmla="*/ 287259 w 718219"/>
                  <a:gd name="connsiteY66" fmla="*/ 144416 h 666498"/>
                  <a:gd name="connsiteX67" fmla="*/ 299225 w 718219"/>
                  <a:gd name="connsiteY67" fmla="*/ 133299 h 666498"/>
                  <a:gd name="connsiteX68" fmla="*/ 323173 w 718219"/>
                  <a:gd name="connsiteY68" fmla="*/ 133299 h 666498"/>
                  <a:gd name="connsiteX69" fmla="*/ 335139 w 718219"/>
                  <a:gd name="connsiteY69" fmla="*/ 144416 h 666498"/>
                  <a:gd name="connsiteX70" fmla="*/ 335139 w 718219"/>
                  <a:gd name="connsiteY70" fmla="*/ 411003 h 666498"/>
                  <a:gd name="connsiteX71" fmla="*/ 388167 w 718219"/>
                  <a:gd name="connsiteY71" fmla="*/ 411003 h 666498"/>
                  <a:gd name="connsiteX72" fmla="*/ 373154 w 718219"/>
                  <a:gd name="connsiteY72" fmla="*/ 433223 h 666498"/>
                  <a:gd name="connsiteX73" fmla="*/ 335125 w 718219"/>
                  <a:gd name="connsiteY73" fmla="*/ 433223 h 666498"/>
                  <a:gd name="connsiteX74" fmla="*/ 335125 w 718219"/>
                  <a:gd name="connsiteY74" fmla="*/ 588757 h 666498"/>
                  <a:gd name="connsiteX75" fmla="*/ 323159 w 718219"/>
                  <a:gd name="connsiteY75" fmla="*/ 599861 h 666498"/>
                  <a:gd name="connsiteX76" fmla="*/ 299211 w 718219"/>
                  <a:gd name="connsiteY76" fmla="*/ 599861 h 666498"/>
                  <a:gd name="connsiteX77" fmla="*/ 287245 w 718219"/>
                  <a:gd name="connsiteY77" fmla="*/ 588757 h 666498"/>
                  <a:gd name="connsiteX78" fmla="*/ 299211 w 718219"/>
                  <a:gd name="connsiteY78" fmla="*/ 577640 h 666498"/>
                  <a:gd name="connsiteX79" fmla="*/ 311192 w 718219"/>
                  <a:gd name="connsiteY79" fmla="*/ 577640 h 666498"/>
                  <a:gd name="connsiteX80" fmla="*/ 311192 w 718219"/>
                  <a:gd name="connsiteY80" fmla="*/ 544315 h 666498"/>
                  <a:gd name="connsiteX81" fmla="*/ 299211 w 718219"/>
                  <a:gd name="connsiteY81" fmla="*/ 544315 h 666498"/>
                  <a:gd name="connsiteX82" fmla="*/ 287245 w 718219"/>
                  <a:gd name="connsiteY82" fmla="*/ 533198 h 666498"/>
                  <a:gd name="connsiteX83" fmla="*/ 299211 w 718219"/>
                  <a:gd name="connsiteY83" fmla="*/ 522094 h 666498"/>
                  <a:gd name="connsiteX84" fmla="*/ 311192 w 718219"/>
                  <a:gd name="connsiteY84" fmla="*/ 522094 h 666498"/>
                  <a:gd name="connsiteX85" fmla="*/ 311192 w 718219"/>
                  <a:gd name="connsiteY85" fmla="*/ 488769 h 666498"/>
                  <a:gd name="connsiteX86" fmla="*/ 299211 w 718219"/>
                  <a:gd name="connsiteY86" fmla="*/ 488769 h 666498"/>
                  <a:gd name="connsiteX87" fmla="*/ 287245 w 718219"/>
                  <a:gd name="connsiteY87" fmla="*/ 477665 h 666498"/>
                  <a:gd name="connsiteX88" fmla="*/ 299211 w 718219"/>
                  <a:gd name="connsiteY88" fmla="*/ 466548 h 666498"/>
                  <a:gd name="connsiteX89" fmla="*/ 311192 w 718219"/>
                  <a:gd name="connsiteY89" fmla="*/ 466548 h 666498"/>
                  <a:gd name="connsiteX90" fmla="*/ 311192 w 718219"/>
                  <a:gd name="connsiteY90" fmla="*/ 433223 h 666498"/>
                  <a:gd name="connsiteX91" fmla="*/ 251331 w 718219"/>
                  <a:gd name="connsiteY91" fmla="*/ 433223 h 666498"/>
                  <a:gd name="connsiteX92" fmla="*/ 251331 w 718219"/>
                  <a:gd name="connsiteY92" fmla="*/ 544302 h 666498"/>
                  <a:gd name="connsiteX93" fmla="*/ 359073 w 718219"/>
                  <a:gd name="connsiteY93" fmla="*/ 644277 h 666498"/>
                  <a:gd name="connsiteX94" fmla="*/ 400363 w 718219"/>
                  <a:gd name="connsiteY94" fmla="*/ 636515 h 666498"/>
                  <a:gd name="connsiteX95" fmla="*/ 405443 w 718219"/>
                  <a:gd name="connsiteY95" fmla="*/ 644033 h 666498"/>
                  <a:gd name="connsiteX96" fmla="*/ 417713 w 718219"/>
                  <a:gd name="connsiteY96" fmla="*/ 652288 h 666498"/>
                  <a:gd name="connsiteX97" fmla="*/ 410345 w 718219"/>
                  <a:gd name="connsiteY97" fmla="*/ 656897 h 666498"/>
                  <a:gd name="connsiteX98" fmla="*/ 359087 w 718219"/>
                  <a:gd name="connsiteY98" fmla="*/ 666498 h 666498"/>
                  <a:gd name="connsiteX99" fmla="*/ 227397 w 718219"/>
                  <a:gd name="connsiteY99" fmla="*/ 544315 h 666498"/>
                  <a:gd name="connsiteX100" fmla="*/ 227397 w 718219"/>
                  <a:gd name="connsiteY100" fmla="*/ 503141 h 666498"/>
                  <a:gd name="connsiteX101" fmla="*/ 62052 w 718219"/>
                  <a:gd name="connsiteY101" fmla="*/ 656578 h 666498"/>
                  <a:gd name="connsiteX102" fmla="*/ 36295 w 718219"/>
                  <a:gd name="connsiteY102" fmla="*/ 666498 h 666498"/>
                  <a:gd name="connsiteX103" fmla="*/ 36169 w 718219"/>
                  <a:gd name="connsiteY103" fmla="*/ 666498 h 666498"/>
                  <a:gd name="connsiteX104" fmla="*/ 2738 w 718219"/>
                  <a:gd name="connsiteY104" fmla="*/ 645566 h 666498"/>
                  <a:gd name="connsiteX105" fmla="*/ 10636 w 718219"/>
                  <a:gd name="connsiteY105" fmla="*/ 608882 h 666498"/>
                  <a:gd name="connsiteX106" fmla="*/ 227397 w 718219"/>
                  <a:gd name="connsiteY106" fmla="*/ 407735 h 666498"/>
                  <a:gd name="connsiteX107" fmla="*/ 227397 w 718219"/>
                  <a:gd name="connsiteY107" fmla="*/ 109048 h 666498"/>
                  <a:gd name="connsiteX108" fmla="*/ 203464 w 718219"/>
                  <a:gd name="connsiteY108" fmla="*/ 77767 h 666498"/>
                  <a:gd name="connsiteX109" fmla="*/ 203464 w 718219"/>
                  <a:gd name="connsiteY109" fmla="*/ 22234 h 666498"/>
                  <a:gd name="connsiteX110" fmla="*/ 227397 w 718219"/>
                  <a:gd name="connsiteY110" fmla="*/ 13 h 66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718219" h="666498">
                    <a:moveTo>
                      <a:pt x="227397" y="439159"/>
                    </a:moveTo>
                    <a:lnTo>
                      <a:pt x="27569" y="624594"/>
                    </a:lnTo>
                    <a:cubicBezTo>
                      <a:pt x="25198" y="626768"/>
                      <a:pt x="23880" y="629723"/>
                      <a:pt x="23894" y="632808"/>
                    </a:cubicBezTo>
                    <a:cubicBezTo>
                      <a:pt x="23992" y="639096"/>
                      <a:pt x="29463" y="644186"/>
                      <a:pt x="36253" y="644290"/>
                    </a:cubicBezTo>
                    <a:lnTo>
                      <a:pt x="36295" y="644290"/>
                    </a:lnTo>
                    <a:cubicBezTo>
                      <a:pt x="39606" y="644290"/>
                      <a:pt x="42791" y="643053"/>
                      <a:pt x="45119" y="640866"/>
                    </a:cubicBezTo>
                    <a:lnTo>
                      <a:pt x="227397" y="471729"/>
                    </a:lnTo>
                    <a:close/>
                    <a:moveTo>
                      <a:pt x="571443" y="119917"/>
                    </a:moveTo>
                    <a:lnTo>
                      <a:pt x="490762" y="194781"/>
                    </a:lnTo>
                    <a:lnTo>
                      <a:pt x="490762" y="227351"/>
                    </a:lnTo>
                    <a:lnTo>
                      <a:pt x="588993" y="136189"/>
                    </a:lnTo>
                    <a:close/>
                    <a:moveTo>
                      <a:pt x="670220" y="24082"/>
                    </a:moveTo>
                    <a:cubicBezTo>
                      <a:pt x="654297" y="18992"/>
                      <a:pt x="636705" y="24902"/>
                      <a:pt x="628007" y="38284"/>
                    </a:cubicBezTo>
                    <a:lnTo>
                      <a:pt x="586496" y="102461"/>
                    </a:lnTo>
                    <a:lnTo>
                      <a:pt x="607806" y="122234"/>
                    </a:lnTo>
                    <a:lnTo>
                      <a:pt x="676968" y="83729"/>
                    </a:lnTo>
                    <a:cubicBezTo>
                      <a:pt x="686396" y="78509"/>
                      <a:pt x="692695" y="69526"/>
                      <a:pt x="693999" y="59412"/>
                    </a:cubicBezTo>
                    <a:cubicBezTo>
                      <a:pt x="696048" y="43895"/>
                      <a:pt x="686129" y="29172"/>
                      <a:pt x="670220" y="24082"/>
                    </a:cubicBezTo>
                    <a:close/>
                    <a:moveTo>
                      <a:pt x="227397" y="22234"/>
                    </a:moveTo>
                    <a:lnTo>
                      <a:pt x="227397" y="77767"/>
                    </a:lnTo>
                    <a:cubicBezTo>
                      <a:pt x="227397" y="83911"/>
                      <a:pt x="232756" y="88884"/>
                      <a:pt x="239364" y="88884"/>
                    </a:cubicBezTo>
                    <a:lnTo>
                      <a:pt x="478782" y="88884"/>
                    </a:lnTo>
                    <a:cubicBezTo>
                      <a:pt x="485403" y="88870"/>
                      <a:pt x="490762" y="83898"/>
                      <a:pt x="490762" y="77767"/>
                    </a:cubicBezTo>
                    <a:lnTo>
                      <a:pt x="490762" y="22234"/>
                    </a:lnTo>
                    <a:close/>
                    <a:moveTo>
                      <a:pt x="227397" y="13"/>
                    </a:moveTo>
                    <a:lnTo>
                      <a:pt x="490762" y="13"/>
                    </a:lnTo>
                    <a:cubicBezTo>
                      <a:pt x="503977" y="26"/>
                      <a:pt x="514682" y="9971"/>
                      <a:pt x="514696" y="22234"/>
                    </a:cubicBezTo>
                    <a:lnTo>
                      <a:pt x="514696" y="77767"/>
                    </a:lnTo>
                    <a:cubicBezTo>
                      <a:pt x="514653" y="91852"/>
                      <a:pt x="505058" y="104374"/>
                      <a:pt x="490762" y="109048"/>
                    </a:cubicBezTo>
                    <a:lnTo>
                      <a:pt x="490762" y="163370"/>
                    </a:lnTo>
                    <a:lnTo>
                      <a:pt x="561847" y="97410"/>
                    </a:lnTo>
                    <a:lnTo>
                      <a:pt x="607469" y="26842"/>
                    </a:lnTo>
                    <a:cubicBezTo>
                      <a:pt x="616868" y="12223"/>
                      <a:pt x="633058" y="2460"/>
                      <a:pt x="651281" y="429"/>
                    </a:cubicBezTo>
                    <a:cubicBezTo>
                      <a:pt x="669491" y="-1693"/>
                      <a:pt x="687728" y="4126"/>
                      <a:pt x="700691" y="16207"/>
                    </a:cubicBezTo>
                    <a:cubicBezTo>
                      <a:pt x="713696" y="28235"/>
                      <a:pt x="720009" y="45158"/>
                      <a:pt x="717778" y="62067"/>
                    </a:cubicBezTo>
                    <a:cubicBezTo>
                      <a:pt x="715548" y="78977"/>
                      <a:pt x="705040" y="93999"/>
                      <a:pt x="689300" y="102773"/>
                    </a:cubicBezTo>
                    <a:lnTo>
                      <a:pt x="613263" y="145106"/>
                    </a:lnTo>
                    <a:lnTo>
                      <a:pt x="490776" y="258762"/>
                    </a:lnTo>
                    <a:lnTo>
                      <a:pt x="490776" y="337858"/>
                    </a:lnTo>
                    <a:lnTo>
                      <a:pt x="466829" y="345276"/>
                    </a:lnTo>
                    <a:lnTo>
                      <a:pt x="466829" y="111091"/>
                    </a:lnTo>
                    <a:lnTo>
                      <a:pt x="251345" y="111091"/>
                    </a:lnTo>
                    <a:lnTo>
                      <a:pt x="251345" y="411016"/>
                    </a:lnTo>
                    <a:lnTo>
                      <a:pt x="311206" y="411016"/>
                    </a:lnTo>
                    <a:lnTo>
                      <a:pt x="311206" y="377704"/>
                    </a:lnTo>
                    <a:lnTo>
                      <a:pt x="299225" y="377704"/>
                    </a:lnTo>
                    <a:cubicBezTo>
                      <a:pt x="292618" y="377704"/>
                      <a:pt x="287259" y="372731"/>
                      <a:pt x="287259" y="366587"/>
                    </a:cubicBezTo>
                    <a:cubicBezTo>
                      <a:pt x="287259" y="360455"/>
                      <a:pt x="292618" y="355483"/>
                      <a:pt x="299225" y="355483"/>
                    </a:cubicBezTo>
                    <a:lnTo>
                      <a:pt x="311206" y="355483"/>
                    </a:lnTo>
                    <a:lnTo>
                      <a:pt x="311206" y="322158"/>
                    </a:lnTo>
                    <a:lnTo>
                      <a:pt x="299225" y="322158"/>
                    </a:lnTo>
                    <a:cubicBezTo>
                      <a:pt x="292618" y="322158"/>
                      <a:pt x="287259" y="317185"/>
                      <a:pt x="287259" y="311054"/>
                    </a:cubicBezTo>
                    <a:cubicBezTo>
                      <a:pt x="287259" y="304910"/>
                      <a:pt x="292618" y="299937"/>
                      <a:pt x="299225" y="299937"/>
                    </a:cubicBezTo>
                    <a:lnTo>
                      <a:pt x="311206" y="299937"/>
                    </a:lnTo>
                    <a:lnTo>
                      <a:pt x="311206" y="266612"/>
                    </a:lnTo>
                    <a:lnTo>
                      <a:pt x="299225" y="266612"/>
                    </a:lnTo>
                    <a:cubicBezTo>
                      <a:pt x="292618" y="266612"/>
                      <a:pt x="287259" y="261639"/>
                      <a:pt x="287259" y="255508"/>
                    </a:cubicBezTo>
                    <a:cubicBezTo>
                      <a:pt x="287259" y="249364"/>
                      <a:pt x="292618" y="244391"/>
                      <a:pt x="299225" y="244391"/>
                    </a:cubicBezTo>
                    <a:lnTo>
                      <a:pt x="311206" y="244391"/>
                    </a:lnTo>
                    <a:lnTo>
                      <a:pt x="311206" y="211066"/>
                    </a:lnTo>
                    <a:lnTo>
                      <a:pt x="299225" y="211066"/>
                    </a:lnTo>
                    <a:cubicBezTo>
                      <a:pt x="292618" y="211066"/>
                      <a:pt x="287259" y="206080"/>
                      <a:pt x="287259" y="199949"/>
                    </a:cubicBezTo>
                    <a:cubicBezTo>
                      <a:pt x="287259" y="193818"/>
                      <a:pt x="292618" y="188845"/>
                      <a:pt x="299225" y="188845"/>
                    </a:cubicBezTo>
                    <a:lnTo>
                      <a:pt x="311206" y="188845"/>
                    </a:lnTo>
                    <a:lnTo>
                      <a:pt x="311206" y="155520"/>
                    </a:lnTo>
                    <a:lnTo>
                      <a:pt x="299225" y="155520"/>
                    </a:lnTo>
                    <a:cubicBezTo>
                      <a:pt x="292618" y="155520"/>
                      <a:pt x="287259" y="150548"/>
                      <a:pt x="287259" y="144416"/>
                    </a:cubicBezTo>
                    <a:cubicBezTo>
                      <a:pt x="287259" y="138272"/>
                      <a:pt x="292618" y="133299"/>
                      <a:pt x="299225" y="133299"/>
                    </a:cubicBezTo>
                    <a:lnTo>
                      <a:pt x="323173" y="133299"/>
                    </a:lnTo>
                    <a:cubicBezTo>
                      <a:pt x="329780" y="133299"/>
                      <a:pt x="335139" y="138285"/>
                      <a:pt x="335139" y="144416"/>
                    </a:cubicBezTo>
                    <a:lnTo>
                      <a:pt x="335139" y="411003"/>
                    </a:lnTo>
                    <a:lnTo>
                      <a:pt x="388167" y="411003"/>
                    </a:lnTo>
                    <a:lnTo>
                      <a:pt x="373154" y="433223"/>
                    </a:lnTo>
                    <a:lnTo>
                      <a:pt x="335125" y="433223"/>
                    </a:lnTo>
                    <a:lnTo>
                      <a:pt x="335125" y="588757"/>
                    </a:lnTo>
                    <a:cubicBezTo>
                      <a:pt x="335125" y="594888"/>
                      <a:pt x="329766" y="599861"/>
                      <a:pt x="323159" y="599861"/>
                    </a:cubicBezTo>
                    <a:lnTo>
                      <a:pt x="299211" y="599861"/>
                    </a:lnTo>
                    <a:cubicBezTo>
                      <a:pt x="292604" y="599861"/>
                      <a:pt x="287245" y="594888"/>
                      <a:pt x="287245" y="588757"/>
                    </a:cubicBezTo>
                    <a:cubicBezTo>
                      <a:pt x="287245" y="582613"/>
                      <a:pt x="292604" y="577640"/>
                      <a:pt x="299211" y="577640"/>
                    </a:cubicBezTo>
                    <a:lnTo>
                      <a:pt x="311192" y="577640"/>
                    </a:lnTo>
                    <a:lnTo>
                      <a:pt x="311192" y="544315"/>
                    </a:lnTo>
                    <a:lnTo>
                      <a:pt x="299211" y="544315"/>
                    </a:lnTo>
                    <a:cubicBezTo>
                      <a:pt x="292604" y="544315"/>
                      <a:pt x="287245" y="539329"/>
                      <a:pt x="287245" y="533198"/>
                    </a:cubicBezTo>
                    <a:cubicBezTo>
                      <a:pt x="287245" y="527067"/>
                      <a:pt x="292604" y="522094"/>
                      <a:pt x="299211" y="522094"/>
                    </a:cubicBezTo>
                    <a:lnTo>
                      <a:pt x="311192" y="522094"/>
                    </a:lnTo>
                    <a:lnTo>
                      <a:pt x="311192" y="488769"/>
                    </a:lnTo>
                    <a:lnTo>
                      <a:pt x="299211" y="488769"/>
                    </a:lnTo>
                    <a:cubicBezTo>
                      <a:pt x="292604" y="488769"/>
                      <a:pt x="287245" y="483797"/>
                      <a:pt x="287245" y="477665"/>
                    </a:cubicBezTo>
                    <a:cubicBezTo>
                      <a:pt x="287245" y="471521"/>
                      <a:pt x="292604" y="466548"/>
                      <a:pt x="299211" y="466548"/>
                    </a:cubicBezTo>
                    <a:lnTo>
                      <a:pt x="311192" y="466548"/>
                    </a:lnTo>
                    <a:lnTo>
                      <a:pt x="311192" y="433223"/>
                    </a:lnTo>
                    <a:lnTo>
                      <a:pt x="251331" y="433223"/>
                    </a:lnTo>
                    <a:lnTo>
                      <a:pt x="251331" y="544302"/>
                    </a:lnTo>
                    <a:cubicBezTo>
                      <a:pt x="251401" y="599497"/>
                      <a:pt x="299604" y="644212"/>
                      <a:pt x="359073" y="644277"/>
                    </a:cubicBezTo>
                    <a:lnTo>
                      <a:pt x="400363" y="636515"/>
                    </a:lnTo>
                    <a:lnTo>
                      <a:pt x="405443" y="644033"/>
                    </a:lnTo>
                    <a:lnTo>
                      <a:pt x="417713" y="652288"/>
                    </a:lnTo>
                    <a:lnTo>
                      <a:pt x="410345" y="656897"/>
                    </a:lnTo>
                    <a:cubicBezTo>
                      <a:pt x="394590" y="663079"/>
                      <a:pt x="377269" y="666498"/>
                      <a:pt x="359087" y="666498"/>
                    </a:cubicBezTo>
                    <a:cubicBezTo>
                      <a:pt x="286361" y="666498"/>
                      <a:pt x="227397" y="611798"/>
                      <a:pt x="227397" y="544315"/>
                    </a:cubicBezTo>
                    <a:lnTo>
                      <a:pt x="227397" y="503141"/>
                    </a:lnTo>
                    <a:lnTo>
                      <a:pt x="62052" y="656578"/>
                    </a:lnTo>
                    <a:cubicBezTo>
                      <a:pt x="55234" y="662944"/>
                      <a:pt x="45961" y="666511"/>
                      <a:pt x="36295" y="666498"/>
                    </a:cubicBezTo>
                    <a:lnTo>
                      <a:pt x="36169" y="666498"/>
                    </a:lnTo>
                    <a:cubicBezTo>
                      <a:pt x="21495" y="666407"/>
                      <a:pt x="8322" y="658154"/>
                      <a:pt x="2738" y="645566"/>
                    </a:cubicBezTo>
                    <a:cubicBezTo>
                      <a:pt x="-2846" y="632991"/>
                      <a:pt x="269" y="618528"/>
                      <a:pt x="10636" y="608882"/>
                    </a:cubicBezTo>
                    <a:lnTo>
                      <a:pt x="227397" y="407735"/>
                    </a:lnTo>
                    <a:lnTo>
                      <a:pt x="227397" y="109048"/>
                    </a:lnTo>
                    <a:cubicBezTo>
                      <a:pt x="213102" y="104374"/>
                      <a:pt x="203520" y="91839"/>
                      <a:pt x="203464" y="77767"/>
                    </a:cubicBezTo>
                    <a:lnTo>
                      <a:pt x="203464" y="22234"/>
                    </a:lnTo>
                    <a:cubicBezTo>
                      <a:pt x="203478" y="9958"/>
                      <a:pt x="214182" y="26"/>
                      <a:pt x="227397" y="13"/>
                    </a:cubicBezTo>
                    <a:close/>
                  </a:path>
                </a:pathLst>
              </a:custGeom>
              <a:grpFill/>
              <a:ln w="1395" cap="flat">
                <a:solidFill>
                  <a:srgbClr val="344068"/>
                </a:solidFill>
                <a:prstDash val="solid"/>
                <a:miter/>
              </a:ln>
            </p:spPr>
            <p:txBody>
              <a:bodyPr rtlCol="0" anchor="ctr"/>
              <a:lstStyle/>
              <a:p>
                <a:pPr defTabSz="171390">
                  <a:defRPr/>
                </a:pPr>
                <a:endParaRPr lang="en-US" sz="675">
                  <a:solidFill>
                    <a:srgbClr val="000000"/>
                  </a:solidFill>
                  <a:latin typeface="Arial" panose="020B0604020202020204"/>
                </a:endParaRPr>
              </a:p>
            </p:txBody>
          </p:sp>
        </p:grpSp>
        <p:grpSp>
          <p:nvGrpSpPr>
            <p:cNvPr id="65" name="Group 64">
              <a:extLst>
                <a:ext uri="{FF2B5EF4-FFF2-40B4-BE49-F238E27FC236}">
                  <a16:creationId xmlns:a16="http://schemas.microsoft.com/office/drawing/2014/main" id="{9D570183-46A0-C67D-40E9-C4E4865B3129}"/>
                </a:ext>
              </a:extLst>
            </p:cNvPr>
            <p:cNvGrpSpPr/>
            <p:nvPr/>
          </p:nvGrpSpPr>
          <p:grpSpPr>
            <a:xfrm>
              <a:off x="1592372" y="1685362"/>
              <a:ext cx="8847029" cy="908682"/>
              <a:chOff x="91170" y="2092184"/>
              <a:chExt cx="11796030" cy="587156"/>
            </a:xfrm>
          </p:grpSpPr>
          <p:sp>
            <p:nvSpPr>
              <p:cNvPr id="82" name="TextBox 81">
                <a:extLst>
                  <a:ext uri="{FF2B5EF4-FFF2-40B4-BE49-F238E27FC236}">
                    <a16:creationId xmlns:a16="http://schemas.microsoft.com/office/drawing/2014/main" id="{EB2193C2-12BF-B7F2-E0E6-5374DCB9C5DA}"/>
                  </a:ext>
                </a:extLst>
              </p:cNvPr>
              <p:cNvSpPr txBox="1"/>
              <p:nvPr/>
            </p:nvSpPr>
            <p:spPr>
              <a:xfrm>
                <a:off x="91170" y="2092184"/>
                <a:ext cx="3749309" cy="576479"/>
              </a:xfrm>
              <a:prstGeom prst="rect">
                <a:avLst/>
              </a:prstGeom>
              <a:noFill/>
            </p:spPr>
            <p:txBody>
              <a:bodyPr wrap="square" lIns="0" tIns="0" rIns="0" bIns="0" rtlCol="0">
                <a:noAutofit/>
              </a:bodyPr>
              <a:lstStyle/>
              <a:p>
                <a:pPr algn="ctr" defTabSz="685389">
                  <a:defRPr/>
                </a:pPr>
                <a:endParaRPr lang="en-US" sz="1400">
                  <a:solidFill>
                    <a:srgbClr val="0000C9"/>
                  </a:solidFill>
                  <a:latin typeface="Arial" panose="020B0604020202020204"/>
                </a:endParaRPr>
              </a:p>
              <a:p>
                <a:pPr algn="ctr" defTabSz="685389">
                  <a:defRPr/>
                </a:pPr>
                <a:r>
                  <a:rPr lang="en-US" sz="1400" err="1">
                    <a:solidFill>
                      <a:srgbClr val="0000C9"/>
                    </a:solidFill>
                    <a:latin typeface="Arial" panose="020B0604020202020204"/>
                  </a:rPr>
                  <a:t>Akut</a:t>
                </a:r>
                <a:r>
                  <a:rPr lang="en-US" sz="1400">
                    <a:solidFill>
                      <a:srgbClr val="0000C9"/>
                    </a:solidFill>
                    <a:latin typeface="Arial" panose="020B0604020202020204"/>
                  </a:rPr>
                  <a:t> </a:t>
                </a:r>
                <a:r>
                  <a:rPr lang="en-US" sz="1400" err="1">
                    <a:solidFill>
                      <a:srgbClr val="0000C9"/>
                    </a:solidFill>
                    <a:latin typeface="Arial" panose="020B0604020202020204"/>
                  </a:rPr>
                  <a:t>solunum</a:t>
                </a:r>
                <a:r>
                  <a:rPr lang="en-US" sz="1400">
                    <a:solidFill>
                      <a:srgbClr val="0000C9"/>
                    </a:solidFill>
                    <a:latin typeface="Arial" panose="020B0604020202020204"/>
                  </a:rPr>
                  <a:t> </a:t>
                </a:r>
                <a:r>
                  <a:rPr lang="en-US" sz="1400" err="1">
                    <a:solidFill>
                      <a:srgbClr val="0000C9"/>
                    </a:solidFill>
                    <a:latin typeface="Arial" panose="020B0604020202020204"/>
                  </a:rPr>
                  <a:t>yolu</a:t>
                </a:r>
                <a:r>
                  <a:rPr lang="en-US" sz="1400">
                    <a:solidFill>
                      <a:srgbClr val="0000C9"/>
                    </a:solidFill>
                    <a:latin typeface="Arial" panose="020B0604020202020204"/>
                  </a:rPr>
                  <a:t> </a:t>
                </a:r>
                <a:r>
                  <a:rPr lang="en-US" sz="1400" err="1">
                    <a:solidFill>
                      <a:srgbClr val="0000C9"/>
                    </a:solidFill>
                    <a:latin typeface="Arial" panose="020B0604020202020204"/>
                  </a:rPr>
                  <a:t>enfeksiyonu</a:t>
                </a:r>
                <a:r>
                  <a:rPr lang="en-US" sz="1400">
                    <a:solidFill>
                      <a:srgbClr val="0000C9"/>
                    </a:solidFill>
                    <a:latin typeface="Arial" panose="020B0604020202020204"/>
                  </a:rPr>
                  <a:t> (ARI)</a:t>
                </a:r>
              </a:p>
              <a:p>
                <a:pPr algn="ctr" defTabSz="685389">
                  <a:defRPr/>
                </a:pPr>
                <a:r>
                  <a:rPr lang="en-US" sz="1000">
                    <a:solidFill>
                      <a:srgbClr val="000000"/>
                    </a:solidFill>
                    <a:latin typeface="Arial" panose="020B0604020202020204"/>
                  </a:rPr>
                  <a:t>Bu </a:t>
                </a:r>
                <a:r>
                  <a:rPr lang="en-US" sz="1000" err="1">
                    <a:solidFill>
                      <a:srgbClr val="000000"/>
                    </a:solidFill>
                    <a:latin typeface="Arial" panose="020B0604020202020204"/>
                  </a:rPr>
                  <a:t>semptomlardan</a:t>
                </a:r>
                <a:r>
                  <a:rPr lang="en-US" sz="1000">
                    <a:solidFill>
                      <a:srgbClr val="000000"/>
                    </a:solidFill>
                    <a:latin typeface="Arial" panose="020B0604020202020204"/>
                  </a:rPr>
                  <a:t> ≥1 '</a:t>
                </a:r>
                <a:r>
                  <a:rPr lang="en-US" sz="1000" err="1">
                    <a:solidFill>
                      <a:srgbClr val="000000"/>
                    </a:solidFill>
                    <a:latin typeface="Arial" panose="020B0604020202020204"/>
                  </a:rPr>
                  <a:t>i</a:t>
                </a:r>
                <a:r>
                  <a:rPr lang="en-US" sz="1000">
                    <a:solidFill>
                      <a:srgbClr val="000000"/>
                    </a:solidFill>
                    <a:latin typeface="Arial" panose="020B0604020202020204"/>
                  </a:rPr>
                  <a:t> (yeni </a:t>
                </a:r>
                <a:r>
                  <a:rPr lang="en-US" sz="1000" err="1">
                    <a:solidFill>
                      <a:srgbClr val="000000"/>
                    </a:solidFill>
                    <a:latin typeface="Arial" panose="020B0604020202020204"/>
                  </a:rPr>
                  <a:t>veya</a:t>
                </a:r>
                <a:r>
                  <a:rPr lang="en-US" sz="1000">
                    <a:solidFill>
                      <a:srgbClr val="000000"/>
                    </a:solidFill>
                    <a:latin typeface="Arial" panose="020B0604020202020204"/>
                  </a:rPr>
                  <a:t> </a:t>
                </a:r>
                <a:r>
                  <a:rPr lang="en-US" sz="1000" err="1">
                    <a:solidFill>
                      <a:srgbClr val="000000"/>
                    </a:solidFill>
                    <a:latin typeface="Arial" panose="020B0604020202020204"/>
                  </a:rPr>
                  <a:t>başlangıca</a:t>
                </a:r>
                <a:r>
                  <a:rPr lang="en-US" sz="1000">
                    <a:solidFill>
                      <a:srgbClr val="000000"/>
                    </a:solidFill>
                    <a:latin typeface="Arial" panose="020B0604020202020204"/>
                  </a:rPr>
                  <a:t> </a:t>
                </a:r>
                <a:r>
                  <a:rPr lang="en-US" sz="1000" err="1">
                    <a:solidFill>
                      <a:srgbClr val="000000"/>
                    </a:solidFill>
                    <a:latin typeface="Arial" panose="020B0604020202020204"/>
                  </a:rPr>
                  <a:t>göre</a:t>
                </a:r>
                <a:r>
                  <a:rPr lang="en-US" sz="1000">
                    <a:solidFill>
                      <a:srgbClr val="000000"/>
                    </a:solidFill>
                    <a:latin typeface="Arial" panose="020B0604020202020204"/>
                  </a:rPr>
                  <a:t> </a:t>
                </a:r>
                <a:r>
                  <a:rPr lang="en-US" sz="1000" err="1">
                    <a:solidFill>
                      <a:srgbClr val="000000"/>
                    </a:solidFill>
                    <a:latin typeface="Arial" panose="020B0604020202020204"/>
                  </a:rPr>
                  <a:t>kötüleşmiş</a:t>
                </a:r>
                <a:r>
                  <a:rPr lang="en-US" sz="1000">
                    <a:solidFill>
                      <a:srgbClr val="000000"/>
                    </a:solidFill>
                    <a:latin typeface="Arial" panose="020B0604020202020204"/>
                  </a:rPr>
                  <a:t> ), &gt;1 </a:t>
                </a:r>
                <a:r>
                  <a:rPr lang="en-US" sz="1000" err="1">
                    <a:solidFill>
                      <a:srgbClr val="000000"/>
                    </a:solidFill>
                    <a:latin typeface="Arial" panose="020B0604020202020204"/>
                  </a:rPr>
                  <a:t>gün</a:t>
                </a:r>
                <a:r>
                  <a:rPr lang="en-US" sz="1000">
                    <a:solidFill>
                      <a:srgbClr val="000000"/>
                    </a:solidFill>
                    <a:latin typeface="Arial" panose="020B0604020202020204"/>
                  </a:rPr>
                  <a:t> </a:t>
                </a:r>
                <a:r>
                  <a:rPr lang="en-US" sz="1000" err="1">
                    <a:solidFill>
                      <a:srgbClr val="000000"/>
                    </a:solidFill>
                    <a:latin typeface="Arial" panose="020B0604020202020204"/>
                  </a:rPr>
                  <a:t>süren</a:t>
                </a:r>
                <a:endParaRPr lang="en-US" sz="1000">
                  <a:solidFill>
                    <a:srgbClr val="000000"/>
                  </a:solidFill>
                  <a:latin typeface="Arial" panose="020B0604020202020204"/>
                </a:endParaRPr>
              </a:p>
            </p:txBody>
          </p:sp>
          <p:sp>
            <p:nvSpPr>
              <p:cNvPr id="27" name="Rectangle: Rounded Corners 26">
                <a:extLst>
                  <a:ext uri="{FF2B5EF4-FFF2-40B4-BE49-F238E27FC236}">
                    <a16:creationId xmlns:a16="http://schemas.microsoft.com/office/drawing/2014/main" id="{FCD7B851-4B8A-A8D1-CF26-91936A93D956}"/>
                  </a:ext>
                </a:extLst>
              </p:cNvPr>
              <p:cNvSpPr/>
              <p:nvPr/>
            </p:nvSpPr>
            <p:spPr>
              <a:xfrm>
                <a:off x="5860623" y="2092184"/>
                <a:ext cx="976220" cy="587156"/>
              </a:xfrm>
              <a:prstGeom prst="roundRect">
                <a:avLst>
                  <a:gd name="adj" fmla="val 8426"/>
                </a:avLst>
              </a:prstGeom>
              <a:solidFill>
                <a:schemeClr val="accent1"/>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050" b="1" err="1">
                    <a:solidFill>
                      <a:srgbClr val="FFFFFF"/>
                    </a:solidFill>
                    <a:latin typeface="Arial" panose="020B0604020202020204"/>
                  </a:rPr>
                  <a:t>Boğaz</a:t>
                </a:r>
                <a:r>
                  <a:rPr lang="en-US" sz="1050" b="1">
                    <a:solidFill>
                      <a:srgbClr val="FFFFFF"/>
                    </a:solidFill>
                    <a:latin typeface="Arial" panose="020B0604020202020204"/>
                  </a:rPr>
                  <a:t> </a:t>
                </a:r>
              </a:p>
              <a:p>
                <a:pPr algn="ctr" defTabSz="433128">
                  <a:lnSpc>
                    <a:spcPct val="90000"/>
                  </a:lnSpc>
                  <a:spcBef>
                    <a:spcPct val="0"/>
                  </a:spcBef>
                  <a:spcAft>
                    <a:spcPct val="35000"/>
                  </a:spcAft>
                  <a:defRPr/>
                </a:pPr>
                <a:r>
                  <a:rPr lang="en-US" sz="1050" b="1" err="1">
                    <a:solidFill>
                      <a:srgbClr val="FFFFFF"/>
                    </a:solidFill>
                    <a:latin typeface="Arial" panose="020B0604020202020204"/>
                  </a:rPr>
                  <a:t>ağrısı</a:t>
                </a:r>
                <a:endParaRPr lang="en-US" sz="1050">
                  <a:solidFill>
                    <a:srgbClr val="FFFFFF"/>
                  </a:solidFill>
                  <a:latin typeface="Arial" panose="020B0604020202020204"/>
                </a:endParaRPr>
              </a:p>
            </p:txBody>
          </p:sp>
          <p:sp>
            <p:nvSpPr>
              <p:cNvPr id="28" name="Rectangle: Rounded Corners 27">
                <a:extLst>
                  <a:ext uri="{FF2B5EF4-FFF2-40B4-BE49-F238E27FC236}">
                    <a16:creationId xmlns:a16="http://schemas.microsoft.com/office/drawing/2014/main" id="{2DD8D55E-5169-F9EA-2E0B-124E307252F9}"/>
                  </a:ext>
                </a:extLst>
              </p:cNvPr>
              <p:cNvSpPr/>
              <p:nvPr/>
            </p:nvSpPr>
            <p:spPr>
              <a:xfrm>
                <a:off x="6870695" y="2092184"/>
                <a:ext cx="976220" cy="587156"/>
              </a:xfrm>
              <a:prstGeom prst="roundRect">
                <a:avLst>
                  <a:gd name="adj" fmla="val 8426"/>
                </a:avLst>
              </a:prstGeom>
              <a:solidFill>
                <a:schemeClr val="accent1"/>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050" b="1" err="1">
                    <a:solidFill>
                      <a:srgbClr val="FFFFFF"/>
                    </a:solidFill>
                    <a:latin typeface="Arial" panose="020B0604020202020204"/>
                  </a:rPr>
                  <a:t>Öksürük</a:t>
                </a:r>
                <a:endParaRPr lang="en-US" sz="1050">
                  <a:solidFill>
                    <a:srgbClr val="FFFFFF"/>
                  </a:solidFill>
                  <a:latin typeface="Arial" panose="020B0604020202020204"/>
                </a:endParaRPr>
              </a:p>
            </p:txBody>
          </p:sp>
          <p:sp>
            <p:nvSpPr>
              <p:cNvPr id="29" name="Rectangle: Rounded Corners 28">
                <a:extLst>
                  <a:ext uri="{FF2B5EF4-FFF2-40B4-BE49-F238E27FC236}">
                    <a16:creationId xmlns:a16="http://schemas.microsoft.com/office/drawing/2014/main" id="{02A27803-DAC2-DDF3-A906-4D5D33CC6FB9}"/>
                  </a:ext>
                </a:extLst>
              </p:cNvPr>
              <p:cNvSpPr/>
              <p:nvPr/>
            </p:nvSpPr>
            <p:spPr>
              <a:xfrm>
                <a:off x="4850553" y="2092184"/>
                <a:ext cx="976220" cy="587156"/>
              </a:xfrm>
              <a:prstGeom prst="roundRect">
                <a:avLst>
                  <a:gd name="adj" fmla="val 8426"/>
                </a:avLst>
              </a:prstGeom>
              <a:solidFill>
                <a:schemeClr val="accent1"/>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050" b="1" err="1">
                    <a:solidFill>
                      <a:srgbClr val="FFFFFF"/>
                    </a:solidFill>
                    <a:latin typeface="Arial" panose="020B0604020202020204"/>
                  </a:rPr>
                  <a:t>Burun</a:t>
                </a:r>
                <a:endParaRPr lang="en-US" sz="1050" b="1">
                  <a:solidFill>
                    <a:srgbClr val="FFFFFF"/>
                  </a:solidFill>
                  <a:latin typeface="Arial" panose="020B0604020202020204"/>
                </a:endParaRPr>
              </a:p>
              <a:p>
                <a:pPr algn="ctr" defTabSz="433128">
                  <a:lnSpc>
                    <a:spcPct val="90000"/>
                  </a:lnSpc>
                  <a:spcBef>
                    <a:spcPct val="0"/>
                  </a:spcBef>
                  <a:spcAft>
                    <a:spcPct val="35000"/>
                  </a:spcAft>
                  <a:defRPr/>
                </a:pPr>
                <a:r>
                  <a:rPr lang="en-US" sz="1050" b="1">
                    <a:solidFill>
                      <a:srgbClr val="FFFFFF"/>
                    </a:solidFill>
                    <a:latin typeface="Arial" panose="020B0604020202020204"/>
                  </a:rPr>
                  <a:t> </a:t>
                </a:r>
                <a:r>
                  <a:rPr lang="en-US" sz="1050" b="1" err="1">
                    <a:solidFill>
                      <a:srgbClr val="FFFFFF"/>
                    </a:solidFill>
                    <a:latin typeface="Arial" panose="020B0604020202020204"/>
                  </a:rPr>
                  <a:t>tıkanıklığı</a:t>
                </a:r>
                <a:endParaRPr lang="en-US" sz="1050">
                  <a:solidFill>
                    <a:srgbClr val="FFFFFF"/>
                  </a:solidFill>
                  <a:latin typeface="Arial" panose="020B0604020202020204"/>
                </a:endParaRPr>
              </a:p>
            </p:txBody>
          </p:sp>
          <p:sp>
            <p:nvSpPr>
              <p:cNvPr id="30" name="Rectangle: Rounded Corners 29">
                <a:extLst>
                  <a:ext uri="{FF2B5EF4-FFF2-40B4-BE49-F238E27FC236}">
                    <a16:creationId xmlns:a16="http://schemas.microsoft.com/office/drawing/2014/main" id="{B8325A03-C923-3A48-3213-2A27E01C411C}"/>
                  </a:ext>
                </a:extLst>
              </p:cNvPr>
              <p:cNvSpPr/>
              <p:nvPr/>
            </p:nvSpPr>
            <p:spPr>
              <a:xfrm>
                <a:off x="3840481" y="2092184"/>
                <a:ext cx="976220" cy="587156"/>
              </a:xfrm>
              <a:prstGeom prst="roundRect">
                <a:avLst>
                  <a:gd name="adj" fmla="val 8426"/>
                </a:avLst>
              </a:prstGeom>
              <a:solidFill>
                <a:schemeClr val="accent1"/>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050" b="1" err="1">
                    <a:solidFill>
                      <a:srgbClr val="FFFFFF"/>
                    </a:solidFill>
                    <a:latin typeface="Arial" panose="020B0604020202020204"/>
                  </a:rPr>
                  <a:t>Burun</a:t>
                </a:r>
                <a:r>
                  <a:rPr lang="en-US" sz="1050" b="1">
                    <a:solidFill>
                      <a:srgbClr val="FFFFFF"/>
                    </a:solidFill>
                    <a:latin typeface="Arial" panose="020B0604020202020204"/>
                  </a:rPr>
                  <a:t> </a:t>
                </a:r>
              </a:p>
              <a:p>
                <a:pPr algn="ctr" defTabSz="433128">
                  <a:lnSpc>
                    <a:spcPct val="90000"/>
                  </a:lnSpc>
                  <a:spcBef>
                    <a:spcPct val="0"/>
                  </a:spcBef>
                  <a:spcAft>
                    <a:spcPct val="35000"/>
                  </a:spcAft>
                  <a:defRPr/>
                </a:pPr>
                <a:r>
                  <a:rPr lang="en-US" sz="1050" b="1" err="1">
                    <a:solidFill>
                      <a:srgbClr val="FFFFFF"/>
                    </a:solidFill>
                    <a:latin typeface="Arial" panose="020B0604020202020204"/>
                  </a:rPr>
                  <a:t>akıntısı</a:t>
                </a:r>
                <a:endParaRPr lang="en-US" sz="1050">
                  <a:solidFill>
                    <a:srgbClr val="FFFFFF"/>
                  </a:solidFill>
                  <a:latin typeface="Arial" panose="020B0604020202020204"/>
                </a:endParaRPr>
              </a:p>
            </p:txBody>
          </p:sp>
          <p:sp>
            <p:nvSpPr>
              <p:cNvPr id="31" name="Rectangle: Rounded Corners 30">
                <a:extLst>
                  <a:ext uri="{FF2B5EF4-FFF2-40B4-BE49-F238E27FC236}">
                    <a16:creationId xmlns:a16="http://schemas.microsoft.com/office/drawing/2014/main" id="{9EFA80D8-19E5-387C-B3F5-7087897F7DE6}"/>
                  </a:ext>
                </a:extLst>
              </p:cNvPr>
              <p:cNvSpPr/>
              <p:nvPr/>
            </p:nvSpPr>
            <p:spPr>
              <a:xfrm>
                <a:off x="8890837" y="2092184"/>
                <a:ext cx="976220" cy="587156"/>
              </a:xfrm>
              <a:prstGeom prst="roundRect">
                <a:avLst>
                  <a:gd name="adj" fmla="val 8426"/>
                </a:avLst>
              </a:prstGeom>
              <a:solidFill>
                <a:schemeClr val="accent1"/>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050" b="1" err="1">
                    <a:solidFill>
                      <a:srgbClr val="FFFFFF"/>
                    </a:solidFill>
                    <a:latin typeface="Arial" panose="020B0604020202020204"/>
                  </a:rPr>
                  <a:t>Hırıltılı</a:t>
                </a:r>
                <a:endParaRPr lang="en-US" sz="1050" b="1">
                  <a:solidFill>
                    <a:srgbClr val="FFFFFF"/>
                  </a:solidFill>
                  <a:latin typeface="Arial" panose="020B0604020202020204"/>
                </a:endParaRPr>
              </a:p>
              <a:p>
                <a:pPr algn="ctr" defTabSz="433128">
                  <a:lnSpc>
                    <a:spcPct val="90000"/>
                  </a:lnSpc>
                  <a:spcBef>
                    <a:spcPct val="0"/>
                  </a:spcBef>
                  <a:spcAft>
                    <a:spcPct val="35000"/>
                  </a:spcAft>
                  <a:defRPr/>
                </a:pPr>
                <a:r>
                  <a:rPr lang="en-US" sz="1050" b="1">
                    <a:solidFill>
                      <a:srgbClr val="FFFFFF"/>
                    </a:solidFill>
                    <a:latin typeface="Arial" panose="020B0604020202020204"/>
                  </a:rPr>
                  <a:t> </a:t>
                </a:r>
                <a:r>
                  <a:rPr lang="en-US" sz="1050" b="1" err="1">
                    <a:solidFill>
                      <a:srgbClr val="FFFFFF"/>
                    </a:solidFill>
                    <a:latin typeface="Arial" panose="020B0604020202020204"/>
                  </a:rPr>
                  <a:t>solunum</a:t>
                </a:r>
                <a:endParaRPr lang="en-US" sz="1050">
                  <a:solidFill>
                    <a:srgbClr val="FFFFFF"/>
                  </a:solidFill>
                  <a:latin typeface="Arial" panose="020B0604020202020204"/>
                </a:endParaRPr>
              </a:p>
            </p:txBody>
          </p:sp>
          <p:sp>
            <p:nvSpPr>
              <p:cNvPr id="32" name="Rectangle: Rounded Corners 31">
                <a:extLst>
                  <a:ext uri="{FF2B5EF4-FFF2-40B4-BE49-F238E27FC236}">
                    <a16:creationId xmlns:a16="http://schemas.microsoft.com/office/drawing/2014/main" id="{9AECB24E-299C-CB86-D1B3-72EC6B2945DD}"/>
                  </a:ext>
                </a:extLst>
              </p:cNvPr>
              <p:cNvSpPr/>
              <p:nvPr/>
            </p:nvSpPr>
            <p:spPr>
              <a:xfrm>
                <a:off x="7880766" y="2092184"/>
                <a:ext cx="976220" cy="587156"/>
              </a:xfrm>
              <a:prstGeom prst="roundRect">
                <a:avLst>
                  <a:gd name="adj" fmla="val 8426"/>
                </a:avLst>
              </a:prstGeom>
              <a:solidFill>
                <a:schemeClr val="accent1"/>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050" b="1" err="1">
                    <a:solidFill>
                      <a:srgbClr val="FFFFFF"/>
                    </a:solidFill>
                    <a:latin typeface="Arial" panose="020B0604020202020204"/>
                  </a:rPr>
                  <a:t>Balgam</a:t>
                </a:r>
                <a:endParaRPr lang="en-US" sz="1050">
                  <a:solidFill>
                    <a:srgbClr val="FFFFFF"/>
                  </a:solidFill>
                  <a:latin typeface="Arial" panose="020B0604020202020204"/>
                </a:endParaRPr>
              </a:p>
            </p:txBody>
          </p:sp>
          <p:sp>
            <p:nvSpPr>
              <p:cNvPr id="33" name="Rectangle: Rounded Corners 32">
                <a:extLst>
                  <a:ext uri="{FF2B5EF4-FFF2-40B4-BE49-F238E27FC236}">
                    <a16:creationId xmlns:a16="http://schemas.microsoft.com/office/drawing/2014/main" id="{88B7A22F-6C9C-A886-0E02-07D079D78665}"/>
                  </a:ext>
                </a:extLst>
              </p:cNvPr>
              <p:cNvSpPr/>
              <p:nvPr/>
            </p:nvSpPr>
            <p:spPr>
              <a:xfrm>
                <a:off x="9900908" y="2092184"/>
                <a:ext cx="976220" cy="587156"/>
              </a:xfrm>
              <a:prstGeom prst="roundRect">
                <a:avLst>
                  <a:gd name="adj" fmla="val 8426"/>
                </a:avLst>
              </a:prstGeom>
              <a:solidFill>
                <a:schemeClr val="accent1"/>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br>
                  <a:rPr lang="en-US" sz="1050" b="1">
                    <a:solidFill>
                      <a:srgbClr val="FFFFFF"/>
                    </a:solidFill>
                    <a:latin typeface="Arial" panose="020B0604020202020204"/>
                  </a:rPr>
                </a:br>
                <a:r>
                  <a:rPr lang="en-US" sz="1050" b="1" err="1">
                    <a:solidFill>
                      <a:srgbClr val="FFFFFF"/>
                    </a:solidFill>
                    <a:latin typeface="Arial" panose="020B0604020202020204"/>
                  </a:rPr>
                  <a:t>Nefes</a:t>
                </a:r>
                <a:r>
                  <a:rPr lang="en-US" sz="1050" b="1">
                    <a:solidFill>
                      <a:srgbClr val="FFFFFF"/>
                    </a:solidFill>
                    <a:latin typeface="Arial" panose="020B0604020202020204"/>
                  </a:rPr>
                  <a:t> </a:t>
                </a:r>
                <a:br>
                  <a:rPr lang="en-US" sz="1050" b="1">
                    <a:solidFill>
                      <a:srgbClr val="FFFFFF"/>
                    </a:solidFill>
                    <a:latin typeface="Arial" panose="020B0604020202020204"/>
                  </a:rPr>
                </a:br>
                <a:r>
                  <a:rPr lang="en-US" sz="1050" b="1" err="1">
                    <a:solidFill>
                      <a:srgbClr val="FFFFFF"/>
                    </a:solidFill>
                    <a:latin typeface="Arial" panose="020B0604020202020204"/>
                  </a:rPr>
                  <a:t>darlığı</a:t>
                </a:r>
                <a:endParaRPr lang="en-US" sz="1050">
                  <a:solidFill>
                    <a:srgbClr val="FFFFFF"/>
                  </a:solidFill>
                  <a:latin typeface="Arial" panose="020B0604020202020204"/>
                </a:endParaRPr>
              </a:p>
            </p:txBody>
          </p:sp>
          <p:sp>
            <p:nvSpPr>
              <p:cNvPr id="43" name="Rectangle: Rounded Corners 42">
                <a:extLst>
                  <a:ext uri="{FF2B5EF4-FFF2-40B4-BE49-F238E27FC236}">
                    <a16:creationId xmlns:a16="http://schemas.microsoft.com/office/drawing/2014/main" id="{CBCCE57D-82B1-E4B1-5CE1-C0E1FC2296BC}"/>
                  </a:ext>
                </a:extLst>
              </p:cNvPr>
              <p:cNvSpPr/>
              <p:nvPr/>
            </p:nvSpPr>
            <p:spPr>
              <a:xfrm>
                <a:off x="10910980" y="2092184"/>
                <a:ext cx="976220" cy="587156"/>
              </a:xfrm>
              <a:prstGeom prst="roundRect">
                <a:avLst>
                  <a:gd name="adj" fmla="val 8426"/>
                </a:avLst>
              </a:prstGeom>
              <a:solidFill>
                <a:schemeClr val="bg2"/>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endParaRPr lang="en-US" sz="1050">
                  <a:solidFill>
                    <a:srgbClr val="FFFFFF"/>
                  </a:solidFill>
                  <a:latin typeface="Arial" panose="020B0604020202020204"/>
                </a:endParaRPr>
              </a:p>
            </p:txBody>
          </p:sp>
        </p:grpSp>
        <p:grpSp>
          <p:nvGrpSpPr>
            <p:cNvPr id="64" name="Group 63">
              <a:extLst>
                <a:ext uri="{FF2B5EF4-FFF2-40B4-BE49-F238E27FC236}">
                  <a16:creationId xmlns:a16="http://schemas.microsoft.com/office/drawing/2014/main" id="{8B646BDF-D233-E64B-4FC9-7093B839EDC7}"/>
                </a:ext>
              </a:extLst>
            </p:cNvPr>
            <p:cNvGrpSpPr/>
            <p:nvPr/>
          </p:nvGrpSpPr>
          <p:grpSpPr>
            <a:xfrm>
              <a:off x="1798320" y="2764332"/>
              <a:ext cx="8641080" cy="660159"/>
              <a:chOff x="365760" y="2931730"/>
              <a:chExt cx="11521440" cy="678596"/>
            </a:xfrm>
          </p:grpSpPr>
          <p:sp>
            <p:nvSpPr>
              <p:cNvPr id="81" name="TextBox 80">
                <a:extLst>
                  <a:ext uri="{FF2B5EF4-FFF2-40B4-BE49-F238E27FC236}">
                    <a16:creationId xmlns:a16="http://schemas.microsoft.com/office/drawing/2014/main" id="{15EF4ADA-7C30-AF68-DE87-271FCBC8A920}"/>
                  </a:ext>
                </a:extLst>
              </p:cNvPr>
              <p:cNvSpPr txBox="1"/>
              <p:nvPr/>
            </p:nvSpPr>
            <p:spPr>
              <a:xfrm>
                <a:off x="365760" y="2931730"/>
                <a:ext cx="3318614" cy="598939"/>
              </a:xfrm>
              <a:prstGeom prst="rect">
                <a:avLst/>
              </a:prstGeom>
              <a:noFill/>
            </p:spPr>
            <p:txBody>
              <a:bodyPr wrap="square" lIns="0" tIns="0" rIns="0" bIns="0" rtlCol="0">
                <a:noAutofit/>
              </a:bodyPr>
              <a:lstStyle/>
              <a:p>
                <a:pPr algn="ctr" defTabSz="685389">
                  <a:defRPr/>
                </a:pPr>
                <a:r>
                  <a:rPr lang="en-US" sz="1400">
                    <a:solidFill>
                      <a:srgbClr val="00B7A5"/>
                    </a:solidFill>
                    <a:latin typeface="Arial" panose="020B0604020202020204"/>
                  </a:rPr>
                  <a:t>Alt </a:t>
                </a:r>
                <a:r>
                  <a:rPr lang="en-US" sz="1400" err="1">
                    <a:solidFill>
                      <a:srgbClr val="00B7A5"/>
                    </a:solidFill>
                    <a:latin typeface="Arial" panose="020B0604020202020204"/>
                  </a:rPr>
                  <a:t>solunum</a:t>
                </a:r>
                <a:r>
                  <a:rPr lang="en-US" sz="1400">
                    <a:solidFill>
                      <a:srgbClr val="00B7A5"/>
                    </a:solidFill>
                    <a:latin typeface="Arial" panose="020B0604020202020204"/>
                  </a:rPr>
                  <a:t> </a:t>
                </a:r>
                <a:r>
                  <a:rPr lang="en-US" sz="1400" err="1">
                    <a:solidFill>
                      <a:srgbClr val="00B7A5"/>
                    </a:solidFill>
                    <a:latin typeface="Arial" panose="020B0604020202020204"/>
                  </a:rPr>
                  <a:t>yolu</a:t>
                </a:r>
                <a:r>
                  <a:rPr lang="en-US" sz="1400">
                    <a:solidFill>
                      <a:srgbClr val="00B7A5"/>
                    </a:solidFill>
                    <a:latin typeface="Arial" panose="020B0604020202020204"/>
                  </a:rPr>
                  <a:t> </a:t>
                </a:r>
                <a:r>
                  <a:rPr lang="en-US" sz="1400" err="1">
                    <a:solidFill>
                      <a:srgbClr val="00B7A5"/>
                    </a:solidFill>
                    <a:latin typeface="Arial" panose="020B0604020202020204"/>
                  </a:rPr>
                  <a:t>hastalığı</a:t>
                </a:r>
                <a:r>
                  <a:rPr lang="en-US" sz="1400">
                    <a:solidFill>
                      <a:srgbClr val="00B7A5"/>
                    </a:solidFill>
                    <a:latin typeface="Arial" panose="020B0604020202020204"/>
                  </a:rPr>
                  <a:t> (ASYH</a:t>
                </a:r>
                <a:r>
                  <a:rPr lang="en-US" sz="1200">
                    <a:solidFill>
                      <a:srgbClr val="00B7A5"/>
                    </a:solidFill>
                    <a:latin typeface="Arial" panose="020B0604020202020204"/>
                  </a:rPr>
                  <a:t>)</a:t>
                </a:r>
              </a:p>
              <a:p>
                <a:pPr algn="ctr" defTabSz="685389">
                  <a:defRPr/>
                </a:pPr>
                <a:r>
                  <a:rPr lang="en-US">
                    <a:solidFill>
                      <a:srgbClr val="000000"/>
                    </a:solidFill>
                    <a:latin typeface="Arial" panose="020B0604020202020204"/>
                  </a:rPr>
                  <a:t>≥2 </a:t>
                </a:r>
                <a:r>
                  <a:rPr lang="en-US" err="1">
                    <a:solidFill>
                      <a:srgbClr val="000000"/>
                    </a:solidFill>
                    <a:latin typeface="Arial" panose="020B0604020202020204"/>
                  </a:rPr>
                  <a:t>veya</a:t>
                </a:r>
                <a:r>
                  <a:rPr lang="en-US">
                    <a:solidFill>
                      <a:srgbClr val="000000"/>
                    </a:solidFill>
                    <a:latin typeface="Arial" panose="020B0604020202020204"/>
                  </a:rPr>
                  <a:t> ≥3 alt </a:t>
                </a:r>
                <a:r>
                  <a:rPr lang="en-US" err="1">
                    <a:solidFill>
                      <a:srgbClr val="000000"/>
                    </a:solidFill>
                    <a:latin typeface="Arial" panose="020B0604020202020204"/>
                  </a:rPr>
                  <a:t>solunum</a:t>
                </a:r>
                <a:r>
                  <a:rPr lang="en-US">
                    <a:solidFill>
                      <a:srgbClr val="000000"/>
                    </a:solidFill>
                    <a:latin typeface="Arial" panose="020B0604020202020204"/>
                  </a:rPr>
                  <a:t> </a:t>
                </a:r>
                <a:r>
                  <a:rPr lang="en-US" err="1">
                    <a:solidFill>
                      <a:srgbClr val="000000"/>
                    </a:solidFill>
                    <a:latin typeface="Arial" panose="020B0604020202020204"/>
                  </a:rPr>
                  <a:t>yolu</a:t>
                </a:r>
                <a:r>
                  <a:rPr lang="en-US">
                    <a:solidFill>
                      <a:srgbClr val="000000"/>
                    </a:solidFill>
                    <a:latin typeface="Arial" panose="020B0604020202020204"/>
                  </a:rPr>
                  <a:t> </a:t>
                </a:r>
                <a:r>
                  <a:rPr lang="en-US" err="1">
                    <a:solidFill>
                      <a:srgbClr val="000000"/>
                    </a:solidFill>
                    <a:latin typeface="Arial" panose="020B0604020202020204"/>
                  </a:rPr>
                  <a:t>belirti</a:t>
                </a:r>
                <a:r>
                  <a:rPr lang="en-US">
                    <a:solidFill>
                      <a:srgbClr val="000000"/>
                    </a:solidFill>
                    <a:latin typeface="Arial" panose="020B0604020202020204"/>
                  </a:rPr>
                  <a:t> </a:t>
                </a:r>
                <a:r>
                  <a:rPr lang="en-US" err="1">
                    <a:solidFill>
                      <a:srgbClr val="000000"/>
                    </a:solidFill>
                    <a:latin typeface="Arial" panose="020B0604020202020204"/>
                  </a:rPr>
                  <a:t>veya</a:t>
                </a:r>
                <a:r>
                  <a:rPr lang="en-US">
                    <a:solidFill>
                      <a:srgbClr val="000000"/>
                    </a:solidFill>
                    <a:latin typeface="Arial" panose="020B0604020202020204"/>
                  </a:rPr>
                  <a:t> </a:t>
                </a:r>
                <a:r>
                  <a:rPr lang="en-US" err="1">
                    <a:solidFill>
                      <a:srgbClr val="000000"/>
                    </a:solidFill>
                    <a:latin typeface="Arial" panose="020B0604020202020204"/>
                  </a:rPr>
                  <a:t>semptomu</a:t>
                </a:r>
                <a:r>
                  <a:rPr lang="en-US">
                    <a:solidFill>
                      <a:srgbClr val="000000"/>
                    </a:solidFill>
                    <a:latin typeface="Arial" panose="020B0604020202020204"/>
                  </a:rPr>
                  <a:t> </a:t>
                </a:r>
                <a:r>
                  <a:rPr lang="en-US" err="1">
                    <a:solidFill>
                      <a:srgbClr val="000000"/>
                    </a:solidFill>
                    <a:latin typeface="Arial" panose="020B0604020202020204"/>
                  </a:rPr>
                  <a:t>olan</a:t>
                </a:r>
                <a:r>
                  <a:rPr lang="en-US">
                    <a:solidFill>
                      <a:srgbClr val="000000"/>
                    </a:solidFill>
                    <a:latin typeface="Arial" panose="020B0604020202020204"/>
                  </a:rPr>
                  <a:t> ARI (yeni </a:t>
                </a:r>
                <a:r>
                  <a:rPr lang="en-US" err="1">
                    <a:solidFill>
                      <a:srgbClr val="000000"/>
                    </a:solidFill>
                    <a:latin typeface="Arial" panose="020B0604020202020204"/>
                  </a:rPr>
                  <a:t>veya</a:t>
                </a:r>
                <a:r>
                  <a:rPr lang="en-US">
                    <a:solidFill>
                      <a:srgbClr val="000000"/>
                    </a:solidFill>
                    <a:latin typeface="Arial" panose="020B0604020202020204"/>
                  </a:rPr>
                  <a:t> </a:t>
                </a:r>
                <a:r>
                  <a:rPr lang="en-US" err="1">
                    <a:solidFill>
                      <a:srgbClr val="000000"/>
                    </a:solidFill>
                    <a:latin typeface="Arial" panose="020B0604020202020204"/>
                  </a:rPr>
                  <a:t>kötüleşmiş</a:t>
                </a:r>
                <a:r>
                  <a:rPr lang="en-US">
                    <a:solidFill>
                      <a:srgbClr val="000000"/>
                    </a:solidFill>
                    <a:latin typeface="Arial" panose="020B0604020202020204"/>
                  </a:rPr>
                  <a:t>)</a:t>
                </a:r>
              </a:p>
            </p:txBody>
          </p:sp>
          <p:sp>
            <p:nvSpPr>
              <p:cNvPr id="72" name="Rectangle: Rounded Corners 71">
                <a:extLst>
                  <a:ext uri="{FF2B5EF4-FFF2-40B4-BE49-F238E27FC236}">
                    <a16:creationId xmlns:a16="http://schemas.microsoft.com/office/drawing/2014/main" id="{AF21C4B3-728D-D147-6D7F-FA3F83B7E6F8}"/>
                  </a:ext>
                </a:extLst>
              </p:cNvPr>
              <p:cNvSpPr/>
              <p:nvPr/>
            </p:nvSpPr>
            <p:spPr>
              <a:xfrm>
                <a:off x="6870694" y="3023170"/>
                <a:ext cx="976220" cy="587156"/>
              </a:xfrm>
              <a:prstGeom prst="roundRect">
                <a:avLst>
                  <a:gd name="adj" fmla="val 8426"/>
                </a:avLst>
              </a:prstGeom>
              <a:solidFill>
                <a:schemeClr val="accent5"/>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050" b="1" err="1">
                    <a:solidFill>
                      <a:srgbClr val="FFFFFF"/>
                    </a:solidFill>
                    <a:latin typeface="Arial" panose="020B0604020202020204"/>
                  </a:rPr>
                  <a:t>Öksürük</a:t>
                </a:r>
                <a:endParaRPr lang="en-US" sz="1050">
                  <a:solidFill>
                    <a:srgbClr val="FFFFFF"/>
                  </a:solidFill>
                  <a:latin typeface="Arial" panose="020B0604020202020204"/>
                </a:endParaRPr>
              </a:p>
            </p:txBody>
          </p:sp>
          <p:sp>
            <p:nvSpPr>
              <p:cNvPr id="73" name="Rectangle: Rounded Corners 72">
                <a:extLst>
                  <a:ext uri="{FF2B5EF4-FFF2-40B4-BE49-F238E27FC236}">
                    <a16:creationId xmlns:a16="http://schemas.microsoft.com/office/drawing/2014/main" id="{5BCF2D64-8F00-9C43-DEB4-038AA4DB2267}"/>
                  </a:ext>
                </a:extLst>
              </p:cNvPr>
              <p:cNvSpPr/>
              <p:nvPr/>
            </p:nvSpPr>
            <p:spPr>
              <a:xfrm>
                <a:off x="8890836" y="3023170"/>
                <a:ext cx="976220" cy="587156"/>
              </a:xfrm>
              <a:prstGeom prst="roundRect">
                <a:avLst>
                  <a:gd name="adj" fmla="val 8426"/>
                </a:avLst>
              </a:prstGeom>
              <a:solidFill>
                <a:schemeClr val="accent5"/>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050" b="1" err="1">
                    <a:solidFill>
                      <a:srgbClr val="FFFFFF"/>
                    </a:solidFill>
                    <a:latin typeface="Arial" panose="020B0604020202020204"/>
                  </a:rPr>
                  <a:t>Hırıltılı</a:t>
                </a:r>
                <a:r>
                  <a:rPr lang="en-US" sz="1050" b="1">
                    <a:solidFill>
                      <a:srgbClr val="FFFFFF"/>
                    </a:solidFill>
                    <a:latin typeface="Arial" panose="020B0604020202020204"/>
                  </a:rPr>
                  <a:t> </a:t>
                </a:r>
              </a:p>
              <a:p>
                <a:pPr algn="ctr" defTabSz="433128">
                  <a:lnSpc>
                    <a:spcPct val="90000"/>
                  </a:lnSpc>
                  <a:spcBef>
                    <a:spcPct val="0"/>
                  </a:spcBef>
                  <a:spcAft>
                    <a:spcPct val="35000"/>
                  </a:spcAft>
                  <a:defRPr/>
                </a:pPr>
                <a:r>
                  <a:rPr lang="en-US" sz="1050" b="1" err="1">
                    <a:solidFill>
                      <a:srgbClr val="FFFFFF"/>
                    </a:solidFill>
                    <a:latin typeface="Arial" panose="020B0604020202020204"/>
                  </a:rPr>
                  <a:t>solunum</a:t>
                </a:r>
                <a:endParaRPr lang="en-US" sz="1050">
                  <a:solidFill>
                    <a:srgbClr val="FFFFFF"/>
                  </a:solidFill>
                  <a:latin typeface="Arial" panose="020B0604020202020204"/>
                </a:endParaRPr>
              </a:p>
            </p:txBody>
          </p:sp>
          <p:sp>
            <p:nvSpPr>
              <p:cNvPr id="75" name="Rectangle: Rounded Corners 74">
                <a:extLst>
                  <a:ext uri="{FF2B5EF4-FFF2-40B4-BE49-F238E27FC236}">
                    <a16:creationId xmlns:a16="http://schemas.microsoft.com/office/drawing/2014/main" id="{B39BF0A7-A302-FC2E-0B2A-01ABA81A44E5}"/>
                  </a:ext>
                </a:extLst>
              </p:cNvPr>
              <p:cNvSpPr/>
              <p:nvPr/>
            </p:nvSpPr>
            <p:spPr>
              <a:xfrm>
                <a:off x="7880765" y="3023170"/>
                <a:ext cx="976220" cy="587156"/>
              </a:xfrm>
              <a:prstGeom prst="roundRect">
                <a:avLst>
                  <a:gd name="adj" fmla="val 8426"/>
                </a:avLst>
              </a:prstGeom>
              <a:solidFill>
                <a:schemeClr val="accent5"/>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050" b="1" err="1">
                    <a:solidFill>
                      <a:srgbClr val="FFFFFF"/>
                    </a:solidFill>
                    <a:latin typeface="Arial" panose="020B0604020202020204"/>
                  </a:rPr>
                  <a:t>Balgam</a:t>
                </a:r>
                <a:endParaRPr lang="en-US" sz="1050">
                  <a:solidFill>
                    <a:srgbClr val="FFFFFF"/>
                  </a:solidFill>
                  <a:latin typeface="Arial" panose="020B0604020202020204"/>
                </a:endParaRPr>
              </a:p>
            </p:txBody>
          </p:sp>
          <p:sp>
            <p:nvSpPr>
              <p:cNvPr id="76" name="Rectangle: Rounded Corners 75">
                <a:extLst>
                  <a:ext uri="{FF2B5EF4-FFF2-40B4-BE49-F238E27FC236}">
                    <a16:creationId xmlns:a16="http://schemas.microsoft.com/office/drawing/2014/main" id="{D9CA24C5-B1FC-9640-BE35-3C0AB94B6A22}"/>
                  </a:ext>
                </a:extLst>
              </p:cNvPr>
              <p:cNvSpPr/>
              <p:nvPr/>
            </p:nvSpPr>
            <p:spPr>
              <a:xfrm>
                <a:off x="9900907" y="3023170"/>
                <a:ext cx="976220" cy="587156"/>
              </a:xfrm>
              <a:prstGeom prst="roundRect">
                <a:avLst>
                  <a:gd name="adj" fmla="val 8426"/>
                </a:avLst>
              </a:prstGeom>
              <a:solidFill>
                <a:schemeClr val="accent5"/>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050" b="1" err="1">
                    <a:solidFill>
                      <a:srgbClr val="FFFFFF"/>
                    </a:solidFill>
                    <a:latin typeface="Arial" panose="020B0604020202020204"/>
                  </a:rPr>
                  <a:t>Nefes</a:t>
                </a:r>
                <a:r>
                  <a:rPr lang="en-US" sz="1050" b="1">
                    <a:solidFill>
                      <a:srgbClr val="FFFFFF"/>
                    </a:solidFill>
                    <a:latin typeface="Arial" panose="020B0604020202020204"/>
                  </a:rPr>
                  <a:t> </a:t>
                </a:r>
                <a:br>
                  <a:rPr lang="en-US" sz="1050" b="1">
                    <a:solidFill>
                      <a:srgbClr val="FFFFFF"/>
                    </a:solidFill>
                    <a:latin typeface="Arial" panose="020B0604020202020204"/>
                  </a:rPr>
                </a:br>
                <a:r>
                  <a:rPr lang="en-US" sz="1050" b="1" err="1">
                    <a:solidFill>
                      <a:srgbClr val="FFFFFF"/>
                    </a:solidFill>
                    <a:latin typeface="Arial" panose="020B0604020202020204"/>
                  </a:rPr>
                  <a:t>Darlığı</a:t>
                </a:r>
                <a:endParaRPr lang="en-US" sz="1050">
                  <a:solidFill>
                    <a:srgbClr val="FFFFFF"/>
                  </a:solidFill>
                  <a:latin typeface="Arial" panose="020B0604020202020204"/>
                </a:endParaRPr>
              </a:p>
            </p:txBody>
          </p:sp>
          <p:sp>
            <p:nvSpPr>
              <p:cNvPr id="77" name="Rectangle: Rounded Corners 76">
                <a:extLst>
                  <a:ext uri="{FF2B5EF4-FFF2-40B4-BE49-F238E27FC236}">
                    <a16:creationId xmlns:a16="http://schemas.microsoft.com/office/drawing/2014/main" id="{072D9B44-7BAA-36F1-74E5-79AC97ADF50C}"/>
                  </a:ext>
                </a:extLst>
              </p:cNvPr>
              <p:cNvSpPr/>
              <p:nvPr/>
            </p:nvSpPr>
            <p:spPr>
              <a:xfrm>
                <a:off x="10896140" y="3023170"/>
                <a:ext cx="991060" cy="587156"/>
              </a:xfrm>
              <a:prstGeom prst="roundRect">
                <a:avLst>
                  <a:gd name="adj" fmla="val 8426"/>
                </a:avLst>
              </a:prstGeom>
              <a:solidFill>
                <a:schemeClr val="accent5"/>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050" b="1" err="1">
                    <a:solidFill>
                      <a:srgbClr val="FFFFFF"/>
                    </a:solidFill>
                    <a:latin typeface="Arial" panose="020B0604020202020204"/>
                  </a:rPr>
                  <a:t>Takipne</a:t>
                </a:r>
                <a:endParaRPr lang="en-US" sz="1050">
                  <a:solidFill>
                    <a:srgbClr val="FFFFFF"/>
                  </a:solidFill>
                  <a:latin typeface="Arial" panose="020B0604020202020204"/>
                </a:endParaRPr>
              </a:p>
            </p:txBody>
          </p:sp>
          <p:sp>
            <p:nvSpPr>
              <p:cNvPr id="78" name="Rectangle: Rounded Corners 77">
                <a:extLst>
                  <a:ext uri="{FF2B5EF4-FFF2-40B4-BE49-F238E27FC236}">
                    <a16:creationId xmlns:a16="http://schemas.microsoft.com/office/drawing/2014/main" id="{B3AB9C71-C124-66B1-7644-29195366C1A5}"/>
                  </a:ext>
                </a:extLst>
              </p:cNvPr>
              <p:cNvSpPr/>
              <p:nvPr/>
            </p:nvSpPr>
            <p:spPr>
              <a:xfrm>
                <a:off x="3840480" y="3023170"/>
                <a:ext cx="976220" cy="587156"/>
              </a:xfrm>
              <a:prstGeom prst="roundRect">
                <a:avLst>
                  <a:gd name="adj" fmla="val 8426"/>
                </a:avLst>
              </a:prstGeom>
              <a:solidFill>
                <a:schemeClr val="bg2"/>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endParaRPr lang="en-US" sz="1050">
                  <a:solidFill>
                    <a:srgbClr val="FFFFFF"/>
                  </a:solidFill>
                  <a:latin typeface="Arial" panose="020B0604020202020204"/>
                </a:endParaRPr>
              </a:p>
            </p:txBody>
          </p:sp>
          <p:sp>
            <p:nvSpPr>
              <p:cNvPr id="79" name="Rectangle: Rounded Corners 78">
                <a:extLst>
                  <a:ext uri="{FF2B5EF4-FFF2-40B4-BE49-F238E27FC236}">
                    <a16:creationId xmlns:a16="http://schemas.microsoft.com/office/drawing/2014/main" id="{D8CF4E9A-1322-FFDF-21BE-7CF303B6DFFF}"/>
                  </a:ext>
                </a:extLst>
              </p:cNvPr>
              <p:cNvSpPr/>
              <p:nvPr/>
            </p:nvSpPr>
            <p:spPr>
              <a:xfrm>
                <a:off x="5860622" y="3023170"/>
                <a:ext cx="976220" cy="587156"/>
              </a:xfrm>
              <a:prstGeom prst="roundRect">
                <a:avLst>
                  <a:gd name="adj" fmla="val 8426"/>
                </a:avLst>
              </a:prstGeom>
              <a:solidFill>
                <a:schemeClr val="bg2"/>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endParaRPr lang="en-US" sz="1050">
                  <a:solidFill>
                    <a:srgbClr val="FFFFFF"/>
                  </a:solidFill>
                  <a:latin typeface="Arial" panose="020B0604020202020204"/>
                </a:endParaRPr>
              </a:p>
            </p:txBody>
          </p:sp>
          <p:sp>
            <p:nvSpPr>
              <p:cNvPr id="80" name="Rectangle: Rounded Corners 79">
                <a:extLst>
                  <a:ext uri="{FF2B5EF4-FFF2-40B4-BE49-F238E27FC236}">
                    <a16:creationId xmlns:a16="http://schemas.microsoft.com/office/drawing/2014/main" id="{7E2C9FD6-6869-2350-332E-CAA86D79EA98}"/>
                  </a:ext>
                </a:extLst>
              </p:cNvPr>
              <p:cNvSpPr/>
              <p:nvPr/>
            </p:nvSpPr>
            <p:spPr>
              <a:xfrm>
                <a:off x="4850552" y="3023170"/>
                <a:ext cx="976220" cy="587156"/>
              </a:xfrm>
              <a:prstGeom prst="roundRect">
                <a:avLst>
                  <a:gd name="adj" fmla="val 8426"/>
                </a:avLst>
              </a:prstGeom>
              <a:solidFill>
                <a:schemeClr val="bg2"/>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endParaRPr lang="en-US" sz="1050">
                  <a:solidFill>
                    <a:srgbClr val="FFFFFF"/>
                  </a:solidFill>
                  <a:latin typeface="Arial" panose="020B0604020202020204"/>
                </a:endParaRPr>
              </a:p>
            </p:txBody>
          </p:sp>
        </p:grpSp>
        <p:grpSp>
          <p:nvGrpSpPr>
            <p:cNvPr id="69" name="Group 68">
              <a:extLst>
                <a:ext uri="{FF2B5EF4-FFF2-40B4-BE49-F238E27FC236}">
                  <a16:creationId xmlns:a16="http://schemas.microsoft.com/office/drawing/2014/main" id="{0C344456-8985-B663-859A-496182AB9FD8}"/>
                </a:ext>
              </a:extLst>
            </p:cNvPr>
            <p:cNvGrpSpPr/>
            <p:nvPr/>
          </p:nvGrpSpPr>
          <p:grpSpPr>
            <a:xfrm>
              <a:off x="1781228" y="3501589"/>
              <a:ext cx="8658172" cy="761602"/>
              <a:chOff x="342970" y="3979584"/>
              <a:chExt cx="11544230" cy="704979"/>
            </a:xfrm>
          </p:grpSpPr>
          <p:sp>
            <p:nvSpPr>
              <p:cNvPr id="83" name="TextBox 82">
                <a:extLst>
                  <a:ext uri="{FF2B5EF4-FFF2-40B4-BE49-F238E27FC236}">
                    <a16:creationId xmlns:a16="http://schemas.microsoft.com/office/drawing/2014/main" id="{63B039FB-3DAC-9B4E-64C4-F8E8E643822C}"/>
                  </a:ext>
                </a:extLst>
              </p:cNvPr>
              <p:cNvSpPr txBox="1"/>
              <p:nvPr/>
            </p:nvSpPr>
            <p:spPr>
              <a:xfrm>
                <a:off x="342970" y="3979584"/>
                <a:ext cx="3318615" cy="704979"/>
              </a:xfrm>
              <a:prstGeom prst="rect">
                <a:avLst/>
              </a:prstGeom>
              <a:noFill/>
            </p:spPr>
            <p:txBody>
              <a:bodyPr wrap="square" lIns="0" tIns="0" rIns="0" bIns="0" rtlCol="0" anchor="ctr">
                <a:noAutofit/>
              </a:bodyPr>
              <a:lstStyle/>
              <a:p>
                <a:pPr algn="ctr" defTabSz="685389">
                  <a:defRPr/>
                </a:pPr>
                <a:r>
                  <a:rPr lang="en-US" sz="1400" b="1" err="1">
                    <a:solidFill>
                      <a:srgbClr val="E0E0E0">
                        <a:lumMod val="50000"/>
                      </a:srgbClr>
                    </a:solidFill>
                    <a:latin typeface="Arial" panose="020B0604020202020204"/>
                  </a:rPr>
                  <a:t>Şiddetli</a:t>
                </a:r>
                <a:r>
                  <a:rPr lang="en-US" sz="1400" b="1">
                    <a:solidFill>
                      <a:srgbClr val="E0E0E0">
                        <a:lumMod val="50000"/>
                      </a:srgbClr>
                    </a:solidFill>
                    <a:latin typeface="Arial" panose="020B0604020202020204"/>
                  </a:rPr>
                  <a:t> ASYH</a:t>
                </a:r>
              </a:p>
              <a:p>
                <a:pPr algn="ctr" defTabSz="685389">
                  <a:defRPr/>
                </a:pPr>
                <a:r>
                  <a:rPr lang="en-US" sz="1000">
                    <a:solidFill>
                      <a:srgbClr val="000000"/>
                    </a:solidFill>
                    <a:latin typeface="Arial" panose="020B0604020202020204"/>
                  </a:rPr>
                  <a:t>ASYH </a:t>
                </a:r>
                <a:r>
                  <a:rPr lang="en-US" sz="1000" err="1">
                    <a:solidFill>
                      <a:srgbClr val="000000"/>
                    </a:solidFill>
                    <a:latin typeface="Arial" panose="020B0604020202020204"/>
                  </a:rPr>
                  <a:t>kriterleri</a:t>
                </a:r>
                <a:r>
                  <a:rPr lang="en-US" sz="1000">
                    <a:solidFill>
                      <a:srgbClr val="000000"/>
                    </a:solidFill>
                    <a:latin typeface="Arial" panose="020B0604020202020204"/>
                  </a:rPr>
                  <a:t> </a:t>
                </a:r>
                <a:r>
                  <a:rPr lang="en-US" sz="1000" err="1">
                    <a:solidFill>
                      <a:srgbClr val="000000"/>
                    </a:solidFill>
                    <a:latin typeface="Arial" panose="020B0604020202020204"/>
                  </a:rPr>
                  <a:t>artı</a:t>
                </a:r>
                <a:r>
                  <a:rPr lang="en-US" sz="1000">
                    <a:solidFill>
                      <a:srgbClr val="000000"/>
                    </a:solidFill>
                    <a:latin typeface="Arial" panose="020B0604020202020204"/>
                  </a:rPr>
                  <a:t> </a:t>
                </a:r>
                <a:r>
                  <a:rPr lang="en-US" sz="1000" err="1">
                    <a:solidFill>
                      <a:srgbClr val="000000"/>
                    </a:solidFill>
                    <a:latin typeface="Arial" panose="020B0604020202020204"/>
                  </a:rPr>
                  <a:t>yandakilerden</a:t>
                </a:r>
                <a:r>
                  <a:rPr lang="en-US" sz="1000">
                    <a:solidFill>
                      <a:srgbClr val="000000"/>
                    </a:solidFill>
                    <a:latin typeface="Arial" panose="020B0604020202020204"/>
                  </a:rPr>
                  <a:t> </a:t>
                </a:r>
                <a:r>
                  <a:rPr lang="en-US" sz="1000" err="1">
                    <a:solidFill>
                      <a:srgbClr val="000000"/>
                    </a:solidFill>
                    <a:latin typeface="Arial" panose="020B0604020202020204"/>
                  </a:rPr>
                  <a:t>en</a:t>
                </a:r>
                <a:r>
                  <a:rPr lang="en-US" sz="1000">
                    <a:solidFill>
                      <a:srgbClr val="000000"/>
                    </a:solidFill>
                    <a:latin typeface="Arial" panose="020B0604020202020204"/>
                  </a:rPr>
                  <a:t> </a:t>
                </a:r>
                <a:r>
                  <a:rPr lang="en-US" sz="1000" err="1">
                    <a:solidFill>
                      <a:srgbClr val="000000"/>
                    </a:solidFill>
                    <a:latin typeface="Arial" panose="020B0604020202020204"/>
                  </a:rPr>
                  <a:t>az</a:t>
                </a:r>
                <a:r>
                  <a:rPr lang="en-US" sz="1000">
                    <a:solidFill>
                      <a:srgbClr val="000000"/>
                    </a:solidFill>
                    <a:latin typeface="Arial" panose="020B0604020202020204"/>
                  </a:rPr>
                  <a:t> 1 </a:t>
                </a:r>
                <a:r>
                  <a:rPr lang="en-US" sz="1000" err="1">
                    <a:solidFill>
                      <a:srgbClr val="000000"/>
                    </a:solidFill>
                    <a:latin typeface="Arial" panose="020B0604020202020204"/>
                  </a:rPr>
                  <a:t>tanesi</a:t>
                </a:r>
                <a:endParaRPr lang="en-US">
                  <a:solidFill>
                    <a:srgbClr val="000000"/>
                  </a:solidFill>
                  <a:latin typeface="Arial" panose="020B0604020202020204"/>
                </a:endParaRPr>
              </a:p>
            </p:txBody>
          </p:sp>
          <p:sp>
            <p:nvSpPr>
              <p:cNvPr id="85" name="Rectangle: Rounded Corners 84">
                <a:extLst>
                  <a:ext uri="{FF2B5EF4-FFF2-40B4-BE49-F238E27FC236}">
                    <a16:creationId xmlns:a16="http://schemas.microsoft.com/office/drawing/2014/main" id="{E81DE407-DB2B-304E-F46C-086E9C2668E8}"/>
                  </a:ext>
                </a:extLst>
              </p:cNvPr>
              <p:cNvSpPr/>
              <p:nvPr/>
            </p:nvSpPr>
            <p:spPr>
              <a:xfrm>
                <a:off x="3840480" y="4046264"/>
                <a:ext cx="2657016" cy="587156"/>
              </a:xfrm>
              <a:prstGeom prst="roundRect">
                <a:avLst>
                  <a:gd name="adj" fmla="val 8426"/>
                </a:avLst>
              </a:prstGeom>
              <a:solidFill>
                <a:schemeClr val="bg2">
                  <a:lumMod val="50000"/>
                </a:schemeClr>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050">
                    <a:solidFill>
                      <a:srgbClr val="FFFFFF"/>
                    </a:solidFill>
                    <a:latin typeface="Arial" panose="020B0604020202020204"/>
                  </a:rPr>
                  <a:t>ASYH </a:t>
                </a:r>
                <a:r>
                  <a:rPr lang="en-US" sz="1050" err="1">
                    <a:solidFill>
                      <a:srgbClr val="FFFFFF"/>
                    </a:solidFill>
                    <a:latin typeface="Arial" panose="020B0604020202020204"/>
                  </a:rPr>
                  <a:t>nedeniyle</a:t>
                </a:r>
                <a:r>
                  <a:rPr lang="en-US" sz="1050">
                    <a:solidFill>
                      <a:srgbClr val="FFFFFF"/>
                    </a:solidFill>
                    <a:latin typeface="Arial" panose="020B0604020202020204"/>
                  </a:rPr>
                  <a:t> </a:t>
                </a:r>
                <a:r>
                  <a:rPr lang="en-US" sz="1050" err="1">
                    <a:solidFill>
                      <a:srgbClr val="FFFFFF"/>
                    </a:solidFill>
                    <a:latin typeface="Arial" panose="020B0604020202020204"/>
                  </a:rPr>
                  <a:t>hastaneye</a:t>
                </a:r>
                <a:r>
                  <a:rPr lang="en-US" sz="1050">
                    <a:solidFill>
                      <a:srgbClr val="FFFFFF"/>
                    </a:solidFill>
                    <a:latin typeface="Arial" panose="020B0604020202020204"/>
                  </a:rPr>
                  <a:t> </a:t>
                </a:r>
                <a:r>
                  <a:rPr lang="en-US" sz="1050" err="1">
                    <a:solidFill>
                      <a:srgbClr val="FFFFFF"/>
                    </a:solidFill>
                    <a:latin typeface="Arial" panose="020B0604020202020204"/>
                  </a:rPr>
                  <a:t>yatış</a:t>
                </a:r>
                <a:endParaRPr lang="en-US" sz="1050">
                  <a:solidFill>
                    <a:srgbClr val="FFFFFF"/>
                  </a:solidFill>
                  <a:latin typeface="Arial" panose="020B0604020202020204"/>
                </a:endParaRPr>
              </a:p>
            </p:txBody>
          </p:sp>
          <p:sp>
            <p:nvSpPr>
              <p:cNvPr id="86" name="Rectangle: Rounded Corners 85">
                <a:extLst>
                  <a:ext uri="{FF2B5EF4-FFF2-40B4-BE49-F238E27FC236}">
                    <a16:creationId xmlns:a16="http://schemas.microsoft.com/office/drawing/2014/main" id="{CD4C4D21-726D-6ADB-1C75-CA609A015019}"/>
                  </a:ext>
                </a:extLst>
              </p:cNvPr>
              <p:cNvSpPr/>
              <p:nvPr/>
            </p:nvSpPr>
            <p:spPr>
              <a:xfrm>
                <a:off x="9230184" y="4046264"/>
                <a:ext cx="2657016" cy="587156"/>
              </a:xfrm>
              <a:prstGeom prst="roundRect">
                <a:avLst>
                  <a:gd name="adj" fmla="val 8426"/>
                </a:avLst>
              </a:prstGeom>
              <a:solidFill>
                <a:schemeClr val="bg2">
                  <a:lumMod val="50000"/>
                </a:schemeClr>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342695">
                  <a:defRPr/>
                </a:pPr>
                <a:r>
                  <a:rPr lang="en-US" sz="1050">
                    <a:solidFill>
                      <a:srgbClr val="FFFFFF"/>
                    </a:solidFill>
                    <a:latin typeface="Arial" panose="020B0604020202020204"/>
                  </a:rPr>
                  <a:t>Yeni/</a:t>
                </a:r>
                <a:r>
                  <a:rPr lang="en-US" sz="1050" err="1">
                    <a:solidFill>
                      <a:srgbClr val="FFFFFF"/>
                    </a:solidFill>
                    <a:latin typeface="Arial" panose="020B0604020202020204"/>
                  </a:rPr>
                  <a:t>artmış</a:t>
                </a:r>
                <a:r>
                  <a:rPr lang="en-US" sz="1050">
                    <a:solidFill>
                      <a:srgbClr val="FFFFFF"/>
                    </a:solidFill>
                    <a:latin typeface="Arial" panose="020B0604020202020204"/>
                  </a:rPr>
                  <a:t> </a:t>
                </a:r>
                <a:r>
                  <a:rPr lang="en-US" sz="1050" err="1">
                    <a:solidFill>
                      <a:srgbClr val="FFFFFF"/>
                    </a:solidFill>
                    <a:latin typeface="Arial" panose="020B0604020202020204"/>
                  </a:rPr>
                  <a:t>mekanik</a:t>
                </a:r>
                <a:r>
                  <a:rPr lang="en-US" sz="1050">
                    <a:solidFill>
                      <a:srgbClr val="FFFFFF"/>
                    </a:solidFill>
                    <a:latin typeface="Arial" panose="020B0604020202020204"/>
                  </a:rPr>
                  <a:t> </a:t>
                </a:r>
                <a:br>
                  <a:rPr lang="en-US" sz="1050">
                    <a:solidFill>
                      <a:srgbClr val="FFFFFF"/>
                    </a:solidFill>
                    <a:latin typeface="Arial" panose="020B0604020202020204"/>
                  </a:rPr>
                </a:br>
                <a:r>
                  <a:rPr lang="en-US" sz="1050">
                    <a:solidFill>
                      <a:srgbClr val="FFFFFF"/>
                    </a:solidFill>
                    <a:latin typeface="Arial" panose="020B0604020202020204"/>
                  </a:rPr>
                  <a:t> </a:t>
                </a:r>
                <a:r>
                  <a:rPr lang="en-US" sz="1050" err="1">
                    <a:solidFill>
                      <a:srgbClr val="FFFFFF"/>
                    </a:solidFill>
                    <a:latin typeface="Arial" panose="020B0604020202020204"/>
                  </a:rPr>
                  <a:t>ventilasyon</a:t>
                </a:r>
                <a:r>
                  <a:rPr lang="en-US" sz="1050">
                    <a:solidFill>
                      <a:srgbClr val="FFFFFF"/>
                    </a:solidFill>
                    <a:latin typeface="Arial" panose="020B0604020202020204"/>
                  </a:rPr>
                  <a:t> (CPAP </a:t>
                </a:r>
                <a:r>
                  <a:rPr lang="en-US" sz="1050" err="1">
                    <a:solidFill>
                      <a:srgbClr val="FFFFFF"/>
                    </a:solidFill>
                    <a:latin typeface="Arial" panose="020B0604020202020204"/>
                  </a:rPr>
                  <a:t>dahil</a:t>
                </a:r>
                <a:r>
                  <a:rPr lang="en-US" sz="1050">
                    <a:solidFill>
                      <a:srgbClr val="FFFFFF"/>
                    </a:solidFill>
                    <a:latin typeface="Arial" panose="020B0604020202020204"/>
                  </a:rPr>
                  <a:t>)</a:t>
                </a:r>
              </a:p>
            </p:txBody>
          </p:sp>
          <p:sp>
            <p:nvSpPr>
              <p:cNvPr id="87" name="Rectangle: Rounded Corners 86">
                <a:extLst>
                  <a:ext uri="{FF2B5EF4-FFF2-40B4-BE49-F238E27FC236}">
                    <a16:creationId xmlns:a16="http://schemas.microsoft.com/office/drawing/2014/main" id="{6A197927-018E-D198-5649-B5071090A932}"/>
                  </a:ext>
                </a:extLst>
              </p:cNvPr>
              <p:cNvSpPr/>
              <p:nvPr/>
            </p:nvSpPr>
            <p:spPr>
              <a:xfrm>
                <a:off x="6535331" y="4046264"/>
                <a:ext cx="2657016" cy="587156"/>
              </a:xfrm>
              <a:prstGeom prst="roundRect">
                <a:avLst>
                  <a:gd name="adj" fmla="val 8426"/>
                </a:avLst>
              </a:prstGeom>
              <a:solidFill>
                <a:schemeClr val="bg2">
                  <a:lumMod val="50000"/>
                </a:schemeClr>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050">
                    <a:solidFill>
                      <a:srgbClr val="FFFFFF"/>
                    </a:solidFill>
                    <a:latin typeface="Arial" panose="020B0604020202020204"/>
                  </a:rPr>
                  <a:t>Yeni/</a:t>
                </a:r>
                <a:r>
                  <a:rPr lang="en-US" sz="1050" err="1">
                    <a:solidFill>
                      <a:srgbClr val="FFFFFF"/>
                    </a:solidFill>
                    <a:latin typeface="Arial" panose="020B0604020202020204"/>
                  </a:rPr>
                  <a:t>artmış</a:t>
                </a:r>
                <a:r>
                  <a:rPr lang="en-US" sz="1050">
                    <a:solidFill>
                      <a:srgbClr val="FFFFFF"/>
                    </a:solidFill>
                    <a:latin typeface="Arial" panose="020B0604020202020204"/>
                  </a:rPr>
                  <a:t> </a:t>
                </a:r>
                <a:r>
                  <a:rPr lang="en-US" sz="1050" err="1">
                    <a:solidFill>
                      <a:srgbClr val="FFFFFF"/>
                    </a:solidFill>
                    <a:latin typeface="Arial" panose="020B0604020202020204"/>
                  </a:rPr>
                  <a:t>oksijen</a:t>
                </a:r>
                <a:r>
                  <a:rPr lang="en-US" sz="1050">
                    <a:solidFill>
                      <a:srgbClr val="FFFFFF"/>
                    </a:solidFill>
                    <a:latin typeface="Arial" panose="020B0604020202020204"/>
                  </a:rPr>
                  <a:t> </a:t>
                </a:r>
                <a:r>
                  <a:rPr lang="en-US" sz="1050" err="1">
                    <a:solidFill>
                      <a:srgbClr val="FFFFFF"/>
                    </a:solidFill>
                    <a:latin typeface="Arial" panose="020B0604020202020204"/>
                  </a:rPr>
                  <a:t>takviyesi</a:t>
                </a:r>
                <a:endParaRPr lang="en-US" sz="1050" b="1">
                  <a:solidFill>
                    <a:srgbClr val="FFFFFF"/>
                  </a:solidFill>
                  <a:latin typeface="Arial" panose="020B0604020202020204"/>
                </a:endParaRPr>
              </a:p>
            </p:txBody>
          </p:sp>
        </p:grpSp>
        <p:sp>
          <p:nvSpPr>
            <p:cNvPr id="66" name="Rectangle: Rounded Corners 65">
              <a:extLst>
                <a:ext uri="{FF2B5EF4-FFF2-40B4-BE49-F238E27FC236}">
                  <a16:creationId xmlns:a16="http://schemas.microsoft.com/office/drawing/2014/main" id="{1EA2C78D-5660-F30F-74AF-7EA07E638562}"/>
                </a:ext>
              </a:extLst>
            </p:cNvPr>
            <p:cNvSpPr/>
            <p:nvPr/>
          </p:nvSpPr>
          <p:spPr>
            <a:xfrm>
              <a:off x="4404360" y="4347251"/>
              <a:ext cx="1992762" cy="519232"/>
            </a:xfrm>
            <a:prstGeom prst="roundRect">
              <a:avLst>
                <a:gd name="adj" fmla="val 8426"/>
              </a:avLst>
            </a:prstGeom>
            <a:solidFill>
              <a:schemeClr val="tx2"/>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050" b="1">
                  <a:solidFill>
                    <a:srgbClr val="FFFFFF"/>
                  </a:solidFill>
                  <a:latin typeface="Arial" panose="020B0604020202020204"/>
                </a:rPr>
                <a:t>RSV-ARI</a:t>
              </a:r>
            </a:p>
          </p:txBody>
        </p:sp>
        <p:sp>
          <p:nvSpPr>
            <p:cNvPr id="67" name="Rectangle: Rounded Corners 66">
              <a:extLst>
                <a:ext uri="{FF2B5EF4-FFF2-40B4-BE49-F238E27FC236}">
                  <a16:creationId xmlns:a16="http://schemas.microsoft.com/office/drawing/2014/main" id="{90A87C0B-1280-7F1D-3767-AA6696E6498A}"/>
                </a:ext>
              </a:extLst>
            </p:cNvPr>
            <p:cNvSpPr/>
            <p:nvPr/>
          </p:nvSpPr>
          <p:spPr>
            <a:xfrm>
              <a:off x="8446638" y="4347251"/>
              <a:ext cx="1992762" cy="519232"/>
            </a:xfrm>
            <a:prstGeom prst="roundRect">
              <a:avLst>
                <a:gd name="adj" fmla="val 8426"/>
              </a:avLst>
            </a:prstGeom>
            <a:solidFill>
              <a:schemeClr val="tx2"/>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050" b="1" err="1">
                  <a:solidFill>
                    <a:srgbClr val="FFFFFF"/>
                  </a:solidFill>
                  <a:latin typeface="Arial" panose="020B0604020202020204"/>
                </a:rPr>
                <a:t>Şiddetli</a:t>
              </a:r>
              <a:r>
                <a:rPr lang="en-US" sz="1050" b="1">
                  <a:solidFill>
                    <a:srgbClr val="FFFFFF"/>
                  </a:solidFill>
                  <a:latin typeface="Arial" panose="020B0604020202020204"/>
                </a:rPr>
                <a:t> RSV-ASYH</a:t>
              </a:r>
            </a:p>
          </p:txBody>
        </p:sp>
        <p:sp>
          <p:nvSpPr>
            <p:cNvPr id="68" name="Rectangle: Rounded Corners 67">
              <a:extLst>
                <a:ext uri="{FF2B5EF4-FFF2-40B4-BE49-F238E27FC236}">
                  <a16:creationId xmlns:a16="http://schemas.microsoft.com/office/drawing/2014/main" id="{9A31740B-45A9-1EDD-4CB0-991CFA740303}"/>
                </a:ext>
              </a:extLst>
            </p:cNvPr>
            <p:cNvSpPr/>
            <p:nvPr/>
          </p:nvSpPr>
          <p:spPr>
            <a:xfrm>
              <a:off x="6425498" y="4347251"/>
              <a:ext cx="1992762" cy="519232"/>
            </a:xfrm>
            <a:prstGeom prst="roundRect">
              <a:avLst>
                <a:gd name="adj" fmla="val 8426"/>
              </a:avLst>
            </a:prstGeom>
            <a:solidFill>
              <a:schemeClr val="tx2"/>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050" b="1">
                  <a:solidFill>
                    <a:srgbClr val="FFFFFF"/>
                  </a:solidFill>
                  <a:latin typeface="Arial" panose="020B0604020202020204"/>
                </a:rPr>
                <a:t>RSV-ASYH</a:t>
              </a:r>
            </a:p>
          </p:txBody>
        </p:sp>
      </p:grpSp>
      <p:sp>
        <p:nvSpPr>
          <p:cNvPr id="5" name="TextBox 4">
            <a:extLst>
              <a:ext uri="{FF2B5EF4-FFF2-40B4-BE49-F238E27FC236}">
                <a16:creationId xmlns:a16="http://schemas.microsoft.com/office/drawing/2014/main" id="{68FE6150-A240-1EAA-CF12-CFBB0DBB9E56}"/>
              </a:ext>
            </a:extLst>
          </p:cNvPr>
          <p:cNvSpPr txBox="1"/>
          <p:nvPr/>
        </p:nvSpPr>
        <p:spPr>
          <a:xfrm>
            <a:off x="517648" y="5854419"/>
            <a:ext cx="6311955" cy="169277"/>
          </a:xfrm>
          <a:prstGeom prst="rect">
            <a:avLst/>
          </a:prstGeom>
          <a:noFill/>
        </p:spPr>
        <p:txBody>
          <a:bodyPr wrap="square" anchor="t">
            <a:spAutoFit/>
          </a:bodyPr>
          <a:lstStyle/>
          <a:p>
            <a:r>
              <a:rPr lang="en-US" sz="500"/>
              <a:t>CPAP=</a:t>
            </a:r>
            <a:r>
              <a:rPr lang="en-US" sz="500" err="1"/>
              <a:t>sürekli</a:t>
            </a:r>
            <a:r>
              <a:rPr lang="en-US" sz="500"/>
              <a:t> </a:t>
            </a:r>
            <a:r>
              <a:rPr lang="en-US" sz="500" err="1"/>
              <a:t>pozitif</a:t>
            </a:r>
            <a:r>
              <a:rPr lang="en-US" sz="500"/>
              <a:t> </a:t>
            </a:r>
            <a:r>
              <a:rPr lang="en-US" sz="500" err="1"/>
              <a:t>hava</a:t>
            </a:r>
            <a:r>
              <a:rPr lang="en-US" sz="500"/>
              <a:t> </a:t>
            </a:r>
            <a:r>
              <a:rPr lang="en-US" sz="500" err="1"/>
              <a:t>yolu</a:t>
            </a:r>
            <a:r>
              <a:rPr lang="en-US" sz="500"/>
              <a:t> </a:t>
            </a:r>
            <a:r>
              <a:rPr lang="en-US" sz="500" err="1"/>
              <a:t>basıncı</a:t>
            </a:r>
            <a:r>
              <a:rPr lang="en-US" sz="500"/>
              <a:t>; RT-PCR=</a:t>
            </a:r>
            <a:r>
              <a:rPr lang="en-US" sz="500" err="1"/>
              <a:t>ters</a:t>
            </a:r>
            <a:r>
              <a:rPr lang="en-US" sz="500"/>
              <a:t> </a:t>
            </a:r>
            <a:r>
              <a:rPr lang="en-US" sz="500" err="1"/>
              <a:t>transkripsiyon</a:t>
            </a:r>
            <a:r>
              <a:rPr lang="en-US" sz="500"/>
              <a:t> </a:t>
            </a:r>
            <a:r>
              <a:rPr lang="en-US" sz="500" err="1"/>
              <a:t>polimeraz</a:t>
            </a:r>
            <a:r>
              <a:rPr lang="en-US" sz="500"/>
              <a:t> </a:t>
            </a:r>
            <a:r>
              <a:rPr lang="en-US" sz="500" err="1"/>
              <a:t>zincir</a:t>
            </a:r>
            <a:r>
              <a:rPr lang="en-US" sz="500"/>
              <a:t> </a:t>
            </a:r>
            <a:r>
              <a:rPr lang="en-US" sz="500" err="1"/>
              <a:t>reaksiyonu</a:t>
            </a:r>
            <a:r>
              <a:rPr lang="en-US" sz="500"/>
              <a:t>.</a:t>
            </a:r>
          </a:p>
        </p:txBody>
      </p:sp>
      <p:pic>
        <p:nvPicPr>
          <p:cNvPr id="11" name="Picture 10" descr="A black and blue logo&#10;&#10;AI-generated content may be incorrect.">
            <a:extLst>
              <a:ext uri="{FF2B5EF4-FFF2-40B4-BE49-F238E27FC236}">
                <a16:creationId xmlns:a16="http://schemas.microsoft.com/office/drawing/2014/main" id="{0932E575-2FCB-2217-E94F-1D3B78A3A6EE}"/>
              </a:ext>
            </a:extLst>
          </p:cNvPr>
          <p:cNvPicPr>
            <a:picLocks noChangeAspect="1"/>
          </p:cNvPicPr>
          <p:nvPr/>
        </p:nvPicPr>
        <p:blipFill>
          <a:blip r:embed="rId4"/>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209873757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AA858D2E-3BB1-BEF6-DA34-57F56A27B7C6}"/>
              </a:ext>
            </a:extLst>
          </p:cNvPr>
          <p:cNvSpPr/>
          <p:nvPr/>
        </p:nvSpPr>
        <p:spPr>
          <a:xfrm>
            <a:off x="8211437" y="4095512"/>
            <a:ext cx="1894229" cy="40858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23" name="Rectangle 22">
            <a:extLst>
              <a:ext uri="{FF2B5EF4-FFF2-40B4-BE49-F238E27FC236}">
                <a16:creationId xmlns:a16="http://schemas.microsoft.com/office/drawing/2014/main" id="{056C83F5-18EA-D045-86E4-5300B95BA877}"/>
              </a:ext>
            </a:extLst>
          </p:cNvPr>
          <p:cNvSpPr/>
          <p:nvPr/>
        </p:nvSpPr>
        <p:spPr>
          <a:xfrm>
            <a:off x="3831669" y="4095512"/>
            <a:ext cx="1894229" cy="40858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graphicFrame>
        <p:nvGraphicFramePr>
          <p:cNvPr id="9" name="Table 63">
            <a:extLst>
              <a:ext uri="{FF2B5EF4-FFF2-40B4-BE49-F238E27FC236}">
                <a16:creationId xmlns:a16="http://schemas.microsoft.com/office/drawing/2014/main" id="{EE2F2B11-9B78-1945-2B70-2AA7A4C19FA1}"/>
              </a:ext>
            </a:extLst>
          </p:cNvPr>
          <p:cNvGraphicFramePr>
            <a:graphicFrameLocks noGrp="1"/>
          </p:cNvGraphicFramePr>
          <p:nvPr>
            <p:extLst>
              <p:ext uri="{D42A27DB-BD31-4B8C-83A1-F6EECF244321}">
                <p14:modId xmlns:p14="http://schemas.microsoft.com/office/powerpoint/2010/main" val="4183729392"/>
              </p:ext>
            </p:extLst>
          </p:nvPr>
        </p:nvGraphicFramePr>
        <p:xfrm>
          <a:off x="1610887" y="2190272"/>
          <a:ext cx="8473385" cy="514043"/>
        </p:xfrm>
        <a:graphic>
          <a:graphicData uri="http://schemas.openxmlformats.org/drawingml/2006/table">
            <a:tbl>
              <a:tblPr firstRow="1" bandRow="1">
                <a:tableStyleId>{5C22544A-7EE6-4342-B048-85BDC9FD1C3A}</a:tableStyleId>
              </a:tblPr>
              <a:tblGrid>
                <a:gridCol w="273335">
                  <a:extLst>
                    <a:ext uri="{9D8B030D-6E8A-4147-A177-3AD203B41FA5}">
                      <a16:colId xmlns:a16="http://schemas.microsoft.com/office/drawing/2014/main" val="2695952747"/>
                    </a:ext>
                  </a:extLst>
                </a:gridCol>
                <a:gridCol w="273335">
                  <a:extLst>
                    <a:ext uri="{9D8B030D-6E8A-4147-A177-3AD203B41FA5}">
                      <a16:colId xmlns:a16="http://schemas.microsoft.com/office/drawing/2014/main" val="2041677775"/>
                    </a:ext>
                  </a:extLst>
                </a:gridCol>
                <a:gridCol w="273335">
                  <a:extLst>
                    <a:ext uri="{9D8B030D-6E8A-4147-A177-3AD203B41FA5}">
                      <a16:colId xmlns:a16="http://schemas.microsoft.com/office/drawing/2014/main" val="1814501572"/>
                    </a:ext>
                  </a:extLst>
                </a:gridCol>
                <a:gridCol w="273335">
                  <a:extLst>
                    <a:ext uri="{9D8B030D-6E8A-4147-A177-3AD203B41FA5}">
                      <a16:colId xmlns:a16="http://schemas.microsoft.com/office/drawing/2014/main" val="3161022822"/>
                    </a:ext>
                  </a:extLst>
                </a:gridCol>
                <a:gridCol w="273335">
                  <a:extLst>
                    <a:ext uri="{9D8B030D-6E8A-4147-A177-3AD203B41FA5}">
                      <a16:colId xmlns:a16="http://schemas.microsoft.com/office/drawing/2014/main" val="4206456984"/>
                    </a:ext>
                  </a:extLst>
                </a:gridCol>
                <a:gridCol w="273335">
                  <a:extLst>
                    <a:ext uri="{9D8B030D-6E8A-4147-A177-3AD203B41FA5}">
                      <a16:colId xmlns:a16="http://schemas.microsoft.com/office/drawing/2014/main" val="2116076564"/>
                    </a:ext>
                  </a:extLst>
                </a:gridCol>
                <a:gridCol w="273335">
                  <a:extLst>
                    <a:ext uri="{9D8B030D-6E8A-4147-A177-3AD203B41FA5}">
                      <a16:colId xmlns:a16="http://schemas.microsoft.com/office/drawing/2014/main" val="3181946632"/>
                    </a:ext>
                  </a:extLst>
                </a:gridCol>
                <a:gridCol w="273335">
                  <a:extLst>
                    <a:ext uri="{9D8B030D-6E8A-4147-A177-3AD203B41FA5}">
                      <a16:colId xmlns:a16="http://schemas.microsoft.com/office/drawing/2014/main" val="3728490786"/>
                    </a:ext>
                  </a:extLst>
                </a:gridCol>
                <a:gridCol w="273335">
                  <a:extLst>
                    <a:ext uri="{9D8B030D-6E8A-4147-A177-3AD203B41FA5}">
                      <a16:colId xmlns:a16="http://schemas.microsoft.com/office/drawing/2014/main" val="311127584"/>
                    </a:ext>
                  </a:extLst>
                </a:gridCol>
                <a:gridCol w="273335">
                  <a:extLst>
                    <a:ext uri="{9D8B030D-6E8A-4147-A177-3AD203B41FA5}">
                      <a16:colId xmlns:a16="http://schemas.microsoft.com/office/drawing/2014/main" val="2246152852"/>
                    </a:ext>
                  </a:extLst>
                </a:gridCol>
                <a:gridCol w="273335">
                  <a:extLst>
                    <a:ext uri="{9D8B030D-6E8A-4147-A177-3AD203B41FA5}">
                      <a16:colId xmlns:a16="http://schemas.microsoft.com/office/drawing/2014/main" val="2978967770"/>
                    </a:ext>
                  </a:extLst>
                </a:gridCol>
                <a:gridCol w="273335">
                  <a:extLst>
                    <a:ext uri="{9D8B030D-6E8A-4147-A177-3AD203B41FA5}">
                      <a16:colId xmlns:a16="http://schemas.microsoft.com/office/drawing/2014/main" val="3843508283"/>
                    </a:ext>
                  </a:extLst>
                </a:gridCol>
                <a:gridCol w="273335">
                  <a:extLst>
                    <a:ext uri="{9D8B030D-6E8A-4147-A177-3AD203B41FA5}">
                      <a16:colId xmlns:a16="http://schemas.microsoft.com/office/drawing/2014/main" val="241981625"/>
                    </a:ext>
                  </a:extLst>
                </a:gridCol>
                <a:gridCol w="273335">
                  <a:extLst>
                    <a:ext uri="{9D8B030D-6E8A-4147-A177-3AD203B41FA5}">
                      <a16:colId xmlns:a16="http://schemas.microsoft.com/office/drawing/2014/main" val="864072257"/>
                    </a:ext>
                  </a:extLst>
                </a:gridCol>
                <a:gridCol w="273335">
                  <a:extLst>
                    <a:ext uri="{9D8B030D-6E8A-4147-A177-3AD203B41FA5}">
                      <a16:colId xmlns:a16="http://schemas.microsoft.com/office/drawing/2014/main" val="1268574292"/>
                    </a:ext>
                  </a:extLst>
                </a:gridCol>
                <a:gridCol w="273335">
                  <a:extLst>
                    <a:ext uri="{9D8B030D-6E8A-4147-A177-3AD203B41FA5}">
                      <a16:colId xmlns:a16="http://schemas.microsoft.com/office/drawing/2014/main" val="4158393708"/>
                    </a:ext>
                  </a:extLst>
                </a:gridCol>
                <a:gridCol w="273335">
                  <a:extLst>
                    <a:ext uri="{9D8B030D-6E8A-4147-A177-3AD203B41FA5}">
                      <a16:colId xmlns:a16="http://schemas.microsoft.com/office/drawing/2014/main" val="2786536655"/>
                    </a:ext>
                  </a:extLst>
                </a:gridCol>
                <a:gridCol w="273335">
                  <a:extLst>
                    <a:ext uri="{9D8B030D-6E8A-4147-A177-3AD203B41FA5}">
                      <a16:colId xmlns:a16="http://schemas.microsoft.com/office/drawing/2014/main" val="175086727"/>
                    </a:ext>
                  </a:extLst>
                </a:gridCol>
                <a:gridCol w="273335">
                  <a:extLst>
                    <a:ext uri="{9D8B030D-6E8A-4147-A177-3AD203B41FA5}">
                      <a16:colId xmlns:a16="http://schemas.microsoft.com/office/drawing/2014/main" val="2533535363"/>
                    </a:ext>
                  </a:extLst>
                </a:gridCol>
                <a:gridCol w="273335">
                  <a:extLst>
                    <a:ext uri="{9D8B030D-6E8A-4147-A177-3AD203B41FA5}">
                      <a16:colId xmlns:a16="http://schemas.microsoft.com/office/drawing/2014/main" val="2352049187"/>
                    </a:ext>
                  </a:extLst>
                </a:gridCol>
                <a:gridCol w="273335">
                  <a:extLst>
                    <a:ext uri="{9D8B030D-6E8A-4147-A177-3AD203B41FA5}">
                      <a16:colId xmlns:a16="http://schemas.microsoft.com/office/drawing/2014/main" val="3805441003"/>
                    </a:ext>
                  </a:extLst>
                </a:gridCol>
                <a:gridCol w="273335">
                  <a:extLst>
                    <a:ext uri="{9D8B030D-6E8A-4147-A177-3AD203B41FA5}">
                      <a16:colId xmlns:a16="http://schemas.microsoft.com/office/drawing/2014/main" val="1692646997"/>
                    </a:ext>
                  </a:extLst>
                </a:gridCol>
                <a:gridCol w="273335">
                  <a:extLst>
                    <a:ext uri="{9D8B030D-6E8A-4147-A177-3AD203B41FA5}">
                      <a16:colId xmlns:a16="http://schemas.microsoft.com/office/drawing/2014/main" val="2263822963"/>
                    </a:ext>
                  </a:extLst>
                </a:gridCol>
                <a:gridCol w="273335">
                  <a:extLst>
                    <a:ext uri="{9D8B030D-6E8A-4147-A177-3AD203B41FA5}">
                      <a16:colId xmlns:a16="http://schemas.microsoft.com/office/drawing/2014/main" val="2781151429"/>
                    </a:ext>
                  </a:extLst>
                </a:gridCol>
                <a:gridCol w="273335">
                  <a:extLst>
                    <a:ext uri="{9D8B030D-6E8A-4147-A177-3AD203B41FA5}">
                      <a16:colId xmlns:a16="http://schemas.microsoft.com/office/drawing/2014/main" val="4196540636"/>
                    </a:ext>
                  </a:extLst>
                </a:gridCol>
                <a:gridCol w="273335">
                  <a:extLst>
                    <a:ext uri="{9D8B030D-6E8A-4147-A177-3AD203B41FA5}">
                      <a16:colId xmlns:a16="http://schemas.microsoft.com/office/drawing/2014/main" val="138249932"/>
                    </a:ext>
                  </a:extLst>
                </a:gridCol>
                <a:gridCol w="273335">
                  <a:extLst>
                    <a:ext uri="{9D8B030D-6E8A-4147-A177-3AD203B41FA5}">
                      <a16:colId xmlns:a16="http://schemas.microsoft.com/office/drawing/2014/main" val="1258148218"/>
                    </a:ext>
                  </a:extLst>
                </a:gridCol>
                <a:gridCol w="273335">
                  <a:extLst>
                    <a:ext uri="{9D8B030D-6E8A-4147-A177-3AD203B41FA5}">
                      <a16:colId xmlns:a16="http://schemas.microsoft.com/office/drawing/2014/main" val="1089423661"/>
                    </a:ext>
                  </a:extLst>
                </a:gridCol>
                <a:gridCol w="273335">
                  <a:extLst>
                    <a:ext uri="{9D8B030D-6E8A-4147-A177-3AD203B41FA5}">
                      <a16:colId xmlns:a16="http://schemas.microsoft.com/office/drawing/2014/main" val="1664026002"/>
                    </a:ext>
                  </a:extLst>
                </a:gridCol>
                <a:gridCol w="273335">
                  <a:extLst>
                    <a:ext uri="{9D8B030D-6E8A-4147-A177-3AD203B41FA5}">
                      <a16:colId xmlns:a16="http://schemas.microsoft.com/office/drawing/2014/main" val="2233738632"/>
                    </a:ext>
                  </a:extLst>
                </a:gridCol>
                <a:gridCol w="273335">
                  <a:extLst>
                    <a:ext uri="{9D8B030D-6E8A-4147-A177-3AD203B41FA5}">
                      <a16:colId xmlns:a16="http://schemas.microsoft.com/office/drawing/2014/main" val="690411215"/>
                    </a:ext>
                  </a:extLst>
                </a:gridCol>
              </a:tblGrid>
              <a:tr h="277585">
                <a:tc gridSpan="5">
                  <a:txBody>
                    <a:bodyPr/>
                    <a:lstStyle/>
                    <a:p>
                      <a:pPr algn="ctr"/>
                      <a:r>
                        <a:rPr lang="en-US" sz="900" b="1">
                          <a:solidFill>
                            <a:schemeClr val="tx1"/>
                          </a:solidFill>
                        </a:rPr>
                        <a:t>2021</a:t>
                      </a:r>
                    </a:p>
                  </a:txBody>
                  <a:tcPr marL="0" marR="0" marT="34281" marB="34281">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gridSpan="12">
                  <a:txBody>
                    <a:bodyPr/>
                    <a:lstStyle/>
                    <a:p>
                      <a:pPr algn="ctr"/>
                      <a:r>
                        <a:rPr lang="en-US" sz="900" b="1">
                          <a:solidFill>
                            <a:schemeClr val="tx1"/>
                          </a:solidFill>
                        </a:rPr>
                        <a:t>2022</a:t>
                      </a:r>
                    </a:p>
                  </a:txBody>
                  <a:tcPr marL="0" marR="0" marT="34281" marB="3428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gridSpan="12">
                  <a:txBody>
                    <a:bodyPr/>
                    <a:lstStyle/>
                    <a:p>
                      <a:pPr algn="ctr"/>
                      <a:r>
                        <a:rPr lang="en-US" sz="900" b="1">
                          <a:solidFill>
                            <a:schemeClr val="tx1"/>
                          </a:solidFill>
                        </a:rPr>
                        <a:t>2023</a:t>
                      </a:r>
                    </a:p>
                  </a:txBody>
                  <a:tcPr marL="0" marR="0" marT="34281" marB="3428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tcPr>
                </a:tc>
                <a:tc gridSpan="2">
                  <a:txBody>
                    <a:bodyPr/>
                    <a:lstStyle/>
                    <a:p>
                      <a:pPr algn="ctr"/>
                      <a:r>
                        <a:rPr lang="en-US" sz="900" b="1">
                          <a:solidFill>
                            <a:schemeClr val="tx1"/>
                          </a:solidFill>
                        </a:rPr>
                        <a:t>2024</a:t>
                      </a:r>
                    </a:p>
                  </a:txBody>
                  <a:tcPr marL="0" marR="0" marT="34281" marB="34281">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200" b="1">
                        <a:solidFill>
                          <a:schemeClr val="bg1"/>
                        </a:solidFill>
                      </a:endParaRPr>
                    </a:p>
                  </a:txBody>
                  <a:tcPr marL="0" marR="0">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416525692"/>
                  </a:ext>
                </a:extLst>
              </a:tr>
              <a:tr h="236458">
                <a:tc>
                  <a:txBody>
                    <a:bodyPr/>
                    <a:lstStyle/>
                    <a:p>
                      <a:pPr algn="ctr"/>
                      <a:r>
                        <a:rPr lang="en-US" sz="700" b="0">
                          <a:solidFill>
                            <a:schemeClr val="tx1"/>
                          </a:solidFill>
                        </a:rPr>
                        <a:t>Aug</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Sep</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Oct</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Nov</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Dec</a:t>
                      </a:r>
                    </a:p>
                  </a:txBody>
                  <a:tcPr marL="0" marR="0" marT="34281" marB="34281">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Jan</a:t>
                      </a:r>
                    </a:p>
                  </a:txBody>
                  <a:tcPr marL="0" marR="0" marT="34281" marB="34281">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Feb</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Mar</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Apr</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May</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Jun</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Jul</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Aug</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Sep </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Oct </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Nov</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Dec</a:t>
                      </a:r>
                    </a:p>
                  </a:txBody>
                  <a:tcPr marL="0" marR="0" marT="34281" marB="34281">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Jan</a:t>
                      </a:r>
                    </a:p>
                  </a:txBody>
                  <a:tcPr marL="0" marR="0" marT="34281" marB="34281">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Feb</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Mar</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Apr</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May</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Jun</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Jul</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Aug</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Sep </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Oct </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Nov</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Dec</a:t>
                      </a:r>
                    </a:p>
                  </a:txBody>
                  <a:tcPr marL="0" marR="0" marT="34281" marB="34281">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Jan</a:t>
                      </a:r>
                    </a:p>
                  </a:txBody>
                  <a:tcPr marL="0" marR="0" marT="34281" marB="34281">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Feb</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372964370"/>
                  </a:ext>
                </a:extLst>
              </a:tr>
            </a:tbl>
          </a:graphicData>
        </a:graphic>
      </p:graphicFrame>
      <p:sp>
        <p:nvSpPr>
          <p:cNvPr id="29" name="Line 8">
            <a:extLst>
              <a:ext uri="{FF2B5EF4-FFF2-40B4-BE49-F238E27FC236}">
                <a16:creationId xmlns:a16="http://schemas.microsoft.com/office/drawing/2014/main" id="{787C4882-4E22-A009-4A30-4761FD03CD7C}"/>
              </a:ext>
            </a:extLst>
          </p:cNvPr>
          <p:cNvSpPr>
            <a:spLocks noChangeShapeType="1"/>
          </p:cNvSpPr>
          <p:nvPr/>
        </p:nvSpPr>
        <p:spPr bwMode="gray">
          <a:xfrm rot="16200000">
            <a:off x="8864268" y="2924388"/>
            <a:ext cx="538794" cy="3"/>
          </a:xfrm>
          <a:prstGeom prst="line">
            <a:avLst/>
          </a:prstGeom>
          <a:noFill/>
          <a:ln w="25400" cap="flat">
            <a:solidFill>
              <a:schemeClr val="accent2"/>
            </a:solidFill>
            <a:prstDash val="solid"/>
            <a:miter lim="800000"/>
            <a:headEnd/>
            <a:tailEnd type="oval" w="med" len="med"/>
          </a:ln>
          <a:effectLst/>
        </p:spPr>
        <p:txBody>
          <a:bodyPr wrap="square" lIns="0" tIns="0" rIns="0" bIns="0">
            <a:spAutoFit/>
          </a:bodyPr>
          <a:lstStyle/>
          <a:p>
            <a:pPr defTabSz="342797">
              <a:lnSpc>
                <a:spcPct val="90000"/>
              </a:lnSpc>
              <a:defRPr/>
            </a:pPr>
            <a:endParaRPr lang="en-US" sz="1100">
              <a:solidFill>
                <a:srgbClr val="000000"/>
              </a:solidFill>
              <a:latin typeface="Arial" panose="020B0604020202020204"/>
            </a:endParaRPr>
          </a:p>
        </p:txBody>
      </p:sp>
      <p:sp>
        <p:nvSpPr>
          <p:cNvPr id="35" name="Line 8">
            <a:extLst>
              <a:ext uri="{FF2B5EF4-FFF2-40B4-BE49-F238E27FC236}">
                <a16:creationId xmlns:a16="http://schemas.microsoft.com/office/drawing/2014/main" id="{0C3472DB-735F-D9E7-D6BA-37A03131C687}"/>
              </a:ext>
            </a:extLst>
          </p:cNvPr>
          <p:cNvSpPr>
            <a:spLocks noChangeShapeType="1"/>
          </p:cNvSpPr>
          <p:nvPr/>
        </p:nvSpPr>
        <p:spPr bwMode="gray">
          <a:xfrm rot="16200000">
            <a:off x="6135858" y="2933981"/>
            <a:ext cx="540887" cy="2"/>
          </a:xfrm>
          <a:prstGeom prst="line">
            <a:avLst/>
          </a:prstGeom>
          <a:noFill/>
          <a:ln w="25400" cap="flat">
            <a:solidFill>
              <a:schemeClr val="accent5"/>
            </a:solidFill>
            <a:prstDash val="solid"/>
            <a:miter lim="800000"/>
            <a:headEnd/>
            <a:tailEnd type="oval" w="med" len="med"/>
          </a:ln>
          <a:effectLst/>
        </p:spPr>
        <p:txBody>
          <a:bodyPr wrap="square" lIns="0" tIns="0" rIns="0" bIns="0">
            <a:spAutoFit/>
          </a:bodyPr>
          <a:lstStyle/>
          <a:p>
            <a:pPr defTabSz="342797">
              <a:lnSpc>
                <a:spcPct val="90000"/>
              </a:lnSpc>
              <a:defRPr/>
            </a:pPr>
            <a:endParaRPr lang="en-US" sz="1100">
              <a:solidFill>
                <a:srgbClr val="000000"/>
              </a:solidFill>
              <a:latin typeface="Arial" panose="020B0604020202020204"/>
            </a:endParaRPr>
          </a:p>
        </p:txBody>
      </p:sp>
      <p:cxnSp>
        <p:nvCxnSpPr>
          <p:cNvPr id="57" name="Connector: Elbow 56">
            <a:extLst>
              <a:ext uri="{FF2B5EF4-FFF2-40B4-BE49-F238E27FC236}">
                <a16:creationId xmlns:a16="http://schemas.microsoft.com/office/drawing/2014/main" id="{EEA6CFE2-B2A3-0071-1CA7-6F99651F2192}"/>
              </a:ext>
            </a:extLst>
          </p:cNvPr>
          <p:cNvCxnSpPr>
            <a:cxnSpLocks/>
            <a:stCxn id="12" idx="0"/>
          </p:cNvCxnSpPr>
          <p:nvPr/>
        </p:nvCxnSpPr>
        <p:spPr>
          <a:xfrm rot="5400000" flipH="1" flipV="1">
            <a:off x="3471634" y="1926145"/>
            <a:ext cx="407446" cy="2313294"/>
          </a:xfrm>
          <a:prstGeom prst="bentConnector2">
            <a:avLst/>
          </a:prstGeom>
          <a:noFill/>
          <a:ln w="25400" cap="flat">
            <a:solidFill>
              <a:schemeClr val="accent1"/>
            </a:solidFill>
            <a:prstDash val="solid"/>
            <a:miter lim="800000"/>
            <a:headEnd/>
            <a:tailEnd type="none" w="med" len="med"/>
          </a:ln>
          <a:effectLst/>
        </p:spPr>
      </p:cxnSp>
      <p:sp>
        <p:nvSpPr>
          <p:cNvPr id="6" name="Title 16">
            <a:extLst>
              <a:ext uri="{FF2B5EF4-FFF2-40B4-BE49-F238E27FC236}">
                <a16:creationId xmlns:a16="http://schemas.microsoft.com/office/drawing/2014/main" id="{0A5E8F37-B260-B051-7825-2E8ABDF8F8A0}"/>
              </a:ext>
            </a:extLst>
          </p:cNvPr>
          <p:cNvSpPr>
            <a:spLocks noGrp="1"/>
          </p:cNvSpPr>
          <p:nvPr>
            <p:ph type="title"/>
          </p:nvPr>
        </p:nvSpPr>
        <p:spPr>
          <a:xfrm>
            <a:off x="613152" y="195684"/>
            <a:ext cx="9735410" cy="842156"/>
          </a:xfrm>
          <a:noFill/>
        </p:spPr>
        <p:txBody>
          <a:bodyPr anchor="ctr">
            <a:noAutofit/>
          </a:bodyPr>
          <a:lstStyle/>
          <a:p>
            <a:r>
              <a:rPr lang="en-US" dirty="0" err="1"/>
              <a:t>RSVpreF</a:t>
            </a:r>
            <a:r>
              <a:rPr lang="en-US" dirty="0"/>
              <a:t> </a:t>
            </a:r>
            <a:r>
              <a:rPr lang="en-US" dirty="0" err="1"/>
              <a:t>aşısı</a:t>
            </a:r>
            <a:r>
              <a:rPr lang="en-US" dirty="0"/>
              <a:t> ≥60 </a:t>
            </a:r>
            <a:r>
              <a:rPr lang="en-US" dirty="0" err="1"/>
              <a:t>yaş</a:t>
            </a:r>
            <a:r>
              <a:rPr lang="en-US" dirty="0"/>
              <a:t> </a:t>
            </a:r>
            <a:r>
              <a:rPr lang="en-US" dirty="0" err="1"/>
              <a:t>yetişkinlerde</a:t>
            </a:r>
            <a:r>
              <a:rPr lang="en-US" dirty="0"/>
              <a:t> RSV-</a:t>
            </a:r>
            <a:r>
              <a:rPr lang="en-US" dirty="0" err="1"/>
              <a:t>ASYH’ye</a:t>
            </a:r>
            <a:r>
              <a:rPr lang="en-US" dirty="0"/>
              <a:t> </a:t>
            </a:r>
            <a:r>
              <a:rPr lang="en-US" dirty="0" err="1"/>
              <a:t>karşı</a:t>
            </a:r>
            <a:r>
              <a:rPr lang="en-US" dirty="0"/>
              <a:t> </a:t>
            </a:r>
            <a:r>
              <a:rPr lang="en-US" dirty="0" err="1"/>
              <a:t>istatistiki</a:t>
            </a:r>
            <a:r>
              <a:rPr lang="en-US" dirty="0"/>
              <a:t> </a:t>
            </a:r>
            <a:r>
              <a:rPr lang="en-US" dirty="0" err="1"/>
              <a:t>anlamlı</a:t>
            </a:r>
            <a:r>
              <a:rPr lang="en-US" dirty="0"/>
              <a:t> </a:t>
            </a:r>
            <a:r>
              <a:rPr lang="en-US" dirty="0" err="1"/>
              <a:t>etkinlik</a:t>
            </a:r>
            <a:r>
              <a:rPr lang="en-US" dirty="0"/>
              <a:t> </a:t>
            </a:r>
            <a:r>
              <a:rPr lang="en-US" dirty="0" err="1"/>
              <a:t>göstermiştir</a:t>
            </a:r>
            <a:endParaRPr lang="en-US" dirty="0"/>
          </a:p>
        </p:txBody>
      </p:sp>
      <p:sp>
        <p:nvSpPr>
          <p:cNvPr id="2" name="Slide Number Placeholder 1">
            <a:extLst>
              <a:ext uri="{FF2B5EF4-FFF2-40B4-BE49-F238E27FC236}">
                <a16:creationId xmlns:a16="http://schemas.microsoft.com/office/drawing/2014/main" id="{C1D590A6-ED1F-4DDE-2FA1-141CA69C7F02}"/>
              </a:ext>
            </a:extLst>
          </p:cNvPr>
          <p:cNvSpPr>
            <a:spLocks noGrp="1"/>
          </p:cNvSpPr>
          <p:nvPr>
            <p:ph type="sldNum" sz="quarter" idx="4"/>
          </p:nvPr>
        </p:nvSpPr>
        <p:spPr/>
        <p:txBody>
          <a:bodyPr/>
          <a:lstStyle/>
          <a:p>
            <a:fld id="{8C13A29A-185B-4182-9583-7B13F1AC164D}" type="slidenum">
              <a:rPr lang="en-US"/>
              <a:pPr/>
              <a:t>83</a:t>
            </a:fld>
            <a:endParaRPr lang="en-US"/>
          </a:p>
        </p:txBody>
      </p:sp>
      <p:sp>
        <p:nvSpPr>
          <p:cNvPr id="5" name="Text Placeholder 4">
            <a:extLst>
              <a:ext uri="{FF2B5EF4-FFF2-40B4-BE49-F238E27FC236}">
                <a16:creationId xmlns:a16="http://schemas.microsoft.com/office/drawing/2014/main" id="{3D90041D-6C24-7822-EFA3-966979230859}"/>
              </a:ext>
            </a:extLst>
          </p:cNvPr>
          <p:cNvSpPr>
            <a:spLocks noGrp="1"/>
          </p:cNvSpPr>
          <p:nvPr>
            <p:ph type="body" sz="quarter" idx="4294967295"/>
          </p:nvPr>
        </p:nvSpPr>
        <p:spPr>
          <a:xfrm>
            <a:off x="613152" y="5680989"/>
            <a:ext cx="10215563" cy="358775"/>
          </a:xfrm>
        </p:spPr>
        <p:txBody>
          <a:bodyPr>
            <a:noAutofit/>
          </a:bodyPr>
          <a:lstStyle/>
          <a:p>
            <a:pPr marL="0" indent="0">
              <a:lnSpc>
                <a:spcPct val="100000"/>
              </a:lnSpc>
              <a:spcBef>
                <a:spcPts val="0"/>
              </a:spcBef>
              <a:buNone/>
            </a:pPr>
            <a:endParaRPr lang="en-US" sz="600" dirty="0"/>
          </a:p>
          <a:p>
            <a:pPr marL="0" indent="0">
              <a:lnSpc>
                <a:spcPct val="100000"/>
              </a:lnSpc>
              <a:spcBef>
                <a:spcPts val="0"/>
              </a:spcBef>
              <a:buNone/>
            </a:pPr>
            <a:r>
              <a:rPr lang="en-GB" sz="600" dirty="0"/>
              <a:t>FDA=ABD </a:t>
            </a:r>
            <a:r>
              <a:rPr lang="en-GB" sz="600" dirty="0" err="1"/>
              <a:t>Gıda</a:t>
            </a:r>
            <a:r>
              <a:rPr lang="en-GB" sz="600" dirty="0"/>
              <a:t> </a:t>
            </a:r>
            <a:r>
              <a:rPr lang="en-GB" sz="600" dirty="0" err="1"/>
              <a:t>ve</a:t>
            </a:r>
            <a:r>
              <a:rPr lang="en-GB" sz="600" dirty="0"/>
              <a:t> İlaç </a:t>
            </a:r>
            <a:r>
              <a:rPr lang="en-GB" sz="600" dirty="0" err="1"/>
              <a:t>İdaresi</a:t>
            </a:r>
            <a:r>
              <a:rPr lang="en-GB" sz="600" dirty="0"/>
              <a:t>; ASYH=alt </a:t>
            </a:r>
            <a:r>
              <a:rPr lang="en-GB" sz="600" dirty="0" err="1"/>
              <a:t>solunum</a:t>
            </a:r>
            <a:r>
              <a:rPr lang="en-GB" sz="600" dirty="0"/>
              <a:t> </a:t>
            </a:r>
            <a:r>
              <a:rPr lang="en-GB" sz="600" dirty="0" err="1"/>
              <a:t>yolu</a:t>
            </a:r>
            <a:r>
              <a:rPr lang="en-GB" sz="600" dirty="0"/>
              <a:t> </a:t>
            </a:r>
            <a:r>
              <a:rPr lang="en-GB" sz="600" dirty="0" err="1"/>
              <a:t>hastalığı</a:t>
            </a:r>
            <a:r>
              <a:rPr lang="en-GB" sz="600" dirty="0"/>
              <a:t>. </a:t>
            </a:r>
          </a:p>
          <a:p>
            <a:pPr marL="0" indent="0">
              <a:lnSpc>
                <a:spcPct val="100000"/>
              </a:lnSpc>
              <a:spcBef>
                <a:spcPts val="0"/>
              </a:spcBef>
              <a:buNone/>
            </a:pPr>
            <a:r>
              <a:rPr lang="en-GB" sz="600" dirty="0"/>
              <a:t>1. </a:t>
            </a:r>
            <a:r>
              <a:rPr lang="en-US" sz="600" dirty="0"/>
              <a:t>ABRYSVO® </a:t>
            </a:r>
            <a:r>
              <a:rPr lang="en-US" sz="600" dirty="0" err="1"/>
              <a:t>Kısa</a:t>
            </a:r>
            <a:r>
              <a:rPr lang="en-US" sz="600" dirty="0"/>
              <a:t> </a:t>
            </a:r>
            <a:r>
              <a:rPr lang="en-US" sz="600" dirty="0" err="1"/>
              <a:t>Ürün</a:t>
            </a:r>
            <a:r>
              <a:rPr lang="en-US" sz="600" dirty="0"/>
              <a:t> </a:t>
            </a:r>
            <a:r>
              <a:rPr lang="en-US" sz="600" dirty="0" err="1"/>
              <a:t>Bilgisi</a:t>
            </a:r>
            <a:r>
              <a:rPr lang="en-US" sz="600" dirty="0"/>
              <a:t>,. </a:t>
            </a:r>
            <a:r>
              <a:rPr lang="en-GB" sz="600" dirty="0"/>
              <a:t>2. Walsh EE, et al. N Engl J Med. 2023;388:1465-1477. 3. </a:t>
            </a:r>
            <a:r>
              <a:rPr lang="en-US" sz="600" dirty="0"/>
              <a:t>Melgar M, et al. MMWR </a:t>
            </a:r>
            <a:r>
              <a:rPr lang="en-US" sz="600" dirty="0" err="1"/>
              <a:t>Morb</a:t>
            </a:r>
            <a:r>
              <a:rPr lang="en-US" sz="600" dirty="0"/>
              <a:t> Mortal </a:t>
            </a:r>
            <a:r>
              <a:rPr lang="en-US" sz="600" dirty="0" err="1"/>
              <a:t>Wkly</a:t>
            </a:r>
            <a:r>
              <a:rPr lang="en-US" sz="600" dirty="0"/>
              <a:t> Rep. 2023;72:793-801.  </a:t>
            </a:r>
            <a:r>
              <a:rPr lang="en-GB" sz="600" dirty="0"/>
              <a:t>4. </a:t>
            </a:r>
            <a:r>
              <a:rPr lang="en-US" sz="600" dirty="0" err="1"/>
              <a:t>Gurtman</a:t>
            </a:r>
            <a:r>
              <a:rPr lang="en-US" sz="600" dirty="0"/>
              <a:t> A. Presented at ACIP, June 21, 2023. Accessed December 3, 2024. </a:t>
            </a:r>
            <a:r>
              <a:rPr lang="en-US" sz="600" dirty="0">
                <a:hlinkClick r:id="rId4"/>
              </a:rPr>
              <a:t>https://www.cdc.gov/acip/downloads/slides-2023-06-21-23/02-RSV-Adults-Gurtman-508.pdf</a:t>
            </a:r>
            <a:r>
              <a:rPr lang="en-US" sz="600" dirty="0"/>
              <a:t>. 5. Pfizer’s ABRYSVO™ Receives Recommendation for Use in Older Adults from Advisory Committee on Immunization Practices. June 22, 2023. Available at: </a:t>
            </a:r>
            <a:r>
              <a:rPr lang="en-US" sz="600" dirty="0">
                <a:hlinkClick r:id="rId5"/>
              </a:rPr>
              <a:t>https://www.pfizer.com/news/announcements/pfizers-abrysvotm-receives-recommendation-use-older-adults-advisory-committee</a:t>
            </a:r>
            <a:r>
              <a:rPr lang="en-US" sz="600" dirty="0"/>
              <a:t>. Accessed December 10, 2024. 6. Walsh EE, et al. N Engl J Med. 2024;391:1459-1460.</a:t>
            </a:r>
            <a:endParaRPr lang="en-GB" sz="600" dirty="0"/>
          </a:p>
        </p:txBody>
      </p:sp>
      <p:graphicFrame>
        <p:nvGraphicFramePr>
          <p:cNvPr id="19" name="Object 18" hidden="1">
            <a:extLst>
              <a:ext uri="{FF2B5EF4-FFF2-40B4-BE49-F238E27FC236}">
                <a16:creationId xmlns:a16="http://schemas.microsoft.com/office/drawing/2014/main" id="{C9DD21FF-ED5F-4DA2-2D7D-1DCFF6C21354}"/>
              </a:ext>
            </a:extLst>
          </p:cNvPr>
          <p:cNvGraphicFramePr>
            <a:graphicFrameLocks noChangeAspect="1"/>
          </p:cNvGraphicFramePr>
          <p:nvPr>
            <p:custDataLst>
              <p:tags r:id="rId1"/>
            </p:custDataLst>
          </p:nvPr>
        </p:nvGraphicFramePr>
        <p:xfrm>
          <a:off x="1526382" y="85911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9" name="Object 18" hidden="1">
                        <a:extLst>
                          <a:ext uri="{FF2B5EF4-FFF2-40B4-BE49-F238E27FC236}">
                            <a16:creationId xmlns:a16="http://schemas.microsoft.com/office/drawing/2014/main" id="{C9DD21FF-ED5F-4DA2-2D7D-1DCFF6C21354}"/>
                          </a:ext>
                        </a:extLst>
                      </p:cNvPr>
                      <p:cNvPicPr/>
                      <p:nvPr/>
                    </p:nvPicPr>
                    <p:blipFill>
                      <a:blip r:embed="rId7"/>
                      <a:stretch>
                        <a:fillRect/>
                      </a:stretch>
                    </p:blipFill>
                    <p:spPr>
                      <a:xfrm>
                        <a:off x="1526382" y="859111"/>
                        <a:ext cx="1191" cy="1191"/>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A19B8C-A807-AA1A-C7A1-3A7C72355FA7}"/>
              </a:ext>
            </a:extLst>
          </p:cNvPr>
          <p:cNvSpPr/>
          <p:nvPr/>
        </p:nvSpPr>
        <p:spPr bwMode="gray">
          <a:xfrm>
            <a:off x="2761159" y="1787120"/>
            <a:ext cx="917971" cy="256983"/>
          </a:xfrm>
          <a:prstGeom prst="rect">
            <a:avLst/>
          </a:prstGeom>
          <a:solidFill>
            <a:schemeClr val="bg1"/>
          </a:solidFill>
        </p:spPr>
        <p:txBody>
          <a:bodyPr wrap="square" tIns="20569" bIns="20569">
            <a:spAutoFit/>
          </a:bodyPr>
          <a:lstStyle/>
          <a:p>
            <a:pPr algn="ctr" defTabSz="685389">
              <a:defRPr/>
            </a:pPr>
            <a:r>
              <a:rPr lang="en-US" sz="1400" b="1" err="1">
                <a:solidFill>
                  <a:srgbClr val="000000"/>
                </a:solidFill>
                <a:latin typeface="Arial" panose="020B0604020202020204"/>
              </a:rPr>
              <a:t>Sezon</a:t>
            </a:r>
            <a:r>
              <a:rPr lang="en-US" sz="1400" b="1">
                <a:solidFill>
                  <a:srgbClr val="000000"/>
                </a:solidFill>
                <a:latin typeface="Arial" panose="020B0604020202020204"/>
              </a:rPr>
              <a:t> 1 </a:t>
            </a:r>
            <a:endParaRPr lang="en-US" sz="1100" b="1">
              <a:solidFill>
                <a:srgbClr val="000000"/>
              </a:solidFill>
              <a:latin typeface="Arial" panose="020B0604020202020204"/>
            </a:endParaRPr>
          </a:p>
        </p:txBody>
      </p:sp>
      <p:sp>
        <p:nvSpPr>
          <p:cNvPr id="13" name="Rectangle 12">
            <a:extLst>
              <a:ext uri="{FF2B5EF4-FFF2-40B4-BE49-F238E27FC236}">
                <a16:creationId xmlns:a16="http://schemas.microsoft.com/office/drawing/2014/main" id="{4C2DDDA7-5565-5108-EDF2-4D97973E94AC}"/>
              </a:ext>
            </a:extLst>
          </p:cNvPr>
          <p:cNvSpPr/>
          <p:nvPr/>
        </p:nvSpPr>
        <p:spPr bwMode="gray">
          <a:xfrm>
            <a:off x="7859226" y="1787120"/>
            <a:ext cx="965452" cy="256983"/>
          </a:xfrm>
          <a:prstGeom prst="rect">
            <a:avLst/>
          </a:prstGeom>
          <a:solidFill>
            <a:schemeClr val="bg1"/>
          </a:solidFill>
        </p:spPr>
        <p:txBody>
          <a:bodyPr wrap="square" tIns="20569" bIns="20569">
            <a:spAutoFit/>
          </a:bodyPr>
          <a:lstStyle/>
          <a:p>
            <a:pPr algn="ctr" defTabSz="685389">
              <a:defRPr/>
            </a:pPr>
            <a:r>
              <a:rPr lang="en-US" sz="1400" b="1" err="1">
                <a:solidFill>
                  <a:srgbClr val="000000"/>
                </a:solidFill>
                <a:latin typeface="Arial" panose="020B0604020202020204"/>
              </a:rPr>
              <a:t>Sezon</a:t>
            </a:r>
            <a:r>
              <a:rPr lang="en-US" sz="1400" b="1">
                <a:solidFill>
                  <a:srgbClr val="000000"/>
                </a:solidFill>
                <a:latin typeface="Arial" panose="020B0604020202020204"/>
              </a:rPr>
              <a:t> 2</a:t>
            </a:r>
          </a:p>
        </p:txBody>
      </p:sp>
      <p:sp>
        <p:nvSpPr>
          <p:cNvPr id="18" name="Rectangle: Rounded Corners 17">
            <a:extLst>
              <a:ext uri="{FF2B5EF4-FFF2-40B4-BE49-F238E27FC236}">
                <a16:creationId xmlns:a16="http://schemas.microsoft.com/office/drawing/2014/main" id="{9CE5005C-F166-B9EA-C667-CC411E4F882A}"/>
              </a:ext>
            </a:extLst>
          </p:cNvPr>
          <p:cNvSpPr/>
          <p:nvPr/>
        </p:nvSpPr>
        <p:spPr bwMode="gray">
          <a:xfrm>
            <a:off x="4416743" y="1608749"/>
            <a:ext cx="1295825" cy="353085"/>
          </a:xfrm>
          <a:prstGeom prst="roundRect">
            <a:avLst/>
          </a:prstGeom>
          <a:solidFill>
            <a:schemeClr val="accent1"/>
          </a:solidFill>
          <a:ln w="28575" cap="flat" cmpd="sng" algn="ctr">
            <a:noFill/>
            <a:prstDash val="solid"/>
            <a:miter lim="800000"/>
            <a:headEnd type="none" w="med" len="med"/>
            <a:tailEnd type="none" w="med" len="med"/>
          </a:ln>
          <a:effectLst/>
        </p:spPr>
        <p:txBody>
          <a:bodyPr vert="horz" wrap="square" lIns="0" tIns="34268" rIns="0" bIns="34268" numCol="1" rtlCol="0" anchor="ctr" anchorCtr="0" compatLnSpc="1">
            <a:prstTxWarp prst="textNoShape">
              <a:avLst/>
            </a:prstTxWarp>
            <a:noAutofit/>
          </a:bodyPr>
          <a:lstStyle/>
          <a:p>
            <a:pPr algn="ctr" defTabSz="685389">
              <a:lnSpc>
                <a:spcPct val="90000"/>
              </a:lnSpc>
              <a:defRPr/>
            </a:pPr>
            <a:r>
              <a:rPr lang="en-US" sz="800" b="1">
                <a:solidFill>
                  <a:srgbClr val="FFFFFF"/>
                </a:solidFill>
                <a:latin typeface="Arial" panose="020B0604020202020204"/>
              </a:rPr>
              <a:t>FDA </a:t>
            </a:r>
            <a:r>
              <a:rPr lang="en-US" sz="800" b="1" err="1">
                <a:solidFill>
                  <a:srgbClr val="FFFFFF"/>
                </a:solidFill>
                <a:latin typeface="Arial" panose="020B0604020202020204"/>
              </a:rPr>
              <a:t>Ruhsatının</a:t>
            </a:r>
            <a:r>
              <a:rPr lang="en-US" sz="800" b="1">
                <a:solidFill>
                  <a:srgbClr val="FFFFFF"/>
                </a:solidFill>
                <a:latin typeface="Arial" panose="020B0604020202020204"/>
              </a:rPr>
              <a:t> </a:t>
            </a:r>
            <a:r>
              <a:rPr lang="en-US" sz="800" b="1" err="1">
                <a:solidFill>
                  <a:srgbClr val="FFFFFF"/>
                </a:solidFill>
                <a:latin typeface="Arial" panose="020B0604020202020204"/>
              </a:rPr>
              <a:t>Dayanağı</a:t>
            </a:r>
            <a:r>
              <a:rPr lang="en-US" sz="800" b="1">
                <a:solidFill>
                  <a:srgbClr val="FFFFFF"/>
                </a:solidFill>
                <a:latin typeface="Arial" panose="020B0604020202020204"/>
              </a:rPr>
              <a:t>/ </a:t>
            </a:r>
            <a:r>
              <a:rPr lang="en-US" sz="800" b="1" err="1">
                <a:solidFill>
                  <a:srgbClr val="FFFFFF"/>
                </a:solidFill>
                <a:latin typeface="Arial" panose="020B0604020202020204"/>
              </a:rPr>
              <a:t>Reçeteleme</a:t>
            </a:r>
            <a:r>
              <a:rPr lang="en-US" sz="800" b="1">
                <a:solidFill>
                  <a:srgbClr val="FFFFFF"/>
                </a:solidFill>
                <a:latin typeface="Arial" panose="020B0604020202020204"/>
              </a:rPr>
              <a:t> </a:t>
            </a:r>
            <a:r>
              <a:rPr lang="en-US" sz="800" b="1" err="1">
                <a:solidFill>
                  <a:srgbClr val="FFFFFF"/>
                </a:solidFill>
                <a:latin typeface="Arial" panose="020B0604020202020204"/>
              </a:rPr>
              <a:t>Bilgileri</a:t>
            </a:r>
            <a:endParaRPr lang="en-US" sz="800" b="1">
              <a:solidFill>
                <a:srgbClr val="FFFFFF"/>
              </a:solidFill>
              <a:latin typeface="Arial" panose="020B0604020202020204"/>
            </a:endParaRPr>
          </a:p>
        </p:txBody>
      </p:sp>
      <p:sp>
        <p:nvSpPr>
          <p:cNvPr id="20" name="Isosceles Triangle 19">
            <a:extLst>
              <a:ext uri="{FF2B5EF4-FFF2-40B4-BE49-F238E27FC236}">
                <a16:creationId xmlns:a16="http://schemas.microsoft.com/office/drawing/2014/main" id="{1B973055-E968-5F06-4067-9410CE6648E2}"/>
              </a:ext>
            </a:extLst>
          </p:cNvPr>
          <p:cNvSpPr/>
          <p:nvPr/>
        </p:nvSpPr>
        <p:spPr bwMode="gray">
          <a:xfrm rot="10800000">
            <a:off x="4982299" y="2072795"/>
            <a:ext cx="189137" cy="126315"/>
          </a:xfrm>
          <a:prstGeom prst="triangle">
            <a:avLst/>
          </a:prstGeom>
          <a:solidFill>
            <a:schemeClr val="accent1"/>
          </a:solidFill>
          <a:ln w="285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342797" fontAlgn="base">
              <a:lnSpc>
                <a:spcPct val="90000"/>
              </a:lnSpc>
              <a:spcAft>
                <a:spcPct val="0"/>
              </a:spcAft>
              <a:buClr>
                <a:srgbClr val="0095FF"/>
              </a:buClr>
              <a:buSzPct val="90000"/>
              <a:defRPr/>
            </a:pPr>
            <a:endParaRPr lang="en-US" sz="1400" b="1">
              <a:solidFill>
                <a:srgbClr val="0000C9"/>
              </a:solidFill>
              <a:latin typeface="Arial" panose="020B0604020202020204"/>
            </a:endParaRPr>
          </a:p>
        </p:txBody>
      </p:sp>
      <p:sp>
        <p:nvSpPr>
          <p:cNvPr id="21" name="Rectangle: Rounded Corners 20">
            <a:extLst>
              <a:ext uri="{FF2B5EF4-FFF2-40B4-BE49-F238E27FC236}">
                <a16:creationId xmlns:a16="http://schemas.microsoft.com/office/drawing/2014/main" id="{C3434936-3B11-22F1-FFC4-65F6A26857BC}"/>
              </a:ext>
            </a:extLst>
          </p:cNvPr>
          <p:cNvSpPr/>
          <p:nvPr/>
        </p:nvSpPr>
        <p:spPr bwMode="gray">
          <a:xfrm>
            <a:off x="5780593" y="1608749"/>
            <a:ext cx="1295825" cy="353085"/>
          </a:xfrm>
          <a:prstGeom prst="roundRect">
            <a:avLst/>
          </a:prstGeom>
          <a:solidFill>
            <a:schemeClr val="accent5"/>
          </a:solidFill>
          <a:ln w="28575" cap="flat" cmpd="sng" algn="ctr">
            <a:noFill/>
            <a:prstDash val="solid"/>
            <a:miter lim="800000"/>
            <a:headEnd type="none" w="med" len="med"/>
            <a:tailEnd type="none" w="med" len="med"/>
          </a:ln>
          <a:effectLst/>
        </p:spPr>
        <p:txBody>
          <a:bodyPr vert="horz" wrap="square" lIns="0" tIns="34268" rIns="0" bIns="34268" numCol="1" rtlCol="0" anchor="ctr" anchorCtr="0" compatLnSpc="1">
            <a:prstTxWarp prst="textNoShape">
              <a:avLst/>
            </a:prstTxWarp>
            <a:noAutofit/>
          </a:bodyPr>
          <a:lstStyle/>
          <a:p>
            <a:pPr algn="ctr" defTabSz="685389">
              <a:defRPr/>
            </a:pPr>
            <a:r>
              <a:rPr lang="en-US" sz="800" b="1" err="1">
                <a:solidFill>
                  <a:srgbClr val="FFFFFF"/>
                </a:solidFill>
                <a:latin typeface="Arial" panose="020B0604020202020204"/>
              </a:rPr>
              <a:t>MMWR'de</a:t>
            </a:r>
            <a:r>
              <a:rPr lang="en-US" sz="800" b="1">
                <a:solidFill>
                  <a:srgbClr val="FFFFFF"/>
                </a:solidFill>
                <a:latin typeface="Arial" panose="020B0604020202020204"/>
              </a:rPr>
              <a:t> </a:t>
            </a:r>
            <a:r>
              <a:rPr lang="en-US" sz="800" b="1" err="1">
                <a:solidFill>
                  <a:srgbClr val="FFFFFF"/>
                </a:solidFill>
                <a:latin typeface="Arial" panose="020B0604020202020204"/>
              </a:rPr>
              <a:t>Raporlanan</a:t>
            </a:r>
            <a:r>
              <a:rPr lang="en-US" sz="800" b="1">
                <a:solidFill>
                  <a:srgbClr val="FFFFFF"/>
                </a:solidFill>
                <a:latin typeface="Arial" panose="020B0604020202020204"/>
              </a:rPr>
              <a:t> </a:t>
            </a:r>
            <a:r>
              <a:rPr lang="en-US" sz="800" b="1" err="1">
                <a:solidFill>
                  <a:srgbClr val="FFFFFF"/>
                </a:solidFill>
                <a:latin typeface="Arial" panose="020B0604020202020204"/>
              </a:rPr>
              <a:t>Sonraki</a:t>
            </a:r>
            <a:r>
              <a:rPr lang="en-US" sz="800" b="1">
                <a:solidFill>
                  <a:srgbClr val="FFFFFF"/>
                </a:solidFill>
                <a:latin typeface="Arial" panose="020B0604020202020204"/>
              </a:rPr>
              <a:t> </a:t>
            </a:r>
            <a:r>
              <a:rPr lang="en-US" sz="800" b="1" err="1">
                <a:solidFill>
                  <a:srgbClr val="FFFFFF"/>
                </a:solidFill>
                <a:latin typeface="Arial" panose="020B0604020202020204"/>
              </a:rPr>
              <a:t>Analizler</a:t>
            </a:r>
            <a:endParaRPr lang="en-US" sz="800" b="1" i="1">
              <a:solidFill>
                <a:srgbClr val="FFFFFF"/>
              </a:solidFill>
              <a:latin typeface="Arial" panose="020B0604020202020204"/>
            </a:endParaRPr>
          </a:p>
        </p:txBody>
      </p:sp>
      <p:sp>
        <p:nvSpPr>
          <p:cNvPr id="24" name="Line 8">
            <a:extLst>
              <a:ext uri="{FF2B5EF4-FFF2-40B4-BE49-F238E27FC236}">
                <a16:creationId xmlns:a16="http://schemas.microsoft.com/office/drawing/2014/main" id="{424B094E-5FBA-7C2B-A842-5004CD5C7EF6}"/>
              </a:ext>
            </a:extLst>
          </p:cNvPr>
          <p:cNvSpPr>
            <a:spLocks noChangeShapeType="1"/>
          </p:cNvSpPr>
          <p:nvPr/>
        </p:nvSpPr>
        <p:spPr bwMode="gray">
          <a:xfrm rot="16200000" flipV="1">
            <a:off x="1485486" y="2898193"/>
            <a:ext cx="509911" cy="0"/>
          </a:xfrm>
          <a:prstGeom prst="line">
            <a:avLst/>
          </a:prstGeom>
          <a:noFill/>
          <a:ln w="25400" cap="flat">
            <a:solidFill>
              <a:schemeClr val="accent1"/>
            </a:solidFill>
            <a:prstDash val="solid"/>
            <a:miter lim="800000"/>
            <a:headEnd/>
            <a:tailEnd type="oval" w="med" len="med"/>
          </a:ln>
          <a:effectLst/>
        </p:spPr>
        <p:txBody>
          <a:bodyPr wrap="square" lIns="0" tIns="0" rIns="0" bIns="0">
            <a:spAutoFit/>
          </a:bodyPr>
          <a:lstStyle/>
          <a:p>
            <a:pPr defTabSz="342797">
              <a:lnSpc>
                <a:spcPct val="90000"/>
              </a:lnSpc>
              <a:defRPr/>
            </a:pPr>
            <a:endParaRPr lang="en-US" sz="1100">
              <a:solidFill>
                <a:srgbClr val="0000C9"/>
              </a:solidFill>
              <a:latin typeface="Arial" panose="020B0604020202020204"/>
            </a:endParaRPr>
          </a:p>
        </p:txBody>
      </p:sp>
      <p:sp>
        <p:nvSpPr>
          <p:cNvPr id="25" name="Rectangle 24">
            <a:extLst>
              <a:ext uri="{FF2B5EF4-FFF2-40B4-BE49-F238E27FC236}">
                <a16:creationId xmlns:a16="http://schemas.microsoft.com/office/drawing/2014/main" id="{F8541515-7B6A-2C13-8D83-7A642F1586FD}"/>
              </a:ext>
            </a:extLst>
          </p:cNvPr>
          <p:cNvSpPr/>
          <p:nvPr/>
        </p:nvSpPr>
        <p:spPr bwMode="gray">
          <a:xfrm>
            <a:off x="858743" y="2800169"/>
            <a:ext cx="914162" cy="338554"/>
          </a:xfrm>
          <a:prstGeom prst="rect">
            <a:avLst/>
          </a:prstGeom>
          <a:ln>
            <a:noFill/>
          </a:ln>
        </p:spPr>
        <p:txBody>
          <a:bodyPr wrap="square" lIns="68562" tIns="0" rIns="68562" bIns="0" anchor="b" anchorCtr="0">
            <a:spAutoFit/>
          </a:bodyPr>
          <a:lstStyle/>
          <a:p>
            <a:pPr algn="r" defTabSz="685389">
              <a:defRPr/>
            </a:pPr>
            <a:r>
              <a:rPr lang="de-DE" sz="1100" b="1" dirty="0">
                <a:solidFill>
                  <a:schemeClr val="accent1"/>
                </a:solidFill>
                <a:latin typeface="Arial" panose="020B0604020202020204"/>
              </a:rPr>
              <a:t>Çalışma Başlangıcı</a:t>
            </a:r>
          </a:p>
        </p:txBody>
      </p:sp>
      <p:sp>
        <p:nvSpPr>
          <p:cNvPr id="26" name="Rectangle 25">
            <a:extLst>
              <a:ext uri="{FF2B5EF4-FFF2-40B4-BE49-F238E27FC236}">
                <a16:creationId xmlns:a16="http://schemas.microsoft.com/office/drawing/2014/main" id="{58B2B33D-9D5E-BB5E-CC39-4045E54C6A5B}"/>
              </a:ext>
            </a:extLst>
          </p:cNvPr>
          <p:cNvSpPr/>
          <p:nvPr/>
        </p:nvSpPr>
        <p:spPr bwMode="gray">
          <a:xfrm>
            <a:off x="1905661" y="3292662"/>
            <a:ext cx="1128698" cy="223790"/>
          </a:xfrm>
          <a:prstGeom prst="rect">
            <a:avLst/>
          </a:prstGeom>
        </p:spPr>
        <p:txBody>
          <a:bodyPr wrap="square" lIns="68562" tIns="0" rIns="68562" bIns="53986" anchor="b" anchorCtr="0">
            <a:spAutoFit/>
          </a:bodyPr>
          <a:lstStyle/>
          <a:p>
            <a:pPr algn="r" defTabSz="685389">
              <a:defRPr/>
            </a:pPr>
            <a:r>
              <a:rPr lang="de-DE" sz="1100" b="1" dirty="0">
                <a:solidFill>
                  <a:schemeClr val="accent1"/>
                </a:solidFill>
                <a:latin typeface="Arial" panose="020B0604020202020204"/>
              </a:rPr>
              <a:t>Birincil Analiz</a:t>
            </a:r>
          </a:p>
        </p:txBody>
      </p:sp>
      <p:sp>
        <p:nvSpPr>
          <p:cNvPr id="27" name="Rectangle 26">
            <a:extLst>
              <a:ext uri="{FF2B5EF4-FFF2-40B4-BE49-F238E27FC236}">
                <a16:creationId xmlns:a16="http://schemas.microsoft.com/office/drawing/2014/main" id="{D5B35CAE-C22E-2D10-57EF-BAB31D3E6E07}"/>
              </a:ext>
            </a:extLst>
          </p:cNvPr>
          <p:cNvSpPr/>
          <p:nvPr/>
        </p:nvSpPr>
        <p:spPr bwMode="gray">
          <a:xfrm>
            <a:off x="4067712" y="3292662"/>
            <a:ext cx="1538126" cy="223790"/>
          </a:xfrm>
          <a:prstGeom prst="rect">
            <a:avLst/>
          </a:prstGeom>
          <a:noFill/>
          <a:ln>
            <a:noFill/>
          </a:ln>
        </p:spPr>
        <p:txBody>
          <a:bodyPr wrap="square" lIns="68562" tIns="0" rIns="68562" bIns="53986" anchor="b" anchorCtr="0">
            <a:spAutoFit/>
          </a:bodyPr>
          <a:lstStyle/>
          <a:p>
            <a:pPr defTabSz="685389">
              <a:defRPr/>
            </a:pPr>
            <a:r>
              <a:rPr lang="en-US" sz="1100" b="1" dirty="0">
                <a:solidFill>
                  <a:schemeClr val="accent3">
                    <a:lumMod val="25000"/>
                  </a:schemeClr>
                </a:solidFill>
                <a:latin typeface="Arial" panose="020B0604020202020204"/>
              </a:rPr>
              <a:t>S1 </a:t>
            </a:r>
            <a:r>
              <a:rPr lang="en-US" sz="1100" b="1" dirty="0" err="1">
                <a:solidFill>
                  <a:schemeClr val="accent3">
                    <a:lumMod val="25000"/>
                  </a:schemeClr>
                </a:solidFill>
                <a:latin typeface="Arial" panose="020B0604020202020204"/>
              </a:rPr>
              <a:t>analizin</a:t>
            </a:r>
            <a:r>
              <a:rPr lang="en-US" sz="1100" b="1" dirty="0">
                <a:solidFill>
                  <a:schemeClr val="accent3">
                    <a:lumMod val="25000"/>
                  </a:schemeClr>
                </a:solidFill>
                <a:latin typeface="Arial" panose="020B0604020202020204"/>
              </a:rPr>
              <a:t> </a:t>
            </a:r>
            <a:r>
              <a:rPr lang="en-US" sz="1100" b="1" dirty="0" err="1">
                <a:solidFill>
                  <a:schemeClr val="accent3">
                    <a:lumMod val="25000"/>
                  </a:schemeClr>
                </a:solidFill>
                <a:latin typeface="Arial" panose="020B0604020202020204"/>
              </a:rPr>
              <a:t>sonu</a:t>
            </a:r>
            <a:endParaRPr lang="en-US" sz="1100" b="1" dirty="0">
              <a:solidFill>
                <a:schemeClr val="accent3">
                  <a:lumMod val="25000"/>
                </a:schemeClr>
              </a:solidFill>
              <a:latin typeface="Arial" panose="020B0604020202020204"/>
            </a:endParaRPr>
          </a:p>
        </p:txBody>
      </p:sp>
      <p:sp>
        <p:nvSpPr>
          <p:cNvPr id="28" name="Rectangle 27">
            <a:extLst>
              <a:ext uri="{FF2B5EF4-FFF2-40B4-BE49-F238E27FC236}">
                <a16:creationId xmlns:a16="http://schemas.microsoft.com/office/drawing/2014/main" id="{BA7A50F6-F9CE-AC83-E18D-A2E1A2006E8B}"/>
              </a:ext>
            </a:extLst>
          </p:cNvPr>
          <p:cNvSpPr/>
          <p:nvPr/>
        </p:nvSpPr>
        <p:spPr bwMode="gray">
          <a:xfrm>
            <a:off x="6185096" y="3292662"/>
            <a:ext cx="1900263" cy="223790"/>
          </a:xfrm>
          <a:prstGeom prst="rect">
            <a:avLst/>
          </a:prstGeom>
        </p:spPr>
        <p:txBody>
          <a:bodyPr wrap="square" lIns="68562" tIns="0" rIns="68562" bIns="53986" anchor="b" anchorCtr="0">
            <a:spAutoFit/>
          </a:bodyPr>
          <a:lstStyle/>
          <a:p>
            <a:pPr defTabSz="685389">
              <a:defRPr/>
            </a:pPr>
            <a:r>
              <a:rPr lang="en-US" sz="1100" b="1" dirty="0">
                <a:solidFill>
                  <a:schemeClr val="accent5"/>
                </a:solidFill>
                <a:latin typeface="Arial" panose="020B0604020202020204"/>
              </a:rPr>
              <a:t>2. </a:t>
            </a:r>
            <a:r>
              <a:rPr lang="en-US" sz="1100" b="1" dirty="0" err="1">
                <a:solidFill>
                  <a:schemeClr val="accent5"/>
                </a:solidFill>
                <a:latin typeface="Arial" panose="020B0604020202020204"/>
              </a:rPr>
              <a:t>Sezon</a:t>
            </a:r>
            <a:r>
              <a:rPr lang="en-US" sz="1100" b="1" dirty="0">
                <a:solidFill>
                  <a:schemeClr val="accent5"/>
                </a:solidFill>
                <a:latin typeface="Arial" panose="020B0604020202020204"/>
              </a:rPr>
              <a:t> </a:t>
            </a:r>
            <a:r>
              <a:rPr lang="en-US" sz="1100" b="1" dirty="0" err="1">
                <a:solidFill>
                  <a:schemeClr val="accent5"/>
                </a:solidFill>
                <a:latin typeface="Arial" panose="020B0604020202020204"/>
              </a:rPr>
              <a:t>Ortası</a:t>
            </a:r>
            <a:r>
              <a:rPr lang="en-US" sz="1100" b="1" dirty="0">
                <a:solidFill>
                  <a:schemeClr val="accent5"/>
                </a:solidFill>
                <a:latin typeface="Arial" panose="020B0604020202020204"/>
              </a:rPr>
              <a:t> </a:t>
            </a:r>
            <a:r>
              <a:rPr lang="en-US" sz="1100" b="1" dirty="0" err="1">
                <a:solidFill>
                  <a:schemeClr val="accent5"/>
                </a:solidFill>
                <a:latin typeface="Arial" panose="020B0604020202020204"/>
              </a:rPr>
              <a:t>Analizi</a:t>
            </a:r>
            <a:endParaRPr lang="en-US" sz="1100" b="1" dirty="0">
              <a:solidFill>
                <a:schemeClr val="accent5"/>
              </a:solidFill>
              <a:latin typeface="Arial" panose="020B0604020202020204"/>
            </a:endParaRPr>
          </a:p>
        </p:txBody>
      </p:sp>
      <p:sp>
        <p:nvSpPr>
          <p:cNvPr id="30" name="Rectangle 29">
            <a:extLst>
              <a:ext uri="{FF2B5EF4-FFF2-40B4-BE49-F238E27FC236}">
                <a16:creationId xmlns:a16="http://schemas.microsoft.com/office/drawing/2014/main" id="{A0046A74-FA9C-0EFF-0215-2789080CE19D}"/>
              </a:ext>
            </a:extLst>
          </p:cNvPr>
          <p:cNvSpPr/>
          <p:nvPr/>
        </p:nvSpPr>
        <p:spPr bwMode="gray">
          <a:xfrm>
            <a:off x="8082636" y="3309589"/>
            <a:ext cx="1508657" cy="206863"/>
          </a:xfrm>
          <a:prstGeom prst="rect">
            <a:avLst/>
          </a:prstGeom>
        </p:spPr>
        <p:txBody>
          <a:bodyPr wrap="square" tIns="0" bIns="53986" anchor="b" anchorCtr="0">
            <a:spAutoFit/>
          </a:bodyPr>
          <a:lstStyle/>
          <a:p>
            <a:pPr defTabSz="685389">
              <a:lnSpc>
                <a:spcPct val="90000"/>
              </a:lnSpc>
              <a:defRPr/>
            </a:pPr>
            <a:r>
              <a:rPr lang="de-DE" sz="1100" b="1" err="1">
                <a:solidFill>
                  <a:schemeClr val="accent2"/>
                </a:solidFill>
                <a:latin typeface="Arial" panose="020B0604020202020204"/>
              </a:rPr>
              <a:t>Sezon</a:t>
            </a:r>
            <a:r>
              <a:rPr lang="de-DE" sz="1100" b="1">
                <a:solidFill>
                  <a:schemeClr val="accent2"/>
                </a:solidFill>
                <a:latin typeface="Arial" panose="020B0604020202020204"/>
              </a:rPr>
              <a:t> 2 Sonu</a:t>
            </a:r>
          </a:p>
        </p:txBody>
      </p:sp>
      <p:sp>
        <p:nvSpPr>
          <p:cNvPr id="32" name="Line 8">
            <a:extLst>
              <a:ext uri="{FF2B5EF4-FFF2-40B4-BE49-F238E27FC236}">
                <a16:creationId xmlns:a16="http://schemas.microsoft.com/office/drawing/2014/main" id="{5CB696A2-83E6-9563-1A41-1E4BD3F3CFE0}"/>
              </a:ext>
            </a:extLst>
          </p:cNvPr>
          <p:cNvSpPr>
            <a:spLocks noChangeShapeType="1"/>
          </p:cNvSpPr>
          <p:nvPr/>
        </p:nvSpPr>
        <p:spPr bwMode="gray">
          <a:xfrm rot="16200000">
            <a:off x="5203011" y="3046064"/>
            <a:ext cx="805656" cy="4"/>
          </a:xfrm>
          <a:prstGeom prst="line">
            <a:avLst/>
          </a:prstGeom>
          <a:noFill/>
          <a:ln w="25400" cap="flat">
            <a:solidFill>
              <a:schemeClr val="accent3"/>
            </a:solidFill>
            <a:prstDash val="solid"/>
            <a:miter lim="800000"/>
            <a:headEnd/>
            <a:tailEnd type="oval" w="med" len="med"/>
          </a:ln>
          <a:effectLst/>
        </p:spPr>
        <p:txBody>
          <a:bodyPr wrap="square" lIns="0" tIns="0" rIns="0" bIns="0">
            <a:spAutoFit/>
          </a:bodyPr>
          <a:lstStyle/>
          <a:p>
            <a:pPr algn="ctr" defTabSz="342797">
              <a:lnSpc>
                <a:spcPct val="90000"/>
              </a:lnSpc>
              <a:defRPr/>
            </a:pPr>
            <a:endParaRPr lang="en-US" sz="1100">
              <a:solidFill>
                <a:srgbClr val="000000"/>
              </a:solidFill>
              <a:latin typeface="Arial" panose="020B0604020202020204"/>
            </a:endParaRPr>
          </a:p>
        </p:txBody>
      </p:sp>
      <p:sp>
        <p:nvSpPr>
          <p:cNvPr id="33" name="Line 8">
            <a:extLst>
              <a:ext uri="{FF2B5EF4-FFF2-40B4-BE49-F238E27FC236}">
                <a16:creationId xmlns:a16="http://schemas.microsoft.com/office/drawing/2014/main" id="{A9F7F537-720A-C1F7-3735-91DD5AAA3AAC}"/>
              </a:ext>
            </a:extLst>
          </p:cNvPr>
          <p:cNvSpPr>
            <a:spLocks noChangeShapeType="1"/>
          </p:cNvSpPr>
          <p:nvPr/>
        </p:nvSpPr>
        <p:spPr bwMode="gray">
          <a:xfrm rot="16200000">
            <a:off x="4702500" y="2776185"/>
            <a:ext cx="205764" cy="0"/>
          </a:xfrm>
          <a:prstGeom prst="line">
            <a:avLst/>
          </a:prstGeom>
          <a:noFill/>
          <a:ln w="25400" cap="flat">
            <a:solidFill>
              <a:schemeClr val="accent1"/>
            </a:solidFill>
            <a:prstDash val="solid"/>
            <a:miter lim="800000"/>
            <a:headEnd/>
            <a:tailEnd type="oval" w="med" len="med"/>
          </a:ln>
          <a:effectLst/>
        </p:spPr>
        <p:txBody>
          <a:bodyPr wrap="square" lIns="0" tIns="0" rIns="0" bIns="0">
            <a:spAutoFit/>
          </a:bodyPr>
          <a:lstStyle/>
          <a:p>
            <a:pPr defTabSz="342797">
              <a:lnSpc>
                <a:spcPct val="90000"/>
              </a:lnSpc>
              <a:defRPr/>
            </a:pPr>
            <a:endParaRPr lang="en-US" sz="1100">
              <a:solidFill>
                <a:srgbClr val="0000C9"/>
              </a:solidFill>
              <a:latin typeface="Arial" panose="020B0604020202020204"/>
            </a:endParaRPr>
          </a:p>
        </p:txBody>
      </p:sp>
      <p:sp>
        <p:nvSpPr>
          <p:cNvPr id="36" name="Isosceles Triangle 35">
            <a:extLst>
              <a:ext uri="{FF2B5EF4-FFF2-40B4-BE49-F238E27FC236}">
                <a16:creationId xmlns:a16="http://schemas.microsoft.com/office/drawing/2014/main" id="{B631320B-10D3-F5D3-4EBD-E0816E5746AA}"/>
              </a:ext>
            </a:extLst>
          </p:cNvPr>
          <p:cNvSpPr/>
          <p:nvPr/>
        </p:nvSpPr>
        <p:spPr bwMode="gray">
          <a:xfrm rot="10800000">
            <a:off x="6333937" y="2072796"/>
            <a:ext cx="189137" cy="126315"/>
          </a:xfrm>
          <a:prstGeom prst="triangle">
            <a:avLst/>
          </a:prstGeom>
          <a:solidFill>
            <a:schemeClr val="accent5"/>
          </a:solidFill>
          <a:ln w="285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342797" fontAlgn="base">
              <a:lnSpc>
                <a:spcPct val="90000"/>
              </a:lnSpc>
              <a:spcAft>
                <a:spcPct val="0"/>
              </a:spcAft>
              <a:buClr>
                <a:srgbClr val="0095FF"/>
              </a:buClr>
              <a:buSzPct val="90000"/>
              <a:defRPr/>
            </a:pPr>
            <a:endParaRPr lang="en-US" sz="1400" b="1">
              <a:solidFill>
                <a:srgbClr val="0000C9"/>
              </a:solidFill>
              <a:latin typeface="Arial" panose="020B0604020202020204"/>
            </a:endParaRPr>
          </a:p>
        </p:txBody>
      </p:sp>
      <p:sp>
        <p:nvSpPr>
          <p:cNvPr id="37" name="Rectangle: Rounded Corners 36">
            <a:extLst>
              <a:ext uri="{FF2B5EF4-FFF2-40B4-BE49-F238E27FC236}">
                <a16:creationId xmlns:a16="http://schemas.microsoft.com/office/drawing/2014/main" id="{6BFEF4BA-139A-CAA7-1E98-D747382D887D}"/>
              </a:ext>
            </a:extLst>
          </p:cNvPr>
          <p:cNvSpPr/>
          <p:nvPr/>
        </p:nvSpPr>
        <p:spPr bwMode="gray">
          <a:xfrm>
            <a:off x="8992695" y="1813850"/>
            <a:ext cx="1118183" cy="353085"/>
          </a:xfrm>
          <a:prstGeom prst="roundRect">
            <a:avLst/>
          </a:prstGeom>
          <a:solidFill>
            <a:schemeClr val="accent2"/>
          </a:solidFill>
          <a:ln w="28575" cap="flat" cmpd="sng" algn="ctr">
            <a:noFill/>
            <a:prstDash val="solid"/>
            <a:miter lim="800000"/>
            <a:headEnd type="none" w="med" len="med"/>
            <a:tailEnd type="none" w="med" len="med"/>
          </a:ln>
          <a:effectLst/>
        </p:spPr>
        <p:txBody>
          <a:bodyPr vert="horz" wrap="square" lIns="0" tIns="34268" rIns="0" bIns="34268" numCol="1" rtlCol="0" anchor="ctr" anchorCtr="0" compatLnSpc="1">
            <a:prstTxWarp prst="textNoShape">
              <a:avLst/>
            </a:prstTxWarp>
            <a:noAutofit/>
          </a:bodyPr>
          <a:lstStyle/>
          <a:p>
            <a:pPr algn="ctr" defTabSz="685389">
              <a:lnSpc>
                <a:spcPct val="90000"/>
              </a:lnSpc>
              <a:defRPr/>
            </a:pPr>
            <a:r>
              <a:rPr lang="en-US" sz="800" b="1" err="1">
                <a:solidFill>
                  <a:srgbClr val="FFFFFF"/>
                </a:solidFill>
                <a:latin typeface="Arial" panose="020B0604020202020204"/>
              </a:rPr>
              <a:t>MMWR'de</a:t>
            </a:r>
            <a:r>
              <a:rPr lang="en-US" sz="800" b="1">
                <a:solidFill>
                  <a:srgbClr val="FFFFFF"/>
                </a:solidFill>
                <a:latin typeface="Arial" panose="020B0604020202020204"/>
              </a:rPr>
              <a:t> </a:t>
            </a:r>
            <a:r>
              <a:rPr lang="en-US" sz="800" b="1" err="1">
                <a:solidFill>
                  <a:srgbClr val="FFFFFF"/>
                </a:solidFill>
                <a:latin typeface="Arial" panose="020B0604020202020204"/>
              </a:rPr>
              <a:t>Bildirilen</a:t>
            </a:r>
            <a:r>
              <a:rPr lang="en-US" sz="800" b="1">
                <a:solidFill>
                  <a:srgbClr val="FFFFFF"/>
                </a:solidFill>
                <a:latin typeface="Arial" panose="020B0604020202020204"/>
              </a:rPr>
              <a:t> </a:t>
            </a:r>
            <a:r>
              <a:rPr lang="en-US" sz="800" b="1" err="1">
                <a:solidFill>
                  <a:srgbClr val="FFFFFF"/>
                </a:solidFill>
                <a:latin typeface="Arial" panose="020B0604020202020204"/>
              </a:rPr>
              <a:t>Sonraki</a:t>
            </a:r>
            <a:r>
              <a:rPr lang="en-US" sz="800" b="1">
                <a:solidFill>
                  <a:srgbClr val="FFFFFF"/>
                </a:solidFill>
                <a:latin typeface="Arial" panose="020B0604020202020204"/>
              </a:rPr>
              <a:t> </a:t>
            </a:r>
            <a:r>
              <a:rPr lang="en-US" sz="800" b="1" err="1">
                <a:solidFill>
                  <a:srgbClr val="FFFFFF"/>
                </a:solidFill>
                <a:latin typeface="Arial" panose="020B0604020202020204"/>
              </a:rPr>
              <a:t>Analizler</a:t>
            </a:r>
            <a:endParaRPr lang="en-US" sz="800" b="1">
              <a:solidFill>
                <a:srgbClr val="FFFFFF"/>
              </a:solidFill>
              <a:latin typeface="Arial" panose="020B0604020202020204"/>
            </a:endParaRPr>
          </a:p>
        </p:txBody>
      </p:sp>
      <p:sp>
        <p:nvSpPr>
          <p:cNvPr id="39" name="Isosceles Triangle 38">
            <a:extLst>
              <a:ext uri="{FF2B5EF4-FFF2-40B4-BE49-F238E27FC236}">
                <a16:creationId xmlns:a16="http://schemas.microsoft.com/office/drawing/2014/main" id="{5BA9D7B2-4D4D-EAE7-C056-7BB052BEFED7}"/>
              </a:ext>
            </a:extLst>
          </p:cNvPr>
          <p:cNvSpPr/>
          <p:nvPr/>
        </p:nvSpPr>
        <p:spPr bwMode="gray">
          <a:xfrm rot="10800000">
            <a:off x="9065722" y="2072796"/>
            <a:ext cx="189137" cy="126315"/>
          </a:xfrm>
          <a:prstGeom prst="triangle">
            <a:avLst/>
          </a:prstGeom>
          <a:solidFill>
            <a:schemeClr val="accent2"/>
          </a:solidFill>
          <a:ln w="285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342797" fontAlgn="base">
              <a:lnSpc>
                <a:spcPct val="90000"/>
              </a:lnSpc>
              <a:spcAft>
                <a:spcPct val="0"/>
              </a:spcAft>
              <a:buClr>
                <a:srgbClr val="0095FF"/>
              </a:buClr>
              <a:buSzPct val="90000"/>
              <a:defRPr/>
            </a:pPr>
            <a:endParaRPr lang="en-US" sz="1400" b="1">
              <a:solidFill>
                <a:srgbClr val="0000C9"/>
              </a:solidFill>
              <a:latin typeface="Arial" panose="020B0604020202020204"/>
            </a:endParaRPr>
          </a:p>
        </p:txBody>
      </p:sp>
      <p:sp>
        <p:nvSpPr>
          <p:cNvPr id="47" name="Rectangle 46">
            <a:extLst>
              <a:ext uri="{FF2B5EF4-FFF2-40B4-BE49-F238E27FC236}">
                <a16:creationId xmlns:a16="http://schemas.microsoft.com/office/drawing/2014/main" id="{47E4BD28-7826-258C-8131-1ADBE66AD810}"/>
              </a:ext>
            </a:extLst>
          </p:cNvPr>
          <p:cNvSpPr/>
          <p:nvPr/>
        </p:nvSpPr>
        <p:spPr>
          <a:xfrm>
            <a:off x="1645073" y="3522599"/>
            <a:ext cx="1913629" cy="1994156"/>
          </a:xfrm>
          <a:prstGeom prst="rect">
            <a:avLst/>
          </a:prstGeom>
          <a:noFill/>
          <a:ln w="25400" cap="flat">
            <a:solidFill>
              <a:schemeClr val="accent1"/>
            </a:solidFill>
            <a:prstDash val="solid"/>
            <a:miter lim="800000"/>
            <a:headEnd/>
            <a:tailEnd type="oval" w="med" len="med"/>
          </a:ln>
          <a:effectLst/>
        </p:spPr>
        <p:txBody>
          <a:bodyPr wrap="square" lIns="80979" tIns="80979" rIns="80979" bIns="80979" anchor="ctr">
            <a:noAutofit/>
          </a:bodyPr>
          <a:lstStyle/>
          <a:p>
            <a:pPr algn="ctr" defTabSz="342797">
              <a:spcAft>
                <a:spcPts val="900"/>
              </a:spcAft>
              <a:defRPr/>
            </a:pPr>
            <a:r>
              <a:rPr lang="en-GB" sz="1050" dirty="0">
                <a:solidFill>
                  <a:schemeClr val="bg1">
                    <a:lumMod val="50000"/>
                  </a:schemeClr>
                </a:solidFill>
                <a:latin typeface="Arial" panose="020B0604020202020204"/>
              </a:rPr>
              <a:t>En </a:t>
            </a:r>
            <a:r>
              <a:rPr lang="en-GB" sz="1050" dirty="0" err="1">
                <a:solidFill>
                  <a:schemeClr val="bg1">
                    <a:lumMod val="50000"/>
                  </a:schemeClr>
                </a:solidFill>
                <a:latin typeface="Arial" panose="020B0604020202020204"/>
              </a:rPr>
              <a:t>az</a:t>
            </a:r>
            <a:r>
              <a:rPr lang="en-GB" sz="1050" dirty="0">
                <a:solidFill>
                  <a:schemeClr val="bg1">
                    <a:lumMod val="50000"/>
                  </a:schemeClr>
                </a:solidFill>
                <a:latin typeface="Arial" panose="020B0604020202020204"/>
              </a:rPr>
              <a:t> </a:t>
            </a:r>
            <a:r>
              <a:rPr lang="en-GB" sz="1050" u="sng" dirty="0">
                <a:solidFill>
                  <a:schemeClr val="bg1">
                    <a:lumMod val="50000"/>
                  </a:schemeClr>
                </a:solidFill>
                <a:latin typeface="Arial" panose="020B0604020202020204"/>
              </a:rPr>
              <a:t>3 </a:t>
            </a:r>
            <a:r>
              <a:rPr lang="en-GB" sz="1050" u="sng" dirty="0" err="1">
                <a:solidFill>
                  <a:schemeClr val="bg1">
                    <a:lumMod val="50000"/>
                  </a:schemeClr>
                </a:solidFill>
                <a:latin typeface="Arial" panose="020B0604020202020204"/>
              </a:rPr>
              <a:t>belirti</a:t>
            </a:r>
            <a:r>
              <a:rPr lang="en-GB" sz="1050" u="sng"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veya</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semptomlu</a:t>
            </a:r>
            <a:r>
              <a:rPr lang="en-GB" sz="1050" dirty="0">
                <a:solidFill>
                  <a:schemeClr val="bg1">
                    <a:lumMod val="50000"/>
                  </a:schemeClr>
                </a:solidFill>
                <a:latin typeface="Arial" panose="020B0604020202020204"/>
              </a:rPr>
              <a:t> RSV-</a:t>
            </a:r>
            <a:r>
              <a:rPr lang="en-GB" sz="1050" dirty="0" err="1">
                <a:solidFill>
                  <a:schemeClr val="bg1">
                    <a:lumMod val="50000"/>
                  </a:schemeClr>
                </a:solidFill>
                <a:latin typeface="Arial" panose="020B0604020202020204"/>
              </a:rPr>
              <a:t>ASYH'ye</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karşı</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aşı</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etkinliği</a:t>
            </a:r>
            <a:r>
              <a:rPr lang="en-GB" sz="1050" dirty="0">
                <a:solidFill>
                  <a:schemeClr val="bg1">
                    <a:lumMod val="50000"/>
                  </a:schemeClr>
                </a:solidFill>
                <a:latin typeface="Arial" panose="020B0604020202020204"/>
              </a:rPr>
              <a:t> </a:t>
            </a:r>
            <a:br>
              <a:rPr lang="en-GB" sz="1050" dirty="0">
                <a:solidFill>
                  <a:schemeClr val="bg1">
                    <a:lumMod val="50000"/>
                  </a:schemeClr>
                </a:solidFill>
                <a:latin typeface="Arial" panose="020B0604020202020204"/>
              </a:rPr>
            </a:br>
            <a:r>
              <a:rPr lang="en-GB" sz="2800" b="1" dirty="0">
                <a:solidFill>
                  <a:schemeClr val="bg1">
                    <a:lumMod val="50000"/>
                  </a:schemeClr>
                </a:solidFill>
                <a:latin typeface="Arial" panose="020B0604020202020204"/>
              </a:rPr>
              <a:t>%85.7</a:t>
            </a:r>
            <a:r>
              <a:rPr lang="en-GB" sz="1600" b="1" dirty="0">
                <a:solidFill>
                  <a:schemeClr val="bg1">
                    <a:lumMod val="50000"/>
                  </a:schemeClr>
                </a:solidFill>
                <a:latin typeface="Arial" panose="020B0604020202020204"/>
              </a:rPr>
              <a:t> </a:t>
            </a:r>
            <a:br>
              <a:rPr lang="en-GB" sz="1600" b="1" dirty="0">
                <a:solidFill>
                  <a:schemeClr val="bg1">
                    <a:lumMod val="50000"/>
                  </a:schemeClr>
                </a:solidFill>
                <a:latin typeface="Arial" panose="020B0604020202020204"/>
              </a:rPr>
            </a:br>
            <a:r>
              <a:rPr lang="en-GB" sz="1050" dirty="0">
                <a:solidFill>
                  <a:schemeClr val="bg1">
                    <a:lumMod val="50000"/>
                  </a:schemeClr>
                </a:solidFill>
                <a:latin typeface="Arial" panose="020B0604020202020204"/>
              </a:rPr>
              <a:t>(32-98,7)</a:t>
            </a:r>
            <a:r>
              <a:rPr lang="en-GB" sz="1050" baseline="30000" dirty="0">
                <a:solidFill>
                  <a:schemeClr val="bg1">
                    <a:lumMod val="50000"/>
                  </a:schemeClr>
                </a:solidFill>
                <a:latin typeface="Arial" panose="020B0604020202020204"/>
              </a:rPr>
              <a:t> 1,2</a:t>
            </a:r>
          </a:p>
          <a:p>
            <a:pPr algn="ctr" defTabSz="342797">
              <a:spcAft>
                <a:spcPts val="900"/>
              </a:spcAft>
              <a:defRPr/>
            </a:pPr>
            <a:r>
              <a:rPr lang="en-GB" sz="1000" dirty="0" err="1">
                <a:solidFill>
                  <a:schemeClr val="bg1">
                    <a:lumMod val="50000"/>
                  </a:schemeClr>
                </a:solidFill>
                <a:latin typeface="Arial" panose="020B0604020202020204"/>
              </a:rPr>
              <a:t>Aşı</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etkinliği</a:t>
            </a:r>
            <a:r>
              <a:rPr lang="en-GB" sz="1000" dirty="0">
                <a:solidFill>
                  <a:schemeClr val="bg1">
                    <a:lumMod val="50000"/>
                  </a:schemeClr>
                </a:solidFill>
                <a:latin typeface="Arial" panose="020B0604020202020204"/>
              </a:rPr>
              <a:t> RSV-ASYH </a:t>
            </a:r>
            <a:r>
              <a:rPr lang="en-GB" sz="1000" dirty="0" err="1">
                <a:solidFill>
                  <a:schemeClr val="bg1">
                    <a:lumMod val="50000"/>
                  </a:schemeClr>
                </a:solidFill>
                <a:latin typeface="Arial" panose="020B0604020202020204"/>
              </a:rPr>
              <a:t>ile</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en</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az</a:t>
            </a:r>
            <a:r>
              <a:rPr lang="en-GB" sz="1000" dirty="0">
                <a:solidFill>
                  <a:schemeClr val="bg1">
                    <a:lumMod val="50000"/>
                  </a:schemeClr>
                </a:solidFill>
                <a:latin typeface="Arial" panose="020B0604020202020204"/>
              </a:rPr>
              <a:t> 2 </a:t>
            </a:r>
            <a:r>
              <a:rPr lang="en-GB" sz="1000" dirty="0" err="1">
                <a:solidFill>
                  <a:schemeClr val="bg1">
                    <a:lumMod val="50000"/>
                  </a:schemeClr>
                </a:solidFill>
                <a:latin typeface="Arial" panose="020B0604020202020204"/>
              </a:rPr>
              <a:t>belirti</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veya</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semptom</a:t>
            </a:r>
            <a:r>
              <a:rPr lang="en-GB" sz="1000" dirty="0">
                <a:solidFill>
                  <a:schemeClr val="bg1">
                    <a:lumMod val="50000"/>
                  </a:schemeClr>
                </a:solidFill>
                <a:latin typeface="Arial" panose="020B0604020202020204"/>
              </a:rPr>
              <a:t> </a:t>
            </a:r>
            <a:r>
              <a:rPr lang="en-GB" sz="1400" b="1" dirty="0">
                <a:solidFill>
                  <a:schemeClr val="bg1">
                    <a:lumMod val="50000"/>
                  </a:schemeClr>
                </a:solidFill>
                <a:latin typeface="Arial" panose="020B0604020202020204"/>
              </a:rPr>
              <a:t>%66.7</a:t>
            </a:r>
            <a:r>
              <a:rPr lang="en-GB" sz="1000" dirty="0">
                <a:solidFill>
                  <a:schemeClr val="bg1">
                    <a:lumMod val="50000"/>
                  </a:schemeClr>
                </a:solidFill>
                <a:latin typeface="Arial" panose="020B0604020202020204"/>
              </a:rPr>
              <a:t> (28.8-85.8</a:t>
            </a:r>
            <a:r>
              <a:rPr lang="en-GB" dirty="0">
                <a:solidFill>
                  <a:schemeClr val="bg1">
                    <a:lumMod val="50000"/>
                  </a:schemeClr>
                </a:solidFill>
                <a:latin typeface="Arial" panose="020B0604020202020204"/>
              </a:rPr>
              <a:t>)</a:t>
            </a:r>
          </a:p>
        </p:txBody>
      </p:sp>
      <p:sp>
        <p:nvSpPr>
          <p:cNvPr id="51" name="Rectangle 50">
            <a:extLst>
              <a:ext uri="{FF2B5EF4-FFF2-40B4-BE49-F238E27FC236}">
                <a16:creationId xmlns:a16="http://schemas.microsoft.com/office/drawing/2014/main" id="{3F38DF1E-AF78-1FB6-98F4-36C556E70D87}"/>
              </a:ext>
            </a:extLst>
          </p:cNvPr>
          <p:cNvSpPr/>
          <p:nvPr/>
        </p:nvSpPr>
        <p:spPr>
          <a:xfrm>
            <a:off x="3812269" y="3522599"/>
            <a:ext cx="1913629" cy="1994156"/>
          </a:xfrm>
          <a:prstGeom prst="rect">
            <a:avLst/>
          </a:prstGeom>
          <a:noFill/>
          <a:ln w="25400" cap="flat">
            <a:solidFill>
              <a:schemeClr val="accent3"/>
            </a:solidFill>
            <a:prstDash val="solid"/>
            <a:miter lim="800000"/>
            <a:headEnd/>
            <a:tailEnd type="oval" w="med" len="med"/>
          </a:ln>
          <a:effectLst/>
        </p:spPr>
        <p:txBody>
          <a:bodyPr wrap="square" lIns="80979" tIns="80979" rIns="80979" bIns="80979" anchor="ctr">
            <a:noAutofit/>
          </a:bodyPr>
          <a:lstStyle/>
          <a:p>
            <a:pPr algn="ctr" defTabSz="342797">
              <a:spcAft>
                <a:spcPts val="900"/>
              </a:spcAft>
              <a:defRPr/>
            </a:pPr>
            <a:r>
              <a:rPr lang="en-GB" sz="1050" dirty="0" err="1">
                <a:solidFill>
                  <a:schemeClr val="bg1">
                    <a:lumMod val="50000"/>
                  </a:schemeClr>
                </a:solidFill>
                <a:latin typeface="Arial" panose="020B0604020202020204"/>
              </a:rPr>
              <a:t>Aşıetkinliği</a:t>
            </a:r>
            <a:r>
              <a:rPr lang="en-GB" sz="1050" dirty="0">
                <a:solidFill>
                  <a:schemeClr val="bg1">
                    <a:lumMod val="50000"/>
                  </a:schemeClr>
                </a:solidFill>
                <a:latin typeface="Arial" panose="020B0604020202020204"/>
              </a:rPr>
              <a:t> RSV-ASYH </a:t>
            </a:r>
            <a:r>
              <a:rPr lang="en-GB" sz="1050" dirty="0" err="1">
                <a:solidFill>
                  <a:schemeClr val="bg1">
                    <a:lumMod val="50000"/>
                  </a:schemeClr>
                </a:solidFill>
                <a:latin typeface="Arial" panose="020B0604020202020204"/>
              </a:rPr>
              <a:t>ile</a:t>
            </a:r>
            <a:r>
              <a:rPr lang="en-GB" sz="1050" dirty="0">
                <a:solidFill>
                  <a:schemeClr val="bg1">
                    <a:lumMod val="50000"/>
                  </a:schemeClr>
                </a:solidFill>
                <a:latin typeface="Arial" panose="020B0604020202020204"/>
              </a:rPr>
              <a:t> </a:t>
            </a:r>
            <a:r>
              <a:rPr lang="en-GB" sz="1050" u="sng" dirty="0" err="1">
                <a:solidFill>
                  <a:schemeClr val="bg1">
                    <a:lumMod val="50000"/>
                  </a:schemeClr>
                </a:solidFill>
                <a:latin typeface="Arial" panose="020B0604020202020204"/>
              </a:rPr>
              <a:t>en</a:t>
            </a:r>
            <a:r>
              <a:rPr lang="en-GB" sz="1050" u="sng" dirty="0">
                <a:solidFill>
                  <a:schemeClr val="bg1">
                    <a:lumMod val="50000"/>
                  </a:schemeClr>
                </a:solidFill>
                <a:latin typeface="Arial" panose="020B0604020202020204"/>
              </a:rPr>
              <a:t> </a:t>
            </a:r>
            <a:r>
              <a:rPr lang="en-GB" sz="1050" u="sng" dirty="0" err="1">
                <a:solidFill>
                  <a:schemeClr val="bg1">
                    <a:lumMod val="50000"/>
                  </a:schemeClr>
                </a:solidFill>
                <a:latin typeface="Arial" panose="020B0604020202020204"/>
              </a:rPr>
              <a:t>az</a:t>
            </a:r>
            <a:r>
              <a:rPr lang="en-GB" sz="1050" u="sng" dirty="0">
                <a:solidFill>
                  <a:schemeClr val="bg1">
                    <a:lumMod val="50000"/>
                  </a:schemeClr>
                </a:solidFill>
                <a:latin typeface="Arial" panose="020B0604020202020204"/>
              </a:rPr>
              <a:t> 3 </a:t>
            </a:r>
            <a:r>
              <a:rPr lang="en-GB" sz="1050" dirty="0" err="1">
                <a:solidFill>
                  <a:schemeClr val="bg1">
                    <a:lumMod val="50000"/>
                  </a:schemeClr>
                </a:solidFill>
                <a:latin typeface="Arial" panose="020B0604020202020204"/>
              </a:rPr>
              <a:t>belirti</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veya</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semptom</a:t>
            </a:r>
            <a:r>
              <a:rPr lang="en-GB" sz="1050" dirty="0">
                <a:solidFill>
                  <a:schemeClr val="bg1">
                    <a:lumMod val="50000"/>
                  </a:schemeClr>
                </a:solidFill>
                <a:latin typeface="Arial" panose="020B0604020202020204"/>
              </a:rPr>
              <a:t> </a:t>
            </a:r>
            <a:br>
              <a:rPr lang="en-GB" sz="1050" dirty="0">
                <a:solidFill>
                  <a:schemeClr val="bg1">
                    <a:lumMod val="50000"/>
                  </a:schemeClr>
                </a:solidFill>
                <a:latin typeface="Arial" panose="020B0604020202020204"/>
              </a:rPr>
            </a:br>
            <a:r>
              <a:rPr lang="en-GB" sz="2800" b="1" dirty="0">
                <a:solidFill>
                  <a:schemeClr val="accent1"/>
                </a:solidFill>
                <a:latin typeface="Arial" panose="020B0604020202020204"/>
              </a:rPr>
              <a:t>%88.9</a:t>
            </a:r>
            <a:r>
              <a:rPr lang="en-GB" sz="1600" dirty="0">
                <a:solidFill>
                  <a:schemeClr val="accent1"/>
                </a:solidFill>
                <a:latin typeface="Arial" panose="020B0604020202020204"/>
              </a:rPr>
              <a:t> </a:t>
            </a:r>
            <a:br>
              <a:rPr lang="en-GB" sz="1600" dirty="0">
                <a:solidFill>
                  <a:schemeClr val="bg1">
                    <a:lumMod val="50000"/>
                  </a:schemeClr>
                </a:solidFill>
                <a:latin typeface="Arial" panose="020B0604020202020204"/>
              </a:rPr>
            </a:br>
            <a:r>
              <a:rPr lang="en-GB" sz="1050" dirty="0">
                <a:solidFill>
                  <a:schemeClr val="bg1">
                    <a:lumMod val="50000"/>
                  </a:schemeClr>
                </a:solidFill>
                <a:latin typeface="Arial" panose="020B0604020202020204"/>
              </a:rPr>
              <a:t>(53.6-98.7)</a:t>
            </a:r>
            <a:r>
              <a:rPr lang="en-GB" sz="1050" baseline="30000" dirty="0">
                <a:solidFill>
                  <a:schemeClr val="bg1">
                    <a:lumMod val="50000"/>
                  </a:schemeClr>
                </a:solidFill>
                <a:latin typeface="Arial" panose="020B0604020202020204"/>
              </a:rPr>
              <a:t> </a:t>
            </a:r>
          </a:p>
          <a:p>
            <a:pPr algn="ctr" defTabSz="342797">
              <a:spcAft>
                <a:spcPts val="900"/>
              </a:spcAft>
              <a:defRPr/>
            </a:pPr>
            <a:r>
              <a:rPr lang="en-GB" sz="1000" dirty="0" err="1">
                <a:solidFill>
                  <a:schemeClr val="bg1">
                    <a:lumMod val="50000"/>
                  </a:schemeClr>
                </a:solidFill>
                <a:latin typeface="Arial" panose="020B0604020202020204"/>
              </a:rPr>
              <a:t>Aşı</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etkinliği</a:t>
            </a:r>
            <a:r>
              <a:rPr lang="en-GB" sz="1000" dirty="0">
                <a:solidFill>
                  <a:schemeClr val="bg1">
                    <a:lumMod val="50000"/>
                  </a:schemeClr>
                </a:solidFill>
                <a:latin typeface="Arial" panose="020B0604020202020204"/>
              </a:rPr>
              <a:t> RSV-ASYH </a:t>
            </a:r>
            <a:r>
              <a:rPr lang="en-GB" sz="1000" dirty="0" err="1">
                <a:solidFill>
                  <a:schemeClr val="bg1">
                    <a:lumMod val="50000"/>
                  </a:schemeClr>
                </a:solidFill>
                <a:latin typeface="Arial" panose="020B0604020202020204"/>
              </a:rPr>
              <a:t>ile</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en</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az</a:t>
            </a:r>
            <a:r>
              <a:rPr lang="en-GB" sz="1000" dirty="0">
                <a:solidFill>
                  <a:schemeClr val="bg1">
                    <a:lumMod val="50000"/>
                  </a:schemeClr>
                </a:solidFill>
                <a:latin typeface="Arial" panose="020B0604020202020204"/>
              </a:rPr>
              <a:t> 2 </a:t>
            </a:r>
            <a:r>
              <a:rPr lang="en-GB" sz="1000" dirty="0" err="1">
                <a:solidFill>
                  <a:schemeClr val="bg1">
                    <a:lumMod val="50000"/>
                  </a:schemeClr>
                </a:solidFill>
                <a:latin typeface="Arial" panose="020B0604020202020204"/>
              </a:rPr>
              <a:t>belirti</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veya</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semptom</a:t>
            </a:r>
            <a:br>
              <a:rPr lang="en-GB" sz="1000" dirty="0">
                <a:solidFill>
                  <a:schemeClr val="bg1">
                    <a:lumMod val="50000"/>
                  </a:schemeClr>
                </a:solidFill>
                <a:latin typeface="Arial" panose="020B0604020202020204"/>
              </a:rPr>
            </a:br>
            <a:r>
              <a:rPr lang="en-GB" sz="1400" b="1" dirty="0">
                <a:solidFill>
                  <a:schemeClr val="bg1">
                    <a:lumMod val="50000"/>
                  </a:schemeClr>
                </a:solidFill>
                <a:latin typeface="Arial" panose="020B0604020202020204"/>
              </a:rPr>
              <a:t>%65.1</a:t>
            </a:r>
            <a:r>
              <a:rPr lang="en-GB" sz="1000" dirty="0">
                <a:solidFill>
                  <a:schemeClr val="bg1">
                    <a:lumMod val="50000"/>
                  </a:schemeClr>
                </a:solidFill>
                <a:latin typeface="Arial" panose="020B0604020202020204"/>
              </a:rPr>
              <a:t> (35.9–82)</a:t>
            </a:r>
            <a:r>
              <a:rPr lang="en-GB" sz="1000" baseline="30000" dirty="0">
                <a:solidFill>
                  <a:schemeClr val="bg1">
                    <a:lumMod val="50000"/>
                  </a:schemeClr>
                </a:solidFill>
                <a:latin typeface="Arial" panose="020B0604020202020204"/>
              </a:rPr>
              <a:t>1</a:t>
            </a:r>
          </a:p>
        </p:txBody>
      </p:sp>
      <p:sp>
        <p:nvSpPr>
          <p:cNvPr id="52" name="Rectangle 51">
            <a:extLst>
              <a:ext uri="{FF2B5EF4-FFF2-40B4-BE49-F238E27FC236}">
                <a16:creationId xmlns:a16="http://schemas.microsoft.com/office/drawing/2014/main" id="{5C8E950B-EF16-56DD-6610-351F1247212B}"/>
              </a:ext>
            </a:extLst>
          </p:cNvPr>
          <p:cNvSpPr/>
          <p:nvPr/>
        </p:nvSpPr>
        <p:spPr>
          <a:xfrm>
            <a:off x="5979466" y="3522599"/>
            <a:ext cx="1913629" cy="1994156"/>
          </a:xfrm>
          <a:prstGeom prst="rect">
            <a:avLst/>
          </a:prstGeom>
          <a:noFill/>
          <a:ln w="25400" cap="flat">
            <a:solidFill>
              <a:schemeClr val="accent5"/>
            </a:solidFill>
            <a:prstDash val="solid"/>
            <a:miter lim="800000"/>
            <a:headEnd/>
            <a:tailEnd type="oval" w="med" len="med"/>
          </a:ln>
          <a:effectLst/>
        </p:spPr>
        <p:txBody>
          <a:bodyPr wrap="square" lIns="80979" tIns="80979" rIns="80979" bIns="80979" anchor="ctr">
            <a:noAutofit/>
          </a:bodyPr>
          <a:lstStyle/>
          <a:p>
            <a:pPr algn="ctr" defTabSz="342797">
              <a:spcAft>
                <a:spcPts val="900"/>
              </a:spcAft>
              <a:defRPr/>
            </a:pPr>
            <a:r>
              <a:rPr lang="en-GB" sz="1050" dirty="0" err="1">
                <a:solidFill>
                  <a:schemeClr val="bg1">
                    <a:lumMod val="50000"/>
                  </a:schemeClr>
                </a:solidFill>
                <a:latin typeface="Arial" panose="020B0604020202020204"/>
              </a:rPr>
              <a:t>Aşı</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etkinliği</a:t>
            </a:r>
            <a:r>
              <a:rPr lang="en-GB" sz="1050" dirty="0">
                <a:solidFill>
                  <a:schemeClr val="bg1">
                    <a:lumMod val="50000"/>
                  </a:schemeClr>
                </a:solidFill>
                <a:latin typeface="Arial" panose="020B0604020202020204"/>
              </a:rPr>
              <a:t> RSV-ASYH </a:t>
            </a:r>
            <a:r>
              <a:rPr lang="en-GB" sz="1050" u="sng" dirty="0" err="1">
                <a:solidFill>
                  <a:schemeClr val="bg1">
                    <a:lumMod val="50000"/>
                  </a:schemeClr>
                </a:solidFill>
                <a:latin typeface="Arial" panose="020B0604020202020204"/>
              </a:rPr>
              <a:t>ile</a:t>
            </a:r>
            <a:r>
              <a:rPr lang="en-GB" sz="1050" u="sng" dirty="0">
                <a:solidFill>
                  <a:schemeClr val="bg1">
                    <a:lumMod val="50000"/>
                  </a:schemeClr>
                </a:solidFill>
                <a:latin typeface="Arial" panose="020B0604020202020204"/>
              </a:rPr>
              <a:t> </a:t>
            </a:r>
            <a:r>
              <a:rPr lang="en-GB" sz="1050" u="sng" dirty="0" err="1">
                <a:solidFill>
                  <a:schemeClr val="bg1">
                    <a:lumMod val="50000"/>
                  </a:schemeClr>
                </a:solidFill>
                <a:latin typeface="Arial" panose="020B0604020202020204"/>
              </a:rPr>
              <a:t>en</a:t>
            </a:r>
            <a:r>
              <a:rPr lang="en-GB" sz="1050" u="sng" dirty="0">
                <a:solidFill>
                  <a:schemeClr val="bg1">
                    <a:lumMod val="50000"/>
                  </a:schemeClr>
                </a:solidFill>
                <a:latin typeface="Arial" panose="020B0604020202020204"/>
              </a:rPr>
              <a:t> </a:t>
            </a:r>
            <a:r>
              <a:rPr lang="en-GB" sz="1050" u="sng" dirty="0" err="1">
                <a:solidFill>
                  <a:schemeClr val="bg1">
                    <a:lumMod val="50000"/>
                  </a:schemeClr>
                </a:solidFill>
                <a:latin typeface="Arial" panose="020B0604020202020204"/>
              </a:rPr>
              <a:t>az</a:t>
            </a:r>
            <a:r>
              <a:rPr lang="en-GB" sz="1050" u="sng" dirty="0">
                <a:solidFill>
                  <a:schemeClr val="bg1">
                    <a:lumMod val="50000"/>
                  </a:schemeClr>
                </a:solidFill>
                <a:latin typeface="Arial" panose="020B0604020202020204"/>
              </a:rPr>
              <a:t> 3 </a:t>
            </a:r>
            <a:r>
              <a:rPr lang="en-GB" sz="1050" dirty="0" err="1">
                <a:solidFill>
                  <a:schemeClr val="bg1">
                    <a:lumMod val="50000"/>
                  </a:schemeClr>
                </a:solidFill>
                <a:latin typeface="Arial" panose="020B0604020202020204"/>
              </a:rPr>
              <a:t>belirti</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veya</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semptom</a:t>
            </a:r>
            <a:r>
              <a:rPr lang="en-GB" sz="1050" dirty="0">
                <a:solidFill>
                  <a:schemeClr val="bg1">
                    <a:lumMod val="50000"/>
                  </a:schemeClr>
                </a:solidFill>
                <a:latin typeface="Arial" panose="020B0604020202020204"/>
              </a:rPr>
              <a:t> </a:t>
            </a:r>
            <a:r>
              <a:rPr lang="en-GB" sz="2800" b="1" dirty="0">
                <a:solidFill>
                  <a:schemeClr val="bg1">
                    <a:lumMod val="50000"/>
                  </a:schemeClr>
                </a:solidFill>
                <a:latin typeface="Arial" panose="020B0604020202020204"/>
              </a:rPr>
              <a:t>%78.6</a:t>
            </a:r>
            <a:r>
              <a:rPr lang="en-GB" sz="1600" dirty="0">
                <a:solidFill>
                  <a:schemeClr val="bg1">
                    <a:lumMod val="50000"/>
                  </a:schemeClr>
                </a:solidFill>
                <a:latin typeface="Arial" panose="020B0604020202020204"/>
              </a:rPr>
              <a:t> </a:t>
            </a:r>
            <a:br>
              <a:rPr lang="en-GB" sz="1600" dirty="0">
                <a:solidFill>
                  <a:schemeClr val="bg1">
                    <a:lumMod val="50000"/>
                  </a:schemeClr>
                </a:solidFill>
                <a:latin typeface="Arial" panose="020B0604020202020204"/>
              </a:rPr>
            </a:br>
            <a:r>
              <a:rPr lang="en-GB" sz="1050" dirty="0">
                <a:solidFill>
                  <a:schemeClr val="bg1">
                    <a:lumMod val="50000"/>
                  </a:schemeClr>
                </a:solidFill>
                <a:latin typeface="Arial" panose="020B0604020202020204"/>
              </a:rPr>
              <a:t>(23.2–96.1)</a:t>
            </a:r>
            <a:r>
              <a:rPr lang="en-GB" sz="1050" baseline="30000" dirty="0">
                <a:solidFill>
                  <a:schemeClr val="bg1">
                    <a:lumMod val="50000"/>
                  </a:schemeClr>
                </a:solidFill>
                <a:latin typeface="Arial" panose="020B0604020202020204"/>
              </a:rPr>
              <a:t>3</a:t>
            </a:r>
          </a:p>
          <a:p>
            <a:pPr algn="ctr" defTabSz="342797">
              <a:spcAft>
                <a:spcPts val="900"/>
              </a:spcAft>
              <a:defRPr/>
            </a:pPr>
            <a:r>
              <a:rPr lang="en-GB" sz="1000" dirty="0" err="1">
                <a:solidFill>
                  <a:schemeClr val="bg1">
                    <a:lumMod val="50000"/>
                  </a:schemeClr>
                </a:solidFill>
                <a:latin typeface="Arial" panose="020B0604020202020204"/>
              </a:rPr>
              <a:t>Aşı</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etkinliği</a:t>
            </a:r>
            <a:r>
              <a:rPr lang="en-GB" sz="1000" dirty="0">
                <a:solidFill>
                  <a:schemeClr val="bg1">
                    <a:lumMod val="50000"/>
                  </a:schemeClr>
                </a:solidFill>
                <a:latin typeface="Arial" panose="020B0604020202020204"/>
              </a:rPr>
              <a:t> RSV-ASYH </a:t>
            </a:r>
            <a:r>
              <a:rPr lang="en-GB" sz="1000" dirty="0" err="1">
                <a:solidFill>
                  <a:schemeClr val="bg1">
                    <a:lumMod val="50000"/>
                  </a:schemeClr>
                </a:solidFill>
                <a:latin typeface="Arial" panose="020B0604020202020204"/>
              </a:rPr>
              <a:t>ile</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en</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az</a:t>
            </a:r>
            <a:r>
              <a:rPr lang="en-GB" sz="1000" dirty="0">
                <a:solidFill>
                  <a:schemeClr val="bg1">
                    <a:lumMod val="50000"/>
                  </a:schemeClr>
                </a:solidFill>
                <a:latin typeface="Arial" panose="020B0604020202020204"/>
              </a:rPr>
              <a:t> 2 </a:t>
            </a:r>
            <a:r>
              <a:rPr lang="en-GB" sz="1000" dirty="0" err="1">
                <a:solidFill>
                  <a:schemeClr val="bg1">
                    <a:lumMod val="50000"/>
                  </a:schemeClr>
                </a:solidFill>
                <a:latin typeface="Arial" panose="020B0604020202020204"/>
              </a:rPr>
              <a:t>belirti</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veya</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semptom</a:t>
            </a:r>
            <a:r>
              <a:rPr lang="en-GB" sz="1000" dirty="0">
                <a:solidFill>
                  <a:schemeClr val="bg1">
                    <a:lumMod val="50000"/>
                  </a:schemeClr>
                </a:solidFill>
                <a:latin typeface="Arial" panose="020B0604020202020204"/>
              </a:rPr>
              <a:t> </a:t>
            </a:r>
            <a:br>
              <a:rPr lang="en-GB" sz="1000" dirty="0">
                <a:solidFill>
                  <a:schemeClr val="bg1">
                    <a:lumMod val="50000"/>
                  </a:schemeClr>
                </a:solidFill>
                <a:latin typeface="Arial" panose="020B0604020202020204"/>
              </a:rPr>
            </a:br>
            <a:r>
              <a:rPr lang="en-GB" sz="1400" b="1" dirty="0">
                <a:solidFill>
                  <a:schemeClr val="bg1">
                    <a:lumMod val="50000"/>
                  </a:schemeClr>
                </a:solidFill>
                <a:latin typeface="Arial" panose="020B0604020202020204"/>
              </a:rPr>
              <a:t>%48.9</a:t>
            </a:r>
            <a:r>
              <a:rPr lang="en-GB" sz="1000" dirty="0">
                <a:solidFill>
                  <a:schemeClr val="bg1">
                    <a:lumMod val="50000"/>
                  </a:schemeClr>
                </a:solidFill>
                <a:latin typeface="Arial" panose="020B0604020202020204"/>
              </a:rPr>
              <a:t> ​(13.7–70.5)​</a:t>
            </a:r>
            <a:r>
              <a:rPr lang="en-GB" sz="1000" baseline="30000" dirty="0">
                <a:solidFill>
                  <a:schemeClr val="bg1">
                    <a:lumMod val="50000"/>
                  </a:schemeClr>
                </a:solidFill>
                <a:latin typeface="Arial" panose="020B0604020202020204"/>
              </a:rPr>
              <a:t>4,5</a:t>
            </a:r>
            <a:endParaRPr lang="en-GB" sz="1000" dirty="0">
              <a:solidFill>
                <a:schemeClr val="bg1">
                  <a:lumMod val="50000"/>
                </a:schemeClr>
              </a:solidFill>
              <a:latin typeface="Arial" panose="020B0604020202020204"/>
            </a:endParaRPr>
          </a:p>
        </p:txBody>
      </p:sp>
      <p:sp>
        <p:nvSpPr>
          <p:cNvPr id="53" name="Rectangle 52">
            <a:extLst>
              <a:ext uri="{FF2B5EF4-FFF2-40B4-BE49-F238E27FC236}">
                <a16:creationId xmlns:a16="http://schemas.microsoft.com/office/drawing/2014/main" id="{0910AC11-6C2D-568E-E474-58593880BC69}"/>
              </a:ext>
            </a:extLst>
          </p:cNvPr>
          <p:cNvSpPr/>
          <p:nvPr/>
        </p:nvSpPr>
        <p:spPr>
          <a:xfrm>
            <a:off x="8195153" y="3522599"/>
            <a:ext cx="1913629" cy="1994156"/>
          </a:xfrm>
          <a:prstGeom prst="rect">
            <a:avLst/>
          </a:prstGeom>
          <a:noFill/>
          <a:ln w="25400" cap="flat">
            <a:solidFill>
              <a:schemeClr val="accent2"/>
            </a:solidFill>
            <a:prstDash val="solid"/>
            <a:miter lim="800000"/>
            <a:headEnd/>
            <a:tailEnd type="oval" w="med" len="med"/>
          </a:ln>
          <a:effectLst/>
        </p:spPr>
        <p:txBody>
          <a:bodyPr wrap="square" lIns="80979" tIns="80979" rIns="80979" bIns="80979" anchor="ctr">
            <a:noAutofit/>
          </a:bodyPr>
          <a:lstStyle/>
          <a:p>
            <a:pPr algn="ctr" defTabSz="342797">
              <a:spcAft>
                <a:spcPts val="900"/>
              </a:spcAft>
              <a:defRPr/>
            </a:pPr>
            <a:r>
              <a:rPr lang="en-GB" sz="1050" dirty="0" err="1">
                <a:solidFill>
                  <a:schemeClr val="bg1">
                    <a:lumMod val="50000"/>
                  </a:schemeClr>
                </a:solidFill>
                <a:latin typeface="Arial" panose="020B0604020202020204"/>
              </a:rPr>
              <a:t>Aşı</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etkinliği</a:t>
            </a:r>
            <a:r>
              <a:rPr lang="en-GB" sz="1050" dirty="0">
                <a:solidFill>
                  <a:schemeClr val="bg1">
                    <a:lumMod val="50000"/>
                  </a:schemeClr>
                </a:solidFill>
                <a:latin typeface="Arial" panose="020B0604020202020204"/>
              </a:rPr>
              <a:t> RSV-ASYH </a:t>
            </a:r>
            <a:r>
              <a:rPr lang="en-GB" sz="1050" dirty="0" err="1">
                <a:solidFill>
                  <a:schemeClr val="bg1">
                    <a:lumMod val="50000"/>
                  </a:schemeClr>
                </a:solidFill>
                <a:latin typeface="Arial" panose="020B0604020202020204"/>
              </a:rPr>
              <a:t>ile</a:t>
            </a:r>
            <a:r>
              <a:rPr lang="en-GB" sz="1050" dirty="0">
                <a:solidFill>
                  <a:schemeClr val="bg1">
                    <a:lumMod val="50000"/>
                  </a:schemeClr>
                </a:solidFill>
                <a:latin typeface="Arial" panose="020B0604020202020204"/>
              </a:rPr>
              <a:t> </a:t>
            </a:r>
            <a:r>
              <a:rPr lang="en-GB" sz="1050" u="sng" dirty="0" err="1">
                <a:solidFill>
                  <a:schemeClr val="bg1">
                    <a:lumMod val="50000"/>
                  </a:schemeClr>
                </a:solidFill>
                <a:latin typeface="Arial" panose="020B0604020202020204"/>
              </a:rPr>
              <a:t>en</a:t>
            </a:r>
            <a:r>
              <a:rPr lang="en-GB" sz="1050" u="sng" dirty="0">
                <a:solidFill>
                  <a:schemeClr val="bg1">
                    <a:lumMod val="50000"/>
                  </a:schemeClr>
                </a:solidFill>
                <a:latin typeface="Arial" panose="020B0604020202020204"/>
              </a:rPr>
              <a:t> </a:t>
            </a:r>
            <a:r>
              <a:rPr lang="en-GB" sz="1050" u="sng" dirty="0" err="1">
                <a:solidFill>
                  <a:schemeClr val="bg1">
                    <a:lumMod val="50000"/>
                  </a:schemeClr>
                </a:solidFill>
                <a:latin typeface="Arial" panose="020B0604020202020204"/>
              </a:rPr>
              <a:t>az</a:t>
            </a:r>
            <a:r>
              <a:rPr lang="en-GB" sz="1050" u="sng" dirty="0">
                <a:solidFill>
                  <a:schemeClr val="bg1">
                    <a:lumMod val="50000"/>
                  </a:schemeClr>
                </a:solidFill>
                <a:latin typeface="Arial" panose="020B0604020202020204"/>
              </a:rPr>
              <a:t> 3</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belirti</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veya</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semptom</a:t>
            </a:r>
            <a:r>
              <a:rPr lang="en-GB" sz="1050" dirty="0">
                <a:solidFill>
                  <a:schemeClr val="bg1">
                    <a:lumMod val="50000"/>
                  </a:schemeClr>
                </a:solidFill>
                <a:latin typeface="Arial" panose="020B0604020202020204"/>
              </a:rPr>
              <a:t> </a:t>
            </a:r>
            <a:br>
              <a:rPr lang="en-GB" sz="1050" dirty="0">
                <a:solidFill>
                  <a:schemeClr val="bg1">
                    <a:lumMod val="50000"/>
                  </a:schemeClr>
                </a:solidFill>
                <a:latin typeface="Arial" panose="020B0604020202020204"/>
              </a:rPr>
            </a:br>
            <a:r>
              <a:rPr lang="en-GB" sz="2800" b="1" dirty="0">
                <a:solidFill>
                  <a:schemeClr val="accent1"/>
                </a:solidFill>
                <a:latin typeface="Arial" panose="020B0604020202020204"/>
              </a:rPr>
              <a:t>%77.8</a:t>
            </a:r>
            <a:r>
              <a:rPr lang="en-GB" sz="1600" dirty="0">
                <a:solidFill>
                  <a:schemeClr val="accent1"/>
                </a:solidFill>
                <a:latin typeface="Arial" panose="020B0604020202020204"/>
              </a:rPr>
              <a:t> </a:t>
            </a:r>
            <a:br>
              <a:rPr lang="en-GB" sz="1800" dirty="0">
                <a:solidFill>
                  <a:schemeClr val="bg1">
                    <a:lumMod val="50000"/>
                  </a:schemeClr>
                </a:solidFill>
                <a:latin typeface="Arial" panose="020B0604020202020204"/>
              </a:rPr>
            </a:br>
            <a:r>
              <a:rPr lang="en-GB" sz="1050" dirty="0">
                <a:solidFill>
                  <a:schemeClr val="bg1">
                    <a:lumMod val="50000"/>
                  </a:schemeClr>
                </a:solidFill>
                <a:latin typeface="Arial" panose="020B0604020202020204"/>
              </a:rPr>
              <a:t>(51.4–91.1)</a:t>
            </a:r>
            <a:r>
              <a:rPr lang="en-GB" sz="1050" baseline="30000" dirty="0">
                <a:solidFill>
                  <a:schemeClr val="bg1">
                    <a:lumMod val="50000"/>
                  </a:schemeClr>
                </a:solidFill>
                <a:latin typeface="Arial" panose="020B0604020202020204"/>
              </a:rPr>
              <a:t>5</a:t>
            </a:r>
          </a:p>
          <a:p>
            <a:pPr algn="ctr" defTabSz="342797">
              <a:spcAft>
                <a:spcPts val="900"/>
              </a:spcAft>
              <a:defRPr/>
            </a:pPr>
            <a:r>
              <a:rPr lang="en-GB" sz="1000" dirty="0" err="1">
                <a:solidFill>
                  <a:schemeClr val="bg1">
                    <a:lumMod val="50000"/>
                  </a:schemeClr>
                </a:solidFill>
                <a:latin typeface="Arial" panose="020B0604020202020204"/>
              </a:rPr>
              <a:t>Aşı</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etkinliği</a:t>
            </a:r>
            <a:r>
              <a:rPr lang="en-GB" sz="1000" dirty="0">
                <a:solidFill>
                  <a:schemeClr val="bg1">
                    <a:lumMod val="50000"/>
                  </a:schemeClr>
                </a:solidFill>
                <a:latin typeface="Arial" panose="020B0604020202020204"/>
              </a:rPr>
              <a:t> RSV-ASYH </a:t>
            </a:r>
            <a:r>
              <a:rPr lang="en-GB" sz="1000" dirty="0" err="1">
                <a:solidFill>
                  <a:schemeClr val="bg1">
                    <a:lumMod val="50000"/>
                  </a:schemeClr>
                </a:solidFill>
                <a:latin typeface="Arial" panose="020B0604020202020204"/>
              </a:rPr>
              <a:t>ile</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en</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az</a:t>
            </a:r>
            <a:r>
              <a:rPr lang="en-GB" sz="1000" dirty="0">
                <a:solidFill>
                  <a:schemeClr val="bg1">
                    <a:lumMod val="50000"/>
                  </a:schemeClr>
                </a:solidFill>
                <a:latin typeface="Arial" panose="020B0604020202020204"/>
              </a:rPr>
              <a:t> 2 </a:t>
            </a:r>
            <a:r>
              <a:rPr lang="en-GB" sz="1000" dirty="0" err="1">
                <a:solidFill>
                  <a:schemeClr val="bg1">
                    <a:lumMod val="50000"/>
                  </a:schemeClr>
                </a:solidFill>
                <a:latin typeface="Arial" panose="020B0604020202020204"/>
              </a:rPr>
              <a:t>belirti</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veya</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semptom</a:t>
            </a:r>
            <a:r>
              <a:rPr lang="en-GB" sz="1000" dirty="0">
                <a:solidFill>
                  <a:schemeClr val="bg1">
                    <a:lumMod val="50000"/>
                  </a:schemeClr>
                </a:solidFill>
                <a:latin typeface="Arial" panose="020B0604020202020204"/>
              </a:rPr>
              <a:t> </a:t>
            </a:r>
            <a:br>
              <a:rPr lang="en-GB" sz="1000" dirty="0">
                <a:solidFill>
                  <a:schemeClr val="bg1">
                    <a:lumMod val="50000"/>
                  </a:schemeClr>
                </a:solidFill>
                <a:latin typeface="Arial" panose="020B0604020202020204"/>
              </a:rPr>
            </a:br>
            <a:r>
              <a:rPr lang="en-GB" sz="1400" b="1" dirty="0">
                <a:solidFill>
                  <a:schemeClr val="bg1">
                    <a:lumMod val="50000"/>
                  </a:schemeClr>
                </a:solidFill>
                <a:latin typeface="Arial" panose="020B0604020202020204"/>
              </a:rPr>
              <a:t>%55.7</a:t>
            </a:r>
            <a:r>
              <a:rPr lang="en-GB" sz="1000" dirty="0">
                <a:solidFill>
                  <a:schemeClr val="bg1">
                    <a:lumMod val="50000"/>
                  </a:schemeClr>
                </a:solidFill>
                <a:latin typeface="Arial" panose="020B0604020202020204"/>
              </a:rPr>
              <a:t> (34.7–70.4)</a:t>
            </a:r>
            <a:r>
              <a:rPr lang="en-GB" sz="1000" baseline="30000" dirty="0">
                <a:solidFill>
                  <a:schemeClr val="bg1">
                    <a:lumMod val="50000"/>
                  </a:schemeClr>
                </a:solidFill>
                <a:latin typeface="Arial" panose="020B0604020202020204"/>
              </a:rPr>
              <a:t>6</a:t>
            </a:r>
            <a:endParaRPr lang="en-GB" sz="1000" dirty="0">
              <a:solidFill>
                <a:schemeClr val="bg1">
                  <a:lumMod val="50000"/>
                </a:schemeClr>
              </a:solidFill>
              <a:latin typeface="Arial" panose="020B0604020202020204"/>
            </a:endParaRPr>
          </a:p>
        </p:txBody>
      </p:sp>
      <p:pic>
        <p:nvPicPr>
          <p:cNvPr id="11" name="Picture 10" descr="Background pattern&#10;&#10;Description automatically generated with low confidence">
            <a:extLst>
              <a:ext uri="{FF2B5EF4-FFF2-40B4-BE49-F238E27FC236}">
                <a16:creationId xmlns:a16="http://schemas.microsoft.com/office/drawing/2014/main" id="{9CF0B81A-A4FF-436D-7D70-90D6C7663325}"/>
              </a:ext>
            </a:extLst>
          </p:cNvPr>
          <p:cNvPicPr>
            <a:picLocks noChangeAspect="1"/>
          </p:cNvPicPr>
          <p:nvPr/>
        </p:nvPicPr>
        <p:blipFill rotWithShape="1">
          <a:blip r:embed="rId8"/>
          <a:srcRect l="2283" t="87597" r="86627" b="5244"/>
          <a:stretch/>
        </p:blipFill>
        <p:spPr bwMode="gray">
          <a:xfrm>
            <a:off x="10348562" y="343456"/>
            <a:ext cx="1674631" cy="607987"/>
          </a:xfrm>
          <a:prstGeom prst="rect">
            <a:avLst/>
          </a:prstGeom>
        </p:spPr>
      </p:pic>
      <p:sp>
        <p:nvSpPr>
          <p:cNvPr id="12" name="Rectangle 11">
            <a:extLst>
              <a:ext uri="{FF2B5EF4-FFF2-40B4-BE49-F238E27FC236}">
                <a16:creationId xmlns:a16="http://schemas.microsoft.com/office/drawing/2014/main" id="{05E82B2F-F470-A369-ABAA-0E2AFE311903}"/>
              </a:ext>
            </a:extLst>
          </p:cNvPr>
          <p:cNvSpPr/>
          <p:nvPr/>
        </p:nvSpPr>
        <p:spPr>
          <a:xfrm>
            <a:off x="1409504" y="3286515"/>
            <a:ext cx="2218412" cy="2246682"/>
          </a:xfrm>
          <a:prstGeom prst="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4" name="Rectangle 13">
            <a:extLst>
              <a:ext uri="{FF2B5EF4-FFF2-40B4-BE49-F238E27FC236}">
                <a16:creationId xmlns:a16="http://schemas.microsoft.com/office/drawing/2014/main" id="{7DD22115-1DF8-47D7-7DF0-D80582852318}"/>
              </a:ext>
            </a:extLst>
          </p:cNvPr>
          <p:cNvSpPr/>
          <p:nvPr/>
        </p:nvSpPr>
        <p:spPr>
          <a:xfrm>
            <a:off x="5864224" y="3269985"/>
            <a:ext cx="2218412" cy="2411004"/>
          </a:xfrm>
          <a:prstGeom prst="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34" name="Picture 33" descr="A black and blue logo&#10;&#10;AI-generated content may be incorrect.">
            <a:extLst>
              <a:ext uri="{FF2B5EF4-FFF2-40B4-BE49-F238E27FC236}">
                <a16:creationId xmlns:a16="http://schemas.microsoft.com/office/drawing/2014/main" id="{98D40EA0-9600-9B1F-2823-15C6E2E7C321}"/>
              </a:ext>
            </a:extLst>
          </p:cNvPr>
          <p:cNvPicPr>
            <a:picLocks noChangeAspect="1"/>
          </p:cNvPicPr>
          <p:nvPr/>
        </p:nvPicPr>
        <p:blipFill>
          <a:blip r:embed="rId9"/>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372728923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t>ABRYSVO </a:t>
            </a:r>
            <a:r>
              <a:rPr dirty="0" err="1"/>
              <a:t>Etkinlik</a:t>
            </a:r>
            <a:r>
              <a:rPr dirty="0"/>
              <a:t> </a:t>
            </a:r>
            <a:r>
              <a:rPr dirty="0" err="1"/>
              <a:t>Verileri</a:t>
            </a:r>
            <a:endParaRPr dirty="0"/>
          </a:p>
        </p:txBody>
      </p:sp>
      <p:sp>
        <p:nvSpPr>
          <p:cNvPr id="3" name="Content Placeholder 2"/>
          <p:cNvSpPr>
            <a:spLocks noGrp="1"/>
          </p:cNvSpPr>
          <p:nvPr>
            <p:ph idx="4294967295"/>
          </p:nvPr>
        </p:nvSpPr>
        <p:spPr>
          <a:xfrm>
            <a:off x="613152" y="1563688"/>
            <a:ext cx="8229600" cy="4525962"/>
          </a:xfrm>
        </p:spPr>
        <p:txBody>
          <a:bodyPr vert="horz" lIns="91440" tIns="45720" rIns="91440" bIns="45720" rtlCol="0" anchor="ctr">
            <a:normAutofit fontScale="92500" lnSpcReduction="10000"/>
          </a:bodyPr>
          <a:lstStyle/>
          <a:p>
            <a:pPr>
              <a:lnSpc>
                <a:spcPct val="100000"/>
              </a:lnSpc>
              <a:spcBef>
                <a:spcPts val="1200"/>
              </a:spcBef>
              <a:spcAft>
                <a:spcPts val="1200"/>
              </a:spcAft>
            </a:pPr>
            <a:r>
              <a:rPr sz="3200" dirty="0"/>
              <a:t>RENOIR </a:t>
            </a:r>
            <a:r>
              <a:rPr sz="3200" dirty="0" err="1"/>
              <a:t>Çalışması</a:t>
            </a:r>
            <a:r>
              <a:rPr sz="3200" dirty="0"/>
              <a:t> (Pfizer):</a:t>
            </a:r>
          </a:p>
          <a:p>
            <a:pPr lvl="1">
              <a:lnSpc>
                <a:spcPct val="100000"/>
              </a:lnSpc>
              <a:spcBef>
                <a:spcPts val="1200"/>
              </a:spcBef>
              <a:spcAft>
                <a:spcPts val="1200"/>
              </a:spcAft>
            </a:pPr>
            <a:r>
              <a:rPr sz="3200" dirty="0"/>
              <a:t> 1. </a:t>
            </a:r>
            <a:r>
              <a:rPr sz="3200" dirty="0" err="1"/>
              <a:t>Sezon</a:t>
            </a:r>
            <a:r>
              <a:rPr sz="3200" dirty="0"/>
              <a:t> </a:t>
            </a:r>
            <a:r>
              <a:rPr sz="3200" dirty="0" err="1"/>
              <a:t>etkinlik</a:t>
            </a:r>
            <a:r>
              <a:rPr sz="3200" dirty="0"/>
              <a:t>: %</a:t>
            </a:r>
            <a:r>
              <a:rPr lang="tr-TR" sz="3200" dirty="0"/>
              <a:t> </a:t>
            </a:r>
            <a:r>
              <a:rPr sz="3200" dirty="0"/>
              <a:t>88,9</a:t>
            </a:r>
          </a:p>
          <a:p>
            <a:pPr lvl="1">
              <a:lnSpc>
                <a:spcPct val="100000"/>
              </a:lnSpc>
              <a:spcBef>
                <a:spcPts val="1200"/>
              </a:spcBef>
              <a:spcAft>
                <a:spcPts val="1200"/>
              </a:spcAft>
            </a:pPr>
            <a:r>
              <a:rPr sz="3200" dirty="0"/>
              <a:t>2. </a:t>
            </a:r>
            <a:r>
              <a:rPr sz="3200" dirty="0" err="1"/>
              <a:t>Sezon</a:t>
            </a:r>
            <a:r>
              <a:rPr sz="3200" dirty="0"/>
              <a:t> </a:t>
            </a:r>
            <a:r>
              <a:rPr sz="3200" dirty="0" err="1"/>
              <a:t>etkinlik</a:t>
            </a:r>
            <a:r>
              <a:rPr sz="3200" dirty="0"/>
              <a:t>: %</a:t>
            </a:r>
            <a:r>
              <a:rPr lang="tr-TR" sz="3200" dirty="0"/>
              <a:t> </a:t>
            </a:r>
            <a:r>
              <a:rPr sz="3200" dirty="0"/>
              <a:t>77,8</a:t>
            </a:r>
            <a:br>
              <a:rPr lang="en-US" sz="3200" dirty="0"/>
            </a:br>
            <a:endParaRPr sz="3200" dirty="0"/>
          </a:p>
          <a:p>
            <a:pPr>
              <a:lnSpc>
                <a:spcPct val="100000"/>
              </a:lnSpc>
              <a:spcBef>
                <a:spcPts val="1200"/>
              </a:spcBef>
              <a:spcAft>
                <a:spcPts val="1200"/>
              </a:spcAft>
            </a:pPr>
            <a:r>
              <a:rPr sz="3200" dirty="0"/>
              <a:t>Maternal </a:t>
            </a:r>
            <a:r>
              <a:rPr sz="3200" dirty="0" err="1"/>
              <a:t>kullanım</a:t>
            </a:r>
            <a:r>
              <a:rPr sz="3200" dirty="0"/>
              <a:t>: 32–36. </a:t>
            </a:r>
            <a:r>
              <a:rPr sz="3200" dirty="0" err="1"/>
              <a:t>haftalar</a:t>
            </a:r>
            <a:endParaRPr sz="3200" dirty="0"/>
          </a:p>
          <a:p>
            <a:pPr>
              <a:lnSpc>
                <a:spcPct val="100000"/>
              </a:lnSpc>
              <a:spcBef>
                <a:spcPts val="1200"/>
              </a:spcBef>
              <a:spcAft>
                <a:spcPts val="1200"/>
              </a:spcAft>
            </a:pPr>
            <a:endParaRPr sz="3200" dirty="0"/>
          </a:p>
          <a:p>
            <a:pPr>
              <a:lnSpc>
                <a:spcPct val="100000"/>
              </a:lnSpc>
              <a:spcBef>
                <a:spcPts val="1200"/>
              </a:spcBef>
              <a:spcAft>
                <a:spcPts val="1200"/>
              </a:spcAft>
            </a:pPr>
            <a:r>
              <a:rPr sz="1200" dirty="0"/>
              <a:t>Walsh EE et al., NEJM 2023.</a:t>
            </a:r>
          </a:p>
        </p:txBody>
      </p:sp>
      <p:pic>
        <p:nvPicPr>
          <p:cNvPr id="4" name="Picture 3" descr="Background pattern&#10;&#10;Description automatically generated with low confidence">
            <a:extLst>
              <a:ext uri="{FF2B5EF4-FFF2-40B4-BE49-F238E27FC236}">
                <a16:creationId xmlns:a16="http://schemas.microsoft.com/office/drawing/2014/main" id="{55F1A8A7-B7DB-11BB-587E-1D1F6DB55D30}"/>
              </a:ext>
            </a:extLst>
          </p:cNvPr>
          <p:cNvPicPr>
            <a:picLocks noChangeAspect="1"/>
          </p:cNvPicPr>
          <p:nvPr/>
        </p:nvPicPr>
        <p:blipFill rotWithShape="1">
          <a:blip r:embed="rId2"/>
          <a:srcRect l="2283" t="87597" r="86627" b="5244"/>
          <a:stretch/>
        </p:blipFill>
        <p:spPr bwMode="gray">
          <a:xfrm>
            <a:off x="10348562" y="343456"/>
            <a:ext cx="1674631" cy="607987"/>
          </a:xfrm>
          <a:prstGeom prst="rect">
            <a:avLst/>
          </a:prstGeom>
        </p:spPr>
      </p:pic>
      <p:pic>
        <p:nvPicPr>
          <p:cNvPr id="5" name="Picture 4" descr="A black and blue logo&#10;&#10;AI-generated content may be incorrect.">
            <a:extLst>
              <a:ext uri="{FF2B5EF4-FFF2-40B4-BE49-F238E27FC236}">
                <a16:creationId xmlns:a16="http://schemas.microsoft.com/office/drawing/2014/main" id="{062DEB92-EC86-2551-2AFA-E3BF3D765437}"/>
              </a:ext>
            </a:extLst>
          </p:cNvPr>
          <p:cNvPicPr>
            <a:picLocks noChangeAspect="1"/>
          </p:cNvPicPr>
          <p:nvPr/>
        </p:nvPicPr>
        <p:blipFill>
          <a:blip r:embed="rId3"/>
          <a:stretch>
            <a:fillRect/>
          </a:stretch>
        </p:blipFill>
        <p:spPr>
          <a:xfrm>
            <a:off x="10371153" y="6494969"/>
            <a:ext cx="981021" cy="204067"/>
          </a:xfrm>
          <a:prstGeom prst="rect">
            <a:avLst/>
          </a:prstGeom>
        </p:spPr>
      </p:pic>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8">
            <a:extLst>
              <a:ext uri="{FF2B5EF4-FFF2-40B4-BE49-F238E27FC236}">
                <a16:creationId xmlns:a16="http://schemas.microsoft.com/office/drawing/2014/main" id="{5A61B7A0-BA4F-B437-D219-58CC6BCFC9DE}"/>
              </a:ext>
            </a:extLst>
          </p:cNvPr>
          <p:cNvGraphicFramePr>
            <a:graphicFrameLocks noGrp="1"/>
          </p:cNvGraphicFramePr>
          <p:nvPr>
            <p:extLst>
              <p:ext uri="{D42A27DB-BD31-4B8C-83A1-F6EECF244321}">
                <p14:modId xmlns:p14="http://schemas.microsoft.com/office/powerpoint/2010/main" val="1716902240"/>
              </p:ext>
            </p:extLst>
          </p:nvPr>
        </p:nvGraphicFramePr>
        <p:xfrm>
          <a:off x="613152" y="1552610"/>
          <a:ext cx="11054974" cy="3604829"/>
        </p:xfrm>
        <a:graphic>
          <a:graphicData uri="http://schemas.openxmlformats.org/drawingml/2006/table">
            <a:tbl>
              <a:tblPr firstRow="1" bandRow="1"/>
              <a:tblGrid>
                <a:gridCol w="1642381">
                  <a:extLst>
                    <a:ext uri="{9D8B030D-6E8A-4147-A177-3AD203B41FA5}">
                      <a16:colId xmlns:a16="http://schemas.microsoft.com/office/drawing/2014/main" val="3842889190"/>
                    </a:ext>
                  </a:extLst>
                </a:gridCol>
                <a:gridCol w="1642381">
                  <a:extLst>
                    <a:ext uri="{9D8B030D-6E8A-4147-A177-3AD203B41FA5}">
                      <a16:colId xmlns:a16="http://schemas.microsoft.com/office/drawing/2014/main" val="949887128"/>
                    </a:ext>
                  </a:extLst>
                </a:gridCol>
                <a:gridCol w="821192">
                  <a:extLst>
                    <a:ext uri="{9D8B030D-6E8A-4147-A177-3AD203B41FA5}">
                      <a16:colId xmlns:a16="http://schemas.microsoft.com/office/drawing/2014/main" val="1426629180"/>
                    </a:ext>
                  </a:extLst>
                </a:gridCol>
                <a:gridCol w="821192">
                  <a:extLst>
                    <a:ext uri="{9D8B030D-6E8A-4147-A177-3AD203B41FA5}">
                      <a16:colId xmlns:a16="http://schemas.microsoft.com/office/drawing/2014/main" val="3152515175"/>
                    </a:ext>
                  </a:extLst>
                </a:gridCol>
                <a:gridCol w="4479223">
                  <a:extLst>
                    <a:ext uri="{9D8B030D-6E8A-4147-A177-3AD203B41FA5}">
                      <a16:colId xmlns:a16="http://schemas.microsoft.com/office/drawing/2014/main" val="1236166454"/>
                    </a:ext>
                  </a:extLst>
                </a:gridCol>
                <a:gridCol w="1648605">
                  <a:extLst>
                    <a:ext uri="{9D8B030D-6E8A-4147-A177-3AD203B41FA5}">
                      <a16:colId xmlns:a16="http://schemas.microsoft.com/office/drawing/2014/main" val="2056189396"/>
                    </a:ext>
                  </a:extLst>
                </a:gridCol>
              </a:tblGrid>
              <a:tr h="276362">
                <a:tc rowSpan="2"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mn-lt"/>
                        </a:rPr>
                        <a:t>B</a:t>
                      </a:r>
                      <a:r>
                        <a:rPr lang="tr-TR" sz="1100" b="1">
                          <a:solidFill>
                            <a:schemeClr val="bg1"/>
                          </a:solidFill>
                          <a:latin typeface="+mn-lt"/>
                        </a:rPr>
                        <a:t>İ</a:t>
                      </a:r>
                      <a:r>
                        <a:rPr lang="en-US" sz="1100" b="1">
                          <a:solidFill>
                            <a:schemeClr val="bg1"/>
                          </a:solidFill>
                          <a:latin typeface="+mn-lt"/>
                        </a:rPr>
                        <a:t>R</a:t>
                      </a:r>
                      <a:r>
                        <a:rPr lang="tr-TR" sz="1100" b="1">
                          <a:solidFill>
                            <a:schemeClr val="bg1"/>
                          </a:solidFill>
                          <a:latin typeface="+mn-lt"/>
                        </a:rPr>
                        <a:t>İ</a:t>
                      </a:r>
                      <a:r>
                        <a:rPr lang="en-US" sz="1100" b="1">
                          <a:solidFill>
                            <a:schemeClr val="bg1"/>
                          </a:solidFill>
                          <a:latin typeface="+mn-lt"/>
                        </a:rPr>
                        <a:t>NC</a:t>
                      </a:r>
                      <a:r>
                        <a:rPr lang="tr-TR" sz="1100" b="1">
                          <a:solidFill>
                            <a:schemeClr val="bg1"/>
                          </a:solidFill>
                          <a:latin typeface="+mn-lt"/>
                        </a:rPr>
                        <a:t>İ</a:t>
                      </a:r>
                      <a:r>
                        <a:rPr lang="en-US" sz="1100" b="1">
                          <a:solidFill>
                            <a:schemeClr val="bg1"/>
                          </a:solidFill>
                          <a:latin typeface="+mn-lt"/>
                        </a:rPr>
                        <a:t>L SONLANIM NOKTASI: ≥3 </a:t>
                      </a:r>
                      <a:r>
                        <a:rPr lang="en-US" sz="1100" b="1" err="1">
                          <a:solidFill>
                            <a:schemeClr val="bg1"/>
                          </a:solidFill>
                          <a:latin typeface="+mn-lt"/>
                        </a:rPr>
                        <a:t>semptomlu</a:t>
                      </a:r>
                      <a:r>
                        <a:rPr lang="en-US" sz="1100" b="1">
                          <a:solidFill>
                            <a:schemeClr val="bg1"/>
                          </a:solidFill>
                          <a:latin typeface="+mn-lt"/>
                        </a:rPr>
                        <a:t> RSV-ASYH</a:t>
                      </a:r>
                    </a:p>
                  </a:txBody>
                  <a:tcPr marL="68562" marR="68562" marT="34281" marB="34281" anchor="ctr">
                    <a:lnL w="12700" cmpd="sng">
                      <a:noFill/>
                      <a:prstDash val="soli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rowSpan="2" hMerge="1">
                  <a:txBody>
                    <a:bodyPr/>
                    <a:lstStyle/>
                    <a:p>
                      <a:pPr>
                        <a:lnSpc>
                          <a:spcPct val="100000"/>
                        </a:lnSpc>
                      </a:pPr>
                      <a:endParaRPr lang="en-US" sz="14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mn-lt"/>
                        </a:rPr>
                        <a:t>Olay </a:t>
                      </a:r>
                      <a:r>
                        <a:rPr lang="en-US" sz="1100" b="1" err="1">
                          <a:solidFill>
                            <a:schemeClr val="bg1"/>
                          </a:solidFill>
                          <a:latin typeface="+mn-lt"/>
                        </a:rPr>
                        <a:t>Sayısı</a:t>
                      </a:r>
                      <a:r>
                        <a:rPr lang="en-US" sz="1100" b="1">
                          <a:solidFill>
                            <a:schemeClr val="bg1"/>
                          </a:solidFill>
                          <a:latin typeface="+mn-lt"/>
                        </a:rPr>
                        <a:t>*</a:t>
                      </a:r>
                    </a:p>
                  </a:txBody>
                  <a:tcPr marL="0" marR="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lnSpc>
                          <a:spcPct val="100000"/>
                        </a:lnSpc>
                      </a:pPr>
                      <a:endParaRPr lang="en-US" sz="12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pPr>
                      <a:endParaRPr lang="en-US" sz="1100" b="1">
                        <a:solidFill>
                          <a:schemeClr val="bg1"/>
                        </a:solidFill>
                        <a:latin typeface="+mn-lt"/>
                      </a:endParaRPr>
                    </a:p>
                  </a:txBody>
                  <a:tcPr marL="68562" marR="68562"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rowSpan="2">
                  <a:txBody>
                    <a:bodyPr/>
                    <a:lstStyle/>
                    <a:p>
                      <a:pPr algn="ctr"/>
                      <a:r>
                        <a:rPr lang="en-US" sz="1100" b="1" err="1">
                          <a:solidFill>
                            <a:schemeClr val="bg1"/>
                          </a:solidFill>
                          <a:latin typeface="+mn-lt"/>
                        </a:rPr>
                        <a:t>Aşı</a:t>
                      </a:r>
                      <a:r>
                        <a:rPr lang="en-US" sz="1100" b="1">
                          <a:solidFill>
                            <a:schemeClr val="bg1"/>
                          </a:solidFill>
                          <a:latin typeface="+mn-lt"/>
                        </a:rPr>
                        <a:t> </a:t>
                      </a:r>
                      <a:r>
                        <a:rPr lang="en-US" sz="1100" b="1" err="1">
                          <a:solidFill>
                            <a:schemeClr val="bg1"/>
                          </a:solidFill>
                          <a:latin typeface="+mn-lt"/>
                        </a:rPr>
                        <a:t>Etkinliği</a:t>
                      </a:r>
                      <a:br>
                        <a:rPr lang="en-US" sz="1100" b="1">
                          <a:solidFill>
                            <a:schemeClr val="bg1"/>
                          </a:solidFill>
                          <a:latin typeface="+mn-lt"/>
                        </a:rPr>
                      </a:br>
                      <a:r>
                        <a:rPr lang="en-US" sz="1100" b="0">
                          <a:solidFill>
                            <a:schemeClr val="bg1"/>
                          </a:solidFill>
                          <a:latin typeface="+mn-lt"/>
                        </a:rPr>
                        <a:t>(%95 CI)</a:t>
                      </a:r>
                    </a:p>
                  </a:txBody>
                  <a:tcPr marL="68562" marR="68562" marT="34281" marB="34281" anchor="ctr">
                    <a:lnL w="19050" cap="flat" cmpd="sng" algn="ctr">
                      <a:noFill/>
                      <a:prstDash val="solid"/>
                      <a:round/>
                      <a:headEnd type="none" w="med" len="med"/>
                      <a:tailEnd type="none" w="med" len="med"/>
                    </a:lnL>
                    <a:lnR w="12700" cmpd="sng">
                      <a:noFill/>
                      <a:prstDash val="soli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027851128"/>
                  </a:ext>
                </a:extLst>
              </a:tr>
              <a:tr h="240700">
                <a:tc gridSpan="2"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a:p>
                  </a:txBody>
                  <a:tcPr anchor="ctr">
                    <a:lnL w="12700" cmpd="sng">
                      <a:noFill/>
                      <a:prstDash val="soli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vMerge="1">
                  <a:txBody>
                    <a:bodyPr/>
                    <a:lstStyle/>
                    <a:p>
                      <a:pPr>
                        <a:lnSpc>
                          <a:spcPct val="100000"/>
                        </a:lnSpc>
                      </a:pPr>
                      <a:endParaRPr lang="en-US" sz="14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bg1"/>
                          </a:solidFill>
                          <a:latin typeface="+mn-lt"/>
                        </a:rPr>
                        <a:t>RSVpreF</a:t>
                      </a:r>
                    </a:p>
                  </a:txBody>
                  <a:tcPr marL="0" marR="0" marT="34281" marB="3428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err="1">
                          <a:solidFill>
                            <a:schemeClr val="bg1"/>
                          </a:solidFill>
                          <a:latin typeface="+mn-lt"/>
                        </a:rPr>
                        <a:t>Plasebo</a:t>
                      </a:r>
                      <a:endParaRPr lang="en-US" sz="900">
                        <a:solidFill>
                          <a:schemeClr val="bg1"/>
                        </a:solidFill>
                        <a:latin typeface="+mn-lt"/>
                      </a:endParaRPr>
                    </a:p>
                  </a:txBody>
                  <a:tcPr marL="0" marR="0" marT="34281" marB="3428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vMerge="1">
                  <a:txBody>
                    <a:bodyPr/>
                    <a:lstStyle/>
                    <a:p>
                      <a:pPr algn="ctr">
                        <a:lnSpc>
                          <a:spcPct val="100000"/>
                        </a:lnSpc>
                      </a:pPr>
                      <a:endParaRPr lang="en-US" sz="1200" b="1">
                        <a:solidFill>
                          <a:schemeClr val="accent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r>
                        <a:rPr lang="en-US" sz="1200" b="1"/>
                        <a:t>Vaccine Efficacy</a:t>
                      </a:r>
                      <a:br>
                        <a:rPr lang="en-US" sz="1200" b="1"/>
                      </a:br>
                      <a:r>
                        <a:rPr lang="en-US" sz="1200" b="1"/>
                        <a:t>(95% CI)</a:t>
                      </a:r>
                    </a:p>
                  </a:txBody>
                  <a:tcPr anchor="ctr">
                    <a:lnL w="12700" cap="flat" cmpd="sng" algn="ctr">
                      <a:solidFill>
                        <a:schemeClr val="tx1"/>
                      </a:solid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635080"/>
                  </a:ext>
                </a:extLst>
              </a:tr>
              <a:tr h="32449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Genel </a:t>
                      </a:r>
                      <a:r>
                        <a:rPr lang="en-US" sz="1100" b="1" dirty="0" err="1">
                          <a:solidFill>
                            <a:schemeClr val="bg1"/>
                          </a:solidFill>
                          <a:latin typeface="+mn-lt"/>
                        </a:rPr>
                        <a:t>olarak</a:t>
                      </a:r>
                      <a:endParaRPr lang="en-US" sz="1100" b="1" dirty="0">
                        <a:solidFill>
                          <a:schemeClr val="bg1"/>
                        </a:solidFill>
                        <a:latin typeface="+mn-lt"/>
                      </a:endParaRPr>
                    </a:p>
                  </a:txBody>
                  <a:tcPr marL="68562" marR="68562" marT="54850" marB="54850" anchor="ctr">
                    <a:lnL w="12700" cmpd="sng">
                      <a:noFill/>
                      <a:prstDash val="soli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nSpc>
                          <a:spcPct val="100000"/>
                        </a:lnSpc>
                      </a:pPr>
                      <a:r>
                        <a:rPr lang="en-US" sz="1100" b="1" err="1">
                          <a:latin typeface="+mn-lt"/>
                        </a:rPr>
                        <a:t>Sezon</a:t>
                      </a:r>
                      <a:r>
                        <a:rPr lang="en-US" sz="1100" b="1">
                          <a:latin typeface="+mn-lt"/>
                        </a:rPr>
                        <a:t> 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mn-lt"/>
                        </a:rPr>
                        <a:t>18</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88.9 </a:t>
                      </a:r>
                      <a:r>
                        <a:rPr lang="en-US" sz="600" u="none" strike="noStrike" dirty="0">
                          <a:effectLst/>
                        </a:rPr>
                        <a:t>(53.6–98.7)</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882360"/>
                  </a:ext>
                </a:extLst>
              </a:tr>
              <a:tr h="32449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err="1">
                          <a:latin typeface="+mn-lt"/>
                        </a:rPr>
                        <a:t>Sezon</a:t>
                      </a:r>
                      <a:r>
                        <a:rPr lang="en-US" sz="1100" b="1">
                          <a:latin typeface="+mn-lt"/>
                        </a:rPr>
                        <a:t> 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8</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mn-lt"/>
                        </a:rPr>
                        <a:t>36</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77.8 </a:t>
                      </a:r>
                      <a:r>
                        <a:rPr lang="en-US" sz="600" u="none" strike="noStrike" dirty="0">
                          <a:effectLst/>
                        </a:rPr>
                        <a:t>(51.4–91.1)</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344495"/>
                  </a:ext>
                </a:extLst>
              </a:tr>
              <a:tr h="32449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a:latin typeface="+mn-lt"/>
                        </a:rPr>
                        <a:t>2 </a:t>
                      </a:r>
                      <a:r>
                        <a:rPr lang="en-US" sz="1100" b="1" err="1">
                          <a:latin typeface="+mn-lt"/>
                        </a:rPr>
                        <a:t>Sezon</a:t>
                      </a:r>
                      <a:r>
                        <a:rPr lang="en-US" sz="1100" b="1">
                          <a:latin typeface="+mn-lt"/>
                        </a:rPr>
                        <a:t> </a:t>
                      </a:r>
                      <a:r>
                        <a:rPr lang="en-US" sz="1100" b="1" err="1">
                          <a:latin typeface="+mn-lt"/>
                        </a:rPr>
                        <a:t>Boyunca</a:t>
                      </a:r>
                      <a:endParaRPr lang="en-US" sz="1100" b="1">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10</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mn-lt"/>
                        </a:rPr>
                        <a:t>54</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81.5 </a:t>
                      </a:r>
                      <a:r>
                        <a:rPr lang="en-US" sz="600" u="none" strike="noStrike" dirty="0">
                          <a:effectLst/>
                        </a:rPr>
                        <a:t>(63.3–91.6)</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3446319"/>
                  </a:ext>
                </a:extLst>
              </a:tr>
              <a:tr h="491815">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RSV-A</a:t>
                      </a:r>
                    </a:p>
                  </a:txBody>
                  <a:tcPr marL="68562" marR="68562" marT="54850" marB="54850" anchor="ctr">
                    <a:lnL w="12700" cmpd="sng">
                      <a:noFill/>
                      <a:prstDash val="soli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nSpc>
                          <a:spcPct val="100000"/>
                        </a:lnSpc>
                      </a:pPr>
                      <a:r>
                        <a:rPr lang="en-US" sz="1100" b="1" err="1">
                          <a:latin typeface="+mn-lt"/>
                        </a:rPr>
                        <a:t>Sezon</a:t>
                      </a:r>
                      <a:r>
                        <a:rPr lang="en-US" sz="1100" b="1">
                          <a:latin typeface="+mn-lt"/>
                        </a:rPr>
                        <a:t> 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mn-lt"/>
                        </a:rPr>
                        <a:t>5</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80.0 </a:t>
                      </a:r>
                      <a:r>
                        <a:rPr lang="en-US" sz="600" u="none" strike="noStrike" dirty="0">
                          <a:effectLst/>
                        </a:rPr>
                        <a:t>(-78.7–99.6)</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10415"/>
                  </a:ext>
                </a:extLst>
              </a:tr>
              <a:tr h="32449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100000"/>
                        </a:lnSpc>
                      </a:pPr>
                      <a:r>
                        <a:rPr lang="en-US" sz="1100" b="1" dirty="0" err="1">
                          <a:latin typeface="+mn-lt"/>
                        </a:rPr>
                        <a:t>Sezon</a:t>
                      </a:r>
                      <a:r>
                        <a:rPr lang="en-US" sz="1100" b="1" dirty="0">
                          <a:latin typeface="+mn-lt"/>
                        </a:rPr>
                        <a:t> 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5</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26</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80.8 </a:t>
                      </a:r>
                      <a:r>
                        <a:rPr lang="en-US" sz="600" u="none" strike="noStrike" dirty="0">
                          <a:effectLst/>
                        </a:rPr>
                        <a:t>(49.1–94.2)</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709677"/>
                  </a:ext>
                </a:extLst>
              </a:tr>
              <a:tr h="32449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a:latin typeface="+mn-lt"/>
                        </a:rPr>
                        <a:t>2 </a:t>
                      </a:r>
                      <a:r>
                        <a:rPr lang="en-US" sz="1100" b="1" err="1">
                          <a:latin typeface="+mn-lt"/>
                        </a:rPr>
                        <a:t>Sezon</a:t>
                      </a:r>
                      <a:r>
                        <a:rPr lang="en-US" sz="1100" b="1">
                          <a:latin typeface="+mn-lt"/>
                        </a:rPr>
                        <a:t> </a:t>
                      </a:r>
                      <a:r>
                        <a:rPr lang="en-US" sz="1100" b="1" err="1">
                          <a:latin typeface="+mn-lt"/>
                        </a:rPr>
                        <a:t>Boyunca</a:t>
                      </a:r>
                      <a:endParaRPr lang="en-US" sz="1100" b="1">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6</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3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80.6 </a:t>
                      </a:r>
                      <a:r>
                        <a:rPr lang="en-US" sz="600" u="none" strike="noStrike" dirty="0">
                          <a:effectLst/>
                        </a:rPr>
                        <a:t>(52.9–93.4)</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2065510"/>
                  </a:ext>
                </a:extLst>
              </a:tr>
              <a:tr h="32449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RSV-B</a:t>
                      </a:r>
                    </a:p>
                  </a:txBody>
                  <a:tcPr marL="68562" marR="68562" marT="54850" marB="54850" anchor="ctr">
                    <a:lnL w="12700" cmpd="sng">
                      <a:noFill/>
                      <a:prstDash val="soli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nSpc>
                          <a:spcPct val="100000"/>
                        </a:lnSpc>
                      </a:pPr>
                      <a:r>
                        <a:rPr lang="en-US" sz="1100" b="1" err="1">
                          <a:latin typeface="+mn-lt"/>
                        </a:rPr>
                        <a:t>Sezon</a:t>
                      </a:r>
                      <a:r>
                        <a:rPr lang="en-US" sz="1100" b="1">
                          <a:latin typeface="+mn-lt"/>
                        </a:rPr>
                        <a:t> 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1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91.7 </a:t>
                      </a:r>
                      <a:r>
                        <a:rPr lang="en-US" sz="600" u="none" strike="noStrike" dirty="0">
                          <a:effectLst/>
                        </a:rPr>
                        <a:t>(43.7–99.8)</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5184104"/>
                  </a:ext>
                </a:extLst>
              </a:tr>
              <a:tr h="32449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err="1">
                          <a:latin typeface="+mn-lt"/>
                        </a:rPr>
                        <a:t>Sezon</a:t>
                      </a:r>
                      <a:r>
                        <a:rPr lang="en-US" sz="1100" b="1">
                          <a:latin typeface="+mn-lt"/>
                        </a:rPr>
                        <a:t> 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10</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80.0 </a:t>
                      </a:r>
                      <a:r>
                        <a:rPr lang="en-US" sz="600" u="none" strike="noStrike" dirty="0">
                          <a:effectLst/>
                        </a:rPr>
                        <a:t>(6.1–97.9)</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6630369"/>
                  </a:ext>
                </a:extLst>
              </a:tr>
              <a:tr h="32449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a:latin typeface="+mn-lt"/>
                        </a:rPr>
                        <a:t>2 </a:t>
                      </a:r>
                      <a:r>
                        <a:rPr lang="en-US" sz="1100" b="1" err="1">
                          <a:latin typeface="+mn-lt"/>
                        </a:rPr>
                        <a:t>Sezon</a:t>
                      </a:r>
                      <a:r>
                        <a:rPr lang="en-US" sz="1100" b="1">
                          <a:latin typeface="+mn-lt"/>
                        </a:rPr>
                        <a:t> </a:t>
                      </a:r>
                      <a:r>
                        <a:rPr lang="en-US" sz="1100" b="1" err="1">
                          <a:latin typeface="+mn-lt"/>
                        </a:rPr>
                        <a:t>Boyunca</a:t>
                      </a:r>
                      <a:endParaRPr lang="en-US" sz="1100" b="1">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3</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2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86.4</a:t>
                      </a:r>
                      <a:r>
                        <a:rPr lang="en-US" sz="1100" u="none" strike="noStrike" dirty="0">
                          <a:effectLst/>
                        </a:rPr>
                        <a:t> </a:t>
                      </a:r>
                      <a:r>
                        <a:rPr lang="en-US" sz="600" u="none" strike="noStrike" dirty="0">
                          <a:effectLst/>
                        </a:rPr>
                        <a:t>(54.6–97.4)</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4681105"/>
                  </a:ext>
                </a:extLst>
              </a:tr>
            </a:tbl>
          </a:graphicData>
        </a:graphic>
      </p:graphicFrame>
      <p:graphicFrame>
        <p:nvGraphicFramePr>
          <p:cNvPr id="20" name="Chart 19">
            <a:extLst>
              <a:ext uri="{FF2B5EF4-FFF2-40B4-BE49-F238E27FC236}">
                <a16:creationId xmlns:a16="http://schemas.microsoft.com/office/drawing/2014/main" id="{5F0F8FE9-6B71-848C-258E-8A9B0BC4B74A}"/>
              </a:ext>
            </a:extLst>
          </p:cNvPr>
          <p:cNvGraphicFramePr/>
          <p:nvPr>
            <p:extLst>
              <p:ext uri="{D42A27DB-BD31-4B8C-83A1-F6EECF244321}">
                <p14:modId xmlns:p14="http://schemas.microsoft.com/office/powerpoint/2010/main" val="684874253"/>
              </p:ext>
            </p:extLst>
          </p:nvPr>
        </p:nvGraphicFramePr>
        <p:xfrm>
          <a:off x="5577026" y="1743074"/>
          <a:ext cx="4471849" cy="3971925"/>
        </p:xfrm>
        <a:graphic>
          <a:graphicData uri="http://schemas.openxmlformats.org/drawingml/2006/chart">
            <c:chart xmlns:c="http://schemas.openxmlformats.org/drawingml/2006/chart" xmlns:r="http://schemas.openxmlformats.org/officeDocument/2006/relationships" r:id="rId3"/>
          </a:graphicData>
        </a:graphic>
      </p:graphicFrame>
      <p:sp>
        <p:nvSpPr>
          <p:cNvPr id="12" name="Title 11">
            <a:extLst>
              <a:ext uri="{FF2B5EF4-FFF2-40B4-BE49-F238E27FC236}">
                <a16:creationId xmlns:a16="http://schemas.microsoft.com/office/drawing/2014/main" id="{61D3040B-DE86-ABA8-3E23-8FD05953266F}"/>
              </a:ext>
            </a:extLst>
          </p:cNvPr>
          <p:cNvSpPr>
            <a:spLocks noGrp="1"/>
          </p:cNvSpPr>
          <p:nvPr>
            <p:ph type="title"/>
          </p:nvPr>
        </p:nvSpPr>
        <p:spPr>
          <a:xfrm>
            <a:off x="613152" y="195684"/>
            <a:ext cx="10071655" cy="842156"/>
          </a:xfrm>
        </p:spPr>
        <p:txBody>
          <a:bodyPr/>
          <a:lstStyle/>
          <a:p>
            <a:r>
              <a:rPr lang="en-US" dirty="0"/>
              <a:t>RSV </a:t>
            </a:r>
            <a:r>
              <a:rPr lang="en-US" dirty="0" err="1"/>
              <a:t>genelinde</a:t>
            </a:r>
            <a:r>
              <a:rPr lang="en-US" dirty="0"/>
              <a:t> </a:t>
            </a:r>
            <a:r>
              <a:rPr lang="en-US" dirty="0" err="1"/>
              <a:t>ve</a:t>
            </a:r>
            <a:r>
              <a:rPr lang="en-US" dirty="0"/>
              <a:t> A </a:t>
            </a:r>
            <a:r>
              <a:rPr lang="en-US" dirty="0" err="1"/>
              <a:t>ve</a:t>
            </a:r>
            <a:r>
              <a:rPr lang="en-US" dirty="0"/>
              <a:t> B alt </a:t>
            </a:r>
            <a:r>
              <a:rPr lang="en-US" dirty="0" err="1"/>
              <a:t>gruplarında</a:t>
            </a:r>
            <a:r>
              <a:rPr lang="en-US" dirty="0"/>
              <a:t> </a:t>
            </a:r>
            <a:r>
              <a:rPr lang="en-US" dirty="0" err="1"/>
              <a:t>tutarlı</a:t>
            </a:r>
            <a:r>
              <a:rPr lang="en-US" dirty="0"/>
              <a:t> </a:t>
            </a:r>
            <a:r>
              <a:rPr lang="en-US" dirty="0" err="1"/>
              <a:t>aşı</a:t>
            </a:r>
            <a:r>
              <a:rPr lang="en-US" dirty="0"/>
              <a:t> </a:t>
            </a:r>
            <a:r>
              <a:rPr lang="en-US" dirty="0" err="1"/>
              <a:t>etkinliği</a:t>
            </a:r>
            <a:r>
              <a:rPr lang="en-US" dirty="0"/>
              <a:t> </a:t>
            </a:r>
            <a:r>
              <a:rPr lang="en-US" dirty="0" err="1"/>
              <a:t>gözlenmiştir</a:t>
            </a:r>
            <a:endParaRPr lang="en-US" dirty="0"/>
          </a:p>
        </p:txBody>
      </p:sp>
      <p:sp>
        <p:nvSpPr>
          <p:cNvPr id="2" name="Slide Number Placeholder 1">
            <a:extLst>
              <a:ext uri="{FF2B5EF4-FFF2-40B4-BE49-F238E27FC236}">
                <a16:creationId xmlns:a16="http://schemas.microsoft.com/office/drawing/2014/main" id="{27E5FDDB-8277-F808-E0CB-884701049560}"/>
              </a:ext>
            </a:extLst>
          </p:cNvPr>
          <p:cNvSpPr>
            <a:spLocks noGrp="1"/>
          </p:cNvSpPr>
          <p:nvPr>
            <p:ph type="sldNum" sz="quarter" idx="4"/>
          </p:nvPr>
        </p:nvSpPr>
        <p:spPr/>
        <p:txBody>
          <a:bodyPr/>
          <a:lstStyle/>
          <a:p>
            <a:fld id="{8C13A29A-185B-4182-9583-7B13F1AC164D}" type="slidenum">
              <a:rPr lang="en-US"/>
              <a:pPr/>
              <a:t>85</a:t>
            </a:fld>
            <a:endParaRPr lang="en-US"/>
          </a:p>
        </p:txBody>
      </p:sp>
      <p:sp>
        <p:nvSpPr>
          <p:cNvPr id="13" name="Text Placeholder 12">
            <a:extLst>
              <a:ext uri="{FF2B5EF4-FFF2-40B4-BE49-F238E27FC236}">
                <a16:creationId xmlns:a16="http://schemas.microsoft.com/office/drawing/2014/main" id="{8C972FE6-3EB6-8857-3A7C-46A7820BAA24}"/>
              </a:ext>
            </a:extLst>
          </p:cNvPr>
          <p:cNvSpPr>
            <a:spLocks noGrp="1"/>
          </p:cNvSpPr>
          <p:nvPr>
            <p:ph type="body" sz="quarter" idx="4294967295"/>
          </p:nvPr>
        </p:nvSpPr>
        <p:spPr>
          <a:xfrm>
            <a:off x="469244" y="5991740"/>
            <a:ext cx="10215563" cy="358775"/>
          </a:xfrm>
        </p:spPr>
        <p:txBody>
          <a:bodyPr>
            <a:normAutofit fontScale="32500" lnSpcReduction="20000"/>
          </a:bodyPr>
          <a:lstStyle/>
          <a:p>
            <a:pPr marL="0" indent="0">
              <a:lnSpc>
                <a:spcPct val="120000"/>
              </a:lnSpc>
              <a:spcBef>
                <a:spcPts val="0"/>
              </a:spcBef>
              <a:buNone/>
            </a:pPr>
            <a:r>
              <a:rPr lang="en-US" dirty="0"/>
              <a:t>*ASYH </a:t>
            </a:r>
            <a:r>
              <a:rPr lang="en-US" dirty="0" err="1"/>
              <a:t>olaylarını</a:t>
            </a:r>
            <a:r>
              <a:rPr lang="en-US" dirty="0"/>
              <a:t> </a:t>
            </a:r>
            <a:r>
              <a:rPr lang="en-US" dirty="0" err="1"/>
              <a:t>temsil</a:t>
            </a:r>
            <a:r>
              <a:rPr lang="en-US" dirty="0"/>
              <a:t> </a:t>
            </a:r>
            <a:r>
              <a:rPr lang="en-US" dirty="0" err="1"/>
              <a:t>eder</a:t>
            </a:r>
            <a:r>
              <a:rPr lang="en-US" dirty="0"/>
              <a:t>. Bir S1 </a:t>
            </a:r>
            <a:r>
              <a:rPr lang="en-US" dirty="0" err="1"/>
              <a:t>vakası</a:t>
            </a:r>
            <a:r>
              <a:rPr lang="en-US" dirty="0"/>
              <a:t> </a:t>
            </a:r>
            <a:r>
              <a:rPr lang="en-US" dirty="0" err="1"/>
              <a:t>ve</a:t>
            </a:r>
            <a:r>
              <a:rPr lang="en-US" dirty="0"/>
              <a:t> </a:t>
            </a:r>
            <a:r>
              <a:rPr lang="en-US" dirty="0" err="1"/>
              <a:t>bir</a:t>
            </a:r>
            <a:r>
              <a:rPr lang="en-US" dirty="0"/>
              <a:t> S2 </a:t>
            </a:r>
            <a:r>
              <a:rPr lang="en-US" dirty="0" err="1"/>
              <a:t>vakası</a:t>
            </a:r>
            <a:r>
              <a:rPr lang="en-US" dirty="0"/>
              <a:t> (her </a:t>
            </a:r>
            <a:r>
              <a:rPr lang="en-US" dirty="0" err="1"/>
              <a:t>ikisi</a:t>
            </a:r>
            <a:r>
              <a:rPr lang="en-US" dirty="0"/>
              <a:t> de </a:t>
            </a:r>
            <a:r>
              <a:rPr lang="en-US" dirty="0" err="1"/>
              <a:t>plasebo</a:t>
            </a:r>
            <a:r>
              <a:rPr lang="en-US" dirty="0"/>
              <a:t> </a:t>
            </a:r>
            <a:r>
              <a:rPr lang="en-US" dirty="0" err="1"/>
              <a:t>grubunda</a:t>
            </a:r>
            <a:r>
              <a:rPr lang="en-US" dirty="0"/>
              <a:t>) </a:t>
            </a:r>
            <a:r>
              <a:rPr lang="en-US" dirty="0" err="1"/>
              <a:t>ve</a:t>
            </a:r>
            <a:r>
              <a:rPr lang="en-US" dirty="0"/>
              <a:t> </a:t>
            </a:r>
            <a:r>
              <a:rPr lang="en-US" dirty="0" err="1"/>
              <a:t>RSVPreF</a:t>
            </a:r>
            <a:r>
              <a:rPr lang="en-US" dirty="0"/>
              <a:t> </a:t>
            </a:r>
            <a:r>
              <a:rPr lang="en-US" dirty="0" err="1"/>
              <a:t>aşı</a:t>
            </a:r>
            <a:r>
              <a:rPr lang="en-US" dirty="0"/>
              <a:t> </a:t>
            </a:r>
            <a:r>
              <a:rPr lang="en-US" dirty="0" err="1"/>
              <a:t>grubundaki</a:t>
            </a:r>
            <a:r>
              <a:rPr lang="en-US" dirty="0"/>
              <a:t> </a:t>
            </a:r>
            <a:r>
              <a:rPr lang="en-US" dirty="0" err="1"/>
              <a:t>bir</a:t>
            </a:r>
            <a:r>
              <a:rPr lang="en-US" dirty="0"/>
              <a:t> S2 </a:t>
            </a:r>
            <a:r>
              <a:rPr lang="en-US" dirty="0" err="1"/>
              <a:t>vakası</a:t>
            </a:r>
            <a:r>
              <a:rPr lang="en-US" dirty="0"/>
              <a:t> RSV alt </a:t>
            </a:r>
            <a:r>
              <a:rPr lang="en-US" dirty="0" err="1"/>
              <a:t>grubu</a:t>
            </a:r>
            <a:r>
              <a:rPr lang="en-US" dirty="0"/>
              <a:t> </a:t>
            </a:r>
            <a:r>
              <a:rPr lang="en-US" dirty="0" err="1"/>
              <a:t>olmaksızın</a:t>
            </a:r>
            <a:r>
              <a:rPr lang="en-US" dirty="0"/>
              <a:t> </a:t>
            </a:r>
            <a:r>
              <a:rPr lang="en-US" dirty="0" err="1"/>
              <a:t>lokal</a:t>
            </a:r>
            <a:r>
              <a:rPr lang="en-US" dirty="0"/>
              <a:t> teste </a:t>
            </a:r>
            <a:r>
              <a:rPr lang="en-US" dirty="0" err="1"/>
              <a:t>dayanmaktadır</a:t>
            </a:r>
            <a:r>
              <a:rPr lang="en-US" dirty="0"/>
              <a:t>. </a:t>
            </a:r>
            <a:r>
              <a:rPr lang="en-US" dirty="0" err="1"/>
              <a:t>Plasebo</a:t>
            </a:r>
            <a:r>
              <a:rPr lang="en-US" dirty="0"/>
              <a:t> </a:t>
            </a:r>
            <a:r>
              <a:rPr lang="en-US" dirty="0" err="1"/>
              <a:t>grubundaki</a:t>
            </a:r>
            <a:r>
              <a:rPr lang="en-US" dirty="0"/>
              <a:t> </a:t>
            </a:r>
            <a:r>
              <a:rPr lang="en-US" dirty="0" err="1"/>
              <a:t>bir</a:t>
            </a:r>
            <a:r>
              <a:rPr lang="en-US" dirty="0"/>
              <a:t> S2 </a:t>
            </a:r>
            <a:r>
              <a:rPr lang="en-US" dirty="0" err="1"/>
              <a:t>vakası</a:t>
            </a:r>
            <a:r>
              <a:rPr lang="en-US" dirty="0"/>
              <a:t> hem A hem de B alt </a:t>
            </a:r>
            <a:r>
              <a:rPr lang="en-US" dirty="0" err="1"/>
              <a:t>gruplarına</a:t>
            </a:r>
            <a:r>
              <a:rPr lang="en-US" dirty="0"/>
              <a:t> </a:t>
            </a:r>
            <a:r>
              <a:rPr lang="en-US" dirty="0" err="1"/>
              <a:t>sahipti</a:t>
            </a:r>
            <a:r>
              <a:rPr lang="en-US" dirty="0"/>
              <a:t>. </a:t>
            </a:r>
            <a:r>
              <a:rPr lang="en-US" dirty="0" err="1"/>
              <a:t>Hepsinde</a:t>
            </a:r>
            <a:r>
              <a:rPr lang="en-US" dirty="0"/>
              <a:t> ≥3 </a:t>
            </a:r>
            <a:r>
              <a:rPr lang="en-US" dirty="0" err="1"/>
              <a:t>semptom</a:t>
            </a:r>
            <a:r>
              <a:rPr lang="en-US" dirty="0"/>
              <a:t> </a:t>
            </a:r>
            <a:r>
              <a:rPr lang="en-US" dirty="0" err="1"/>
              <a:t>vardı</a:t>
            </a:r>
            <a:r>
              <a:rPr lang="en-US" dirty="0"/>
              <a:t>.</a:t>
            </a:r>
          </a:p>
          <a:p>
            <a:pPr marL="0" indent="0">
              <a:lnSpc>
                <a:spcPct val="120000"/>
              </a:lnSpc>
              <a:spcBef>
                <a:spcPts val="0"/>
              </a:spcBef>
              <a:buNone/>
            </a:pPr>
            <a:r>
              <a:rPr lang="en-US" dirty="0"/>
              <a:t>ASYH=alt </a:t>
            </a:r>
            <a:r>
              <a:rPr lang="en-US" dirty="0" err="1"/>
              <a:t>solunum</a:t>
            </a:r>
            <a:r>
              <a:rPr lang="en-US" dirty="0"/>
              <a:t> </a:t>
            </a:r>
            <a:r>
              <a:rPr lang="en-US" dirty="0" err="1"/>
              <a:t>yolu</a:t>
            </a:r>
            <a:r>
              <a:rPr lang="en-US" dirty="0"/>
              <a:t> </a:t>
            </a:r>
            <a:r>
              <a:rPr lang="en-US" dirty="0" err="1"/>
              <a:t>hastalığı</a:t>
            </a:r>
            <a:r>
              <a:rPr lang="en-US" dirty="0"/>
              <a:t> S1=</a:t>
            </a:r>
            <a:r>
              <a:rPr lang="en-US" dirty="0" err="1"/>
              <a:t>mevsim</a:t>
            </a:r>
            <a:r>
              <a:rPr lang="en-US" dirty="0"/>
              <a:t> 1; S2=</a:t>
            </a:r>
            <a:r>
              <a:rPr lang="en-US" dirty="0" err="1"/>
              <a:t>mevsim</a:t>
            </a:r>
            <a:r>
              <a:rPr lang="en-US" dirty="0"/>
              <a:t> 2.</a:t>
            </a:r>
          </a:p>
          <a:p>
            <a:pPr marL="0" indent="0">
              <a:lnSpc>
                <a:spcPct val="120000"/>
              </a:lnSpc>
              <a:spcBef>
                <a:spcPts val="0"/>
              </a:spcBef>
              <a:buNone/>
            </a:pPr>
            <a:r>
              <a:rPr lang="en-US" dirty="0"/>
              <a:t>Walsh EE, et al. N Engl J Med. 2024;391:1459-1460.</a:t>
            </a:r>
          </a:p>
        </p:txBody>
      </p:sp>
      <p:pic>
        <p:nvPicPr>
          <p:cNvPr id="7" name="Picture 6" descr="Background pattern&#10;&#10;Description automatically generated with low confidence">
            <a:extLst>
              <a:ext uri="{FF2B5EF4-FFF2-40B4-BE49-F238E27FC236}">
                <a16:creationId xmlns:a16="http://schemas.microsoft.com/office/drawing/2014/main" id="{2F5ABD82-2FF7-BEDB-B8E0-049BF3BCB66D}"/>
              </a:ext>
            </a:extLst>
          </p:cNvPr>
          <p:cNvPicPr>
            <a:picLocks noChangeAspect="1"/>
          </p:cNvPicPr>
          <p:nvPr/>
        </p:nvPicPr>
        <p:blipFill rotWithShape="1">
          <a:blip r:embed="rId4"/>
          <a:srcRect l="2283" t="87597" r="86627" b="5244"/>
          <a:stretch/>
        </p:blipFill>
        <p:spPr bwMode="gray">
          <a:xfrm>
            <a:off x="10348562" y="343456"/>
            <a:ext cx="1674631" cy="607987"/>
          </a:xfrm>
          <a:prstGeom prst="rect">
            <a:avLst/>
          </a:prstGeom>
        </p:spPr>
      </p:pic>
      <p:pic>
        <p:nvPicPr>
          <p:cNvPr id="8" name="Picture 7" descr="A black and blue logo&#10;&#10;AI-generated content may be incorrect.">
            <a:extLst>
              <a:ext uri="{FF2B5EF4-FFF2-40B4-BE49-F238E27FC236}">
                <a16:creationId xmlns:a16="http://schemas.microsoft.com/office/drawing/2014/main" id="{9B4951E7-EAB3-9720-2986-CE9FC53C6C87}"/>
              </a:ext>
            </a:extLst>
          </p:cNvPr>
          <p:cNvPicPr>
            <a:picLocks noChangeAspect="1"/>
          </p:cNvPicPr>
          <p:nvPr/>
        </p:nvPicPr>
        <p:blipFill>
          <a:blip r:embed="rId5"/>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241657302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85E2FF-DAFA-185A-D52F-E694C2F5528A}"/>
              </a:ext>
            </a:extLst>
          </p:cNvPr>
          <p:cNvSpPr>
            <a:spLocks noGrp="1"/>
          </p:cNvSpPr>
          <p:nvPr>
            <p:ph type="title"/>
          </p:nvPr>
        </p:nvSpPr>
        <p:spPr/>
        <p:txBody>
          <a:bodyPr anchor="ctr"/>
          <a:lstStyle/>
          <a:p>
            <a:r>
              <a:rPr lang="en-US" dirty="0" err="1"/>
              <a:t>Yaş</a:t>
            </a:r>
            <a:r>
              <a:rPr lang="en-US" dirty="0"/>
              <a:t> </a:t>
            </a:r>
            <a:r>
              <a:rPr lang="en-US" dirty="0" err="1"/>
              <a:t>grupları</a:t>
            </a:r>
            <a:r>
              <a:rPr lang="en-US" dirty="0"/>
              <a:t> </a:t>
            </a:r>
            <a:r>
              <a:rPr lang="en-US" dirty="0" err="1"/>
              <a:t>arasında</a:t>
            </a:r>
            <a:r>
              <a:rPr lang="en-US" dirty="0"/>
              <a:t> </a:t>
            </a:r>
            <a:r>
              <a:rPr lang="en-US" dirty="0" err="1"/>
              <a:t>tutarlı</a:t>
            </a:r>
            <a:r>
              <a:rPr lang="en-US" dirty="0"/>
              <a:t> </a:t>
            </a:r>
            <a:r>
              <a:rPr lang="en-US" dirty="0" err="1"/>
              <a:t>aşı</a:t>
            </a:r>
            <a:r>
              <a:rPr lang="en-US" dirty="0"/>
              <a:t> </a:t>
            </a:r>
            <a:r>
              <a:rPr lang="en-US" dirty="0" err="1"/>
              <a:t>etkinliği</a:t>
            </a:r>
            <a:r>
              <a:rPr lang="en-US" dirty="0"/>
              <a:t> </a:t>
            </a:r>
            <a:r>
              <a:rPr lang="en-US" dirty="0" err="1"/>
              <a:t>gözlenmiştir</a:t>
            </a:r>
            <a:endParaRPr lang="en-US" dirty="0"/>
          </a:p>
        </p:txBody>
      </p:sp>
      <p:sp>
        <p:nvSpPr>
          <p:cNvPr id="4" name="Slide Number Placeholder 3">
            <a:extLst>
              <a:ext uri="{FF2B5EF4-FFF2-40B4-BE49-F238E27FC236}">
                <a16:creationId xmlns:a16="http://schemas.microsoft.com/office/drawing/2014/main" id="{88F83DDE-9BAC-289F-D435-927EBED4C861}"/>
              </a:ext>
            </a:extLst>
          </p:cNvPr>
          <p:cNvSpPr>
            <a:spLocks noGrp="1"/>
          </p:cNvSpPr>
          <p:nvPr>
            <p:ph type="sldNum" sz="quarter" idx="4"/>
          </p:nvPr>
        </p:nvSpPr>
        <p:spPr/>
        <p:txBody>
          <a:bodyPr/>
          <a:lstStyle/>
          <a:p>
            <a:fld id="{8C13A29A-185B-4182-9583-7B13F1AC164D}" type="slidenum">
              <a:rPr lang="en-US"/>
              <a:pPr/>
              <a:t>86</a:t>
            </a:fld>
            <a:endParaRPr lang="en-US"/>
          </a:p>
        </p:txBody>
      </p:sp>
      <p:sp>
        <p:nvSpPr>
          <p:cNvPr id="3" name="Text Placeholder 2">
            <a:extLst>
              <a:ext uri="{FF2B5EF4-FFF2-40B4-BE49-F238E27FC236}">
                <a16:creationId xmlns:a16="http://schemas.microsoft.com/office/drawing/2014/main" id="{633C5F26-352D-63C0-C4C5-BD26366C9E79}"/>
              </a:ext>
            </a:extLst>
          </p:cNvPr>
          <p:cNvSpPr>
            <a:spLocks noGrp="1"/>
          </p:cNvSpPr>
          <p:nvPr>
            <p:ph type="body" sz="quarter" idx="4294967295"/>
          </p:nvPr>
        </p:nvSpPr>
        <p:spPr>
          <a:xfrm>
            <a:off x="613152" y="5867401"/>
            <a:ext cx="10215563" cy="358775"/>
          </a:xfrm>
        </p:spPr>
        <p:txBody>
          <a:bodyPr>
            <a:normAutofit fontScale="47500" lnSpcReduction="20000"/>
          </a:bodyPr>
          <a:lstStyle/>
          <a:p>
            <a:pPr marL="0" indent="0">
              <a:lnSpc>
                <a:spcPct val="120000"/>
              </a:lnSpc>
              <a:spcBef>
                <a:spcPts val="0"/>
              </a:spcBef>
              <a:buNone/>
            </a:pPr>
            <a:r>
              <a:rPr lang="en-GB" b="1" dirty="0"/>
              <a:t>ASYH = alt </a:t>
            </a:r>
            <a:r>
              <a:rPr lang="en-GB" b="1" dirty="0" err="1"/>
              <a:t>solunum</a:t>
            </a:r>
            <a:r>
              <a:rPr lang="en-GB" b="1" dirty="0"/>
              <a:t> </a:t>
            </a:r>
            <a:r>
              <a:rPr lang="en-GB" b="1" dirty="0" err="1"/>
              <a:t>yolu</a:t>
            </a:r>
            <a:r>
              <a:rPr lang="en-GB" b="1" dirty="0"/>
              <a:t> </a:t>
            </a:r>
            <a:r>
              <a:rPr lang="en-GB" b="1" dirty="0" err="1"/>
              <a:t>hastalığı</a:t>
            </a:r>
            <a:r>
              <a:rPr lang="en-GB" b="1" dirty="0"/>
              <a:t>.</a:t>
            </a:r>
          </a:p>
          <a:p>
            <a:pPr marL="0" indent="0">
              <a:lnSpc>
                <a:spcPct val="120000"/>
              </a:lnSpc>
              <a:spcBef>
                <a:spcPts val="0"/>
              </a:spcBef>
              <a:buNone/>
            </a:pPr>
            <a:r>
              <a:rPr lang="en-US" b="1" dirty="0"/>
              <a:t>Walsh EE, et al. N Engl J Med. 2024;391:1459-1460.</a:t>
            </a:r>
          </a:p>
        </p:txBody>
      </p:sp>
      <p:graphicFrame>
        <p:nvGraphicFramePr>
          <p:cNvPr id="14" name="Table 13">
            <a:extLst>
              <a:ext uri="{FF2B5EF4-FFF2-40B4-BE49-F238E27FC236}">
                <a16:creationId xmlns:a16="http://schemas.microsoft.com/office/drawing/2014/main" id="{D298D5B2-B81A-18C9-56BA-3809B999ED1B}"/>
              </a:ext>
            </a:extLst>
          </p:cNvPr>
          <p:cNvGraphicFramePr>
            <a:graphicFrameLocks noGrp="1"/>
          </p:cNvGraphicFramePr>
          <p:nvPr>
            <p:extLst>
              <p:ext uri="{D42A27DB-BD31-4B8C-83A1-F6EECF244321}">
                <p14:modId xmlns:p14="http://schemas.microsoft.com/office/powerpoint/2010/main" val="3083543521"/>
              </p:ext>
            </p:extLst>
          </p:nvPr>
        </p:nvGraphicFramePr>
        <p:xfrm>
          <a:off x="613152" y="1600200"/>
          <a:ext cx="11410041" cy="3338034"/>
        </p:xfrm>
        <a:graphic>
          <a:graphicData uri="http://schemas.openxmlformats.org/drawingml/2006/table">
            <a:tbl>
              <a:tblPr firstRow="1" bandRow="1"/>
              <a:tblGrid>
                <a:gridCol w="1695132">
                  <a:extLst>
                    <a:ext uri="{9D8B030D-6E8A-4147-A177-3AD203B41FA5}">
                      <a16:colId xmlns:a16="http://schemas.microsoft.com/office/drawing/2014/main" val="3842889190"/>
                    </a:ext>
                  </a:extLst>
                </a:gridCol>
                <a:gridCol w="1695132">
                  <a:extLst>
                    <a:ext uri="{9D8B030D-6E8A-4147-A177-3AD203B41FA5}">
                      <a16:colId xmlns:a16="http://schemas.microsoft.com/office/drawing/2014/main" val="949887128"/>
                    </a:ext>
                  </a:extLst>
                </a:gridCol>
                <a:gridCol w="847567">
                  <a:extLst>
                    <a:ext uri="{9D8B030D-6E8A-4147-A177-3AD203B41FA5}">
                      <a16:colId xmlns:a16="http://schemas.microsoft.com/office/drawing/2014/main" val="1426629180"/>
                    </a:ext>
                  </a:extLst>
                </a:gridCol>
                <a:gridCol w="847567">
                  <a:extLst>
                    <a:ext uri="{9D8B030D-6E8A-4147-A177-3AD203B41FA5}">
                      <a16:colId xmlns:a16="http://schemas.microsoft.com/office/drawing/2014/main" val="3152515175"/>
                    </a:ext>
                  </a:extLst>
                </a:gridCol>
                <a:gridCol w="4623090">
                  <a:extLst>
                    <a:ext uri="{9D8B030D-6E8A-4147-A177-3AD203B41FA5}">
                      <a16:colId xmlns:a16="http://schemas.microsoft.com/office/drawing/2014/main" val="1236166454"/>
                    </a:ext>
                  </a:extLst>
                </a:gridCol>
                <a:gridCol w="1701553">
                  <a:extLst>
                    <a:ext uri="{9D8B030D-6E8A-4147-A177-3AD203B41FA5}">
                      <a16:colId xmlns:a16="http://schemas.microsoft.com/office/drawing/2014/main" val="2056189396"/>
                    </a:ext>
                  </a:extLst>
                </a:gridCol>
              </a:tblGrid>
              <a:tr h="268364">
                <a:tc rowSpan="2"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mn-lt"/>
                        </a:rPr>
                        <a:t>BİRİNCİL SONLANIM NOKTASI: ≥ 3 </a:t>
                      </a:r>
                      <a:r>
                        <a:rPr lang="en-US" sz="1100" b="1" err="1">
                          <a:solidFill>
                            <a:schemeClr val="bg1"/>
                          </a:solidFill>
                          <a:latin typeface="+mn-lt"/>
                        </a:rPr>
                        <a:t>semptomlu</a:t>
                      </a:r>
                      <a:r>
                        <a:rPr lang="en-US" sz="1100" b="1">
                          <a:solidFill>
                            <a:schemeClr val="bg1"/>
                          </a:solidFill>
                          <a:latin typeface="+mn-lt"/>
                        </a:rPr>
                        <a:t> RSV-ASYH</a:t>
                      </a:r>
                    </a:p>
                  </a:txBody>
                  <a:tcPr marL="68562" marR="68562" marT="34281" marB="34281" anchor="ctr">
                    <a:lnL w="12700" cmpd="sng">
                      <a:noFill/>
                      <a:prstDash val="soli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rowSpan="2" hMerge="1">
                  <a:txBody>
                    <a:bodyPr/>
                    <a:lstStyle/>
                    <a:p>
                      <a:pPr>
                        <a:lnSpc>
                          <a:spcPct val="100000"/>
                        </a:lnSpc>
                      </a:pPr>
                      <a:endParaRPr lang="en-US" sz="14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mn-lt"/>
                        </a:rPr>
                        <a:t>Olay </a:t>
                      </a:r>
                      <a:r>
                        <a:rPr lang="en-US" sz="1100" b="1" err="1">
                          <a:solidFill>
                            <a:schemeClr val="bg1"/>
                          </a:solidFill>
                          <a:latin typeface="+mn-lt"/>
                        </a:rPr>
                        <a:t>Sayısı</a:t>
                      </a:r>
                      <a:endParaRPr lang="en-US" sz="1100" b="1">
                        <a:solidFill>
                          <a:schemeClr val="bg1"/>
                        </a:solidFill>
                        <a:latin typeface="+mn-lt"/>
                      </a:endParaRPr>
                    </a:p>
                  </a:txBody>
                  <a:tcPr marL="0" marR="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lnSpc>
                          <a:spcPct val="100000"/>
                        </a:lnSpc>
                      </a:pPr>
                      <a:endParaRPr lang="en-US" sz="12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pPr>
                      <a:endParaRPr lang="en-US" sz="1100" b="1">
                        <a:solidFill>
                          <a:schemeClr val="bg1"/>
                        </a:solidFill>
                        <a:latin typeface="+mn-lt"/>
                      </a:endParaRPr>
                    </a:p>
                  </a:txBody>
                  <a:tcPr marL="68562" marR="68562"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rowSpan="2">
                  <a:txBody>
                    <a:bodyPr/>
                    <a:lstStyle/>
                    <a:p>
                      <a:pPr algn="ctr"/>
                      <a:r>
                        <a:rPr lang="en-US" sz="1100" b="1" err="1">
                          <a:solidFill>
                            <a:schemeClr val="bg1"/>
                          </a:solidFill>
                          <a:latin typeface="+mn-lt"/>
                        </a:rPr>
                        <a:t>Aşı</a:t>
                      </a:r>
                      <a:r>
                        <a:rPr lang="en-US" sz="1100" b="1">
                          <a:solidFill>
                            <a:schemeClr val="bg1"/>
                          </a:solidFill>
                          <a:latin typeface="+mn-lt"/>
                        </a:rPr>
                        <a:t> </a:t>
                      </a:r>
                      <a:r>
                        <a:rPr lang="en-US" sz="1100" b="1" err="1">
                          <a:solidFill>
                            <a:schemeClr val="bg1"/>
                          </a:solidFill>
                          <a:latin typeface="+mn-lt"/>
                        </a:rPr>
                        <a:t>Etkinliği</a:t>
                      </a:r>
                      <a:br>
                        <a:rPr lang="en-US" sz="1100" b="1">
                          <a:solidFill>
                            <a:schemeClr val="bg1"/>
                          </a:solidFill>
                          <a:latin typeface="+mn-lt"/>
                        </a:rPr>
                      </a:br>
                      <a:r>
                        <a:rPr lang="en-US" sz="1100" b="0">
                          <a:solidFill>
                            <a:schemeClr val="bg1"/>
                          </a:solidFill>
                          <a:latin typeface="+mn-lt"/>
                        </a:rPr>
                        <a:t>(%95 CI)</a:t>
                      </a:r>
                    </a:p>
                  </a:txBody>
                  <a:tcPr marL="68562" marR="68562" marT="34281" marB="34281" anchor="ctr">
                    <a:lnL w="19050" cap="flat" cmpd="sng" algn="ctr">
                      <a:noFill/>
                      <a:prstDash val="solid"/>
                      <a:round/>
                      <a:headEnd type="none" w="med" len="med"/>
                      <a:tailEnd type="none" w="med" len="med"/>
                    </a:lnL>
                    <a:lnR w="12700" cmpd="sng">
                      <a:noFill/>
                      <a:prstDash val="soli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027851128"/>
                  </a:ext>
                </a:extLst>
              </a:tr>
              <a:tr h="233734">
                <a:tc gridSpan="2"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a:p>
                  </a:txBody>
                  <a:tcPr anchor="ctr">
                    <a:lnL w="12700" cmpd="sng">
                      <a:noFill/>
                      <a:prstDash val="soli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vMerge="1">
                  <a:txBody>
                    <a:bodyPr/>
                    <a:lstStyle/>
                    <a:p>
                      <a:pPr>
                        <a:lnSpc>
                          <a:spcPct val="100000"/>
                        </a:lnSpc>
                      </a:pPr>
                      <a:endParaRPr lang="en-US" sz="14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bg1"/>
                          </a:solidFill>
                          <a:latin typeface="+mn-lt"/>
                        </a:rPr>
                        <a:t>RSVpreF</a:t>
                      </a:r>
                    </a:p>
                  </a:txBody>
                  <a:tcPr marL="0" marR="0" marT="34281" marB="3428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err="1">
                          <a:solidFill>
                            <a:schemeClr val="bg1"/>
                          </a:solidFill>
                          <a:latin typeface="+mn-lt"/>
                        </a:rPr>
                        <a:t>Plasebo</a:t>
                      </a:r>
                      <a:endParaRPr lang="en-US" sz="900">
                        <a:solidFill>
                          <a:schemeClr val="bg1"/>
                        </a:solidFill>
                        <a:latin typeface="+mn-lt"/>
                      </a:endParaRPr>
                    </a:p>
                  </a:txBody>
                  <a:tcPr marL="0" marR="0" marT="34281" marB="3428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vMerge="1">
                  <a:txBody>
                    <a:bodyPr/>
                    <a:lstStyle/>
                    <a:p>
                      <a:pPr algn="ctr">
                        <a:lnSpc>
                          <a:spcPct val="100000"/>
                        </a:lnSpc>
                      </a:pPr>
                      <a:endParaRPr lang="en-US" sz="1200" b="1">
                        <a:solidFill>
                          <a:schemeClr val="accent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r>
                        <a:rPr lang="en-US" sz="1200" b="1"/>
                        <a:t>Vaccine Efficacy</a:t>
                      </a:r>
                      <a:br>
                        <a:rPr lang="en-US" sz="1200" b="1"/>
                      </a:br>
                      <a:r>
                        <a:rPr lang="en-US" sz="1200" b="1"/>
                        <a:t>(95% CI)</a:t>
                      </a:r>
                    </a:p>
                  </a:txBody>
                  <a:tcPr anchor="ctr">
                    <a:lnL w="12700" cap="flat" cmpd="sng" algn="ctr">
                      <a:solidFill>
                        <a:schemeClr val="tx1"/>
                      </a:solid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635080"/>
                  </a:ext>
                </a:extLst>
              </a:tr>
              <a:tr h="31510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latin typeface="+mn-lt"/>
                        </a:rPr>
                        <a:t>60–69 </a:t>
                      </a:r>
                      <a:r>
                        <a:rPr lang="en-US" sz="1100" b="1" err="1">
                          <a:latin typeface="+mn-lt"/>
                        </a:rPr>
                        <a:t>Yaş</a:t>
                      </a:r>
                      <a:endParaRPr lang="en-US" sz="1100" b="1">
                        <a:latin typeface="+mn-lt"/>
                      </a:endParaRPr>
                    </a:p>
                  </a:txBody>
                  <a:tcPr marL="68562" marR="68562" marT="54850" marB="54850" anchor="ctr">
                    <a:lnL w="12700" cmpd="sng">
                      <a:noFill/>
                      <a:prstDash val="soli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1" err="1">
                          <a:latin typeface="+mn-lt"/>
                        </a:rPr>
                        <a:t>Sezon</a:t>
                      </a:r>
                      <a:r>
                        <a:rPr lang="en-US" sz="1100" b="1">
                          <a:latin typeface="+mn-lt"/>
                        </a:rPr>
                        <a:t> 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mn-lt"/>
                        </a:rPr>
                        <a:t>1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81.8</a:t>
                      </a:r>
                      <a:r>
                        <a:rPr lang="en-US" sz="1100" b="0" i="0" u="none" strike="noStrike">
                          <a:solidFill>
                            <a:srgbClr val="000000"/>
                          </a:solidFill>
                          <a:effectLst/>
                          <a:latin typeface="+mn-lt"/>
                        </a:rPr>
                        <a:t> (16.7, 98.0)</a:t>
                      </a:r>
                    </a:p>
                  </a:txBody>
                  <a:tcPr marL="68562" marR="68562" marT="54850" marB="54850"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882360"/>
                  </a:ext>
                </a:extLst>
              </a:tr>
              <a:tr h="31510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err="1">
                          <a:latin typeface="+mn-lt"/>
                        </a:rPr>
                        <a:t>Sezon</a:t>
                      </a:r>
                      <a:r>
                        <a:rPr lang="en-US" sz="1100" b="1">
                          <a:latin typeface="+mn-lt"/>
                        </a:rPr>
                        <a:t> 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5</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mn-lt"/>
                        </a:rPr>
                        <a:t>27</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81.5 </a:t>
                      </a:r>
                      <a:r>
                        <a:rPr lang="en-US" sz="1100" b="0" i="0" u="none" strike="noStrike">
                          <a:solidFill>
                            <a:srgbClr val="000000"/>
                          </a:solidFill>
                          <a:effectLst/>
                          <a:latin typeface="+mn-lt"/>
                        </a:rPr>
                        <a:t>(51.2, 94.4)</a:t>
                      </a:r>
                      <a:endParaRPr lang="en-US" sz="1100" b="1" i="0" u="none" strike="noStrike">
                        <a:solidFill>
                          <a:srgbClr val="000000"/>
                        </a:solidFill>
                        <a:effectLst/>
                        <a:latin typeface="+mn-lt"/>
                      </a:endParaRPr>
                    </a:p>
                  </a:txBody>
                  <a:tcPr marL="68562" marR="68562"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344495"/>
                  </a:ext>
                </a:extLst>
              </a:tr>
              <a:tr h="31510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a:latin typeface="+mn-lt"/>
                        </a:rPr>
                        <a:t>2 </a:t>
                      </a:r>
                      <a:r>
                        <a:rPr lang="en-US" sz="1100" b="1" err="1">
                          <a:latin typeface="+mn-lt"/>
                        </a:rPr>
                        <a:t>Sezon</a:t>
                      </a:r>
                      <a:r>
                        <a:rPr lang="en-US" sz="1100" b="1">
                          <a:latin typeface="+mn-lt"/>
                        </a:rPr>
                        <a:t> </a:t>
                      </a:r>
                      <a:r>
                        <a:rPr lang="en-US" sz="1100" b="1" err="1">
                          <a:latin typeface="+mn-lt"/>
                        </a:rPr>
                        <a:t>Boyunca</a:t>
                      </a:r>
                      <a:endParaRPr lang="en-US" sz="1100" b="1">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7</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mn-lt"/>
                        </a:rPr>
                        <a:t>38</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81.6 </a:t>
                      </a:r>
                      <a:r>
                        <a:rPr lang="en-US" sz="1100" b="0" i="0" u="none" strike="noStrike">
                          <a:solidFill>
                            <a:srgbClr val="000000"/>
                          </a:solidFill>
                          <a:effectLst/>
                          <a:latin typeface="+mn-lt"/>
                        </a:rPr>
                        <a:t>(58.2, 93.1)</a:t>
                      </a:r>
                    </a:p>
                  </a:txBody>
                  <a:tcPr marL="68562" marR="68562"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3446319"/>
                  </a:ext>
                </a:extLst>
              </a:tr>
              <a:tr h="31510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latin typeface="+mn-lt"/>
                        </a:rPr>
                        <a:t>70–79 </a:t>
                      </a:r>
                      <a:r>
                        <a:rPr lang="en-US" sz="1100" b="1" err="1">
                          <a:latin typeface="+mn-lt"/>
                        </a:rPr>
                        <a:t>Yaş</a:t>
                      </a:r>
                      <a:endParaRPr lang="en-US" sz="1100" b="1">
                        <a:latin typeface="+mn-lt"/>
                      </a:endParaRPr>
                    </a:p>
                  </a:txBody>
                  <a:tcPr marL="68562" marR="68562" marT="54850" marB="54850" anchor="ctr">
                    <a:lnL w="12700" cmpd="sng">
                      <a:noFill/>
                      <a:prstDash val="soli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1" err="1">
                          <a:latin typeface="+mn-lt"/>
                        </a:rPr>
                        <a:t>Sezon</a:t>
                      </a:r>
                      <a:r>
                        <a:rPr lang="en-US" sz="1100" b="1">
                          <a:latin typeface="+mn-lt"/>
                        </a:rPr>
                        <a:t> 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0</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mn-lt"/>
                        </a:rPr>
                        <a:t>4</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100 </a:t>
                      </a:r>
                      <a:r>
                        <a:rPr lang="en-US" sz="1100" b="0" i="0" u="none" strike="noStrike">
                          <a:solidFill>
                            <a:srgbClr val="000000"/>
                          </a:solidFill>
                          <a:effectLst/>
                          <a:latin typeface="+mn-lt"/>
                        </a:rPr>
                        <a:t>(-51.5, 100)</a:t>
                      </a:r>
                    </a:p>
                  </a:txBody>
                  <a:tcPr marL="68562" marR="68562" marT="54850" marB="54850" anchor="ctr">
                    <a:lnL w="12700" cap="flat" cmpd="sng" algn="ctr">
                      <a:noFill/>
                      <a:prstDash val="solid"/>
                      <a:round/>
                      <a:headEnd type="none" w="med" len="med"/>
                      <a:tailEnd type="none" w="med" len="med"/>
                    </a:lnL>
                    <a:lnR w="12700" cmpd="sng">
                      <a:noFill/>
                      <a:prstDash val="soli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10415"/>
                  </a:ext>
                </a:extLst>
              </a:tr>
              <a:tr h="31510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100000"/>
                        </a:lnSpc>
                      </a:pPr>
                      <a:r>
                        <a:rPr lang="en-US" sz="1100" b="1" err="1">
                          <a:latin typeface="+mn-lt"/>
                        </a:rPr>
                        <a:t>Sezon</a:t>
                      </a:r>
                      <a:r>
                        <a:rPr lang="en-US" sz="1100" b="1">
                          <a:latin typeface="+mn-lt"/>
                        </a:rPr>
                        <a:t> 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3</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7</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57.1 </a:t>
                      </a:r>
                      <a:r>
                        <a:rPr lang="en-US" sz="1100" b="0" i="0" u="none" strike="noStrike">
                          <a:solidFill>
                            <a:srgbClr val="000000"/>
                          </a:solidFill>
                          <a:effectLst/>
                          <a:latin typeface="+mn-lt"/>
                        </a:rPr>
                        <a:t>(-87.7, 92.8)</a:t>
                      </a:r>
                    </a:p>
                  </a:txBody>
                  <a:tcPr marL="68562" marR="68562"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709677"/>
                  </a:ext>
                </a:extLst>
              </a:tr>
              <a:tr h="31510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a:latin typeface="+mn-lt"/>
                        </a:rPr>
                        <a:t>2 </a:t>
                      </a:r>
                      <a:r>
                        <a:rPr lang="en-US" sz="1100" b="1" err="1">
                          <a:latin typeface="+mn-lt"/>
                        </a:rPr>
                        <a:t>Sezon</a:t>
                      </a:r>
                      <a:r>
                        <a:rPr lang="en-US" sz="1100" b="1">
                          <a:latin typeface="+mn-lt"/>
                        </a:rPr>
                        <a:t> </a:t>
                      </a:r>
                      <a:r>
                        <a:rPr lang="en-US" sz="1100" b="1" err="1">
                          <a:latin typeface="+mn-lt"/>
                        </a:rPr>
                        <a:t>Boyunca</a:t>
                      </a:r>
                      <a:endParaRPr lang="en-US" sz="1100" b="1">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3</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1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72.7 </a:t>
                      </a:r>
                      <a:r>
                        <a:rPr lang="en-US" sz="1100" b="0" i="0" u="none" strike="noStrike">
                          <a:solidFill>
                            <a:srgbClr val="000000"/>
                          </a:solidFill>
                          <a:effectLst/>
                          <a:latin typeface="+mn-lt"/>
                        </a:rPr>
                        <a:t>(-3.2, 95.1)</a:t>
                      </a:r>
                    </a:p>
                  </a:txBody>
                  <a:tcPr marL="68562" marR="68562"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2065510"/>
                  </a:ext>
                </a:extLst>
              </a:tr>
              <a:tr h="31510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latin typeface="+mn-lt"/>
                        </a:rPr>
                        <a:t>≥80 </a:t>
                      </a:r>
                      <a:r>
                        <a:rPr lang="en-US" sz="1100" b="1" err="1">
                          <a:latin typeface="+mn-lt"/>
                        </a:rPr>
                        <a:t>Yaş</a:t>
                      </a:r>
                      <a:endParaRPr lang="en-US" sz="1100" b="1">
                        <a:latin typeface="+mn-lt"/>
                      </a:endParaRPr>
                    </a:p>
                  </a:txBody>
                  <a:tcPr marL="68562" marR="68562" marT="54850" marB="54850" anchor="ctr">
                    <a:lnL w="12700" cmpd="sng">
                      <a:noFill/>
                      <a:prstDash val="soli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1" err="1">
                          <a:latin typeface="+mn-lt"/>
                        </a:rPr>
                        <a:t>Sezon</a:t>
                      </a:r>
                      <a:r>
                        <a:rPr lang="en-US" sz="1100" b="1">
                          <a:latin typeface="+mn-lt"/>
                        </a:rPr>
                        <a:t> 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0</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3</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100 </a:t>
                      </a:r>
                      <a:r>
                        <a:rPr lang="en-US" sz="1100" b="0" i="0" u="none" strike="noStrike">
                          <a:solidFill>
                            <a:srgbClr val="000000"/>
                          </a:solidFill>
                          <a:effectLst/>
                          <a:latin typeface="+mn-lt"/>
                        </a:rPr>
                        <a:t>(-142, 100)</a:t>
                      </a:r>
                    </a:p>
                  </a:txBody>
                  <a:tcPr marL="68562" marR="68562" marT="54850" marB="54850" anchor="ctr">
                    <a:lnL w="12700" cap="flat" cmpd="sng" algn="ctr">
                      <a:noFill/>
                      <a:prstDash val="solid"/>
                      <a:round/>
                      <a:headEnd type="none" w="med" len="med"/>
                      <a:tailEnd type="none" w="med" len="med"/>
                    </a:lnL>
                    <a:lnR w="12700" cmpd="sng">
                      <a:noFill/>
                      <a:prstDash val="soli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5184104"/>
                  </a:ext>
                </a:extLst>
              </a:tr>
              <a:tr h="31510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err="1">
                          <a:latin typeface="+mn-lt"/>
                        </a:rPr>
                        <a:t>Sezon</a:t>
                      </a:r>
                      <a:r>
                        <a:rPr lang="en-US" sz="1100" b="1">
                          <a:latin typeface="+mn-lt"/>
                        </a:rPr>
                        <a:t> 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0</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100 </a:t>
                      </a:r>
                      <a:r>
                        <a:rPr lang="en-US" sz="1100" b="0" i="0" u="none" strike="noStrike">
                          <a:solidFill>
                            <a:srgbClr val="000000"/>
                          </a:solidFill>
                          <a:effectLst/>
                          <a:latin typeface="+mn-lt"/>
                        </a:rPr>
                        <a:t>(-432.5, 100)</a:t>
                      </a:r>
                    </a:p>
                  </a:txBody>
                  <a:tcPr marL="68562" marR="68562"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6630369"/>
                  </a:ext>
                </a:extLst>
              </a:tr>
              <a:tr h="31510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a:latin typeface="+mn-lt"/>
                        </a:rPr>
                        <a:t>2 </a:t>
                      </a:r>
                      <a:r>
                        <a:rPr lang="en-US" sz="1100" b="1" err="1">
                          <a:latin typeface="+mn-lt"/>
                        </a:rPr>
                        <a:t>Sezon</a:t>
                      </a:r>
                      <a:r>
                        <a:rPr lang="en-US" sz="1100" b="1">
                          <a:latin typeface="+mn-lt"/>
                        </a:rPr>
                        <a:t> </a:t>
                      </a:r>
                      <a:r>
                        <a:rPr lang="en-US" sz="1100" b="1" err="1">
                          <a:latin typeface="+mn-lt"/>
                        </a:rPr>
                        <a:t>Boyunca</a:t>
                      </a:r>
                      <a:endParaRPr lang="en-US" sz="1100" b="1">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0</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5</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100</a:t>
                      </a:r>
                      <a:r>
                        <a:rPr lang="en-US" sz="1100" b="0" i="0" u="none" strike="noStrike">
                          <a:solidFill>
                            <a:srgbClr val="000000"/>
                          </a:solidFill>
                          <a:effectLst/>
                          <a:latin typeface="+mn-lt"/>
                        </a:rPr>
                        <a:t> (-9.1, 100)</a:t>
                      </a:r>
                    </a:p>
                  </a:txBody>
                  <a:tcPr marL="68562" marR="68562"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4681105"/>
                  </a:ext>
                </a:extLst>
              </a:tr>
            </a:tbl>
          </a:graphicData>
        </a:graphic>
      </p:graphicFrame>
      <p:graphicFrame>
        <p:nvGraphicFramePr>
          <p:cNvPr id="11" name="Chart 10">
            <a:extLst>
              <a:ext uri="{FF2B5EF4-FFF2-40B4-BE49-F238E27FC236}">
                <a16:creationId xmlns:a16="http://schemas.microsoft.com/office/drawing/2014/main" id="{D9C9ED46-D6D9-1720-ADCC-959D13539D48}"/>
              </a:ext>
            </a:extLst>
          </p:cNvPr>
          <p:cNvGraphicFramePr/>
          <p:nvPr>
            <p:extLst>
              <p:ext uri="{D42A27DB-BD31-4B8C-83A1-F6EECF244321}">
                <p14:modId xmlns:p14="http://schemas.microsoft.com/office/powerpoint/2010/main" val="651988897"/>
              </p:ext>
            </p:extLst>
          </p:nvPr>
        </p:nvGraphicFramePr>
        <p:xfrm>
          <a:off x="5845772" y="1800226"/>
          <a:ext cx="4502790" cy="3867149"/>
        </p:xfrm>
        <a:graphic>
          <a:graphicData uri="http://schemas.openxmlformats.org/drawingml/2006/chart">
            <c:chart xmlns:c="http://schemas.openxmlformats.org/drawingml/2006/chart" xmlns:r="http://schemas.openxmlformats.org/officeDocument/2006/relationships" r:id="rId3"/>
          </a:graphicData>
        </a:graphic>
      </p:graphicFrame>
      <p:pic>
        <p:nvPicPr>
          <p:cNvPr id="9" name="Picture 8" descr="Background pattern&#10;&#10;Description automatically generated with low confidence">
            <a:extLst>
              <a:ext uri="{FF2B5EF4-FFF2-40B4-BE49-F238E27FC236}">
                <a16:creationId xmlns:a16="http://schemas.microsoft.com/office/drawing/2014/main" id="{2558B98B-7AC1-B63F-BBA2-2FC47C03D54A}"/>
              </a:ext>
            </a:extLst>
          </p:cNvPr>
          <p:cNvPicPr>
            <a:picLocks noChangeAspect="1"/>
          </p:cNvPicPr>
          <p:nvPr/>
        </p:nvPicPr>
        <p:blipFill rotWithShape="1">
          <a:blip r:embed="rId4"/>
          <a:srcRect l="2283" t="87597" r="86627" b="5244"/>
          <a:stretch/>
        </p:blipFill>
        <p:spPr bwMode="gray">
          <a:xfrm>
            <a:off x="10348562" y="343456"/>
            <a:ext cx="1674631" cy="607987"/>
          </a:xfrm>
          <a:prstGeom prst="rect">
            <a:avLst/>
          </a:prstGeom>
        </p:spPr>
      </p:pic>
      <p:pic>
        <p:nvPicPr>
          <p:cNvPr id="10" name="Picture 9" descr="A black and blue logo&#10;&#10;AI-generated content may be incorrect.">
            <a:extLst>
              <a:ext uri="{FF2B5EF4-FFF2-40B4-BE49-F238E27FC236}">
                <a16:creationId xmlns:a16="http://schemas.microsoft.com/office/drawing/2014/main" id="{C879BFEF-F593-6C45-F63F-5FDD8B4D2176}"/>
              </a:ext>
            </a:extLst>
          </p:cNvPr>
          <p:cNvPicPr>
            <a:picLocks noChangeAspect="1"/>
          </p:cNvPicPr>
          <p:nvPr/>
        </p:nvPicPr>
        <p:blipFill>
          <a:blip r:embed="rId5"/>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397056054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C1581F-62C1-80AF-8051-7F0A4E920B1B}"/>
            </a:ext>
          </a:extLst>
        </p:cNvPr>
        <p:cNvGrpSpPr/>
        <p:nvPr/>
      </p:nvGrpSpPr>
      <p:grpSpPr>
        <a:xfrm>
          <a:off x="0" y="0"/>
          <a:ext cx="0" cy="0"/>
          <a:chOff x="0" y="0"/>
          <a:chExt cx="0" cy="0"/>
        </a:xfrm>
      </p:grpSpPr>
      <p:sp>
        <p:nvSpPr>
          <p:cNvPr id="33" name="Rectangle 32">
            <a:extLst>
              <a:ext uri="{FF2B5EF4-FFF2-40B4-BE49-F238E27FC236}">
                <a16:creationId xmlns:a16="http://schemas.microsoft.com/office/drawing/2014/main" id="{AD086FE5-E185-3CBB-DBD6-8046253EF996}"/>
              </a:ext>
            </a:extLst>
          </p:cNvPr>
          <p:cNvSpPr/>
          <p:nvPr/>
        </p:nvSpPr>
        <p:spPr>
          <a:xfrm>
            <a:off x="0" y="2016252"/>
            <a:ext cx="12192000" cy="428142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tr-TR" sz="900" b="0" i="0" u="none" strike="noStrike" kern="1200" cap="none" spc="0" normalizeH="0" baseline="0" noProof="0">
              <a:ln>
                <a:noFill/>
              </a:ln>
              <a:solidFill>
                <a:srgbClr val="FFFFFF"/>
              </a:solidFill>
              <a:effectLst/>
              <a:uLnTx/>
              <a:uFillTx/>
              <a:latin typeface="Pfizer Tomorrow" panose="02010503040201060303" pitchFamily="50" charset="0"/>
              <a:ea typeface="+mn-ea"/>
              <a:cs typeface="+mn-cs"/>
            </a:endParaRPr>
          </a:p>
        </p:txBody>
      </p:sp>
      <p:sp>
        <p:nvSpPr>
          <p:cNvPr id="2" name="Title 1">
            <a:extLst>
              <a:ext uri="{FF2B5EF4-FFF2-40B4-BE49-F238E27FC236}">
                <a16:creationId xmlns:a16="http://schemas.microsoft.com/office/drawing/2014/main" id="{79F5D409-33DF-FB05-CD92-DCE0D5BBC41D}"/>
              </a:ext>
            </a:extLst>
          </p:cNvPr>
          <p:cNvSpPr>
            <a:spLocks noGrp="1"/>
          </p:cNvSpPr>
          <p:nvPr>
            <p:ph type="title"/>
          </p:nvPr>
        </p:nvSpPr>
        <p:spPr>
          <a:xfrm>
            <a:off x="613152" y="221942"/>
            <a:ext cx="9178548" cy="815898"/>
          </a:xfrm>
        </p:spPr>
        <p:txBody>
          <a:bodyPr anchor="ctr">
            <a:normAutofit fontScale="90000"/>
          </a:bodyPr>
          <a:lstStyle/>
          <a:p>
            <a:r>
              <a:rPr lang="en-US" sz="3200" dirty="0" err="1">
                <a:solidFill>
                  <a:srgbClr val="FFFFFF"/>
                </a:solidFill>
              </a:rPr>
              <a:t>Lokal</a:t>
            </a:r>
            <a:r>
              <a:rPr lang="en-US" sz="3200" dirty="0">
                <a:solidFill>
                  <a:srgbClr val="FFFFFF"/>
                </a:solidFill>
              </a:rPr>
              <a:t> </a:t>
            </a:r>
            <a:r>
              <a:rPr lang="en-US" sz="3200" dirty="0" err="1">
                <a:solidFill>
                  <a:srgbClr val="FFFFFF"/>
                </a:solidFill>
              </a:rPr>
              <a:t>ve</a:t>
            </a:r>
            <a:r>
              <a:rPr lang="en-US" sz="3200" dirty="0">
                <a:solidFill>
                  <a:srgbClr val="FFFFFF"/>
                </a:solidFill>
              </a:rPr>
              <a:t> </a:t>
            </a:r>
            <a:r>
              <a:rPr lang="en-US" sz="3200" dirty="0" err="1">
                <a:solidFill>
                  <a:srgbClr val="FFFFFF"/>
                </a:solidFill>
              </a:rPr>
              <a:t>sistemik</a:t>
            </a:r>
            <a:r>
              <a:rPr lang="en-US" sz="3200" dirty="0">
                <a:solidFill>
                  <a:srgbClr val="FFFFFF"/>
                </a:solidFill>
              </a:rPr>
              <a:t> </a:t>
            </a:r>
            <a:r>
              <a:rPr lang="en-US" sz="3200" dirty="0" err="1">
                <a:solidFill>
                  <a:srgbClr val="FFFFFF"/>
                </a:solidFill>
              </a:rPr>
              <a:t>olaylar</a:t>
            </a:r>
            <a:r>
              <a:rPr lang="en-US" sz="3200" dirty="0">
                <a:solidFill>
                  <a:srgbClr val="FFFFFF"/>
                </a:solidFill>
              </a:rPr>
              <a:t> </a:t>
            </a:r>
            <a:r>
              <a:rPr lang="en-US" sz="3200" dirty="0" err="1">
                <a:solidFill>
                  <a:srgbClr val="FFFFFF"/>
                </a:solidFill>
              </a:rPr>
              <a:t>çoğunlukla</a:t>
            </a:r>
            <a:r>
              <a:rPr lang="en-US" sz="3200" dirty="0">
                <a:solidFill>
                  <a:srgbClr val="FFFFFF"/>
                </a:solidFill>
              </a:rPr>
              <a:t> </a:t>
            </a:r>
            <a:r>
              <a:rPr lang="en-US" sz="3200" dirty="0" err="1">
                <a:solidFill>
                  <a:srgbClr val="FFFFFF"/>
                </a:solidFill>
              </a:rPr>
              <a:t>hafif</a:t>
            </a:r>
            <a:r>
              <a:rPr lang="en-US" sz="3200" dirty="0">
                <a:solidFill>
                  <a:srgbClr val="FFFFFF"/>
                </a:solidFill>
              </a:rPr>
              <a:t> </a:t>
            </a:r>
            <a:r>
              <a:rPr lang="en-US" sz="3200" dirty="0" err="1">
                <a:solidFill>
                  <a:srgbClr val="FFFFFF"/>
                </a:solidFill>
              </a:rPr>
              <a:t>ile</a:t>
            </a:r>
            <a:r>
              <a:rPr lang="en-US" sz="3200" dirty="0">
                <a:solidFill>
                  <a:srgbClr val="FFFFFF"/>
                </a:solidFill>
              </a:rPr>
              <a:t> </a:t>
            </a:r>
            <a:r>
              <a:rPr lang="en-US" sz="3200" dirty="0" err="1">
                <a:solidFill>
                  <a:srgbClr val="FFFFFF"/>
                </a:solidFill>
              </a:rPr>
              <a:t>orta</a:t>
            </a:r>
            <a:r>
              <a:rPr lang="en-US" sz="3200" dirty="0">
                <a:solidFill>
                  <a:srgbClr val="FFFFFF"/>
                </a:solidFill>
              </a:rPr>
              <a:t> </a:t>
            </a:r>
            <a:r>
              <a:rPr lang="en-US" sz="3200" dirty="0" err="1">
                <a:solidFill>
                  <a:srgbClr val="FFFFFF"/>
                </a:solidFill>
              </a:rPr>
              <a:t>şiddetli</a:t>
            </a:r>
            <a:r>
              <a:rPr lang="en-US" sz="3200" dirty="0">
                <a:solidFill>
                  <a:srgbClr val="FFFFFF"/>
                </a:solidFill>
              </a:rPr>
              <a:t> </a:t>
            </a:r>
            <a:r>
              <a:rPr lang="en-US" sz="3200" dirty="0" err="1">
                <a:solidFill>
                  <a:srgbClr val="FFFFFF"/>
                </a:solidFill>
              </a:rPr>
              <a:t>olup</a:t>
            </a:r>
            <a:r>
              <a:rPr lang="en-US" sz="3200" dirty="0">
                <a:solidFill>
                  <a:srgbClr val="FFFFFF"/>
                </a:solidFill>
              </a:rPr>
              <a:t> 1 -2 </a:t>
            </a:r>
            <a:r>
              <a:rPr lang="en-US" sz="3200" dirty="0" err="1">
                <a:solidFill>
                  <a:srgbClr val="FFFFFF"/>
                </a:solidFill>
              </a:rPr>
              <a:t>gün</a:t>
            </a:r>
            <a:r>
              <a:rPr lang="en-US" sz="3200" dirty="0">
                <a:solidFill>
                  <a:srgbClr val="FFFFFF"/>
                </a:solidFill>
              </a:rPr>
              <a:t> </a:t>
            </a:r>
            <a:r>
              <a:rPr lang="en-US" sz="3200" dirty="0" err="1">
                <a:solidFill>
                  <a:srgbClr val="FFFFFF"/>
                </a:solidFill>
              </a:rPr>
              <a:t>içinde</a:t>
            </a:r>
            <a:r>
              <a:rPr lang="en-US" sz="3200" dirty="0">
                <a:solidFill>
                  <a:srgbClr val="FFFFFF"/>
                </a:solidFill>
              </a:rPr>
              <a:t> </a:t>
            </a:r>
            <a:r>
              <a:rPr lang="en-US" sz="3200" dirty="0" err="1">
                <a:solidFill>
                  <a:srgbClr val="FFFFFF"/>
                </a:solidFill>
              </a:rPr>
              <a:t>düzelmiştir</a:t>
            </a:r>
            <a:endParaRPr lang="tr-TR" sz="3200" dirty="0">
              <a:solidFill>
                <a:schemeClr val="bg1"/>
              </a:solidFill>
              <a:latin typeface="+mj-lt"/>
            </a:endParaRPr>
          </a:p>
        </p:txBody>
      </p:sp>
      <p:sp>
        <p:nvSpPr>
          <p:cNvPr id="3" name="Slide Number Placeholder 2">
            <a:extLst>
              <a:ext uri="{FF2B5EF4-FFF2-40B4-BE49-F238E27FC236}">
                <a16:creationId xmlns:a16="http://schemas.microsoft.com/office/drawing/2014/main" id="{6F55A175-DC34-B7F5-63E7-8D982D8E9356}"/>
              </a:ext>
            </a:extLst>
          </p:cNvPr>
          <p:cNvSpPr>
            <a:spLocks noGrp="1"/>
          </p:cNvSpPr>
          <p:nvPr>
            <p:ph type="sldNum" sz="quarter" idx="4"/>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2B39012A-6F33-204B-8224-A57BEFB0AAD0}" type="slidenum">
              <a:rPr kumimoji="0" lang="en-US" sz="700" b="1" i="0" u="none" strike="noStrike" kern="1200" cap="none" spc="0" normalizeH="0" baseline="0" noProof="0" smtClean="0">
                <a:ln>
                  <a:noFill/>
                </a:ln>
                <a:solidFill>
                  <a:srgbClr val="0000C9"/>
                </a:solidFill>
                <a:effectLst/>
                <a:uLnTx/>
                <a:uFillTx/>
                <a:latin typeface="Pfizer Tomorrow"/>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87</a:t>
            </a:fld>
            <a:endParaRPr kumimoji="0" lang="en-US" sz="700" b="1" i="0" u="none" strike="noStrike" kern="1200" cap="none" spc="0" normalizeH="0" baseline="0" noProof="0">
              <a:ln>
                <a:noFill/>
              </a:ln>
              <a:solidFill>
                <a:srgbClr val="0000C9"/>
              </a:solidFill>
              <a:effectLst/>
              <a:uLnTx/>
              <a:uFillTx/>
              <a:latin typeface="Pfizer Tomorrow"/>
              <a:ea typeface="+mn-ea"/>
              <a:cs typeface="+mn-cs"/>
            </a:endParaRPr>
          </a:p>
        </p:txBody>
      </p:sp>
      <p:sp>
        <p:nvSpPr>
          <p:cNvPr id="9" name="Text Placeholder 2">
            <a:extLst>
              <a:ext uri="{FF2B5EF4-FFF2-40B4-BE49-F238E27FC236}">
                <a16:creationId xmlns:a16="http://schemas.microsoft.com/office/drawing/2014/main" id="{0644FCD3-CCC9-3435-DBB2-86CDA5A8CE42}"/>
              </a:ext>
            </a:extLst>
          </p:cNvPr>
          <p:cNvSpPr txBox="1">
            <a:spLocks/>
          </p:cNvSpPr>
          <p:nvPr/>
        </p:nvSpPr>
        <p:spPr>
          <a:xfrm>
            <a:off x="613151" y="1248591"/>
            <a:ext cx="10830165" cy="767662"/>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RSVpreF</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0"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Aşısının</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0" normalizeH="0" baseline="0" noProof="0" dirty="0">
                <a:ln>
                  <a:noFill/>
                </a:ln>
                <a:solidFill>
                  <a:srgbClr val="0095FF"/>
                </a:solidFill>
                <a:effectLst/>
                <a:uLnTx/>
                <a:uFillTx/>
                <a:latin typeface="Pfizer Tomorrow" panose="02010503040201060303" pitchFamily="50" charset="0"/>
                <a:ea typeface="+mn-ea"/>
                <a:cs typeface="Calibri" panose="020F0502020204030204" pitchFamily="34" charset="0"/>
              </a:rPr>
              <a:t>≥60 </a:t>
            </a:r>
            <a:r>
              <a:rPr kumimoji="0" lang="en-US" sz="2000" b="1" i="0" u="none" strike="noStrike" kern="1200" cap="none" spc="0" normalizeH="0" baseline="0" noProof="0" dirty="0" err="1">
                <a:ln>
                  <a:noFill/>
                </a:ln>
                <a:solidFill>
                  <a:srgbClr val="0095FF"/>
                </a:solidFill>
                <a:effectLst/>
                <a:uLnTx/>
                <a:uFillTx/>
                <a:latin typeface="Pfizer Tomorrow" panose="02010503040201060303" pitchFamily="50" charset="0"/>
                <a:ea typeface="+mn-ea"/>
                <a:cs typeface="Calibri" panose="020F0502020204030204" pitchFamily="34" charset="0"/>
              </a:rPr>
              <a:t>Yaş</a:t>
            </a:r>
            <a:r>
              <a:rPr kumimoji="0" lang="en-US" sz="2000" b="1" i="0" u="none" strike="noStrike" kern="1200" cap="none" spc="0" normalizeH="0" baseline="0" noProof="0" dirty="0">
                <a:ln>
                  <a:noFill/>
                </a:ln>
                <a:solidFill>
                  <a:srgbClr val="0095FF"/>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0" normalizeH="0" baseline="0" noProof="0" dirty="0" err="1">
                <a:ln>
                  <a:noFill/>
                </a:ln>
                <a:solidFill>
                  <a:srgbClr val="0095FF"/>
                </a:solidFill>
                <a:effectLst/>
                <a:uLnTx/>
                <a:uFillTx/>
                <a:latin typeface="Pfizer Tomorrow" panose="02010503040201060303" pitchFamily="50" charset="0"/>
                <a:ea typeface="+mn-ea"/>
                <a:cs typeface="Calibri" panose="020F0502020204030204" pitchFamily="34" charset="0"/>
              </a:rPr>
              <a:t>Bireylerde</a:t>
            </a:r>
            <a:r>
              <a:rPr kumimoji="0" lang="en-US" sz="2000" b="1" i="0" u="none" strike="noStrike" kern="1200" cap="none" spc="0" normalizeH="0" baseline="0" noProof="0" dirty="0">
                <a:ln>
                  <a:noFill/>
                </a:ln>
                <a:solidFill>
                  <a:srgbClr val="0095FF"/>
                </a:solidFill>
                <a:effectLst/>
                <a:uLnTx/>
                <a:uFillTx/>
                <a:latin typeface="Pfizer Tomorrow" panose="02010503040201060303" pitchFamily="50" charset="0"/>
                <a:ea typeface="+mn-ea"/>
                <a:cs typeface="Calibri" panose="020F0502020204030204" pitchFamily="34" charset="0"/>
              </a:rPr>
              <a:t> </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RSV </a:t>
            </a:r>
            <a:r>
              <a:rPr kumimoji="0" lang="en-US" sz="2000" b="0"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ile</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0"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İlişkili</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0"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ASYİ’nı</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0" i="0" u="none" strike="noStrike" kern="1200" cap="none" spc="0" normalizeH="0" baseline="0" noProof="0" dirty="0" err="1">
                <a:ln>
                  <a:noFill/>
                </a:ln>
                <a:solidFill>
                  <a:srgbClr val="002060"/>
                </a:solidFill>
                <a:effectLst/>
                <a:uLnTx/>
                <a:uFillTx/>
                <a:latin typeface="Pfizer Tomorrow" panose="02010503040201060303" pitchFamily="50" charset="0"/>
                <a:ea typeface="+mn-ea"/>
                <a:cs typeface="Calibri" panose="020F0502020204030204" pitchFamily="34" charset="0"/>
              </a:rPr>
              <a:t>Önlemedeki</a:t>
            </a:r>
            <a:r>
              <a:rPr kumimoji="0" lang="en-US" sz="2000" b="0" i="0"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0" normalizeH="0" baseline="0" noProof="0" dirty="0" err="1">
                <a:ln>
                  <a:noFill/>
                </a:ln>
                <a:solidFill>
                  <a:srgbClr val="0095FF"/>
                </a:solidFill>
                <a:effectLst/>
                <a:uLnTx/>
                <a:uFillTx/>
                <a:latin typeface="Pfizer Tomorrow" panose="02010503040201060303" pitchFamily="50" charset="0"/>
                <a:ea typeface="+mn-ea"/>
                <a:cs typeface="Calibri" panose="020F0502020204030204" pitchFamily="34" charset="0"/>
              </a:rPr>
              <a:t>Güvenliliği</a:t>
            </a:r>
            <a:endParaRPr kumimoji="0" lang="en-US" sz="1700" b="0" i="1" u="none" strike="noStrike" kern="1200" cap="none" spc="0" normalizeH="0" baseline="0" noProof="0" dirty="0">
              <a:ln>
                <a:noFill/>
              </a:ln>
              <a:solidFill>
                <a:srgbClr val="002060"/>
              </a:solidFill>
              <a:effectLst/>
              <a:uLnTx/>
              <a:uFillTx/>
              <a:latin typeface="Pfizer Tomorrow" panose="02010503040201060303" pitchFamily="50" charset="0"/>
              <a:ea typeface="+mn-ea"/>
              <a:cs typeface="Calibri" panose="020F0502020204030204" pitchFamily="34" charset="0"/>
            </a:endParaRPr>
          </a:p>
        </p:txBody>
      </p:sp>
      <p:pic>
        <p:nvPicPr>
          <p:cNvPr id="16" name="Resim 6" descr="metin, öykü gelişim çizgisi; kumpas; grafiğini çıkarma, çizgi, yazı tipi içeren bir resim&#10;&#10;Yapay zeka tarafından oluşturulmuş içerik yanlış olabilir.">
            <a:extLst>
              <a:ext uri="{FF2B5EF4-FFF2-40B4-BE49-F238E27FC236}">
                <a16:creationId xmlns:a16="http://schemas.microsoft.com/office/drawing/2014/main" id="{150C919B-BD7D-0C0A-CE51-0AAA3229662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88303" y="2444505"/>
            <a:ext cx="11215388" cy="3711626"/>
          </a:xfrm>
          <a:prstGeom prst="rect">
            <a:avLst/>
          </a:prstGeom>
        </p:spPr>
      </p:pic>
      <p:sp>
        <p:nvSpPr>
          <p:cNvPr id="17" name="TextBox 9">
            <a:extLst>
              <a:ext uri="{FF2B5EF4-FFF2-40B4-BE49-F238E27FC236}">
                <a16:creationId xmlns:a16="http://schemas.microsoft.com/office/drawing/2014/main" id="{D1126D4B-C82C-4889-D62E-8721CC5BFF9B}"/>
              </a:ext>
            </a:extLst>
          </p:cNvPr>
          <p:cNvSpPr txBox="1"/>
          <p:nvPr/>
        </p:nvSpPr>
        <p:spPr bwMode="gray">
          <a:xfrm>
            <a:off x="2363744" y="2016252"/>
            <a:ext cx="7512442" cy="375487"/>
          </a:xfrm>
          <a:prstGeom prst="rect">
            <a:avLst/>
          </a:prstGeom>
          <a:solidFill>
            <a:schemeClr val="tx2">
              <a:lumMod val="90000"/>
              <a:lumOff val="10000"/>
            </a:schemeClr>
          </a:solidFill>
          <a:effectLst>
            <a:outerShdw dist="12700" dir="16200000" rotWithShape="0">
              <a:schemeClr val="bg2">
                <a:lumMod val="90000"/>
              </a:schemeClr>
            </a:outerShdw>
          </a:effectLst>
        </p:spPr>
        <p:txBody>
          <a:bodyPr wrap="square" lIns="0" tIns="73152" rIns="0">
            <a:noAutofit/>
          </a:bodyPr>
          <a:lstStyle>
            <a:defPPr>
              <a:defRPr lang="en-US"/>
            </a:defPPr>
            <a:lvl1pPr defTabSz="914400">
              <a:lnSpc>
                <a:spcPct val="95000"/>
              </a:lnSpc>
              <a:defRPr sz="1700" b="1">
                <a:solidFill>
                  <a:schemeClr val="accent2"/>
                </a:solidFill>
              </a:defRPr>
            </a:lvl1p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700" b="1" i="0" u="none" strike="noStrike" kern="1200" cap="none" spc="0" normalizeH="0" baseline="0" noProof="0" err="1">
                <a:ln>
                  <a:noFill/>
                </a:ln>
                <a:solidFill>
                  <a:srgbClr val="FFFFFF"/>
                </a:solidFill>
                <a:effectLst/>
                <a:uLnTx/>
                <a:uFillTx/>
                <a:latin typeface="Pfizer Tomorrow" panose="02010503040201060303" pitchFamily="50" charset="0"/>
                <a:ea typeface="+mn-ea"/>
                <a:cs typeface="+mn-cs"/>
              </a:rPr>
              <a:t>Aşılamadan</a:t>
            </a:r>
            <a:r>
              <a:rPr kumimoji="0" lang="en-US" sz="1700" b="1" i="0" u="none" strike="noStrike" kern="1200" cap="none" spc="0" normalizeH="0" baseline="0" noProof="0">
                <a:ln>
                  <a:noFill/>
                </a:ln>
                <a:solidFill>
                  <a:srgbClr val="FFFFFF"/>
                </a:solidFill>
                <a:effectLst/>
                <a:uLnTx/>
                <a:uFillTx/>
                <a:latin typeface="Pfizer Tomorrow" panose="02010503040201060303" pitchFamily="50" charset="0"/>
                <a:ea typeface="+mn-ea"/>
                <a:cs typeface="+mn-cs"/>
              </a:rPr>
              <a:t> </a:t>
            </a:r>
            <a:r>
              <a:rPr kumimoji="0" lang="en-US" sz="1700" b="1" i="0" u="none" strike="noStrike" kern="1200" cap="none" spc="0" normalizeH="0" baseline="0" noProof="0" err="1">
                <a:ln>
                  <a:noFill/>
                </a:ln>
                <a:solidFill>
                  <a:srgbClr val="FFFFFF"/>
                </a:solidFill>
                <a:effectLst/>
                <a:uLnTx/>
                <a:uFillTx/>
                <a:latin typeface="Pfizer Tomorrow" panose="02010503040201060303" pitchFamily="50" charset="0"/>
                <a:ea typeface="+mn-ea"/>
                <a:cs typeface="+mn-cs"/>
              </a:rPr>
              <a:t>sonraki</a:t>
            </a:r>
            <a:r>
              <a:rPr kumimoji="0" lang="en-US" sz="1700" b="1" i="0" u="none" strike="noStrike" kern="1200" cap="none" spc="0" normalizeH="0" baseline="0" noProof="0">
                <a:ln>
                  <a:noFill/>
                </a:ln>
                <a:solidFill>
                  <a:srgbClr val="FFFFFF"/>
                </a:solidFill>
                <a:effectLst/>
                <a:uLnTx/>
                <a:uFillTx/>
                <a:latin typeface="Pfizer Tomorrow" panose="02010503040201060303" pitchFamily="50" charset="0"/>
                <a:ea typeface="+mn-ea"/>
                <a:cs typeface="+mn-cs"/>
              </a:rPr>
              <a:t> 7 </a:t>
            </a:r>
            <a:r>
              <a:rPr kumimoji="0" lang="en-US" sz="1700" b="1" i="0" u="none" strike="noStrike" kern="1200" cap="none" spc="0" normalizeH="0" baseline="0" noProof="0" err="1">
                <a:ln>
                  <a:noFill/>
                </a:ln>
                <a:solidFill>
                  <a:srgbClr val="FFFFFF"/>
                </a:solidFill>
                <a:effectLst/>
                <a:uLnTx/>
                <a:uFillTx/>
                <a:latin typeface="Pfizer Tomorrow" panose="02010503040201060303" pitchFamily="50" charset="0"/>
                <a:ea typeface="+mn-ea"/>
                <a:cs typeface="+mn-cs"/>
              </a:rPr>
              <a:t>gün</a:t>
            </a:r>
            <a:r>
              <a:rPr kumimoji="0" lang="en-US" sz="1700" b="1" i="0" u="none" strike="noStrike" kern="1200" cap="none" spc="0" normalizeH="0" baseline="0" noProof="0">
                <a:ln>
                  <a:noFill/>
                </a:ln>
                <a:solidFill>
                  <a:srgbClr val="FFFFFF"/>
                </a:solidFill>
                <a:effectLst/>
                <a:uLnTx/>
                <a:uFillTx/>
                <a:latin typeface="Pfizer Tomorrow" panose="02010503040201060303" pitchFamily="50" charset="0"/>
                <a:ea typeface="+mn-ea"/>
                <a:cs typeface="+mn-cs"/>
              </a:rPr>
              <a:t> </a:t>
            </a:r>
            <a:r>
              <a:rPr kumimoji="0" lang="en-US" sz="1700" b="1" i="0" u="none" strike="noStrike" kern="1200" cap="none" spc="0" normalizeH="0" baseline="0" noProof="0" err="1">
                <a:ln>
                  <a:noFill/>
                </a:ln>
                <a:solidFill>
                  <a:srgbClr val="FFFFFF"/>
                </a:solidFill>
                <a:effectLst/>
                <a:uLnTx/>
                <a:uFillTx/>
                <a:latin typeface="Pfizer Tomorrow" panose="02010503040201060303" pitchFamily="50" charset="0"/>
                <a:ea typeface="+mn-ea"/>
                <a:cs typeface="+mn-cs"/>
              </a:rPr>
              <a:t>içinde</a:t>
            </a:r>
            <a:r>
              <a:rPr kumimoji="0" lang="en-US" sz="1700" b="1" i="0" u="none" strike="noStrike" kern="1200" cap="none" spc="0" normalizeH="0" baseline="0" noProof="0">
                <a:ln>
                  <a:noFill/>
                </a:ln>
                <a:solidFill>
                  <a:srgbClr val="FFFFFF"/>
                </a:solidFill>
                <a:effectLst/>
                <a:uLnTx/>
                <a:uFillTx/>
                <a:latin typeface="Pfizer Tomorrow" panose="02010503040201060303" pitchFamily="50" charset="0"/>
                <a:ea typeface="+mn-ea"/>
                <a:cs typeface="+mn-cs"/>
              </a:rPr>
              <a:t> </a:t>
            </a:r>
            <a:r>
              <a:rPr kumimoji="0" lang="en-US" sz="1700" b="1" i="0" u="none" strike="noStrike" kern="1200" cap="none" spc="0" normalizeH="0" baseline="0" noProof="0" err="1">
                <a:ln>
                  <a:noFill/>
                </a:ln>
                <a:solidFill>
                  <a:srgbClr val="FFFFFF"/>
                </a:solidFill>
                <a:effectLst/>
                <a:uLnTx/>
                <a:uFillTx/>
                <a:latin typeface="Pfizer Tomorrow" panose="02010503040201060303" pitchFamily="50" charset="0"/>
                <a:ea typeface="+mn-ea"/>
                <a:cs typeface="+mn-cs"/>
              </a:rPr>
              <a:t>şiddetine</a:t>
            </a:r>
            <a:r>
              <a:rPr kumimoji="0" lang="en-US" sz="1700" b="1" i="0" u="none" strike="noStrike" kern="1200" cap="none" spc="0" normalizeH="0" baseline="0" noProof="0">
                <a:ln>
                  <a:noFill/>
                </a:ln>
                <a:solidFill>
                  <a:srgbClr val="FFFFFF"/>
                </a:solidFill>
                <a:effectLst/>
                <a:uLnTx/>
                <a:uFillTx/>
                <a:latin typeface="Pfizer Tomorrow" panose="02010503040201060303" pitchFamily="50" charset="0"/>
                <a:ea typeface="+mn-ea"/>
                <a:cs typeface="+mn-cs"/>
              </a:rPr>
              <a:t> </a:t>
            </a:r>
            <a:r>
              <a:rPr kumimoji="0" lang="en-US" sz="1700" b="1" i="0" u="none" strike="noStrike" kern="1200" cap="none" spc="0" normalizeH="0" baseline="0" noProof="0" err="1">
                <a:ln>
                  <a:noFill/>
                </a:ln>
                <a:solidFill>
                  <a:srgbClr val="FFFFFF"/>
                </a:solidFill>
                <a:effectLst/>
                <a:uLnTx/>
                <a:uFillTx/>
                <a:latin typeface="Pfizer Tomorrow" panose="02010503040201060303" pitchFamily="50" charset="0"/>
                <a:ea typeface="+mn-ea"/>
                <a:cs typeface="+mn-cs"/>
              </a:rPr>
              <a:t>göre</a:t>
            </a:r>
            <a:r>
              <a:rPr kumimoji="0" lang="en-US" sz="1700" b="1" i="0" u="none" strike="noStrike" kern="1200" cap="none" spc="0" normalizeH="0" baseline="0" noProof="0">
                <a:ln>
                  <a:noFill/>
                </a:ln>
                <a:solidFill>
                  <a:srgbClr val="FFFFFF"/>
                </a:solidFill>
                <a:effectLst/>
                <a:uLnTx/>
                <a:uFillTx/>
                <a:latin typeface="Pfizer Tomorrow" panose="02010503040201060303" pitchFamily="50" charset="0"/>
                <a:ea typeface="+mn-ea"/>
                <a:cs typeface="+mn-cs"/>
              </a:rPr>
              <a:t> </a:t>
            </a:r>
            <a:r>
              <a:rPr kumimoji="0" lang="en-US" sz="1700" b="1" i="0" u="none" strike="noStrike" kern="1200" cap="none" spc="0" normalizeH="0" baseline="0" noProof="0" err="1">
                <a:ln>
                  <a:noFill/>
                </a:ln>
                <a:solidFill>
                  <a:srgbClr val="FFFFFF"/>
                </a:solidFill>
                <a:effectLst/>
                <a:uLnTx/>
                <a:uFillTx/>
                <a:latin typeface="Pfizer Tomorrow" panose="02010503040201060303" pitchFamily="50" charset="0"/>
                <a:ea typeface="+mn-ea"/>
                <a:cs typeface="+mn-cs"/>
              </a:rPr>
              <a:t>lokal</a:t>
            </a:r>
            <a:r>
              <a:rPr kumimoji="0" lang="en-US" sz="1700" b="1" i="0" u="none" strike="noStrike" kern="1200" cap="none" spc="0" normalizeH="0" baseline="0" noProof="0">
                <a:ln>
                  <a:noFill/>
                </a:ln>
                <a:solidFill>
                  <a:srgbClr val="FFFFFF"/>
                </a:solidFill>
                <a:effectLst/>
                <a:uLnTx/>
                <a:uFillTx/>
                <a:latin typeface="Pfizer Tomorrow" panose="02010503040201060303" pitchFamily="50" charset="0"/>
                <a:ea typeface="+mn-ea"/>
                <a:cs typeface="+mn-cs"/>
              </a:rPr>
              <a:t> ve </a:t>
            </a:r>
            <a:r>
              <a:rPr kumimoji="0" lang="en-US" sz="1700" b="1" i="0" u="none" strike="noStrike" kern="1200" cap="none" spc="0" normalizeH="0" baseline="0" noProof="0" err="1">
                <a:ln>
                  <a:noFill/>
                </a:ln>
                <a:solidFill>
                  <a:srgbClr val="FFFFFF"/>
                </a:solidFill>
                <a:effectLst/>
                <a:uLnTx/>
                <a:uFillTx/>
                <a:latin typeface="Pfizer Tomorrow" panose="02010503040201060303" pitchFamily="50" charset="0"/>
                <a:ea typeface="+mn-ea"/>
                <a:cs typeface="+mn-cs"/>
              </a:rPr>
              <a:t>sistemik</a:t>
            </a:r>
            <a:r>
              <a:rPr kumimoji="0" lang="en-US" sz="1700" b="1" i="0" u="none" strike="noStrike" kern="1200" cap="none" spc="0" normalizeH="0" baseline="0" noProof="0">
                <a:ln>
                  <a:noFill/>
                </a:ln>
                <a:solidFill>
                  <a:srgbClr val="FFFFFF"/>
                </a:solidFill>
                <a:effectLst/>
                <a:uLnTx/>
                <a:uFillTx/>
                <a:latin typeface="Pfizer Tomorrow" panose="02010503040201060303" pitchFamily="50" charset="0"/>
                <a:ea typeface="+mn-ea"/>
                <a:cs typeface="+mn-cs"/>
              </a:rPr>
              <a:t> </a:t>
            </a:r>
            <a:r>
              <a:rPr kumimoji="0" lang="en-US" sz="1700" b="1" i="0" u="none" strike="noStrike" kern="1200" cap="none" spc="0" normalizeH="0" baseline="0" noProof="0" err="1">
                <a:ln>
                  <a:noFill/>
                </a:ln>
                <a:solidFill>
                  <a:srgbClr val="FFFFFF"/>
                </a:solidFill>
                <a:effectLst/>
                <a:uLnTx/>
                <a:uFillTx/>
                <a:latin typeface="Pfizer Tomorrow" panose="02010503040201060303" pitchFamily="50" charset="0"/>
                <a:ea typeface="+mn-ea"/>
                <a:cs typeface="+mn-cs"/>
              </a:rPr>
              <a:t>olaylar</a:t>
            </a:r>
            <a:endParaRPr kumimoji="0" lang="en-US" sz="1700" b="1" i="0" u="none" strike="noStrike" kern="1200" cap="none" spc="0" normalizeH="0" baseline="0" noProof="0">
              <a:ln>
                <a:noFill/>
              </a:ln>
              <a:solidFill>
                <a:srgbClr val="FFFFFF"/>
              </a:solidFill>
              <a:effectLst/>
              <a:uLnTx/>
              <a:uFillTx/>
              <a:latin typeface="Pfizer Tomorrow" panose="02010503040201060303" pitchFamily="50" charset="0"/>
              <a:ea typeface="+mn-ea"/>
              <a:cs typeface="+mn-cs"/>
            </a:endParaRPr>
          </a:p>
        </p:txBody>
      </p:sp>
      <p:sp>
        <p:nvSpPr>
          <p:cNvPr id="18" name="Metin kutusu 10">
            <a:extLst>
              <a:ext uri="{FF2B5EF4-FFF2-40B4-BE49-F238E27FC236}">
                <a16:creationId xmlns:a16="http://schemas.microsoft.com/office/drawing/2014/main" id="{D766D1E8-FBE5-726A-73FE-2F53E9636A32}"/>
              </a:ext>
            </a:extLst>
          </p:cNvPr>
          <p:cNvSpPr txBox="1"/>
          <p:nvPr/>
        </p:nvSpPr>
        <p:spPr>
          <a:xfrm>
            <a:off x="4876797" y="6470860"/>
            <a:ext cx="2438402" cy="217209"/>
          </a:xfrm>
          <a:prstGeom prst="rect">
            <a:avLst/>
          </a:prstGeom>
          <a:noFill/>
        </p:spPr>
        <p:txBody>
          <a:bodyPr wrap="square">
            <a:spAutoFit/>
          </a:bodyPr>
          <a:lstStyle/>
          <a:p>
            <a:pPr marL="0" marR="0" lvl="0" indent="0" algn="l" defTabSz="228520" rtl="0" eaLnBrk="1" fontAlgn="auto" latinLnBrk="0" hangingPunct="1">
              <a:lnSpc>
                <a:spcPct val="100000"/>
              </a:lnSpc>
              <a:spcBef>
                <a:spcPts val="0"/>
              </a:spcBef>
              <a:spcAft>
                <a:spcPts val="0"/>
              </a:spcAft>
              <a:buClrTx/>
              <a:buSzTx/>
              <a:buFontTx/>
              <a:buNone/>
              <a:tabLst>
                <a:tab pos="55546" algn="r"/>
                <a:tab pos="111092" algn="l"/>
              </a:tabLst>
              <a:defRPr/>
            </a:pPr>
            <a:r>
              <a:rPr kumimoji="0" lang="en-US" sz="800" b="0" i="0" u="none" strike="noStrike" kern="1200" cap="none" spc="0" normalizeH="0" baseline="0" noProof="0">
                <a:ln>
                  <a:noFill/>
                </a:ln>
                <a:solidFill>
                  <a:srgbClr val="000000"/>
                </a:solidFill>
                <a:effectLst/>
                <a:uLnTx/>
                <a:uFillTx/>
                <a:latin typeface="Pfizer Tomorrow" panose="02010503040201060303" pitchFamily="50" charset="0"/>
                <a:ea typeface="+mn-ea"/>
                <a:cs typeface="Calibri" panose="020F0502020204030204" pitchFamily="34" charset="0"/>
              </a:rPr>
              <a:t>Walsh EE, et al. </a:t>
            </a:r>
            <a:r>
              <a:rPr kumimoji="0" lang="en-US" sz="800" b="0" i="1" u="none" strike="noStrike" kern="1200" cap="none" spc="0" normalizeH="0" baseline="0" noProof="0">
                <a:ln>
                  <a:noFill/>
                </a:ln>
                <a:solidFill>
                  <a:srgbClr val="000000"/>
                </a:solidFill>
                <a:effectLst/>
                <a:uLnTx/>
                <a:uFillTx/>
                <a:latin typeface="Pfizer Tomorrow" panose="02010503040201060303" pitchFamily="50" charset="0"/>
                <a:ea typeface="+mn-ea"/>
                <a:cs typeface="Calibri" panose="020F0502020204030204" pitchFamily="34" charset="0"/>
              </a:rPr>
              <a:t>N Engl J Med. </a:t>
            </a:r>
            <a:r>
              <a:rPr kumimoji="0" lang="en-US" sz="800" b="0" i="0" u="none" strike="noStrike" kern="1200" cap="none" spc="0" normalizeH="0" baseline="0" noProof="0">
                <a:ln>
                  <a:noFill/>
                </a:ln>
                <a:solidFill>
                  <a:srgbClr val="000000"/>
                </a:solidFill>
                <a:effectLst/>
                <a:uLnTx/>
                <a:uFillTx/>
                <a:latin typeface="Pfizer Tomorrow" panose="02010503040201060303" pitchFamily="50" charset="0"/>
                <a:ea typeface="+mn-ea"/>
                <a:cs typeface="Calibri" panose="020F0502020204030204" pitchFamily="34" charset="0"/>
              </a:rPr>
              <a:t>2024;391:1459-1460.</a:t>
            </a:r>
            <a:endParaRPr kumimoji="0" lang="en-GB" sz="800" b="0" i="0" u="none" strike="noStrike" kern="1200" cap="none" spc="0" normalizeH="0" baseline="0" noProof="0">
              <a:ln>
                <a:noFill/>
              </a:ln>
              <a:solidFill>
                <a:srgbClr val="000000"/>
              </a:solidFill>
              <a:effectLst/>
              <a:uLnTx/>
              <a:uFillTx/>
              <a:latin typeface="Pfizer Tomorrow" panose="02010503040201060303" pitchFamily="50" charset="0"/>
              <a:ea typeface="+mn-ea"/>
              <a:cs typeface="Calibri" panose="020F0502020204030204" pitchFamily="34" charset="0"/>
            </a:endParaRPr>
          </a:p>
        </p:txBody>
      </p:sp>
      <p:pic>
        <p:nvPicPr>
          <p:cNvPr id="19" name="Picture 18" descr="A black and blue logo&#10;&#10;AI-generated content may be incorrect.">
            <a:extLst>
              <a:ext uri="{FF2B5EF4-FFF2-40B4-BE49-F238E27FC236}">
                <a16:creationId xmlns:a16="http://schemas.microsoft.com/office/drawing/2014/main" id="{257710DD-47B2-8754-0108-1389DCACFFCC}"/>
              </a:ext>
            </a:extLst>
          </p:cNvPr>
          <p:cNvPicPr>
            <a:picLocks noChangeAspect="1"/>
          </p:cNvPicPr>
          <p:nvPr/>
        </p:nvPicPr>
        <p:blipFill>
          <a:blip r:embed="rId3"/>
          <a:stretch>
            <a:fillRect/>
          </a:stretch>
        </p:blipFill>
        <p:spPr>
          <a:xfrm>
            <a:off x="10466403" y="6494969"/>
            <a:ext cx="981021" cy="204067"/>
          </a:xfrm>
          <a:prstGeom prst="rect">
            <a:avLst/>
          </a:prstGeom>
        </p:spPr>
      </p:pic>
      <p:pic>
        <p:nvPicPr>
          <p:cNvPr id="4" name="Picture 3" descr="Background pattern&#10;&#10;Description automatically generated with low confidence">
            <a:extLst>
              <a:ext uri="{FF2B5EF4-FFF2-40B4-BE49-F238E27FC236}">
                <a16:creationId xmlns:a16="http://schemas.microsoft.com/office/drawing/2014/main" id="{D1931CF3-12FF-0617-F1E9-2CF5E86E7DCE}"/>
              </a:ext>
            </a:extLst>
          </p:cNvPr>
          <p:cNvPicPr>
            <a:picLocks noChangeAspect="1"/>
          </p:cNvPicPr>
          <p:nvPr/>
        </p:nvPicPr>
        <p:blipFill rotWithShape="1">
          <a:blip r:embed="rId4"/>
          <a:srcRect l="2283" t="87597" r="86627" b="5244"/>
          <a:stretch/>
        </p:blipFill>
        <p:spPr bwMode="gray">
          <a:xfrm>
            <a:off x="10348562" y="343456"/>
            <a:ext cx="1674631" cy="607987"/>
          </a:xfrm>
          <a:prstGeom prst="rect">
            <a:avLst/>
          </a:prstGeom>
        </p:spPr>
      </p:pic>
    </p:spTree>
    <p:extLst>
      <p:ext uri="{BB962C8B-B14F-4D97-AF65-F5344CB8AC3E}">
        <p14:creationId xmlns:p14="http://schemas.microsoft.com/office/powerpoint/2010/main" val="186328934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5485EC-A020-1847-D656-1040316C51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351232-3EC1-5FD7-B206-F29143E437FA}"/>
              </a:ext>
            </a:extLst>
          </p:cNvPr>
          <p:cNvSpPr>
            <a:spLocks noGrp="1"/>
          </p:cNvSpPr>
          <p:nvPr>
            <p:ph type="title"/>
          </p:nvPr>
        </p:nvSpPr>
        <p:spPr>
          <a:xfrm>
            <a:off x="613152" y="221942"/>
            <a:ext cx="10969218" cy="815898"/>
          </a:xfrm>
        </p:spPr>
        <p:txBody>
          <a:bodyPr anchor="ctr">
            <a:normAutofit fontScale="90000"/>
          </a:bodyPr>
          <a:lstStyle/>
          <a:p>
            <a:r>
              <a:rPr lang="en-US" sz="3200" dirty="0" err="1">
                <a:solidFill>
                  <a:srgbClr val="FFFFFF"/>
                </a:solidFill>
              </a:rPr>
              <a:t>İskoçya</a:t>
            </a:r>
            <a:r>
              <a:rPr lang="en-US" sz="3200" dirty="0">
                <a:solidFill>
                  <a:srgbClr val="FFFFFF"/>
                </a:solidFill>
              </a:rPr>
              <a:t> </a:t>
            </a:r>
            <a:r>
              <a:rPr lang="en-US" sz="3200" dirty="0" err="1">
                <a:solidFill>
                  <a:srgbClr val="FFFFFF"/>
                </a:solidFill>
              </a:rPr>
              <a:t>ve</a:t>
            </a:r>
            <a:r>
              <a:rPr lang="en-US" sz="3200" dirty="0">
                <a:solidFill>
                  <a:srgbClr val="FFFFFF"/>
                </a:solidFill>
              </a:rPr>
              <a:t> </a:t>
            </a:r>
            <a:r>
              <a:rPr lang="en-US" sz="3200" dirty="0" err="1">
                <a:solidFill>
                  <a:srgbClr val="FFFFFF"/>
                </a:solidFill>
              </a:rPr>
              <a:t>İngiltere'de</a:t>
            </a:r>
            <a:r>
              <a:rPr lang="en-US" sz="3200" dirty="0">
                <a:solidFill>
                  <a:srgbClr val="FFFFFF"/>
                </a:solidFill>
              </a:rPr>
              <a:t> RSV </a:t>
            </a:r>
            <a:r>
              <a:rPr lang="en-US" sz="3200" dirty="0" err="1">
                <a:solidFill>
                  <a:srgbClr val="FFFFFF"/>
                </a:solidFill>
              </a:rPr>
              <a:t>Aşılama</a:t>
            </a:r>
            <a:r>
              <a:rPr lang="en-US" sz="3200" dirty="0">
                <a:solidFill>
                  <a:srgbClr val="FFFFFF"/>
                </a:solidFill>
              </a:rPr>
              <a:t> </a:t>
            </a:r>
            <a:r>
              <a:rPr lang="en-US" sz="3200" dirty="0" err="1">
                <a:solidFill>
                  <a:srgbClr val="FFFFFF"/>
                </a:solidFill>
              </a:rPr>
              <a:t>Programı</a:t>
            </a:r>
            <a:r>
              <a:rPr lang="en-US" sz="3200" dirty="0">
                <a:solidFill>
                  <a:srgbClr val="FFFFFF"/>
                </a:solidFill>
              </a:rPr>
              <a:t> (</a:t>
            </a:r>
            <a:r>
              <a:rPr lang="en-US" sz="3200" dirty="0" err="1">
                <a:solidFill>
                  <a:srgbClr val="FFFFFF"/>
                </a:solidFill>
              </a:rPr>
              <a:t>Birleşik</a:t>
            </a:r>
            <a:r>
              <a:rPr lang="en-US" sz="3200" dirty="0">
                <a:solidFill>
                  <a:srgbClr val="FFFFFF"/>
                </a:solidFill>
              </a:rPr>
              <a:t> </a:t>
            </a:r>
            <a:r>
              <a:rPr lang="en-US" sz="3200" dirty="0" err="1">
                <a:solidFill>
                  <a:srgbClr val="FFFFFF"/>
                </a:solidFill>
              </a:rPr>
              <a:t>Krallık</a:t>
            </a:r>
            <a:r>
              <a:rPr lang="en-US" sz="3200" dirty="0">
                <a:solidFill>
                  <a:srgbClr val="FFFFFF"/>
                </a:solidFill>
              </a:rPr>
              <a:t>)</a:t>
            </a:r>
            <a:endParaRPr lang="tr-TR" sz="3200" dirty="0">
              <a:solidFill>
                <a:schemeClr val="bg1"/>
              </a:solidFill>
              <a:latin typeface="+mj-lt"/>
            </a:endParaRPr>
          </a:p>
        </p:txBody>
      </p:sp>
      <p:sp>
        <p:nvSpPr>
          <p:cNvPr id="3" name="Slide Number Placeholder 2">
            <a:extLst>
              <a:ext uri="{FF2B5EF4-FFF2-40B4-BE49-F238E27FC236}">
                <a16:creationId xmlns:a16="http://schemas.microsoft.com/office/drawing/2014/main" id="{3819B48F-1109-1415-345F-44989EEA82C5}"/>
              </a:ext>
            </a:extLst>
          </p:cNvPr>
          <p:cNvSpPr>
            <a:spLocks noGrp="1"/>
          </p:cNvSpPr>
          <p:nvPr>
            <p:ph type="sldNum" sz="quarter" idx="4"/>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2B39012A-6F33-204B-8224-A57BEFB0AAD0}" type="slidenum">
              <a:rPr kumimoji="0" lang="en-US" sz="700" b="1" i="0" u="none" strike="noStrike" kern="1200" cap="none" spc="0" normalizeH="0" baseline="0" noProof="0" smtClean="0">
                <a:ln>
                  <a:noFill/>
                </a:ln>
                <a:solidFill>
                  <a:srgbClr val="0000C9"/>
                </a:solidFill>
                <a:effectLst/>
                <a:uLnTx/>
                <a:uFillTx/>
                <a:latin typeface="Pfizer Tomorrow"/>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88</a:t>
            </a:fld>
            <a:endParaRPr kumimoji="0" lang="en-US" sz="700" b="1" i="0" u="none" strike="noStrike" kern="1200" cap="none" spc="0" normalizeH="0" baseline="0" noProof="0">
              <a:ln>
                <a:noFill/>
              </a:ln>
              <a:solidFill>
                <a:srgbClr val="0000C9"/>
              </a:solidFill>
              <a:effectLst/>
              <a:uLnTx/>
              <a:uFillTx/>
              <a:latin typeface="Pfizer Tomorrow"/>
              <a:ea typeface="+mn-ea"/>
              <a:cs typeface="+mn-cs"/>
            </a:endParaRPr>
          </a:p>
        </p:txBody>
      </p:sp>
      <p:pic>
        <p:nvPicPr>
          <p:cNvPr id="4" name="Resim 6" descr="metin, ekran görüntüsü, yazı tipi içeren bir resim&#10;&#10;Yapay zeka tarafından oluşturulmuş içerik yanlış olabilir.">
            <a:extLst>
              <a:ext uri="{FF2B5EF4-FFF2-40B4-BE49-F238E27FC236}">
                <a16:creationId xmlns:a16="http://schemas.microsoft.com/office/drawing/2014/main" id="{FCD0F53C-7C86-24AA-A49C-BE7310B17F06}"/>
              </a:ext>
            </a:extLst>
          </p:cNvPr>
          <p:cNvPicPr>
            <a:picLocks noChangeAspect="1"/>
          </p:cNvPicPr>
          <p:nvPr/>
        </p:nvPicPr>
        <p:blipFill>
          <a:blip r:embed="rId2"/>
          <a:stretch>
            <a:fillRect/>
          </a:stretch>
        </p:blipFill>
        <p:spPr>
          <a:xfrm>
            <a:off x="250951" y="2451185"/>
            <a:ext cx="9972016" cy="3775367"/>
          </a:xfrm>
          <a:prstGeom prst="rect">
            <a:avLst/>
          </a:prstGeom>
        </p:spPr>
      </p:pic>
      <p:sp>
        <p:nvSpPr>
          <p:cNvPr id="9" name="Metin kutusu 14">
            <a:extLst>
              <a:ext uri="{FF2B5EF4-FFF2-40B4-BE49-F238E27FC236}">
                <a16:creationId xmlns:a16="http://schemas.microsoft.com/office/drawing/2014/main" id="{36EAE43B-FEB0-3837-BC1D-B4F81F2F0899}"/>
              </a:ext>
            </a:extLst>
          </p:cNvPr>
          <p:cNvSpPr txBox="1"/>
          <p:nvPr/>
        </p:nvSpPr>
        <p:spPr>
          <a:xfrm>
            <a:off x="302094" y="1967135"/>
            <a:ext cx="6882327" cy="369332"/>
          </a:xfrm>
          <a:prstGeom prst="rect">
            <a:avLst/>
          </a:prstGeom>
          <a:noFill/>
        </p:spPr>
        <p:txBody>
          <a:bodyPr wrap="square">
            <a:spAutoFit/>
          </a:bodyPr>
          <a:lstStyle/>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2000" b="1" i="0" u="none" strike="noStrike" kern="1200" cap="none" spc="-5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rPr>
              <a:t>RSV </a:t>
            </a:r>
            <a:r>
              <a:rPr kumimoji="0" lang="en-US" sz="2000" b="1" i="0" u="none" strike="noStrike" kern="1200" cap="none" spc="-50" normalizeH="0" baseline="0" noProof="0" dirty="0" err="1">
                <a:ln>
                  <a:noFill/>
                </a:ln>
                <a:solidFill>
                  <a:srgbClr val="02005E"/>
                </a:solidFill>
                <a:effectLst/>
                <a:uLnTx/>
                <a:uFillTx/>
                <a:latin typeface="Pfizer Tomorrow" panose="02010503040201060303" pitchFamily="50" charset="0"/>
                <a:ea typeface="+mn-ea"/>
                <a:cs typeface="Calibri" panose="020F0502020204030204" pitchFamily="34" charset="0"/>
              </a:rPr>
              <a:t>preF</a:t>
            </a:r>
            <a:r>
              <a:rPr kumimoji="0" lang="en-US" sz="2000" b="1" i="0" u="none" strike="noStrike" kern="1200" cap="none" spc="-5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50" normalizeH="0" baseline="0" noProof="0" dirty="0" err="1">
                <a:ln>
                  <a:noFill/>
                </a:ln>
                <a:solidFill>
                  <a:srgbClr val="02005E"/>
                </a:solidFill>
                <a:effectLst/>
                <a:uLnTx/>
                <a:uFillTx/>
                <a:latin typeface="Pfizer Tomorrow" panose="02010503040201060303" pitchFamily="50" charset="0"/>
                <a:ea typeface="+mn-ea"/>
                <a:cs typeface="Calibri" panose="020F0502020204030204" pitchFamily="34" charset="0"/>
              </a:rPr>
              <a:t>aşısının</a:t>
            </a:r>
            <a:r>
              <a:rPr kumimoji="0" lang="en-US" sz="2000" b="1" i="0" u="none" strike="noStrike" kern="1200" cap="none" spc="-5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rPr>
              <a:t> RSV </a:t>
            </a:r>
            <a:r>
              <a:rPr kumimoji="0" lang="en-US" sz="2000" b="1" i="0" u="none" strike="noStrike" kern="1200" cap="none" spc="-50" normalizeH="0" baseline="0" noProof="0" dirty="0" err="1">
                <a:ln>
                  <a:noFill/>
                </a:ln>
                <a:solidFill>
                  <a:srgbClr val="02005E"/>
                </a:solidFill>
                <a:effectLst/>
                <a:uLnTx/>
                <a:uFillTx/>
                <a:latin typeface="Pfizer Tomorrow" panose="02010503040201060303" pitchFamily="50" charset="0"/>
                <a:ea typeface="+mn-ea"/>
                <a:cs typeface="Calibri" panose="020F0502020204030204" pitchFamily="34" charset="0"/>
              </a:rPr>
              <a:t>ilişkili</a:t>
            </a:r>
            <a:r>
              <a:rPr kumimoji="0" lang="en-US" sz="2000" b="1" i="0" u="none" strike="noStrike" kern="1200" cap="none" spc="-5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50" normalizeH="0" baseline="0" noProof="0" dirty="0" err="1">
                <a:ln>
                  <a:noFill/>
                </a:ln>
                <a:solidFill>
                  <a:srgbClr val="02005E"/>
                </a:solidFill>
                <a:effectLst/>
                <a:uLnTx/>
                <a:uFillTx/>
                <a:latin typeface="Pfizer Tomorrow" panose="02010503040201060303" pitchFamily="50" charset="0"/>
                <a:ea typeface="+mn-ea"/>
                <a:cs typeface="Calibri" panose="020F0502020204030204" pitchFamily="34" charset="0"/>
              </a:rPr>
              <a:t>hastane</a:t>
            </a:r>
            <a:r>
              <a:rPr kumimoji="0" lang="en-US" sz="2000" b="1" i="0" u="none" strike="noStrike" kern="1200" cap="none" spc="-5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50" normalizeH="0" baseline="0" noProof="0" dirty="0" err="1">
                <a:ln>
                  <a:noFill/>
                </a:ln>
                <a:solidFill>
                  <a:srgbClr val="02005E"/>
                </a:solidFill>
                <a:effectLst/>
                <a:uLnTx/>
                <a:uFillTx/>
                <a:latin typeface="Pfizer Tomorrow" panose="02010503040201060303" pitchFamily="50" charset="0"/>
                <a:ea typeface="+mn-ea"/>
                <a:cs typeface="Calibri" panose="020F0502020204030204" pitchFamily="34" charset="0"/>
              </a:rPr>
              <a:t>yatış</a:t>
            </a:r>
            <a:r>
              <a:rPr kumimoji="0" lang="en-US" sz="2000" b="1" i="0" u="none" strike="noStrike" kern="1200" cap="none" spc="-5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50" normalizeH="0" baseline="0" noProof="0" dirty="0" err="1">
                <a:ln>
                  <a:noFill/>
                </a:ln>
                <a:solidFill>
                  <a:srgbClr val="02005E"/>
                </a:solidFill>
                <a:effectLst/>
                <a:uLnTx/>
                <a:uFillTx/>
                <a:latin typeface="Pfizer Tomorrow" panose="02010503040201060303" pitchFamily="50" charset="0"/>
                <a:ea typeface="+mn-ea"/>
                <a:cs typeface="Calibri" panose="020F0502020204030204" pitchFamily="34" charset="0"/>
              </a:rPr>
              <a:t>üzerine</a:t>
            </a:r>
            <a:r>
              <a:rPr kumimoji="0" lang="en-US" sz="2000" b="1" i="0" u="none" strike="noStrike" kern="1200" cap="none" spc="-5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rPr>
              <a:t> </a:t>
            </a:r>
            <a:r>
              <a:rPr kumimoji="0" lang="en-US" sz="2000" b="1" i="0" u="none" strike="noStrike" kern="1200" cap="none" spc="-50" normalizeH="0" baseline="0" noProof="0" dirty="0" err="1">
                <a:ln>
                  <a:noFill/>
                </a:ln>
                <a:solidFill>
                  <a:srgbClr val="02005E"/>
                </a:solidFill>
                <a:effectLst/>
                <a:uLnTx/>
                <a:uFillTx/>
                <a:latin typeface="Pfizer Tomorrow" panose="02010503040201060303" pitchFamily="50" charset="0"/>
                <a:ea typeface="+mn-ea"/>
                <a:cs typeface="Calibri" panose="020F0502020204030204" pitchFamily="34" charset="0"/>
              </a:rPr>
              <a:t>etkisi</a:t>
            </a:r>
            <a:endParaRPr kumimoji="0" lang="en-US" sz="2000" b="1" i="0" u="none" strike="noStrike" kern="1200" cap="none" spc="-5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endParaRPr>
          </a:p>
        </p:txBody>
      </p:sp>
      <p:sp>
        <p:nvSpPr>
          <p:cNvPr id="10" name="Text Placeholder 14">
            <a:extLst>
              <a:ext uri="{FF2B5EF4-FFF2-40B4-BE49-F238E27FC236}">
                <a16:creationId xmlns:a16="http://schemas.microsoft.com/office/drawing/2014/main" id="{E9B87718-BDE5-7219-9E4B-F3401E7FDA44}"/>
              </a:ext>
            </a:extLst>
          </p:cNvPr>
          <p:cNvSpPr txBox="1">
            <a:spLocks/>
          </p:cNvSpPr>
          <p:nvPr/>
        </p:nvSpPr>
        <p:spPr bwMode="gray">
          <a:xfrm>
            <a:off x="1571625" y="6476061"/>
            <a:ext cx="3771900" cy="243394"/>
          </a:xfrm>
          <a:prstGeom prst="rect">
            <a:avLst/>
          </a:prstGeom>
        </p:spPr>
        <p:txBody>
          <a:bodyPr lIns="91440" tIns="45720" rIns="91440" bIns="45720" anchor="b"/>
          <a:lstStyle>
            <a:lvl1pPr marL="228600" indent="-228600" algn="l" defTabSz="914400" rtl="0" eaLnBrk="1" latinLnBrk="0" hangingPunct="1">
              <a:lnSpc>
                <a:spcPct val="85000"/>
              </a:lnSpc>
              <a:spcBef>
                <a:spcPts val="200"/>
              </a:spcBef>
              <a:buClr>
                <a:schemeClr val="accent2"/>
              </a:buClr>
              <a:buSzPct val="85000"/>
              <a:buFont typeface="Pfizer Diatype Office" pitchFamily="34" charset="0"/>
              <a:buNone/>
              <a:tabLst>
                <a:tab pos="174625" algn="r"/>
                <a:tab pos="228600" algn="l"/>
              </a:tabLst>
              <a:defRPr lang="en-US" sz="950" kern="1200" spc="0" dirty="0">
                <a:solidFill>
                  <a:srgbClr val="02005E"/>
                </a:solidFill>
                <a:latin typeface="+mn-lt"/>
                <a:ea typeface="+mn-ea"/>
                <a:cs typeface="Pfizer Diatype Office" pitchFamily="34" charset="0"/>
              </a:defRPr>
            </a:lvl1pPr>
            <a:lvl2pPr marL="685629" indent="-228543" algn="l" defTabSz="914171" rtl="0" eaLnBrk="1" latinLnBrk="0" hangingPunct="1">
              <a:lnSpc>
                <a:spcPct val="90000"/>
              </a:lnSpc>
              <a:spcBef>
                <a:spcPts val="500"/>
              </a:spcBef>
              <a:buFont typeface="Pfizer Diatype Office"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Pfizer Diatype Office"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85000"/>
              </a:lnSpc>
              <a:spcBef>
                <a:spcPts val="200"/>
              </a:spcBef>
              <a:spcAft>
                <a:spcPts val="0"/>
              </a:spcAft>
              <a:buClr>
                <a:srgbClr val="0095FF"/>
              </a:buClr>
              <a:buSzPct val="85000"/>
              <a:buFont typeface="Pfizer Diatype Office" pitchFamily="34" charset="0"/>
              <a:buNone/>
              <a:tabLst>
                <a:tab pos="174625" algn="r"/>
                <a:tab pos="228600" algn="l"/>
              </a:tabLst>
              <a:defRPr/>
            </a:pPr>
            <a:endParaRPr kumimoji="0" lang="en-US" sz="950" b="0" i="0" u="none" strike="noStrike" kern="1200" cap="none" spc="0" normalizeH="0" baseline="0" noProof="0" dirty="0">
              <a:ln>
                <a:noFill/>
              </a:ln>
              <a:solidFill>
                <a:srgbClr val="02005E"/>
              </a:solidFill>
              <a:effectLst/>
              <a:uLnTx/>
              <a:uFillTx/>
              <a:latin typeface="Pfizer Tomorrow" panose="02010503040201060303" pitchFamily="50" charset="0"/>
              <a:ea typeface="+mn-ea"/>
            </a:endParaRPr>
          </a:p>
          <a:p>
            <a:pPr marL="228600" marR="0" lvl="0" indent="-228600" algn="l" defTabSz="914400" rtl="0" eaLnBrk="1" fontAlgn="auto" latinLnBrk="0" hangingPunct="1">
              <a:lnSpc>
                <a:spcPct val="85000"/>
              </a:lnSpc>
              <a:spcBef>
                <a:spcPts val="200"/>
              </a:spcBef>
              <a:spcAft>
                <a:spcPts val="0"/>
              </a:spcAft>
              <a:buClr>
                <a:srgbClr val="0095FF"/>
              </a:buClr>
              <a:buSzPct val="85000"/>
              <a:buFont typeface="Pfizer Diatype Office" pitchFamily="34" charset="0"/>
              <a:buNone/>
              <a:tabLst>
                <a:tab pos="174625" algn="r"/>
                <a:tab pos="228600" algn="l"/>
              </a:tabLst>
              <a:defRPr/>
            </a:pPr>
            <a:endParaRPr kumimoji="0" lang="en-US" sz="950" b="0" i="0" u="none" strike="noStrike" kern="1200" cap="none" spc="0" normalizeH="0" baseline="0" noProof="0" dirty="0">
              <a:ln>
                <a:noFill/>
              </a:ln>
              <a:solidFill>
                <a:srgbClr val="02005E"/>
              </a:solidFill>
              <a:effectLst/>
              <a:uLnTx/>
              <a:uFillTx/>
              <a:latin typeface="Pfizer Tomorrow" panose="02010503040201060303" pitchFamily="50" charset="0"/>
              <a:ea typeface="+mn-ea"/>
            </a:endParaRPr>
          </a:p>
          <a:p>
            <a:pPr marL="228600" marR="0" lvl="0" indent="-228600" algn="l" defTabSz="914400" rtl="0" eaLnBrk="1" fontAlgn="auto" latinLnBrk="0" hangingPunct="1">
              <a:lnSpc>
                <a:spcPct val="85000"/>
              </a:lnSpc>
              <a:spcBef>
                <a:spcPts val="200"/>
              </a:spcBef>
              <a:spcAft>
                <a:spcPts val="0"/>
              </a:spcAft>
              <a:buClr>
                <a:srgbClr val="0095FF"/>
              </a:buClr>
              <a:buSzPct val="85000"/>
              <a:buFont typeface="Pfizer Diatype Office" pitchFamily="34" charset="0"/>
              <a:buNone/>
              <a:tabLst>
                <a:tab pos="174625" algn="r"/>
                <a:tab pos="228600" algn="l"/>
              </a:tabLst>
              <a:defRPr/>
            </a:pPr>
            <a:endParaRPr kumimoji="0" lang="en-US" sz="950" b="0" i="0" u="none" strike="noStrike" kern="1200" cap="none" spc="0" normalizeH="0" baseline="0" noProof="0" dirty="0">
              <a:ln>
                <a:noFill/>
              </a:ln>
              <a:solidFill>
                <a:srgbClr val="02005E"/>
              </a:solidFill>
              <a:effectLst/>
              <a:uLnTx/>
              <a:uFillTx/>
              <a:latin typeface="Pfizer Tomorrow" panose="02010503040201060303" pitchFamily="50" charset="0"/>
              <a:ea typeface="+mn-ea"/>
            </a:endParaRPr>
          </a:p>
          <a:p>
            <a:pPr marL="228600" marR="0" lvl="0" indent="-228600" algn="l" defTabSz="914400" rtl="0" eaLnBrk="1" fontAlgn="auto" latinLnBrk="0" hangingPunct="1">
              <a:lnSpc>
                <a:spcPct val="85000"/>
              </a:lnSpc>
              <a:spcBef>
                <a:spcPts val="200"/>
              </a:spcBef>
              <a:spcAft>
                <a:spcPts val="0"/>
              </a:spcAft>
              <a:buClr>
                <a:srgbClr val="0095FF"/>
              </a:buClr>
              <a:buSzPct val="85000"/>
              <a:buFont typeface="Pfizer Diatype Office" pitchFamily="34" charset="0"/>
              <a:buNone/>
              <a:tabLst>
                <a:tab pos="174625" algn="r"/>
                <a:tab pos="228600" algn="l"/>
              </a:tabLst>
              <a:defRPr/>
            </a:pPr>
            <a:endParaRPr kumimoji="0" lang="en-US" sz="800" b="0" i="0" u="none" strike="noStrike" kern="1200" cap="none" spc="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endParaRPr>
          </a:p>
          <a:p>
            <a:pPr marL="228600" marR="0" lvl="0" indent="-228600" algn="l" defTabSz="914400" rtl="0" eaLnBrk="1" fontAlgn="auto" latinLnBrk="0" hangingPunct="1">
              <a:lnSpc>
                <a:spcPct val="85000"/>
              </a:lnSpc>
              <a:spcBef>
                <a:spcPts val="200"/>
              </a:spcBef>
              <a:spcAft>
                <a:spcPts val="0"/>
              </a:spcAft>
              <a:buClr>
                <a:srgbClr val="0095FF"/>
              </a:buClr>
              <a:buSzPct val="85000"/>
              <a:buFont typeface="Pfizer Diatype Office" pitchFamily="34" charset="0"/>
              <a:buNone/>
              <a:tabLst>
                <a:tab pos="174625" algn="r"/>
                <a:tab pos="228600" algn="l"/>
              </a:tabLst>
              <a:defRPr/>
            </a:pPr>
            <a:r>
              <a:rPr kumimoji="0" lang="en-US" sz="800" b="1" i="0" u="none" strike="noStrike" kern="1200" cap="none" spc="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rPr>
              <a:t>Hameed SS et al.</a:t>
            </a:r>
            <a:r>
              <a:rPr kumimoji="0" lang="en-US" sz="800" b="0" i="0" u="none" strike="noStrike" kern="1200" cap="none" spc="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rPr>
              <a:t> </a:t>
            </a:r>
            <a:r>
              <a:rPr kumimoji="0" lang="en-US" sz="800" b="0" i="1" u="none" strike="noStrike" kern="1200" cap="none" spc="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rPr>
              <a:t>Lancet Infect Dis.</a:t>
            </a:r>
            <a:r>
              <a:rPr kumimoji="0" lang="en-US" sz="800" b="0" i="0" u="none" strike="noStrike" kern="1200" cap="none" spc="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rPr>
              <a:t> 2025:S1473-3099(25)00064-7, </a:t>
            </a:r>
            <a:r>
              <a:rPr kumimoji="0" lang="en-US" sz="800" b="1" i="0" u="none" strike="noStrike" kern="1200" cap="none" spc="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rPr>
              <a:t>Mensah A, et al</a:t>
            </a:r>
            <a:r>
              <a:rPr kumimoji="0" lang="en-US" sz="800" b="0" i="0" u="none" strike="noStrike" kern="1200" cap="none" spc="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rPr>
              <a:t>, </a:t>
            </a:r>
            <a:r>
              <a:rPr kumimoji="0" lang="en-US" sz="800" b="0" i="1" u="none" strike="noStrike" kern="1200" cap="none" spc="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rPr>
              <a:t>Lancet</a:t>
            </a:r>
            <a:r>
              <a:rPr kumimoji="0" lang="en-US" sz="800" b="0" i="0" u="none" strike="noStrike" kern="1200" cap="none" spc="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rPr>
              <a:t> 2025; doi.org/10.1016/ S0140-6736(25)00346-0.</a:t>
            </a:r>
            <a:endParaRPr kumimoji="0" lang="en-US" sz="800" b="0" i="1" u="none" strike="noStrike" kern="1200" cap="none" spc="0" normalizeH="0" baseline="0" noProof="0" dirty="0">
              <a:ln>
                <a:noFill/>
              </a:ln>
              <a:solidFill>
                <a:srgbClr val="02005E"/>
              </a:solidFill>
              <a:effectLst/>
              <a:uLnTx/>
              <a:uFillTx/>
              <a:latin typeface="Pfizer Tomorrow" panose="02010503040201060303" pitchFamily="50" charset="0"/>
              <a:ea typeface="+mn-ea"/>
              <a:cs typeface="Calibri" panose="020F0502020204030204" pitchFamily="34" charset="0"/>
            </a:endParaRPr>
          </a:p>
        </p:txBody>
      </p:sp>
      <p:pic>
        <p:nvPicPr>
          <p:cNvPr id="11" name="Picture 10" descr="A black and blue logo&#10;&#10;AI-generated content may be incorrect.">
            <a:extLst>
              <a:ext uri="{FF2B5EF4-FFF2-40B4-BE49-F238E27FC236}">
                <a16:creationId xmlns:a16="http://schemas.microsoft.com/office/drawing/2014/main" id="{01E1372C-63C2-2483-E63B-E93745063114}"/>
              </a:ext>
            </a:extLst>
          </p:cNvPr>
          <p:cNvPicPr>
            <a:picLocks noChangeAspect="1"/>
          </p:cNvPicPr>
          <p:nvPr/>
        </p:nvPicPr>
        <p:blipFill>
          <a:blip r:embed="rId3"/>
          <a:stretch>
            <a:fillRect/>
          </a:stretch>
        </p:blipFill>
        <p:spPr>
          <a:xfrm>
            <a:off x="10466403" y="6494969"/>
            <a:ext cx="981021" cy="204067"/>
          </a:xfrm>
          <a:prstGeom prst="rect">
            <a:avLst/>
          </a:prstGeom>
        </p:spPr>
      </p:pic>
      <p:sp>
        <p:nvSpPr>
          <p:cNvPr id="5" name="Rectangle: Rounded Corners 4">
            <a:extLst>
              <a:ext uri="{FF2B5EF4-FFF2-40B4-BE49-F238E27FC236}">
                <a16:creationId xmlns:a16="http://schemas.microsoft.com/office/drawing/2014/main" id="{167642CE-8CA4-DE67-F192-07EC25BB792F}"/>
              </a:ext>
            </a:extLst>
          </p:cNvPr>
          <p:cNvSpPr/>
          <p:nvPr/>
        </p:nvSpPr>
        <p:spPr>
          <a:xfrm>
            <a:off x="302094" y="1438490"/>
            <a:ext cx="8333532" cy="497327"/>
          </a:xfrm>
          <a:prstGeom prst="round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p>
            <a:pPr defTabSz="342900">
              <a:spcBef>
                <a:spcPts val="225"/>
              </a:spcBef>
              <a:spcAft>
                <a:spcPts val="225"/>
              </a:spcAft>
              <a:defRPr/>
            </a:pPr>
            <a:r>
              <a:rPr lang="en-US" sz="1200" err="1">
                <a:solidFill>
                  <a:prstClr val="black"/>
                </a:solidFill>
                <a:latin typeface="Arial" panose="020B0604020202020204"/>
              </a:rPr>
              <a:t>RSVpreF</a:t>
            </a:r>
            <a:r>
              <a:rPr lang="en-US" sz="1200">
                <a:solidFill>
                  <a:prstClr val="black"/>
                </a:solidFill>
                <a:latin typeface="Arial" panose="020B0604020202020204"/>
              </a:rPr>
              <a:t> </a:t>
            </a:r>
            <a:r>
              <a:rPr lang="en-US" sz="1200" err="1">
                <a:solidFill>
                  <a:prstClr val="black"/>
                </a:solidFill>
                <a:latin typeface="Arial" panose="020B0604020202020204"/>
              </a:rPr>
              <a:t>Aşısı</a:t>
            </a:r>
            <a:r>
              <a:rPr lang="en-US" sz="1200">
                <a:solidFill>
                  <a:prstClr val="black"/>
                </a:solidFill>
                <a:latin typeface="Arial" panose="020B0604020202020204"/>
              </a:rPr>
              <a:t>, 29 </a:t>
            </a:r>
            <a:r>
              <a:rPr lang="en-US" sz="1200" err="1">
                <a:solidFill>
                  <a:prstClr val="black"/>
                </a:solidFill>
                <a:latin typeface="Arial" panose="020B0604020202020204"/>
              </a:rPr>
              <a:t>Kasım</a:t>
            </a:r>
            <a:r>
              <a:rPr lang="en-US" sz="1200">
                <a:solidFill>
                  <a:prstClr val="black"/>
                </a:solidFill>
                <a:latin typeface="Arial" panose="020B0604020202020204"/>
              </a:rPr>
              <a:t> 2023'te </a:t>
            </a:r>
            <a:r>
              <a:rPr lang="en-US" sz="1200" err="1">
                <a:solidFill>
                  <a:prstClr val="black"/>
                </a:solidFill>
                <a:latin typeface="Arial" panose="020B0604020202020204"/>
              </a:rPr>
              <a:t>Birleşik</a:t>
            </a:r>
            <a:r>
              <a:rPr lang="en-US" sz="1200">
                <a:solidFill>
                  <a:prstClr val="black"/>
                </a:solidFill>
                <a:latin typeface="Arial" panose="020B0604020202020204"/>
              </a:rPr>
              <a:t> </a:t>
            </a:r>
            <a:r>
              <a:rPr lang="en-US" sz="1200" err="1">
                <a:solidFill>
                  <a:prstClr val="black"/>
                </a:solidFill>
                <a:latin typeface="Arial" panose="020B0604020202020204"/>
              </a:rPr>
              <a:t>Krallık'ta</a:t>
            </a:r>
            <a:r>
              <a:rPr lang="en-US" sz="1200">
                <a:solidFill>
                  <a:prstClr val="black"/>
                </a:solidFill>
                <a:latin typeface="Arial" panose="020B0604020202020204"/>
              </a:rPr>
              <a:t> onaylanmıştır</a:t>
            </a:r>
            <a:r>
              <a:rPr lang="en-US" sz="1200" baseline="30000">
                <a:solidFill>
                  <a:prstClr val="black"/>
                </a:solidFill>
                <a:latin typeface="Arial" panose="020B0604020202020204"/>
              </a:rPr>
              <a:t>1,2 </a:t>
            </a:r>
          </a:p>
          <a:p>
            <a:pPr defTabSz="342900">
              <a:spcBef>
                <a:spcPts val="225"/>
              </a:spcBef>
              <a:spcAft>
                <a:spcPts val="225"/>
              </a:spcAft>
              <a:defRPr/>
            </a:pPr>
            <a:r>
              <a:rPr lang="en-US" sz="1350" b="1" err="1">
                <a:solidFill>
                  <a:prstClr val="black"/>
                </a:solidFill>
                <a:latin typeface="Arial" panose="020B0604020202020204"/>
              </a:rPr>
              <a:t>RSVpreF</a:t>
            </a:r>
            <a:r>
              <a:rPr lang="en-US" sz="1350" b="1">
                <a:solidFill>
                  <a:prstClr val="black"/>
                </a:solidFill>
                <a:latin typeface="Arial" panose="020B0604020202020204"/>
              </a:rPr>
              <a:t> </a:t>
            </a:r>
            <a:r>
              <a:rPr lang="en-US" sz="1350" b="1" err="1">
                <a:solidFill>
                  <a:prstClr val="black"/>
                </a:solidFill>
                <a:latin typeface="Arial" panose="020B0604020202020204"/>
              </a:rPr>
              <a:t>Aşısı</a:t>
            </a:r>
            <a:r>
              <a:rPr lang="en-US" sz="1350" b="1">
                <a:solidFill>
                  <a:prstClr val="black"/>
                </a:solidFill>
                <a:latin typeface="Arial" panose="020B0604020202020204"/>
              </a:rPr>
              <a:t>, </a:t>
            </a:r>
            <a:r>
              <a:rPr lang="en-US" sz="1350" b="1" err="1">
                <a:solidFill>
                  <a:prstClr val="black"/>
                </a:solidFill>
                <a:latin typeface="Arial" panose="020B0604020202020204"/>
              </a:rPr>
              <a:t>Birleşik</a:t>
            </a:r>
            <a:r>
              <a:rPr lang="en-US" sz="1350" b="1">
                <a:solidFill>
                  <a:prstClr val="black"/>
                </a:solidFill>
                <a:latin typeface="Arial" panose="020B0604020202020204"/>
              </a:rPr>
              <a:t> </a:t>
            </a:r>
            <a:r>
              <a:rPr lang="en-US" sz="1350" b="1" err="1">
                <a:solidFill>
                  <a:prstClr val="black"/>
                </a:solidFill>
                <a:latin typeface="Arial" panose="020B0604020202020204"/>
              </a:rPr>
              <a:t>Krallık’ta</a:t>
            </a:r>
            <a:r>
              <a:rPr lang="en-US" sz="1350" b="1">
                <a:solidFill>
                  <a:prstClr val="black"/>
                </a:solidFill>
                <a:latin typeface="Arial" panose="020B0604020202020204"/>
              </a:rPr>
              <a:t> rutin </a:t>
            </a:r>
            <a:r>
              <a:rPr lang="en-US" sz="1350" b="1" err="1">
                <a:solidFill>
                  <a:prstClr val="black"/>
                </a:solidFill>
                <a:latin typeface="Arial" panose="020B0604020202020204"/>
              </a:rPr>
              <a:t>bağışıklamaya</a:t>
            </a:r>
            <a:r>
              <a:rPr lang="en-US" sz="1350" b="1">
                <a:solidFill>
                  <a:prstClr val="black"/>
                </a:solidFill>
                <a:latin typeface="Arial" panose="020B0604020202020204"/>
              </a:rPr>
              <a:t> </a:t>
            </a:r>
            <a:r>
              <a:rPr lang="en-US" sz="1350" b="1" err="1">
                <a:solidFill>
                  <a:prstClr val="black"/>
                </a:solidFill>
                <a:latin typeface="Arial" panose="020B0604020202020204"/>
              </a:rPr>
              <a:t>dahil</a:t>
            </a:r>
            <a:r>
              <a:rPr lang="en-US" sz="1350" b="1">
                <a:solidFill>
                  <a:prstClr val="black"/>
                </a:solidFill>
                <a:latin typeface="Arial" panose="020B0604020202020204"/>
              </a:rPr>
              <a:t> </a:t>
            </a:r>
            <a:r>
              <a:rPr lang="en-US" sz="1350" b="1" err="1">
                <a:solidFill>
                  <a:prstClr val="black"/>
                </a:solidFill>
                <a:latin typeface="Arial" panose="020B0604020202020204"/>
              </a:rPr>
              <a:t>edilen</a:t>
            </a:r>
            <a:r>
              <a:rPr lang="en-US" sz="1350" b="1">
                <a:solidFill>
                  <a:prstClr val="black"/>
                </a:solidFill>
                <a:latin typeface="Arial" panose="020B0604020202020204"/>
              </a:rPr>
              <a:t> </a:t>
            </a:r>
            <a:r>
              <a:rPr lang="en-US" sz="1350" b="1" err="1">
                <a:solidFill>
                  <a:prstClr val="black"/>
                </a:solidFill>
                <a:latin typeface="Arial" panose="020B0604020202020204"/>
              </a:rPr>
              <a:t>tek</a:t>
            </a:r>
            <a:r>
              <a:rPr lang="en-US" sz="1350" b="1">
                <a:solidFill>
                  <a:prstClr val="black"/>
                </a:solidFill>
                <a:latin typeface="Arial" panose="020B0604020202020204"/>
              </a:rPr>
              <a:t> RSV </a:t>
            </a:r>
            <a:r>
              <a:rPr lang="en-US" sz="1350" b="1" err="1">
                <a:solidFill>
                  <a:prstClr val="black"/>
                </a:solidFill>
                <a:latin typeface="Arial" panose="020B0604020202020204"/>
              </a:rPr>
              <a:t>aşısıdır</a:t>
            </a:r>
            <a:endParaRPr lang="en-US" sz="1350" b="1" spc="-23">
              <a:solidFill>
                <a:prstClr val="white"/>
              </a:solidFill>
              <a:latin typeface="Arial" panose="020B0604020202020204"/>
            </a:endParaRPr>
          </a:p>
        </p:txBody>
      </p:sp>
      <p:pic>
        <p:nvPicPr>
          <p:cNvPr id="7" name="Graphic 6" descr="Warning with solid fill">
            <a:extLst>
              <a:ext uri="{FF2B5EF4-FFF2-40B4-BE49-F238E27FC236}">
                <a16:creationId xmlns:a16="http://schemas.microsoft.com/office/drawing/2014/main" id="{95204F9A-D614-DEE0-FF0B-570D50AECC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18203" y="1662078"/>
            <a:ext cx="212998" cy="212998"/>
          </a:xfrm>
          <a:prstGeom prst="rect">
            <a:avLst/>
          </a:prstGeom>
        </p:spPr>
      </p:pic>
    </p:spTree>
    <p:extLst>
      <p:ext uri="{BB962C8B-B14F-4D97-AF65-F5344CB8AC3E}">
        <p14:creationId xmlns:p14="http://schemas.microsoft.com/office/powerpoint/2010/main" val="36537792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4F8A84-F64F-6EE2-24CE-859D7E7745A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60BB19-5D80-881B-D47E-57AAC4F000D0}"/>
              </a:ext>
            </a:extLst>
          </p:cNvPr>
          <p:cNvSpPr>
            <a:spLocks noGrp="1"/>
          </p:cNvSpPr>
          <p:nvPr>
            <p:ph type="title"/>
          </p:nvPr>
        </p:nvSpPr>
        <p:spPr>
          <a:xfrm>
            <a:off x="613152" y="221942"/>
            <a:ext cx="10969218" cy="815898"/>
          </a:xfrm>
        </p:spPr>
        <p:txBody>
          <a:bodyPr anchor="ctr">
            <a:normAutofit fontScale="90000"/>
          </a:bodyPr>
          <a:lstStyle/>
          <a:p>
            <a:r>
              <a:rPr lang="en-US" sz="3200" dirty="0" err="1">
                <a:solidFill>
                  <a:srgbClr val="FFFFFF"/>
                </a:solidFill>
              </a:rPr>
              <a:t>Sonuçlar</a:t>
            </a:r>
            <a:r>
              <a:rPr lang="en-US" sz="3200" dirty="0">
                <a:solidFill>
                  <a:srgbClr val="FFFFFF"/>
                </a:solidFill>
              </a:rPr>
              <a:t>: </a:t>
            </a:r>
            <a:r>
              <a:rPr lang="en-US" sz="3200" dirty="0" err="1">
                <a:solidFill>
                  <a:srgbClr val="FFFFFF"/>
                </a:solidFill>
              </a:rPr>
              <a:t>İskoçya'da</a:t>
            </a:r>
            <a:r>
              <a:rPr lang="en-US" sz="3200" dirty="0">
                <a:solidFill>
                  <a:srgbClr val="FFFFFF"/>
                </a:solidFill>
              </a:rPr>
              <a:t> Yaşa </a:t>
            </a:r>
            <a:r>
              <a:rPr lang="en-US" sz="3200" dirty="0" err="1">
                <a:solidFill>
                  <a:srgbClr val="FFFFFF"/>
                </a:solidFill>
              </a:rPr>
              <a:t>Göre</a:t>
            </a:r>
            <a:r>
              <a:rPr lang="en-US" sz="3200" dirty="0">
                <a:solidFill>
                  <a:srgbClr val="FFFFFF"/>
                </a:solidFill>
              </a:rPr>
              <a:t> RSV </a:t>
            </a:r>
            <a:r>
              <a:rPr lang="en-US" sz="3200" dirty="0" err="1">
                <a:solidFill>
                  <a:srgbClr val="FFFFFF"/>
                </a:solidFill>
              </a:rPr>
              <a:t>ile</a:t>
            </a:r>
            <a:r>
              <a:rPr lang="en-US" sz="3200" dirty="0">
                <a:solidFill>
                  <a:srgbClr val="FFFFFF"/>
                </a:solidFill>
              </a:rPr>
              <a:t> </a:t>
            </a:r>
            <a:r>
              <a:rPr lang="en-US" sz="3200" dirty="0" err="1">
                <a:solidFill>
                  <a:srgbClr val="FFFFFF"/>
                </a:solidFill>
              </a:rPr>
              <a:t>ilgili</a:t>
            </a:r>
            <a:r>
              <a:rPr lang="en-US" sz="3200" dirty="0">
                <a:solidFill>
                  <a:srgbClr val="FFFFFF"/>
                </a:solidFill>
              </a:rPr>
              <a:t> </a:t>
            </a:r>
            <a:r>
              <a:rPr lang="en-US" sz="3200" dirty="0" err="1">
                <a:solidFill>
                  <a:srgbClr val="FFFFFF"/>
                </a:solidFill>
              </a:rPr>
              <a:t>Hastaneye</a:t>
            </a:r>
            <a:r>
              <a:rPr lang="en-US" sz="3200" dirty="0">
                <a:solidFill>
                  <a:srgbClr val="FFFFFF"/>
                </a:solidFill>
              </a:rPr>
              <a:t> </a:t>
            </a:r>
            <a:r>
              <a:rPr lang="en-US" sz="3200" dirty="0" err="1">
                <a:solidFill>
                  <a:srgbClr val="FFFFFF"/>
                </a:solidFill>
              </a:rPr>
              <a:t>Yatışlar</a:t>
            </a:r>
            <a:endParaRPr lang="tr-TR" sz="3200" dirty="0">
              <a:solidFill>
                <a:schemeClr val="bg1"/>
              </a:solidFill>
              <a:latin typeface="+mj-lt"/>
            </a:endParaRPr>
          </a:p>
        </p:txBody>
      </p:sp>
      <p:sp>
        <p:nvSpPr>
          <p:cNvPr id="3" name="Slide Number Placeholder 2">
            <a:extLst>
              <a:ext uri="{FF2B5EF4-FFF2-40B4-BE49-F238E27FC236}">
                <a16:creationId xmlns:a16="http://schemas.microsoft.com/office/drawing/2014/main" id="{D2BBDB8C-D4D9-553A-0A5C-D5DA880DD752}"/>
              </a:ext>
            </a:extLst>
          </p:cNvPr>
          <p:cNvSpPr>
            <a:spLocks noGrp="1"/>
          </p:cNvSpPr>
          <p:nvPr>
            <p:ph type="sldNum" sz="quarter" idx="4"/>
          </p:nvPr>
        </p:nvSpPr>
        <p:spPr/>
        <p:txBody>
          <a:bodyPr/>
          <a:lstStyle/>
          <a:p>
            <a:fld id="{2B39012A-6F33-204B-8224-A57BEFB0AAD0}" type="slidenum">
              <a:rPr lang="en-US" smtClean="0">
                <a:latin typeface="+mj-lt"/>
              </a:rPr>
              <a:pPr/>
              <a:t>89</a:t>
            </a:fld>
            <a:endParaRPr lang="en-US">
              <a:latin typeface="+mj-lt"/>
            </a:endParaRPr>
          </a:p>
        </p:txBody>
      </p:sp>
      <p:pic>
        <p:nvPicPr>
          <p:cNvPr id="8" name="Picture 7" descr="A black and blue logo&#10;&#10;AI-generated content may be incorrect.">
            <a:extLst>
              <a:ext uri="{FF2B5EF4-FFF2-40B4-BE49-F238E27FC236}">
                <a16:creationId xmlns:a16="http://schemas.microsoft.com/office/drawing/2014/main" id="{BE162A5B-6055-19F1-B303-6BC638058FE5}"/>
              </a:ext>
            </a:extLst>
          </p:cNvPr>
          <p:cNvPicPr>
            <a:picLocks noChangeAspect="1"/>
          </p:cNvPicPr>
          <p:nvPr/>
        </p:nvPicPr>
        <p:blipFill>
          <a:blip r:embed="rId2"/>
          <a:stretch>
            <a:fillRect/>
          </a:stretch>
        </p:blipFill>
        <p:spPr>
          <a:xfrm>
            <a:off x="10466403" y="6494969"/>
            <a:ext cx="981021" cy="204067"/>
          </a:xfrm>
          <a:prstGeom prst="rect">
            <a:avLst/>
          </a:prstGeom>
        </p:spPr>
      </p:pic>
      <p:sp>
        <p:nvSpPr>
          <p:cNvPr id="17" name="Text Placeholder 14">
            <a:extLst>
              <a:ext uri="{FF2B5EF4-FFF2-40B4-BE49-F238E27FC236}">
                <a16:creationId xmlns:a16="http://schemas.microsoft.com/office/drawing/2014/main" id="{0A8FCF1F-C4C1-D1EF-E619-F6F05BE4D35F}"/>
              </a:ext>
            </a:extLst>
          </p:cNvPr>
          <p:cNvSpPr txBox="1">
            <a:spLocks/>
          </p:cNvSpPr>
          <p:nvPr/>
        </p:nvSpPr>
        <p:spPr bwMode="gray">
          <a:xfrm>
            <a:off x="1035110" y="6540101"/>
            <a:ext cx="6568062" cy="260604"/>
          </a:xfrm>
          <a:prstGeom prst="rect">
            <a:avLst/>
          </a:prstGeom>
        </p:spPr>
        <p:txBody>
          <a:bodyPr lIns="68580" tIns="34290" rIns="68580" bIns="34290" anchor="b"/>
          <a:lstStyle>
            <a:lvl1pPr marL="228600" indent="-228600" algn="l" defTabSz="914400" rtl="0" eaLnBrk="1" latinLnBrk="0" hangingPunct="1">
              <a:lnSpc>
                <a:spcPct val="85000"/>
              </a:lnSpc>
              <a:spcBef>
                <a:spcPts val="200"/>
              </a:spcBef>
              <a:buClr>
                <a:schemeClr val="accent2"/>
              </a:buClr>
              <a:buSzPct val="85000"/>
              <a:buFont typeface="Pfizer Diatype Office" pitchFamily="34" charset="0"/>
              <a:buNone/>
              <a:tabLst>
                <a:tab pos="174625" algn="r"/>
                <a:tab pos="228600" algn="l"/>
              </a:tabLst>
              <a:defRPr lang="en-US" sz="950" kern="1200" spc="0" dirty="0">
                <a:solidFill>
                  <a:srgbClr val="02005E"/>
                </a:solidFill>
                <a:latin typeface="+mn-lt"/>
                <a:ea typeface="+mn-ea"/>
                <a:cs typeface="Pfizer Diatype Office" pitchFamily="34" charset="0"/>
              </a:defRPr>
            </a:lvl1pPr>
            <a:lvl2pPr marL="685629" indent="-228543" algn="l" defTabSz="914171" rtl="0" eaLnBrk="1" latinLnBrk="0" hangingPunct="1">
              <a:lnSpc>
                <a:spcPct val="90000"/>
              </a:lnSpc>
              <a:spcBef>
                <a:spcPts val="500"/>
              </a:spcBef>
              <a:buFont typeface="Pfizer Diatype Office"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Pfizer Diatype Office"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9pPr>
          </a:lstStyle>
          <a:p>
            <a:pPr marL="171450" indent="-171450" algn="r" defTabSz="685800">
              <a:spcBef>
                <a:spcPts val="150"/>
              </a:spcBef>
              <a:buClr>
                <a:srgbClr val="0095FF"/>
              </a:buClr>
              <a:tabLst>
                <a:tab pos="130969" algn="r"/>
                <a:tab pos="171450" algn="l"/>
              </a:tabLst>
              <a:defRPr/>
            </a:pPr>
            <a:endParaRPr lang="en-US" sz="1050" dirty="0">
              <a:latin typeface="Arial" panose="020B0604020202020204"/>
            </a:endParaRPr>
          </a:p>
          <a:p>
            <a:pPr marL="171450" indent="-171450" algn="r" defTabSz="685800">
              <a:spcBef>
                <a:spcPts val="150"/>
              </a:spcBef>
              <a:buClr>
                <a:srgbClr val="0095FF"/>
              </a:buClr>
              <a:tabLst>
                <a:tab pos="130969" algn="r"/>
                <a:tab pos="171450" algn="l"/>
              </a:tabLst>
              <a:defRPr/>
            </a:pPr>
            <a:endParaRPr lang="en-US" sz="1050" dirty="0">
              <a:latin typeface="Arial" panose="020B0604020202020204"/>
            </a:endParaRPr>
          </a:p>
          <a:p>
            <a:pPr marL="171450" indent="-171450" algn="r" defTabSz="685800">
              <a:spcBef>
                <a:spcPts val="150"/>
              </a:spcBef>
              <a:buClr>
                <a:srgbClr val="0095FF"/>
              </a:buClr>
              <a:tabLst>
                <a:tab pos="130969" algn="r"/>
                <a:tab pos="171450" algn="l"/>
              </a:tabLst>
              <a:defRPr/>
            </a:pPr>
            <a:endParaRPr lang="en-US" sz="1050" dirty="0">
              <a:latin typeface="Arial" panose="020B0604020202020204"/>
            </a:endParaRPr>
          </a:p>
          <a:p>
            <a:pPr marL="171450" indent="-171450" algn="r" defTabSz="685800">
              <a:spcBef>
                <a:spcPts val="150"/>
              </a:spcBef>
              <a:buClr>
                <a:srgbClr val="0095FF"/>
              </a:buClr>
              <a:tabLst>
                <a:tab pos="130969" algn="r"/>
                <a:tab pos="171450" algn="l"/>
              </a:tabLst>
              <a:defRPr/>
            </a:pPr>
            <a:endParaRPr lang="en-US" sz="1050" dirty="0">
              <a:latin typeface="Arial" panose="020B0604020202020204"/>
            </a:endParaRPr>
          </a:p>
          <a:p>
            <a:pPr marL="171450" indent="-171450" algn="r" defTabSz="685800">
              <a:spcBef>
                <a:spcPts val="150"/>
              </a:spcBef>
              <a:buClr>
                <a:srgbClr val="0095FF"/>
              </a:buClr>
              <a:tabLst>
                <a:tab pos="130969" algn="r"/>
                <a:tab pos="171450" algn="l"/>
              </a:tabLst>
              <a:defRPr/>
            </a:pPr>
            <a:r>
              <a:rPr lang="en-US" sz="1050" dirty="0">
                <a:latin typeface="Arial" panose="020B0604020202020204"/>
              </a:rPr>
              <a:t>RSV, </a:t>
            </a:r>
            <a:r>
              <a:rPr lang="en-US" sz="1050" dirty="0" err="1">
                <a:latin typeface="Arial" panose="020B0604020202020204"/>
              </a:rPr>
              <a:t>solunum</a:t>
            </a:r>
            <a:r>
              <a:rPr lang="en-US" sz="1050" dirty="0">
                <a:latin typeface="Arial" panose="020B0604020202020204"/>
              </a:rPr>
              <a:t> </a:t>
            </a:r>
            <a:r>
              <a:rPr lang="en-US" sz="1050" dirty="0" err="1">
                <a:latin typeface="Arial" panose="020B0604020202020204"/>
              </a:rPr>
              <a:t>sinsityal</a:t>
            </a:r>
            <a:r>
              <a:rPr lang="en-US" sz="1050" dirty="0">
                <a:latin typeface="Arial" panose="020B0604020202020204"/>
              </a:rPr>
              <a:t> </a:t>
            </a:r>
            <a:r>
              <a:rPr lang="en-US" sz="1050" dirty="0" err="1">
                <a:latin typeface="Arial" panose="020B0604020202020204"/>
              </a:rPr>
              <a:t>virüsü</a:t>
            </a:r>
            <a:r>
              <a:rPr lang="en-US" sz="1050" dirty="0">
                <a:latin typeface="Arial" panose="020B0604020202020204"/>
              </a:rPr>
              <a:t>; Hameed SS et al. </a:t>
            </a:r>
            <a:r>
              <a:rPr lang="en-US" sz="1050" i="1" dirty="0">
                <a:latin typeface="Arial" panose="020B0604020202020204"/>
              </a:rPr>
              <a:t>Lancet Infect Dis.</a:t>
            </a:r>
            <a:r>
              <a:rPr lang="en-US" sz="1050" dirty="0">
                <a:latin typeface="Arial" panose="020B0604020202020204"/>
              </a:rPr>
              <a:t> 2025:S1473-3099(25)00064-7. </a:t>
            </a:r>
          </a:p>
          <a:p>
            <a:pPr marL="171450" indent="-171450" algn="r" defTabSz="685800">
              <a:spcBef>
                <a:spcPts val="150"/>
              </a:spcBef>
              <a:buClr>
                <a:srgbClr val="0095FF"/>
              </a:buClr>
              <a:tabLst>
                <a:tab pos="130969" algn="r"/>
                <a:tab pos="171450" algn="l"/>
              </a:tabLst>
              <a:defRPr/>
            </a:pPr>
            <a:r>
              <a:rPr lang="en-US" sz="1050" dirty="0">
                <a:latin typeface="Arial" panose="020B0604020202020204"/>
              </a:rPr>
              <a:t> </a:t>
            </a:r>
          </a:p>
        </p:txBody>
      </p:sp>
      <p:sp>
        <p:nvSpPr>
          <p:cNvPr id="4" name="Text Placeholder 4">
            <a:extLst>
              <a:ext uri="{FF2B5EF4-FFF2-40B4-BE49-F238E27FC236}">
                <a16:creationId xmlns:a16="http://schemas.microsoft.com/office/drawing/2014/main" id="{D484A838-7634-6BCA-3EC2-45DC17963B9A}"/>
              </a:ext>
            </a:extLst>
          </p:cNvPr>
          <p:cNvSpPr txBox="1">
            <a:spLocks/>
          </p:cNvSpPr>
          <p:nvPr/>
        </p:nvSpPr>
        <p:spPr bwMode="gray">
          <a:xfrm>
            <a:off x="485528" y="1709308"/>
            <a:ext cx="5126704" cy="523661"/>
          </a:xfrm>
          <a:prstGeom prst="rect">
            <a:avLst/>
          </a:prstGeom>
          <a:solidFill>
            <a:schemeClr val="bg1"/>
          </a:solidFill>
          <a:ln w="28575" cap="flat" cmpd="sng" algn="ctr">
            <a:noFill/>
            <a:prstDash val="solid"/>
            <a:miter lim="800000"/>
            <a:headEnd type="none" w="med" len="med"/>
            <a:tailEnd type="none" w="med" len="med"/>
          </a:ln>
          <a:effectLst>
            <a:outerShdw dist="25400" dir="16200000" rotWithShape="0">
              <a:schemeClr val="accent1"/>
            </a:outerShdw>
          </a:effectLst>
        </p:spPr>
        <p:txBody>
          <a:bodyPr vert="horz" wrap="square" lIns="0" tIns="68580" rIns="0" bIns="34290" numCol="1" rtlCol="0" anchor="t" anchorCtr="0" compatLnSpc="1">
            <a:prstTxWarp prst="textNoShape">
              <a:avLst/>
            </a:prstTxWarp>
            <a:noAutofit/>
          </a:bodyPr>
          <a:lstStyle>
            <a:defPPr>
              <a:defRPr lang="en-US"/>
            </a:defPPr>
            <a:lvl1pPr indent="0" fontAlgn="base">
              <a:lnSpc>
                <a:spcPct val="90000"/>
              </a:lnSpc>
              <a:spcBef>
                <a:spcPts val="0"/>
              </a:spcBef>
              <a:spcAft>
                <a:spcPct val="0"/>
              </a:spcAft>
              <a:buClr>
                <a:schemeClr val="accent2"/>
              </a:buClr>
              <a:buSzPct val="90000"/>
              <a:buNone/>
              <a:defRPr kumimoji="0" b="1" i="0" u="none" strike="noStrike" cap="none" normalizeH="0" baseline="0">
                <a:ln>
                  <a:noFill/>
                </a:ln>
                <a:solidFill>
                  <a:schemeClr val="accent1"/>
                </a:solidFill>
                <a:effectLst/>
                <a:latin typeface="Pfizer Tomorrow" panose="02010503040201060303" pitchFamily="2"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defTabSz="171390">
              <a:buClr>
                <a:srgbClr val="0095FF"/>
              </a:buClr>
              <a:defRPr/>
            </a:pPr>
            <a:endParaRPr lang="en-US" sz="1350">
              <a:solidFill>
                <a:srgbClr val="0000C9"/>
              </a:solidFill>
              <a:latin typeface="Arial" panose="020B0604020202020204"/>
            </a:endParaRPr>
          </a:p>
        </p:txBody>
      </p:sp>
      <p:sp>
        <p:nvSpPr>
          <p:cNvPr id="6" name="Text Placeholder 4">
            <a:extLst>
              <a:ext uri="{FF2B5EF4-FFF2-40B4-BE49-F238E27FC236}">
                <a16:creationId xmlns:a16="http://schemas.microsoft.com/office/drawing/2014/main" id="{612A5BFA-8F68-BEFC-5A0D-50F9BECD0387}"/>
              </a:ext>
            </a:extLst>
          </p:cNvPr>
          <p:cNvSpPr txBox="1">
            <a:spLocks/>
          </p:cNvSpPr>
          <p:nvPr/>
        </p:nvSpPr>
        <p:spPr bwMode="gray">
          <a:xfrm>
            <a:off x="6143890" y="1709308"/>
            <a:ext cx="5126703" cy="523661"/>
          </a:xfrm>
          <a:prstGeom prst="rect">
            <a:avLst/>
          </a:prstGeom>
          <a:solidFill>
            <a:schemeClr val="bg1"/>
          </a:solidFill>
          <a:ln w="28575" cap="flat" cmpd="sng" algn="ctr">
            <a:noFill/>
            <a:prstDash val="solid"/>
            <a:miter lim="800000"/>
            <a:headEnd type="none" w="med" len="med"/>
            <a:tailEnd type="none" w="med" len="med"/>
          </a:ln>
          <a:effectLst>
            <a:outerShdw dist="25400" dir="16200000" rotWithShape="0">
              <a:schemeClr val="accent1"/>
            </a:outerShdw>
          </a:effectLst>
        </p:spPr>
        <p:txBody>
          <a:bodyPr vert="horz" wrap="square" lIns="0" tIns="68580" rIns="0" bIns="34290" numCol="1" rtlCol="0" anchor="t" anchorCtr="0" compatLnSpc="1">
            <a:prstTxWarp prst="textNoShape">
              <a:avLst/>
            </a:prstTxWarp>
            <a:noAutofit/>
          </a:bodyPr>
          <a:lstStyle>
            <a:defPPr>
              <a:defRPr lang="en-US"/>
            </a:defPPr>
            <a:lvl1pPr indent="0" fontAlgn="base">
              <a:lnSpc>
                <a:spcPct val="90000"/>
              </a:lnSpc>
              <a:spcBef>
                <a:spcPts val="0"/>
              </a:spcBef>
              <a:spcAft>
                <a:spcPct val="0"/>
              </a:spcAft>
              <a:buClr>
                <a:schemeClr val="accent2"/>
              </a:buClr>
              <a:buSzPct val="90000"/>
              <a:buNone/>
              <a:defRPr kumimoji="0" b="1" i="0" u="none" strike="noStrike" cap="none" normalizeH="0" baseline="0">
                <a:ln>
                  <a:noFill/>
                </a:ln>
                <a:solidFill>
                  <a:schemeClr val="accent1"/>
                </a:solidFill>
                <a:effectLst/>
                <a:latin typeface="Pfizer Tomorrow" panose="02010503040201060303" pitchFamily="2"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defTabSz="171390">
              <a:buClr>
                <a:srgbClr val="0095FF"/>
              </a:buClr>
              <a:defRPr/>
            </a:pPr>
            <a:endParaRPr lang="en-US" sz="1350">
              <a:solidFill>
                <a:srgbClr val="0000C9"/>
              </a:solidFill>
              <a:latin typeface="Arial" panose="020B0604020202020204"/>
            </a:endParaRPr>
          </a:p>
        </p:txBody>
      </p:sp>
      <p:graphicFrame>
        <p:nvGraphicFramePr>
          <p:cNvPr id="10" name="Chart 9">
            <a:extLst>
              <a:ext uri="{FF2B5EF4-FFF2-40B4-BE49-F238E27FC236}">
                <a16:creationId xmlns:a16="http://schemas.microsoft.com/office/drawing/2014/main" id="{F401C53F-EE4E-2FFB-0D41-4FC3AFA557C2}"/>
              </a:ext>
            </a:extLst>
          </p:cNvPr>
          <p:cNvGraphicFramePr>
            <a:graphicFrameLocks/>
          </p:cNvGraphicFramePr>
          <p:nvPr>
            <p:extLst>
              <p:ext uri="{D42A27DB-BD31-4B8C-83A1-F6EECF244321}">
                <p14:modId xmlns:p14="http://schemas.microsoft.com/office/powerpoint/2010/main" val="447315788"/>
              </p:ext>
            </p:extLst>
          </p:nvPr>
        </p:nvGraphicFramePr>
        <p:xfrm>
          <a:off x="409576" y="5050054"/>
          <a:ext cx="5126704" cy="3887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03850F14-D02B-1141-D40D-949F26F55108}"/>
              </a:ext>
            </a:extLst>
          </p:cNvPr>
          <p:cNvGraphicFramePr>
            <a:graphicFrameLocks/>
          </p:cNvGraphicFramePr>
          <p:nvPr>
            <p:extLst>
              <p:ext uri="{D42A27DB-BD31-4B8C-83A1-F6EECF244321}">
                <p14:modId xmlns:p14="http://schemas.microsoft.com/office/powerpoint/2010/main" val="1464890929"/>
              </p:ext>
            </p:extLst>
          </p:nvPr>
        </p:nvGraphicFramePr>
        <p:xfrm>
          <a:off x="485528" y="2277936"/>
          <a:ext cx="5126670" cy="2690971"/>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FE9ECF43-75FB-A947-1007-32D7DDD4FE86}"/>
              </a:ext>
            </a:extLst>
          </p:cNvPr>
          <p:cNvSpPr txBox="1"/>
          <p:nvPr/>
        </p:nvSpPr>
        <p:spPr bwMode="gray">
          <a:xfrm>
            <a:off x="2849507" y="4876069"/>
            <a:ext cx="949388" cy="156304"/>
          </a:xfrm>
          <a:prstGeom prst="rect">
            <a:avLst/>
          </a:prstGeom>
          <a:noFill/>
          <a:ln w="19050">
            <a:noFill/>
          </a:ln>
        </p:spPr>
        <p:txBody>
          <a:bodyPr spcFirstLastPara="1" wrap="none" lIns="0" tIns="0" rIns="0" bIns="0" rtlCol="0" anchor="t" anchorCtr="0">
            <a:noAutofit/>
          </a:bodyPr>
          <a:lstStyle/>
          <a:p>
            <a:pPr algn="ctr" defTabSz="171390">
              <a:defRPr/>
            </a:pPr>
            <a:r>
              <a:rPr lang="en-GB" sz="750" b="1" err="1">
                <a:solidFill>
                  <a:srgbClr val="02005E"/>
                </a:solidFill>
                <a:latin typeface="Arial" panose="020B0604020202020204"/>
              </a:rPr>
              <a:t>Yıl</a:t>
            </a:r>
            <a:r>
              <a:rPr lang="en-GB" sz="750" b="1">
                <a:solidFill>
                  <a:srgbClr val="02005E"/>
                </a:solidFill>
                <a:latin typeface="Arial" panose="020B0604020202020204"/>
              </a:rPr>
              <a:t> </a:t>
            </a:r>
            <a:r>
              <a:rPr lang="en-GB" sz="750" b="1" err="1">
                <a:solidFill>
                  <a:srgbClr val="02005E"/>
                </a:solidFill>
                <a:latin typeface="Arial" panose="020B0604020202020204"/>
              </a:rPr>
              <a:t>Olarak</a:t>
            </a:r>
            <a:r>
              <a:rPr lang="en-GB" sz="750" b="1">
                <a:solidFill>
                  <a:srgbClr val="02005E"/>
                </a:solidFill>
                <a:latin typeface="Arial" panose="020B0604020202020204"/>
              </a:rPr>
              <a:t> </a:t>
            </a:r>
            <a:r>
              <a:rPr lang="en-GB" sz="750" b="1" err="1">
                <a:solidFill>
                  <a:srgbClr val="02005E"/>
                </a:solidFill>
                <a:latin typeface="Arial" panose="020B0604020202020204"/>
              </a:rPr>
              <a:t>Yaş</a:t>
            </a:r>
            <a:endParaRPr lang="en-GB" sz="750" b="1">
              <a:solidFill>
                <a:srgbClr val="02005E"/>
              </a:solidFill>
              <a:latin typeface="Arial" panose="020B0604020202020204"/>
            </a:endParaRPr>
          </a:p>
        </p:txBody>
      </p:sp>
      <p:sp>
        <p:nvSpPr>
          <p:cNvPr id="13" name="Rectangle: Rounded Corners 12">
            <a:extLst>
              <a:ext uri="{FF2B5EF4-FFF2-40B4-BE49-F238E27FC236}">
                <a16:creationId xmlns:a16="http://schemas.microsoft.com/office/drawing/2014/main" id="{BCF31BC5-F24B-D15E-1C18-84A9C8248FE0}"/>
              </a:ext>
            </a:extLst>
          </p:cNvPr>
          <p:cNvSpPr/>
          <p:nvPr/>
        </p:nvSpPr>
        <p:spPr bwMode="gray">
          <a:xfrm>
            <a:off x="409576" y="1739433"/>
            <a:ext cx="5202654" cy="370602"/>
          </a:xfrm>
          <a:prstGeom prst="roundRect">
            <a:avLst>
              <a:gd name="adj" fmla="val 19288"/>
            </a:avLst>
          </a:prstGeom>
          <a:solidFill>
            <a:srgbClr val="E0F5FF"/>
          </a:solidFill>
          <a:ln w="28575" cap="flat" cmpd="sng" algn="ctr">
            <a:noFill/>
            <a:prstDash val="solid"/>
            <a:miter lim="800000"/>
            <a:headEnd type="none" w="med" len="med"/>
            <a:tailEnd type="none" w="med" len="med"/>
          </a:ln>
          <a:effectLst/>
        </p:spPr>
        <p:txBody>
          <a:bodyPr vert="horz" wrap="square" lIns="68580" tIns="35100" rIns="68580" bIns="34286" numCol="1" rtlCol="0" anchor="ctr" anchorCtr="0" compatLnSpc="1">
            <a:prstTxWarp prst="textNoShape">
              <a:avLst/>
            </a:prstTxWarp>
            <a:noAutofit/>
          </a:bodyPr>
          <a:lstStyle/>
          <a:p>
            <a:pPr algn="ctr" defTabSz="171390">
              <a:lnSpc>
                <a:spcPct val="90000"/>
              </a:lnSpc>
              <a:defRPr/>
            </a:pPr>
            <a:r>
              <a:rPr lang="en-US" sz="825">
                <a:solidFill>
                  <a:srgbClr val="000067"/>
                </a:solidFill>
                <a:latin typeface="Arial" panose="020B0604020202020204"/>
              </a:rPr>
              <a:t>RSV </a:t>
            </a:r>
            <a:r>
              <a:rPr lang="en-US" sz="825" err="1">
                <a:solidFill>
                  <a:srgbClr val="000067"/>
                </a:solidFill>
                <a:latin typeface="Arial" panose="020B0604020202020204"/>
              </a:rPr>
              <a:t>ile</a:t>
            </a:r>
            <a:r>
              <a:rPr lang="en-US" sz="825">
                <a:solidFill>
                  <a:srgbClr val="000067"/>
                </a:solidFill>
                <a:latin typeface="Arial" panose="020B0604020202020204"/>
              </a:rPr>
              <a:t> </a:t>
            </a:r>
            <a:r>
              <a:rPr lang="en-US" sz="825" err="1">
                <a:solidFill>
                  <a:srgbClr val="000067"/>
                </a:solidFill>
                <a:latin typeface="Arial" panose="020B0604020202020204"/>
              </a:rPr>
              <a:t>ilişkili</a:t>
            </a:r>
            <a:r>
              <a:rPr lang="en-US" sz="825">
                <a:solidFill>
                  <a:srgbClr val="000067"/>
                </a:solidFill>
                <a:latin typeface="Arial" panose="020B0604020202020204"/>
              </a:rPr>
              <a:t> </a:t>
            </a:r>
            <a:r>
              <a:rPr lang="en-US" sz="825" err="1">
                <a:solidFill>
                  <a:srgbClr val="000067"/>
                </a:solidFill>
                <a:latin typeface="Arial" panose="020B0604020202020204"/>
              </a:rPr>
              <a:t>hastaneye</a:t>
            </a:r>
            <a:r>
              <a:rPr lang="en-US" sz="825">
                <a:solidFill>
                  <a:srgbClr val="000067"/>
                </a:solidFill>
                <a:latin typeface="Arial" panose="020B0604020202020204"/>
              </a:rPr>
              <a:t> </a:t>
            </a:r>
            <a:r>
              <a:rPr lang="en-US" sz="825" err="1">
                <a:solidFill>
                  <a:srgbClr val="000067"/>
                </a:solidFill>
                <a:latin typeface="Arial" panose="020B0604020202020204"/>
              </a:rPr>
              <a:t>yatı</a:t>
            </a:r>
            <a:r>
              <a:rPr lang="tr-TR" sz="825">
                <a:solidFill>
                  <a:srgbClr val="000067"/>
                </a:solidFill>
                <a:latin typeface="Arial" panose="020B0604020202020204"/>
              </a:rPr>
              <a:t>ş</a:t>
            </a:r>
            <a:r>
              <a:rPr lang="en-US" sz="825">
                <a:solidFill>
                  <a:srgbClr val="000067"/>
                </a:solidFill>
                <a:latin typeface="Arial" panose="020B0604020202020204"/>
              </a:rPr>
              <a:t>lar, </a:t>
            </a:r>
            <a:r>
              <a:rPr lang="en-US" sz="825" err="1">
                <a:solidFill>
                  <a:srgbClr val="000067"/>
                </a:solidFill>
                <a:latin typeface="Arial" panose="020B0604020202020204"/>
              </a:rPr>
              <a:t>tanımlanan</a:t>
            </a:r>
            <a:r>
              <a:rPr lang="en-US" sz="825">
                <a:solidFill>
                  <a:srgbClr val="000067"/>
                </a:solidFill>
                <a:latin typeface="Arial" panose="020B0604020202020204"/>
              </a:rPr>
              <a:t> </a:t>
            </a:r>
            <a:r>
              <a:rPr lang="en-US" sz="825" err="1">
                <a:solidFill>
                  <a:srgbClr val="000067"/>
                </a:solidFill>
                <a:latin typeface="Arial" panose="020B0604020202020204"/>
              </a:rPr>
              <a:t>eşiğe</a:t>
            </a:r>
            <a:r>
              <a:rPr lang="en-US" sz="825">
                <a:solidFill>
                  <a:srgbClr val="000067"/>
                </a:solidFill>
                <a:latin typeface="Arial" panose="020B0604020202020204"/>
              </a:rPr>
              <a:t> </a:t>
            </a:r>
            <a:r>
              <a:rPr lang="en-US" sz="825" err="1">
                <a:solidFill>
                  <a:srgbClr val="000067"/>
                </a:solidFill>
                <a:latin typeface="Arial" panose="020B0604020202020204"/>
              </a:rPr>
              <a:t>yakın</a:t>
            </a:r>
            <a:r>
              <a:rPr lang="tr-TR" sz="825">
                <a:solidFill>
                  <a:srgbClr val="000067"/>
                </a:solidFill>
                <a:latin typeface="Arial" panose="020B0604020202020204"/>
              </a:rPr>
              <a:t> derecede</a:t>
            </a:r>
            <a:r>
              <a:rPr lang="en-US" sz="825">
                <a:solidFill>
                  <a:srgbClr val="000067"/>
                </a:solidFill>
                <a:latin typeface="Arial" panose="020B0604020202020204"/>
              </a:rPr>
              <a:t> </a:t>
            </a:r>
            <a:r>
              <a:rPr lang="en-US" sz="825" err="1">
                <a:solidFill>
                  <a:srgbClr val="000067"/>
                </a:solidFill>
                <a:latin typeface="Arial" panose="020B0604020202020204"/>
              </a:rPr>
              <a:t>benzerdir</a:t>
            </a:r>
            <a:r>
              <a:rPr lang="en-US" sz="825">
                <a:solidFill>
                  <a:srgbClr val="000067"/>
                </a:solidFill>
                <a:latin typeface="Arial" panose="020B0604020202020204"/>
              </a:rPr>
              <a:t>; ek </a:t>
            </a:r>
            <a:r>
              <a:rPr lang="en-US" sz="825" err="1">
                <a:solidFill>
                  <a:srgbClr val="000067"/>
                </a:solidFill>
                <a:latin typeface="Arial" panose="020B0604020202020204"/>
              </a:rPr>
              <a:t>yaşa</a:t>
            </a:r>
            <a:r>
              <a:rPr lang="en-US" sz="825">
                <a:solidFill>
                  <a:srgbClr val="000067"/>
                </a:solidFill>
                <a:latin typeface="Arial" panose="020B0604020202020204"/>
              </a:rPr>
              <a:t> </a:t>
            </a:r>
            <a:r>
              <a:rPr lang="en-US" sz="825" err="1">
                <a:solidFill>
                  <a:srgbClr val="000067"/>
                </a:solidFill>
                <a:latin typeface="Arial" panose="020B0604020202020204"/>
              </a:rPr>
              <a:t>göre</a:t>
            </a:r>
            <a:r>
              <a:rPr lang="en-US" sz="825">
                <a:solidFill>
                  <a:srgbClr val="000067"/>
                </a:solidFill>
                <a:latin typeface="Arial" panose="020B0604020202020204"/>
              </a:rPr>
              <a:t> </a:t>
            </a:r>
            <a:r>
              <a:rPr lang="en-US" sz="825" err="1">
                <a:solidFill>
                  <a:srgbClr val="000067"/>
                </a:solidFill>
                <a:latin typeface="Arial" panose="020B0604020202020204"/>
              </a:rPr>
              <a:t>görülme</a:t>
            </a:r>
            <a:r>
              <a:rPr lang="en-US" sz="825">
                <a:solidFill>
                  <a:srgbClr val="000067"/>
                </a:solidFill>
                <a:latin typeface="Arial" panose="020B0604020202020204"/>
              </a:rPr>
              <a:t> </a:t>
            </a:r>
            <a:r>
              <a:rPr lang="en-US" sz="825" err="1">
                <a:solidFill>
                  <a:srgbClr val="000067"/>
                </a:solidFill>
                <a:latin typeface="Arial" panose="020B0604020202020204"/>
              </a:rPr>
              <a:t>sıklığında</a:t>
            </a:r>
            <a:r>
              <a:rPr lang="en-US" sz="825">
                <a:solidFill>
                  <a:srgbClr val="000067"/>
                </a:solidFill>
                <a:latin typeface="Arial" panose="020B0604020202020204"/>
              </a:rPr>
              <a:t> %6'lık </a:t>
            </a:r>
            <a:r>
              <a:rPr lang="en-US" sz="825" err="1">
                <a:solidFill>
                  <a:srgbClr val="000067"/>
                </a:solidFill>
                <a:latin typeface="Arial" panose="020B0604020202020204"/>
              </a:rPr>
              <a:t>bir</a:t>
            </a:r>
            <a:r>
              <a:rPr lang="en-US" sz="825">
                <a:solidFill>
                  <a:srgbClr val="000067"/>
                </a:solidFill>
                <a:latin typeface="Arial" panose="020B0604020202020204"/>
              </a:rPr>
              <a:t> </a:t>
            </a:r>
            <a:r>
              <a:rPr lang="en-US" sz="825" err="1">
                <a:solidFill>
                  <a:srgbClr val="000067"/>
                </a:solidFill>
                <a:latin typeface="Arial" panose="020B0604020202020204"/>
              </a:rPr>
              <a:t>artış</a:t>
            </a:r>
            <a:r>
              <a:rPr lang="en-US" sz="825">
                <a:solidFill>
                  <a:srgbClr val="000067"/>
                </a:solidFill>
                <a:latin typeface="Arial" panose="020B0604020202020204"/>
              </a:rPr>
              <a:t> </a:t>
            </a:r>
            <a:r>
              <a:rPr lang="en-US" sz="825" err="1">
                <a:solidFill>
                  <a:srgbClr val="000067"/>
                </a:solidFill>
                <a:latin typeface="Arial" panose="020B0604020202020204"/>
              </a:rPr>
              <a:t>öngörülmektedir</a:t>
            </a:r>
            <a:r>
              <a:rPr lang="tr-TR" sz="825">
                <a:solidFill>
                  <a:srgbClr val="000067"/>
                </a:solidFill>
                <a:latin typeface="Arial" panose="020B0604020202020204"/>
              </a:rPr>
              <a:t>.</a:t>
            </a:r>
            <a:endParaRPr lang="en-US" sz="825">
              <a:solidFill>
                <a:srgbClr val="000067"/>
              </a:solidFill>
              <a:latin typeface="Arial" panose="020B0604020202020204"/>
            </a:endParaRPr>
          </a:p>
        </p:txBody>
      </p:sp>
      <p:sp>
        <p:nvSpPr>
          <p:cNvPr id="14" name="Rectangle 13">
            <a:extLst>
              <a:ext uri="{FF2B5EF4-FFF2-40B4-BE49-F238E27FC236}">
                <a16:creationId xmlns:a16="http://schemas.microsoft.com/office/drawing/2014/main" id="{AA00382A-618C-DBA4-CE19-4795E4107796}"/>
              </a:ext>
            </a:extLst>
          </p:cNvPr>
          <p:cNvSpPr/>
          <p:nvPr/>
        </p:nvSpPr>
        <p:spPr bwMode="gray">
          <a:xfrm>
            <a:off x="2443643" y="2434312"/>
            <a:ext cx="1459687" cy="2153310"/>
          </a:xfrm>
          <a:prstGeom prst="rect">
            <a:avLst/>
          </a:prstGeom>
          <a:solidFill>
            <a:schemeClr val="bg1">
              <a:lumMod val="75000"/>
              <a:alpha val="27000"/>
            </a:schemeClr>
          </a:solidFill>
          <a:ln w="28575" cap="flat" cmpd="sng" algn="ctr">
            <a:noFill/>
            <a:prstDash val="solid"/>
            <a:miter lim="800000"/>
            <a:headEnd type="none" w="med" len="med"/>
            <a:tailEnd type="none" w="med" len="med"/>
          </a:ln>
          <a:effectLst/>
        </p:spPr>
        <p:txBody>
          <a:bodyPr vert="horz" wrap="square" lIns="68580" tIns="68580" rIns="68580" bIns="34286" numCol="1" rtlCol="0" anchor="t" anchorCtr="0" compatLnSpc="1">
            <a:prstTxWarp prst="textNoShape">
              <a:avLst/>
            </a:prstTxWarp>
            <a:noAutofit/>
          </a:bodyPr>
          <a:lstStyle/>
          <a:p>
            <a:pPr algn="ctr" defTabSz="685800" fontAlgn="base">
              <a:lnSpc>
                <a:spcPct val="90000"/>
              </a:lnSpc>
              <a:buClr>
                <a:srgbClr val="000000"/>
              </a:buClr>
              <a:buSzPct val="100000"/>
              <a:defRPr/>
            </a:pPr>
            <a:r>
              <a:rPr lang="en-US" sz="788" b="1">
                <a:solidFill>
                  <a:srgbClr val="02005E"/>
                </a:solidFill>
                <a:latin typeface="Arial" panose="020B0604020202020204"/>
              </a:rPr>
              <a:t>Tanımlanmış Eşik </a:t>
            </a:r>
            <a:br>
              <a:rPr lang="en-US" sz="788" b="1">
                <a:solidFill>
                  <a:srgbClr val="02005E"/>
                </a:solidFill>
                <a:latin typeface="Arial" panose="020B0604020202020204"/>
              </a:rPr>
            </a:br>
            <a:r>
              <a:rPr lang="en-US" sz="788" b="1">
                <a:solidFill>
                  <a:srgbClr val="02005E"/>
                </a:solidFill>
                <a:latin typeface="Arial" panose="020B0604020202020204"/>
              </a:rPr>
              <a:t>(hedef aşılama popülasyonu)</a:t>
            </a:r>
          </a:p>
        </p:txBody>
      </p:sp>
      <p:cxnSp>
        <p:nvCxnSpPr>
          <p:cNvPr id="15" name="Straight Connector 14">
            <a:extLst>
              <a:ext uri="{FF2B5EF4-FFF2-40B4-BE49-F238E27FC236}">
                <a16:creationId xmlns:a16="http://schemas.microsoft.com/office/drawing/2014/main" id="{6CFF5EA7-368F-509B-2482-D4C145683E1F}"/>
              </a:ext>
            </a:extLst>
          </p:cNvPr>
          <p:cNvCxnSpPr>
            <a:cxnSpLocks/>
          </p:cNvCxnSpPr>
          <p:nvPr/>
        </p:nvCxnSpPr>
        <p:spPr bwMode="gray">
          <a:xfrm>
            <a:off x="5878060" y="1709309"/>
            <a:ext cx="0" cy="375277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6" name="Title 24">
            <a:extLst>
              <a:ext uri="{FF2B5EF4-FFF2-40B4-BE49-F238E27FC236}">
                <a16:creationId xmlns:a16="http://schemas.microsoft.com/office/drawing/2014/main" id="{3528766E-2CD4-DAA5-5D71-BE64C67336E5}"/>
              </a:ext>
            </a:extLst>
          </p:cNvPr>
          <p:cNvSpPr txBox="1">
            <a:spLocks/>
          </p:cNvSpPr>
          <p:nvPr/>
        </p:nvSpPr>
        <p:spPr bwMode="gray">
          <a:xfrm>
            <a:off x="409575" y="1337926"/>
            <a:ext cx="5468485" cy="467262"/>
          </a:xfrm>
          <a:prstGeom prst="rect">
            <a:avLst/>
          </a:prstGeom>
        </p:spPr>
        <p:txBody>
          <a:bodyPr>
            <a:noAutofit/>
          </a:bodyPr>
          <a:lstStyle>
            <a:lvl1pPr algn="l" defTabSz="914171" rtl="0" eaLnBrk="1" latinLnBrk="0" hangingPunct="1">
              <a:lnSpc>
                <a:spcPct val="90000"/>
              </a:lnSpc>
              <a:spcBef>
                <a:spcPct val="0"/>
              </a:spcBef>
              <a:buNone/>
              <a:defRPr lang="en-US" sz="2699" b="1" kern="1200" spc="-25" dirty="0">
                <a:solidFill>
                  <a:schemeClr val="accent1"/>
                </a:solidFill>
                <a:latin typeface="+mj-lt"/>
                <a:ea typeface="+mj-ea"/>
                <a:cs typeface="+mj-cs"/>
              </a:defRPr>
            </a:lvl1pPr>
          </a:lstStyle>
          <a:p>
            <a:pPr defTabSz="685628">
              <a:defRPr/>
            </a:pPr>
            <a:r>
              <a:rPr lang="en-US" sz="1500" spc="-19" err="1">
                <a:solidFill>
                  <a:srgbClr val="344068"/>
                </a:solidFill>
                <a:latin typeface="Arial" panose="020B0604020202020204"/>
              </a:rPr>
              <a:t>Aşılama</a:t>
            </a:r>
            <a:r>
              <a:rPr lang="en-US" sz="1500" spc="-19">
                <a:solidFill>
                  <a:srgbClr val="344068"/>
                </a:solidFill>
                <a:latin typeface="Arial" panose="020B0604020202020204"/>
              </a:rPr>
              <a:t> </a:t>
            </a:r>
            <a:r>
              <a:rPr lang="en-US" sz="1500" spc="-19" err="1">
                <a:solidFill>
                  <a:srgbClr val="344068"/>
                </a:solidFill>
                <a:latin typeface="Arial" panose="020B0604020202020204"/>
              </a:rPr>
              <a:t>Öncesi</a:t>
            </a:r>
            <a:r>
              <a:rPr lang="en-US" sz="1500" spc="-19">
                <a:solidFill>
                  <a:srgbClr val="344068"/>
                </a:solidFill>
                <a:latin typeface="Arial" panose="020B0604020202020204"/>
              </a:rPr>
              <a:t> </a:t>
            </a:r>
            <a:r>
              <a:rPr lang="en-US" sz="1500" spc="-19" err="1">
                <a:solidFill>
                  <a:srgbClr val="344068"/>
                </a:solidFill>
                <a:latin typeface="Arial" panose="020B0604020202020204"/>
              </a:rPr>
              <a:t>Dönem</a:t>
            </a:r>
            <a:r>
              <a:rPr lang="en-US" sz="1500" spc="-19">
                <a:solidFill>
                  <a:srgbClr val="344068"/>
                </a:solidFill>
                <a:latin typeface="Arial" panose="020B0604020202020204"/>
              </a:rPr>
              <a:t>: </a:t>
            </a:r>
            <a:r>
              <a:rPr lang="en-US" sz="1050" spc="-19">
                <a:solidFill>
                  <a:srgbClr val="344068"/>
                </a:solidFill>
                <a:latin typeface="Arial" panose="020B0604020202020204"/>
              </a:rPr>
              <a:t>1 </a:t>
            </a:r>
            <a:r>
              <a:rPr lang="en-US" sz="1050" spc="-19" err="1">
                <a:solidFill>
                  <a:srgbClr val="344068"/>
                </a:solidFill>
                <a:latin typeface="Arial" panose="020B0604020202020204"/>
              </a:rPr>
              <a:t>Ekim</a:t>
            </a:r>
            <a:r>
              <a:rPr lang="en-US" sz="1050" spc="-19">
                <a:solidFill>
                  <a:srgbClr val="344068"/>
                </a:solidFill>
                <a:latin typeface="Arial" panose="020B0604020202020204"/>
              </a:rPr>
              <a:t> 2023 - 8 </a:t>
            </a:r>
            <a:r>
              <a:rPr lang="en-US" sz="1050" spc="-19" err="1">
                <a:solidFill>
                  <a:srgbClr val="344068"/>
                </a:solidFill>
                <a:latin typeface="Arial" panose="020B0604020202020204"/>
              </a:rPr>
              <a:t>Aralık</a:t>
            </a:r>
            <a:r>
              <a:rPr lang="en-US" sz="1050" spc="-19">
                <a:solidFill>
                  <a:srgbClr val="344068"/>
                </a:solidFill>
                <a:latin typeface="Arial" panose="020B0604020202020204"/>
              </a:rPr>
              <a:t> 2023 </a:t>
            </a:r>
          </a:p>
          <a:p>
            <a:pPr defTabSz="685628">
              <a:defRPr/>
            </a:pPr>
            <a:endParaRPr lang="en-US" sz="2024" spc="-19">
              <a:solidFill>
                <a:srgbClr val="344068"/>
              </a:solidFill>
              <a:latin typeface="Arial" panose="020B0604020202020204"/>
            </a:endParaRPr>
          </a:p>
        </p:txBody>
      </p:sp>
      <p:graphicFrame>
        <p:nvGraphicFramePr>
          <p:cNvPr id="18" name="Chart 17">
            <a:extLst>
              <a:ext uri="{FF2B5EF4-FFF2-40B4-BE49-F238E27FC236}">
                <a16:creationId xmlns:a16="http://schemas.microsoft.com/office/drawing/2014/main" id="{3B05ECCA-B3A9-28D4-52CA-51E94F4F58D1}"/>
              </a:ext>
            </a:extLst>
          </p:cNvPr>
          <p:cNvGraphicFramePr>
            <a:graphicFrameLocks/>
          </p:cNvGraphicFramePr>
          <p:nvPr>
            <p:extLst>
              <p:ext uri="{D42A27DB-BD31-4B8C-83A1-F6EECF244321}">
                <p14:modId xmlns:p14="http://schemas.microsoft.com/office/powerpoint/2010/main" val="1039818401"/>
              </p:ext>
            </p:extLst>
          </p:nvPr>
        </p:nvGraphicFramePr>
        <p:xfrm>
          <a:off x="6143890" y="2278180"/>
          <a:ext cx="5126703" cy="269252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Chart 18">
            <a:extLst>
              <a:ext uri="{FF2B5EF4-FFF2-40B4-BE49-F238E27FC236}">
                <a16:creationId xmlns:a16="http://schemas.microsoft.com/office/drawing/2014/main" id="{E776EED2-5D19-BCF3-FB16-3CD2F80F2C2A}"/>
              </a:ext>
            </a:extLst>
          </p:cNvPr>
          <p:cNvGraphicFramePr>
            <a:graphicFrameLocks/>
          </p:cNvGraphicFramePr>
          <p:nvPr>
            <p:extLst>
              <p:ext uri="{D42A27DB-BD31-4B8C-83A1-F6EECF244321}">
                <p14:modId xmlns:p14="http://schemas.microsoft.com/office/powerpoint/2010/main" val="464916373"/>
              </p:ext>
            </p:extLst>
          </p:nvPr>
        </p:nvGraphicFramePr>
        <p:xfrm>
          <a:off x="6387170" y="5032372"/>
          <a:ext cx="5126703" cy="370602"/>
        </p:xfrm>
        <a:graphic>
          <a:graphicData uri="http://schemas.openxmlformats.org/drawingml/2006/chart">
            <c:chart xmlns:c="http://schemas.openxmlformats.org/drawingml/2006/chart" xmlns:r="http://schemas.openxmlformats.org/officeDocument/2006/relationships" r:id="rId6"/>
          </a:graphicData>
        </a:graphic>
      </p:graphicFrame>
      <p:sp>
        <p:nvSpPr>
          <p:cNvPr id="21" name="Title 24">
            <a:extLst>
              <a:ext uri="{FF2B5EF4-FFF2-40B4-BE49-F238E27FC236}">
                <a16:creationId xmlns:a16="http://schemas.microsoft.com/office/drawing/2014/main" id="{FAF091B5-8877-42E9-6185-F8A6C2756632}"/>
              </a:ext>
            </a:extLst>
          </p:cNvPr>
          <p:cNvSpPr txBox="1">
            <a:spLocks/>
          </p:cNvSpPr>
          <p:nvPr/>
        </p:nvSpPr>
        <p:spPr bwMode="gray">
          <a:xfrm>
            <a:off x="6143860" y="1337926"/>
            <a:ext cx="5543315" cy="467262"/>
          </a:xfrm>
          <a:prstGeom prst="rect">
            <a:avLst/>
          </a:prstGeom>
        </p:spPr>
        <p:txBody>
          <a:bodyPr>
            <a:noAutofit/>
          </a:bodyPr>
          <a:lstStyle>
            <a:lvl1pPr algn="l" defTabSz="914171" rtl="0" eaLnBrk="1" latinLnBrk="0" hangingPunct="1">
              <a:lnSpc>
                <a:spcPct val="90000"/>
              </a:lnSpc>
              <a:spcBef>
                <a:spcPct val="0"/>
              </a:spcBef>
              <a:buNone/>
              <a:defRPr lang="en-US" sz="2699" b="1" kern="1200" spc="-25" dirty="0">
                <a:solidFill>
                  <a:schemeClr val="accent1"/>
                </a:solidFill>
                <a:latin typeface="+mj-lt"/>
                <a:ea typeface="+mj-ea"/>
                <a:cs typeface="+mj-cs"/>
              </a:defRPr>
            </a:lvl1pPr>
          </a:lstStyle>
          <a:p>
            <a:pPr defTabSz="685628">
              <a:defRPr/>
            </a:pPr>
            <a:r>
              <a:rPr lang="en-US" sz="1500" spc="-19" err="1">
                <a:solidFill>
                  <a:srgbClr val="344068"/>
                </a:solidFill>
                <a:latin typeface="Arial" panose="020B0604020202020204"/>
              </a:rPr>
              <a:t>Aşılama</a:t>
            </a:r>
            <a:r>
              <a:rPr lang="en-US" sz="1500" spc="-19">
                <a:solidFill>
                  <a:srgbClr val="344068"/>
                </a:solidFill>
                <a:latin typeface="Arial" panose="020B0604020202020204"/>
              </a:rPr>
              <a:t> </a:t>
            </a:r>
            <a:r>
              <a:rPr lang="en-US" sz="1500" spc="-19" err="1">
                <a:solidFill>
                  <a:srgbClr val="344068"/>
                </a:solidFill>
                <a:latin typeface="Arial" panose="020B0604020202020204"/>
              </a:rPr>
              <a:t>Sonrası</a:t>
            </a:r>
            <a:r>
              <a:rPr lang="en-US" sz="1500" spc="-19">
                <a:solidFill>
                  <a:srgbClr val="344068"/>
                </a:solidFill>
                <a:latin typeface="Arial" panose="020B0604020202020204"/>
              </a:rPr>
              <a:t> </a:t>
            </a:r>
            <a:r>
              <a:rPr lang="en-US" sz="1500" spc="-19" err="1">
                <a:solidFill>
                  <a:srgbClr val="344068"/>
                </a:solidFill>
                <a:latin typeface="Arial" panose="020B0604020202020204"/>
              </a:rPr>
              <a:t>Dönem</a:t>
            </a:r>
            <a:r>
              <a:rPr lang="en-US" sz="1500" spc="-19">
                <a:solidFill>
                  <a:srgbClr val="344068"/>
                </a:solidFill>
                <a:latin typeface="Arial" panose="020B0604020202020204"/>
              </a:rPr>
              <a:t>: </a:t>
            </a:r>
            <a:r>
              <a:rPr lang="en-US" sz="1050" spc="-19">
                <a:solidFill>
                  <a:srgbClr val="344068"/>
                </a:solidFill>
                <a:latin typeface="Arial" panose="020B0604020202020204"/>
              </a:rPr>
              <a:t>1 Ekim 2024 - 8 </a:t>
            </a:r>
            <a:r>
              <a:rPr lang="en-US" sz="1050" spc="-19" err="1">
                <a:solidFill>
                  <a:srgbClr val="344068"/>
                </a:solidFill>
                <a:latin typeface="Arial" panose="020B0604020202020204"/>
              </a:rPr>
              <a:t>Aralık</a:t>
            </a:r>
            <a:r>
              <a:rPr lang="en-US" sz="1050" spc="-19">
                <a:solidFill>
                  <a:srgbClr val="344068"/>
                </a:solidFill>
                <a:latin typeface="Arial" panose="020B0604020202020204"/>
              </a:rPr>
              <a:t> 2024 </a:t>
            </a:r>
          </a:p>
          <a:p>
            <a:pPr defTabSz="685628">
              <a:defRPr/>
            </a:pPr>
            <a:endParaRPr lang="en-US" sz="1800" spc="-19">
              <a:solidFill>
                <a:srgbClr val="344068"/>
              </a:solidFill>
              <a:latin typeface="Arial" panose="020B0604020202020204"/>
            </a:endParaRPr>
          </a:p>
        </p:txBody>
      </p:sp>
      <p:sp>
        <p:nvSpPr>
          <p:cNvPr id="22" name="Rectangle 21">
            <a:extLst>
              <a:ext uri="{FF2B5EF4-FFF2-40B4-BE49-F238E27FC236}">
                <a16:creationId xmlns:a16="http://schemas.microsoft.com/office/drawing/2014/main" id="{19518DBC-6D02-4B6E-5B25-8E8B352CBB0C}"/>
              </a:ext>
            </a:extLst>
          </p:cNvPr>
          <p:cNvSpPr/>
          <p:nvPr/>
        </p:nvSpPr>
        <p:spPr bwMode="gray">
          <a:xfrm>
            <a:off x="8237295" y="2434312"/>
            <a:ext cx="1426457" cy="2153310"/>
          </a:xfrm>
          <a:prstGeom prst="rect">
            <a:avLst/>
          </a:prstGeom>
          <a:solidFill>
            <a:schemeClr val="bg1">
              <a:lumMod val="85000"/>
              <a:alpha val="33000"/>
            </a:schemeClr>
          </a:solidFill>
          <a:ln w="28575" cap="flat" cmpd="sng" algn="ctr">
            <a:noFill/>
            <a:prstDash val="solid"/>
            <a:miter lim="800000"/>
            <a:headEnd type="none" w="med" len="med"/>
            <a:tailEnd type="none" w="med" len="med"/>
          </a:ln>
          <a:effectLst/>
        </p:spPr>
        <p:txBody>
          <a:bodyPr vert="horz" wrap="square" lIns="68580" tIns="68580" rIns="68580" bIns="34286"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85800" fontAlgn="base">
              <a:lnSpc>
                <a:spcPct val="90000"/>
              </a:lnSpc>
              <a:buClr>
                <a:srgbClr val="000000"/>
              </a:buClr>
              <a:buSzPct val="100000"/>
              <a:defRPr/>
            </a:pPr>
            <a:r>
              <a:rPr lang="en-US" sz="788" b="1">
                <a:solidFill>
                  <a:srgbClr val="02005E"/>
                </a:solidFill>
                <a:latin typeface="Arial" panose="020B0604020202020204"/>
              </a:rPr>
              <a:t>Tanımlanmış Eşik </a:t>
            </a:r>
            <a:br>
              <a:rPr lang="en-US" sz="788" b="1">
                <a:solidFill>
                  <a:srgbClr val="02005E"/>
                </a:solidFill>
                <a:latin typeface="Arial" panose="020B0604020202020204"/>
              </a:rPr>
            </a:br>
            <a:r>
              <a:rPr lang="en-US" sz="788" b="1">
                <a:solidFill>
                  <a:srgbClr val="02005E"/>
                </a:solidFill>
                <a:latin typeface="Arial" panose="020B0604020202020204"/>
              </a:rPr>
              <a:t>(hedef aşılama popülasyonu)</a:t>
            </a:r>
          </a:p>
        </p:txBody>
      </p:sp>
      <p:sp>
        <p:nvSpPr>
          <p:cNvPr id="23" name="Rectangle: Rounded Corners 22">
            <a:extLst>
              <a:ext uri="{FF2B5EF4-FFF2-40B4-BE49-F238E27FC236}">
                <a16:creationId xmlns:a16="http://schemas.microsoft.com/office/drawing/2014/main" id="{BE1C8ADE-8661-0845-F88E-AA9860263FA6}"/>
              </a:ext>
            </a:extLst>
          </p:cNvPr>
          <p:cNvSpPr/>
          <p:nvPr/>
        </p:nvSpPr>
        <p:spPr bwMode="gray">
          <a:xfrm>
            <a:off x="6143858" y="1708537"/>
            <a:ext cx="5126703" cy="370602"/>
          </a:xfrm>
          <a:prstGeom prst="roundRect">
            <a:avLst>
              <a:gd name="adj" fmla="val 23108"/>
            </a:avLst>
          </a:prstGeom>
          <a:solidFill>
            <a:srgbClr val="E0F5FF"/>
          </a:solidFill>
          <a:ln w="28575" cap="flat" cmpd="sng" algn="ctr">
            <a:noFill/>
            <a:prstDash val="solid"/>
            <a:miter lim="800000"/>
            <a:headEnd type="none" w="med" len="med"/>
            <a:tailEnd type="none" w="med" len="med"/>
          </a:ln>
          <a:effectLst/>
        </p:spPr>
        <p:txBody>
          <a:bodyPr vert="horz" wrap="square" lIns="68580" tIns="35100" rIns="68580" bIns="34286" numCol="1" rtlCol="0" anchor="ctr" anchorCtr="0" compatLnSpc="1">
            <a:prstTxWarp prst="textNoShape">
              <a:avLst/>
            </a:prstTxWarp>
            <a:noAutofit/>
          </a:bodyPr>
          <a:lstStyle/>
          <a:p>
            <a:pPr algn="ctr" defTabSz="685800" fontAlgn="base">
              <a:lnSpc>
                <a:spcPct val="90000"/>
              </a:lnSpc>
              <a:buClr>
                <a:srgbClr val="000000"/>
              </a:buClr>
              <a:buSzPct val="100000"/>
              <a:defRPr/>
            </a:pPr>
            <a:r>
              <a:rPr lang="en-US" sz="825" err="1">
                <a:solidFill>
                  <a:srgbClr val="02005E"/>
                </a:solidFill>
                <a:latin typeface="Arial" panose="020B0604020202020204"/>
              </a:rPr>
              <a:t>Hedef</a:t>
            </a:r>
            <a:r>
              <a:rPr lang="en-US" sz="825">
                <a:solidFill>
                  <a:srgbClr val="02005E"/>
                </a:solidFill>
                <a:latin typeface="Arial" panose="020B0604020202020204"/>
              </a:rPr>
              <a:t> </a:t>
            </a:r>
            <a:r>
              <a:rPr lang="en-US" sz="825" err="1">
                <a:solidFill>
                  <a:srgbClr val="02005E"/>
                </a:solidFill>
                <a:latin typeface="Arial" panose="020B0604020202020204"/>
              </a:rPr>
              <a:t>popülasyonda</a:t>
            </a:r>
            <a:r>
              <a:rPr lang="en-US" sz="825">
                <a:solidFill>
                  <a:srgbClr val="02005E"/>
                </a:solidFill>
                <a:latin typeface="Arial" panose="020B0604020202020204"/>
              </a:rPr>
              <a:t> </a:t>
            </a:r>
            <a:r>
              <a:rPr lang="tr-TR" sz="825">
                <a:solidFill>
                  <a:srgbClr val="02005E"/>
                </a:solidFill>
                <a:latin typeface="Arial" panose="020B0604020202020204"/>
              </a:rPr>
              <a:t>RSV ile ilgili hastaneye yatış insidansında azalma: </a:t>
            </a:r>
            <a:r>
              <a:rPr lang="en-US" sz="825">
                <a:solidFill>
                  <a:srgbClr val="02005E"/>
                </a:solidFill>
                <a:latin typeface="Arial" panose="020B0604020202020204"/>
              </a:rPr>
              <a:t> </a:t>
            </a:r>
            <a:endParaRPr lang="tr-TR" sz="825">
              <a:solidFill>
                <a:srgbClr val="02005E"/>
              </a:solidFill>
              <a:latin typeface="Arial" panose="020B0604020202020204"/>
            </a:endParaRPr>
          </a:p>
          <a:p>
            <a:pPr algn="ctr" defTabSz="685800" fontAlgn="base">
              <a:lnSpc>
                <a:spcPct val="90000"/>
              </a:lnSpc>
              <a:buClr>
                <a:srgbClr val="000000"/>
              </a:buClr>
              <a:buSzPct val="100000"/>
              <a:defRPr/>
            </a:pPr>
            <a:r>
              <a:rPr lang="en-US" sz="1050" b="1">
                <a:solidFill>
                  <a:srgbClr val="0000C9"/>
                </a:solidFill>
                <a:latin typeface="Arial" panose="020B0604020202020204"/>
              </a:rPr>
              <a:t>%62,1 (%95 GA: %35-79,8)</a:t>
            </a:r>
            <a:endParaRPr lang="en-US" sz="825" b="1">
              <a:solidFill>
                <a:srgbClr val="0000C9"/>
              </a:solidFill>
              <a:latin typeface="Arial" panose="020B0604020202020204"/>
            </a:endParaRPr>
          </a:p>
        </p:txBody>
      </p:sp>
      <p:sp>
        <p:nvSpPr>
          <p:cNvPr id="24" name="TextBox 23">
            <a:extLst>
              <a:ext uri="{FF2B5EF4-FFF2-40B4-BE49-F238E27FC236}">
                <a16:creationId xmlns:a16="http://schemas.microsoft.com/office/drawing/2014/main" id="{3E10F8AA-52F8-54C7-55C8-159CFA47924C}"/>
              </a:ext>
            </a:extLst>
          </p:cNvPr>
          <p:cNvSpPr txBox="1"/>
          <p:nvPr/>
        </p:nvSpPr>
        <p:spPr bwMode="gray">
          <a:xfrm>
            <a:off x="8602810" y="4876069"/>
            <a:ext cx="949388" cy="156304"/>
          </a:xfrm>
          <a:prstGeom prst="rect">
            <a:avLst/>
          </a:prstGeom>
          <a:noFill/>
          <a:ln w="19050">
            <a:noFill/>
          </a:ln>
        </p:spPr>
        <p:txBody>
          <a:bodyPr spcFirstLastPara="1" wrap="none" lIns="0" tIns="0" rIns="0" bIns="0" rtlCol="0" anchor="t" anchorCtr="0">
            <a:noAutofit/>
          </a:bodyPr>
          <a:lstStyle/>
          <a:p>
            <a:pPr algn="ctr" defTabSz="171390">
              <a:defRPr/>
            </a:pPr>
            <a:r>
              <a:rPr lang="en-GB" sz="750" b="1" err="1">
                <a:solidFill>
                  <a:srgbClr val="02005E"/>
                </a:solidFill>
                <a:latin typeface="Arial" panose="020B0604020202020204"/>
              </a:rPr>
              <a:t>Yıl</a:t>
            </a:r>
            <a:r>
              <a:rPr lang="en-GB" sz="750" b="1">
                <a:solidFill>
                  <a:srgbClr val="02005E"/>
                </a:solidFill>
                <a:latin typeface="Arial" panose="020B0604020202020204"/>
              </a:rPr>
              <a:t> </a:t>
            </a:r>
            <a:r>
              <a:rPr lang="en-GB" sz="750" b="1" err="1">
                <a:solidFill>
                  <a:srgbClr val="02005E"/>
                </a:solidFill>
                <a:latin typeface="Arial" panose="020B0604020202020204"/>
              </a:rPr>
              <a:t>Olarak</a:t>
            </a:r>
            <a:r>
              <a:rPr lang="en-GB" sz="750" b="1">
                <a:solidFill>
                  <a:srgbClr val="02005E"/>
                </a:solidFill>
                <a:latin typeface="Arial" panose="020B0604020202020204"/>
              </a:rPr>
              <a:t> </a:t>
            </a:r>
            <a:r>
              <a:rPr lang="en-GB" sz="750" b="1" err="1">
                <a:solidFill>
                  <a:srgbClr val="02005E"/>
                </a:solidFill>
                <a:latin typeface="Arial" panose="020B0604020202020204"/>
              </a:rPr>
              <a:t>Yaş</a:t>
            </a:r>
            <a:endParaRPr lang="en-GB" sz="750" b="1">
              <a:solidFill>
                <a:srgbClr val="02005E"/>
              </a:solidFill>
              <a:latin typeface="Arial" panose="020B0604020202020204"/>
            </a:endParaRPr>
          </a:p>
        </p:txBody>
      </p:sp>
      <p:sp>
        <p:nvSpPr>
          <p:cNvPr id="27" name="Text Placeholder 4">
            <a:extLst>
              <a:ext uri="{FF2B5EF4-FFF2-40B4-BE49-F238E27FC236}">
                <a16:creationId xmlns:a16="http://schemas.microsoft.com/office/drawing/2014/main" id="{71C212E9-B073-B16A-6A8C-D8665E7CE61F}"/>
              </a:ext>
            </a:extLst>
          </p:cNvPr>
          <p:cNvSpPr txBox="1">
            <a:spLocks/>
          </p:cNvSpPr>
          <p:nvPr/>
        </p:nvSpPr>
        <p:spPr bwMode="gray">
          <a:xfrm>
            <a:off x="613151" y="5655365"/>
            <a:ext cx="11074023" cy="606916"/>
          </a:xfrm>
          <a:prstGeom prst="round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b="1" i="0" u="none" strike="noStrike" cap="none" normalizeH="0" baseline="0">
                <a:ln>
                  <a:noFill/>
                </a:ln>
                <a:solidFill>
                  <a:schemeClr val="bg1"/>
                </a:solidFill>
                <a:effectLst/>
                <a:latin typeface="Pfizer Tomorrow" panose="02010503040201060303" pitchFamily="2"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defTabSz="171390">
              <a:buClr>
                <a:srgbClr val="0095FF"/>
              </a:buClr>
              <a:defRPr/>
            </a:pPr>
            <a:r>
              <a:rPr lang="en-US" sz="1200" b="0" dirty="0">
                <a:solidFill>
                  <a:schemeClr val="bg1">
                    <a:lumMod val="50000"/>
                  </a:schemeClr>
                </a:solidFill>
                <a:latin typeface="Arial" panose="020B0604020202020204"/>
              </a:rPr>
              <a:t>RSV </a:t>
            </a:r>
            <a:r>
              <a:rPr lang="en-US" sz="1200" b="0" dirty="0" err="1">
                <a:solidFill>
                  <a:schemeClr val="bg1">
                    <a:lumMod val="50000"/>
                  </a:schemeClr>
                </a:solidFill>
                <a:latin typeface="Arial" panose="020B0604020202020204"/>
              </a:rPr>
              <a:t>aşısının</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gelişi</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sonrasında</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gözlenen</a:t>
            </a:r>
            <a:r>
              <a:rPr lang="en-US" sz="1200" b="0" dirty="0">
                <a:solidFill>
                  <a:schemeClr val="bg1">
                    <a:lumMod val="50000"/>
                  </a:schemeClr>
                </a:solidFill>
                <a:latin typeface="Arial" panose="020B0604020202020204"/>
              </a:rPr>
              <a:t> RSV </a:t>
            </a:r>
            <a:r>
              <a:rPr lang="en-US" sz="1200" b="0" dirty="0" err="1">
                <a:solidFill>
                  <a:schemeClr val="bg1">
                    <a:lumMod val="50000"/>
                  </a:schemeClr>
                </a:solidFill>
                <a:latin typeface="Arial" panose="020B0604020202020204"/>
              </a:rPr>
              <a:t>ile</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ilişkili</a:t>
            </a:r>
            <a:r>
              <a:rPr lang="en-US" sz="1200" b="0" dirty="0">
                <a:solidFill>
                  <a:schemeClr val="bg1">
                    <a:lumMod val="50000"/>
                  </a:schemeClr>
                </a:solidFill>
                <a:latin typeface="Arial" panose="020B0604020202020204"/>
              </a:rPr>
              <a:t> </a:t>
            </a:r>
            <a:r>
              <a:rPr lang="en-US" sz="1800" dirty="0" err="1">
                <a:solidFill>
                  <a:srgbClr val="C00000"/>
                </a:solidFill>
                <a:latin typeface="Arial" panose="020B0604020202020204"/>
              </a:rPr>
              <a:t>hastaneye</a:t>
            </a:r>
            <a:r>
              <a:rPr lang="en-US" sz="1800" dirty="0">
                <a:solidFill>
                  <a:srgbClr val="C00000"/>
                </a:solidFill>
                <a:latin typeface="Arial" panose="020B0604020202020204"/>
              </a:rPr>
              <a:t> </a:t>
            </a:r>
            <a:r>
              <a:rPr lang="en-US" sz="1800" dirty="0" err="1">
                <a:solidFill>
                  <a:srgbClr val="C00000"/>
                </a:solidFill>
                <a:latin typeface="Arial" panose="020B0604020202020204"/>
              </a:rPr>
              <a:t>yatı</a:t>
            </a:r>
            <a:r>
              <a:rPr lang="tr-TR" sz="1800" dirty="0">
                <a:solidFill>
                  <a:srgbClr val="C00000"/>
                </a:solidFill>
                <a:latin typeface="Arial" panose="020B0604020202020204"/>
              </a:rPr>
              <a:t>ş</a:t>
            </a:r>
            <a:r>
              <a:rPr lang="en-US" sz="1800" dirty="0">
                <a:solidFill>
                  <a:srgbClr val="C00000"/>
                </a:solidFill>
                <a:latin typeface="Arial" panose="020B0604020202020204"/>
              </a:rPr>
              <a:t> </a:t>
            </a:r>
            <a:r>
              <a:rPr lang="en-US" sz="1800" dirty="0" err="1">
                <a:solidFill>
                  <a:srgbClr val="C00000"/>
                </a:solidFill>
                <a:latin typeface="Arial" panose="020B0604020202020204"/>
              </a:rPr>
              <a:t>görülme</a:t>
            </a:r>
            <a:r>
              <a:rPr lang="en-US" sz="1800" dirty="0">
                <a:solidFill>
                  <a:srgbClr val="C00000"/>
                </a:solidFill>
                <a:latin typeface="Arial" panose="020B0604020202020204"/>
              </a:rPr>
              <a:t> </a:t>
            </a:r>
            <a:r>
              <a:rPr lang="en-US" sz="1800" dirty="0" err="1">
                <a:solidFill>
                  <a:srgbClr val="C00000"/>
                </a:solidFill>
                <a:latin typeface="Arial" panose="020B0604020202020204"/>
              </a:rPr>
              <a:t>sıklığı</a:t>
            </a:r>
            <a:r>
              <a:rPr lang="en-US" sz="120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hedeflenmeyen</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aşı</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gruplarına</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göre</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ülke</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çapında</a:t>
            </a:r>
            <a:r>
              <a:rPr lang="en-US" sz="1200" b="0" dirty="0">
                <a:solidFill>
                  <a:schemeClr val="bg1">
                    <a:lumMod val="50000"/>
                  </a:schemeClr>
                </a:solidFill>
                <a:latin typeface="Arial" panose="020B0604020202020204"/>
              </a:rPr>
              <a:t> </a:t>
            </a:r>
            <a:r>
              <a:rPr lang="en-US" sz="1800" dirty="0">
                <a:solidFill>
                  <a:srgbClr val="C00000"/>
                </a:solidFill>
                <a:latin typeface="Arial" panose="020B0604020202020204"/>
              </a:rPr>
              <a:t>%62,1 </a:t>
            </a:r>
            <a:r>
              <a:rPr lang="en-US" sz="1800" dirty="0" err="1">
                <a:solidFill>
                  <a:srgbClr val="C00000"/>
                </a:solidFill>
                <a:latin typeface="Arial" panose="020B0604020202020204"/>
              </a:rPr>
              <a:t>oranında</a:t>
            </a:r>
            <a:r>
              <a:rPr lang="en-US" sz="1800" dirty="0">
                <a:solidFill>
                  <a:srgbClr val="C00000"/>
                </a:solidFill>
                <a:latin typeface="Arial" panose="020B0604020202020204"/>
              </a:rPr>
              <a:t> </a:t>
            </a:r>
            <a:r>
              <a:rPr lang="en-US" sz="1800" dirty="0" err="1">
                <a:solidFill>
                  <a:srgbClr val="C00000"/>
                </a:solidFill>
                <a:latin typeface="Arial" panose="020B0604020202020204"/>
              </a:rPr>
              <a:t>azalmıştır</a:t>
            </a:r>
            <a:r>
              <a:rPr lang="tr-TR" sz="1800" dirty="0">
                <a:solidFill>
                  <a:srgbClr val="C00000"/>
                </a:solidFill>
                <a:latin typeface="Arial" panose="020B0604020202020204"/>
              </a:rPr>
              <a:t>.</a:t>
            </a:r>
            <a:endParaRPr lang="en-US" sz="3000" dirty="0">
              <a:solidFill>
                <a:srgbClr val="C00000"/>
              </a:solidFill>
              <a:latin typeface="Arial" panose="020B0604020202020204"/>
            </a:endParaRPr>
          </a:p>
        </p:txBody>
      </p:sp>
    </p:spTree>
    <p:extLst>
      <p:ext uri="{BB962C8B-B14F-4D97-AF65-F5344CB8AC3E}">
        <p14:creationId xmlns:p14="http://schemas.microsoft.com/office/powerpoint/2010/main" val="580663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51">
            <a:extLst>
              <a:ext uri="{FF2B5EF4-FFF2-40B4-BE49-F238E27FC236}">
                <a16:creationId xmlns:a16="http://schemas.microsoft.com/office/drawing/2014/main" id="{1E475F13-77C7-E05A-563E-E2E4084D8C9D}"/>
              </a:ext>
            </a:extLst>
          </p:cNvPr>
          <p:cNvSpPr>
            <a:spLocks noGrp="1"/>
          </p:cNvSpPr>
          <p:nvPr>
            <p:ph type="title"/>
          </p:nvPr>
        </p:nvSpPr>
        <p:spPr/>
        <p:txBody>
          <a:bodyPr/>
          <a:lstStyle/>
          <a:p>
            <a:r>
              <a:rPr lang="tr-TR" dirty="0"/>
              <a:t>Solunum yolu hastalıklarından ölüm riski yaşla birlikte artar</a:t>
            </a:r>
          </a:p>
        </p:txBody>
      </p:sp>
      <p:sp>
        <p:nvSpPr>
          <p:cNvPr id="3" name="Slide Number Placeholder 2">
            <a:extLst>
              <a:ext uri="{FF2B5EF4-FFF2-40B4-BE49-F238E27FC236}">
                <a16:creationId xmlns:a16="http://schemas.microsoft.com/office/drawing/2014/main" id="{9C83FD70-1E26-24E4-43C2-7C7A197D5398}"/>
              </a:ext>
            </a:extLst>
          </p:cNvPr>
          <p:cNvSpPr>
            <a:spLocks noGrp="1"/>
          </p:cNvSpPr>
          <p:nvPr>
            <p:ph type="sldNum" sz="quarter" idx="4"/>
          </p:nvPr>
        </p:nvSpPr>
        <p:spPr>
          <a:xfrm>
            <a:off x="10438834" y="6508427"/>
            <a:ext cx="1143536" cy="153889"/>
          </a:xfrm>
        </p:spPr>
        <p:txBody>
          <a:bodyPr/>
          <a:lstStyle/>
          <a:p>
            <a:pPr lvl="0"/>
            <a:fld id="{2B39012A-6F33-204B-8224-A57BEFB0AAD0}" type="slidenum">
              <a:rPr lang="en-US" noProof="0" smtClean="0"/>
              <a:pPr lvl="0"/>
              <a:t>9</a:t>
            </a:fld>
            <a:endParaRPr lang="en-US" noProof="0"/>
          </a:p>
        </p:txBody>
      </p:sp>
      <p:sp>
        <p:nvSpPr>
          <p:cNvPr id="8" name="TextBox 7">
            <a:extLst>
              <a:ext uri="{FF2B5EF4-FFF2-40B4-BE49-F238E27FC236}">
                <a16:creationId xmlns:a16="http://schemas.microsoft.com/office/drawing/2014/main" id="{DF4F3581-E1E2-7AEE-744A-6C4214E9C831}"/>
              </a:ext>
            </a:extLst>
          </p:cNvPr>
          <p:cNvSpPr txBox="1"/>
          <p:nvPr/>
        </p:nvSpPr>
        <p:spPr>
          <a:xfrm>
            <a:off x="649585" y="5751669"/>
            <a:ext cx="11001973" cy="646331"/>
          </a:xfrm>
          <a:prstGeom prst="rect">
            <a:avLst/>
          </a:prstGeom>
          <a:noFill/>
        </p:spPr>
        <p:txBody>
          <a:bodyPr wrap="square" lIns="0" tIns="0" rIns="0" bIns="0" rtlCol="0" anchor="b">
            <a:spAutoFit/>
          </a:bodyPr>
          <a:lstStyle/>
          <a:p>
            <a:pPr>
              <a:defRPr/>
            </a:pPr>
            <a:r>
              <a:rPr lang="en-GB" sz="700">
                <a:solidFill>
                  <a:schemeClr val="tx1">
                    <a:lumMod val="50000"/>
                    <a:lumOff val="50000"/>
                  </a:schemeClr>
                </a:solidFill>
              </a:rPr>
              <a:t>*All data on Our World in Data rely on data sourced from one or several original data providers. Preparing this original data involves several processing steps. Depending on the data, this can include standardizing country names and world region definitions, converting units, calculating derived indicators such as per capita measures, as well as adding or adapting metadata such as the name or the description given to an indicator; </a:t>
            </a:r>
            <a:r>
              <a:rPr lang="en-GB" sz="700" baseline="30000">
                <a:solidFill>
                  <a:schemeClr val="tx1">
                    <a:lumMod val="50000"/>
                    <a:lumOff val="50000"/>
                  </a:schemeClr>
                </a:solidFill>
              </a:rPr>
              <a:t>†</a:t>
            </a:r>
            <a:r>
              <a:rPr lang="en-GB" sz="700">
                <a:solidFill>
                  <a:schemeClr val="tx1">
                    <a:lumMod val="50000"/>
                    <a:lumOff val="50000"/>
                  </a:schemeClr>
                </a:solidFill>
              </a:rPr>
              <a:t>All-cause mortality data were extracted for 28 European countries via the </a:t>
            </a:r>
            <a:r>
              <a:rPr lang="en-GB" sz="700" err="1">
                <a:solidFill>
                  <a:schemeClr val="tx1">
                    <a:lumMod val="50000"/>
                    <a:lumOff val="50000"/>
                  </a:schemeClr>
                </a:solidFill>
              </a:rPr>
              <a:t>Euromomo</a:t>
            </a:r>
            <a:r>
              <a:rPr lang="en-GB" sz="700">
                <a:solidFill>
                  <a:schemeClr val="tx1">
                    <a:lumMod val="50000"/>
                    <a:lumOff val="50000"/>
                  </a:schemeClr>
                </a:solidFill>
              </a:rPr>
              <a:t> system, influenza mortality data were collected in the US in 2019 from the National Vital Statistics System, and COVID-19 mortality data were collected in France from hospitalization data from the SI-VIC system between March and September 2020.</a:t>
            </a:r>
          </a:p>
          <a:p>
            <a:pPr lvl="0">
              <a:defRPr/>
            </a:pPr>
            <a:r>
              <a:rPr lang="en-GB" sz="700">
                <a:solidFill>
                  <a:schemeClr val="tx1">
                    <a:lumMod val="50000"/>
                    <a:lumOff val="50000"/>
                  </a:schemeClr>
                </a:solidFill>
              </a:rPr>
              <a:t>LRTI, lower respiratory tract infection. </a:t>
            </a:r>
          </a:p>
          <a:p>
            <a:pPr lvl="0">
              <a:defRPr/>
            </a:pPr>
            <a:r>
              <a:rPr lang="en-GB" sz="700">
                <a:solidFill>
                  <a:schemeClr val="tx1">
                    <a:lumMod val="50000"/>
                    <a:lumOff val="50000"/>
                  </a:schemeClr>
                </a:solidFill>
              </a:rPr>
              <a:t>1. Our World in Data. Death rate from pneumonia, by age, World. </a:t>
            </a:r>
            <a:r>
              <a:rPr lang="en-GB" sz="700">
                <a:solidFill>
                  <a:schemeClr val="tx1">
                    <a:lumMod val="50000"/>
                    <a:lumOff val="50000"/>
                  </a:schemeClr>
                </a:solidFill>
                <a:hlinkClick r:id="rId3"/>
              </a:rPr>
              <a:t>https://ourworldindata.org/grapher/pneumonia-mortality-by-age</a:t>
            </a:r>
            <a:r>
              <a:rPr lang="en-GB" sz="700">
                <a:solidFill>
                  <a:schemeClr val="tx1">
                    <a:lumMod val="50000"/>
                    <a:lumOff val="50000"/>
                  </a:schemeClr>
                </a:solidFill>
              </a:rPr>
              <a:t>. Accessed 28 March 2025; 2. Our World in Data. How many people die from the flu? </a:t>
            </a:r>
            <a:r>
              <a:rPr lang="en-GB" sz="700">
                <a:solidFill>
                  <a:schemeClr val="tx1">
                    <a:lumMod val="50000"/>
                    <a:lumOff val="50000"/>
                  </a:schemeClr>
                </a:solidFill>
                <a:hlinkClick r:id="rId4"/>
              </a:rPr>
              <a:t>https://ourworldindata.org/influenza-deaths. Accessed 28 March 2025</a:t>
            </a:r>
            <a:r>
              <a:rPr lang="en-GB" sz="700">
                <a:solidFill>
                  <a:schemeClr val="tx1">
                    <a:lumMod val="50000"/>
                    <a:lumOff val="50000"/>
                  </a:schemeClr>
                </a:solidFill>
              </a:rPr>
              <a:t>; 3. Metcalf CJE et al. </a:t>
            </a:r>
            <a:r>
              <a:rPr lang="en-GB" sz="700" i="1">
                <a:solidFill>
                  <a:schemeClr val="tx1">
                    <a:lumMod val="50000"/>
                    <a:lumOff val="50000"/>
                  </a:schemeClr>
                </a:solidFill>
              </a:rPr>
              <a:t>R Soc Open Sci.</a:t>
            </a:r>
            <a:r>
              <a:rPr lang="en-GB" sz="700">
                <a:solidFill>
                  <a:schemeClr val="tx1">
                    <a:lumMod val="50000"/>
                    <a:lumOff val="50000"/>
                  </a:schemeClr>
                </a:solidFill>
              </a:rPr>
              <a:t> 2022;9(6):211498.</a:t>
            </a:r>
          </a:p>
        </p:txBody>
      </p:sp>
      <p:grpSp>
        <p:nvGrpSpPr>
          <p:cNvPr id="53" name="Group 52">
            <a:extLst>
              <a:ext uri="{FF2B5EF4-FFF2-40B4-BE49-F238E27FC236}">
                <a16:creationId xmlns:a16="http://schemas.microsoft.com/office/drawing/2014/main" id="{A1970798-64C0-E48A-43D6-2F7A3E1FE3AF}"/>
              </a:ext>
            </a:extLst>
          </p:cNvPr>
          <p:cNvGrpSpPr/>
          <p:nvPr/>
        </p:nvGrpSpPr>
        <p:grpSpPr>
          <a:xfrm>
            <a:off x="577181" y="1411025"/>
            <a:ext cx="10612473" cy="4264982"/>
            <a:chOff x="577181" y="1064526"/>
            <a:chExt cx="10612473" cy="4394215"/>
          </a:xfrm>
        </p:grpSpPr>
        <p:sp>
          <p:nvSpPr>
            <p:cNvPr id="5" name="TextBox 4">
              <a:extLst>
                <a:ext uri="{FF2B5EF4-FFF2-40B4-BE49-F238E27FC236}">
                  <a16:creationId xmlns:a16="http://schemas.microsoft.com/office/drawing/2014/main" id="{F3CE9523-054D-CD8A-C42D-C99EAD58C26B}"/>
                </a:ext>
              </a:extLst>
            </p:cNvPr>
            <p:cNvSpPr txBox="1"/>
            <p:nvPr/>
          </p:nvSpPr>
          <p:spPr>
            <a:xfrm>
              <a:off x="1491762" y="1079916"/>
              <a:ext cx="3954449" cy="307777"/>
            </a:xfrm>
            <a:prstGeom prst="rect">
              <a:avLst/>
            </a:prstGeom>
            <a:noFill/>
          </p:spPr>
          <p:txBody>
            <a:bodyPr wrap="square" rtlCol="0">
              <a:spAutoFit/>
            </a:bodyPr>
            <a:lstStyle/>
            <a:p>
              <a:pPr algn="ctr">
                <a:defRPr/>
              </a:pPr>
              <a:r>
                <a:rPr lang="en-US" sz="1400" b="1">
                  <a:solidFill>
                    <a:srgbClr val="0000C9"/>
                  </a:solidFill>
                  <a:highlight>
                    <a:srgbClr val="FBF8F2"/>
                  </a:highlight>
                  <a:latin typeface="Pfizer Tomorrow"/>
                </a:rPr>
                <a:t>Dünya </a:t>
              </a:r>
              <a:r>
                <a:rPr lang="en-US" sz="1400" b="1" err="1">
                  <a:solidFill>
                    <a:srgbClr val="0000C9"/>
                  </a:solidFill>
                  <a:highlight>
                    <a:srgbClr val="FBF8F2"/>
                  </a:highlight>
                  <a:latin typeface="Pfizer Tomorrow"/>
                </a:rPr>
                <a:t>geneli</a:t>
              </a:r>
              <a:r>
                <a:rPr lang="en-US" sz="1400" b="1">
                  <a:solidFill>
                    <a:srgbClr val="0000C9"/>
                  </a:solidFill>
                  <a:highlight>
                    <a:srgbClr val="FBF8F2"/>
                  </a:highlight>
                  <a:latin typeface="Pfizer Tomorrow"/>
                </a:rPr>
                <a:t> </a:t>
              </a:r>
              <a:r>
                <a:rPr lang="en-US" sz="1400" b="1" err="1">
                  <a:solidFill>
                    <a:srgbClr val="0000C9"/>
                  </a:solidFill>
                  <a:highlight>
                    <a:srgbClr val="FBF8F2"/>
                  </a:highlight>
                  <a:latin typeface="Pfizer Tomorrow"/>
                </a:rPr>
                <a:t>yaşla</a:t>
              </a:r>
              <a:r>
                <a:rPr lang="en-US" sz="1400" b="1">
                  <a:solidFill>
                    <a:srgbClr val="0000C9"/>
                  </a:solidFill>
                  <a:highlight>
                    <a:srgbClr val="FBF8F2"/>
                  </a:highlight>
                  <a:latin typeface="Pfizer Tomorrow"/>
                </a:rPr>
                <a:t> </a:t>
              </a:r>
              <a:r>
                <a:rPr lang="en-US" sz="1400" b="1" err="1">
                  <a:solidFill>
                    <a:srgbClr val="0000C9"/>
                  </a:solidFill>
                  <a:highlight>
                    <a:srgbClr val="FBF8F2"/>
                  </a:highlight>
                  <a:latin typeface="Pfizer Tomorrow"/>
                </a:rPr>
                <a:t>pnömoniden</a:t>
              </a:r>
              <a:r>
                <a:rPr lang="en-US" sz="1400" b="1">
                  <a:solidFill>
                    <a:srgbClr val="0000C9"/>
                  </a:solidFill>
                  <a:highlight>
                    <a:srgbClr val="FBF8F2"/>
                  </a:highlight>
                  <a:latin typeface="Pfizer Tomorrow"/>
                </a:rPr>
                <a:t> </a:t>
              </a:r>
              <a:r>
                <a:rPr lang="en-US" sz="1400" b="1" err="1">
                  <a:solidFill>
                    <a:srgbClr val="0000C9"/>
                  </a:solidFill>
                  <a:highlight>
                    <a:srgbClr val="FBF8F2"/>
                  </a:highlight>
                  <a:latin typeface="Pfizer Tomorrow"/>
                </a:rPr>
                <a:t>ölüm</a:t>
              </a:r>
              <a:r>
                <a:rPr lang="en-US" sz="1400" b="1">
                  <a:solidFill>
                    <a:srgbClr val="0000C9"/>
                  </a:solidFill>
                  <a:highlight>
                    <a:srgbClr val="FBF8F2"/>
                  </a:highlight>
                  <a:latin typeface="Pfizer Tomorrow"/>
                </a:rPr>
                <a:t> oranı</a:t>
              </a:r>
              <a:r>
                <a:rPr lang="en-US" sz="1400" b="1" baseline="30000">
                  <a:solidFill>
                    <a:srgbClr val="0000C9"/>
                  </a:solidFill>
                  <a:highlight>
                    <a:srgbClr val="FBF8F2"/>
                  </a:highlight>
                  <a:latin typeface="Pfizer Tomorrow"/>
                </a:rPr>
                <a:t>1,*</a:t>
              </a:r>
              <a:r>
                <a:rPr lang="en-US" sz="1400" b="1">
                  <a:solidFill>
                    <a:srgbClr val="0000C9"/>
                  </a:solidFill>
                  <a:highlight>
                    <a:srgbClr val="FBF8F2"/>
                  </a:highlight>
                  <a:latin typeface="Pfizer Tomorrow"/>
                </a:rPr>
                <a:t> </a:t>
              </a:r>
            </a:p>
          </p:txBody>
        </p:sp>
        <p:sp>
          <p:nvSpPr>
            <p:cNvPr id="12" name="Freeform: Shape 11">
              <a:extLst>
                <a:ext uri="{FF2B5EF4-FFF2-40B4-BE49-F238E27FC236}">
                  <a16:creationId xmlns:a16="http://schemas.microsoft.com/office/drawing/2014/main" id="{8CAFCA81-0BC7-205A-9FDB-E61153965CFB}"/>
                </a:ext>
              </a:extLst>
            </p:cNvPr>
            <p:cNvSpPr/>
            <p:nvPr/>
          </p:nvSpPr>
          <p:spPr>
            <a:xfrm>
              <a:off x="1297429" y="4376364"/>
              <a:ext cx="4011593" cy="782"/>
            </a:xfrm>
            <a:custGeom>
              <a:avLst/>
              <a:gdLst>
                <a:gd name="connsiteX0" fmla="*/ 0 w 3320033"/>
                <a:gd name="connsiteY0" fmla="*/ 0 h 637"/>
                <a:gd name="connsiteX1" fmla="*/ 3320033 w 3320033"/>
                <a:gd name="connsiteY1" fmla="*/ 637 h 637"/>
              </a:gdLst>
              <a:ahLst/>
              <a:cxnLst>
                <a:cxn ang="0">
                  <a:pos x="connsiteX0" y="connsiteY0"/>
                </a:cxn>
                <a:cxn ang="0">
                  <a:pos x="connsiteX1" y="connsiteY1"/>
                </a:cxn>
              </a:cxnLst>
              <a:rect l="l" t="t" r="r" b="b"/>
              <a:pathLst>
                <a:path w="3320033" h="637">
                  <a:moveTo>
                    <a:pt x="0" y="0"/>
                  </a:moveTo>
                  <a:lnTo>
                    <a:pt x="3320033" y="637"/>
                  </a:lnTo>
                </a:path>
              </a:pathLst>
            </a:custGeom>
            <a:ln w="8485" cap="sq">
              <a:solidFill>
                <a:schemeClr val="bg2"/>
              </a:solidFill>
              <a:prstDash val="solid"/>
              <a:miter/>
            </a:ln>
          </p:spPr>
          <p:txBody>
            <a:bodyPr wrap="none" rtlCol="0" anchor="ctr"/>
            <a:lstStyle/>
            <a:p>
              <a:endParaRPr lang="en-US" sz="1200"/>
            </a:p>
          </p:txBody>
        </p:sp>
        <p:sp>
          <p:nvSpPr>
            <p:cNvPr id="13" name="Freeform: Shape 12">
              <a:extLst>
                <a:ext uri="{FF2B5EF4-FFF2-40B4-BE49-F238E27FC236}">
                  <a16:creationId xmlns:a16="http://schemas.microsoft.com/office/drawing/2014/main" id="{D3EA6F99-9F55-17A6-94F4-AA0694542BFA}"/>
                </a:ext>
              </a:extLst>
            </p:cNvPr>
            <p:cNvSpPr/>
            <p:nvPr/>
          </p:nvSpPr>
          <p:spPr>
            <a:xfrm>
              <a:off x="1297429" y="3782655"/>
              <a:ext cx="4011593" cy="912"/>
            </a:xfrm>
            <a:custGeom>
              <a:avLst/>
              <a:gdLst>
                <a:gd name="connsiteX0" fmla="*/ 0 w 3320033"/>
                <a:gd name="connsiteY0" fmla="*/ 0 h 743"/>
                <a:gd name="connsiteX1" fmla="*/ 3320033 w 3320033"/>
                <a:gd name="connsiteY1" fmla="*/ 744 h 743"/>
              </a:gdLst>
              <a:ahLst/>
              <a:cxnLst>
                <a:cxn ang="0">
                  <a:pos x="connsiteX0" y="connsiteY0"/>
                </a:cxn>
                <a:cxn ang="0">
                  <a:pos x="connsiteX1" y="connsiteY1"/>
                </a:cxn>
              </a:cxnLst>
              <a:rect l="l" t="t" r="r" b="b"/>
              <a:pathLst>
                <a:path w="3320033" h="743">
                  <a:moveTo>
                    <a:pt x="0" y="0"/>
                  </a:moveTo>
                  <a:lnTo>
                    <a:pt x="3320033" y="744"/>
                  </a:lnTo>
                </a:path>
              </a:pathLst>
            </a:custGeom>
            <a:ln w="8485" cap="sq">
              <a:solidFill>
                <a:schemeClr val="bg2"/>
              </a:solidFill>
              <a:prstDash val="solid"/>
              <a:miter/>
            </a:ln>
          </p:spPr>
          <p:txBody>
            <a:bodyPr wrap="none" rtlCol="0" anchor="ctr"/>
            <a:lstStyle/>
            <a:p>
              <a:endParaRPr lang="en-US" sz="1200"/>
            </a:p>
          </p:txBody>
        </p:sp>
        <p:sp>
          <p:nvSpPr>
            <p:cNvPr id="14" name="Freeform: Shape 13">
              <a:extLst>
                <a:ext uri="{FF2B5EF4-FFF2-40B4-BE49-F238E27FC236}">
                  <a16:creationId xmlns:a16="http://schemas.microsoft.com/office/drawing/2014/main" id="{048C1C8D-F253-8620-2A85-5BA1188AB7D9}"/>
                </a:ext>
              </a:extLst>
            </p:cNvPr>
            <p:cNvSpPr/>
            <p:nvPr/>
          </p:nvSpPr>
          <p:spPr>
            <a:xfrm>
              <a:off x="1297429" y="3179819"/>
              <a:ext cx="4011593" cy="912"/>
            </a:xfrm>
            <a:custGeom>
              <a:avLst/>
              <a:gdLst>
                <a:gd name="connsiteX0" fmla="*/ 0 w 3320033"/>
                <a:gd name="connsiteY0" fmla="*/ 0 h 743"/>
                <a:gd name="connsiteX1" fmla="*/ 3320033 w 3320033"/>
                <a:gd name="connsiteY1" fmla="*/ 744 h 743"/>
              </a:gdLst>
              <a:ahLst/>
              <a:cxnLst>
                <a:cxn ang="0">
                  <a:pos x="connsiteX0" y="connsiteY0"/>
                </a:cxn>
                <a:cxn ang="0">
                  <a:pos x="connsiteX1" y="connsiteY1"/>
                </a:cxn>
              </a:cxnLst>
              <a:rect l="l" t="t" r="r" b="b"/>
              <a:pathLst>
                <a:path w="3320033" h="743">
                  <a:moveTo>
                    <a:pt x="0" y="0"/>
                  </a:moveTo>
                  <a:lnTo>
                    <a:pt x="3320033" y="744"/>
                  </a:lnTo>
                </a:path>
              </a:pathLst>
            </a:custGeom>
            <a:ln w="8485" cap="sq">
              <a:solidFill>
                <a:schemeClr val="bg2"/>
              </a:solidFill>
              <a:prstDash val="solid"/>
              <a:miter/>
            </a:ln>
          </p:spPr>
          <p:txBody>
            <a:bodyPr wrap="none" rtlCol="0" anchor="ctr"/>
            <a:lstStyle/>
            <a:p>
              <a:endParaRPr lang="en-US" sz="1200"/>
            </a:p>
          </p:txBody>
        </p:sp>
        <p:sp>
          <p:nvSpPr>
            <p:cNvPr id="15" name="Freeform: Shape 14">
              <a:extLst>
                <a:ext uri="{FF2B5EF4-FFF2-40B4-BE49-F238E27FC236}">
                  <a16:creationId xmlns:a16="http://schemas.microsoft.com/office/drawing/2014/main" id="{A18498E5-8875-AA4C-D226-7E944F60E2CB}"/>
                </a:ext>
              </a:extLst>
            </p:cNvPr>
            <p:cNvSpPr/>
            <p:nvPr/>
          </p:nvSpPr>
          <p:spPr>
            <a:xfrm>
              <a:off x="1319122" y="4938776"/>
              <a:ext cx="3993109" cy="14474"/>
            </a:xfrm>
            <a:custGeom>
              <a:avLst/>
              <a:gdLst>
                <a:gd name="connsiteX0" fmla="*/ 0 w 3304735"/>
                <a:gd name="connsiteY0" fmla="*/ 4143 h 11792"/>
                <a:gd name="connsiteX1" fmla="*/ 406027 w 3304735"/>
                <a:gd name="connsiteY1" fmla="*/ 4674 h 11792"/>
                <a:gd name="connsiteX2" fmla="*/ 806106 w 3304735"/>
                <a:gd name="connsiteY2" fmla="*/ 7118 h 11792"/>
                <a:gd name="connsiteX3" fmla="*/ 1209796 w 3304735"/>
                <a:gd name="connsiteY3" fmla="*/ 0 h 11792"/>
                <a:gd name="connsiteX4" fmla="*/ 2017601 w 3304735"/>
                <a:gd name="connsiteY4" fmla="*/ 6480 h 11792"/>
                <a:gd name="connsiteX5" fmla="*/ 2423097 w 3304735"/>
                <a:gd name="connsiteY5" fmla="*/ 2337 h 11792"/>
                <a:gd name="connsiteX6" fmla="*/ 2823813 w 3304735"/>
                <a:gd name="connsiteY6" fmla="*/ 6480 h 11792"/>
                <a:gd name="connsiteX7" fmla="*/ 3304735 w 3304735"/>
                <a:gd name="connsiteY7" fmla="*/ 11792 h 1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4735" h="11792">
                  <a:moveTo>
                    <a:pt x="0" y="4143"/>
                  </a:moveTo>
                  <a:lnTo>
                    <a:pt x="406027" y="4674"/>
                  </a:lnTo>
                  <a:lnTo>
                    <a:pt x="806106" y="7118"/>
                  </a:lnTo>
                  <a:lnTo>
                    <a:pt x="1209796" y="0"/>
                  </a:lnTo>
                  <a:lnTo>
                    <a:pt x="2017601" y="6480"/>
                  </a:lnTo>
                  <a:lnTo>
                    <a:pt x="2423097" y="2337"/>
                  </a:lnTo>
                  <a:lnTo>
                    <a:pt x="2823813" y="6480"/>
                  </a:lnTo>
                  <a:lnTo>
                    <a:pt x="3304735" y="11792"/>
                  </a:lnTo>
                </a:path>
              </a:pathLst>
            </a:custGeom>
            <a:solidFill>
              <a:schemeClr val="accent3"/>
            </a:solidFill>
            <a:ln w="28575" cap="sq">
              <a:solidFill>
                <a:schemeClr val="accent4"/>
              </a:solidFill>
              <a:prstDash val="solid"/>
              <a:miter/>
            </a:ln>
          </p:spPr>
          <p:txBody>
            <a:bodyPr wrap="none" rtlCol="0" anchor="ctr"/>
            <a:lstStyle/>
            <a:p>
              <a:endParaRPr lang="en-US" sz="1200"/>
            </a:p>
          </p:txBody>
        </p:sp>
        <p:sp>
          <p:nvSpPr>
            <p:cNvPr id="16" name="Freeform: Shape 15">
              <a:extLst>
                <a:ext uri="{FF2B5EF4-FFF2-40B4-BE49-F238E27FC236}">
                  <a16:creationId xmlns:a16="http://schemas.microsoft.com/office/drawing/2014/main" id="{18A556D1-76BA-E16D-6869-8D260CD99B8B}"/>
                </a:ext>
              </a:extLst>
            </p:cNvPr>
            <p:cNvSpPr/>
            <p:nvPr/>
          </p:nvSpPr>
          <p:spPr>
            <a:xfrm>
              <a:off x="1302691" y="1982883"/>
              <a:ext cx="4009282" cy="2991752"/>
            </a:xfrm>
            <a:custGeom>
              <a:avLst/>
              <a:gdLst>
                <a:gd name="connsiteX0" fmla="*/ 0 w 3318120"/>
                <a:gd name="connsiteY0" fmla="*/ 0 h 2437332"/>
                <a:gd name="connsiteX1" fmla="*/ 0 w 3318120"/>
                <a:gd name="connsiteY1" fmla="*/ 2437333 h 2437332"/>
                <a:gd name="connsiteX2" fmla="*/ 3318121 w 3318120"/>
                <a:gd name="connsiteY2" fmla="*/ 2437333 h 2437332"/>
              </a:gdLst>
              <a:ahLst/>
              <a:cxnLst>
                <a:cxn ang="0">
                  <a:pos x="connsiteX0" y="connsiteY0"/>
                </a:cxn>
                <a:cxn ang="0">
                  <a:pos x="connsiteX1" y="connsiteY1"/>
                </a:cxn>
                <a:cxn ang="0">
                  <a:pos x="connsiteX2" y="connsiteY2"/>
                </a:cxn>
              </a:cxnLst>
              <a:rect l="l" t="t" r="r" b="b"/>
              <a:pathLst>
                <a:path w="3318120" h="2437332">
                  <a:moveTo>
                    <a:pt x="0" y="0"/>
                  </a:moveTo>
                  <a:lnTo>
                    <a:pt x="0" y="2437333"/>
                  </a:lnTo>
                  <a:lnTo>
                    <a:pt x="3318121" y="2437333"/>
                  </a:lnTo>
                </a:path>
              </a:pathLst>
            </a:custGeom>
            <a:noFill/>
            <a:ln w="8485" cap="sq">
              <a:solidFill>
                <a:srgbClr val="231F20"/>
              </a:solidFill>
              <a:prstDash val="solid"/>
              <a:miter/>
            </a:ln>
          </p:spPr>
          <p:txBody>
            <a:bodyPr wrap="none" rtlCol="0" anchor="ctr"/>
            <a:lstStyle/>
            <a:p>
              <a:endParaRPr lang="en-US" sz="1200"/>
            </a:p>
          </p:txBody>
        </p:sp>
        <p:sp>
          <p:nvSpPr>
            <p:cNvPr id="17" name="Freeform: Shape 16">
              <a:extLst>
                <a:ext uri="{FF2B5EF4-FFF2-40B4-BE49-F238E27FC236}">
                  <a16:creationId xmlns:a16="http://schemas.microsoft.com/office/drawing/2014/main" id="{AB0C1E92-5081-A0F5-D138-0457C2AF0856}"/>
                </a:ext>
              </a:extLst>
            </p:cNvPr>
            <p:cNvSpPr/>
            <p:nvPr/>
          </p:nvSpPr>
          <p:spPr>
            <a:xfrm>
              <a:off x="1253529" y="1982883"/>
              <a:ext cx="49162" cy="13039"/>
            </a:xfrm>
            <a:custGeom>
              <a:avLst/>
              <a:gdLst>
                <a:gd name="connsiteX0" fmla="*/ 40688 w 40687"/>
                <a:gd name="connsiteY0" fmla="*/ 0 h 10623"/>
                <a:gd name="connsiteX1" fmla="*/ 0 w 40687"/>
                <a:gd name="connsiteY1" fmla="*/ 0 h 10623"/>
              </a:gdLst>
              <a:ahLst/>
              <a:cxnLst>
                <a:cxn ang="0">
                  <a:pos x="connsiteX0" y="connsiteY0"/>
                </a:cxn>
                <a:cxn ang="0">
                  <a:pos x="connsiteX1" y="connsiteY1"/>
                </a:cxn>
              </a:cxnLst>
              <a:rect l="l" t="t" r="r" b="b"/>
              <a:pathLst>
                <a:path w="40687" h="10623">
                  <a:moveTo>
                    <a:pt x="40688" y="0"/>
                  </a:moveTo>
                  <a:lnTo>
                    <a:pt x="0" y="0"/>
                  </a:lnTo>
                </a:path>
              </a:pathLst>
            </a:custGeom>
            <a:ln w="8485" cap="flat">
              <a:solidFill>
                <a:srgbClr val="231F20"/>
              </a:solidFill>
              <a:prstDash val="solid"/>
              <a:miter/>
            </a:ln>
          </p:spPr>
          <p:txBody>
            <a:bodyPr wrap="none" rtlCol="0" anchor="ctr"/>
            <a:lstStyle/>
            <a:p>
              <a:endParaRPr lang="en-US" sz="1200"/>
            </a:p>
          </p:txBody>
        </p:sp>
        <p:sp>
          <p:nvSpPr>
            <p:cNvPr id="18" name="Freeform: Shape 17">
              <a:extLst>
                <a:ext uri="{FF2B5EF4-FFF2-40B4-BE49-F238E27FC236}">
                  <a16:creationId xmlns:a16="http://schemas.microsoft.com/office/drawing/2014/main" id="{1227288F-A1A8-6C94-FEC3-415A9D0AFF0E}"/>
                </a:ext>
              </a:extLst>
            </p:cNvPr>
            <p:cNvSpPr/>
            <p:nvPr/>
          </p:nvSpPr>
          <p:spPr>
            <a:xfrm>
              <a:off x="1253529" y="2580504"/>
              <a:ext cx="49162" cy="13039"/>
            </a:xfrm>
            <a:custGeom>
              <a:avLst/>
              <a:gdLst>
                <a:gd name="connsiteX0" fmla="*/ 40688 w 40687"/>
                <a:gd name="connsiteY0" fmla="*/ 0 h 10623"/>
                <a:gd name="connsiteX1" fmla="*/ 0 w 40687"/>
                <a:gd name="connsiteY1" fmla="*/ 0 h 10623"/>
              </a:gdLst>
              <a:ahLst/>
              <a:cxnLst>
                <a:cxn ang="0">
                  <a:pos x="connsiteX0" y="connsiteY0"/>
                </a:cxn>
                <a:cxn ang="0">
                  <a:pos x="connsiteX1" y="connsiteY1"/>
                </a:cxn>
              </a:cxnLst>
              <a:rect l="l" t="t" r="r" b="b"/>
              <a:pathLst>
                <a:path w="40687" h="10623">
                  <a:moveTo>
                    <a:pt x="40688" y="0"/>
                  </a:moveTo>
                  <a:lnTo>
                    <a:pt x="0" y="0"/>
                  </a:lnTo>
                </a:path>
              </a:pathLst>
            </a:custGeom>
            <a:ln w="8485" cap="flat">
              <a:solidFill>
                <a:srgbClr val="231F20"/>
              </a:solidFill>
              <a:prstDash val="solid"/>
              <a:miter/>
            </a:ln>
          </p:spPr>
          <p:txBody>
            <a:bodyPr wrap="none" rtlCol="0" anchor="ctr"/>
            <a:lstStyle/>
            <a:p>
              <a:endParaRPr lang="en-US" sz="1200"/>
            </a:p>
          </p:txBody>
        </p:sp>
        <p:sp>
          <p:nvSpPr>
            <p:cNvPr id="19" name="Freeform: Shape 18">
              <a:extLst>
                <a:ext uri="{FF2B5EF4-FFF2-40B4-BE49-F238E27FC236}">
                  <a16:creationId xmlns:a16="http://schemas.microsoft.com/office/drawing/2014/main" id="{950087D0-A47C-B3FB-7210-0C0B26A41B27}"/>
                </a:ext>
              </a:extLst>
            </p:cNvPr>
            <p:cNvSpPr/>
            <p:nvPr/>
          </p:nvSpPr>
          <p:spPr>
            <a:xfrm>
              <a:off x="1253529" y="3180340"/>
              <a:ext cx="49162" cy="13039"/>
            </a:xfrm>
            <a:custGeom>
              <a:avLst/>
              <a:gdLst>
                <a:gd name="connsiteX0" fmla="*/ 40688 w 40687"/>
                <a:gd name="connsiteY0" fmla="*/ 0 h 10623"/>
                <a:gd name="connsiteX1" fmla="*/ 0 w 40687"/>
                <a:gd name="connsiteY1" fmla="*/ 0 h 10623"/>
              </a:gdLst>
              <a:ahLst/>
              <a:cxnLst>
                <a:cxn ang="0">
                  <a:pos x="connsiteX0" y="connsiteY0"/>
                </a:cxn>
                <a:cxn ang="0">
                  <a:pos x="connsiteX1" y="connsiteY1"/>
                </a:cxn>
              </a:cxnLst>
              <a:rect l="l" t="t" r="r" b="b"/>
              <a:pathLst>
                <a:path w="40687" h="10623">
                  <a:moveTo>
                    <a:pt x="40688" y="0"/>
                  </a:moveTo>
                  <a:lnTo>
                    <a:pt x="0" y="0"/>
                  </a:lnTo>
                </a:path>
              </a:pathLst>
            </a:custGeom>
            <a:ln w="8485" cap="flat">
              <a:solidFill>
                <a:srgbClr val="231F20"/>
              </a:solidFill>
              <a:prstDash val="solid"/>
              <a:miter/>
            </a:ln>
          </p:spPr>
          <p:txBody>
            <a:bodyPr wrap="none" rtlCol="0" anchor="ctr"/>
            <a:lstStyle/>
            <a:p>
              <a:endParaRPr lang="en-US" sz="1200"/>
            </a:p>
          </p:txBody>
        </p:sp>
        <p:sp>
          <p:nvSpPr>
            <p:cNvPr id="20" name="Freeform: Shape 19">
              <a:extLst>
                <a:ext uri="{FF2B5EF4-FFF2-40B4-BE49-F238E27FC236}">
                  <a16:creationId xmlns:a16="http://schemas.microsoft.com/office/drawing/2014/main" id="{4F624519-05F9-BFAC-200C-DE002138536D}"/>
                </a:ext>
              </a:extLst>
            </p:cNvPr>
            <p:cNvSpPr/>
            <p:nvPr/>
          </p:nvSpPr>
          <p:spPr>
            <a:xfrm>
              <a:off x="1253529" y="3778613"/>
              <a:ext cx="49162" cy="13039"/>
            </a:xfrm>
            <a:custGeom>
              <a:avLst/>
              <a:gdLst>
                <a:gd name="connsiteX0" fmla="*/ 40688 w 40687"/>
                <a:gd name="connsiteY0" fmla="*/ 0 h 10623"/>
                <a:gd name="connsiteX1" fmla="*/ 0 w 40687"/>
                <a:gd name="connsiteY1" fmla="*/ 0 h 10623"/>
              </a:gdLst>
              <a:ahLst/>
              <a:cxnLst>
                <a:cxn ang="0">
                  <a:pos x="connsiteX0" y="connsiteY0"/>
                </a:cxn>
                <a:cxn ang="0">
                  <a:pos x="connsiteX1" y="connsiteY1"/>
                </a:cxn>
              </a:cxnLst>
              <a:rect l="l" t="t" r="r" b="b"/>
              <a:pathLst>
                <a:path w="40687" h="10623">
                  <a:moveTo>
                    <a:pt x="40688" y="0"/>
                  </a:moveTo>
                  <a:lnTo>
                    <a:pt x="0" y="0"/>
                  </a:lnTo>
                </a:path>
              </a:pathLst>
            </a:custGeom>
            <a:ln w="8485" cap="flat">
              <a:solidFill>
                <a:srgbClr val="231F20"/>
              </a:solidFill>
              <a:prstDash val="solid"/>
              <a:miter/>
            </a:ln>
          </p:spPr>
          <p:txBody>
            <a:bodyPr wrap="none" rtlCol="0" anchor="ctr"/>
            <a:lstStyle/>
            <a:p>
              <a:endParaRPr lang="en-US" sz="1200"/>
            </a:p>
          </p:txBody>
        </p:sp>
        <p:sp>
          <p:nvSpPr>
            <p:cNvPr id="21" name="Freeform: Shape 20">
              <a:extLst>
                <a:ext uri="{FF2B5EF4-FFF2-40B4-BE49-F238E27FC236}">
                  <a16:creationId xmlns:a16="http://schemas.microsoft.com/office/drawing/2014/main" id="{E6F0C42E-B4DD-7A21-2555-30784C8660D1}"/>
                </a:ext>
              </a:extLst>
            </p:cNvPr>
            <p:cNvSpPr/>
            <p:nvPr/>
          </p:nvSpPr>
          <p:spPr>
            <a:xfrm>
              <a:off x="1253529" y="4377146"/>
              <a:ext cx="49162" cy="13039"/>
            </a:xfrm>
            <a:custGeom>
              <a:avLst/>
              <a:gdLst>
                <a:gd name="connsiteX0" fmla="*/ 40688 w 40687"/>
                <a:gd name="connsiteY0" fmla="*/ 0 h 10623"/>
                <a:gd name="connsiteX1" fmla="*/ 0 w 40687"/>
                <a:gd name="connsiteY1" fmla="*/ 0 h 10623"/>
              </a:gdLst>
              <a:ahLst/>
              <a:cxnLst>
                <a:cxn ang="0">
                  <a:pos x="connsiteX0" y="connsiteY0"/>
                </a:cxn>
                <a:cxn ang="0">
                  <a:pos x="connsiteX1" y="connsiteY1"/>
                </a:cxn>
              </a:cxnLst>
              <a:rect l="l" t="t" r="r" b="b"/>
              <a:pathLst>
                <a:path w="40687" h="10623">
                  <a:moveTo>
                    <a:pt x="40688" y="0"/>
                  </a:moveTo>
                  <a:lnTo>
                    <a:pt x="0" y="0"/>
                  </a:lnTo>
                </a:path>
              </a:pathLst>
            </a:custGeom>
            <a:ln w="8485" cap="flat">
              <a:solidFill>
                <a:srgbClr val="231F20"/>
              </a:solidFill>
              <a:prstDash val="solid"/>
              <a:miter/>
            </a:ln>
          </p:spPr>
          <p:txBody>
            <a:bodyPr wrap="none" rtlCol="0" anchor="ctr"/>
            <a:lstStyle/>
            <a:p>
              <a:endParaRPr lang="en-US" sz="1200"/>
            </a:p>
          </p:txBody>
        </p:sp>
        <p:sp>
          <p:nvSpPr>
            <p:cNvPr id="22" name="Freeform: Shape 21">
              <a:extLst>
                <a:ext uri="{FF2B5EF4-FFF2-40B4-BE49-F238E27FC236}">
                  <a16:creationId xmlns:a16="http://schemas.microsoft.com/office/drawing/2014/main" id="{E555A841-2C40-E7CD-520A-0A1A202CAB3C}"/>
                </a:ext>
              </a:extLst>
            </p:cNvPr>
            <p:cNvSpPr/>
            <p:nvPr/>
          </p:nvSpPr>
          <p:spPr>
            <a:xfrm>
              <a:off x="1253529" y="4974636"/>
              <a:ext cx="49162" cy="13039"/>
            </a:xfrm>
            <a:custGeom>
              <a:avLst/>
              <a:gdLst>
                <a:gd name="connsiteX0" fmla="*/ 40688 w 40687"/>
                <a:gd name="connsiteY0" fmla="*/ 0 h 10623"/>
                <a:gd name="connsiteX1" fmla="*/ 0 w 40687"/>
                <a:gd name="connsiteY1" fmla="*/ 0 h 10623"/>
              </a:gdLst>
              <a:ahLst/>
              <a:cxnLst>
                <a:cxn ang="0">
                  <a:pos x="connsiteX0" y="connsiteY0"/>
                </a:cxn>
                <a:cxn ang="0">
                  <a:pos x="connsiteX1" y="connsiteY1"/>
                </a:cxn>
              </a:cxnLst>
              <a:rect l="l" t="t" r="r" b="b"/>
              <a:pathLst>
                <a:path w="40687" h="10623">
                  <a:moveTo>
                    <a:pt x="40688" y="0"/>
                  </a:moveTo>
                  <a:lnTo>
                    <a:pt x="0" y="0"/>
                  </a:lnTo>
                </a:path>
              </a:pathLst>
            </a:custGeom>
            <a:ln w="8485" cap="flat">
              <a:solidFill>
                <a:srgbClr val="231F20"/>
              </a:solidFill>
              <a:prstDash val="solid"/>
              <a:miter/>
            </a:ln>
          </p:spPr>
          <p:txBody>
            <a:bodyPr wrap="none" rtlCol="0" anchor="ctr"/>
            <a:lstStyle/>
            <a:p>
              <a:endParaRPr lang="en-US" sz="1200"/>
            </a:p>
          </p:txBody>
        </p:sp>
        <p:sp>
          <p:nvSpPr>
            <p:cNvPr id="23" name="Freeform: Shape 22">
              <a:extLst>
                <a:ext uri="{FF2B5EF4-FFF2-40B4-BE49-F238E27FC236}">
                  <a16:creationId xmlns:a16="http://schemas.microsoft.com/office/drawing/2014/main" id="{D81C9B6D-532E-80AA-10C2-A7045626BAE7}"/>
                </a:ext>
              </a:extLst>
            </p:cNvPr>
            <p:cNvSpPr/>
            <p:nvPr/>
          </p:nvSpPr>
          <p:spPr>
            <a:xfrm>
              <a:off x="1398578" y="4974375"/>
              <a:ext cx="12836" cy="49942"/>
            </a:xfrm>
            <a:custGeom>
              <a:avLst/>
              <a:gdLst>
                <a:gd name="connsiteX0" fmla="*/ 0 w 10623"/>
                <a:gd name="connsiteY0" fmla="*/ 0 h 40687"/>
                <a:gd name="connsiteX1" fmla="*/ 0 w 10623"/>
                <a:gd name="connsiteY1" fmla="*/ 40688 h 40687"/>
              </a:gdLst>
              <a:ahLst/>
              <a:cxnLst>
                <a:cxn ang="0">
                  <a:pos x="connsiteX0" y="connsiteY0"/>
                </a:cxn>
                <a:cxn ang="0">
                  <a:pos x="connsiteX1" y="connsiteY1"/>
                </a:cxn>
              </a:cxnLst>
              <a:rect l="l" t="t" r="r" b="b"/>
              <a:pathLst>
                <a:path w="10623" h="40687">
                  <a:moveTo>
                    <a:pt x="0" y="0"/>
                  </a:moveTo>
                  <a:lnTo>
                    <a:pt x="0" y="40688"/>
                  </a:lnTo>
                </a:path>
              </a:pathLst>
            </a:custGeom>
            <a:ln w="8485" cap="flat">
              <a:solidFill>
                <a:srgbClr val="231F20"/>
              </a:solidFill>
              <a:prstDash val="solid"/>
              <a:miter/>
            </a:ln>
          </p:spPr>
          <p:txBody>
            <a:bodyPr wrap="none" rtlCol="0" anchor="ctr"/>
            <a:lstStyle/>
            <a:p>
              <a:endParaRPr lang="en-US" sz="1200"/>
            </a:p>
          </p:txBody>
        </p:sp>
        <p:sp>
          <p:nvSpPr>
            <p:cNvPr id="24" name="Freeform: Shape 23">
              <a:extLst>
                <a:ext uri="{FF2B5EF4-FFF2-40B4-BE49-F238E27FC236}">
                  <a16:creationId xmlns:a16="http://schemas.microsoft.com/office/drawing/2014/main" id="{8753E175-576D-69C1-3777-B6016E117764}"/>
                </a:ext>
              </a:extLst>
            </p:cNvPr>
            <p:cNvSpPr/>
            <p:nvPr/>
          </p:nvSpPr>
          <p:spPr>
            <a:xfrm>
              <a:off x="1805103" y="4974375"/>
              <a:ext cx="12836" cy="49942"/>
            </a:xfrm>
            <a:custGeom>
              <a:avLst/>
              <a:gdLst>
                <a:gd name="connsiteX0" fmla="*/ 0 w 10623"/>
                <a:gd name="connsiteY0" fmla="*/ 0 h 40687"/>
                <a:gd name="connsiteX1" fmla="*/ 0 w 10623"/>
                <a:gd name="connsiteY1" fmla="*/ 40688 h 40687"/>
              </a:gdLst>
              <a:ahLst/>
              <a:cxnLst>
                <a:cxn ang="0">
                  <a:pos x="connsiteX0" y="connsiteY0"/>
                </a:cxn>
                <a:cxn ang="0">
                  <a:pos x="connsiteX1" y="connsiteY1"/>
                </a:cxn>
              </a:cxnLst>
              <a:rect l="l" t="t" r="r" b="b"/>
              <a:pathLst>
                <a:path w="10623" h="40687">
                  <a:moveTo>
                    <a:pt x="0" y="0"/>
                  </a:moveTo>
                  <a:lnTo>
                    <a:pt x="0" y="40688"/>
                  </a:lnTo>
                </a:path>
              </a:pathLst>
            </a:custGeom>
            <a:ln w="8485" cap="flat">
              <a:solidFill>
                <a:srgbClr val="231F20"/>
              </a:solidFill>
              <a:prstDash val="solid"/>
              <a:miter/>
            </a:ln>
          </p:spPr>
          <p:txBody>
            <a:bodyPr wrap="none" rtlCol="0" anchor="ctr"/>
            <a:lstStyle/>
            <a:p>
              <a:endParaRPr lang="en-US" sz="1200"/>
            </a:p>
          </p:txBody>
        </p:sp>
        <p:sp>
          <p:nvSpPr>
            <p:cNvPr id="25" name="Freeform: Shape 24">
              <a:extLst>
                <a:ext uri="{FF2B5EF4-FFF2-40B4-BE49-F238E27FC236}">
                  <a16:creationId xmlns:a16="http://schemas.microsoft.com/office/drawing/2014/main" id="{BC527FBC-1897-E0CD-D529-98AB663B2C7B}"/>
                </a:ext>
              </a:extLst>
            </p:cNvPr>
            <p:cNvSpPr/>
            <p:nvPr/>
          </p:nvSpPr>
          <p:spPr>
            <a:xfrm>
              <a:off x="2294936" y="4974375"/>
              <a:ext cx="12836" cy="49942"/>
            </a:xfrm>
            <a:custGeom>
              <a:avLst/>
              <a:gdLst>
                <a:gd name="connsiteX0" fmla="*/ 0 w 10623"/>
                <a:gd name="connsiteY0" fmla="*/ 0 h 40687"/>
                <a:gd name="connsiteX1" fmla="*/ 0 w 10623"/>
                <a:gd name="connsiteY1" fmla="*/ 40688 h 40687"/>
              </a:gdLst>
              <a:ahLst/>
              <a:cxnLst>
                <a:cxn ang="0">
                  <a:pos x="connsiteX0" y="connsiteY0"/>
                </a:cxn>
                <a:cxn ang="0">
                  <a:pos x="connsiteX1" y="connsiteY1"/>
                </a:cxn>
              </a:cxnLst>
              <a:rect l="l" t="t" r="r" b="b"/>
              <a:pathLst>
                <a:path w="10623" h="40687">
                  <a:moveTo>
                    <a:pt x="0" y="0"/>
                  </a:moveTo>
                  <a:lnTo>
                    <a:pt x="0" y="40688"/>
                  </a:lnTo>
                </a:path>
              </a:pathLst>
            </a:custGeom>
            <a:ln w="8485" cap="flat">
              <a:solidFill>
                <a:srgbClr val="231F20"/>
              </a:solidFill>
              <a:prstDash val="solid"/>
              <a:miter/>
            </a:ln>
          </p:spPr>
          <p:txBody>
            <a:bodyPr wrap="none" rtlCol="0" anchor="ctr"/>
            <a:lstStyle/>
            <a:p>
              <a:endParaRPr lang="en-US" sz="1200"/>
            </a:p>
          </p:txBody>
        </p:sp>
        <p:sp>
          <p:nvSpPr>
            <p:cNvPr id="26" name="Freeform: Shape 25">
              <a:extLst>
                <a:ext uri="{FF2B5EF4-FFF2-40B4-BE49-F238E27FC236}">
                  <a16:creationId xmlns:a16="http://schemas.microsoft.com/office/drawing/2014/main" id="{0B1E8BE9-21B6-54BA-0B05-208F08315FD5}"/>
                </a:ext>
              </a:extLst>
            </p:cNvPr>
            <p:cNvSpPr/>
            <p:nvPr/>
          </p:nvSpPr>
          <p:spPr>
            <a:xfrm>
              <a:off x="2779120" y="4974375"/>
              <a:ext cx="12836" cy="49942"/>
            </a:xfrm>
            <a:custGeom>
              <a:avLst/>
              <a:gdLst>
                <a:gd name="connsiteX0" fmla="*/ 0 w 10623"/>
                <a:gd name="connsiteY0" fmla="*/ 0 h 40687"/>
                <a:gd name="connsiteX1" fmla="*/ 0 w 10623"/>
                <a:gd name="connsiteY1" fmla="*/ 40688 h 40687"/>
              </a:gdLst>
              <a:ahLst/>
              <a:cxnLst>
                <a:cxn ang="0">
                  <a:pos x="connsiteX0" y="connsiteY0"/>
                </a:cxn>
                <a:cxn ang="0">
                  <a:pos x="connsiteX1" y="connsiteY1"/>
                </a:cxn>
              </a:cxnLst>
              <a:rect l="l" t="t" r="r" b="b"/>
              <a:pathLst>
                <a:path w="10623" h="40687">
                  <a:moveTo>
                    <a:pt x="0" y="0"/>
                  </a:moveTo>
                  <a:lnTo>
                    <a:pt x="0" y="40688"/>
                  </a:lnTo>
                </a:path>
              </a:pathLst>
            </a:custGeom>
            <a:ln w="8485" cap="flat">
              <a:solidFill>
                <a:srgbClr val="231F20"/>
              </a:solidFill>
              <a:prstDash val="solid"/>
              <a:miter/>
            </a:ln>
          </p:spPr>
          <p:txBody>
            <a:bodyPr wrap="none" rtlCol="0" anchor="ctr"/>
            <a:lstStyle/>
            <a:p>
              <a:endParaRPr lang="en-US" sz="1200"/>
            </a:p>
          </p:txBody>
        </p:sp>
        <p:sp>
          <p:nvSpPr>
            <p:cNvPr id="27" name="Freeform: Shape 26">
              <a:extLst>
                <a:ext uri="{FF2B5EF4-FFF2-40B4-BE49-F238E27FC236}">
                  <a16:creationId xmlns:a16="http://schemas.microsoft.com/office/drawing/2014/main" id="{A86935CD-1B16-5F79-1F93-3D90A5C6E20D}"/>
                </a:ext>
              </a:extLst>
            </p:cNvPr>
            <p:cNvSpPr/>
            <p:nvPr/>
          </p:nvSpPr>
          <p:spPr>
            <a:xfrm>
              <a:off x="3263304" y="4974375"/>
              <a:ext cx="12836" cy="49942"/>
            </a:xfrm>
            <a:custGeom>
              <a:avLst/>
              <a:gdLst>
                <a:gd name="connsiteX0" fmla="*/ 0 w 10623"/>
                <a:gd name="connsiteY0" fmla="*/ 0 h 40687"/>
                <a:gd name="connsiteX1" fmla="*/ 0 w 10623"/>
                <a:gd name="connsiteY1" fmla="*/ 40688 h 40687"/>
              </a:gdLst>
              <a:ahLst/>
              <a:cxnLst>
                <a:cxn ang="0">
                  <a:pos x="connsiteX0" y="connsiteY0"/>
                </a:cxn>
                <a:cxn ang="0">
                  <a:pos x="connsiteX1" y="connsiteY1"/>
                </a:cxn>
              </a:cxnLst>
              <a:rect l="l" t="t" r="r" b="b"/>
              <a:pathLst>
                <a:path w="10623" h="40687">
                  <a:moveTo>
                    <a:pt x="0" y="0"/>
                  </a:moveTo>
                  <a:lnTo>
                    <a:pt x="0" y="40688"/>
                  </a:lnTo>
                </a:path>
              </a:pathLst>
            </a:custGeom>
            <a:ln w="8485" cap="flat">
              <a:solidFill>
                <a:srgbClr val="231F20"/>
              </a:solidFill>
              <a:prstDash val="solid"/>
              <a:miter/>
            </a:ln>
          </p:spPr>
          <p:txBody>
            <a:bodyPr wrap="none" rtlCol="0" anchor="ctr"/>
            <a:lstStyle/>
            <a:p>
              <a:endParaRPr lang="en-US" sz="1200"/>
            </a:p>
          </p:txBody>
        </p:sp>
        <p:sp>
          <p:nvSpPr>
            <p:cNvPr id="28" name="Freeform: Shape 27">
              <a:extLst>
                <a:ext uri="{FF2B5EF4-FFF2-40B4-BE49-F238E27FC236}">
                  <a16:creationId xmlns:a16="http://schemas.microsoft.com/office/drawing/2014/main" id="{B170A831-1D4E-FB7F-B0DC-EB217E9746A6}"/>
                </a:ext>
              </a:extLst>
            </p:cNvPr>
            <p:cNvSpPr/>
            <p:nvPr/>
          </p:nvSpPr>
          <p:spPr>
            <a:xfrm>
              <a:off x="3753136" y="4974375"/>
              <a:ext cx="12836" cy="49942"/>
            </a:xfrm>
            <a:custGeom>
              <a:avLst/>
              <a:gdLst>
                <a:gd name="connsiteX0" fmla="*/ 0 w 10623"/>
                <a:gd name="connsiteY0" fmla="*/ 0 h 40687"/>
                <a:gd name="connsiteX1" fmla="*/ 0 w 10623"/>
                <a:gd name="connsiteY1" fmla="*/ 40688 h 40687"/>
              </a:gdLst>
              <a:ahLst/>
              <a:cxnLst>
                <a:cxn ang="0">
                  <a:pos x="connsiteX0" y="connsiteY0"/>
                </a:cxn>
                <a:cxn ang="0">
                  <a:pos x="connsiteX1" y="connsiteY1"/>
                </a:cxn>
              </a:cxnLst>
              <a:rect l="l" t="t" r="r" b="b"/>
              <a:pathLst>
                <a:path w="10623" h="40687">
                  <a:moveTo>
                    <a:pt x="0" y="0"/>
                  </a:moveTo>
                  <a:lnTo>
                    <a:pt x="0" y="40688"/>
                  </a:lnTo>
                </a:path>
              </a:pathLst>
            </a:custGeom>
            <a:ln w="8485" cap="flat">
              <a:solidFill>
                <a:srgbClr val="231F20"/>
              </a:solidFill>
              <a:prstDash val="solid"/>
              <a:miter/>
            </a:ln>
          </p:spPr>
          <p:txBody>
            <a:bodyPr wrap="none" rtlCol="0" anchor="ctr"/>
            <a:lstStyle/>
            <a:p>
              <a:endParaRPr lang="en-US" sz="1200"/>
            </a:p>
          </p:txBody>
        </p:sp>
        <p:sp>
          <p:nvSpPr>
            <p:cNvPr id="29" name="Freeform: Shape 28">
              <a:extLst>
                <a:ext uri="{FF2B5EF4-FFF2-40B4-BE49-F238E27FC236}">
                  <a16:creationId xmlns:a16="http://schemas.microsoft.com/office/drawing/2014/main" id="{B17F8A34-3E1D-8C75-BC7D-FD89B6C56FAB}"/>
                </a:ext>
              </a:extLst>
            </p:cNvPr>
            <p:cNvSpPr/>
            <p:nvPr/>
          </p:nvSpPr>
          <p:spPr>
            <a:xfrm>
              <a:off x="4242969" y="4974375"/>
              <a:ext cx="12836" cy="49942"/>
            </a:xfrm>
            <a:custGeom>
              <a:avLst/>
              <a:gdLst>
                <a:gd name="connsiteX0" fmla="*/ 0 w 10623"/>
                <a:gd name="connsiteY0" fmla="*/ 0 h 40687"/>
                <a:gd name="connsiteX1" fmla="*/ 0 w 10623"/>
                <a:gd name="connsiteY1" fmla="*/ 40688 h 40687"/>
              </a:gdLst>
              <a:ahLst/>
              <a:cxnLst>
                <a:cxn ang="0">
                  <a:pos x="connsiteX0" y="connsiteY0"/>
                </a:cxn>
                <a:cxn ang="0">
                  <a:pos x="connsiteX1" y="connsiteY1"/>
                </a:cxn>
              </a:cxnLst>
              <a:rect l="l" t="t" r="r" b="b"/>
              <a:pathLst>
                <a:path w="10623" h="40687">
                  <a:moveTo>
                    <a:pt x="0" y="0"/>
                  </a:moveTo>
                  <a:lnTo>
                    <a:pt x="0" y="40688"/>
                  </a:lnTo>
                </a:path>
              </a:pathLst>
            </a:custGeom>
            <a:ln w="8485" cap="flat">
              <a:solidFill>
                <a:srgbClr val="231F20"/>
              </a:solidFill>
              <a:prstDash val="solid"/>
              <a:miter/>
            </a:ln>
          </p:spPr>
          <p:txBody>
            <a:bodyPr wrap="none" rtlCol="0" anchor="ctr"/>
            <a:lstStyle/>
            <a:p>
              <a:endParaRPr lang="en-US" sz="1200"/>
            </a:p>
          </p:txBody>
        </p:sp>
        <p:sp>
          <p:nvSpPr>
            <p:cNvPr id="30" name="Freeform: Shape 29">
              <a:extLst>
                <a:ext uri="{FF2B5EF4-FFF2-40B4-BE49-F238E27FC236}">
                  <a16:creationId xmlns:a16="http://schemas.microsoft.com/office/drawing/2014/main" id="{889A32BA-7589-5AB2-B666-1718FCE90177}"/>
                </a:ext>
              </a:extLst>
            </p:cNvPr>
            <p:cNvSpPr/>
            <p:nvPr/>
          </p:nvSpPr>
          <p:spPr>
            <a:xfrm>
              <a:off x="4732929" y="4974375"/>
              <a:ext cx="12836" cy="49942"/>
            </a:xfrm>
            <a:custGeom>
              <a:avLst/>
              <a:gdLst>
                <a:gd name="connsiteX0" fmla="*/ 0 w 10623"/>
                <a:gd name="connsiteY0" fmla="*/ 0 h 40687"/>
                <a:gd name="connsiteX1" fmla="*/ 0 w 10623"/>
                <a:gd name="connsiteY1" fmla="*/ 40688 h 40687"/>
              </a:gdLst>
              <a:ahLst/>
              <a:cxnLst>
                <a:cxn ang="0">
                  <a:pos x="connsiteX0" y="connsiteY0"/>
                </a:cxn>
                <a:cxn ang="0">
                  <a:pos x="connsiteX1" y="connsiteY1"/>
                </a:cxn>
              </a:cxnLst>
              <a:rect l="l" t="t" r="r" b="b"/>
              <a:pathLst>
                <a:path w="10623" h="40687">
                  <a:moveTo>
                    <a:pt x="0" y="0"/>
                  </a:moveTo>
                  <a:lnTo>
                    <a:pt x="0" y="40688"/>
                  </a:lnTo>
                </a:path>
              </a:pathLst>
            </a:custGeom>
            <a:ln w="8485" cap="flat">
              <a:solidFill>
                <a:srgbClr val="231F20"/>
              </a:solidFill>
              <a:prstDash val="solid"/>
              <a:miter/>
            </a:ln>
          </p:spPr>
          <p:txBody>
            <a:bodyPr wrap="none" rtlCol="0" anchor="ctr"/>
            <a:lstStyle/>
            <a:p>
              <a:endParaRPr lang="en-US" sz="1200"/>
            </a:p>
          </p:txBody>
        </p:sp>
        <p:sp>
          <p:nvSpPr>
            <p:cNvPr id="31" name="Freeform: Shape 30">
              <a:extLst>
                <a:ext uri="{FF2B5EF4-FFF2-40B4-BE49-F238E27FC236}">
                  <a16:creationId xmlns:a16="http://schemas.microsoft.com/office/drawing/2014/main" id="{E1AA9157-590A-3B9C-C42B-2E843B7B0144}"/>
                </a:ext>
              </a:extLst>
            </p:cNvPr>
            <p:cNvSpPr/>
            <p:nvPr/>
          </p:nvSpPr>
          <p:spPr>
            <a:xfrm>
              <a:off x="5311974" y="4974375"/>
              <a:ext cx="12836" cy="49942"/>
            </a:xfrm>
            <a:custGeom>
              <a:avLst/>
              <a:gdLst>
                <a:gd name="connsiteX0" fmla="*/ 0 w 10623"/>
                <a:gd name="connsiteY0" fmla="*/ 0 h 40687"/>
                <a:gd name="connsiteX1" fmla="*/ 0 w 10623"/>
                <a:gd name="connsiteY1" fmla="*/ 40688 h 40687"/>
              </a:gdLst>
              <a:ahLst/>
              <a:cxnLst>
                <a:cxn ang="0">
                  <a:pos x="connsiteX0" y="connsiteY0"/>
                </a:cxn>
                <a:cxn ang="0">
                  <a:pos x="connsiteX1" y="connsiteY1"/>
                </a:cxn>
              </a:cxnLst>
              <a:rect l="l" t="t" r="r" b="b"/>
              <a:pathLst>
                <a:path w="10623" h="40687">
                  <a:moveTo>
                    <a:pt x="0" y="0"/>
                  </a:moveTo>
                  <a:lnTo>
                    <a:pt x="0" y="40688"/>
                  </a:lnTo>
                </a:path>
              </a:pathLst>
            </a:custGeom>
            <a:ln w="8485" cap="flat">
              <a:solidFill>
                <a:srgbClr val="231F20"/>
              </a:solidFill>
              <a:prstDash val="solid"/>
              <a:miter/>
            </a:ln>
          </p:spPr>
          <p:txBody>
            <a:bodyPr wrap="none" rtlCol="0" anchor="ctr"/>
            <a:lstStyle/>
            <a:p>
              <a:endParaRPr lang="en-US" sz="1200"/>
            </a:p>
          </p:txBody>
        </p:sp>
        <p:sp>
          <p:nvSpPr>
            <p:cNvPr id="32" name="Freeform: Shape 31">
              <a:extLst>
                <a:ext uri="{FF2B5EF4-FFF2-40B4-BE49-F238E27FC236}">
                  <a16:creationId xmlns:a16="http://schemas.microsoft.com/office/drawing/2014/main" id="{4CA73A3B-00BB-3924-AE3B-3BD9EB57244C}"/>
                </a:ext>
              </a:extLst>
            </p:cNvPr>
            <p:cNvSpPr/>
            <p:nvPr/>
          </p:nvSpPr>
          <p:spPr>
            <a:xfrm>
              <a:off x="1319892" y="4922085"/>
              <a:ext cx="3986562" cy="27514"/>
            </a:xfrm>
            <a:custGeom>
              <a:avLst/>
              <a:gdLst>
                <a:gd name="connsiteX0" fmla="*/ 3299317 w 3299317"/>
                <a:gd name="connsiteY0" fmla="*/ 22415 h 22415"/>
                <a:gd name="connsiteX1" fmla="*/ 2823176 w 3299317"/>
                <a:gd name="connsiteY1" fmla="*/ 20078 h 22415"/>
                <a:gd name="connsiteX2" fmla="*/ 2417148 w 3299317"/>
                <a:gd name="connsiteY2" fmla="*/ 16573 h 22415"/>
                <a:gd name="connsiteX3" fmla="*/ 2013458 w 3299317"/>
                <a:gd name="connsiteY3" fmla="*/ 18910 h 22415"/>
                <a:gd name="connsiteX4" fmla="*/ 1611574 w 3299317"/>
                <a:gd name="connsiteY4" fmla="*/ 14767 h 22415"/>
                <a:gd name="connsiteX5" fmla="*/ 1206821 w 3299317"/>
                <a:gd name="connsiteY5" fmla="*/ 11792 h 22415"/>
                <a:gd name="connsiteX6" fmla="*/ 804937 w 3299317"/>
                <a:gd name="connsiteY6" fmla="*/ 7649 h 22415"/>
                <a:gd name="connsiteX7" fmla="*/ 404221 w 3299317"/>
                <a:gd name="connsiteY7" fmla="*/ 1169 h 22415"/>
                <a:gd name="connsiteX8" fmla="*/ 0 w 3299317"/>
                <a:gd name="connsiteY8" fmla="*/ 0 h 22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9317" h="22415">
                  <a:moveTo>
                    <a:pt x="3299317" y="22415"/>
                  </a:moveTo>
                  <a:lnTo>
                    <a:pt x="2823176" y="20078"/>
                  </a:lnTo>
                  <a:lnTo>
                    <a:pt x="2417148" y="16573"/>
                  </a:lnTo>
                  <a:lnTo>
                    <a:pt x="2013458" y="18910"/>
                  </a:lnTo>
                  <a:lnTo>
                    <a:pt x="1611574" y="14767"/>
                  </a:lnTo>
                  <a:lnTo>
                    <a:pt x="1206821" y="11792"/>
                  </a:lnTo>
                  <a:lnTo>
                    <a:pt x="804937" y="7649"/>
                  </a:lnTo>
                  <a:lnTo>
                    <a:pt x="404221" y="1169"/>
                  </a:lnTo>
                  <a:lnTo>
                    <a:pt x="0" y="0"/>
                  </a:lnTo>
                </a:path>
              </a:pathLst>
            </a:custGeom>
            <a:noFill/>
            <a:ln w="28575" cap="flat">
              <a:solidFill>
                <a:schemeClr val="accent5">
                  <a:lumMod val="50000"/>
                </a:schemeClr>
              </a:solidFill>
              <a:prstDash val="solid"/>
              <a:miter/>
            </a:ln>
          </p:spPr>
          <p:txBody>
            <a:bodyPr wrap="none" rtlCol="0" anchor="ctr"/>
            <a:lstStyle/>
            <a:p>
              <a:endParaRPr lang="en-US" sz="1200"/>
            </a:p>
          </p:txBody>
        </p:sp>
        <p:sp>
          <p:nvSpPr>
            <p:cNvPr id="33" name="Freeform: Shape 32">
              <a:extLst>
                <a:ext uri="{FF2B5EF4-FFF2-40B4-BE49-F238E27FC236}">
                  <a16:creationId xmlns:a16="http://schemas.microsoft.com/office/drawing/2014/main" id="{CB488650-C35B-B1D4-06B4-2B6956D6E3F5}"/>
                </a:ext>
              </a:extLst>
            </p:cNvPr>
            <p:cNvSpPr/>
            <p:nvPr/>
          </p:nvSpPr>
          <p:spPr>
            <a:xfrm>
              <a:off x="1317710" y="4736005"/>
              <a:ext cx="4000169" cy="89715"/>
            </a:xfrm>
            <a:custGeom>
              <a:avLst/>
              <a:gdLst>
                <a:gd name="connsiteX0" fmla="*/ 3310578 w 3310578"/>
                <a:gd name="connsiteY0" fmla="*/ 73089 h 73089"/>
                <a:gd name="connsiteX1" fmla="*/ 3225060 w 3310578"/>
                <a:gd name="connsiteY1" fmla="*/ 66078 h 73089"/>
                <a:gd name="connsiteX2" fmla="*/ 3144747 w 3310578"/>
                <a:gd name="connsiteY2" fmla="*/ 55986 h 73089"/>
                <a:gd name="connsiteX3" fmla="*/ 2824344 w 3310578"/>
                <a:gd name="connsiteY3" fmla="*/ 56623 h 73089"/>
                <a:gd name="connsiteX4" fmla="*/ 2418954 w 3310578"/>
                <a:gd name="connsiteY4" fmla="*/ 51842 h 73089"/>
                <a:gd name="connsiteX5" fmla="*/ 2019407 w 3310578"/>
                <a:gd name="connsiteY5" fmla="*/ 40050 h 73089"/>
                <a:gd name="connsiteX6" fmla="*/ 1615717 w 3310578"/>
                <a:gd name="connsiteY6" fmla="*/ 27727 h 73089"/>
                <a:gd name="connsiteX7" fmla="*/ 1211496 w 3310578"/>
                <a:gd name="connsiteY7" fmla="*/ 13492 h 73089"/>
                <a:gd name="connsiteX8" fmla="*/ 1046301 w 3310578"/>
                <a:gd name="connsiteY8" fmla="*/ 15298 h 73089"/>
                <a:gd name="connsiteX9" fmla="*/ 971300 w 3310578"/>
                <a:gd name="connsiteY9" fmla="*/ 22415 h 73089"/>
                <a:gd name="connsiteX10" fmla="*/ 404221 w 3310578"/>
                <a:gd name="connsiteY10" fmla="*/ 15298 h 73089"/>
                <a:gd name="connsiteX11" fmla="*/ 0 w 3310578"/>
                <a:gd name="connsiteY11" fmla="*/ 0 h 73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10578" h="73089">
                  <a:moveTo>
                    <a:pt x="3310578" y="73089"/>
                  </a:moveTo>
                  <a:lnTo>
                    <a:pt x="3225060" y="66078"/>
                  </a:lnTo>
                  <a:lnTo>
                    <a:pt x="3144747" y="55986"/>
                  </a:lnTo>
                  <a:lnTo>
                    <a:pt x="2824344" y="56623"/>
                  </a:lnTo>
                  <a:lnTo>
                    <a:pt x="2418954" y="51842"/>
                  </a:lnTo>
                  <a:lnTo>
                    <a:pt x="2019407" y="40050"/>
                  </a:lnTo>
                  <a:lnTo>
                    <a:pt x="1615717" y="27727"/>
                  </a:lnTo>
                  <a:lnTo>
                    <a:pt x="1211496" y="13492"/>
                  </a:lnTo>
                  <a:lnTo>
                    <a:pt x="1046301" y="15298"/>
                  </a:lnTo>
                  <a:lnTo>
                    <a:pt x="971300" y="22415"/>
                  </a:lnTo>
                  <a:lnTo>
                    <a:pt x="404221" y="15298"/>
                  </a:lnTo>
                  <a:lnTo>
                    <a:pt x="0" y="0"/>
                  </a:lnTo>
                </a:path>
              </a:pathLst>
            </a:custGeom>
            <a:noFill/>
            <a:ln w="28575" cap="sq">
              <a:solidFill>
                <a:schemeClr val="accent5"/>
              </a:solidFill>
              <a:prstDash val="solid"/>
              <a:miter/>
            </a:ln>
          </p:spPr>
          <p:txBody>
            <a:bodyPr wrap="none" rtlCol="0" anchor="ctr"/>
            <a:lstStyle/>
            <a:p>
              <a:endParaRPr lang="en-US" sz="1200"/>
            </a:p>
          </p:txBody>
        </p:sp>
        <p:sp>
          <p:nvSpPr>
            <p:cNvPr id="34" name="Freeform: Shape 33">
              <a:extLst>
                <a:ext uri="{FF2B5EF4-FFF2-40B4-BE49-F238E27FC236}">
                  <a16:creationId xmlns:a16="http://schemas.microsoft.com/office/drawing/2014/main" id="{8DF164F1-2402-B484-02B8-ADEB709D2D0D}"/>
                </a:ext>
              </a:extLst>
            </p:cNvPr>
            <p:cNvSpPr/>
            <p:nvPr/>
          </p:nvSpPr>
          <p:spPr>
            <a:xfrm>
              <a:off x="1322716" y="3151392"/>
              <a:ext cx="3990927" cy="476870"/>
            </a:xfrm>
            <a:custGeom>
              <a:avLst/>
              <a:gdLst>
                <a:gd name="connsiteX0" fmla="*/ 0 w 3302929"/>
                <a:gd name="connsiteY0" fmla="*/ 42175 h 388498"/>
                <a:gd name="connsiteX1" fmla="*/ 77339 w 3302929"/>
                <a:gd name="connsiteY1" fmla="*/ 60447 h 388498"/>
                <a:gd name="connsiteX2" fmla="*/ 156377 w 3302929"/>
                <a:gd name="connsiteY2" fmla="*/ 85200 h 388498"/>
                <a:gd name="connsiteX3" fmla="*/ 239027 w 3302929"/>
                <a:gd name="connsiteY3" fmla="*/ 72770 h 388498"/>
                <a:gd name="connsiteX4" fmla="*/ 315728 w 3302929"/>
                <a:gd name="connsiteY4" fmla="*/ 119939 h 388498"/>
                <a:gd name="connsiteX5" fmla="*/ 396573 w 3302929"/>
                <a:gd name="connsiteY5" fmla="*/ 95186 h 388498"/>
                <a:gd name="connsiteX6" fmla="*/ 483366 w 3302929"/>
                <a:gd name="connsiteY6" fmla="*/ 86900 h 388498"/>
                <a:gd name="connsiteX7" fmla="*/ 561873 w 3302929"/>
                <a:gd name="connsiteY7" fmla="*/ 101029 h 388498"/>
                <a:gd name="connsiteX8" fmla="*/ 640911 w 3302929"/>
                <a:gd name="connsiteY8" fmla="*/ 76807 h 388498"/>
                <a:gd name="connsiteX9" fmla="*/ 727705 w 3302929"/>
                <a:gd name="connsiteY9" fmla="*/ 59704 h 388498"/>
                <a:gd name="connsiteX10" fmla="*/ 804406 w 3302929"/>
                <a:gd name="connsiteY10" fmla="*/ 45575 h 388498"/>
                <a:gd name="connsiteX11" fmla="*/ 882913 w 3302929"/>
                <a:gd name="connsiteY11" fmla="*/ 62678 h 388498"/>
                <a:gd name="connsiteX12" fmla="*/ 963757 w 3302929"/>
                <a:gd name="connsiteY12" fmla="*/ 55560 h 388498"/>
                <a:gd name="connsiteX13" fmla="*/ 1043964 w 3302929"/>
                <a:gd name="connsiteY13" fmla="*/ 12429 h 388498"/>
                <a:gd name="connsiteX14" fmla="*/ 1127783 w 3302929"/>
                <a:gd name="connsiteY14" fmla="*/ 11261 h 388498"/>
                <a:gd name="connsiteX15" fmla="*/ 1206821 w 3302929"/>
                <a:gd name="connsiteY15" fmla="*/ 0 h 388498"/>
                <a:gd name="connsiteX16" fmla="*/ 1287028 w 3302929"/>
                <a:gd name="connsiteY16" fmla="*/ 21247 h 388498"/>
                <a:gd name="connsiteX17" fmla="*/ 1364367 w 3302929"/>
                <a:gd name="connsiteY17" fmla="*/ 32508 h 388498"/>
                <a:gd name="connsiteX18" fmla="*/ 1447548 w 3302929"/>
                <a:gd name="connsiteY18" fmla="*/ 43131 h 388498"/>
                <a:gd name="connsiteX19" fmla="*/ 1525418 w 3302929"/>
                <a:gd name="connsiteY19" fmla="*/ 72027 h 388498"/>
                <a:gd name="connsiteX20" fmla="*/ 1608068 w 3302929"/>
                <a:gd name="connsiteY20" fmla="*/ 122169 h 388498"/>
                <a:gd name="connsiteX21" fmla="*/ 1690081 w 3302929"/>
                <a:gd name="connsiteY21" fmla="*/ 174649 h 388498"/>
                <a:gd name="connsiteX22" fmla="*/ 1772094 w 3302929"/>
                <a:gd name="connsiteY22" fmla="*/ 175818 h 388498"/>
                <a:gd name="connsiteX23" fmla="*/ 1850601 w 3302929"/>
                <a:gd name="connsiteY23" fmla="*/ 161051 h 388498"/>
                <a:gd name="connsiteX24" fmla="*/ 1932082 w 3302929"/>
                <a:gd name="connsiteY24" fmla="*/ 172312 h 388498"/>
                <a:gd name="connsiteX25" fmla="*/ 2012289 w 3302929"/>
                <a:gd name="connsiteY25" fmla="*/ 169337 h 388498"/>
                <a:gd name="connsiteX26" fmla="*/ 2093134 w 3302929"/>
                <a:gd name="connsiteY26" fmla="*/ 197702 h 388498"/>
                <a:gd name="connsiteX27" fmla="*/ 2171641 w 3302929"/>
                <a:gd name="connsiteY27" fmla="*/ 200039 h 388498"/>
                <a:gd name="connsiteX28" fmla="*/ 2253654 w 3302929"/>
                <a:gd name="connsiteY28" fmla="*/ 194090 h 388498"/>
                <a:gd name="connsiteX29" fmla="*/ 2335135 w 3302929"/>
                <a:gd name="connsiteY29" fmla="*/ 204713 h 388498"/>
                <a:gd name="connsiteX30" fmla="*/ 2413005 w 3302929"/>
                <a:gd name="connsiteY30" fmla="*/ 205351 h 388498"/>
                <a:gd name="connsiteX31" fmla="*/ 2497992 w 3302929"/>
                <a:gd name="connsiteY31" fmla="*/ 195896 h 388498"/>
                <a:gd name="connsiteX32" fmla="*/ 2577031 w 3302929"/>
                <a:gd name="connsiteY32" fmla="*/ 191222 h 388498"/>
                <a:gd name="connsiteX33" fmla="*/ 2656706 w 3302929"/>
                <a:gd name="connsiteY33" fmla="*/ 165301 h 388498"/>
                <a:gd name="connsiteX34" fmla="*/ 2740525 w 3302929"/>
                <a:gd name="connsiteY34" fmla="*/ 150003 h 388498"/>
                <a:gd name="connsiteX35" fmla="*/ 2819032 w 3302929"/>
                <a:gd name="connsiteY35" fmla="*/ 140017 h 388498"/>
                <a:gd name="connsiteX36" fmla="*/ 2901045 w 3302929"/>
                <a:gd name="connsiteY36" fmla="*/ 148834 h 388498"/>
                <a:gd name="connsiteX37" fmla="*/ 2978915 w 3302929"/>
                <a:gd name="connsiteY37" fmla="*/ 154783 h 388498"/>
                <a:gd name="connsiteX38" fmla="*/ 3060397 w 3302929"/>
                <a:gd name="connsiteY38" fmla="*/ 161264 h 388498"/>
                <a:gd name="connsiteX39" fmla="*/ 3143047 w 3302929"/>
                <a:gd name="connsiteY39" fmla="*/ 187185 h 388498"/>
                <a:gd name="connsiteX40" fmla="*/ 3222085 w 3302929"/>
                <a:gd name="connsiteY40" fmla="*/ 322952 h 388498"/>
                <a:gd name="connsiteX41" fmla="*/ 3302929 w 3302929"/>
                <a:gd name="connsiteY41" fmla="*/ 388499 h 388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302929" h="388498">
                  <a:moveTo>
                    <a:pt x="0" y="42175"/>
                  </a:moveTo>
                  <a:lnTo>
                    <a:pt x="77339" y="60447"/>
                  </a:lnTo>
                  <a:lnTo>
                    <a:pt x="156377" y="85200"/>
                  </a:lnTo>
                  <a:lnTo>
                    <a:pt x="239027" y="72770"/>
                  </a:lnTo>
                  <a:cubicBezTo>
                    <a:pt x="239027" y="72770"/>
                    <a:pt x="313391" y="119939"/>
                    <a:pt x="315728" y="119939"/>
                  </a:cubicBezTo>
                  <a:cubicBezTo>
                    <a:pt x="318065" y="119939"/>
                    <a:pt x="396573" y="95186"/>
                    <a:pt x="396573" y="95186"/>
                  </a:cubicBezTo>
                  <a:lnTo>
                    <a:pt x="483366" y="86900"/>
                  </a:lnTo>
                  <a:lnTo>
                    <a:pt x="561873" y="101029"/>
                  </a:lnTo>
                  <a:lnTo>
                    <a:pt x="640911" y="76807"/>
                  </a:lnTo>
                  <a:lnTo>
                    <a:pt x="727705" y="59704"/>
                  </a:lnTo>
                  <a:lnTo>
                    <a:pt x="804406" y="45575"/>
                  </a:lnTo>
                  <a:lnTo>
                    <a:pt x="882913" y="62678"/>
                  </a:lnTo>
                  <a:cubicBezTo>
                    <a:pt x="882913" y="62678"/>
                    <a:pt x="961951" y="55560"/>
                    <a:pt x="963757" y="55560"/>
                  </a:cubicBezTo>
                  <a:cubicBezTo>
                    <a:pt x="965563" y="55560"/>
                    <a:pt x="1043964" y="12429"/>
                    <a:pt x="1043964" y="12429"/>
                  </a:cubicBezTo>
                  <a:lnTo>
                    <a:pt x="1127783" y="11261"/>
                  </a:lnTo>
                  <a:lnTo>
                    <a:pt x="1206821" y="0"/>
                  </a:lnTo>
                  <a:lnTo>
                    <a:pt x="1287028" y="21247"/>
                  </a:lnTo>
                  <a:lnTo>
                    <a:pt x="1364367" y="32508"/>
                  </a:lnTo>
                  <a:lnTo>
                    <a:pt x="1447548" y="43131"/>
                  </a:lnTo>
                  <a:lnTo>
                    <a:pt x="1525418" y="72027"/>
                  </a:lnTo>
                  <a:lnTo>
                    <a:pt x="1608068" y="122169"/>
                  </a:lnTo>
                  <a:lnTo>
                    <a:pt x="1690081" y="174649"/>
                  </a:lnTo>
                  <a:lnTo>
                    <a:pt x="1772094" y="175818"/>
                  </a:lnTo>
                  <a:lnTo>
                    <a:pt x="1850601" y="161051"/>
                  </a:lnTo>
                  <a:lnTo>
                    <a:pt x="1932082" y="172312"/>
                  </a:lnTo>
                  <a:lnTo>
                    <a:pt x="2012289" y="169337"/>
                  </a:lnTo>
                  <a:lnTo>
                    <a:pt x="2093134" y="197702"/>
                  </a:lnTo>
                  <a:lnTo>
                    <a:pt x="2171641" y="200039"/>
                  </a:lnTo>
                  <a:lnTo>
                    <a:pt x="2253654" y="194090"/>
                  </a:lnTo>
                  <a:lnTo>
                    <a:pt x="2335135" y="204713"/>
                  </a:lnTo>
                  <a:lnTo>
                    <a:pt x="2413005" y="205351"/>
                  </a:lnTo>
                  <a:lnTo>
                    <a:pt x="2497992" y="195896"/>
                  </a:lnTo>
                  <a:lnTo>
                    <a:pt x="2577031" y="191222"/>
                  </a:lnTo>
                  <a:lnTo>
                    <a:pt x="2656706" y="165301"/>
                  </a:lnTo>
                  <a:lnTo>
                    <a:pt x="2740525" y="150003"/>
                  </a:lnTo>
                  <a:lnTo>
                    <a:pt x="2819032" y="140017"/>
                  </a:lnTo>
                  <a:lnTo>
                    <a:pt x="2901045" y="148834"/>
                  </a:lnTo>
                  <a:lnTo>
                    <a:pt x="2978915" y="154783"/>
                  </a:lnTo>
                  <a:lnTo>
                    <a:pt x="3060397" y="161264"/>
                  </a:lnTo>
                  <a:lnTo>
                    <a:pt x="3143047" y="187185"/>
                  </a:lnTo>
                  <a:lnTo>
                    <a:pt x="3222085" y="322952"/>
                  </a:lnTo>
                  <a:lnTo>
                    <a:pt x="3302929" y="388499"/>
                  </a:lnTo>
                </a:path>
              </a:pathLst>
            </a:custGeom>
            <a:noFill/>
            <a:ln w="28575" cap="sq">
              <a:solidFill>
                <a:schemeClr val="accent2"/>
              </a:solidFill>
              <a:prstDash val="solid"/>
              <a:miter/>
            </a:ln>
          </p:spPr>
          <p:txBody>
            <a:bodyPr wrap="none" rtlCol="0" anchor="ctr"/>
            <a:lstStyle/>
            <a:p>
              <a:endParaRPr lang="en-US" sz="1200"/>
            </a:p>
          </p:txBody>
        </p:sp>
        <p:sp>
          <p:nvSpPr>
            <p:cNvPr id="35" name="Freeform: Shape 34">
              <a:extLst>
                <a:ext uri="{FF2B5EF4-FFF2-40B4-BE49-F238E27FC236}">
                  <a16:creationId xmlns:a16="http://schemas.microsoft.com/office/drawing/2014/main" id="{37F0ADB6-BAD4-700E-F49D-796A8FB1747B}"/>
                </a:ext>
              </a:extLst>
            </p:cNvPr>
            <p:cNvSpPr/>
            <p:nvPr/>
          </p:nvSpPr>
          <p:spPr>
            <a:xfrm>
              <a:off x="1316683" y="2242769"/>
              <a:ext cx="4001196" cy="2281728"/>
            </a:xfrm>
            <a:custGeom>
              <a:avLst/>
              <a:gdLst>
                <a:gd name="connsiteX0" fmla="*/ 3311428 w 3311428"/>
                <a:gd name="connsiteY0" fmla="*/ 1858887 h 1858887"/>
                <a:gd name="connsiteX1" fmla="*/ 3228247 w 3311428"/>
                <a:gd name="connsiteY1" fmla="*/ 1819899 h 1858887"/>
                <a:gd name="connsiteX2" fmla="*/ 3146765 w 3311428"/>
                <a:gd name="connsiteY2" fmla="*/ 1726095 h 1858887"/>
                <a:gd name="connsiteX3" fmla="*/ 3063584 w 3311428"/>
                <a:gd name="connsiteY3" fmla="*/ 1692418 h 1858887"/>
                <a:gd name="connsiteX4" fmla="*/ 2982739 w 3311428"/>
                <a:gd name="connsiteY4" fmla="*/ 1659379 h 1858887"/>
                <a:gd name="connsiteX5" fmla="*/ 2906569 w 3311428"/>
                <a:gd name="connsiteY5" fmla="*/ 1625172 h 1858887"/>
                <a:gd name="connsiteX6" fmla="*/ 2824556 w 3311428"/>
                <a:gd name="connsiteY6" fmla="*/ 1591496 h 1858887"/>
                <a:gd name="connsiteX7" fmla="*/ 2738401 w 3311428"/>
                <a:gd name="connsiteY7" fmla="*/ 1564300 h 1858887"/>
                <a:gd name="connsiteX8" fmla="*/ 2660531 w 3311428"/>
                <a:gd name="connsiteY8" fmla="*/ 1540716 h 1858887"/>
                <a:gd name="connsiteX9" fmla="*/ 2582661 w 3311428"/>
                <a:gd name="connsiteY9" fmla="*/ 1523612 h 1858887"/>
                <a:gd name="connsiteX10" fmla="*/ 2501180 w 3311428"/>
                <a:gd name="connsiteY10" fmla="*/ 1504171 h 1858887"/>
                <a:gd name="connsiteX11" fmla="*/ 1854956 w 3311428"/>
                <a:gd name="connsiteY11" fmla="*/ 1196729 h 1858887"/>
                <a:gd name="connsiteX12" fmla="*/ 1532111 w 3311428"/>
                <a:gd name="connsiteY12" fmla="*/ 1042158 h 1858887"/>
                <a:gd name="connsiteX13" fmla="*/ 1290109 w 3311428"/>
                <a:gd name="connsiteY13" fmla="*/ 911171 h 1858887"/>
                <a:gd name="connsiteX14" fmla="*/ 1213408 w 3311428"/>
                <a:gd name="connsiteY14" fmla="*/ 875795 h 1858887"/>
                <a:gd name="connsiteX15" fmla="*/ 1130758 w 3311428"/>
                <a:gd name="connsiteY15" fmla="*/ 844563 h 1858887"/>
                <a:gd name="connsiteX16" fmla="*/ 888756 w 3311428"/>
                <a:gd name="connsiteY16" fmla="*/ 737797 h 1858887"/>
                <a:gd name="connsiteX17" fmla="*/ 726430 w 3311428"/>
                <a:gd name="connsiteY17" fmla="*/ 649835 h 1858887"/>
                <a:gd name="connsiteX18" fmla="*/ 568247 w 3311428"/>
                <a:gd name="connsiteY18" fmla="*/ 533615 h 1858887"/>
                <a:gd name="connsiteX19" fmla="*/ 484428 w 3311428"/>
                <a:gd name="connsiteY19" fmla="*/ 462757 h 1858887"/>
                <a:gd name="connsiteX20" fmla="*/ 247207 w 3311428"/>
                <a:gd name="connsiteY20" fmla="*/ 240833 h 1858887"/>
                <a:gd name="connsiteX21" fmla="*/ 161689 w 3311428"/>
                <a:gd name="connsiteY21" fmla="*/ 157014 h 1858887"/>
                <a:gd name="connsiteX22" fmla="*/ 80207 w 3311428"/>
                <a:gd name="connsiteY22" fmla="*/ 73195 h 1858887"/>
                <a:gd name="connsiteX23" fmla="*/ 0 w 3311428"/>
                <a:gd name="connsiteY23" fmla="*/ 0 h 185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11428" h="1858887">
                  <a:moveTo>
                    <a:pt x="3311428" y="1858887"/>
                  </a:moveTo>
                  <a:cubicBezTo>
                    <a:pt x="3309091" y="1858887"/>
                    <a:pt x="3228247" y="1819899"/>
                    <a:pt x="3228247" y="1819899"/>
                  </a:cubicBezTo>
                  <a:lnTo>
                    <a:pt x="3146765" y="1726095"/>
                  </a:lnTo>
                  <a:lnTo>
                    <a:pt x="3063584" y="1692418"/>
                  </a:lnTo>
                  <a:lnTo>
                    <a:pt x="2982739" y="1659379"/>
                  </a:lnTo>
                  <a:lnTo>
                    <a:pt x="2906569" y="1625172"/>
                  </a:lnTo>
                  <a:lnTo>
                    <a:pt x="2824556" y="1591496"/>
                  </a:lnTo>
                  <a:lnTo>
                    <a:pt x="2738401" y="1564300"/>
                  </a:lnTo>
                  <a:lnTo>
                    <a:pt x="2660531" y="1540716"/>
                  </a:lnTo>
                  <a:lnTo>
                    <a:pt x="2582661" y="1523612"/>
                  </a:lnTo>
                  <a:lnTo>
                    <a:pt x="2501180" y="1504171"/>
                  </a:lnTo>
                  <a:lnTo>
                    <a:pt x="1854956" y="1196729"/>
                  </a:lnTo>
                  <a:lnTo>
                    <a:pt x="1532111" y="1042158"/>
                  </a:lnTo>
                  <a:lnTo>
                    <a:pt x="1290109" y="911171"/>
                  </a:lnTo>
                  <a:lnTo>
                    <a:pt x="1213408" y="875795"/>
                  </a:lnTo>
                  <a:lnTo>
                    <a:pt x="1130758" y="844563"/>
                  </a:lnTo>
                  <a:lnTo>
                    <a:pt x="888756" y="737797"/>
                  </a:lnTo>
                  <a:lnTo>
                    <a:pt x="726430" y="649835"/>
                  </a:lnTo>
                  <a:lnTo>
                    <a:pt x="568247" y="533615"/>
                  </a:lnTo>
                  <a:lnTo>
                    <a:pt x="484428" y="462757"/>
                  </a:lnTo>
                  <a:lnTo>
                    <a:pt x="247207" y="240833"/>
                  </a:lnTo>
                  <a:lnTo>
                    <a:pt x="161689" y="157014"/>
                  </a:lnTo>
                  <a:lnTo>
                    <a:pt x="80207" y="73195"/>
                  </a:lnTo>
                  <a:lnTo>
                    <a:pt x="0" y="0"/>
                  </a:lnTo>
                </a:path>
              </a:pathLst>
            </a:custGeom>
            <a:noFill/>
            <a:ln w="28575" cap="sq">
              <a:solidFill>
                <a:schemeClr val="accent1"/>
              </a:solidFill>
              <a:prstDash val="solid"/>
              <a:miter/>
            </a:ln>
          </p:spPr>
          <p:txBody>
            <a:bodyPr wrap="none" rtlCol="0" anchor="ctr"/>
            <a:lstStyle/>
            <a:p>
              <a:endParaRPr lang="en-US" sz="1200"/>
            </a:p>
          </p:txBody>
        </p:sp>
        <p:sp>
          <p:nvSpPr>
            <p:cNvPr id="37" name="TextBox 36">
              <a:extLst>
                <a:ext uri="{FF2B5EF4-FFF2-40B4-BE49-F238E27FC236}">
                  <a16:creationId xmlns:a16="http://schemas.microsoft.com/office/drawing/2014/main" id="{8023B1F3-0EF9-72F1-87D9-B675C4B9DC63}"/>
                </a:ext>
              </a:extLst>
            </p:cNvPr>
            <p:cNvSpPr txBox="1"/>
            <p:nvPr/>
          </p:nvSpPr>
          <p:spPr>
            <a:xfrm>
              <a:off x="944366" y="1901154"/>
              <a:ext cx="277320" cy="184666"/>
            </a:xfrm>
            <a:prstGeom prst="rect">
              <a:avLst/>
            </a:prstGeom>
            <a:noFill/>
          </p:spPr>
          <p:txBody>
            <a:bodyPr wrap="none" lIns="0" tIns="0" rIns="0" bIns="0" rtlCol="0">
              <a:spAutoFit/>
            </a:bodyPr>
            <a:lstStyle/>
            <a:p>
              <a:pPr algn="r"/>
              <a:r>
                <a:rPr lang="en-US" sz="1200"/>
                <a:t>500</a:t>
              </a:r>
            </a:p>
          </p:txBody>
        </p:sp>
        <p:sp>
          <p:nvSpPr>
            <p:cNvPr id="38" name="TextBox 37">
              <a:extLst>
                <a:ext uri="{FF2B5EF4-FFF2-40B4-BE49-F238E27FC236}">
                  <a16:creationId xmlns:a16="http://schemas.microsoft.com/office/drawing/2014/main" id="{08983F41-26B6-C541-3870-50E04BBD06F0}"/>
                </a:ext>
              </a:extLst>
            </p:cNvPr>
            <p:cNvSpPr txBox="1"/>
            <p:nvPr/>
          </p:nvSpPr>
          <p:spPr>
            <a:xfrm>
              <a:off x="941160" y="2499499"/>
              <a:ext cx="280526" cy="184666"/>
            </a:xfrm>
            <a:prstGeom prst="rect">
              <a:avLst/>
            </a:prstGeom>
            <a:noFill/>
          </p:spPr>
          <p:txBody>
            <a:bodyPr wrap="none" lIns="0" tIns="0" rIns="0" bIns="0" rtlCol="0">
              <a:spAutoFit/>
            </a:bodyPr>
            <a:lstStyle/>
            <a:p>
              <a:pPr algn="r"/>
              <a:r>
                <a:rPr lang="en-US" sz="1200"/>
                <a:t>400</a:t>
              </a:r>
            </a:p>
          </p:txBody>
        </p:sp>
        <p:sp>
          <p:nvSpPr>
            <p:cNvPr id="39" name="TextBox 38">
              <a:extLst>
                <a:ext uri="{FF2B5EF4-FFF2-40B4-BE49-F238E27FC236}">
                  <a16:creationId xmlns:a16="http://schemas.microsoft.com/office/drawing/2014/main" id="{C4A40211-D31E-9DAD-34F1-BEE7F87A0F7B}"/>
                </a:ext>
              </a:extLst>
            </p:cNvPr>
            <p:cNvSpPr txBox="1"/>
            <p:nvPr/>
          </p:nvSpPr>
          <p:spPr>
            <a:xfrm>
              <a:off x="942763" y="3097844"/>
              <a:ext cx="278923" cy="184666"/>
            </a:xfrm>
            <a:prstGeom prst="rect">
              <a:avLst/>
            </a:prstGeom>
            <a:noFill/>
          </p:spPr>
          <p:txBody>
            <a:bodyPr wrap="none" lIns="0" tIns="0" rIns="0" bIns="0" rtlCol="0">
              <a:spAutoFit/>
            </a:bodyPr>
            <a:lstStyle/>
            <a:p>
              <a:pPr algn="r"/>
              <a:r>
                <a:rPr lang="en-US" sz="1200"/>
                <a:t>300</a:t>
              </a:r>
            </a:p>
          </p:txBody>
        </p:sp>
        <p:sp>
          <p:nvSpPr>
            <p:cNvPr id="40" name="TextBox 39">
              <a:extLst>
                <a:ext uri="{FF2B5EF4-FFF2-40B4-BE49-F238E27FC236}">
                  <a16:creationId xmlns:a16="http://schemas.microsoft.com/office/drawing/2014/main" id="{FBDA86F5-65BD-E8A6-719B-0D79872BC239}"/>
                </a:ext>
              </a:extLst>
            </p:cNvPr>
            <p:cNvSpPr txBox="1"/>
            <p:nvPr/>
          </p:nvSpPr>
          <p:spPr>
            <a:xfrm>
              <a:off x="945969" y="3696188"/>
              <a:ext cx="275717" cy="184666"/>
            </a:xfrm>
            <a:prstGeom prst="rect">
              <a:avLst/>
            </a:prstGeom>
            <a:noFill/>
          </p:spPr>
          <p:txBody>
            <a:bodyPr wrap="none" lIns="0" tIns="0" rIns="0" bIns="0" rtlCol="0">
              <a:spAutoFit/>
            </a:bodyPr>
            <a:lstStyle/>
            <a:p>
              <a:pPr algn="r"/>
              <a:r>
                <a:rPr lang="en-US" sz="1200"/>
                <a:t>200</a:t>
              </a:r>
            </a:p>
          </p:txBody>
        </p:sp>
        <p:sp>
          <p:nvSpPr>
            <p:cNvPr id="41" name="TextBox 40">
              <a:extLst>
                <a:ext uri="{FF2B5EF4-FFF2-40B4-BE49-F238E27FC236}">
                  <a16:creationId xmlns:a16="http://schemas.microsoft.com/office/drawing/2014/main" id="{DD89F02B-694B-3F14-6A14-0588D1DEEF39}"/>
                </a:ext>
              </a:extLst>
            </p:cNvPr>
            <p:cNvSpPr txBox="1"/>
            <p:nvPr/>
          </p:nvSpPr>
          <p:spPr>
            <a:xfrm>
              <a:off x="973602" y="4294534"/>
              <a:ext cx="248084" cy="184666"/>
            </a:xfrm>
            <a:prstGeom prst="rect">
              <a:avLst/>
            </a:prstGeom>
            <a:noFill/>
          </p:spPr>
          <p:txBody>
            <a:bodyPr wrap="none" lIns="0" tIns="0" rIns="0" bIns="0" rtlCol="0">
              <a:spAutoFit/>
            </a:bodyPr>
            <a:lstStyle/>
            <a:p>
              <a:pPr algn="r"/>
              <a:r>
                <a:rPr lang="en-US" sz="1200"/>
                <a:t>100</a:t>
              </a:r>
            </a:p>
          </p:txBody>
        </p:sp>
        <p:sp>
          <p:nvSpPr>
            <p:cNvPr id="42" name="TextBox 41">
              <a:extLst>
                <a:ext uri="{FF2B5EF4-FFF2-40B4-BE49-F238E27FC236}">
                  <a16:creationId xmlns:a16="http://schemas.microsoft.com/office/drawing/2014/main" id="{8C8FB8EB-EE3C-2468-D633-2C1248D11442}"/>
                </a:ext>
              </a:extLst>
            </p:cNvPr>
            <p:cNvSpPr txBox="1"/>
            <p:nvPr/>
          </p:nvSpPr>
          <p:spPr>
            <a:xfrm>
              <a:off x="1127109" y="4892880"/>
              <a:ext cx="94577" cy="184666"/>
            </a:xfrm>
            <a:prstGeom prst="rect">
              <a:avLst/>
            </a:prstGeom>
            <a:noFill/>
          </p:spPr>
          <p:txBody>
            <a:bodyPr wrap="none" lIns="0" tIns="0" rIns="0" bIns="0" rtlCol="0">
              <a:spAutoFit/>
            </a:bodyPr>
            <a:lstStyle/>
            <a:p>
              <a:pPr algn="r"/>
              <a:r>
                <a:rPr lang="en-US" sz="1200"/>
                <a:t>0</a:t>
              </a:r>
            </a:p>
          </p:txBody>
        </p:sp>
        <p:sp>
          <p:nvSpPr>
            <p:cNvPr id="43" name="TextBox 42">
              <a:extLst>
                <a:ext uri="{FF2B5EF4-FFF2-40B4-BE49-F238E27FC236}">
                  <a16:creationId xmlns:a16="http://schemas.microsoft.com/office/drawing/2014/main" id="{743E1E0B-7E4D-CAB5-2CB3-74CDE8CAA2F6}"/>
                </a:ext>
              </a:extLst>
            </p:cNvPr>
            <p:cNvSpPr txBox="1"/>
            <p:nvPr/>
          </p:nvSpPr>
          <p:spPr>
            <a:xfrm>
              <a:off x="1230260" y="5045441"/>
              <a:ext cx="336631" cy="184666"/>
            </a:xfrm>
            <a:prstGeom prst="rect">
              <a:avLst/>
            </a:prstGeom>
            <a:noFill/>
          </p:spPr>
          <p:txBody>
            <a:bodyPr wrap="none" lIns="0" tIns="0" rIns="0" bIns="0" rtlCol="0">
              <a:spAutoFit/>
            </a:bodyPr>
            <a:lstStyle/>
            <a:p>
              <a:pPr algn="ctr"/>
              <a:r>
                <a:rPr lang="en-US" sz="1200"/>
                <a:t>1980</a:t>
              </a:r>
            </a:p>
          </p:txBody>
        </p:sp>
        <p:sp>
          <p:nvSpPr>
            <p:cNvPr id="44" name="TextBox 43">
              <a:extLst>
                <a:ext uri="{FF2B5EF4-FFF2-40B4-BE49-F238E27FC236}">
                  <a16:creationId xmlns:a16="http://schemas.microsoft.com/office/drawing/2014/main" id="{09ADC009-4B83-63F9-FFFE-BE8D766B5900}"/>
                </a:ext>
              </a:extLst>
            </p:cNvPr>
            <p:cNvSpPr txBox="1"/>
            <p:nvPr/>
          </p:nvSpPr>
          <p:spPr>
            <a:xfrm>
              <a:off x="1639991" y="5045441"/>
              <a:ext cx="330220" cy="184666"/>
            </a:xfrm>
            <a:prstGeom prst="rect">
              <a:avLst/>
            </a:prstGeom>
            <a:noFill/>
          </p:spPr>
          <p:txBody>
            <a:bodyPr wrap="none" lIns="0" tIns="0" rIns="0" bIns="0" rtlCol="0">
              <a:spAutoFit/>
            </a:bodyPr>
            <a:lstStyle/>
            <a:p>
              <a:pPr algn="ctr"/>
              <a:r>
                <a:rPr lang="en-US" sz="1200"/>
                <a:t>1985</a:t>
              </a:r>
            </a:p>
          </p:txBody>
        </p:sp>
        <p:sp>
          <p:nvSpPr>
            <p:cNvPr id="45" name="TextBox 44">
              <a:extLst>
                <a:ext uri="{FF2B5EF4-FFF2-40B4-BE49-F238E27FC236}">
                  <a16:creationId xmlns:a16="http://schemas.microsoft.com/office/drawing/2014/main" id="{74EB33C1-1C02-756D-80BF-5071531FBC87}"/>
                </a:ext>
              </a:extLst>
            </p:cNvPr>
            <p:cNvSpPr txBox="1"/>
            <p:nvPr/>
          </p:nvSpPr>
          <p:spPr>
            <a:xfrm>
              <a:off x="2127419" y="5045441"/>
              <a:ext cx="335028" cy="184666"/>
            </a:xfrm>
            <a:prstGeom prst="rect">
              <a:avLst/>
            </a:prstGeom>
            <a:noFill/>
          </p:spPr>
          <p:txBody>
            <a:bodyPr wrap="none" lIns="0" tIns="0" rIns="0" bIns="0" rtlCol="0">
              <a:spAutoFit/>
            </a:bodyPr>
            <a:lstStyle/>
            <a:p>
              <a:pPr algn="ctr"/>
              <a:r>
                <a:rPr lang="en-US" sz="1200"/>
                <a:t>1990</a:t>
              </a:r>
            </a:p>
          </p:txBody>
        </p:sp>
        <p:sp>
          <p:nvSpPr>
            <p:cNvPr id="46" name="TextBox 45">
              <a:extLst>
                <a:ext uri="{FF2B5EF4-FFF2-40B4-BE49-F238E27FC236}">
                  <a16:creationId xmlns:a16="http://schemas.microsoft.com/office/drawing/2014/main" id="{AE0C9BD5-D35C-92AB-78F7-1FF20C9AC653}"/>
                </a:ext>
              </a:extLst>
            </p:cNvPr>
            <p:cNvSpPr txBox="1"/>
            <p:nvPr/>
          </p:nvSpPr>
          <p:spPr>
            <a:xfrm>
              <a:off x="2614810" y="5045441"/>
              <a:ext cx="328616" cy="184666"/>
            </a:xfrm>
            <a:prstGeom prst="rect">
              <a:avLst/>
            </a:prstGeom>
            <a:noFill/>
          </p:spPr>
          <p:txBody>
            <a:bodyPr wrap="none" lIns="0" tIns="0" rIns="0" bIns="0" rtlCol="0">
              <a:spAutoFit/>
            </a:bodyPr>
            <a:lstStyle/>
            <a:p>
              <a:pPr algn="ctr"/>
              <a:r>
                <a:rPr lang="en-US" sz="1200"/>
                <a:t>1995</a:t>
              </a:r>
            </a:p>
          </p:txBody>
        </p:sp>
        <p:sp>
          <p:nvSpPr>
            <p:cNvPr id="47" name="TextBox 46">
              <a:extLst>
                <a:ext uri="{FF2B5EF4-FFF2-40B4-BE49-F238E27FC236}">
                  <a16:creationId xmlns:a16="http://schemas.microsoft.com/office/drawing/2014/main" id="{C8B9C95C-5C9E-9D36-D6D1-E2FF5D97E5F5}"/>
                </a:ext>
              </a:extLst>
            </p:cNvPr>
            <p:cNvSpPr txBox="1"/>
            <p:nvPr/>
          </p:nvSpPr>
          <p:spPr>
            <a:xfrm>
              <a:off x="3078156" y="5045441"/>
              <a:ext cx="370293" cy="184666"/>
            </a:xfrm>
            <a:prstGeom prst="rect">
              <a:avLst/>
            </a:prstGeom>
            <a:noFill/>
          </p:spPr>
          <p:txBody>
            <a:bodyPr wrap="none" lIns="0" tIns="0" rIns="0" bIns="0" rtlCol="0">
              <a:spAutoFit/>
            </a:bodyPr>
            <a:lstStyle/>
            <a:p>
              <a:pPr algn="ctr"/>
              <a:r>
                <a:rPr lang="en-US" sz="1200"/>
                <a:t>2000</a:t>
              </a:r>
            </a:p>
          </p:txBody>
        </p:sp>
        <p:sp>
          <p:nvSpPr>
            <p:cNvPr id="48" name="TextBox 47">
              <a:extLst>
                <a:ext uri="{FF2B5EF4-FFF2-40B4-BE49-F238E27FC236}">
                  <a16:creationId xmlns:a16="http://schemas.microsoft.com/office/drawing/2014/main" id="{1B292A74-7AC1-8D61-40A4-F08950B602F6}"/>
                </a:ext>
              </a:extLst>
            </p:cNvPr>
            <p:cNvSpPr txBox="1"/>
            <p:nvPr/>
          </p:nvSpPr>
          <p:spPr>
            <a:xfrm>
              <a:off x="3581925" y="5045441"/>
              <a:ext cx="363882" cy="184666"/>
            </a:xfrm>
            <a:prstGeom prst="rect">
              <a:avLst/>
            </a:prstGeom>
            <a:noFill/>
          </p:spPr>
          <p:txBody>
            <a:bodyPr wrap="none" lIns="0" tIns="0" rIns="0" bIns="0" rtlCol="0">
              <a:spAutoFit/>
            </a:bodyPr>
            <a:lstStyle/>
            <a:p>
              <a:pPr algn="ctr"/>
              <a:r>
                <a:rPr lang="en-US" sz="1200"/>
                <a:t>2005</a:t>
              </a:r>
            </a:p>
          </p:txBody>
        </p:sp>
        <p:sp>
          <p:nvSpPr>
            <p:cNvPr id="49" name="TextBox 48">
              <a:extLst>
                <a:ext uri="{FF2B5EF4-FFF2-40B4-BE49-F238E27FC236}">
                  <a16:creationId xmlns:a16="http://schemas.microsoft.com/office/drawing/2014/main" id="{0987AB91-E14A-F5A1-1B78-1AB3509F6215}"/>
                </a:ext>
              </a:extLst>
            </p:cNvPr>
            <p:cNvSpPr txBox="1"/>
            <p:nvPr/>
          </p:nvSpPr>
          <p:spPr>
            <a:xfrm>
              <a:off x="4076255" y="5045441"/>
              <a:ext cx="333425" cy="184666"/>
            </a:xfrm>
            <a:prstGeom prst="rect">
              <a:avLst/>
            </a:prstGeom>
            <a:noFill/>
          </p:spPr>
          <p:txBody>
            <a:bodyPr wrap="none" lIns="0" tIns="0" rIns="0" bIns="0" rtlCol="0">
              <a:spAutoFit/>
            </a:bodyPr>
            <a:lstStyle/>
            <a:p>
              <a:pPr algn="ctr"/>
              <a:r>
                <a:rPr lang="en-US" sz="1200"/>
                <a:t>2010</a:t>
              </a:r>
            </a:p>
          </p:txBody>
        </p:sp>
        <p:sp>
          <p:nvSpPr>
            <p:cNvPr id="50" name="TextBox 49">
              <a:extLst>
                <a:ext uri="{FF2B5EF4-FFF2-40B4-BE49-F238E27FC236}">
                  <a16:creationId xmlns:a16="http://schemas.microsoft.com/office/drawing/2014/main" id="{5017D3AC-DC88-0DB1-04DA-DA7A2F92E090}"/>
                </a:ext>
              </a:extLst>
            </p:cNvPr>
            <p:cNvSpPr txBox="1"/>
            <p:nvPr/>
          </p:nvSpPr>
          <p:spPr>
            <a:xfrm>
              <a:off x="4580025" y="5045441"/>
              <a:ext cx="327013" cy="184666"/>
            </a:xfrm>
            <a:prstGeom prst="rect">
              <a:avLst/>
            </a:prstGeom>
            <a:noFill/>
          </p:spPr>
          <p:txBody>
            <a:bodyPr wrap="none" lIns="0" tIns="0" rIns="0" bIns="0" rtlCol="0">
              <a:spAutoFit/>
            </a:bodyPr>
            <a:lstStyle/>
            <a:p>
              <a:pPr algn="ctr"/>
              <a:r>
                <a:rPr lang="en-US" sz="1200"/>
                <a:t>2015</a:t>
              </a:r>
            </a:p>
          </p:txBody>
        </p:sp>
        <p:sp>
          <p:nvSpPr>
            <p:cNvPr id="51" name="TextBox 50">
              <a:extLst>
                <a:ext uri="{FF2B5EF4-FFF2-40B4-BE49-F238E27FC236}">
                  <a16:creationId xmlns:a16="http://schemas.microsoft.com/office/drawing/2014/main" id="{1DD22FE7-30BC-4AFF-111D-80985DCCBA0A}"/>
                </a:ext>
              </a:extLst>
            </p:cNvPr>
            <p:cNvSpPr txBox="1"/>
            <p:nvPr/>
          </p:nvSpPr>
          <p:spPr>
            <a:xfrm>
              <a:off x="5062285" y="5045441"/>
              <a:ext cx="325410" cy="184666"/>
            </a:xfrm>
            <a:prstGeom prst="rect">
              <a:avLst/>
            </a:prstGeom>
            <a:noFill/>
          </p:spPr>
          <p:txBody>
            <a:bodyPr wrap="none" lIns="0" tIns="0" rIns="0" bIns="0" rtlCol="0">
              <a:spAutoFit/>
            </a:bodyPr>
            <a:lstStyle/>
            <a:p>
              <a:pPr algn="ctr"/>
              <a:r>
                <a:rPr lang="en-US" sz="1200"/>
                <a:t>2021</a:t>
              </a:r>
            </a:p>
          </p:txBody>
        </p:sp>
        <p:sp>
          <p:nvSpPr>
            <p:cNvPr id="56" name="TextBox 55">
              <a:extLst>
                <a:ext uri="{FF2B5EF4-FFF2-40B4-BE49-F238E27FC236}">
                  <a16:creationId xmlns:a16="http://schemas.microsoft.com/office/drawing/2014/main" id="{C1593AC2-7E64-D118-17BF-EFA2E650BA8B}"/>
                </a:ext>
              </a:extLst>
            </p:cNvPr>
            <p:cNvSpPr txBox="1"/>
            <p:nvPr/>
          </p:nvSpPr>
          <p:spPr>
            <a:xfrm>
              <a:off x="4689992" y="2050007"/>
              <a:ext cx="649216" cy="184666"/>
            </a:xfrm>
            <a:prstGeom prst="rect">
              <a:avLst/>
            </a:prstGeom>
            <a:noFill/>
          </p:spPr>
          <p:txBody>
            <a:bodyPr wrap="none" lIns="0" tIns="0" rIns="0" bIns="0" rtlCol="0">
              <a:spAutoFit/>
            </a:bodyPr>
            <a:lstStyle/>
            <a:p>
              <a:r>
                <a:rPr lang="en-US" sz="1200">
                  <a:solidFill>
                    <a:schemeClr val="accent2"/>
                  </a:solidFill>
                </a:rPr>
                <a:t>70 yaş ve üstü</a:t>
              </a:r>
            </a:p>
          </p:txBody>
        </p:sp>
        <p:sp>
          <p:nvSpPr>
            <p:cNvPr id="57" name="TextBox 56">
              <a:extLst>
                <a:ext uri="{FF2B5EF4-FFF2-40B4-BE49-F238E27FC236}">
                  <a16:creationId xmlns:a16="http://schemas.microsoft.com/office/drawing/2014/main" id="{0AAE7CD3-65B1-293D-6017-EAE3BD26B0BD}"/>
                </a:ext>
              </a:extLst>
            </p:cNvPr>
            <p:cNvSpPr txBox="1"/>
            <p:nvPr/>
          </p:nvSpPr>
          <p:spPr>
            <a:xfrm>
              <a:off x="1414997" y="1427422"/>
              <a:ext cx="4151194" cy="461665"/>
            </a:xfrm>
            <a:prstGeom prst="rect">
              <a:avLst/>
            </a:prstGeom>
            <a:noFill/>
          </p:spPr>
          <p:txBody>
            <a:bodyPr wrap="square" rtlCol="0">
              <a:spAutoFit/>
            </a:bodyPr>
            <a:lstStyle/>
            <a:p>
              <a:pPr algn="ctr"/>
              <a:r>
                <a:rPr lang="en-US" sz="1200"/>
                <a:t>Her </a:t>
              </a:r>
              <a:r>
                <a:rPr lang="en-US" sz="1200" err="1"/>
                <a:t>bir</a:t>
              </a:r>
              <a:r>
                <a:rPr lang="en-US" sz="1200"/>
                <a:t> </a:t>
              </a:r>
              <a:r>
                <a:rPr lang="en-US" sz="1200" err="1"/>
                <a:t>yaş</a:t>
              </a:r>
              <a:r>
                <a:rPr lang="en-US" sz="1200"/>
                <a:t> </a:t>
              </a:r>
              <a:r>
                <a:rPr lang="en-US" sz="1200" err="1"/>
                <a:t>grubu</a:t>
              </a:r>
              <a:r>
                <a:rPr lang="en-US" sz="1200"/>
                <a:t> </a:t>
              </a:r>
              <a:r>
                <a:rPr lang="en-US" sz="1200" err="1"/>
                <a:t>için</a:t>
              </a:r>
              <a:r>
                <a:rPr lang="en-US" sz="1200"/>
                <a:t> 100.000 </a:t>
              </a:r>
              <a:r>
                <a:rPr lang="en-US" sz="1200" err="1"/>
                <a:t>kişi</a:t>
              </a:r>
              <a:r>
                <a:rPr lang="en-US" sz="1200"/>
                <a:t> </a:t>
              </a:r>
              <a:r>
                <a:rPr lang="en-US" sz="1200" err="1"/>
                <a:t>başına</a:t>
              </a:r>
              <a:r>
                <a:rPr lang="en-US" sz="1200"/>
                <a:t> </a:t>
              </a:r>
              <a:r>
                <a:rPr lang="en-US" sz="1200" err="1"/>
                <a:t>tahmini</a:t>
              </a:r>
              <a:r>
                <a:rPr lang="en-US" sz="1200"/>
                <a:t> </a:t>
              </a:r>
              <a:r>
                <a:rPr lang="en-US" sz="1200" err="1"/>
                <a:t>yıllık</a:t>
              </a:r>
              <a:r>
                <a:rPr lang="en-US" sz="1200"/>
                <a:t> </a:t>
              </a:r>
              <a:r>
                <a:rPr lang="en-US" sz="1200" err="1"/>
                <a:t>pnömoni</a:t>
              </a:r>
              <a:r>
                <a:rPr lang="en-US" sz="1200"/>
                <a:t> </a:t>
              </a:r>
              <a:r>
                <a:rPr lang="en-US" sz="1200" err="1"/>
                <a:t>ve</a:t>
              </a:r>
              <a:r>
                <a:rPr lang="en-US" sz="1200"/>
                <a:t> </a:t>
              </a:r>
              <a:r>
                <a:rPr lang="en-US" sz="1200" err="1"/>
                <a:t>diğer</a:t>
              </a:r>
              <a:r>
                <a:rPr lang="en-US" sz="1200"/>
                <a:t> </a:t>
              </a:r>
              <a:r>
                <a:rPr lang="en-US" sz="1200" err="1"/>
                <a:t>ASYE’lere</a:t>
              </a:r>
              <a:r>
                <a:rPr lang="en-US" sz="1200"/>
                <a:t> </a:t>
              </a:r>
              <a:r>
                <a:rPr lang="en-US" sz="1200" err="1"/>
                <a:t>bağlı</a:t>
              </a:r>
              <a:r>
                <a:rPr lang="en-US" sz="1200"/>
                <a:t> </a:t>
              </a:r>
              <a:r>
                <a:rPr lang="en-US" sz="1200" err="1"/>
                <a:t>ölüm</a:t>
              </a:r>
              <a:r>
                <a:rPr lang="en-US" sz="1200"/>
                <a:t> </a:t>
              </a:r>
              <a:r>
                <a:rPr lang="en-US" sz="1200" err="1"/>
                <a:t>oranı</a:t>
              </a:r>
              <a:endParaRPr lang="en-US" sz="1200"/>
            </a:p>
          </p:txBody>
        </p:sp>
        <p:grpSp>
          <p:nvGrpSpPr>
            <p:cNvPr id="94" name="Group 93">
              <a:extLst>
                <a:ext uri="{FF2B5EF4-FFF2-40B4-BE49-F238E27FC236}">
                  <a16:creationId xmlns:a16="http://schemas.microsoft.com/office/drawing/2014/main" id="{04DD6FEA-A483-25B9-CD3B-D95CC81C462F}"/>
                </a:ext>
              </a:extLst>
            </p:cNvPr>
            <p:cNvGrpSpPr/>
            <p:nvPr/>
          </p:nvGrpSpPr>
          <p:grpSpPr>
            <a:xfrm>
              <a:off x="5968739" y="1881029"/>
              <a:ext cx="5189485" cy="3577712"/>
              <a:chOff x="5452337" y="2259452"/>
              <a:chExt cx="5189485" cy="3577712"/>
            </a:xfrm>
          </p:grpSpPr>
          <p:grpSp>
            <p:nvGrpSpPr>
              <p:cNvPr id="76" name="Group 75">
                <a:extLst>
                  <a:ext uri="{FF2B5EF4-FFF2-40B4-BE49-F238E27FC236}">
                    <a16:creationId xmlns:a16="http://schemas.microsoft.com/office/drawing/2014/main" id="{CE852784-0D72-2185-730C-82BE92BE04FE}"/>
                  </a:ext>
                </a:extLst>
              </p:cNvPr>
              <p:cNvGrpSpPr/>
              <p:nvPr/>
            </p:nvGrpSpPr>
            <p:grpSpPr>
              <a:xfrm>
                <a:off x="5980934" y="2361305"/>
                <a:ext cx="4660888" cy="2214897"/>
                <a:chOff x="5980934" y="2154551"/>
                <a:chExt cx="4011592" cy="2214897"/>
              </a:xfrm>
            </p:grpSpPr>
            <p:sp>
              <p:nvSpPr>
                <p:cNvPr id="72" name="Freeform: Shape 71">
                  <a:extLst>
                    <a:ext uri="{FF2B5EF4-FFF2-40B4-BE49-F238E27FC236}">
                      <a16:creationId xmlns:a16="http://schemas.microsoft.com/office/drawing/2014/main" id="{0790E04C-64FC-A2AA-199A-70128B190E1B}"/>
                    </a:ext>
                  </a:extLst>
                </p:cNvPr>
                <p:cNvSpPr/>
                <p:nvPr/>
              </p:nvSpPr>
              <p:spPr>
                <a:xfrm>
                  <a:off x="5980934" y="2886856"/>
                  <a:ext cx="4011592" cy="912"/>
                </a:xfrm>
                <a:custGeom>
                  <a:avLst/>
                  <a:gdLst>
                    <a:gd name="connsiteX0" fmla="*/ 0 w 3320033"/>
                    <a:gd name="connsiteY0" fmla="*/ 0 h 743"/>
                    <a:gd name="connsiteX1" fmla="*/ 3320033 w 3320033"/>
                    <a:gd name="connsiteY1" fmla="*/ 744 h 743"/>
                  </a:gdLst>
                  <a:ahLst/>
                  <a:cxnLst>
                    <a:cxn ang="0">
                      <a:pos x="connsiteX0" y="connsiteY0"/>
                    </a:cxn>
                    <a:cxn ang="0">
                      <a:pos x="connsiteX1" y="connsiteY1"/>
                    </a:cxn>
                  </a:cxnLst>
                  <a:rect l="l" t="t" r="r" b="b"/>
                  <a:pathLst>
                    <a:path w="3320033" h="743">
                      <a:moveTo>
                        <a:pt x="0" y="0"/>
                      </a:moveTo>
                      <a:lnTo>
                        <a:pt x="3320033" y="744"/>
                      </a:lnTo>
                    </a:path>
                  </a:pathLst>
                </a:custGeom>
                <a:ln w="8485" cap="sq">
                  <a:solidFill>
                    <a:schemeClr val="bg2"/>
                  </a:solidFill>
                  <a:prstDash val="solid"/>
                  <a:miter/>
                </a:ln>
              </p:spPr>
              <p:txBody>
                <a:bodyPr wrap="none" rtlCol="0" anchor="ctr"/>
                <a:lstStyle/>
                <a:p>
                  <a:endParaRPr lang="en-US" sz="1200"/>
                </a:p>
              </p:txBody>
            </p:sp>
            <p:sp>
              <p:nvSpPr>
                <p:cNvPr id="73" name="Freeform: Shape 72">
                  <a:extLst>
                    <a:ext uri="{FF2B5EF4-FFF2-40B4-BE49-F238E27FC236}">
                      <a16:creationId xmlns:a16="http://schemas.microsoft.com/office/drawing/2014/main" id="{447E1F6C-C978-6F20-47EB-866D92670AD4}"/>
                    </a:ext>
                  </a:extLst>
                </p:cNvPr>
                <p:cNvSpPr/>
                <p:nvPr/>
              </p:nvSpPr>
              <p:spPr>
                <a:xfrm>
                  <a:off x="5980934" y="3618249"/>
                  <a:ext cx="4011592" cy="912"/>
                </a:xfrm>
                <a:custGeom>
                  <a:avLst/>
                  <a:gdLst>
                    <a:gd name="connsiteX0" fmla="*/ 0 w 3320033"/>
                    <a:gd name="connsiteY0" fmla="*/ 0 h 743"/>
                    <a:gd name="connsiteX1" fmla="*/ 3320033 w 3320033"/>
                    <a:gd name="connsiteY1" fmla="*/ 744 h 743"/>
                  </a:gdLst>
                  <a:ahLst/>
                  <a:cxnLst>
                    <a:cxn ang="0">
                      <a:pos x="connsiteX0" y="connsiteY0"/>
                    </a:cxn>
                    <a:cxn ang="0">
                      <a:pos x="connsiteX1" y="connsiteY1"/>
                    </a:cxn>
                  </a:cxnLst>
                  <a:rect l="l" t="t" r="r" b="b"/>
                  <a:pathLst>
                    <a:path w="3320033" h="743">
                      <a:moveTo>
                        <a:pt x="0" y="0"/>
                      </a:moveTo>
                      <a:lnTo>
                        <a:pt x="3320033" y="744"/>
                      </a:lnTo>
                    </a:path>
                  </a:pathLst>
                </a:custGeom>
                <a:ln w="8485" cap="sq">
                  <a:solidFill>
                    <a:schemeClr val="bg2"/>
                  </a:solidFill>
                  <a:prstDash val="solid"/>
                  <a:miter/>
                </a:ln>
              </p:spPr>
              <p:txBody>
                <a:bodyPr wrap="none" rtlCol="0" anchor="ctr"/>
                <a:lstStyle/>
                <a:p>
                  <a:endParaRPr lang="en-US" sz="1200"/>
                </a:p>
              </p:txBody>
            </p:sp>
            <p:sp>
              <p:nvSpPr>
                <p:cNvPr id="74" name="Freeform: Shape 73">
                  <a:extLst>
                    <a:ext uri="{FF2B5EF4-FFF2-40B4-BE49-F238E27FC236}">
                      <a16:creationId xmlns:a16="http://schemas.microsoft.com/office/drawing/2014/main" id="{A85DCA14-AD96-AB36-97F6-EAFA5B0980C9}"/>
                    </a:ext>
                  </a:extLst>
                </p:cNvPr>
                <p:cNvSpPr/>
                <p:nvPr/>
              </p:nvSpPr>
              <p:spPr>
                <a:xfrm>
                  <a:off x="5980934" y="4368536"/>
                  <a:ext cx="4011592" cy="912"/>
                </a:xfrm>
                <a:custGeom>
                  <a:avLst/>
                  <a:gdLst>
                    <a:gd name="connsiteX0" fmla="*/ 0 w 3320033"/>
                    <a:gd name="connsiteY0" fmla="*/ 0 h 743"/>
                    <a:gd name="connsiteX1" fmla="*/ 3320033 w 3320033"/>
                    <a:gd name="connsiteY1" fmla="*/ 744 h 743"/>
                  </a:gdLst>
                  <a:ahLst/>
                  <a:cxnLst>
                    <a:cxn ang="0">
                      <a:pos x="connsiteX0" y="connsiteY0"/>
                    </a:cxn>
                    <a:cxn ang="0">
                      <a:pos x="connsiteX1" y="connsiteY1"/>
                    </a:cxn>
                  </a:cxnLst>
                  <a:rect l="l" t="t" r="r" b="b"/>
                  <a:pathLst>
                    <a:path w="3320033" h="743">
                      <a:moveTo>
                        <a:pt x="0" y="0"/>
                      </a:moveTo>
                      <a:lnTo>
                        <a:pt x="3320033" y="744"/>
                      </a:lnTo>
                    </a:path>
                  </a:pathLst>
                </a:custGeom>
                <a:ln w="8485" cap="sq">
                  <a:solidFill>
                    <a:schemeClr val="bg2"/>
                  </a:solidFill>
                  <a:prstDash val="solid"/>
                  <a:miter/>
                </a:ln>
              </p:spPr>
              <p:txBody>
                <a:bodyPr wrap="none" rtlCol="0" anchor="ctr"/>
                <a:lstStyle/>
                <a:p>
                  <a:endParaRPr lang="en-US" sz="1200"/>
                </a:p>
              </p:txBody>
            </p:sp>
            <p:sp>
              <p:nvSpPr>
                <p:cNvPr id="75" name="Freeform: Shape 74">
                  <a:extLst>
                    <a:ext uri="{FF2B5EF4-FFF2-40B4-BE49-F238E27FC236}">
                      <a16:creationId xmlns:a16="http://schemas.microsoft.com/office/drawing/2014/main" id="{C9885E35-8EC4-4702-92F2-62861352824E}"/>
                    </a:ext>
                  </a:extLst>
                </p:cNvPr>
                <p:cNvSpPr/>
                <p:nvPr/>
              </p:nvSpPr>
              <p:spPr>
                <a:xfrm>
                  <a:off x="5980934" y="2154551"/>
                  <a:ext cx="4011592" cy="912"/>
                </a:xfrm>
                <a:custGeom>
                  <a:avLst/>
                  <a:gdLst>
                    <a:gd name="connsiteX0" fmla="*/ 0 w 3320033"/>
                    <a:gd name="connsiteY0" fmla="*/ 0 h 743"/>
                    <a:gd name="connsiteX1" fmla="*/ 3320033 w 3320033"/>
                    <a:gd name="connsiteY1" fmla="*/ 744 h 743"/>
                  </a:gdLst>
                  <a:ahLst/>
                  <a:cxnLst>
                    <a:cxn ang="0">
                      <a:pos x="connsiteX0" y="connsiteY0"/>
                    </a:cxn>
                    <a:cxn ang="0">
                      <a:pos x="connsiteX1" y="connsiteY1"/>
                    </a:cxn>
                  </a:cxnLst>
                  <a:rect l="l" t="t" r="r" b="b"/>
                  <a:pathLst>
                    <a:path w="3320033" h="743">
                      <a:moveTo>
                        <a:pt x="0" y="0"/>
                      </a:moveTo>
                      <a:lnTo>
                        <a:pt x="3320033" y="744"/>
                      </a:lnTo>
                    </a:path>
                  </a:pathLst>
                </a:custGeom>
                <a:ln w="8485" cap="sq">
                  <a:solidFill>
                    <a:schemeClr val="bg2"/>
                  </a:solidFill>
                  <a:prstDash val="solid"/>
                  <a:miter/>
                </a:ln>
              </p:spPr>
              <p:txBody>
                <a:bodyPr wrap="none" rtlCol="0" anchor="ctr"/>
                <a:lstStyle/>
                <a:p>
                  <a:endParaRPr lang="en-US" sz="1200"/>
                </a:p>
              </p:txBody>
            </p:sp>
          </p:grpSp>
          <p:grpSp>
            <p:nvGrpSpPr>
              <p:cNvPr id="92" name="Group 91">
                <a:extLst>
                  <a:ext uri="{FF2B5EF4-FFF2-40B4-BE49-F238E27FC236}">
                    <a16:creationId xmlns:a16="http://schemas.microsoft.com/office/drawing/2014/main" id="{15DCEC62-B0B5-6FE6-D40C-9223938757DC}"/>
                  </a:ext>
                </a:extLst>
              </p:cNvPr>
              <p:cNvGrpSpPr/>
              <p:nvPr/>
            </p:nvGrpSpPr>
            <p:grpSpPr>
              <a:xfrm>
                <a:off x="5928822" y="2259452"/>
                <a:ext cx="4656341" cy="3138079"/>
                <a:chOff x="5928822" y="2052698"/>
                <a:chExt cx="4656341" cy="3138079"/>
              </a:xfrm>
            </p:grpSpPr>
            <p:sp>
              <p:nvSpPr>
                <p:cNvPr id="78" name="Freeform: Shape 77">
                  <a:extLst>
                    <a:ext uri="{FF2B5EF4-FFF2-40B4-BE49-F238E27FC236}">
                      <a16:creationId xmlns:a16="http://schemas.microsoft.com/office/drawing/2014/main" id="{00127AF8-8816-07B0-99F6-5D68FE6D4C83}"/>
                    </a:ext>
                  </a:extLst>
                </p:cNvPr>
                <p:cNvSpPr/>
                <p:nvPr/>
              </p:nvSpPr>
              <p:spPr>
                <a:xfrm>
                  <a:off x="5928822" y="2153747"/>
                  <a:ext cx="48377" cy="12631"/>
                </a:xfrm>
                <a:custGeom>
                  <a:avLst/>
                  <a:gdLst>
                    <a:gd name="connsiteX0" fmla="*/ 48377 w 48377"/>
                    <a:gd name="connsiteY0" fmla="*/ 0 h 12631"/>
                    <a:gd name="connsiteX1" fmla="*/ 0 w 48377"/>
                    <a:gd name="connsiteY1" fmla="*/ 0 h 12631"/>
                  </a:gdLst>
                  <a:ahLst/>
                  <a:cxnLst>
                    <a:cxn ang="0">
                      <a:pos x="connsiteX0" y="connsiteY0"/>
                    </a:cxn>
                    <a:cxn ang="0">
                      <a:pos x="connsiteX1" y="connsiteY1"/>
                    </a:cxn>
                  </a:cxnLst>
                  <a:rect l="l" t="t" r="r" b="b"/>
                  <a:pathLst>
                    <a:path w="48377" h="12631">
                      <a:moveTo>
                        <a:pt x="48377" y="0"/>
                      </a:moveTo>
                      <a:lnTo>
                        <a:pt x="0" y="0"/>
                      </a:lnTo>
                    </a:path>
                  </a:pathLst>
                </a:custGeom>
                <a:ln w="10098" cap="flat">
                  <a:solidFill>
                    <a:srgbClr val="231F20"/>
                  </a:solidFill>
                  <a:prstDash val="solid"/>
                  <a:miter/>
                </a:ln>
              </p:spPr>
              <p:txBody>
                <a:bodyPr wrap="none" rtlCol="0" anchor="ctr"/>
                <a:lstStyle/>
                <a:p>
                  <a:endParaRPr lang="en-US" sz="1200"/>
                </a:p>
              </p:txBody>
            </p:sp>
            <p:sp>
              <p:nvSpPr>
                <p:cNvPr id="79" name="Freeform: Shape 78">
                  <a:extLst>
                    <a:ext uri="{FF2B5EF4-FFF2-40B4-BE49-F238E27FC236}">
                      <a16:creationId xmlns:a16="http://schemas.microsoft.com/office/drawing/2014/main" id="{99869BF7-44DA-155E-1E1D-DCB97576C709}"/>
                    </a:ext>
                  </a:extLst>
                </p:cNvPr>
                <p:cNvSpPr/>
                <p:nvPr/>
              </p:nvSpPr>
              <p:spPr>
                <a:xfrm>
                  <a:off x="5928822" y="2876500"/>
                  <a:ext cx="48377" cy="12631"/>
                </a:xfrm>
                <a:custGeom>
                  <a:avLst/>
                  <a:gdLst>
                    <a:gd name="connsiteX0" fmla="*/ 48377 w 48377"/>
                    <a:gd name="connsiteY0" fmla="*/ 0 h 12631"/>
                    <a:gd name="connsiteX1" fmla="*/ 0 w 48377"/>
                    <a:gd name="connsiteY1" fmla="*/ 0 h 12631"/>
                  </a:gdLst>
                  <a:ahLst/>
                  <a:cxnLst>
                    <a:cxn ang="0">
                      <a:pos x="connsiteX0" y="connsiteY0"/>
                    </a:cxn>
                    <a:cxn ang="0">
                      <a:pos x="connsiteX1" y="connsiteY1"/>
                    </a:cxn>
                  </a:cxnLst>
                  <a:rect l="l" t="t" r="r" b="b"/>
                  <a:pathLst>
                    <a:path w="48377" h="12631">
                      <a:moveTo>
                        <a:pt x="48377" y="0"/>
                      </a:moveTo>
                      <a:lnTo>
                        <a:pt x="0" y="0"/>
                      </a:lnTo>
                    </a:path>
                  </a:pathLst>
                </a:custGeom>
                <a:ln w="10098" cap="flat">
                  <a:solidFill>
                    <a:srgbClr val="231F20"/>
                  </a:solidFill>
                  <a:prstDash val="solid"/>
                  <a:miter/>
                </a:ln>
              </p:spPr>
              <p:txBody>
                <a:bodyPr wrap="none" rtlCol="0" anchor="ctr"/>
                <a:lstStyle/>
                <a:p>
                  <a:endParaRPr lang="en-US" sz="1200"/>
                </a:p>
              </p:txBody>
            </p:sp>
            <p:sp>
              <p:nvSpPr>
                <p:cNvPr id="80" name="Freeform: Shape 79">
                  <a:extLst>
                    <a:ext uri="{FF2B5EF4-FFF2-40B4-BE49-F238E27FC236}">
                      <a16:creationId xmlns:a16="http://schemas.microsoft.com/office/drawing/2014/main" id="{E8E9D383-27F2-208A-0B51-D191F7A5B16B}"/>
                    </a:ext>
                  </a:extLst>
                </p:cNvPr>
                <p:cNvSpPr/>
                <p:nvPr/>
              </p:nvSpPr>
              <p:spPr>
                <a:xfrm>
                  <a:off x="5928822" y="3617822"/>
                  <a:ext cx="48377" cy="12631"/>
                </a:xfrm>
                <a:custGeom>
                  <a:avLst/>
                  <a:gdLst>
                    <a:gd name="connsiteX0" fmla="*/ 48377 w 48377"/>
                    <a:gd name="connsiteY0" fmla="*/ 0 h 12631"/>
                    <a:gd name="connsiteX1" fmla="*/ 0 w 48377"/>
                    <a:gd name="connsiteY1" fmla="*/ 0 h 12631"/>
                  </a:gdLst>
                  <a:ahLst/>
                  <a:cxnLst>
                    <a:cxn ang="0">
                      <a:pos x="connsiteX0" y="connsiteY0"/>
                    </a:cxn>
                    <a:cxn ang="0">
                      <a:pos x="connsiteX1" y="connsiteY1"/>
                    </a:cxn>
                  </a:cxnLst>
                  <a:rect l="l" t="t" r="r" b="b"/>
                  <a:pathLst>
                    <a:path w="48377" h="12631">
                      <a:moveTo>
                        <a:pt x="48377" y="0"/>
                      </a:moveTo>
                      <a:lnTo>
                        <a:pt x="0" y="0"/>
                      </a:lnTo>
                    </a:path>
                  </a:pathLst>
                </a:custGeom>
                <a:ln w="10098" cap="flat">
                  <a:solidFill>
                    <a:srgbClr val="231F20"/>
                  </a:solidFill>
                  <a:prstDash val="solid"/>
                  <a:miter/>
                </a:ln>
              </p:spPr>
              <p:txBody>
                <a:bodyPr wrap="none" rtlCol="0" anchor="ctr"/>
                <a:lstStyle/>
                <a:p>
                  <a:endParaRPr lang="en-US" sz="1200"/>
                </a:p>
              </p:txBody>
            </p:sp>
            <p:sp>
              <p:nvSpPr>
                <p:cNvPr id="81" name="Freeform: Shape 80">
                  <a:extLst>
                    <a:ext uri="{FF2B5EF4-FFF2-40B4-BE49-F238E27FC236}">
                      <a16:creationId xmlns:a16="http://schemas.microsoft.com/office/drawing/2014/main" id="{B3488C6D-4CFE-4731-7732-237DC74E5417}"/>
                    </a:ext>
                  </a:extLst>
                </p:cNvPr>
                <p:cNvSpPr/>
                <p:nvPr/>
              </p:nvSpPr>
              <p:spPr>
                <a:xfrm>
                  <a:off x="5928822" y="4363311"/>
                  <a:ext cx="48377" cy="12631"/>
                </a:xfrm>
                <a:custGeom>
                  <a:avLst/>
                  <a:gdLst>
                    <a:gd name="connsiteX0" fmla="*/ 48377 w 48377"/>
                    <a:gd name="connsiteY0" fmla="*/ 0 h 12631"/>
                    <a:gd name="connsiteX1" fmla="*/ 0 w 48377"/>
                    <a:gd name="connsiteY1" fmla="*/ 0 h 12631"/>
                  </a:gdLst>
                  <a:ahLst/>
                  <a:cxnLst>
                    <a:cxn ang="0">
                      <a:pos x="connsiteX0" y="connsiteY0"/>
                    </a:cxn>
                    <a:cxn ang="0">
                      <a:pos x="connsiteX1" y="connsiteY1"/>
                    </a:cxn>
                  </a:cxnLst>
                  <a:rect l="l" t="t" r="r" b="b"/>
                  <a:pathLst>
                    <a:path w="48377" h="12631">
                      <a:moveTo>
                        <a:pt x="48377" y="0"/>
                      </a:moveTo>
                      <a:lnTo>
                        <a:pt x="0" y="0"/>
                      </a:lnTo>
                    </a:path>
                  </a:pathLst>
                </a:custGeom>
                <a:ln w="10098" cap="flat">
                  <a:solidFill>
                    <a:srgbClr val="231F20"/>
                  </a:solidFill>
                  <a:prstDash val="solid"/>
                  <a:miter/>
                </a:ln>
              </p:spPr>
              <p:txBody>
                <a:bodyPr wrap="none" rtlCol="0" anchor="ctr"/>
                <a:lstStyle/>
                <a:p>
                  <a:endParaRPr lang="en-US" sz="1200"/>
                </a:p>
              </p:txBody>
            </p:sp>
            <p:sp>
              <p:nvSpPr>
                <p:cNvPr id="82" name="Freeform: Shape 81">
                  <a:extLst>
                    <a:ext uri="{FF2B5EF4-FFF2-40B4-BE49-F238E27FC236}">
                      <a16:creationId xmlns:a16="http://schemas.microsoft.com/office/drawing/2014/main" id="{E8E381E6-0F9F-C4F6-0F66-8B6D1C01AC94}"/>
                    </a:ext>
                  </a:extLst>
                </p:cNvPr>
                <p:cNvSpPr/>
                <p:nvPr/>
              </p:nvSpPr>
              <p:spPr>
                <a:xfrm>
                  <a:off x="5928822" y="5142274"/>
                  <a:ext cx="48377" cy="12631"/>
                </a:xfrm>
                <a:custGeom>
                  <a:avLst/>
                  <a:gdLst>
                    <a:gd name="connsiteX0" fmla="*/ 48377 w 48377"/>
                    <a:gd name="connsiteY0" fmla="*/ 0 h 12631"/>
                    <a:gd name="connsiteX1" fmla="*/ 0 w 48377"/>
                    <a:gd name="connsiteY1" fmla="*/ 0 h 12631"/>
                  </a:gdLst>
                  <a:ahLst/>
                  <a:cxnLst>
                    <a:cxn ang="0">
                      <a:pos x="connsiteX0" y="connsiteY0"/>
                    </a:cxn>
                    <a:cxn ang="0">
                      <a:pos x="connsiteX1" y="connsiteY1"/>
                    </a:cxn>
                  </a:cxnLst>
                  <a:rect l="l" t="t" r="r" b="b"/>
                  <a:pathLst>
                    <a:path w="48377" h="12631">
                      <a:moveTo>
                        <a:pt x="48377" y="0"/>
                      </a:moveTo>
                      <a:lnTo>
                        <a:pt x="0" y="0"/>
                      </a:lnTo>
                    </a:path>
                  </a:pathLst>
                </a:custGeom>
                <a:ln w="10098" cap="flat">
                  <a:solidFill>
                    <a:srgbClr val="231F20"/>
                  </a:solidFill>
                  <a:prstDash val="solid"/>
                  <a:miter/>
                </a:ln>
              </p:spPr>
              <p:txBody>
                <a:bodyPr wrap="none" rtlCol="0" anchor="ctr"/>
                <a:lstStyle/>
                <a:p>
                  <a:endParaRPr lang="en-US" sz="1200"/>
                </a:p>
              </p:txBody>
            </p:sp>
            <p:sp>
              <p:nvSpPr>
                <p:cNvPr id="83" name="Freeform: Shape 82">
                  <a:extLst>
                    <a:ext uri="{FF2B5EF4-FFF2-40B4-BE49-F238E27FC236}">
                      <a16:creationId xmlns:a16="http://schemas.microsoft.com/office/drawing/2014/main" id="{13BFB988-80E3-EACD-11DE-A858E6E686DE}"/>
                    </a:ext>
                  </a:extLst>
                </p:cNvPr>
                <p:cNvSpPr/>
                <p:nvPr/>
              </p:nvSpPr>
              <p:spPr>
                <a:xfrm>
                  <a:off x="6132941" y="5142274"/>
                  <a:ext cx="12631" cy="48503"/>
                </a:xfrm>
                <a:custGeom>
                  <a:avLst/>
                  <a:gdLst>
                    <a:gd name="connsiteX0" fmla="*/ 0 w 12631"/>
                    <a:gd name="connsiteY0" fmla="*/ 0 h 48503"/>
                    <a:gd name="connsiteX1" fmla="*/ 0 w 12631"/>
                    <a:gd name="connsiteY1" fmla="*/ 48504 h 48503"/>
                  </a:gdLst>
                  <a:ahLst/>
                  <a:cxnLst>
                    <a:cxn ang="0">
                      <a:pos x="connsiteX0" y="connsiteY0"/>
                    </a:cxn>
                    <a:cxn ang="0">
                      <a:pos x="connsiteX1" y="connsiteY1"/>
                    </a:cxn>
                  </a:cxnLst>
                  <a:rect l="l" t="t" r="r" b="b"/>
                  <a:pathLst>
                    <a:path w="12631" h="48503">
                      <a:moveTo>
                        <a:pt x="0" y="0"/>
                      </a:moveTo>
                      <a:lnTo>
                        <a:pt x="0" y="48504"/>
                      </a:lnTo>
                    </a:path>
                  </a:pathLst>
                </a:custGeom>
                <a:ln w="10098" cap="flat">
                  <a:solidFill>
                    <a:srgbClr val="231F20"/>
                  </a:solidFill>
                  <a:prstDash val="solid"/>
                  <a:miter/>
                </a:ln>
              </p:spPr>
              <p:txBody>
                <a:bodyPr wrap="none" rtlCol="0" anchor="ctr"/>
                <a:lstStyle/>
                <a:p>
                  <a:endParaRPr lang="en-US" sz="1200"/>
                </a:p>
              </p:txBody>
            </p:sp>
            <p:sp>
              <p:nvSpPr>
                <p:cNvPr id="84" name="Freeform: Shape 83">
                  <a:extLst>
                    <a:ext uri="{FF2B5EF4-FFF2-40B4-BE49-F238E27FC236}">
                      <a16:creationId xmlns:a16="http://schemas.microsoft.com/office/drawing/2014/main" id="{951A74D5-C9A4-883E-EC75-919DBF2B2829}"/>
                    </a:ext>
                  </a:extLst>
                </p:cNvPr>
                <p:cNvSpPr/>
                <p:nvPr/>
              </p:nvSpPr>
              <p:spPr>
                <a:xfrm>
                  <a:off x="7068655" y="5142274"/>
                  <a:ext cx="12631" cy="48503"/>
                </a:xfrm>
                <a:custGeom>
                  <a:avLst/>
                  <a:gdLst>
                    <a:gd name="connsiteX0" fmla="*/ 0 w 12631"/>
                    <a:gd name="connsiteY0" fmla="*/ 0 h 48503"/>
                    <a:gd name="connsiteX1" fmla="*/ 0 w 12631"/>
                    <a:gd name="connsiteY1" fmla="*/ 48504 h 48503"/>
                  </a:gdLst>
                  <a:ahLst/>
                  <a:cxnLst>
                    <a:cxn ang="0">
                      <a:pos x="connsiteX0" y="connsiteY0"/>
                    </a:cxn>
                    <a:cxn ang="0">
                      <a:pos x="connsiteX1" y="connsiteY1"/>
                    </a:cxn>
                  </a:cxnLst>
                  <a:rect l="l" t="t" r="r" b="b"/>
                  <a:pathLst>
                    <a:path w="12631" h="48503">
                      <a:moveTo>
                        <a:pt x="0" y="0"/>
                      </a:moveTo>
                      <a:lnTo>
                        <a:pt x="0" y="48504"/>
                      </a:lnTo>
                    </a:path>
                  </a:pathLst>
                </a:custGeom>
                <a:ln w="10098" cap="flat">
                  <a:solidFill>
                    <a:srgbClr val="231F20"/>
                  </a:solidFill>
                  <a:prstDash val="solid"/>
                  <a:miter/>
                </a:ln>
              </p:spPr>
              <p:txBody>
                <a:bodyPr wrap="none" rtlCol="0" anchor="ctr"/>
                <a:lstStyle/>
                <a:p>
                  <a:endParaRPr lang="en-US" sz="1200"/>
                </a:p>
              </p:txBody>
            </p:sp>
            <p:sp>
              <p:nvSpPr>
                <p:cNvPr id="85" name="Freeform: Shape 84">
                  <a:extLst>
                    <a:ext uri="{FF2B5EF4-FFF2-40B4-BE49-F238E27FC236}">
                      <a16:creationId xmlns:a16="http://schemas.microsoft.com/office/drawing/2014/main" id="{3611A91A-2D83-9148-C132-CC4946FA9975}"/>
                    </a:ext>
                  </a:extLst>
                </p:cNvPr>
                <p:cNvSpPr/>
                <p:nvPr/>
              </p:nvSpPr>
              <p:spPr>
                <a:xfrm>
                  <a:off x="7992370" y="5142274"/>
                  <a:ext cx="12631" cy="48503"/>
                </a:xfrm>
                <a:custGeom>
                  <a:avLst/>
                  <a:gdLst>
                    <a:gd name="connsiteX0" fmla="*/ 0 w 12631"/>
                    <a:gd name="connsiteY0" fmla="*/ 0 h 48503"/>
                    <a:gd name="connsiteX1" fmla="*/ 0 w 12631"/>
                    <a:gd name="connsiteY1" fmla="*/ 48504 h 48503"/>
                  </a:gdLst>
                  <a:ahLst/>
                  <a:cxnLst>
                    <a:cxn ang="0">
                      <a:pos x="connsiteX0" y="connsiteY0"/>
                    </a:cxn>
                    <a:cxn ang="0">
                      <a:pos x="connsiteX1" y="connsiteY1"/>
                    </a:cxn>
                  </a:cxnLst>
                  <a:rect l="l" t="t" r="r" b="b"/>
                  <a:pathLst>
                    <a:path w="12631" h="48503">
                      <a:moveTo>
                        <a:pt x="0" y="0"/>
                      </a:moveTo>
                      <a:lnTo>
                        <a:pt x="0" y="48504"/>
                      </a:lnTo>
                    </a:path>
                  </a:pathLst>
                </a:custGeom>
                <a:ln w="10098" cap="flat">
                  <a:solidFill>
                    <a:srgbClr val="231F20"/>
                  </a:solidFill>
                  <a:prstDash val="solid"/>
                  <a:miter/>
                </a:ln>
              </p:spPr>
              <p:txBody>
                <a:bodyPr wrap="none" rtlCol="0" anchor="ctr"/>
                <a:lstStyle/>
                <a:p>
                  <a:endParaRPr lang="en-US" sz="1200"/>
                </a:p>
              </p:txBody>
            </p:sp>
            <p:sp>
              <p:nvSpPr>
                <p:cNvPr id="86" name="Freeform: Shape 85">
                  <a:extLst>
                    <a:ext uri="{FF2B5EF4-FFF2-40B4-BE49-F238E27FC236}">
                      <a16:creationId xmlns:a16="http://schemas.microsoft.com/office/drawing/2014/main" id="{4E000AC3-EC57-39F1-AF82-9050CA77F945}"/>
                    </a:ext>
                  </a:extLst>
                </p:cNvPr>
                <p:cNvSpPr/>
                <p:nvPr/>
              </p:nvSpPr>
              <p:spPr>
                <a:xfrm>
                  <a:off x="8962062" y="5142274"/>
                  <a:ext cx="12631" cy="48503"/>
                </a:xfrm>
                <a:custGeom>
                  <a:avLst/>
                  <a:gdLst>
                    <a:gd name="connsiteX0" fmla="*/ 0 w 12631"/>
                    <a:gd name="connsiteY0" fmla="*/ 0 h 48503"/>
                    <a:gd name="connsiteX1" fmla="*/ 0 w 12631"/>
                    <a:gd name="connsiteY1" fmla="*/ 48504 h 48503"/>
                  </a:gdLst>
                  <a:ahLst/>
                  <a:cxnLst>
                    <a:cxn ang="0">
                      <a:pos x="connsiteX0" y="connsiteY0"/>
                    </a:cxn>
                    <a:cxn ang="0">
                      <a:pos x="connsiteX1" y="connsiteY1"/>
                    </a:cxn>
                  </a:cxnLst>
                  <a:rect l="l" t="t" r="r" b="b"/>
                  <a:pathLst>
                    <a:path w="12631" h="48503">
                      <a:moveTo>
                        <a:pt x="0" y="0"/>
                      </a:moveTo>
                      <a:lnTo>
                        <a:pt x="0" y="48504"/>
                      </a:lnTo>
                    </a:path>
                  </a:pathLst>
                </a:custGeom>
                <a:ln w="10098" cap="flat">
                  <a:solidFill>
                    <a:srgbClr val="231F20"/>
                  </a:solidFill>
                  <a:prstDash val="solid"/>
                  <a:miter/>
                </a:ln>
              </p:spPr>
              <p:txBody>
                <a:bodyPr wrap="none" rtlCol="0" anchor="ctr"/>
                <a:lstStyle/>
                <a:p>
                  <a:endParaRPr lang="en-US" sz="1200"/>
                </a:p>
              </p:txBody>
            </p:sp>
            <p:sp>
              <p:nvSpPr>
                <p:cNvPr id="87" name="Freeform: Shape 86">
                  <a:extLst>
                    <a:ext uri="{FF2B5EF4-FFF2-40B4-BE49-F238E27FC236}">
                      <a16:creationId xmlns:a16="http://schemas.microsoft.com/office/drawing/2014/main" id="{3B09535F-7021-8F3F-3E6E-299C0EC3B7B1}"/>
                    </a:ext>
                  </a:extLst>
                </p:cNvPr>
                <p:cNvSpPr/>
                <p:nvPr/>
              </p:nvSpPr>
              <p:spPr>
                <a:xfrm>
                  <a:off x="9920387" y="5142274"/>
                  <a:ext cx="12631" cy="48503"/>
                </a:xfrm>
                <a:custGeom>
                  <a:avLst/>
                  <a:gdLst>
                    <a:gd name="connsiteX0" fmla="*/ 0 w 12631"/>
                    <a:gd name="connsiteY0" fmla="*/ 0 h 48503"/>
                    <a:gd name="connsiteX1" fmla="*/ 0 w 12631"/>
                    <a:gd name="connsiteY1" fmla="*/ 48504 h 48503"/>
                  </a:gdLst>
                  <a:ahLst/>
                  <a:cxnLst>
                    <a:cxn ang="0">
                      <a:pos x="connsiteX0" y="connsiteY0"/>
                    </a:cxn>
                    <a:cxn ang="0">
                      <a:pos x="connsiteX1" y="connsiteY1"/>
                    </a:cxn>
                  </a:cxnLst>
                  <a:rect l="l" t="t" r="r" b="b"/>
                  <a:pathLst>
                    <a:path w="12631" h="48503">
                      <a:moveTo>
                        <a:pt x="0" y="0"/>
                      </a:moveTo>
                      <a:lnTo>
                        <a:pt x="0" y="48504"/>
                      </a:lnTo>
                    </a:path>
                  </a:pathLst>
                </a:custGeom>
                <a:ln w="10098" cap="flat">
                  <a:solidFill>
                    <a:srgbClr val="231F20"/>
                  </a:solidFill>
                  <a:prstDash val="solid"/>
                  <a:miter/>
                </a:ln>
              </p:spPr>
              <p:txBody>
                <a:bodyPr wrap="none" rtlCol="0" anchor="ctr"/>
                <a:lstStyle/>
                <a:p>
                  <a:endParaRPr lang="en-US" sz="1200"/>
                </a:p>
              </p:txBody>
            </p:sp>
            <p:sp>
              <p:nvSpPr>
                <p:cNvPr id="88" name="Freeform: Shape 87">
                  <a:extLst>
                    <a:ext uri="{FF2B5EF4-FFF2-40B4-BE49-F238E27FC236}">
                      <a16:creationId xmlns:a16="http://schemas.microsoft.com/office/drawing/2014/main" id="{93076A37-EF61-AE5D-8BF1-3AD7EB77F936}"/>
                    </a:ext>
                  </a:extLst>
                </p:cNvPr>
                <p:cNvSpPr/>
                <p:nvPr/>
              </p:nvSpPr>
              <p:spPr>
                <a:xfrm>
                  <a:off x="5975304" y="2153747"/>
                  <a:ext cx="4609859" cy="2988526"/>
                </a:xfrm>
                <a:custGeom>
                  <a:avLst/>
                  <a:gdLst>
                    <a:gd name="connsiteX0" fmla="*/ 0 w 4609859"/>
                    <a:gd name="connsiteY0" fmla="*/ 0 h 2988526"/>
                    <a:gd name="connsiteX1" fmla="*/ 0 w 4609859"/>
                    <a:gd name="connsiteY1" fmla="*/ 2988527 h 2988526"/>
                    <a:gd name="connsiteX2" fmla="*/ 4609860 w 4609859"/>
                    <a:gd name="connsiteY2" fmla="*/ 2988527 h 2988526"/>
                  </a:gdLst>
                  <a:ahLst/>
                  <a:cxnLst>
                    <a:cxn ang="0">
                      <a:pos x="connsiteX0" y="connsiteY0"/>
                    </a:cxn>
                    <a:cxn ang="0">
                      <a:pos x="connsiteX1" y="connsiteY1"/>
                    </a:cxn>
                    <a:cxn ang="0">
                      <a:pos x="connsiteX2" y="connsiteY2"/>
                    </a:cxn>
                  </a:cxnLst>
                  <a:rect l="l" t="t" r="r" b="b"/>
                  <a:pathLst>
                    <a:path w="4609859" h="2988526">
                      <a:moveTo>
                        <a:pt x="0" y="0"/>
                      </a:moveTo>
                      <a:lnTo>
                        <a:pt x="0" y="2988527"/>
                      </a:lnTo>
                      <a:lnTo>
                        <a:pt x="4609860" y="2988527"/>
                      </a:lnTo>
                    </a:path>
                  </a:pathLst>
                </a:custGeom>
                <a:noFill/>
                <a:ln w="10098" cap="sq">
                  <a:solidFill>
                    <a:srgbClr val="231F20"/>
                  </a:solidFill>
                  <a:prstDash val="solid"/>
                  <a:miter/>
                </a:ln>
              </p:spPr>
              <p:txBody>
                <a:bodyPr wrap="none" rtlCol="0" anchor="ctr"/>
                <a:lstStyle/>
                <a:p>
                  <a:endParaRPr lang="en-US" sz="1200"/>
                </a:p>
              </p:txBody>
            </p:sp>
            <p:sp>
              <p:nvSpPr>
                <p:cNvPr id="89" name="Freeform: Shape 88">
                  <a:extLst>
                    <a:ext uri="{FF2B5EF4-FFF2-40B4-BE49-F238E27FC236}">
                      <a16:creationId xmlns:a16="http://schemas.microsoft.com/office/drawing/2014/main" id="{88EDACAA-1BA1-9AB3-F3C7-FCD7D23175CA}"/>
                    </a:ext>
                  </a:extLst>
                </p:cNvPr>
                <p:cNvSpPr/>
                <p:nvPr/>
              </p:nvSpPr>
              <p:spPr>
                <a:xfrm>
                  <a:off x="6282746" y="2099433"/>
                  <a:ext cx="4022006" cy="2271718"/>
                </a:xfrm>
                <a:custGeom>
                  <a:avLst/>
                  <a:gdLst>
                    <a:gd name="connsiteX0" fmla="*/ 0 w 4022006"/>
                    <a:gd name="connsiteY0" fmla="*/ 1015922 h 2271718"/>
                    <a:gd name="connsiteX1" fmla="*/ 48756 w 4022006"/>
                    <a:gd name="connsiteY1" fmla="*/ 1838715 h 2271718"/>
                    <a:gd name="connsiteX2" fmla="*/ 88165 w 4022006"/>
                    <a:gd name="connsiteY2" fmla="*/ 2048644 h 2271718"/>
                    <a:gd name="connsiteX3" fmla="*/ 151826 w 4022006"/>
                    <a:gd name="connsiteY3" fmla="*/ 2149820 h 2271718"/>
                    <a:gd name="connsiteX4" fmla="*/ 232413 w 4022006"/>
                    <a:gd name="connsiteY4" fmla="*/ 2183545 h 2271718"/>
                    <a:gd name="connsiteX5" fmla="*/ 322347 w 4022006"/>
                    <a:gd name="connsiteY5" fmla="*/ 2252890 h 2271718"/>
                    <a:gd name="connsiteX6" fmla="*/ 447900 w 4022006"/>
                    <a:gd name="connsiteY6" fmla="*/ 2271584 h 2271718"/>
                    <a:gd name="connsiteX7" fmla="*/ 599726 w 4022006"/>
                    <a:gd name="connsiteY7" fmla="*/ 2179755 h 2271718"/>
                    <a:gd name="connsiteX8" fmla="*/ 714038 w 4022006"/>
                    <a:gd name="connsiteY8" fmla="*/ 2014793 h 2271718"/>
                    <a:gd name="connsiteX9" fmla="*/ 834034 w 4022006"/>
                    <a:gd name="connsiteY9" fmla="*/ 1804863 h 2271718"/>
                    <a:gd name="connsiteX10" fmla="*/ 1077688 w 4022006"/>
                    <a:gd name="connsiteY10" fmla="*/ 1726171 h 2271718"/>
                    <a:gd name="connsiteX11" fmla="*/ 1321343 w 4022006"/>
                    <a:gd name="connsiteY11" fmla="*/ 1677415 h 2271718"/>
                    <a:gd name="connsiteX12" fmla="*/ 1598723 w 4022006"/>
                    <a:gd name="connsiteY12" fmla="*/ 1564998 h 2271718"/>
                    <a:gd name="connsiteX13" fmla="*/ 2258447 w 4022006"/>
                    <a:gd name="connsiteY13" fmla="*/ 1148928 h 2271718"/>
                    <a:gd name="connsiteX14" fmla="*/ 2661380 w 4022006"/>
                    <a:gd name="connsiteY14" fmla="*/ 871548 h 2271718"/>
                    <a:gd name="connsiteX15" fmla="*/ 2903140 w 4022006"/>
                    <a:gd name="connsiteY15" fmla="*/ 730964 h 2271718"/>
                    <a:gd name="connsiteX16" fmla="*/ 3467247 w 4022006"/>
                    <a:gd name="connsiteY16" fmla="*/ 425417 h 2271718"/>
                    <a:gd name="connsiteX17" fmla="*/ 3716459 w 4022006"/>
                    <a:gd name="connsiteY17" fmla="*/ 245549 h 2271718"/>
                    <a:gd name="connsiteX18" fmla="*/ 4022006 w 4022006"/>
                    <a:gd name="connsiteY18" fmla="*/ 0 h 2271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22006" h="2271718">
                      <a:moveTo>
                        <a:pt x="0" y="1015922"/>
                      </a:moveTo>
                      <a:lnTo>
                        <a:pt x="48756" y="1838715"/>
                      </a:lnTo>
                      <a:cubicBezTo>
                        <a:pt x="48756" y="1838715"/>
                        <a:pt x="63787" y="2016814"/>
                        <a:pt x="88165" y="2048644"/>
                      </a:cubicBezTo>
                      <a:cubicBezTo>
                        <a:pt x="112543" y="2080475"/>
                        <a:pt x="142479" y="2144262"/>
                        <a:pt x="151826" y="2149820"/>
                      </a:cubicBezTo>
                      <a:cubicBezTo>
                        <a:pt x="161173" y="2155377"/>
                        <a:pt x="219277" y="2177987"/>
                        <a:pt x="232413" y="2183545"/>
                      </a:cubicBezTo>
                      <a:cubicBezTo>
                        <a:pt x="245549" y="2189102"/>
                        <a:pt x="305547" y="2250995"/>
                        <a:pt x="322347" y="2252890"/>
                      </a:cubicBezTo>
                      <a:cubicBezTo>
                        <a:pt x="339146" y="2254784"/>
                        <a:pt x="421627" y="2273478"/>
                        <a:pt x="447900" y="2271584"/>
                      </a:cubicBezTo>
                      <a:cubicBezTo>
                        <a:pt x="474173" y="2269689"/>
                        <a:pt x="597832" y="2192892"/>
                        <a:pt x="599726" y="2179755"/>
                      </a:cubicBezTo>
                      <a:cubicBezTo>
                        <a:pt x="601621" y="2166619"/>
                        <a:pt x="706586" y="2029824"/>
                        <a:pt x="714038" y="2014793"/>
                      </a:cubicBezTo>
                      <a:cubicBezTo>
                        <a:pt x="721490" y="1999762"/>
                        <a:pt x="798414" y="1821789"/>
                        <a:pt x="834034" y="1804863"/>
                      </a:cubicBezTo>
                      <a:cubicBezTo>
                        <a:pt x="869654" y="1787937"/>
                        <a:pt x="1034616" y="1724277"/>
                        <a:pt x="1077688" y="1726171"/>
                      </a:cubicBezTo>
                      <a:cubicBezTo>
                        <a:pt x="1120761" y="1728066"/>
                        <a:pt x="1302649" y="1686762"/>
                        <a:pt x="1321343" y="1677415"/>
                      </a:cubicBezTo>
                      <a:cubicBezTo>
                        <a:pt x="1340037" y="1668068"/>
                        <a:pt x="1564998" y="1578134"/>
                        <a:pt x="1598723" y="1564998"/>
                      </a:cubicBezTo>
                      <a:cubicBezTo>
                        <a:pt x="1632448" y="1551862"/>
                        <a:pt x="2234069" y="1158275"/>
                        <a:pt x="2258447" y="1148928"/>
                      </a:cubicBezTo>
                      <a:cubicBezTo>
                        <a:pt x="2282825" y="1139581"/>
                        <a:pt x="2646349" y="880896"/>
                        <a:pt x="2661380" y="871548"/>
                      </a:cubicBezTo>
                      <a:cubicBezTo>
                        <a:pt x="2676411" y="862201"/>
                        <a:pt x="2876868" y="744100"/>
                        <a:pt x="2903140" y="730964"/>
                      </a:cubicBezTo>
                      <a:cubicBezTo>
                        <a:pt x="2929413" y="717828"/>
                        <a:pt x="3422280" y="444237"/>
                        <a:pt x="3467247" y="425417"/>
                      </a:cubicBezTo>
                      <a:cubicBezTo>
                        <a:pt x="3512213" y="406596"/>
                        <a:pt x="3695870" y="266138"/>
                        <a:pt x="3716459" y="245549"/>
                      </a:cubicBezTo>
                      <a:cubicBezTo>
                        <a:pt x="3737048" y="224961"/>
                        <a:pt x="4022006" y="0"/>
                        <a:pt x="4022006" y="0"/>
                      </a:cubicBezTo>
                    </a:path>
                  </a:pathLst>
                </a:custGeom>
                <a:noFill/>
                <a:ln w="28575" cap="flat">
                  <a:solidFill>
                    <a:schemeClr val="tx2"/>
                  </a:solidFill>
                  <a:prstDash val="solid"/>
                  <a:miter/>
                </a:ln>
              </p:spPr>
              <p:txBody>
                <a:bodyPr wrap="none" rtlCol="0" anchor="ctr"/>
                <a:lstStyle/>
                <a:p>
                  <a:endParaRPr lang="en-US" sz="1200"/>
                </a:p>
              </p:txBody>
            </p:sp>
            <p:sp>
              <p:nvSpPr>
                <p:cNvPr id="90" name="Freeform: Shape 89">
                  <a:extLst>
                    <a:ext uri="{FF2B5EF4-FFF2-40B4-BE49-F238E27FC236}">
                      <a16:creationId xmlns:a16="http://schemas.microsoft.com/office/drawing/2014/main" id="{3FFD1DA1-9AD8-2779-BC16-EF925A7E0AE4}"/>
                    </a:ext>
                  </a:extLst>
                </p:cNvPr>
                <p:cNvSpPr/>
                <p:nvPr/>
              </p:nvSpPr>
              <p:spPr>
                <a:xfrm>
                  <a:off x="6400847" y="2052698"/>
                  <a:ext cx="3815739" cy="1566766"/>
                </a:xfrm>
                <a:custGeom>
                  <a:avLst/>
                  <a:gdLst>
                    <a:gd name="connsiteX0" fmla="*/ 3815740 w 3815739"/>
                    <a:gd name="connsiteY0" fmla="*/ 0 h 1566766"/>
                    <a:gd name="connsiteX1" fmla="*/ 3562738 w 3815739"/>
                    <a:gd name="connsiteY1" fmla="*/ 275485 h 1566766"/>
                    <a:gd name="connsiteX2" fmla="*/ 3337778 w 3815739"/>
                    <a:gd name="connsiteY2" fmla="*/ 447900 h 1566766"/>
                    <a:gd name="connsiteX3" fmla="*/ 2290151 w 3815739"/>
                    <a:gd name="connsiteY3" fmla="*/ 1000765 h 1566766"/>
                    <a:gd name="connsiteX4" fmla="*/ 1647353 w 3815739"/>
                    <a:gd name="connsiteY4" fmla="*/ 1309975 h 1566766"/>
                    <a:gd name="connsiteX5" fmla="*/ 974492 w 3815739"/>
                    <a:gd name="connsiteY5" fmla="*/ 1555525 h 1566766"/>
                    <a:gd name="connsiteX6" fmla="*/ 903253 w 3815739"/>
                    <a:gd name="connsiteY6" fmla="*/ 1566766 h 1566766"/>
                    <a:gd name="connsiteX7" fmla="*/ 282937 w 3815739"/>
                    <a:gd name="connsiteY7" fmla="*/ 1463696 h 1566766"/>
                    <a:gd name="connsiteX8" fmla="*/ 193004 w 3815739"/>
                    <a:gd name="connsiteY8" fmla="*/ 1413045 h 1566766"/>
                    <a:gd name="connsiteX9" fmla="*/ 0 w 3815739"/>
                    <a:gd name="connsiteY9" fmla="*/ 1178738 h 1566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5739" h="1566766">
                      <a:moveTo>
                        <a:pt x="3815740" y="0"/>
                      </a:moveTo>
                      <a:lnTo>
                        <a:pt x="3562738" y="275485"/>
                      </a:lnTo>
                      <a:lnTo>
                        <a:pt x="3337778" y="447900"/>
                      </a:lnTo>
                      <a:lnTo>
                        <a:pt x="2290151" y="1000765"/>
                      </a:lnTo>
                      <a:lnTo>
                        <a:pt x="1647353" y="1309975"/>
                      </a:lnTo>
                      <a:lnTo>
                        <a:pt x="974492" y="1555525"/>
                      </a:lnTo>
                      <a:lnTo>
                        <a:pt x="903253" y="1566766"/>
                      </a:lnTo>
                      <a:lnTo>
                        <a:pt x="282937" y="1463696"/>
                      </a:lnTo>
                      <a:cubicBezTo>
                        <a:pt x="282937" y="1463696"/>
                        <a:pt x="204245" y="1424287"/>
                        <a:pt x="193004" y="1413045"/>
                      </a:cubicBezTo>
                      <a:cubicBezTo>
                        <a:pt x="181762" y="1401804"/>
                        <a:pt x="0" y="1178738"/>
                        <a:pt x="0" y="1178738"/>
                      </a:cubicBezTo>
                    </a:path>
                  </a:pathLst>
                </a:custGeom>
                <a:noFill/>
                <a:ln w="28575" cap="flat">
                  <a:solidFill>
                    <a:schemeClr val="accent5"/>
                  </a:solidFill>
                  <a:prstDash val="solid"/>
                  <a:miter/>
                </a:ln>
              </p:spPr>
              <p:txBody>
                <a:bodyPr wrap="none" rtlCol="0" anchor="ctr"/>
                <a:lstStyle/>
                <a:p>
                  <a:endParaRPr lang="en-US" sz="1200"/>
                </a:p>
              </p:txBody>
            </p:sp>
            <p:sp>
              <p:nvSpPr>
                <p:cNvPr id="91" name="Freeform: Shape 90">
                  <a:extLst>
                    <a:ext uri="{FF2B5EF4-FFF2-40B4-BE49-F238E27FC236}">
                      <a16:creationId xmlns:a16="http://schemas.microsoft.com/office/drawing/2014/main" id="{F6DFB649-510F-9E1C-3960-FCBA9C23124E}"/>
                    </a:ext>
                  </a:extLst>
                </p:cNvPr>
                <p:cNvSpPr/>
                <p:nvPr/>
              </p:nvSpPr>
              <p:spPr>
                <a:xfrm>
                  <a:off x="6357721" y="2060300"/>
                  <a:ext cx="3808287" cy="3006740"/>
                </a:xfrm>
                <a:custGeom>
                  <a:avLst/>
                  <a:gdLst>
                    <a:gd name="connsiteX0" fmla="*/ 0 w 3808287"/>
                    <a:gd name="connsiteY0" fmla="*/ 2204007 h 3006740"/>
                    <a:gd name="connsiteX1" fmla="*/ 198688 w 3808287"/>
                    <a:gd name="connsiteY1" fmla="*/ 2736283 h 3006740"/>
                    <a:gd name="connsiteX2" fmla="*/ 352409 w 3808287"/>
                    <a:gd name="connsiteY2" fmla="*/ 2934971 h 3006740"/>
                    <a:gd name="connsiteX3" fmla="*/ 451689 w 3808287"/>
                    <a:gd name="connsiteY3" fmla="*/ 3004316 h 3006740"/>
                    <a:gd name="connsiteX4" fmla="*/ 487309 w 3808287"/>
                    <a:gd name="connsiteY4" fmla="*/ 2921835 h 3006740"/>
                    <a:gd name="connsiteX5" fmla="*/ 706586 w 3808287"/>
                    <a:gd name="connsiteY5" fmla="*/ 2335245 h 3006740"/>
                    <a:gd name="connsiteX6" fmla="*/ 789067 w 3808287"/>
                    <a:gd name="connsiteY6" fmla="*/ 2264005 h 3006740"/>
                    <a:gd name="connsiteX7" fmla="*/ 978408 w 3808287"/>
                    <a:gd name="connsiteY7" fmla="*/ 2130999 h 3006740"/>
                    <a:gd name="connsiteX8" fmla="*/ 1109645 w 3808287"/>
                    <a:gd name="connsiteY8" fmla="*/ 1967931 h 3006740"/>
                    <a:gd name="connsiteX9" fmla="*/ 1216505 w 3808287"/>
                    <a:gd name="connsiteY9" fmla="*/ 1833031 h 3006740"/>
                    <a:gd name="connsiteX10" fmla="*/ 1456370 w 3808287"/>
                    <a:gd name="connsiteY10" fmla="*/ 1711266 h 3006740"/>
                    <a:gd name="connsiteX11" fmla="*/ 1669962 w 3808287"/>
                    <a:gd name="connsiteY11" fmla="*/ 1490095 h 3006740"/>
                    <a:gd name="connsiteX12" fmla="*/ 2014792 w 3808287"/>
                    <a:gd name="connsiteY12" fmla="*/ 1285850 h 3006740"/>
                    <a:gd name="connsiteX13" fmla="*/ 2284720 w 3808287"/>
                    <a:gd name="connsiteY13" fmla="*/ 1066573 h 3006740"/>
                    <a:gd name="connsiteX14" fmla="*/ 2532164 w 3808287"/>
                    <a:gd name="connsiteY14" fmla="*/ 865991 h 3006740"/>
                    <a:gd name="connsiteX15" fmla="*/ 2873205 w 3808287"/>
                    <a:gd name="connsiteY15" fmla="*/ 618547 h 3006740"/>
                    <a:gd name="connsiteX16" fmla="*/ 3135553 w 3808287"/>
                    <a:gd name="connsiteY16" fmla="*/ 432995 h 3006740"/>
                    <a:gd name="connsiteX17" fmla="*/ 3390449 w 3808287"/>
                    <a:gd name="connsiteY17" fmla="*/ 298095 h 3006740"/>
                    <a:gd name="connsiteX18" fmla="*/ 3808288 w 3808287"/>
                    <a:gd name="connsiteY18" fmla="*/ 0 h 300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08287" h="3006740">
                      <a:moveTo>
                        <a:pt x="0" y="2204007"/>
                      </a:moveTo>
                      <a:cubicBezTo>
                        <a:pt x="0" y="2204007"/>
                        <a:pt x="193004" y="2732494"/>
                        <a:pt x="198688" y="2736283"/>
                      </a:cubicBezTo>
                      <a:cubicBezTo>
                        <a:pt x="204372" y="2740073"/>
                        <a:pt x="341167" y="2925624"/>
                        <a:pt x="352409" y="2934971"/>
                      </a:cubicBezTo>
                      <a:cubicBezTo>
                        <a:pt x="363650" y="2944318"/>
                        <a:pt x="436785" y="3021242"/>
                        <a:pt x="451689" y="3004316"/>
                      </a:cubicBezTo>
                      <a:cubicBezTo>
                        <a:pt x="466594" y="2987390"/>
                        <a:pt x="487309" y="2921835"/>
                        <a:pt x="487309" y="2921835"/>
                      </a:cubicBezTo>
                      <a:cubicBezTo>
                        <a:pt x="487309" y="2921835"/>
                        <a:pt x="699133" y="2344592"/>
                        <a:pt x="706586" y="2335245"/>
                      </a:cubicBezTo>
                      <a:cubicBezTo>
                        <a:pt x="714038" y="2325898"/>
                        <a:pt x="781615" y="2265900"/>
                        <a:pt x="789067" y="2264005"/>
                      </a:cubicBezTo>
                      <a:cubicBezTo>
                        <a:pt x="796519" y="2262110"/>
                        <a:pt x="955924" y="2149693"/>
                        <a:pt x="978408" y="2130999"/>
                      </a:cubicBezTo>
                      <a:cubicBezTo>
                        <a:pt x="1000891" y="2112305"/>
                        <a:pt x="1096509" y="1986752"/>
                        <a:pt x="1109645" y="1967931"/>
                      </a:cubicBezTo>
                      <a:cubicBezTo>
                        <a:pt x="1122782" y="1949111"/>
                        <a:pt x="1199579" y="1847935"/>
                        <a:pt x="1216505" y="1833031"/>
                      </a:cubicBezTo>
                      <a:cubicBezTo>
                        <a:pt x="1233430" y="1818126"/>
                        <a:pt x="1428329" y="1726171"/>
                        <a:pt x="1456370" y="1711266"/>
                      </a:cubicBezTo>
                      <a:cubicBezTo>
                        <a:pt x="1484411" y="1696362"/>
                        <a:pt x="1641921" y="1514473"/>
                        <a:pt x="1669962" y="1490095"/>
                      </a:cubicBezTo>
                      <a:cubicBezTo>
                        <a:pt x="1698004" y="1465717"/>
                        <a:pt x="1975510" y="1310228"/>
                        <a:pt x="2014792" y="1285850"/>
                      </a:cubicBezTo>
                      <a:cubicBezTo>
                        <a:pt x="2054075" y="1261472"/>
                        <a:pt x="2245311" y="1096509"/>
                        <a:pt x="2284720" y="1066573"/>
                      </a:cubicBezTo>
                      <a:cubicBezTo>
                        <a:pt x="2324129" y="1036637"/>
                        <a:pt x="2500207" y="882916"/>
                        <a:pt x="2532164" y="865991"/>
                      </a:cubicBezTo>
                      <a:cubicBezTo>
                        <a:pt x="2564121" y="849065"/>
                        <a:pt x="2832027" y="652398"/>
                        <a:pt x="2873205" y="618547"/>
                      </a:cubicBezTo>
                      <a:cubicBezTo>
                        <a:pt x="2914382" y="584695"/>
                        <a:pt x="3085029" y="453584"/>
                        <a:pt x="3135553" y="432995"/>
                      </a:cubicBezTo>
                      <a:cubicBezTo>
                        <a:pt x="3186078" y="412407"/>
                        <a:pt x="3343588" y="331820"/>
                        <a:pt x="3390449" y="298095"/>
                      </a:cubicBezTo>
                      <a:cubicBezTo>
                        <a:pt x="3437311" y="264370"/>
                        <a:pt x="3808288" y="0"/>
                        <a:pt x="3808288" y="0"/>
                      </a:cubicBezTo>
                    </a:path>
                  </a:pathLst>
                </a:custGeom>
                <a:noFill/>
                <a:ln w="28575" cap="flat">
                  <a:solidFill>
                    <a:schemeClr val="accent2"/>
                  </a:solidFill>
                  <a:prstDash val="solid"/>
                  <a:miter/>
                </a:ln>
              </p:spPr>
              <p:txBody>
                <a:bodyPr wrap="none" rtlCol="0" anchor="ctr"/>
                <a:lstStyle/>
                <a:p>
                  <a:endParaRPr lang="en-US" sz="1200"/>
                </a:p>
              </p:txBody>
            </p:sp>
          </p:grpSp>
          <p:sp>
            <p:nvSpPr>
              <p:cNvPr id="61" name="TextBox 60">
                <a:extLst>
                  <a:ext uri="{FF2B5EF4-FFF2-40B4-BE49-F238E27FC236}">
                    <a16:creationId xmlns:a16="http://schemas.microsoft.com/office/drawing/2014/main" id="{B5E62259-5E66-552C-A0CF-FBEA4319955C}"/>
                  </a:ext>
                </a:extLst>
              </p:cNvPr>
              <p:cNvSpPr txBox="1"/>
              <p:nvPr/>
            </p:nvSpPr>
            <p:spPr>
              <a:xfrm>
                <a:off x="5672206" y="2275937"/>
                <a:ext cx="227626" cy="184666"/>
              </a:xfrm>
              <a:prstGeom prst="rect">
                <a:avLst/>
              </a:prstGeom>
              <a:noFill/>
            </p:spPr>
            <p:txBody>
              <a:bodyPr wrap="none" lIns="0" tIns="0" rIns="0" bIns="0" rtlCol="0">
                <a:spAutoFit/>
              </a:bodyPr>
              <a:lstStyle/>
              <a:p>
                <a:pPr algn="r"/>
                <a:r>
                  <a:rPr lang="en-US" sz="1200"/>
                  <a:t>10x</a:t>
                </a:r>
              </a:p>
            </p:txBody>
          </p:sp>
          <p:sp>
            <p:nvSpPr>
              <p:cNvPr id="62" name="TextBox 61">
                <a:extLst>
                  <a:ext uri="{FF2B5EF4-FFF2-40B4-BE49-F238E27FC236}">
                    <a16:creationId xmlns:a16="http://schemas.microsoft.com/office/drawing/2014/main" id="{D0645EE5-3C37-DB41-6E04-75E2F8D82D26}"/>
                  </a:ext>
                </a:extLst>
              </p:cNvPr>
              <p:cNvSpPr txBox="1"/>
              <p:nvPr/>
            </p:nvSpPr>
            <p:spPr>
              <a:xfrm>
                <a:off x="5842124" y="3023181"/>
                <a:ext cx="57708" cy="184666"/>
              </a:xfrm>
              <a:prstGeom prst="rect">
                <a:avLst/>
              </a:prstGeom>
              <a:noFill/>
            </p:spPr>
            <p:txBody>
              <a:bodyPr wrap="none" lIns="0" tIns="0" rIns="0" bIns="0" rtlCol="0">
                <a:spAutoFit/>
              </a:bodyPr>
              <a:lstStyle/>
              <a:p>
                <a:pPr algn="r"/>
                <a:r>
                  <a:rPr lang="en-US" sz="1200"/>
                  <a:t>1</a:t>
                </a:r>
              </a:p>
            </p:txBody>
          </p:sp>
          <p:sp>
            <p:nvSpPr>
              <p:cNvPr id="63" name="TextBox 62">
                <a:extLst>
                  <a:ext uri="{FF2B5EF4-FFF2-40B4-BE49-F238E27FC236}">
                    <a16:creationId xmlns:a16="http://schemas.microsoft.com/office/drawing/2014/main" id="{C9D95448-D6D6-F0B4-0103-F3A99BB442A1}"/>
                  </a:ext>
                </a:extLst>
              </p:cNvPr>
              <p:cNvSpPr txBox="1"/>
              <p:nvPr/>
            </p:nvSpPr>
            <p:spPr>
              <a:xfrm>
                <a:off x="5646108" y="3770424"/>
                <a:ext cx="253724" cy="184666"/>
              </a:xfrm>
              <a:prstGeom prst="rect">
                <a:avLst/>
              </a:prstGeom>
              <a:noFill/>
            </p:spPr>
            <p:txBody>
              <a:bodyPr wrap="none" lIns="0" tIns="0" rIns="0" bIns="0" rtlCol="0">
                <a:spAutoFit/>
              </a:bodyPr>
              <a:lstStyle/>
              <a:p>
                <a:pPr algn="r"/>
                <a:r>
                  <a:rPr lang="en-US" sz="1200"/>
                  <a:t>0,1x</a:t>
                </a:r>
              </a:p>
            </p:txBody>
          </p:sp>
          <p:sp>
            <p:nvSpPr>
              <p:cNvPr id="64" name="TextBox 63">
                <a:extLst>
                  <a:ext uri="{FF2B5EF4-FFF2-40B4-BE49-F238E27FC236}">
                    <a16:creationId xmlns:a16="http://schemas.microsoft.com/office/drawing/2014/main" id="{4FBB63EE-042E-8A41-5010-F4398E5B8ADA}"/>
                  </a:ext>
                </a:extLst>
              </p:cNvPr>
              <p:cNvSpPr txBox="1"/>
              <p:nvPr/>
            </p:nvSpPr>
            <p:spPr>
              <a:xfrm>
                <a:off x="5546915" y="4517668"/>
                <a:ext cx="352917" cy="184666"/>
              </a:xfrm>
              <a:prstGeom prst="rect">
                <a:avLst/>
              </a:prstGeom>
              <a:noFill/>
            </p:spPr>
            <p:txBody>
              <a:bodyPr wrap="none" lIns="0" tIns="0" rIns="0" bIns="0" rtlCol="0">
                <a:spAutoFit/>
              </a:bodyPr>
              <a:lstStyle/>
              <a:p>
                <a:pPr algn="r"/>
                <a:r>
                  <a:rPr lang="en-US" sz="1200"/>
                  <a:t>0,01x</a:t>
                </a:r>
              </a:p>
            </p:txBody>
          </p:sp>
          <p:sp>
            <p:nvSpPr>
              <p:cNvPr id="65" name="TextBox 64">
                <a:extLst>
                  <a:ext uri="{FF2B5EF4-FFF2-40B4-BE49-F238E27FC236}">
                    <a16:creationId xmlns:a16="http://schemas.microsoft.com/office/drawing/2014/main" id="{28D3E7F1-3AB8-E414-235C-CF83CCB9E6DB}"/>
                  </a:ext>
                </a:extLst>
              </p:cNvPr>
              <p:cNvSpPr txBox="1"/>
              <p:nvPr/>
            </p:nvSpPr>
            <p:spPr>
              <a:xfrm>
                <a:off x="5452337" y="5264911"/>
                <a:ext cx="447495" cy="184666"/>
              </a:xfrm>
              <a:prstGeom prst="rect">
                <a:avLst/>
              </a:prstGeom>
              <a:noFill/>
            </p:spPr>
            <p:txBody>
              <a:bodyPr wrap="none" lIns="0" tIns="0" rIns="0" bIns="0" rtlCol="0">
                <a:spAutoFit/>
              </a:bodyPr>
              <a:lstStyle/>
              <a:p>
                <a:pPr algn="r"/>
                <a:r>
                  <a:rPr lang="en-US" sz="1200"/>
                  <a:t>0,001x</a:t>
                </a:r>
              </a:p>
            </p:txBody>
          </p:sp>
          <p:sp>
            <p:nvSpPr>
              <p:cNvPr id="66" name="TextBox 65">
                <a:extLst>
                  <a:ext uri="{FF2B5EF4-FFF2-40B4-BE49-F238E27FC236}">
                    <a16:creationId xmlns:a16="http://schemas.microsoft.com/office/drawing/2014/main" id="{029DFE5A-825A-8686-890A-AC9853FBAC51}"/>
                  </a:ext>
                </a:extLst>
              </p:cNvPr>
              <p:cNvSpPr txBox="1"/>
              <p:nvPr/>
            </p:nvSpPr>
            <p:spPr>
              <a:xfrm>
                <a:off x="6084101" y="5449916"/>
                <a:ext cx="94578" cy="184666"/>
              </a:xfrm>
              <a:prstGeom prst="rect">
                <a:avLst/>
              </a:prstGeom>
              <a:noFill/>
            </p:spPr>
            <p:txBody>
              <a:bodyPr wrap="none" lIns="0" tIns="0" rIns="0" bIns="0" rtlCol="0">
                <a:spAutoFit/>
              </a:bodyPr>
              <a:lstStyle/>
              <a:p>
                <a:pPr algn="ctr"/>
                <a:r>
                  <a:rPr lang="en-US" sz="1200"/>
                  <a:t>0</a:t>
                </a:r>
              </a:p>
            </p:txBody>
          </p:sp>
          <p:sp>
            <p:nvSpPr>
              <p:cNvPr id="67" name="TextBox 66">
                <a:extLst>
                  <a:ext uri="{FF2B5EF4-FFF2-40B4-BE49-F238E27FC236}">
                    <a16:creationId xmlns:a16="http://schemas.microsoft.com/office/drawing/2014/main" id="{0D9E1EE7-F3FD-CAA8-3E67-BDF6653FA92A}"/>
                  </a:ext>
                </a:extLst>
              </p:cNvPr>
              <p:cNvSpPr txBox="1"/>
              <p:nvPr/>
            </p:nvSpPr>
            <p:spPr>
              <a:xfrm>
                <a:off x="6980195" y="5449916"/>
                <a:ext cx="181140" cy="184666"/>
              </a:xfrm>
              <a:prstGeom prst="rect">
                <a:avLst/>
              </a:prstGeom>
              <a:noFill/>
            </p:spPr>
            <p:txBody>
              <a:bodyPr wrap="none" lIns="0" tIns="0" rIns="0" bIns="0" rtlCol="0">
                <a:spAutoFit/>
              </a:bodyPr>
              <a:lstStyle/>
              <a:p>
                <a:pPr algn="ctr"/>
                <a:r>
                  <a:rPr lang="en-US" sz="1200"/>
                  <a:t>20</a:t>
                </a:r>
              </a:p>
            </p:txBody>
          </p:sp>
          <p:sp>
            <p:nvSpPr>
              <p:cNvPr id="68" name="TextBox 67">
                <a:extLst>
                  <a:ext uri="{FF2B5EF4-FFF2-40B4-BE49-F238E27FC236}">
                    <a16:creationId xmlns:a16="http://schemas.microsoft.com/office/drawing/2014/main" id="{5EECEE54-CBA7-D67C-5759-AA7F9F245203}"/>
                  </a:ext>
                </a:extLst>
              </p:cNvPr>
              <p:cNvSpPr txBox="1"/>
              <p:nvPr/>
            </p:nvSpPr>
            <p:spPr>
              <a:xfrm>
                <a:off x="7906816" y="5449916"/>
                <a:ext cx="185948" cy="184666"/>
              </a:xfrm>
              <a:prstGeom prst="rect">
                <a:avLst/>
              </a:prstGeom>
              <a:noFill/>
            </p:spPr>
            <p:txBody>
              <a:bodyPr wrap="none" lIns="0" tIns="0" rIns="0" bIns="0" rtlCol="0">
                <a:spAutoFit/>
              </a:bodyPr>
              <a:lstStyle/>
              <a:p>
                <a:pPr algn="ctr"/>
                <a:r>
                  <a:rPr lang="en-US" sz="1200"/>
                  <a:t>40</a:t>
                </a:r>
              </a:p>
            </p:txBody>
          </p:sp>
          <p:sp>
            <p:nvSpPr>
              <p:cNvPr id="69" name="TextBox 68">
                <a:extLst>
                  <a:ext uri="{FF2B5EF4-FFF2-40B4-BE49-F238E27FC236}">
                    <a16:creationId xmlns:a16="http://schemas.microsoft.com/office/drawing/2014/main" id="{22D95AF6-E691-0C39-63FC-56325C8F178D}"/>
                  </a:ext>
                </a:extLst>
              </p:cNvPr>
              <p:cNvSpPr txBox="1"/>
              <p:nvPr/>
            </p:nvSpPr>
            <p:spPr>
              <a:xfrm>
                <a:off x="8880833" y="5449916"/>
                <a:ext cx="185948" cy="184666"/>
              </a:xfrm>
              <a:prstGeom prst="rect">
                <a:avLst/>
              </a:prstGeom>
              <a:noFill/>
            </p:spPr>
            <p:txBody>
              <a:bodyPr wrap="none" lIns="0" tIns="0" rIns="0" bIns="0" rtlCol="0">
                <a:spAutoFit/>
              </a:bodyPr>
              <a:lstStyle/>
              <a:p>
                <a:pPr algn="ctr"/>
                <a:r>
                  <a:rPr lang="en-US" sz="1200"/>
                  <a:t>60</a:t>
                </a:r>
              </a:p>
            </p:txBody>
          </p:sp>
          <p:sp>
            <p:nvSpPr>
              <p:cNvPr id="70" name="TextBox 69">
                <a:extLst>
                  <a:ext uri="{FF2B5EF4-FFF2-40B4-BE49-F238E27FC236}">
                    <a16:creationId xmlns:a16="http://schemas.microsoft.com/office/drawing/2014/main" id="{06F8E5A8-EB88-B051-944D-D15FF3AB2D97}"/>
                  </a:ext>
                </a:extLst>
              </p:cNvPr>
              <p:cNvSpPr txBox="1"/>
              <p:nvPr/>
            </p:nvSpPr>
            <p:spPr>
              <a:xfrm>
                <a:off x="9822187" y="5449916"/>
                <a:ext cx="187552" cy="184666"/>
              </a:xfrm>
              <a:prstGeom prst="rect">
                <a:avLst/>
              </a:prstGeom>
              <a:noFill/>
            </p:spPr>
            <p:txBody>
              <a:bodyPr wrap="none" lIns="0" tIns="0" rIns="0" bIns="0" rtlCol="0">
                <a:spAutoFit/>
              </a:bodyPr>
              <a:lstStyle/>
              <a:p>
                <a:pPr algn="ctr"/>
                <a:r>
                  <a:rPr lang="en-US" sz="1200"/>
                  <a:t>80</a:t>
                </a:r>
              </a:p>
            </p:txBody>
          </p:sp>
          <p:sp>
            <p:nvSpPr>
              <p:cNvPr id="71" name="Freeform: Shape 70">
                <a:extLst>
                  <a:ext uri="{FF2B5EF4-FFF2-40B4-BE49-F238E27FC236}">
                    <a16:creationId xmlns:a16="http://schemas.microsoft.com/office/drawing/2014/main" id="{5C51B824-12CC-6693-A5C4-2605FE451DD2}"/>
                  </a:ext>
                </a:extLst>
              </p:cNvPr>
              <p:cNvSpPr/>
              <p:nvPr/>
            </p:nvSpPr>
            <p:spPr>
              <a:xfrm>
                <a:off x="5980934" y="2361305"/>
                <a:ext cx="4011592" cy="912"/>
              </a:xfrm>
              <a:custGeom>
                <a:avLst/>
                <a:gdLst>
                  <a:gd name="connsiteX0" fmla="*/ 0 w 3320033"/>
                  <a:gd name="connsiteY0" fmla="*/ 0 h 743"/>
                  <a:gd name="connsiteX1" fmla="*/ 3320033 w 3320033"/>
                  <a:gd name="connsiteY1" fmla="*/ 744 h 743"/>
                </a:gdLst>
                <a:ahLst/>
                <a:cxnLst>
                  <a:cxn ang="0">
                    <a:pos x="connsiteX0" y="connsiteY0"/>
                  </a:cxn>
                  <a:cxn ang="0">
                    <a:pos x="connsiteX1" y="connsiteY1"/>
                  </a:cxn>
                </a:cxnLst>
                <a:rect l="l" t="t" r="r" b="b"/>
                <a:pathLst>
                  <a:path w="3320033" h="743">
                    <a:moveTo>
                      <a:pt x="0" y="0"/>
                    </a:moveTo>
                    <a:lnTo>
                      <a:pt x="3320033" y="744"/>
                    </a:lnTo>
                  </a:path>
                </a:pathLst>
              </a:custGeom>
              <a:ln w="8485" cap="sq">
                <a:solidFill>
                  <a:schemeClr val="bg2"/>
                </a:solidFill>
                <a:prstDash val="solid"/>
                <a:miter/>
              </a:ln>
            </p:spPr>
            <p:txBody>
              <a:bodyPr wrap="none" rtlCol="0" anchor="ctr"/>
              <a:lstStyle/>
              <a:p>
                <a:endParaRPr lang="en-US" sz="1200"/>
              </a:p>
            </p:txBody>
          </p:sp>
          <p:sp>
            <p:nvSpPr>
              <p:cNvPr id="93" name="TextBox 92">
                <a:extLst>
                  <a:ext uri="{FF2B5EF4-FFF2-40B4-BE49-F238E27FC236}">
                    <a16:creationId xmlns:a16="http://schemas.microsoft.com/office/drawing/2014/main" id="{AF7AB390-7CB5-1ED0-8C0A-265D053A9C96}"/>
                  </a:ext>
                </a:extLst>
              </p:cNvPr>
              <p:cNvSpPr txBox="1"/>
              <p:nvPr/>
            </p:nvSpPr>
            <p:spPr>
              <a:xfrm>
                <a:off x="8073738" y="5652498"/>
                <a:ext cx="777649" cy="184666"/>
              </a:xfrm>
              <a:prstGeom prst="rect">
                <a:avLst/>
              </a:prstGeom>
              <a:noFill/>
            </p:spPr>
            <p:txBody>
              <a:bodyPr wrap="none" lIns="0" tIns="0" rIns="0" bIns="0" rtlCol="0">
                <a:spAutoFit/>
              </a:bodyPr>
              <a:lstStyle/>
              <a:p>
                <a:pPr algn="ctr"/>
                <a:r>
                  <a:rPr lang="en-US" sz="1200" b="1"/>
                  <a:t>Yaş (yıl)</a:t>
                </a:r>
              </a:p>
            </p:txBody>
          </p:sp>
        </p:grpSp>
        <p:sp>
          <p:nvSpPr>
            <p:cNvPr id="95" name="TextBox 94">
              <a:extLst>
                <a:ext uri="{FF2B5EF4-FFF2-40B4-BE49-F238E27FC236}">
                  <a16:creationId xmlns:a16="http://schemas.microsoft.com/office/drawing/2014/main" id="{8B04CECB-AC82-4111-559D-62CE05B2AC97}"/>
                </a:ext>
              </a:extLst>
            </p:cNvPr>
            <p:cNvSpPr txBox="1"/>
            <p:nvPr/>
          </p:nvSpPr>
          <p:spPr>
            <a:xfrm>
              <a:off x="6729867" y="2044294"/>
              <a:ext cx="2498620" cy="663643"/>
            </a:xfrm>
            <a:prstGeom prst="rect">
              <a:avLst/>
            </a:prstGeom>
            <a:solidFill>
              <a:schemeClr val="bg1"/>
            </a:solidFill>
          </p:spPr>
          <p:txBody>
            <a:bodyPr wrap="square" rtlCol="0">
              <a:spAutoFit/>
            </a:bodyPr>
            <a:lstStyle/>
            <a:p>
              <a:pPr>
                <a:lnSpc>
                  <a:spcPts val="1100"/>
                </a:lnSpc>
              </a:pPr>
              <a:r>
                <a:rPr lang="en-US" sz="1200">
                  <a:highlight>
                    <a:srgbClr val="FBF8F2"/>
                  </a:highlight>
                </a:rPr>
                <a:t>Ölüm nedeni:</a:t>
              </a:r>
            </a:p>
            <a:p>
              <a:pPr>
                <a:lnSpc>
                  <a:spcPts val="1100"/>
                </a:lnSpc>
              </a:pPr>
              <a:r>
                <a:rPr lang="en-US" sz="1100" b="1" err="1">
                  <a:solidFill>
                    <a:schemeClr val="tx2"/>
                  </a:solidFill>
                  <a:highlight>
                    <a:srgbClr val="FBF8F2"/>
                  </a:highlight>
                </a:rPr>
                <a:t>Tüm</a:t>
              </a:r>
              <a:r>
                <a:rPr lang="en-US" sz="1100" b="1">
                  <a:solidFill>
                    <a:schemeClr val="tx2"/>
                  </a:solidFill>
                  <a:highlight>
                    <a:srgbClr val="FBF8F2"/>
                  </a:highlight>
                </a:rPr>
                <a:t> </a:t>
              </a:r>
              <a:r>
                <a:rPr lang="en-US" sz="1100" b="1" err="1">
                  <a:solidFill>
                    <a:schemeClr val="tx2"/>
                  </a:solidFill>
                  <a:highlight>
                    <a:srgbClr val="FBF8F2"/>
                  </a:highlight>
                </a:rPr>
                <a:t>nedenler</a:t>
              </a:r>
              <a:endParaRPr lang="en-US" sz="1100" b="1">
                <a:solidFill>
                  <a:schemeClr val="tx2"/>
                </a:solidFill>
                <a:highlight>
                  <a:srgbClr val="FBF8F2"/>
                </a:highlight>
              </a:endParaRPr>
            </a:p>
            <a:p>
              <a:pPr>
                <a:lnSpc>
                  <a:spcPts val="1100"/>
                </a:lnSpc>
              </a:pPr>
              <a:r>
                <a:rPr lang="en-US" sz="1100" b="1">
                  <a:solidFill>
                    <a:schemeClr val="accent5"/>
                  </a:solidFill>
                  <a:highlight>
                    <a:srgbClr val="FBF8F2"/>
                  </a:highlight>
                </a:rPr>
                <a:t>İnfluenza</a:t>
              </a:r>
            </a:p>
            <a:p>
              <a:pPr>
                <a:lnSpc>
                  <a:spcPts val="1100"/>
                </a:lnSpc>
              </a:pPr>
              <a:r>
                <a:rPr lang="en-US" sz="1100" b="1">
                  <a:solidFill>
                    <a:schemeClr val="accent2"/>
                  </a:solidFill>
                  <a:highlight>
                    <a:srgbClr val="FBF8F2"/>
                  </a:highlight>
                </a:rPr>
                <a:t>COVID-19</a:t>
              </a:r>
            </a:p>
          </p:txBody>
        </p:sp>
        <p:sp>
          <p:nvSpPr>
            <p:cNvPr id="96" name="TextBox 95">
              <a:extLst>
                <a:ext uri="{FF2B5EF4-FFF2-40B4-BE49-F238E27FC236}">
                  <a16:creationId xmlns:a16="http://schemas.microsoft.com/office/drawing/2014/main" id="{6D4EABB8-5244-2681-A4F0-EBD00FB69C8F}"/>
                </a:ext>
              </a:extLst>
            </p:cNvPr>
            <p:cNvSpPr txBox="1"/>
            <p:nvPr/>
          </p:nvSpPr>
          <p:spPr>
            <a:xfrm>
              <a:off x="9382604" y="3519748"/>
              <a:ext cx="1807050" cy="1200329"/>
            </a:xfrm>
            <a:prstGeom prst="rect">
              <a:avLst/>
            </a:prstGeom>
            <a:solidFill>
              <a:schemeClr val="bg1"/>
            </a:solidFill>
          </p:spPr>
          <p:txBody>
            <a:bodyPr wrap="square" rtlCol="0">
              <a:spAutoFit/>
            </a:bodyPr>
            <a:lstStyle/>
            <a:p>
              <a:r>
                <a:rPr lang="en-US" sz="1200" err="1"/>
                <a:t>Ortalama</a:t>
              </a:r>
              <a:r>
                <a:rPr lang="en-US" sz="1200"/>
                <a:t> </a:t>
              </a:r>
              <a:r>
                <a:rPr lang="en-US" sz="1200" err="1"/>
                <a:t>olarak</a:t>
              </a:r>
              <a:r>
                <a:rPr lang="en-US" sz="1200"/>
                <a:t> 20 </a:t>
              </a:r>
              <a:r>
                <a:rPr lang="en-US" sz="1200" err="1"/>
                <a:t>yaşındaki</a:t>
              </a:r>
              <a:r>
                <a:rPr lang="en-US" sz="1200"/>
                <a:t> </a:t>
              </a:r>
              <a:r>
                <a:rPr lang="en-US" sz="1200" err="1"/>
                <a:t>bireylerin</a:t>
              </a:r>
              <a:r>
                <a:rPr lang="en-US" sz="1200"/>
                <a:t>, </a:t>
              </a:r>
              <a:r>
                <a:rPr lang="en-US" sz="1200" b="1">
                  <a:solidFill>
                    <a:schemeClr val="accent5"/>
                  </a:solidFill>
                </a:rPr>
                <a:t>influenza</a:t>
              </a:r>
              <a:r>
                <a:rPr lang="en-US" sz="1200"/>
                <a:t> </a:t>
              </a:r>
              <a:r>
                <a:rPr lang="en-US" sz="1200" err="1"/>
                <a:t>kaynaklı</a:t>
              </a:r>
              <a:r>
                <a:rPr lang="en-US" sz="1200"/>
                <a:t> </a:t>
              </a:r>
              <a:r>
                <a:rPr lang="en-US" sz="1200" err="1"/>
                <a:t>ölüm</a:t>
              </a:r>
              <a:r>
                <a:rPr lang="en-US" sz="1200"/>
                <a:t> </a:t>
              </a:r>
              <a:r>
                <a:rPr lang="en-US" sz="1200" err="1"/>
                <a:t>riski</a:t>
              </a:r>
              <a:r>
                <a:rPr lang="en-US" sz="1200"/>
                <a:t>, 60 </a:t>
              </a:r>
              <a:r>
                <a:rPr lang="en-US" sz="1200" err="1"/>
                <a:t>yaşındaki</a:t>
              </a:r>
              <a:r>
                <a:rPr lang="en-US" sz="1200"/>
                <a:t> </a:t>
              </a:r>
              <a:r>
                <a:rPr lang="en-US" sz="1200" err="1"/>
                <a:t>bireylerin</a:t>
              </a:r>
              <a:r>
                <a:rPr lang="en-US" sz="1200"/>
                <a:t> </a:t>
              </a:r>
              <a:r>
                <a:rPr lang="en-US" sz="1200" err="1"/>
                <a:t>ölüm</a:t>
              </a:r>
              <a:r>
                <a:rPr lang="en-US" sz="1200"/>
                <a:t> </a:t>
              </a:r>
              <a:r>
                <a:rPr lang="en-US" sz="1200" err="1"/>
                <a:t>riskinin</a:t>
              </a:r>
              <a:r>
                <a:rPr lang="en-US" sz="1200"/>
                <a:t> </a:t>
              </a:r>
              <a:r>
                <a:rPr lang="en-US" sz="1200" err="1"/>
                <a:t>onda</a:t>
              </a:r>
              <a:r>
                <a:rPr lang="en-US" sz="1200"/>
                <a:t> </a:t>
              </a:r>
              <a:r>
                <a:rPr lang="en-US" sz="1200" err="1"/>
                <a:t>biridir</a:t>
              </a:r>
              <a:r>
                <a:rPr lang="en-US" sz="1200"/>
                <a:t>. </a:t>
              </a:r>
              <a:endParaRPr lang="en-US" sz="1200" b="1">
                <a:solidFill>
                  <a:schemeClr val="accent2"/>
                </a:solidFill>
              </a:endParaRPr>
            </a:p>
          </p:txBody>
        </p:sp>
        <p:sp>
          <p:nvSpPr>
            <p:cNvPr id="10" name="TextBox 9">
              <a:extLst>
                <a:ext uri="{FF2B5EF4-FFF2-40B4-BE49-F238E27FC236}">
                  <a16:creationId xmlns:a16="http://schemas.microsoft.com/office/drawing/2014/main" id="{150AF516-B9E0-B025-71A3-DC76285FDFAB}"/>
                </a:ext>
              </a:extLst>
            </p:cNvPr>
            <p:cNvSpPr txBox="1"/>
            <p:nvPr/>
          </p:nvSpPr>
          <p:spPr>
            <a:xfrm>
              <a:off x="6740500" y="1064526"/>
              <a:ext cx="3954449" cy="523220"/>
            </a:xfrm>
            <a:prstGeom prst="rect">
              <a:avLst/>
            </a:prstGeom>
            <a:noFill/>
          </p:spPr>
          <p:txBody>
            <a:bodyPr wrap="square" rtlCol="0">
              <a:spAutoFit/>
            </a:bodyPr>
            <a:lstStyle/>
            <a:p>
              <a:pPr algn="ctr">
                <a:defRPr/>
              </a:pPr>
              <a:r>
                <a:rPr lang="en-US" sz="1400" b="1" err="1">
                  <a:solidFill>
                    <a:srgbClr val="0000C9"/>
                  </a:solidFill>
                  <a:highlight>
                    <a:srgbClr val="FBF8F2"/>
                  </a:highlight>
                  <a:latin typeface="Pfizer Tomorrow"/>
                </a:rPr>
                <a:t>Solunum</a:t>
              </a:r>
              <a:r>
                <a:rPr lang="en-US" sz="1400" b="1">
                  <a:solidFill>
                    <a:srgbClr val="0000C9"/>
                  </a:solidFill>
                  <a:highlight>
                    <a:srgbClr val="FBF8F2"/>
                  </a:highlight>
                  <a:latin typeface="Pfizer Tomorrow"/>
                </a:rPr>
                <a:t> </a:t>
              </a:r>
              <a:r>
                <a:rPr lang="en-US" sz="1400" b="1" err="1">
                  <a:solidFill>
                    <a:srgbClr val="0000C9"/>
                  </a:solidFill>
                  <a:highlight>
                    <a:srgbClr val="FBF8F2"/>
                  </a:highlight>
                  <a:latin typeface="Pfizer Tomorrow"/>
                </a:rPr>
                <a:t>yolu</a:t>
              </a:r>
              <a:r>
                <a:rPr lang="en-US" sz="1400" b="1">
                  <a:solidFill>
                    <a:srgbClr val="0000C9"/>
                  </a:solidFill>
                  <a:highlight>
                    <a:srgbClr val="FBF8F2"/>
                  </a:highlight>
                  <a:latin typeface="Pfizer Tomorrow"/>
                </a:rPr>
                <a:t> </a:t>
              </a:r>
              <a:r>
                <a:rPr lang="en-US" sz="1400" b="1" err="1">
                  <a:solidFill>
                    <a:srgbClr val="0000C9"/>
                  </a:solidFill>
                  <a:highlight>
                    <a:srgbClr val="FBF8F2"/>
                  </a:highlight>
                  <a:latin typeface="Pfizer Tomorrow"/>
                </a:rPr>
                <a:t>hastalıklarına</a:t>
              </a:r>
              <a:r>
                <a:rPr lang="en-US" sz="1400" b="1">
                  <a:solidFill>
                    <a:srgbClr val="0000C9"/>
                  </a:solidFill>
                  <a:highlight>
                    <a:srgbClr val="FBF8F2"/>
                  </a:highlight>
                  <a:latin typeface="Pfizer Tomorrow"/>
                </a:rPr>
                <a:t> </a:t>
              </a:r>
              <a:r>
                <a:rPr lang="en-US" sz="1400" b="1" err="1">
                  <a:solidFill>
                    <a:srgbClr val="0000C9"/>
                  </a:solidFill>
                  <a:highlight>
                    <a:srgbClr val="FBF8F2"/>
                  </a:highlight>
                  <a:latin typeface="Pfizer Tomorrow"/>
                </a:rPr>
                <a:t>bağlı</a:t>
              </a:r>
              <a:r>
                <a:rPr lang="en-US" sz="1400" b="1">
                  <a:solidFill>
                    <a:srgbClr val="0000C9"/>
                  </a:solidFill>
                  <a:highlight>
                    <a:srgbClr val="FBF8F2"/>
                  </a:highlight>
                  <a:latin typeface="Pfizer Tomorrow"/>
                </a:rPr>
                <a:t> </a:t>
              </a:r>
              <a:r>
                <a:rPr lang="en-US" sz="1400" b="1" err="1">
                  <a:solidFill>
                    <a:srgbClr val="0000C9"/>
                  </a:solidFill>
                  <a:highlight>
                    <a:srgbClr val="FBF8F2"/>
                  </a:highlight>
                  <a:latin typeface="Pfizer Tomorrow"/>
                </a:rPr>
                <a:t>ölüm</a:t>
              </a:r>
              <a:r>
                <a:rPr lang="en-US" sz="1400" b="1">
                  <a:solidFill>
                    <a:srgbClr val="0000C9"/>
                  </a:solidFill>
                  <a:highlight>
                    <a:srgbClr val="FBF8F2"/>
                  </a:highlight>
                  <a:latin typeface="Pfizer Tomorrow"/>
                </a:rPr>
                <a:t> </a:t>
              </a:r>
              <a:r>
                <a:rPr lang="en-US" sz="1400" b="1" err="1">
                  <a:solidFill>
                    <a:srgbClr val="0000C9"/>
                  </a:solidFill>
                  <a:highlight>
                    <a:srgbClr val="FBF8F2"/>
                  </a:highlight>
                  <a:latin typeface="Pfizer Tomorrow"/>
                </a:rPr>
                <a:t>riski</a:t>
              </a:r>
              <a:r>
                <a:rPr lang="en-US" sz="1400" b="1">
                  <a:solidFill>
                    <a:srgbClr val="0000C9"/>
                  </a:solidFill>
                  <a:highlight>
                    <a:srgbClr val="FBF8F2"/>
                  </a:highlight>
                  <a:latin typeface="Pfizer Tomorrow"/>
                </a:rPr>
                <a:t> </a:t>
              </a:r>
              <a:r>
                <a:rPr lang="en-US" sz="1400" b="1" err="1">
                  <a:solidFill>
                    <a:srgbClr val="0000C9"/>
                  </a:solidFill>
                  <a:highlight>
                    <a:srgbClr val="FBF8F2"/>
                  </a:highlight>
                  <a:latin typeface="Pfizer Tomorrow"/>
                </a:rPr>
                <a:t>yaşla</a:t>
              </a:r>
              <a:r>
                <a:rPr lang="en-US" sz="1400" b="1">
                  <a:solidFill>
                    <a:srgbClr val="0000C9"/>
                  </a:solidFill>
                  <a:highlight>
                    <a:srgbClr val="FBF8F2"/>
                  </a:highlight>
                  <a:latin typeface="Pfizer Tomorrow"/>
                </a:rPr>
                <a:t> </a:t>
              </a:r>
              <a:r>
                <a:rPr lang="en-US" sz="1400" b="1" err="1">
                  <a:solidFill>
                    <a:srgbClr val="0000C9"/>
                  </a:solidFill>
                  <a:highlight>
                    <a:srgbClr val="FBF8F2"/>
                  </a:highlight>
                  <a:latin typeface="Pfizer Tomorrow"/>
                </a:rPr>
                <a:t>birlikte</a:t>
              </a:r>
              <a:r>
                <a:rPr lang="en-US" sz="1400" b="1">
                  <a:solidFill>
                    <a:srgbClr val="0000C9"/>
                  </a:solidFill>
                  <a:highlight>
                    <a:srgbClr val="FBF8F2"/>
                  </a:highlight>
                  <a:latin typeface="Pfizer Tomorrow"/>
                </a:rPr>
                <a:t> </a:t>
              </a:r>
              <a:r>
                <a:rPr lang="en-US" sz="1400" b="1" err="1">
                  <a:solidFill>
                    <a:srgbClr val="0000C9"/>
                  </a:solidFill>
                  <a:highlight>
                    <a:srgbClr val="FBF8F2"/>
                  </a:highlight>
                  <a:latin typeface="Pfizer Tomorrow"/>
                </a:rPr>
                <a:t>katlanarak</a:t>
              </a:r>
              <a:r>
                <a:rPr lang="en-US" sz="1400" b="1">
                  <a:solidFill>
                    <a:srgbClr val="0000C9"/>
                  </a:solidFill>
                  <a:highlight>
                    <a:srgbClr val="FBF8F2"/>
                  </a:highlight>
                  <a:latin typeface="Pfizer Tomorrow"/>
                </a:rPr>
                <a:t> </a:t>
              </a:r>
              <a:r>
                <a:rPr lang="en-US" sz="1400" b="1" err="1">
                  <a:solidFill>
                    <a:srgbClr val="0000C9"/>
                  </a:solidFill>
                  <a:highlight>
                    <a:srgbClr val="FBF8F2"/>
                  </a:highlight>
                  <a:latin typeface="Pfizer Tomorrow"/>
                </a:rPr>
                <a:t>artar</a:t>
              </a:r>
              <a:r>
                <a:rPr lang="en-US" sz="1400" b="1">
                  <a:solidFill>
                    <a:srgbClr val="0000C9"/>
                  </a:solidFill>
                  <a:highlight>
                    <a:srgbClr val="FBF8F2"/>
                  </a:highlight>
                  <a:latin typeface="Pfizer Tomorrow"/>
                </a:rPr>
                <a:t>. </a:t>
              </a:r>
              <a:r>
                <a:rPr lang="en-US" sz="1400" b="1" baseline="30000">
                  <a:solidFill>
                    <a:srgbClr val="0000C9"/>
                  </a:solidFill>
                  <a:highlight>
                    <a:srgbClr val="FBF8F2"/>
                  </a:highlight>
                  <a:latin typeface="Pfizer Tomorrow"/>
                </a:rPr>
                <a:t>2,3,</a:t>
              </a:r>
              <a:r>
                <a:rPr lang="en-GB" sz="1400" b="1" baseline="30000">
                  <a:solidFill>
                    <a:schemeClr val="accent1"/>
                  </a:solidFill>
                  <a:highlight>
                    <a:srgbClr val="FBF8F2"/>
                  </a:highlight>
                </a:rPr>
                <a:t>†</a:t>
              </a:r>
              <a:r>
                <a:rPr lang="en-US" sz="1400" b="1">
                  <a:solidFill>
                    <a:srgbClr val="0000C9"/>
                  </a:solidFill>
                  <a:highlight>
                    <a:srgbClr val="FBF8F2"/>
                  </a:highlight>
                  <a:latin typeface="Pfizer Tomorrow"/>
                </a:rPr>
                <a:t> </a:t>
              </a:r>
              <a:endParaRPr lang="en-US" sz="1400" b="1">
                <a:solidFill>
                  <a:schemeClr val="accent1"/>
                </a:solidFill>
                <a:highlight>
                  <a:srgbClr val="FBF8F2"/>
                </a:highlight>
                <a:latin typeface="Pfizer Tomorrow"/>
              </a:endParaRPr>
            </a:p>
          </p:txBody>
        </p:sp>
        <p:sp>
          <p:nvSpPr>
            <p:cNvPr id="11" name="TextBox 10">
              <a:extLst>
                <a:ext uri="{FF2B5EF4-FFF2-40B4-BE49-F238E27FC236}">
                  <a16:creationId xmlns:a16="http://schemas.microsoft.com/office/drawing/2014/main" id="{A35DDEA2-AEFA-BF71-D80A-D141D9EE60FC}"/>
                </a:ext>
              </a:extLst>
            </p:cNvPr>
            <p:cNvSpPr txBox="1"/>
            <p:nvPr/>
          </p:nvSpPr>
          <p:spPr>
            <a:xfrm>
              <a:off x="5781240" y="2519511"/>
              <a:ext cx="369332" cy="1543884"/>
            </a:xfrm>
            <a:prstGeom prst="rect">
              <a:avLst/>
            </a:prstGeom>
            <a:noFill/>
          </p:spPr>
          <p:txBody>
            <a:bodyPr vert="vert270" wrap="none" rtlCol="0">
              <a:spAutoFit/>
            </a:bodyPr>
            <a:lstStyle/>
            <a:p>
              <a:pPr algn="ctr">
                <a:defRPr/>
              </a:pPr>
              <a:r>
                <a:rPr lang="en-US" sz="1200" b="1">
                  <a:latin typeface="Pfizer Diatype Office" panose="020B0504040202060203" pitchFamily="34" charset="0"/>
                </a:rPr>
                <a:t>Göreceli ölüm riski</a:t>
              </a:r>
            </a:p>
          </p:txBody>
        </p:sp>
        <p:cxnSp>
          <p:nvCxnSpPr>
            <p:cNvPr id="7" name="Straight Connector 6">
              <a:extLst>
                <a:ext uri="{FF2B5EF4-FFF2-40B4-BE49-F238E27FC236}">
                  <a16:creationId xmlns:a16="http://schemas.microsoft.com/office/drawing/2014/main" id="{AE85F42D-EEEA-0EBB-BEC2-4F789099583B}"/>
                </a:ext>
              </a:extLst>
            </p:cNvPr>
            <p:cNvCxnSpPr/>
            <p:nvPr/>
          </p:nvCxnSpPr>
          <p:spPr>
            <a:xfrm flipH="1">
              <a:off x="4409809" y="2117207"/>
              <a:ext cx="236220" cy="0"/>
            </a:xfrm>
            <a:prstGeom prst="line">
              <a:avLst/>
            </a:prstGeom>
            <a:noFill/>
            <a:ln w="28575" cap="sq">
              <a:solidFill>
                <a:schemeClr val="accent2"/>
              </a:solidFill>
              <a:prstDash val="solid"/>
              <a:miter/>
            </a:ln>
          </p:spPr>
        </p:cxnSp>
        <p:sp>
          <p:nvSpPr>
            <p:cNvPr id="9" name="TextBox 8">
              <a:extLst>
                <a:ext uri="{FF2B5EF4-FFF2-40B4-BE49-F238E27FC236}">
                  <a16:creationId xmlns:a16="http://schemas.microsoft.com/office/drawing/2014/main" id="{3D76F5E4-6CD5-B8B7-FA3A-6C9FF488C45A}"/>
                </a:ext>
              </a:extLst>
            </p:cNvPr>
            <p:cNvSpPr txBox="1"/>
            <p:nvPr/>
          </p:nvSpPr>
          <p:spPr>
            <a:xfrm>
              <a:off x="2260036" y="2051418"/>
              <a:ext cx="565924" cy="184666"/>
            </a:xfrm>
            <a:prstGeom prst="rect">
              <a:avLst/>
            </a:prstGeom>
            <a:noFill/>
          </p:spPr>
          <p:txBody>
            <a:bodyPr wrap="none" lIns="0" tIns="0" rIns="0" bIns="0" rtlCol="0">
              <a:spAutoFit/>
            </a:bodyPr>
            <a:lstStyle/>
            <a:p>
              <a:r>
                <a:rPr lang="en-US" sz="1200">
                  <a:solidFill>
                    <a:schemeClr val="accent1"/>
                  </a:solidFill>
                </a:rPr>
                <a:t>5 yaş altı</a:t>
              </a:r>
            </a:p>
          </p:txBody>
        </p:sp>
        <p:cxnSp>
          <p:nvCxnSpPr>
            <p:cNvPr id="59" name="Straight Connector 58">
              <a:extLst>
                <a:ext uri="{FF2B5EF4-FFF2-40B4-BE49-F238E27FC236}">
                  <a16:creationId xmlns:a16="http://schemas.microsoft.com/office/drawing/2014/main" id="{21624979-E85B-19E6-384C-FDD49632C8AF}"/>
                </a:ext>
              </a:extLst>
            </p:cNvPr>
            <p:cNvCxnSpPr/>
            <p:nvPr/>
          </p:nvCxnSpPr>
          <p:spPr>
            <a:xfrm flipH="1">
              <a:off x="1979853" y="2118618"/>
              <a:ext cx="236220" cy="0"/>
            </a:xfrm>
            <a:prstGeom prst="line">
              <a:avLst/>
            </a:prstGeom>
            <a:noFill/>
            <a:ln w="28575" cap="sq">
              <a:solidFill>
                <a:schemeClr val="accent1"/>
              </a:solidFill>
              <a:prstDash val="solid"/>
              <a:miter/>
            </a:ln>
          </p:spPr>
        </p:cxnSp>
        <p:sp>
          <p:nvSpPr>
            <p:cNvPr id="60" name="TextBox 59">
              <a:extLst>
                <a:ext uri="{FF2B5EF4-FFF2-40B4-BE49-F238E27FC236}">
                  <a16:creationId xmlns:a16="http://schemas.microsoft.com/office/drawing/2014/main" id="{89227C5B-C2EC-6E6D-E830-E3BF7143CA06}"/>
                </a:ext>
              </a:extLst>
            </p:cNvPr>
            <p:cNvSpPr txBox="1"/>
            <p:nvPr/>
          </p:nvSpPr>
          <p:spPr>
            <a:xfrm>
              <a:off x="3523383" y="2271331"/>
              <a:ext cx="844847" cy="184666"/>
            </a:xfrm>
            <a:prstGeom prst="rect">
              <a:avLst/>
            </a:prstGeom>
            <a:noFill/>
          </p:spPr>
          <p:txBody>
            <a:bodyPr wrap="none" lIns="0" tIns="0" rIns="0" bIns="0" rtlCol="0">
              <a:spAutoFit/>
            </a:bodyPr>
            <a:lstStyle/>
            <a:p>
              <a:r>
                <a:rPr lang="en-US" sz="1200">
                  <a:solidFill>
                    <a:schemeClr val="accent5"/>
                  </a:solidFill>
                </a:rPr>
                <a:t>50</a:t>
              </a:r>
              <a:r>
                <a:rPr lang="en-US" sz="1200">
                  <a:solidFill>
                    <a:schemeClr val="accent5"/>
                  </a:solidFill>
                  <a:cs typeface="Arial" panose="020B0604020202020204" pitchFamily="34" charset="0"/>
                </a:rPr>
                <a:t>-</a:t>
              </a:r>
              <a:r>
                <a:rPr lang="en-US" sz="1200">
                  <a:solidFill>
                    <a:schemeClr val="accent5"/>
                  </a:solidFill>
                </a:rPr>
                <a:t>69 </a:t>
              </a:r>
              <a:r>
                <a:rPr lang="en-US" sz="1200" err="1">
                  <a:solidFill>
                    <a:schemeClr val="accent5"/>
                  </a:solidFill>
                </a:rPr>
                <a:t>yaş</a:t>
              </a:r>
              <a:r>
                <a:rPr lang="en-US" sz="1200">
                  <a:solidFill>
                    <a:schemeClr val="accent5"/>
                  </a:solidFill>
                </a:rPr>
                <a:t> </a:t>
              </a:r>
              <a:r>
                <a:rPr lang="en-US" sz="1200" err="1">
                  <a:solidFill>
                    <a:schemeClr val="accent5"/>
                  </a:solidFill>
                </a:rPr>
                <a:t>arası</a:t>
              </a:r>
              <a:endParaRPr lang="en-US" sz="1200">
                <a:solidFill>
                  <a:schemeClr val="accent5"/>
                </a:solidFill>
              </a:endParaRPr>
            </a:p>
          </p:txBody>
        </p:sp>
        <p:cxnSp>
          <p:nvCxnSpPr>
            <p:cNvPr id="77" name="Straight Connector 76">
              <a:extLst>
                <a:ext uri="{FF2B5EF4-FFF2-40B4-BE49-F238E27FC236}">
                  <a16:creationId xmlns:a16="http://schemas.microsoft.com/office/drawing/2014/main" id="{F2B51BE5-CB02-BF34-6262-9A9B95A58D2B}"/>
                </a:ext>
              </a:extLst>
            </p:cNvPr>
            <p:cNvCxnSpPr/>
            <p:nvPr/>
          </p:nvCxnSpPr>
          <p:spPr>
            <a:xfrm flipH="1">
              <a:off x="3243200" y="2338531"/>
              <a:ext cx="236220" cy="0"/>
            </a:xfrm>
            <a:prstGeom prst="line">
              <a:avLst/>
            </a:prstGeom>
            <a:noFill/>
            <a:ln w="28575" cap="sq">
              <a:solidFill>
                <a:schemeClr val="accent5"/>
              </a:solidFill>
              <a:prstDash val="solid"/>
              <a:miter/>
            </a:ln>
          </p:spPr>
        </p:cxnSp>
        <p:sp>
          <p:nvSpPr>
            <p:cNvPr id="97" name="TextBox 96">
              <a:extLst>
                <a:ext uri="{FF2B5EF4-FFF2-40B4-BE49-F238E27FC236}">
                  <a16:creationId xmlns:a16="http://schemas.microsoft.com/office/drawing/2014/main" id="{2B714B4E-F88E-3AFD-F7A3-874EE9BC37CD}"/>
                </a:ext>
              </a:extLst>
            </p:cNvPr>
            <p:cNvSpPr txBox="1"/>
            <p:nvPr/>
          </p:nvSpPr>
          <p:spPr>
            <a:xfrm>
              <a:off x="3357981" y="2050876"/>
              <a:ext cx="807978" cy="184666"/>
            </a:xfrm>
            <a:prstGeom prst="rect">
              <a:avLst/>
            </a:prstGeom>
            <a:noFill/>
          </p:spPr>
          <p:txBody>
            <a:bodyPr wrap="none" lIns="0" tIns="0" rIns="0" bIns="0" rtlCol="0">
              <a:spAutoFit/>
            </a:bodyPr>
            <a:lstStyle/>
            <a:p>
              <a:r>
                <a:rPr lang="en-US" sz="1200">
                  <a:solidFill>
                    <a:schemeClr val="accent5">
                      <a:lumMod val="50000"/>
                    </a:schemeClr>
                  </a:solidFill>
                </a:rPr>
                <a:t>15-49 </a:t>
              </a:r>
              <a:r>
                <a:rPr lang="en-US" sz="1200" err="1">
                  <a:solidFill>
                    <a:schemeClr val="accent5">
                      <a:lumMod val="50000"/>
                    </a:schemeClr>
                  </a:solidFill>
                </a:rPr>
                <a:t>yaş</a:t>
              </a:r>
              <a:r>
                <a:rPr lang="en-US" sz="1200">
                  <a:solidFill>
                    <a:schemeClr val="accent5">
                      <a:lumMod val="50000"/>
                    </a:schemeClr>
                  </a:solidFill>
                </a:rPr>
                <a:t> </a:t>
              </a:r>
              <a:r>
                <a:rPr lang="en-US" sz="1200" err="1">
                  <a:solidFill>
                    <a:schemeClr val="accent5">
                      <a:lumMod val="50000"/>
                    </a:schemeClr>
                  </a:solidFill>
                </a:rPr>
                <a:t>arası</a:t>
              </a:r>
              <a:endParaRPr lang="en-US" sz="1200">
                <a:solidFill>
                  <a:schemeClr val="accent5">
                    <a:lumMod val="50000"/>
                  </a:schemeClr>
                </a:solidFill>
              </a:endParaRPr>
            </a:p>
          </p:txBody>
        </p:sp>
        <p:cxnSp>
          <p:nvCxnSpPr>
            <p:cNvPr id="98" name="Straight Connector 97">
              <a:extLst>
                <a:ext uri="{FF2B5EF4-FFF2-40B4-BE49-F238E27FC236}">
                  <a16:creationId xmlns:a16="http://schemas.microsoft.com/office/drawing/2014/main" id="{4FB59043-0B73-BCE8-BF2E-ED41EC1086E9}"/>
                </a:ext>
              </a:extLst>
            </p:cNvPr>
            <p:cNvCxnSpPr/>
            <p:nvPr/>
          </p:nvCxnSpPr>
          <p:spPr>
            <a:xfrm flipH="1">
              <a:off x="3077798" y="2118076"/>
              <a:ext cx="236220" cy="0"/>
            </a:xfrm>
            <a:prstGeom prst="line">
              <a:avLst/>
            </a:prstGeom>
            <a:noFill/>
            <a:ln w="28575" cap="flat">
              <a:solidFill>
                <a:schemeClr val="accent5">
                  <a:lumMod val="50000"/>
                </a:schemeClr>
              </a:solidFill>
              <a:prstDash val="solid"/>
              <a:miter/>
            </a:ln>
          </p:spPr>
        </p:cxnSp>
        <p:sp>
          <p:nvSpPr>
            <p:cNvPr id="99" name="TextBox 98">
              <a:extLst>
                <a:ext uri="{FF2B5EF4-FFF2-40B4-BE49-F238E27FC236}">
                  <a16:creationId xmlns:a16="http://schemas.microsoft.com/office/drawing/2014/main" id="{3733214B-A4BE-43F1-4BD4-609F8375AF57}"/>
                </a:ext>
              </a:extLst>
            </p:cNvPr>
            <p:cNvSpPr txBox="1"/>
            <p:nvPr/>
          </p:nvSpPr>
          <p:spPr>
            <a:xfrm>
              <a:off x="2260036" y="2249538"/>
              <a:ext cx="716606" cy="184666"/>
            </a:xfrm>
            <a:prstGeom prst="rect">
              <a:avLst/>
            </a:prstGeom>
            <a:noFill/>
          </p:spPr>
          <p:txBody>
            <a:bodyPr wrap="none" lIns="0" tIns="0" rIns="0" bIns="0" rtlCol="0">
              <a:spAutoFit/>
            </a:bodyPr>
            <a:lstStyle/>
            <a:p>
              <a:r>
                <a:rPr lang="en-US" sz="1200">
                  <a:solidFill>
                    <a:schemeClr val="accent3"/>
                  </a:solidFill>
                </a:rPr>
                <a:t>5-14 yaş arası</a:t>
              </a:r>
            </a:p>
          </p:txBody>
        </p:sp>
        <p:cxnSp>
          <p:nvCxnSpPr>
            <p:cNvPr id="100" name="Straight Connector 99">
              <a:extLst>
                <a:ext uri="{FF2B5EF4-FFF2-40B4-BE49-F238E27FC236}">
                  <a16:creationId xmlns:a16="http://schemas.microsoft.com/office/drawing/2014/main" id="{579562AD-5666-137F-E5B3-537F87FDFD3A}"/>
                </a:ext>
              </a:extLst>
            </p:cNvPr>
            <p:cNvCxnSpPr>
              <a:cxnSpLocks/>
            </p:cNvCxnSpPr>
            <p:nvPr/>
          </p:nvCxnSpPr>
          <p:spPr>
            <a:xfrm flipH="1">
              <a:off x="1970211" y="2316738"/>
              <a:ext cx="237600" cy="0"/>
            </a:xfrm>
            <a:prstGeom prst="line">
              <a:avLst/>
            </a:prstGeom>
            <a:noFill/>
            <a:ln w="28575" cap="flat">
              <a:solidFill>
                <a:schemeClr val="accent3"/>
              </a:solidFill>
              <a:prstDash val="solid"/>
              <a:miter/>
            </a:ln>
          </p:spPr>
        </p:cxnSp>
        <p:sp>
          <p:nvSpPr>
            <p:cNvPr id="2" name="TextBox 1">
              <a:extLst>
                <a:ext uri="{FF2B5EF4-FFF2-40B4-BE49-F238E27FC236}">
                  <a16:creationId xmlns:a16="http://schemas.microsoft.com/office/drawing/2014/main" id="{FE5D48C4-2BD5-3789-7E63-4DA5901D0CBA}"/>
                </a:ext>
              </a:extLst>
            </p:cNvPr>
            <p:cNvSpPr txBox="1"/>
            <p:nvPr/>
          </p:nvSpPr>
          <p:spPr>
            <a:xfrm>
              <a:off x="3122891" y="5266896"/>
              <a:ext cx="307328" cy="184666"/>
            </a:xfrm>
            <a:prstGeom prst="rect">
              <a:avLst/>
            </a:prstGeom>
            <a:noFill/>
          </p:spPr>
          <p:txBody>
            <a:bodyPr wrap="none" lIns="0" tIns="0" rIns="0" bIns="0" rtlCol="0">
              <a:spAutoFit/>
            </a:bodyPr>
            <a:lstStyle/>
            <a:p>
              <a:pPr algn="ctr"/>
              <a:r>
                <a:rPr lang="en-US" sz="1200" b="1"/>
                <a:t>Yıl</a:t>
              </a:r>
            </a:p>
          </p:txBody>
        </p:sp>
        <p:sp>
          <p:nvSpPr>
            <p:cNvPr id="36" name="TextBox 35">
              <a:extLst>
                <a:ext uri="{FF2B5EF4-FFF2-40B4-BE49-F238E27FC236}">
                  <a16:creationId xmlns:a16="http://schemas.microsoft.com/office/drawing/2014/main" id="{ADD34BC7-BF6E-6A57-948E-5EAC3F4475EF}"/>
                </a:ext>
              </a:extLst>
            </p:cNvPr>
            <p:cNvSpPr txBox="1"/>
            <p:nvPr/>
          </p:nvSpPr>
          <p:spPr>
            <a:xfrm>
              <a:off x="577181" y="2345203"/>
              <a:ext cx="369332" cy="1800301"/>
            </a:xfrm>
            <a:prstGeom prst="rect">
              <a:avLst/>
            </a:prstGeom>
            <a:noFill/>
          </p:spPr>
          <p:txBody>
            <a:bodyPr vert="vert270" wrap="none" rtlCol="0">
              <a:spAutoFit/>
            </a:bodyPr>
            <a:lstStyle/>
            <a:p>
              <a:pPr algn="ctr">
                <a:defRPr/>
              </a:pPr>
              <a:r>
                <a:rPr lang="en-US" sz="1200" b="1">
                  <a:latin typeface="Pfizer Diatype Office" panose="020B0504040202060203" pitchFamily="34" charset="0"/>
                </a:rPr>
                <a:t>100.000 </a:t>
              </a:r>
              <a:r>
                <a:rPr lang="en-US" sz="1200" b="1" err="1">
                  <a:latin typeface="Pfizer Diatype Office" panose="020B0504040202060203" pitchFamily="34" charset="0"/>
                </a:rPr>
                <a:t>kişi</a:t>
              </a:r>
              <a:r>
                <a:rPr lang="en-US" sz="1200" b="1">
                  <a:latin typeface="Pfizer Diatype Office" panose="020B0504040202060203" pitchFamily="34" charset="0"/>
                </a:rPr>
                <a:t> </a:t>
              </a:r>
              <a:r>
                <a:rPr lang="en-US" sz="1200" b="1" err="1">
                  <a:latin typeface="Pfizer Diatype Office" panose="020B0504040202060203" pitchFamily="34" charset="0"/>
                </a:rPr>
                <a:t>başına</a:t>
              </a:r>
              <a:r>
                <a:rPr lang="en-US" sz="1200" b="1">
                  <a:latin typeface="Pfizer Diatype Office" panose="020B0504040202060203" pitchFamily="34" charset="0"/>
                </a:rPr>
                <a:t> </a:t>
              </a:r>
              <a:r>
                <a:rPr lang="en-US" sz="1200" b="1" err="1">
                  <a:latin typeface="Pfizer Diatype Office" panose="020B0504040202060203" pitchFamily="34" charset="0"/>
                </a:rPr>
                <a:t>ölüm</a:t>
              </a:r>
              <a:endParaRPr lang="en-US" sz="1200" b="1">
                <a:latin typeface="Pfizer Diatype Office" panose="020B0504040202060203" pitchFamily="34" charset="0"/>
              </a:endParaRPr>
            </a:p>
          </p:txBody>
        </p:sp>
      </p:grpSp>
      <p:grpSp>
        <p:nvGrpSpPr>
          <p:cNvPr id="54" name="Group 53">
            <a:extLst>
              <a:ext uri="{FF2B5EF4-FFF2-40B4-BE49-F238E27FC236}">
                <a16:creationId xmlns:a16="http://schemas.microsoft.com/office/drawing/2014/main" id="{31D9B256-F660-8E7B-BE7C-BC5545C40D9B}"/>
              </a:ext>
            </a:extLst>
          </p:cNvPr>
          <p:cNvGrpSpPr/>
          <p:nvPr/>
        </p:nvGrpSpPr>
        <p:grpSpPr>
          <a:xfrm>
            <a:off x="9513903" y="6320005"/>
            <a:ext cx="1895426" cy="453867"/>
            <a:chOff x="9513903" y="6320005"/>
            <a:chExt cx="1895426" cy="453867"/>
          </a:xfrm>
        </p:grpSpPr>
        <p:pic>
          <p:nvPicPr>
            <p:cNvPr id="55" name="Picture 54" descr="A yellow and blue logo&#10;&#10;Description automatically generated">
              <a:extLst>
                <a:ext uri="{FF2B5EF4-FFF2-40B4-BE49-F238E27FC236}">
                  <a16:creationId xmlns:a16="http://schemas.microsoft.com/office/drawing/2014/main" id="{9570D947-5546-9D43-A0EA-E1214E2A5429}"/>
                </a:ext>
              </a:extLst>
            </p:cNvPr>
            <p:cNvPicPr>
              <a:picLocks noChangeAspect="1"/>
            </p:cNvPicPr>
            <p:nvPr/>
          </p:nvPicPr>
          <p:blipFill>
            <a:blip r:embed="rId5">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58" name="Picture 57" descr="A black and blue logo&#10;&#10;AI-generated content may be incorrect.">
              <a:extLst>
                <a:ext uri="{FF2B5EF4-FFF2-40B4-BE49-F238E27FC236}">
                  <a16:creationId xmlns:a16="http://schemas.microsoft.com/office/drawing/2014/main" id="{A17FF0FF-CB5D-B473-378D-0797BF23AEE5}"/>
                </a:ext>
              </a:extLst>
            </p:cNvPr>
            <p:cNvPicPr>
              <a:picLocks noChangeAspect="1"/>
            </p:cNvPicPr>
            <p:nvPr/>
          </p:nvPicPr>
          <p:blipFill>
            <a:blip r:embed="rId6"/>
            <a:stretch>
              <a:fillRect/>
            </a:stretch>
          </p:blipFill>
          <p:spPr>
            <a:xfrm>
              <a:off x="9513903" y="6494969"/>
              <a:ext cx="981021" cy="204067"/>
            </a:xfrm>
            <a:prstGeom prst="rect">
              <a:avLst/>
            </a:prstGeom>
          </p:spPr>
        </p:pic>
      </p:grpSp>
    </p:spTree>
    <p:extLst>
      <p:ext uri="{BB962C8B-B14F-4D97-AF65-F5344CB8AC3E}">
        <p14:creationId xmlns:p14="http://schemas.microsoft.com/office/powerpoint/2010/main" val="143582585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1926CB-44C7-C0BC-50A1-B392255175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F15109-48B8-6CB7-878A-858FAD44C125}"/>
              </a:ext>
            </a:extLst>
          </p:cNvPr>
          <p:cNvSpPr>
            <a:spLocks noGrp="1"/>
          </p:cNvSpPr>
          <p:nvPr>
            <p:ph type="title"/>
          </p:nvPr>
        </p:nvSpPr>
        <p:spPr>
          <a:xfrm>
            <a:off x="613152" y="221942"/>
            <a:ext cx="10969218" cy="815898"/>
          </a:xfrm>
        </p:spPr>
        <p:txBody>
          <a:bodyPr anchor="ctr">
            <a:normAutofit fontScale="90000"/>
          </a:bodyPr>
          <a:lstStyle/>
          <a:p>
            <a:r>
              <a:rPr lang="en-US" sz="3200" dirty="0" err="1">
                <a:solidFill>
                  <a:srgbClr val="FFFFFF"/>
                </a:solidFill>
              </a:rPr>
              <a:t>Sonuçlar</a:t>
            </a:r>
            <a:r>
              <a:rPr lang="en-US" sz="3200" dirty="0">
                <a:solidFill>
                  <a:srgbClr val="FFFFFF"/>
                </a:solidFill>
              </a:rPr>
              <a:t>: </a:t>
            </a:r>
            <a:r>
              <a:rPr lang="en-US" sz="3200" dirty="0" err="1">
                <a:solidFill>
                  <a:srgbClr val="FFFFFF"/>
                </a:solidFill>
              </a:rPr>
              <a:t>İngiltere'de</a:t>
            </a:r>
            <a:r>
              <a:rPr lang="en-US" sz="3200" dirty="0">
                <a:solidFill>
                  <a:srgbClr val="FFFFFF"/>
                </a:solidFill>
              </a:rPr>
              <a:t> Yaşa </a:t>
            </a:r>
            <a:r>
              <a:rPr lang="en-US" sz="3200" dirty="0" err="1">
                <a:solidFill>
                  <a:srgbClr val="FFFFFF"/>
                </a:solidFill>
              </a:rPr>
              <a:t>göre</a:t>
            </a:r>
            <a:r>
              <a:rPr lang="en-US" sz="3200" dirty="0">
                <a:solidFill>
                  <a:srgbClr val="FFFFFF"/>
                </a:solidFill>
              </a:rPr>
              <a:t> RSV </a:t>
            </a:r>
            <a:r>
              <a:rPr lang="en-US" sz="3200" dirty="0" err="1">
                <a:solidFill>
                  <a:srgbClr val="FFFFFF"/>
                </a:solidFill>
              </a:rPr>
              <a:t>ile</a:t>
            </a:r>
            <a:r>
              <a:rPr lang="en-US" sz="3200" dirty="0">
                <a:solidFill>
                  <a:srgbClr val="FFFFFF"/>
                </a:solidFill>
              </a:rPr>
              <a:t> </a:t>
            </a:r>
            <a:r>
              <a:rPr lang="en-US" sz="3200" dirty="0" err="1">
                <a:solidFill>
                  <a:srgbClr val="FFFFFF"/>
                </a:solidFill>
              </a:rPr>
              <a:t>ilişkili</a:t>
            </a:r>
            <a:r>
              <a:rPr lang="en-US" sz="3200" dirty="0">
                <a:solidFill>
                  <a:srgbClr val="FFFFFF"/>
                </a:solidFill>
              </a:rPr>
              <a:t> </a:t>
            </a:r>
            <a:r>
              <a:rPr lang="en-US" sz="3200" dirty="0" err="1">
                <a:solidFill>
                  <a:srgbClr val="FFFFFF"/>
                </a:solidFill>
              </a:rPr>
              <a:t>Hastaneye</a:t>
            </a:r>
            <a:r>
              <a:rPr lang="en-US" sz="3200" dirty="0">
                <a:solidFill>
                  <a:srgbClr val="FFFFFF"/>
                </a:solidFill>
              </a:rPr>
              <a:t> </a:t>
            </a:r>
            <a:r>
              <a:rPr lang="en-US" sz="3200" dirty="0" err="1">
                <a:solidFill>
                  <a:srgbClr val="FFFFFF"/>
                </a:solidFill>
              </a:rPr>
              <a:t>Yatışlar</a:t>
            </a:r>
            <a:endParaRPr lang="tr-TR" sz="3200" dirty="0">
              <a:solidFill>
                <a:schemeClr val="bg1"/>
              </a:solidFill>
              <a:latin typeface="+mj-lt"/>
            </a:endParaRPr>
          </a:p>
        </p:txBody>
      </p:sp>
      <p:sp>
        <p:nvSpPr>
          <p:cNvPr id="3" name="Slide Number Placeholder 2">
            <a:extLst>
              <a:ext uri="{FF2B5EF4-FFF2-40B4-BE49-F238E27FC236}">
                <a16:creationId xmlns:a16="http://schemas.microsoft.com/office/drawing/2014/main" id="{E4661323-E7DC-5044-B39B-ED192748DE8A}"/>
              </a:ext>
            </a:extLst>
          </p:cNvPr>
          <p:cNvSpPr>
            <a:spLocks noGrp="1"/>
          </p:cNvSpPr>
          <p:nvPr>
            <p:ph type="sldNum" sz="quarter" idx="4"/>
          </p:nvPr>
        </p:nvSpPr>
        <p:spPr/>
        <p:txBody>
          <a:bodyPr/>
          <a:lstStyle/>
          <a:p>
            <a:fld id="{2B39012A-6F33-204B-8224-A57BEFB0AAD0}" type="slidenum">
              <a:rPr lang="en-US" smtClean="0">
                <a:latin typeface="+mj-lt"/>
              </a:rPr>
              <a:pPr/>
              <a:t>90</a:t>
            </a:fld>
            <a:endParaRPr lang="en-US">
              <a:latin typeface="+mj-lt"/>
            </a:endParaRPr>
          </a:p>
        </p:txBody>
      </p:sp>
      <p:pic>
        <p:nvPicPr>
          <p:cNvPr id="4" name="Resim 5" descr="metin, çizgi, ekran görüntüsü, diyagram içeren bir resim&#10;&#10;Yapay zeka tarafından oluşturulmuş içerik yanlış olabilir.">
            <a:extLst>
              <a:ext uri="{FF2B5EF4-FFF2-40B4-BE49-F238E27FC236}">
                <a16:creationId xmlns:a16="http://schemas.microsoft.com/office/drawing/2014/main" id="{CC03C5C6-C521-AD23-285C-9D3DE15BB59E}"/>
              </a:ext>
            </a:extLst>
          </p:cNvPr>
          <p:cNvPicPr>
            <a:picLocks noChangeAspect="1"/>
          </p:cNvPicPr>
          <p:nvPr/>
        </p:nvPicPr>
        <p:blipFill>
          <a:blip r:embed="rId2"/>
          <a:srcRect b="19155"/>
          <a:stretch>
            <a:fillRect/>
          </a:stretch>
        </p:blipFill>
        <p:spPr>
          <a:xfrm>
            <a:off x="1047705" y="2003613"/>
            <a:ext cx="9407664" cy="3409167"/>
          </a:xfrm>
          <a:prstGeom prst="rect">
            <a:avLst/>
          </a:prstGeom>
        </p:spPr>
      </p:pic>
      <p:sp>
        <p:nvSpPr>
          <p:cNvPr id="6" name="Metin kutusu 6">
            <a:extLst>
              <a:ext uri="{FF2B5EF4-FFF2-40B4-BE49-F238E27FC236}">
                <a16:creationId xmlns:a16="http://schemas.microsoft.com/office/drawing/2014/main" id="{DF9E4871-9D4C-01DA-6825-0C7BD76859CE}"/>
              </a:ext>
            </a:extLst>
          </p:cNvPr>
          <p:cNvSpPr txBox="1"/>
          <p:nvPr/>
        </p:nvSpPr>
        <p:spPr>
          <a:xfrm>
            <a:off x="2703536" y="1506319"/>
            <a:ext cx="7100863" cy="369332"/>
          </a:xfrm>
          <a:prstGeom prst="rect">
            <a:avLst/>
          </a:prstGeom>
          <a:noFill/>
        </p:spPr>
        <p:txBody>
          <a:bodyPr wrap="square">
            <a:spAutoFit/>
          </a:bodyPr>
          <a:lstStyle/>
          <a:p>
            <a:pPr marL="0" marR="0" lvl="0" indent="0" algn="l" defTabSz="914400" rtl="0" eaLnBrk="1" fontAlgn="auto" latinLnBrk="0" hangingPunct="1">
              <a:lnSpc>
                <a:spcPct val="90000"/>
              </a:lnSpc>
              <a:spcBef>
                <a:spcPts val="400"/>
              </a:spcBef>
              <a:spcAft>
                <a:spcPts val="0"/>
              </a:spcAft>
              <a:buClrTx/>
              <a:buSzTx/>
              <a:buNone/>
              <a:tabLst/>
              <a:defRPr/>
            </a:pPr>
            <a:r>
              <a:rPr kumimoji="0" lang="en-US" sz="2000" b="1" i="0" u="none" strike="noStrike" kern="1200" cap="none" spc="-50" normalizeH="0" baseline="0" noProof="0">
                <a:ln>
                  <a:noFill/>
                </a:ln>
                <a:solidFill>
                  <a:srgbClr val="02005E"/>
                </a:solidFill>
                <a:effectLst/>
                <a:uLnTx/>
                <a:uFillTx/>
                <a:latin typeface="Pfizer Tomorrow" panose="02010503040201060303" pitchFamily="50" charset="0"/>
                <a:cs typeface="Calibri" panose="020F0502020204030204" pitchFamily="34" charset="0"/>
              </a:rPr>
              <a:t>RSV </a:t>
            </a:r>
            <a:r>
              <a:rPr lang="en-US" sz="2000" b="1" spc="-50">
                <a:solidFill>
                  <a:srgbClr val="02005E"/>
                </a:solidFill>
                <a:latin typeface="Pfizer Tomorrow" panose="02010503040201060303" pitchFamily="50" charset="0"/>
                <a:cs typeface="Calibri" panose="020F0502020204030204" pitchFamily="34" charset="0"/>
              </a:rPr>
              <a:t>p</a:t>
            </a:r>
            <a:r>
              <a:rPr kumimoji="0" lang="en-US" sz="2000" b="1" i="0" u="none" strike="noStrike" kern="1200" cap="none" spc="-50" normalizeH="0" baseline="0" noProof="0" err="1">
                <a:ln>
                  <a:noFill/>
                </a:ln>
                <a:solidFill>
                  <a:srgbClr val="02005E"/>
                </a:solidFill>
                <a:effectLst/>
                <a:uLnTx/>
                <a:uFillTx/>
                <a:latin typeface="Pfizer Tomorrow" panose="02010503040201060303" pitchFamily="50" charset="0"/>
                <a:cs typeface="Calibri" panose="020F0502020204030204" pitchFamily="34" charset="0"/>
              </a:rPr>
              <a:t>reF</a:t>
            </a:r>
            <a:r>
              <a:rPr kumimoji="0" lang="en-US" sz="2000" b="1" i="0" u="none" strike="noStrike" kern="1200" cap="none" spc="-50" normalizeH="0" baseline="0" noProof="0">
                <a:ln>
                  <a:noFill/>
                </a:ln>
                <a:solidFill>
                  <a:srgbClr val="02005E"/>
                </a:solidFill>
                <a:effectLst/>
                <a:uLnTx/>
                <a:uFillTx/>
                <a:latin typeface="Pfizer Tomorrow" panose="02010503040201060303" pitchFamily="50" charset="0"/>
                <a:cs typeface="Calibri" panose="020F0502020204030204" pitchFamily="34" charset="0"/>
              </a:rPr>
              <a:t> </a:t>
            </a:r>
            <a:r>
              <a:rPr kumimoji="0" lang="en-US" sz="2000" b="1" i="0" u="none" strike="noStrike" kern="1200" cap="none" spc="-50" normalizeH="0" baseline="0" noProof="0" err="1">
                <a:ln>
                  <a:noFill/>
                </a:ln>
                <a:solidFill>
                  <a:srgbClr val="02005E"/>
                </a:solidFill>
                <a:effectLst/>
                <a:uLnTx/>
                <a:uFillTx/>
                <a:latin typeface="Pfizer Tomorrow" panose="02010503040201060303" pitchFamily="50" charset="0"/>
                <a:cs typeface="Calibri" panose="020F0502020204030204" pitchFamily="34" charset="0"/>
              </a:rPr>
              <a:t>aşısının</a:t>
            </a:r>
            <a:r>
              <a:rPr kumimoji="0" lang="en-US" sz="2000" b="1" i="0" u="none" strike="noStrike" kern="1200" cap="none" spc="-50" normalizeH="0" baseline="0" noProof="0">
                <a:ln>
                  <a:noFill/>
                </a:ln>
                <a:solidFill>
                  <a:srgbClr val="02005E"/>
                </a:solidFill>
                <a:effectLst/>
                <a:uLnTx/>
                <a:uFillTx/>
                <a:latin typeface="Pfizer Tomorrow" panose="02010503040201060303" pitchFamily="50" charset="0"/>
                <a:cs typeface="Calibri" panose="020F0502020204030204" pitchFamily="34" charset="0"/>
              </a:rPr>
              <a:t> RSV </a:t>
            </a:r>
            <a:r>
              <a:rPr kumimoji="0" lang="en-US" sz="2000" b="1" i="0" u="none" strike="noStrike" kern="1200" cap="none" spc="-50" normalizeH="0" baseline="0" noProof="0" err="1">
                <a:ln>
                  <a:noFill/>
                </a:ln>
                <a:solidFill>
                  <a:srgbClr val="02005E"/>
                </a:solidFill>
                <a:effectLst/>
                <a:uLnTx/>
                <a:uFillTx/>
                <a:latin typeface="Pfizer Tomorrow" panose="02010503040201060303" pitchFamily="50" charset="0"/>
                <a:cs typeface="Calibri" panose="020F0502020204030204" pitchFamily="34" charset="0"/>
              </a:rPr>
              <a:t>ilişkili</a:t>
            </a:r>
            <a:r>
              <a:rPr kumimoji="0" lang="en-US" sz="2000" b="1" i="0" u="none" strike="noStrike" kern="1200" cap="none" spc="-50" normalizeH="0" baseline="0" noProof="0">
                <a:ln>
                  <a:noFill/>
                </a:ln>
                <a:solidFill>
                  <a:srgbClr val="02005E"/>
                </a:solidFill>
                <a:effectLst/>
                <a:uLnTx/>
                <a:uFillTx/>
                <a:latin typeface="Pfizer Tomorrow" panose="02010503040201060303" pitchFamily="50" charset="0"/>
                <a:cs typeface="Calibri" panose="020F0502020204030204" pitchFamily="34" charset="0"/>
              </a:rPr>
              <a:t> </a:t>
            </a:r>
            <a:r>
              <a:rPr kumimoji="0" lang="en-US" sz="2000" b="1" i="0" u="none" strike="noStrike" kern="1200" cap="none" spc="-50" normalizeH="0" baseline="0" noProof="0" err="1">
                <a:ln>
                  <a:noFill/>
                </a:ln>
                <a:solidFill>
                  <a:srgbClr val="02005E"/>
                </a:solidFill>
                <a:effectLst/>
                <a:uLnTx/>
                <a:uFillTx/>
                <a:latin typeface="Pfizer Tomorrow" panose="02010503040201060303" pitchFamily="50" charset="0"/>
                <a:cs typeface="Calibri" panose="020F0502020204030204" pitchFamily="34" charset="0"/>
              </a:rPr>
              <a:t>hastane</a:t>
            </a:r>
            <a:r>
              <a:rPr kumimoji="0" lang="en-US" sz="2000" b="1" i="0" u="none" strike="noStrike" kern="1200" cap="none" spc="-50" normalizeH="0" baseline="0" noProof="0">
                <a:ln>
                  <a:noFill/>
                </a:ln>
                <a:solidFill>
                  <a:srgbClr val="02005E"/>
                </a:solidFill>
                <a:effectLst/>
                <a:uLnTx/>
                <a:uFillTx/>
                <a:latin typeface="Pfizer Tomorrow" panose="02010503040201060303" pitchFamily="50" charset="0"/>
                <a:cs typeface="Calibri" panose="020F0502020204030204" pitchFamily="34" charset="0"/>
              </a:rPr>
              <a:t> </a:t>
            </a:r>
            <a:r>
              <a:rPr kumimoji="0" lang="en-US" sz="2000" b="1" i="0" u="none" strike="noStrike" kern="1200" cap="none" spc="-50" normalizeH="0" baseline="0" noProof="0" err="1">
                <a:ln>
                  <a:noFill/>
                </a:ln>
                <a:solidFill>
                  <a:srgbClr val="02005E"/>
                </a:solidFill>
                <a:effectLst/>
                <a:uLnTx/>
                <a:uFillTx/>
                <a:latin typeface="Pfizer Tomorrow" panose="02010503040201060303" pitchFamily="50" charset="0"/>
                <a:cs typeface="Calibri" panose="020F0502020204030204" pitchFamily="34" charset="0"/>
              </a:rPr>
              <a:t>yatış</a:t>
            </a:r>
            <a:r>
              <a:rPr kumimoji="0" lang="en-US" sz="2000" b="1" i="0" u="none" strike="noStrike" kern="1200" cap="none" spc="-50" normalizeH="0" baseline="0" noProof="0">
                <a:ln>
                  <a:noFill/>
                </a:ln>
                <a:solidFill>
                  <a:srgbClr val="02005E"/>
                </a:solidFill>
                <a:effectLst/>
                <a:uLnTx/>
                <a:uFillTx/>
                <a:latin typeface="Pfizer Tomorrow" panose="02010503040201060303" pitchFamily="50" charset="0"/>
                <a:cs typeface="Calibri" panose="020F0502020204030204" pitchFamily="34" charset="0"/>
              </a:rPr>
              <a:t> </a:t>
            </a:r>
            <a:r>
              <a:rPr kumimoji="0" lang="en-US" sz="2000" b="1" i="0" u="none" strike="noStrike" kern="1200" cap="none" spc="-50" normalizeH="0" baseline="0" noProof="0" err="1">
                <a:ln>
                  <a:noFill/>
                </a:ln>
                <a:solidFill>
                  <a:srgbClr val="02005E"/>
                </a:solidFill>
                <a:effectLst/>
                <a:uLnTx/>
                <a:uFillTx/>
                <a:latin typeface="Pfizer Tomorrow" panose="02010503040201060303" pitchFamily="50" charset="0"/>
                <a:cs typeface="Calibri" panose="020F0502020204030204" pitchFamily="34" charset="0"/>
              </a:rPr>
              <a:t>üzerine</a:t>
            </a:r>
            <a:r>
              <a:rPr kumimoji="0" lang="en-US" sz="2000" b="1" i="0" u="none" strike="noStrike" kern="1200" cap="none" spc="-50" normalizeH="0" baseline="0" noProof="0">
                <a:ln>
                  <a:noFill/>
                </a:ln>
                <a:solidFill>
                  <a:srgbClr val="02005E"/>
                </a:solidFill>
                <a:effectLst/>
                <a:uLnTx/>
                <a:uFillTx/>
                <a:latin typeface="Pfizer Tomorrow" panose="02010503040201060303" pitchFamily="50" charset="0"/>
                <a:cs typeface="Calibri" panose="020F0502020204030204" pitchFamily="34" charset="0"/>
              </a:rPr>
              <a:t> </a:t>
            </a:r>
            <a:r>
              <a:rPr kumimoji="0" lang="en-US" sz="2000" b="1" i="0" u="none" strike="noStrike" kern="1200" cap="none" spc="-50" normalizeH="0" baseline="0" noProof="0" err="1">
                <a:ln>
                  <a:noFill/>
                </a:ln>
                <a:solidFill>
                  <a:srgbClr val="02005E"/>
                </a:solidFill>
                <a:effectLst/>
                <a:uLnTx/>
                <a:uFillTx/>
                <a:latin typeface="Pfizer Tomorrow" panose="02010503040201060303" pitchFamily="50" charset="0"/>
                <a:cs typeface="Calibri" panose="020F0502020204030204" pitchFamily="34" charset="0"/>
              </a:rPr>
              <a:t>etkisi</a:t>
            </a:r>
            <a:endParaRPr kumimoji="0" lang="en-US" sz="2000" b="1" i="0" u="none" strike="noStrike" kern="1200" cap="none" spc="-50" normalizeH="0" baseline="0" noProof="0">
              <a:ln>
                <a:noFill/>
              </a:ln>
              <a:solidFill>
                <a:srgbClr val="02005E"/>
              </a:solidFill>
              <a:effectLst/>
              <a:uLnTx/>
              <a:uFillTx/>
              <a:latin typeface="Pfizer Tomorrow" panose="02010503040201060303" pitchFamily="50" charset="0"/>
              <a:cs typeface="Calibri" panose="020F0502020204030204" pitchFamily="34" charset="0"/>
            </a:endParaRPr>
          </a:p>
        </p:txBody>
      </p:sp>
      <p:sp>
        <p:nvSpPr>
          <p:cNvPr id="9" name="Text Placeholder 14">
            <a:extLst>
              <a:ext uri="{FF2B5EF4-FFF2-40B4-BE49-F238E27FC236}">
                <a16:creationId xmlns:a16="http://schemas.microsoft.com/office/drawing/2014/main" id="{2EB53237-5939-2774-DA7C-2974B92AA4DD}"/>
              </a:ext>
            </a:extLst>
          </p:cNvPr>
          <p:cNvSpPr txBox="1">
            <a:spLocks/>
          </p:cNvSpPr>
          <p:nvPr/>
        </p:nvSpPr>
        <p:spPr bwMode="gray">
          <a:xfrm>
            <a:off x="3928381" y="6250591"/>
            <a:ext cx="3646312" cy="381939"/>
          </a:xfrm>
          <a:prstGeom prst="rect">
            <a:avLst/>
          </a:prstGeom>
        </p:spPr>
        <p:txBody>
          <a:bodyPr lIns="91440" tIns="45720" rIns="91440" bIns="45720" anchor="ctr"/>
          <a:lstStyle>
            <a:lvl1pPr marL="228600" indent="-228600" algn="l" defTabSz="914400" rtl="0" eaLnBrk="1" latinLnBrk="0" hangingPunct="1">
              <a:lnSpc>
                <a:spcPct val="85000"/>
              </a:lnSpc>
              <a:spcBef>
                <a:spcPts val="200"/>
              </a:spcBef>
              <a:buClr>
                <a:schemeClr val="accent2"/>
              </a:buClr>
              <a:buSzPct val="85000"/>
              <a:buFont typeface="Pfizer Diatype Office" pitchFamily="34" charset="0"/>
              <a:buNone/>
              <a:tabLst>
                <a:tab pos="174625" algn="r"/>
                <a:tab pos="228600" algn="l"/>
              </a:tabLst>
              <a:defRPr lang="en-US" sz="950" kern="1200" spc="0" dirty="0">
                <a:solidFill>
                  <a:srgbClr val="02005E"/>
                </a:solidFill>
                <a:latin typeface="+mn-lt"/>
                <a:ea typeface="+mn-ea"/>
                <a:cs typeface="Pfizer Diatype Office" pitchFamily="34" charset="0"/>
              </a:defRPr>
            </a:lvl1pPr>
            <a:lvl2pPr marL="685629" indent="-228543" algn="l" defTabSz="914171" rtl="0" eaLnBrk="1" latinLnBrk="0" hangingPunct="1">
              <a:lnSpc>
                <a:spcPct val="90000"/>
              </a:lnSpc>
              <a:spcBef>
                <a:spcPts val="500"/>
              </a:spcBef>
              <a:buFont typeface="Pfizer Diatype Office"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Pfizer Diatype Office"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9pPr>
          </a:lstStyle>
          <a:p>
            <a:pPr algn="ctr">
              <a:buClr>
                <a:srgbClr val="0095FF"/>
              </a:buClr>
              <a:defRPr/>
            </a:pPr>
            <a:r>
              <a:rPr lang="en-US" sz="800" b="1">
                <a:latin typeface="Pfizer Tomorrow" panose="02010503040201060303" pitchFamily="50" charset="0"/>
                <a:cs typeface="Calibri" panose="020F0502020204030204" pitchFamily="34" charset="0"/>
              </a:rPr>
              <a:t>Mensah A, et al</a:t>
            </a:r>
            <a:r>
              <a:rPr lang="en-US" sz="800">
                <a:latin typeface="Pfizer Tomorrow" panose="02010503040201060303" pitchFamily="50" charset="0"/>
                <a:cs typeface="Calibri" panose="020F0502020204030204" pitchFamily="34" charset="0"/>
              </a:rPr>
              <a:t>, </a:t>
            </a:r>
            <a:r>
              <a:rPr lang="en-US" sz="800" i="1">
                <a:latin typeface="Pfizer Tomorrow" panose="02010503040201060303" pitchFamily="50" charset="0"/>
                <a:cs typeface="Calibri" panose="020F0502020204030204" pitchFamily="34" charset="0"/>
              </a:rPr>
              <a:t>Lancet</a:t>
            </a:r>
            <a:r>
              <a:rPr lang="en-US" sz="800">
                <a:latin typeface="Pfizer Tomorrow" panose="02010503040201060303" pitchFamily="50" charset="0"/>
                <a:cs typeface="Calibri" panose="020F0502020204030204" pitchFamily="34" charset="0"/>
              </a:rPr>
              <a:t> 2025; doi.org/10.1016/ S0140-6736(25)00346-0.</a:t>
            </a:r>
            <a:endParaRPr lang="en-US" sz="800" i="1">
              <a:latin typeface="Pfizer Tomorrow" panose="02010503040201060303" pitchFamily="50" charset="0"/>
              <a:cs typeface="Calibri" panose="020F0502020204030204" pitchFamily="34" charset="0"/>
            </a:endParaRPr>
          </a:p>
        </p:txBody>
      </p:sp>
      <p:pic>
        <p:nvPicPr>
          <p:cNvPr id="10" name="Picture 9" descr="A black and blue logo&#10;&#10;AI-generated content may be incorrect.">
            <a:extLst>
              <a:ext uri="{FF2B5EF4-FFF2-40B4-BE49-F238E27FC236}">
                <a16:creationId xmlns:a16="http://schemas.microsoft.com/office/drawing/2014/main" id="{FE1E83BC-E324-8D4C-093A-F2327A6E3234}"/>
              </a:ext>
            </a:extLst>
          </p:cNvPr>
          <p:cNvPicPr>
            <a:picLocks noChangeAspect="1"/>
          </p:cNvPicPr>
          <p:nvPr/>
        </p:nvPicPr>
        <p:blipFill>
          <a:blip r:embed="rId3"/>
          <a:stretch>
            <a:fillRect/>
          </a:stretch>
        </p:blipFill>
        <p:spPr>
          <a:xfrm>
            <a:off x="10466403" y="6494969"/>
            <a:ext cx="981021" cy="204067"/>
          </a:xfrm>
          <a:prstGeom prst="rect">
            <a:avLst/>
          </a:prstGeom>
        </p:spPr>
      </p:pic>
      <p:sp>
        <p:nvSpPr>
          <p:cNvPr id="5" name="Rectangle: Rounded Corners 4">
            <a:extLst>
              <a:ext uri="{FF2B5EF4-FFF2-40B4-BE49-F238E27FC236}">
                <a16:creationId xmlns:a16="http://schemas.microsoft.com/office/drawing/2014/main" id="{F2F6B320-21FA-1A7C-F89D-0BE197D5974E}"/>
              </a:ext>
            </a:extLst>
          </p:cNvPr>
          <p:cNvSpPr/>
          <p:nvPr/>
        </p:nvSpPr>
        <p:spPr>
          <a:xfrm>
            <a:off x="9349258" y="1411032"/>
            <a:ext cx="931090" cy="340811"/>
          </a:xfrm>
          <a:prstGeom prst="roundRect">
            <a:avLst/>
          </a:prstGeom>
          <a:solidFill>
            <a:schemeClr val="accent1"/>
          </a:solidFill>
          <a:ln w="28575" cap="flat" cmpd="sng" algn="ctr">
            <a:noFill/>
            <a:prstDash val="solid"/>
            <a:miter lim="800000"/>
            <a:headEnd type="none" w="med" len="med"/>
            <a:tailEnd type="none" w="med" len="med"/>
          </a:ln>
          <a:effectLst/>
        </p:spPr>
        <p:txBody>
          <a:bodyPr vert="horz" wrap="square" lIns="68572" tIns="0" rIns="68572" bIns="0" numCol="1" rtlCol="0" anchor="ctr" anchorCtr="0" compatLnSpc="1">
            <a:prstTxWarp prst="textNoShape">
              <a:avLst/>
            </a:prstTxWarp>
            <a:noAutofit/>
          </a:bodyPr>
          <a:lstStyle/>
          <a:p>
            <a:pPr algn="ctr" defTabSz="171390" fontAlgn="base">
              <a:lnSpc>
                <a:spcPct val="90000"/>
              </a:lnSpc>
              <a:spcAft>
                <a:spcPct val="0"/>
              </a:spcAft>
              <a:buClr>
                <a:srgbClr val="0095FF"/>
              </a:buClr>
              <a:buSzPct val="90000"/>
              <a:defRPr/>
            </a:pPr>
            <a:r>
              <a:rPr lang="en-US" sz="1050" b="1" err="1">
                <a:solidFill>
                  <a:srgbClr val="FFFFFF"/>
                </a:solidFill>
                <a:latin typeface="Pfizer Tomorrow"/>
              </a:rPr>
              <a:t>Kasım</a:t>
            </a:r>
            <a:r>
              <a:rPr lang="en-US" sz="1050" b="1">
                <a:solidFill>
                  <a:srgbClr val="FFFFFF"/>
                </a:solidFill>
                <a:latin typeface="Pfizer Tomorrow"/>
              </a:rPr>
              <a:t> 2024</a:t>
            </a:r>
          </a:p>
        </p:txBody>
      </p:sp>
      <p:sp>
        <p:nvSpPr>
          <p:cNvPr id="7" name="Rectangle: Rounded Corners 6">
            <a:extLst>
              <a:ext uri="{FF2B5EF4-FFF2-40B4-BE49-F238E27FC236}">
                <a16:creationId xmlns:a16="http://schemas.microsoft.com/office/drawing/2014/main" id="{4B8C219C-39CF-B46F-0FBC-0DC082938633}"/>
              </a:ext>
            </a:extLst>
          </p:cNvPr>
          <p:cNvSpPr/>
          <p:nvPr/>
        </p:nvSpPr>
        <p:spPr>
          <a:xfrm>
            <a:off x="10798303" y="1428763"/>
            <a:ext cx="931090" cy="331652"/>
          </a:xfrm>
          <a:prstGeom prst="roundRect">
            <a:avLst/>
          </a:prstGeom>
          <a:solidFill>
            <a:schemeClr val="accent1"/>
          </a:solidFill>
          <a:ln w="28575" cap="flat" cmpd="sng" algn="ctr">
            <a:noFill/>
            <a:prstDash val="solid"/>
            <a:miter lim="800000"/>
            <a:headEnd type="none" w="med" len="med"/>
            <a:tailEnd type="none" w="med" len="med"/>
          </a:ln>
          <a:effectLst/>
        </p:spPr>
        <p:txBody>
          <a:bodyPr vert="horz" wrap="square" lIns="68572" tIns="0" rIns="68572" bIns="0" numCol="1" rtlCol="0" anchor="ctr" anchorCtr="0" compatLnSpc="1">
            <a:prstTxWarp prst="textNoShape">
              <a:avLst/>
            </a:prstTxWarp>
            <a:noAutofit/>
          </a:bodyPr>
          <a:lstStyle/>
          <a:p>
            <a:pPr algn="ctr" defTabSz="171390" fontAlgn="base">
              <a:lnSpc>
                <a:spcPct val="90000"/>
              </a:lnSpc>
              <a:spcAft>
                <a:spcPct val="0"/>
              </a:spcAft>
              <a:buClr>
                <a:srgbClr val="0095FF"/>
              </a:buClr>
              <a:buSzPct val="90000"/>
              <a:defRPr/>
            </a:pPr>
            <a:r>
              <a:rPr lang="en-US" sz="1050" b="1" dirty="0">
                <a:solidFill>
                  <a:srgbClr val="FFFFFF"/>
                </a:solidFill>
                <a:latin typeface="Pfizer Tomorrow"/>
              </a:rPr>
              <a:t>Ocak 2025</a:t>
            </a:r>
          </a:p>
        </p:txBody>
      </p:sp>
      <p:graphicFrame>
        <p:nvGraphicFramePr>
          <p:cNvPr id="11" name="Chart 10">
            <a:extLst>
              <a:ext uri="{FF2B5EF4-FFF2-40B4-BE49-F238E27FC236}">
                <a16:creationId xmlns:a16="http://schemas.microsoft.com/office/drawing/2014/main" id="{189E9047-B521-3669-8C55-18A936198B0D}"/>
              </a:ext>
            </a:extLst>
          </p:cNvPr>
          <p:cNvGraphicFramePr/>
          <p:nvPr>
            <p:extLst>
              <p:ext uri="{D42A27DB-BD31-4B8C-83A1-F6EECF244321}">
                <p14:modId xmlns:p14="http://schemas.microsoft.com/office/powerpoint/2010/main" val="2583389360"/>
              </p:ext>
            </p:extLst>
          </p:nvPr>
        </p:nvGraphicFramePr>
        <p:xfrm>
          <a:off x="8787505" y="1769476"/>
          <a:ext cx="2068483" cy="114930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EF63F593-A4C0-B2C4-223A-79BFDF3E658B}"/>
              </a:ext>
            </a:extLst>
          </p:cNvPr>
          <p:cNvGraphicFramePr/>
          <p:nvPr>
            <p:extLst>
              <p:ext uri="{D42A27DB-BD31-4B8C-83A1-F6EECF244321}">
                <p14:modId xmlns:p14="http://schemas.microsoft.com/office/powerpoint/2010/main" val="3523259772"/>
              </p:ext>
            </p:extLst>
          </p:nvPr>
        </p:nvGraphicFramePr>
        <p:xfrm>
          <a:off x="10466403" y="1769476"/>
          <a:ext cx="1534618" cy="1149308"/>
        </p:xfrm>
        <a:graphic>
          <a:graphicData uri="http://schemas.openxmlformats.org/drawingml/2006/chart">
            <c:chart xmlns:c="http://schemas.openxmlformats.org/drawingml/2006/chart" xmlns:r="http://schemas.openxmlformats.org/officeDocument/2006/relationships" r:id="rId5"/>
          </a:graphicData>
        </a:graphic>
      </p:graphicFrame>
      <p:sp>
        <p:nvSpPr>
          <p:cNvPr id="17" name="TextBox 16">
            <a:extLst>
              <a:ext uri="{FF2B5EF4-FFF2-40B4-BE49-F238E27FC236}">
                <a16:creationId xmlns:a16="http://schemas.microsoft.com/office/drawing/2014/main" id="{767F47DD-45EE-70EB-A82E-71BA0020665C}"/>
              </a:ext>
            </a:extLst>
          </p:cNvPr>
          <p:cNvSpPr txBox="1"/>
          <p:nvPr/>
        </p:nvSpPr>
        <p:spPr>
          <a:xfrm>
            <a:off x="9465970" y="2017918"/>
            <a:ext cx="734495" cy="424732"/>
          </a:xfrm>
          <a:prstGeom prst="rect">
            <a:avLst/>
          </a:prstGeom>
          <a:noFill/>
        </p:spPr>
        <p:txBody>
          <a:bodyPr wrap="none" rtlCol="0">
            <a:spAutoFit/>
          </a:bodyPr>
          <a:lstStyle/>
          <a:p>
            <a:pPr algn="ctr" defTabSz="685800">
              <a:lnSpc>
                <a:spcPct val="90000"/>
              </a:lnSpc>
              <a:defRPr/>
            </a:pPr>
            <a:r>
              <a:rPr lang="en-US" sz="800" dirty="0" err="1">
                <a:solidFill>
                  <a:srgbClr val="02005E"/>
                </a:solidFill>
                <a:latin typeface="Arial" panose="020B0604020202020204"/>
              </a:rPr>
              <a:t>Aşı</a:t>
            </a:r>
            <a:endParaRPr lang="en-US" sz="800" dirty="0">
              <a:solidFill>
                <a:srgbClr val="02005E"/>
              </a:solidFill>
              <a:latin typeface="Arial" panose="020B0604020202020204"/>
            </a:endParaRPr>
          </a:p>
          <a:p>
            <a:pPr algn="ctr" defTabSz="685800">
              <a:lnSpc>
                <a:spcPct val="90000"/>
              </a:lnSpc>
              <a:defRPr/>
            </a:pPr>
            <a:r>
              <a:rPr lang="en-US" sz="800" dirty="0" err="1">
                <a:solidFill>
                  <a:srgbClr val="02005E"/>
                </a:solidFill>
                <a:latin typeface="Arial" panose="020B0604020202020204"/>
              </a:rPr>
              <a:t>Uygulanma</a:t>
            </a:r>
            <a:r>
              <a:rPr lang="en-US" sz="800" dirty="0">
                <a:solidFill>
                  <a:srgbClr val="02005E"/>
                </a:solidFill>
                <a:latin typeface="Arial" panose="020B0604020202020204"/>
              </a:rPr>
              <a:t> </a:t>
            </a:r>
          </a:p>
          <a:p>
            <a:pPr algn="ctr" defTabSz="685800">
              <a:lnSpc>
                <a:spcPct val="90000"/>
              </a:lnSpc>
              <a:defRPr/>
            </a:pPr>
            <a:r>
              <a:rPr lang="en-US" sz="800" dirty="0" err="1">
                <a:solidFill>
                  <a:srgbClr val="02005E"/>
                </a:solidFill>
                <a:latin typeface="Arial" panose="020B0604020202020204"/>
              </a:rPr>
              <a:t>Oranı</a:t>
            </a:r>
            <a:endParaRPr lang="en-US" sz="800" dirty="0">
              <a:solidFill>
                <a:srgbClr val="02005E"/>
              </a:solidFill>
              <a:latin typeface="Arial" panose="020B0604020202020204"/>
            </a:endParaRPr>
          </a:p>
        </p:txBody>
      </p:sp>
      <p:sp>
        <p:nvSpPr>
          <p:cNvPr id="18" name="TextBox 17">
            <a:extLst>
              <a:ext uri="{FF2B5EF4-FFF2-40B4-BE49-F238E27FC236}">
                <a16:creationId xmlns:a16="http://schemas.microsoft.com/office/drawing/2014/main" id="{780BB9C7-D269-F7EE-6055-2648545A5952}"/>
              </a:ext>
            </a:extLst>
          </p:cNvPr>
          <p:cNvSpPr txBox="1"/>
          <p:nvPr/>
        </p:nvSpPr>
        <p:spPr>
          <a:xfrm>
            <a:off x="9549325" y="2407780"/>
            <a:ext cx="567784" cy="237757"/>
          </a:xfrm>
          <a:prstGeom prst="rect">
            <a:avLst/>
          </a:prstGeom>
          <a:noFill/>
        </p:spPr>
        <p:txBody>
          <a:bodyPr wrap="none" rtlCol="0">
            <a:spAutoFit/>
          </a:bodyPr>
          <a:lstStyle/>
          <a:p>
            <a:pPr algn="ctr" defTabSz="685800">
              <a:lnSpc>
                <a:spcPct val="90000"/>
              </a:lnSpc>
              <a:defRPr/>
            </a:pPr>
            <a:r>
              <a:rPr lang="en-US" sz="1050" b="1">
                <a:solidFill>
                  <a:srgbClr val="02005E"/>
                </a:solidFill>
                <a:latin typeface="Arial" panose="020B0604020202020204"/>
              </a:rPr>
              <a:t>%35,1</a:t>
            </a:r>
          </a:p>
        </p:txBody>
      </p:sp>
      <p:sp>
        <p:nvSpPr>
          <p:cNvPr id="15" name="TextBox 14">
            <a:extLst>
              <a:ext uri="{FF2B5EF4-FFF2-40B4-BE49-F238E27FC236}">
                <a16:creationId xmlns:a16="http://schemas.microsoft.com/office/drawing/2014/main" id="{733F455F-BE9D-5325-3E77-6885CA59A0BB}"/>
              </a:ext>
            </a:extLst>
          </p:cNvPr>
          <p:cNvSpPr txBox="1"/>
          <p:nvPr/>
        </p:nvSpPr>
        <p:spPr>
          <a:xfrm>
            <a:off x="10872609" y="2017918"/>
            <a:ext cx="734495" cy="424732"/>
          </a:xfrm>
          <a:prstGeom prst="rect">
            <a:avLst/>
          </a:prstGeom>
          <a:noFill/>
        </p:spPr>
        <p:txBody>
          <a:bodyPr wrap="none" rtlCol="0">
            <a:spAutoFit/>
          </a:bodyPr>
          <a:lstStyle/>
          <a:p>
            <a:pPr algn="ctr" defTabSz="685800">
              <a:lnSpc>
                <a:spcPct val="90000"/>
              </a:lnSpc>
              <a:defRPr/>
            </a:pPr>
            <a:r>
              <a:rPr lang="en-US" sz="800" dirty="0" err="1">
                <a:solidFill>
                  <a:srgbClr val="02005E"/>
                </a:solidFill>
                <a:latin typeface="Arial" panose="020B0604020202020204"/>
              </a:rPr>
              <a:t>Aşı</a:t>
            </a:r>
            <a:endParaRPr lang="en-US" sz="800" dirty="0">
              <a:solidFill>
                <a:srgbClr val="02005E"/>
              </a:solidFill>
              <a:latin typeface="Arial" panose="020B0604020202020204"/>
            </a:endParaRPr>
          </a:p>
          <a:p>
            <a:pPr algn="ctr" defTabSz="685800">
              <a:lnSpc>
                <a:spcPct val="90000"/>
              </a:lnSpc>
              <a:defRPr/>
            </a:pPr>
            <a:r>
              <a:rPr lang="en-US" sz="800" dirty="0" err="1">
                <a:solidFill>
                  <a:srgbClr val="02005E"/>
                </a:solidFill>
                <a:latin typeface="Arial" panose="020B0604020202020204"/>
              </a:rPr>
              <a:t>Uygulanma</a:t>
            </a:r>
            <a:r>
              <a:rPr lang="en-US" sz="800" dirty="0">
                <a:solidFill>
                  <a:srgbClr val="02005E"/>
                </a:solidFill>
                <a:latin typeface="Arial" panose="020B0604020202020204"/>
              </a:rPr>
              <a:t> </a:t>
            </a:r>
          </a:p>
          <a:p>
            <a:pPr algn="ctr" defTabSz="685800">
              <a:lnSpc>
                <a:spcPct val="90000"/>
              </a:lnSpc>
              <a:defRPr/>
            </a:pPr>
            <a:r>
              <a:rPr lang="en-US" sz="800" dirty="0" err="1">
                <a:solidFill>
                  <a:srgbClr val="02005E"/>
                </a:solidFill>
                <a:latin typeface="Arial" panose="020B0604020202020204"/>
              </a:rPr>
              <a:t>Oranı</a:t>
            </a:r>
            <a:endParaRPr lang="en-US" sz="800" dirty="0">
              <a:solidFill>
                <a:srgbClr val="02005E"/>
              </a:solidFill>
              <a:latin typeface="Arial" panose="020B0604020202020204"/>
            </a:endParaRPr>
          </a:p>
        </p:txBody>
      </p:sp>
      <p:sp>
        <p:nvSpPr>
          <p:cNvPr id="16" name="TextBox 15">
            <a:extLst>
              <a:ext uri="{FF2B5EF4-FFF2-40B4-BE49-F238E27FC236}">
                <a16:creationId xmlns:a16="http://schemas.microsoft.com/office/drawing/2014/main" id="{ADC5058C-7C4D-B981-0981-2DE3E8381524}"/>
              </a:ext>
            </a:extLst>
          </p:cNvPr>
          <p:cNvSpPr txBox="1"/>
          <p:nvPr/>
        </p:nvSpPr>
        <p:spPr>
          <a:xfrm>
            <a:off x="10947950" y="2407780"/>
            <a:ext cx="583813" cy="244682"/>
          </a:xfrm>
          <a:prstGeom prst="rect">
            <a:avLst/>
          </a:prstGeom>
          <a:noFill/>
        </p:spPr>
        <p:txBody>
          <a:bodyPr wrap="none" rtlCol="0">
            <a:spAutoFit/>
          </a:bodyPr>
          <a:lstStyle/>
          <a:p>
            <a:pPr algn="ctr" defTabSz="685800">
              <a:lnSpc>
                <a:spcPct val="90000"/>
              </a:lnSpc>
              <a:defRPr/>
            </a:pPr>
            <a:r>
              <a:rPr lang="en-US" sz="1100" b="1">
                <a:solidFill>
                  <a:srgbClr val="2683C6"/>
                </a:solidFill>
                <a:latin typeface="Arial" panose="020B0604020202020204"/>
              </a:rPr>
              <a:t>%47,4</a:t>
            </a:r>
          </a:p>
        </p:txBody>
      </p:sp>
      <p:sp>
        <p:nvSpPr>
          <p:cNvPr id="24" name="Text Placeholder 4">
            <a:extLst>
              <a:ext uri="{FF2B5EF4-FFF2-40B4-BE49-F238E27FC236}">
                <a16:creationId xmlns:a16="http://schemas.microsoft.com/office/drawing/2014/main" id="{82068314-5E76-35FE-5061-0CF45E06CDD6}"/>
              </a:ext>
            </a:extLst>
          </p:cNvPr>
          <p:cNvSpPr txBox="1">
            <a:spLocks/>
          </p:cNvSpPr>
          <p:nvPr/>
        </p:nvSpPr>
        <p:spPr bwMode="gray">
          <a:xfrm>
            <a:off x="613151" y="5655365"/>
            <a:ext cx="11074023" cy="606916"/>
          </a:xfrm>
          <a:prstGeom prst="round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b="1" i="0" u="none" strike="noStrike" cap="none" normalizeH="0" baseline="0">
                <a:ln>
                  <a:noFill/>
                </a:ln>
                <a:solidFill>
                  <a:schemeClr val="bg1"/>
                </a:solidFill>
                <a:effectLst/>
                <a:latin typeface="Pfizer Tomorrow" panose="02010503040201060303" pitchFamily="2"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defTabSz="171390">
              <a:buClr>
                <a:srgbClr val="0095FF"/>
              </a:buClr>
              <a:defRPr/>
            </a:pPr>
            <a:r>
              <a:rPr lang="en-US" sz="1200" b="0" dirty="0" err="1">
                <a:solidFill>
                  <a:schemeClr val="bg1">
                    <a:lumMod val="50000"/>
                  </a:schemeClr>
                </a:solidFill>
                <a:latin typeface="Arial" panose="020B0604020202020204"/>
              </a:rPr>
              <a:t>İngiltere'de</a:t>
            </a:r>
            <a:r>
              <a:rPr lang="en-US" sz="1200" b="0" dirty="0">
                <a:solidFill>
                  <a:schemeClr val="bg1">
                    <a:lumMod val="50000"/>
                  </a:schemeClr>
                </a:solidFill>
                <a:latin typeface="Arial" panose="020B0604020202020204"/>
              </a:rPr>
              <a:t> RSV </a:t>
            </a:r>
            <a:r>
              <a:rPr lang="en-US" sz="1200" b="0" dirty="0" err="1">
                <a:solidFill>
                  <a:schemeClr val="bg1">
                    <a:lumMod val="50000"/>
                  </a:schemeClr>
                </a:solidFill>
                <a:latin typeface="Arial" panose="020B0604020202020204"/>
              </a:rPr>
              <a:t>aşısı</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uygulamaya</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girdikten</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sonra</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aşı</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hedef</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kitlesi</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olan</a:t>
            </a:r>
            <a:r>
              <a:rPr lang="en-US" sz="1200" b="0" dirty="0">
                <a:solidFill>
                  <a:schemeClr val="bg1">
                    <a:lumMod val="50000"/>
                  </a:schemeClr>
                </a:solidFill>
                <a:latin typeface="Arial" panose="020B0604020202020204"/>
              </a:rPr>
              <a:t> 75-79 </a:t>
            </a:r>
            <a:r>
              <a:rPr lang="en-US" sz="1200" b="0" dirty="0" err="1">
                <a:solidFill>
                  <a:schemeClr val="bg1">
                    <a:lumMod val="50000"/>
                  </a:schemeClr>
                </a:solidFill>
                <a:latin typeface="Arial" panose="020B0604020202020204"/>
              </a:rPr>
              <a:t>yaş</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aralığındaki</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yetişkinlerde</a:t>
            </a:r>
            <a:r>
              <a:rPr lang="en-US" sz="1200" b="0" dirty="0">
                <a:solidFill>
                  <a:schemeClr val="bg1">
                    <a:lumMod val="50000"/>
                  </a:schemeClr>
                </a:solidFill>
                <a:latin typeface="Arial" panose="020B0604020202020204"/>
              </a:rPr>
              <a:t> </a:t>
            </a:r>
            <a:br>
              <a:rPr lang="en-US" sz="1200" dirty="0">
                <a:solidFill>
                  <a:schemeClr val="bg1">
                    <a:lumMod val="50000"/>
                  </a:schemeClr>
                </a:solidFill>
                <a:latin typeface="Arial" panose="020B0604020202020204"/>
              </a:rPr>
            </a:br>
            <a:r>
              <a:rPr lang="en-US" sz="1800" dirty="0">
                <a:solidFill>
                  <a:srgbClr val="C00000"/>
                </a:solidFill>
                <a:latin typeface="Arial" panose="020B0604020202020204"/>
              </a:rPr>
              <a:t>RSV </a:t>
            </a:r>
            <a:r>
              <a:rPr lang="en-US" sz="1800" dirty="0" err="1">
                <a:solidFill>
                  <a:srgbClr val="C00000"/>
                </a:solidFill>
                <a:latin typeface="Arial" panose="020B0604020202020204"/>
              </a:rPr>
              <a:t>nedeniyle</a:t>
            </a:r>
            <a:r>
              <a:rPr lang="en-US" sz="1800" dirty="0">
                <a:solidFill>
                  <a:srgbClr val="C00000"/>
                </a:solidFill>
                <a:latin typeface="Arial" panose="020B0604020202020204"/>
              </a:rPr>
              <a:t> </a:t>
            </a:r>
            <a:r>
              <a:rPr lang="en-US" sz="1800" dirty="0" err="1">
                <a:solidFill>
                  <a:srgbClr val="C00000"/>
                </a:solidFill>
                <a:latin typeface="Arial" panose="020B0604020202020204"/>
              </a:rPr>
              <a:t>hastaneye</a:t>
            </a:r>
            <a:r>
              <a:rPr lang="en-US" sz="1800" dirty="0">
                <a:solidFill>
                  <a:srgbClr val="C00000"/>
                </a:solidFill>
                <a:latin typeface="Arial" panose="020B0604020202020204"/>
              </a:rPr>
              <a:t> </a:t>
            </a:r>
            <a:r>
              <a:rPr lang="en-US" sz="1800" dirty="0" err="1">
                <a:solidFill>
                  <a:srgbClr val="C00000"/>
                </a:solidFill>
                <a:latin typeface="Arial" panose="020B0604020202020204"/>
              </a:rPr>
              <a:t>yatışlar</a:t>
            </a:r>
            <a:r>
              <a:rPr lang="en-US" sz="120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komşu</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yaş</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gruplarındaki</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beklenen</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orana</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kıyasla</a:t>
            </a:r>
            <a:r>
              <a:rPr lang="en-US" sz="1200" b="0" dirty="0">
                <a:solidFill>
                  <a:schemeClr val="bg1">
                    <a:lumMod val="50000"/>
                  </a:schemeClr>
                </a:solidFill>
                <a:latin typeface="Arial" panose="020B0604020202020204"/>
              </a:rPr>
              <a:t> </a:t>
            </a:r>
            <a:r>
              <a:rPr lang="en-US" sz="1800" dirty="0" err="1">
                <a:solidFill>
                  <a:srgbClr val="C00000"/>
                </a:solidFill>
                <a:latin typeface="Arial" panose="020B0604020202020204"/>
              </a:rPr>
              <a:t>ülke</a:t>
            </a:r>
            <a:r>
              <a:rPr lang="en-US" sz="1800" dirty="0">
                <a:solidFill>
                  <a:srgbClr val="C00000"/>
                </a:solidFill>
                <a:latin typeface="Arial" panose="020B0604020202020204"/>
              </a:rPr>
              <a:t> </a:t>
            </a:r>
            <a:r>
              <a:rPr lang="en-US" sz="1800" dirty="0" err="1">
                <a:solidFill>
                  <a:srgbClr val="C00000"/>
                </a:solidFill>
                <a:latin typeface="Arial" panose="020B0604020202020204"/>
              </a:rPr>
              <a:t>genelinde</a:t>
            </a:r>
            <a:r>
              <a:rPr lang="en-US" sz="1800" dirty="0">
                <a:solidFill>
                  <a:srgbClr val="C00000"/>
                </a:solidFill>
                <a:latin typeface="Arial" panose="020B0604020202020204"/>
              </a:rPr>
              <a:t> %30 </a:t>
            </a:r>
            <a:r>
              <a:rPr lang="en-US" sz="1800" dirty="0" err="1">
                <a:solidFill>
                  <a:srgbClr val="C00000"/>
                </a:solidFill>
                <a:latin typeface="Arial" panose="020B0604020202020204"/>
              </a:rPr>
              <a:t>azaldı</a:t>
            </a:r>
            <a:r>
              <a:rPr lang="en-US" sz="1800" dirty="0">
                <a:solidFill>
                  <a:srgbClr val="C00000"/>
                </a:solidFill>
                <a:latin typeface="Arial" panose="020B0604020202020204"/>
              </a:rPr>
              <a:t>.</a:t>
            </a:r>
            <a:endParaRPr lang="en-US" sz="1200" dirty="0">
              <a:solidFill>
                <a:srgbClr val="C00000"/>
              </a:solidFill>
              <a:latin typeface="Arial" panose="020B0604020202020204"/>
            </a:endParaRPr>
          </a:p>
        </p:txBody>
      </p:sp>
    </p:spTree>
    <p:extLst>
      <p:ext uri="{BB962C8B-B14F-4D97-AF65-F5344CB8AC3E}">
        <p14:creationId xmlns:p14="http://schemas.microsoft.com/office/powerpoint/2010/main" val="206427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5CEDE3-E2AE-2E81-72AF-2A844ECA89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2161C2-35E6-AE80-8498-FD8F73EAEB45}"/>
              </a:ext>
            </a:extLst>
          </p:cNvPr>
          <p:cNvSpPr>
            <a:spLocks noGrp="1"/>
          </p:cNvSpPr>
          <p:nvPr>
            <p:ph type="title"/>
          </p:nvPr>
        </p:nvSpPr>
        <p:spPr>
          <a:xfrm>
            <a:off x="613152" y="221942"/>
            <a:ext cx="10969218" cy="815898"/>
          </a:xfrm>
        </p:spPr>
        <p:txBody>
          <a:bodyPr anchor="ctr">
            <a:normAutofit/>
          </a:bodyPr>
          <a:lstStyle/>
          <a:p>
            <a:r>
              <a:rPr lang="en-US" sz="3200" dirty="0">
                <a:solidFill>
                  <a:srgbClr val="FFFFFF"/>
                </a:solidFill>
              </a:rPr>
              <a:t>RSV </a:t>
            </a:r>
            <a:r>
              <a:rPr lang="en-US" sz="3200" dirty="0" err="1">
                <a:solidFill>
                  <a:srgbClr val="FFFFFF"/>
                </a:solidFill>
              </a:rPr>
              <a:t>Bivalan</a:t>
            </a:r>
            <a:r>
              <a:rPr lang="en-US" sz="3200" dirty="0">
                <a:solidFill>
                  <a:srgbClr val="FFFFFF"/>
                </a:solidFill>
              </a:rPr>
              <a:t> </a:t>
            </a:r>
            <a:r>
              <a:rPr lang="en-US" sz="3200" dirty="0" err="1">
                <a:solidFill>
                  <a:srgbClr val="FFFFFF"/>
                </a:solidFill>
              </a:rPr>
              <a:t>Prefüzyon</a:t>
            </a:r>
            <a:r>
              <a:rPr lang="en-US" sz="3200" dirty="0">
                <a:solidFill>
                  <a:srgbClr val="FFFFFF"/>
                </a:solidFill>
              </a:rPr>
              <a:t> </a:t>
            </a:r>
            <a:r>
              <a:rPr lang="en-US" sz="3200" dirty="0" err="1">
                <a:solidFill>
                  <a:srgbClr val="FFFFFF"/>
                </a:solidFill>
              </a:rPr>
              <a:t>Aşısı</a:t>
            </a:r>
            <a:r>
              <a:rPr lang="en-US" sz="3200" dirty="0">
                <a:solidFill>
                  <a:srgbClr val="FFFFFF"/>
                </a:solidFill>
              </a:rPr>
              <a:t> (RSV-</a:t>
            </a:r>
            <a:r>
              <a:rPr lang="en-US" sz="3200" dirty="0" err="1">
                <a:solidFill>
                  <a:srgbClr val="FFFFFF"/>
                </a:solidFill>
              </a:rPr>
              <a:t>PreF</a:t>
            </a:r>
            <a:r>
              <a:rPr lang="en-US" sz="3200" dirty="0">
                <a:solidFill>
                  <a:srgbClr val="FFFFFF"/>
                </a:solidFill>
              </a:rPr>
              <a:t>)</a:t>
            </a:r>
            <a:endParaRPr lang="tr-TR" sz="3200" dirty="0">
              <a:solidFill>
                <a:schemeClr val="bg1"/>
              </a:solidFill>
              <a:latin typeface="+mj-lt"/>
            </a:endParaRPr>
          </a:p>
        </p:txBody>
      </p:sp>
      <p:sp>
        <p:nvSpPr>
          <p:cNvPr id="3" name="Slide Number Placeholder 2">
            <a:extLst>
              <a:ext uri="{FF2B5EF4-FFF2-40B4-BE49-F238E27FC236}">
                <a16:creationId xmlns:a16="http://schemas.microsoft.com/office/drawing/2014/main" id="{569E24C8-73C8-5D60-D59F-B55BE5840439}"/>
              </a:ext>
            </a:extLst>
          </p:cNvPr>
          <p:cNvSpPr>
            <a:spLocks noGrp="1"/>
          </p:cNvSpPr>
          <p:nvPr>
            <p:ph type="sldNum" sz="quarter" idx="4"/>
          </p:nvPr>
        </p:nvSpPr>
        <p:spPr/>
        <p:txBody>
          <a:bodyPr/>
          <a:lstStyle/>
          <a:p>
            <a:fld id="{2B39012A-6F33-204B-8224-A57BEFB0AAD0}" type="slidenum">
              <a:rPr lang="en-US" smtClean="0">
                <a:latin typeface="+mj-lt"/>
              </a:rPr>
              <a:pPr/>
              <a:t>91</a:t>
            </a:fld>
            <a:endParaRPr lang="en-US">
              <a:latin typeface="+mj-lt"/>
            </a:endParaRPr>
          </a:p>
        </p:txBody>
      </p:sp>
      <p:pic>
        <p:nvPicPr>
          <p:cNvPr id="4" name="Resim 5" descr="metin, ekran görüntüsü, yazı tipi, harita içeren bir resim&#10;&#10;Yapay zeka tarafından oluşturulmuş içerik yanlış olabilir.">
            <a:extLst>
              <a:ext uri="{FF2B5EF4-FFF2-40B4-BE49-F238E27FC236}">
                <a16:creationId xmlns:a16="http://schemas.microsoft.com/office/drawing/2014/main" id="{38970BE5-4CB4-BDF6-0020-1A50E4A815DC}"/>
              </a:ext>
            </a:extLst>
          </p:cNvPr>
          <p:cNvPicPr>
            <a:picLocks noChangeAspect="1"/>
          </p:cNvPicPr>
          <p:nvPr/>
        </p:nvPicPr>
        <p:blipFill>
          <a:blip r:embed="rId3"/>
          <a:stretch>
            <a:fillRect/>
          </a:stretch>
        </p:blipFill>
        <p:spPr>
          <a:xfrm>
            <a:off x="877213" y="1312204"/>
            <a:ext cx="10437570" cy="4925087"/>
          </a:xfrm>
          <a:prstGeom prst="rect">
            <a:avLst/>
          </a:prstGeom>
        </p:spPr>
      </p:pic>
      <p:sp>
        <p:nvSpPr>
          <p:cNvPr id="6" name="object 52">
            <a:extLst>
              <a:ext uri="{FF2B5EF4-FFF2-40B4-BE49-F238E27FC236}">
                <a16:creationId xmlns:a16="http://schemas.microsoft.com/office/drawing/2014/main" id="{2D605A7E-1184-39D0-A46E-2234376EA483}"/>
              </a:ext>
            </a:extLst>
          </p:cNvPr>
          <p:cNvSpPr txBox="1"/>
          <p:nvPr/>
        </p:nvSpPr>
        <p:spPr>
          <a:xfrm>
            <a:off x="1447060" y="6400951"/>
            <a:ext cx="8856828" cy="520655"/>
          </a:xfrm>
          <a:prstGeom prst="rect">
            <a:avLst/>
          </a:prstGeom>
        </p:spPr>
        <p:txBody>
          <a:bodyPr vert="horz" wrap="square" lIns="0" tIns="12700" rIns="0" bIns="0" rtlCol="0">
            <a:spAutoFit/>
          </a:bodyPr>
          <a:lstStyle/>
          <a:p>
            <a:pPr marL="38100" marR="30480" lvl="0" indent="0" defTabSz="914400" eaLnBrk="1" fontAlgn="auto" latinLnBrk="0" hangingPunct="1">
              <a:lnSpc>
                <a:spcPct val="100000"/>
              </a:lnSpc>
              <a:spcBef>
                <a:spcPts val="100"/>
              </a:spcBef>
              <a:spcAft>
                <a:spcPts val="0"/>
              </a:spcAft>
              <a:buClrTx/>
              <a:buSzTx/>
              <a:buFontTx/>
              <a:buNone/>
              <a:tabLst/>
              <a:defRPr/>
            </a:pPr>
            <a:r>
              <a:rPr kumimoji="0" sz="900" b="0" i="0" u="none" strike="noStrike" kern="0" cap="none" spc="0" normalizeH="0" baseline="0" noProof="0">
                <a:ln>
                  <a:noFill/>
                </a:ln>
                <a:solidFill>
                  <a:srgbClr val="000067"/>
                </a:solidFill>
                <a:effectLst/>
                <a:uLnTx/>
                <a:uFillTx/>
                <a:latin typeface="Pfizer Tomorrow" panose="02010503040201060303" pitchFamily="50" charset="0"/>
                <a:cs typeface="Pfizer Diatype Cyrillic"/>
              </a:rPr>
              <a:t>*</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According</a:t>
            </a:r>
            <a:r>
              <a:rPr kumimoji="0" sz="800" b="0" i="0" u="none" strike="noStrike" kern="0" cap="none" spc="-3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to</a:t>
            </a:r>
            <a:r>
              <a:rPr kumimoji="0" sz="800" b="0" i="0" u="none" strike="noStrike" kern="0" cap="none" spc="-3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Eurostat,</a:t>
            </a:r>
            <a:r>
              <a:rPr kumimoji="0" sz="800" b="0" i="0" u="none" strike="noStrike" kern="0" cap="none" spc="-1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EEA</a:t>
            </a:r>
            <a:r>
              <a:rPr kumimoji="0" sz="800" b="0" i="0" u="none" strike="noStrike" kern="0" cap="none" spc="-3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includes</a:t>
            </a:r>
            <a:r>
              <a:rPr kumimoji="0" sz="800" b="0" i="0" u="none" strike="noStrike" kern="0" cap="none" spc="-3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Austria,</a:t>
            </a:r>
            <a:r>
              <a:rPr kumimoji="0" sz="800" b="0" i="0" u="none" strike="noStrike" kern="0" cap="none" spc="-2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Belgium,</a:t>
            </a:r>
            <a:r>
              <a:rPr kumimoji="0" sz="800" b="0" i="0" u="none" strike="noStrike" kern="0" cap="none" spc="-4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Bulgaria,</a:t>
            </a:r>
            <a:r>
              <a:rPr kumimoji="0" sz="800" b="0" i="0" u="none" strike="noStrike" kern="0" cap="none" spc="-2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Croatia,</a:t>
            </a:r>
            <a:r>
              <a:rPr kumimoji="0" sz="800" b="0" i="0" u="none" strike="noStrike" kern="0" cap="none" spc="-2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Czech</a:t>
            </a:r>
            <a:r>
              <a:rPr kumimoji="0" sz="800" b="0" i="0" u="none" strike="noStrike" kern="0" cap="none" spc="-3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10" normalizeH="0" baseline="0" noProof="0">
                <a:ln>
                  <a:noFill/>
                </a:ln>
                <a:solidFill>
                  <a:srgbClr val="000067"/>
                </a:solidFill>
                <a:effectLst/>
                <a:uLnTx/>
                <a:uFillTx/>
                <a:latin typeface="Pfizer Tomorrow" panose="02010503040201060303" pitchFamily="50" charset="0"/>
                <a:cs typeface="Calibri" panose="020F0502020204030204" pitchFamily="34" charset="0"/>
              </a:rPr>
              <a:t>Republic,</a:t>
            </a:r>
            <a:r>
              <a:rPr kumimoji="0" sz="800" b="0" i="0" u="none" strike="noStrike" kern="0" cap="none" spc="-3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Denmark,</a:t>
            </a:r>
            <a:r>
              <a:rPr kumimoji="0" sz="800" b="0" i="0" u="none" strike="noStrike" kern="0" cap="none" spc="-2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Cyprus,</a:t>
            </a:r>
            <a:r>
              <a:rPr kumimoji="0" sz="800" b="0" i="0" u="none" strike="noStrike" kern="0" cap="none" spc="-2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Estonia,</a:t>
            </a:r>
            <a:r>
              <a:rPr kumimoji="0" sz="800" b="0" i="0" u="none" strike="noStrike" kern="0" cap="none" spc="-3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Finland, France,</a:t>
            </a:r>
            <a:r>
              <a:rPr kumimoji="0" sz="800" b="0" i="0" u="none" strike="noStrike" kern="0" cap="none" spc="-1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Germany,</a:t>
            </a:r>
            <a:r>
              <a:rPr kumimoji="0" sz="800" b="0" i="0" u="none" strike="noStrike" kern="0" cap="none" spc="-2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Greece,</a:t>
            </a:r>
            <a:r>
              <a:rPr kumimoji="0" sz="800" b="0" i="0" u="none" strike="noStrike" kern="0" cap="none" spc="1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Hungary,</a:t>
            </a:r>
            <a:r>
              <a:rPr kumimoji="0" sz="800" b="0" i="0" u="none" strike="noStrike" kern="0" cap="none" spc="-3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Iceland, Ireland,</a:t>
            </a:r>
            <a:r>
              <a:rPr kumimoji="0" sz="800" b="0" i="0" u="none" strike="noStrike" kern="0" cap="none" spc="-2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Italy,</a:t>
            </a:r>
            <a:r>
              <a:rPr kumimoji="0" sz="800" b="0" i="0" u="none" strike="noStrike" kern="0" cap="none" spc="-1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Latvia,</a:t>
            </a:r>
            <a:r>
              <a:rPr kumimoji="0" sz="800" b="0" i="0" u="none" strike="noStrike" kern="0" cap="none" spc="-2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10" normalizeH="0" baseline="0" noProof="0">
                <a:ln>
                  <a:noFill/>
                </a:ln>
                <a:solidFill>
                  <a:srgbClr val="000067"/>
                </a:solidFill>
                <a:effectLst/>
                <a:uLnTx/>
                <a:uFillTx/>
                <a:latin typeface="Pfizer Tomorrow" panose="02010503040201060303" pitchFamily="50" charset="0"/>
                <a:cs typeface="Calibri" panose="020F0502020204030204" pitchFamily="34" charset="0"/>
              </a:rPr>
              <a:t>Liechtenstein,</a:t>
            </a:r>
            <a:r>
              <a:rPr kumimoji="0" sz="800" b="0" i="0" u="none" strike="noStrike" kern="0" cap="none" spc="-2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10" normalizeH="0" baseline="0" noProof="0">
                <a:ln>
                  <a:noFill/>
                </a:ln>
                <a:solidFill>
                  <a:srgbClr val="000067"/>
                </a:solidFill>
                <a:effectLst/>
                <a:uLnTx/>
                <a:uFillTx/>
                <a:latin typeface="Pfizer Tomorrow" panose="02010503040201060303" pitchFamily="50" charset="0"/>
                <a:cs typeface="Calibri" panose="020F0502020204030204" pitchFamily="34" charset="0"/>
              </a:rPr>
              <a:t>Lithuania,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Luxembourg,</a:t>
            </a:r>
            <a:r>
              <a:rPr kumimoji="0" sz="800" b="0" i="0" u="none" strike="noStrike" kern="0" cap="none" spc="-5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Malta,</a:t>
            </a:r>
            <a:r>
              <a:rPr kumimoji="0" sz="800" b="0" i="0" u="none" strike="noStrike" kern="0" cap="none" spc="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10" normalizeH="0" baseline="0" noProof="0">
                <a:ln>
                  <a:noFill/>
                </a:ln>
                <a:solidFill>
                  <a:srgbClr val="000067"/>
                </a:solidFill>
                <a:effectLst/>
                <a:uLnTx/>
                <a:uFillTx/>
                <a:latin typeface="Pfizer Tomorrow" panose="02010503040201060303" pitchFamily="50" charset="0"/>
                <a:cs typeface="Calibri" panose="020F0502020204030204" pitchFamily="34" charset="0"/>
              </a:rPr>
              <a:t>Netherlands,</a:t>
            </a:r>
            <a:r>
              <a:rPr kumimoji="0" sz="800" b="0" i="0" u="none" strike="noStrike" kern="0" cap="none" spc="1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Norway,</a:t>
            </a:r>
            <a:r>
              <a:rPr kumimoji="0" sz="800" b="0" i="0" u="none" strike="noStrike" kern="0" cap="none" spc="-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Poland,</a:t>
            </a:r>
            <a:r>
              <a:rPr kumimoji="0" sz="800" b="0" i="0" u="none" strike="noStrike" kern="0" cap="none" spc="-1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Portugal,</a:t>
            </a:r>
            <a:r>
              <a:rPr kumimoji="0" sz="800" b="0" i="0" u="none" strike="noStrike" kern="0" cap="none" spc="-2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Romania,</a:t>
            </a:r>
            <a:r>
              <a:rPr kumimoji="0" sz="800" b="0" i="0" u="none" strike="noStrike" kern="0" cap="none" spc="-2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Spain,</a:t>
            </a:r>
            <a:r>
              <a:rPr kumimoji="0" sz="800" b="0" i="0" u="none" strike="noStrike" kern="0" cap="none" spc="-1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Slovakia,</a:t>
            </a:r>
            <a:r>
              <a:rPr kumimoji="0" sz="800" b="0" i="0" u="none" strike="noStrike" kern="0" cap="none" spc="-1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10" normalizeH="0" baseline="0" noProof="0">
                <a:ln>
                  <a:noFill/>
                </a:ln>
                <a:solidFill>
                  <a:srgbClr val="000067"/>
                </a:solidFill>
                <a:effectLst/>
                <a:uLnTx/>
                <a:uFillTx/>
                <a:latin typeface="Pfizer Tomorrow" panose="02010503040201060303" pitchFamily="50" charset="0"/>
                <a:cs typeface="Calibri" panose="020F0502020204030204" pitchFamily="34" charset="0"/>
              </a:rPr>
              <a:t>Slovenia,</a:t>
            </a:r>
            <a:r>
              <a:rPr kumimoji="0" sz="800" b="0" i="0" u="none" strike="noStrike" kern="0" cap="none" spc="-2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and</a:t>
            </a:r>
            <a:r>
              <a:rPr kumimoji="0" sz="800" b="0" i="0" u="none" strike="noStrike" kern="0" cap="none" spc="-2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10" normalizeH="0" baseline="0" noProof="0">
                <a:ln>
                  <a:noFill/>
                </a:ln>
                <a:solidFill>
                  <a:srgbClr val="000067"/>
                </a:solidFill>
                <a:effectLst/>
                <a:uLnTx/>
                <a:uFillTx/>
                <a:latin typeface="Pfizer Tomorrow" panose="02010503040201060303" pitchFamily="50" charset="0"/>
                <a:cs typeface="Calibri" panose="020F0502020204030204" pitchFamily="34" charset="0"/>
              </a:rPr>
              <a:t>Sweden.</a:t>
            </a:r>
            <a:r>
              <a:rPr kumimoji="0" sz="800" b="0" i="0" u="none" strike="noStrike" kern="0" cap="none" spc="-4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27777" noProof="0">
                <a:ln>
                  <a:noFill/>
                </a:ln>
                <a:solidFill>
                  <a:srgbClr val="000067"/>
                </a:solidFill>
                <a:effectLst/>
                <a:uLnTx/>
                <a:uFillTx/>
                <a:latin typeface="Pfizer Tomorrow" panose="02010503040201060303" pitchFamily="50" charset="0"/>
                <a:cs typeface="Calibri" panose="020F0502020204030204" pitchFamily="34" charset="0"/>
              </a:rPr>
              <a:t>†</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Including</a:t>
            </a:r>
            <a:r>
              <a:rPr kumimoji="0" sz="800" b="0" i="0" u="none" strike="noStrike" kern="0" cap="none" spc="-1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autonomous,</a:t>
            </a:r>
            <a:r>
              <a:rPr kumimoji="0" sz="800" b="0" i="0" u="none" strike="noStrike" kern="0" cap="none" spc="-3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10" normalizeH="0" baseline="0" noProof="0">
                <a:ln>
                  <a:noFill/>
                </a:ln>
                <a:solidFill>
                  <a:srgbClr val="000067"/>
                </a:solidFill>
                <a:effectLst/>
                <a:uLnTx/>
                <a:uFillTx/>
                <a:latin typeface="Pfizer Tomorrow" panose="02010503040201060303" pitchFamily="50" charset="0"/>
                <a:cs typeface="Calibri" panose="020F0502020204030204" pitchFamily="34" charset="0"/>
              </a:rPr>
              <a:t>unincorporated,</a:t>
            </a:r>
            <a:r>
              <a:rPr kumimoji="0" sz="800" b="0" i="0" u="none" strike="noStrike" kern="0" cap="none" spc="-1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and/or</a:t>
            </a:r>
            <a:r>
              <a:rPr kumimoji="0" sz="800" b="0" i="0" u="none" strike="noStrike" kern="0" cap="none" spc="-1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overseas</a:t>
            </a:r>
            <a:r>
              <a:rPr kumimoji="0" sz="800" b="0" i="0" u="none" strike="noStrike" kern="0" cap="none" spc="-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territories of</a:t>
            </a:r>
            <a:r>
              <a:rPr kumimoji="0" sz="800" b="0" i="0" u="none" strike="noStrike" kern="0" cap="none" spc="-15"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the</a:t>
            </a:r>
            <a:r>
              <a:rPr kumimoji="0" sz="800" b="0" i="0" u="none" strike="noStrike" kern="0" cap="none" spc="-2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USA</a:t>
            </a:r>
            <a:r>
              <a:rPr kumimoji="0" sz="800" b="0" i="0" u="none" strike="noStrike" kern="0" cap="none" spc="-10" normalizeH="0" baseline="0" noProof="0">
                <a:ln>
                  <a:noFill/>
                </a:ln>
                <a:solidFill>
                  <a:srgbClr val="000067"/>
                </a:solidFill>
                <a:effectLst/>
                <a:uLnTx/>
                <a:uFillTx/>
                <a:latin typeface="Pfizer Tomorrow" panose="02010503040201060303" pitchFamily="50" charset="0"/>
                <a:cs typeface="Calibri" panose="020F0502020204030204" pitchFamily="34" charset="0"/>
              </a:rPr>
              <a:t> </a:t>
            </a:r>
            <a:r>
              <a:rPr kumimoji="0" sz="800" b="0" i="0" u="none" strike="noStrike" kern="0" cap="none" spc="0" normalizeH="0" baseline="0" noProof="0">
                <a:ln>
                  <a:noFill/>
                </a:ln>
                <a:solidFill>
                  <a:srgbClr val="000067"/>
                </a:solidFill>
                <a:effectLst/>
                <a:uLnTx/>
                <a:uFillTx/>
                <a:latin typeface="Pfizer Tomorrow" panose="02010503040201060303" pitchFamily="50" charset="0"/>
                <a:cs typeface="Calibri" panose="020F0502020204030204" pitchFamily="34" charset="0"/>
              </a:rPr>
              <a:t>and</a:t>
            </a:r>
            <a:r>
              <a:rPr kumimoji="0" sz="800" b="0" i="0" u="none" strike="noStrike" kern="0" cap="none" spc="-10" normalizeH="0" baseline="0" noProof="0">
                <a:ln>
                  <a:noFill/>
                </a:ln>
                <a:solidFill>
                  <a:srgbClr val="000067"/>
                </a:solidFill>
                <a:effectLst/>
                <a:uLnTx/>
                <a:uFillTx/>
                <a:latin typeface="Pfizer Tomorrow" panose="02010503040201060303" pitchFamily="50" charset="0"/>
                <a:cs typeface="Calibri" panose="020F0502020204030204" pitchFamily="34" charset="0"/>
              </a:rPr>
              <a:t> France.</a:t>
            </a:r>
            <a:endParaRPr kumimoji="0" sz="800" b="0" i="0" u="none" strike="noStrike" kern="0" cap="none" spc="0" normalizeH="0" baseline="0" noProof="0">
              <a:ln>
                <a:noFill/>
              </a:ln>
              <a:solidFill>
                <a:sysClr val="windowText" lastClr="000000"/>
              </a:solidFill>
              <a:effectLst/>
              <a:uLnTx/>
              <a:uFillTx/>
              <a:latin typeface="Pfizer Tomorrow" panose="02010503040201060303" pitchFamily="50" charset="0"/>
              <a:cs typeface="Calibri" panose="020F0502020204030204" pitchFamily="34" charset="0"/>
            </a:endParaRPr>
          </a:p>
          <a:p>
            <a:pPr marL="38100" marR="3377565" lvl="0" indent="0" defTabSz="914400" eaLnBrk="1" fontAlgn="auto" latinLnBrk="0" hangingPunct="1">
              <a:lnSpc>
                <a:spcPct val="100000"/>
              </a:lnSpc>
              <a:spcBef>
                <a:spcPts val="0"/>
              </a:spcBef>
              <a:spcAft>
                <a:spcPts val="0"/>
              </a:spcAft>
              <a:buClrTx/>
              <a:buSzTx/>
              <a:buFontTx/>
              <a:buNone/>
              <a:tabLst/>
              <a:defRPr/>
            </a:pPr>
            <a:r>
              <a:rPr kumimoji="0" sz="800" b="0" i="0" u="none" strike="noStrike" kern="0" cap="none" spc="-10" normalizeH="0" baseline="0" noProof="0">
                <a:ln>
                  <a:noFill/>
                </a:ln>
                <a:solidFill>
                  <a:srgbClr val="000067"/>
                </a:solidFill>
                <a:effectLst/>
                <a:uLnTx/>
                <a:uFillTx/>
                <a:latin typeface="Pfizer Tomorrow" panose="02010503040201060303" pitchFamily="50" charset="0"/>
                <a:cs typeface="Calibri" panose="020F0502020204030204" pitchFamily="34" charset="0"/>
              </a:rPr>
              <a:t>.</a:t>
            </a:r>
            <a:endParaRPr kumimoji="0" sz="800" b="0" i="0" u="none" strike="noStrike" kern="0" cap="none" spc="0" normalizeH="0" baseline="0" noProof="0">
              <a:ln>
                <a:noFill/>
              </a:ln>
              <a:solidFill>
                <a:sysClr val="windowText" lastClr="000000"/>
              </a:solidFill>
              <a:effectLst/>
              <a:uLnTx/>
              <a:uFillTx/>
              <a:latin typeface="Pfizer Tomorrow" panose="02010503040201060303" pitchFamily="50" charset="0"/>
              <a:cs typeface="Calibri" panose="020F0502020204030204" pitchFamily="34" charset="0"/>
            </a:endParaRPr>
          </a:p>
        </p:txBody>
      </p:sp>
      <p:pic>
        <p:nvPicPr>
          <p:cNvPr id="7" name="Picture 6" descr="A black and blue logo&#10;&#10;AI-generated content may be incorrect.">
            <a:extLst>
              <a:ext uri="{FF2B5EF4-FFF2-40B4-BE49-F238E27FC236}">
                <a16:creationId xmlns:a16="http://schemas.microsoft.com/office/drawing/2014/main" id="{5E9C85C2-A5C3-EEEC-310E-739E5DC7F2EE}"/>
              </a:ext>
            </a:extLst>
          </p:cNvPr>
          <p:cNvPicPr>
            <a:picLocks noChangeAspect="1"/>
          </p:cNvPicPr>
          <p:nvPr/>
        </p:nvPicPr>
        <p:blipFill>
          <a:blip r:embed="rId4"/>
          <a:stretch>
            <a:fillRect/>
          </a:stretch>
        </p:blipFill>
        <p:spPr>
          <a:xfrm>
            <a:off x="10466403" y="6494969"/>
            <a:ext cx="981021" cy="204067"/>
          </a:xfrm>
          <a:prstGeom prst="rect">
            <a:avLst/>
          </a:prstGeom>
        </p:spPr>
      </p:pic>
      <p:pic>
        <p:nvPicPr>
          <p:cNvPr id="8" name="Picture 7" descr="A white box with black text&#10;&#10;AI-generated content may be incorrect.">
            <a:extLst>
              <a:ext uri="{FF2B5EF4-FFF2-40B4-BE49-F238E27FC236}">
                <a16:creationId xmlns:a16="http://schemas.microsoft.com/office/drawing/2014/main" id="{2A87EAD5-A8F3-365B-B454-AD35A70052FF}"/>
              </a:ext>
            </a:extLst>
          </p:cNvPr>
          <p:cNvPicPr>
            <a:picLocks noChangeAspect="1"/>
          </p:cNvPicPr>
          <p:nvPr/>
        </p:nvPicPr>
        <p:blipFill>
          <a:blip r:embed="rId5"/>
          <a:stretch>
            <a:fillRect/>
          </a:stretch>
        </p:blipFill>
        <p:spPr>
          <a:xfrm>
            <a:off x="7732087" y="4609435"/>
            <a:ext cx="2937530" cy="2051843"/>
          </a:xfrm>
          <a:prstGeom prst="rect">
            <a:avLst/>
          </a:prstGeom>
        </p:spPr>
      </p:pic>
    </p:spTree>
    <p:extLst>
      <p:ext uri="{BB962C8B-B14F-4D97-AF65-F5344CB8AC3E}">
        <p14:creationId xmlns:p14="http://schemas.microsoft.com/office/powerpoint/2010/main" val="141257866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3152" y="195684"/>
            <a:ext cx="10969218" cy="842156"/>
          </a:xfrm>
        </p:spPr>
        <p:txBody>
          <a:bodyPr/>
          <a:lstStyle/>
          <a:p>
            <a:r>
              <a:rPr lang="tr-TR"/>
              <a:t>Kılavuzlar ve Rehberler</a:t>
            </a:r>
          </a:p>
        </p:txBody>
      </p:sp>
      <p:sp>
        <p:nvSpPr>
          <p:cNvPr id="3" name="Content Placeholder 2"/>
          <p:cNvSpPr>
            <a:spLocks noGrp="1"/>
          </p:cNvSpPr>
          <p:nvPr>
            <p:ph idx="4294967295"/>
          </p:nvPr>
        </p:nvSpPr>
        <p:spPr>
          <a:xfrm>
            <a:off x="612775" y="1449388"/>
            <a:ext cx="10969625" cy="4351337"/>
          </a:xfrm>
        </p:spPr>
        <p:txBody>
          <a:bodyPr vert="horz" lIns="91440" tIns="45720" rIns="91440" bIns="45720" rtlCol="0" anchor="ctr">
            <a:normAutofit fontScale="92500"/>
          </a:bodyPr>
          <a:lstStyle/>
          <a:p>
            <a:pPr>
              <a:lnSpc>
                <a:spcPct val="110000"/>
              </a:lnSpc>
              <a:spcBef>
                <a:spcPts val="1200"/>
              </a:spcBef>
              <a:spcAft>
                <a:spcPts val="1200"/>
              </a:spcAft>
            </a:pPr>
            <a:r>
              <a:rPr lang="tr-TR" sz="3200" dirty="0"/>
              <a:t>C</a:t>
            </a:r>
            <a:r>
              <a:rPr sz="3200" dirty="0"/>
              <a:t>DC/ACIP 2025:</a:t>
            </a:r>
          </a:p>
          <a:p>
            <a:pPr lvl="1">
              <a:lnSpc>
                <a:spcPct val="110000"/>
              </a:lnSpc>
              <a:spcBef>
                <a:spcPts val="1200"/>
              </a:spcBef>
              <a:spcAft>
                <a:spcPts val="1200"/>
              </a:spcAft>
            </a:pPr>
            <a:r>
              <a:rPr sz="3200" dirty="0"/>
              <a:t>65 </a:t>
            </a:r>
            <a:r>
              <a:rPr sz="3200" dirty="0" err="1"/>
              <a:t>yaş</a:t>
            </a:r>
            <a:r>
              <a:rPr sz="3200" dirty="0"/>
              <a:t> </a:t>
            </a:r>
            <a:r>
              <a:rPr sz="3200" dirty="0" err="1"/>
              <a:t>üzeri</a:t>
            </a:r>
            <a:r>
              <a:rPr sz="3200" dirty="0"/>
              <a:t> </a:t>
            </a:r>
            <a:r>
              <a:rPr sz="3200" dirty="0" err="1"/>
              <a:t>bireylerde</a:t>
            </a:r>
            <a:r>
              <a:rPr sz="3200" dirty="0"/>
              <a:t> </a:t>
            </a:r>
            <a:r>
              <a:rPr sz="3200" dirty="0" err="1"/>
              <a:t>tek</a:t>
            </a:r>
            <a:r>
              <a:rPr sz="3200" dirty="0"/>
              <a:t> </a:t>
            </a:r>
            <a:r>
              <a:rPr sz="3200" dirty="0" err="1"/>
              <a:t>doz</a:t>
            </a:r>
            <a:r>
              <a:rPr sz="3200" dirty="0"/>
              <a:t> PCV20 </a:t>
            </a:r>
            <a:r>
              <a:rPr sz="3200" dirty="0" err="1"/>
              <a:t>veya</a:t>
            </a:r>
            <a:r>
              <a:rPr sz="3200" dirty="0"/>
              <a:t> PCV15+PPSV23.</a:t>
            </a:r>
          </a:p>
          <a:p>
            <a:pPr lvl="1">
              <a:lnSpc>
                <a:spcPct val="110000"/>
              </a:lnSpc>
              <a:spcBef>
                <a:spcPts val="1200"/>
              </a:spcBef>
              <a:spcAft>
                <a:spcPts val="1200"/>
              </a:spcAft>
            </a:pPr>
            <a:r>
              <a:rPr sz="3200" dirty="0"/>
              <a:t>RSV </a:t>
            </a:r>
            <a:r>
              <a:rPr sz="3200" dirty="0" err="1"/>
              <a:t>aşıları</a:t>
            </a:r>
            <a:r>
              <a:rPr sz="3200" dirty="0"/>
              <a:t>: </a:t>
            </a:r>
            <a:r>
              <a:rPr lang="en-US" sz="3200" dirty="0"/>
              <a:t>50-74 </a:t>
            </a:r>
            <a:r>
              <a:rPr sz="3200" dirty="0"/>
              <a:t> </a:t>
            </a:r>
            <a:r>
              <a:rPr sz="3200" dirty="0" err="1"/>
              <a:t>yaş</a:t>
            </a:r>
            <a:r>
              <a:rPr lang="en-US" sz="3200" dirty="0"/>
              <a:t> </a:t>
            </a:r>
            <a:r>
              <a:rPr lang="en-US" sz="3200" dirty="0" err="1"/>
              <a:t>arası</a:t>
            </a:r>
            <a:r>
              <a:rPr lang="en-US" sz="3200" dirty="0"/>
              <a:t> risk </a:t>
            </a:r>
            <a:r>
              <a:rPr lang="en-US" sz="3200" dirty="0" err="1"/>
              <a:t>grubu</a:t>
            </a:r>
            <a:r>
              <a:rPr lang="en-US" sz="3200" dirty="0"/>
              <a:t> </a:t>
            </a:r>
            <a:r>
              <a:rPr lang="en-US" sz="3200" dirty="0" err="1"/>
              <a:t>bireyler</a:t>
            </a:r>
            <a:r>
              <a:rPr lang="en-US" sz="3200" dirty="0"/>
              <a:t> </a:t>
            </a:r>
            <a:r>
              <a:rPr lang="en-US" sz="3200" dirty="0" err="1"/>
              <a:t>ve</a:t>
            </a:r>
            <a:r>
              <a:rPr lang="en-US" sz="3200" dirty="0"/>
              <a:t> 75 </a:t>
            </a:r>
            <a:r>
              <a:rPr lang="en-US" sz="3200" dirty="0" err="1"/>
              <a:t>yaş</a:t>
            </a:r>
            <a:r>
              <a:rPr sz="3200" dirty="0"/>
              <a:t> </a:t>
            </a:r>
            <a:r>
              <a:rPr lang="en-US" sz="3200" dirty="0" err="1"/>
              <a:t>ve</a:t>
            </a:r>
            <a:r>
              <a:rPr lang="en-US" sz="3200" dirty="0"/>
              <a:t> </a:t>
            </a:r>
            <a:r>
              <a:rPr sz="3200" dirty="0" err="1"/>
              <a:t>üzeri</a:t>
            </a:r>
            <a:r>
              <a:rPr sz="3200" dirty="0"/>
              <a:t> </a:t>
            </a:r>
            <a:r>
              <a:rPr lang="en-US" sz="3200" dirty="0" err="1"/>
              <a:t>tüm</a:t>
            </a:r>
            <a:r>
              <a:rPr lang="en-US" sz="3200" dirty="0"/>
              <a:t> </a:t>
            </a:r>
            <a:r>
              <a:rPr sz="3200" dirty="0" err="1"/>
              <a:t>bireylerde</a:t>
            </a:r>
            <a:r>
              <a:rPr sz="3200" dirty="0"/>
              <a:t> </a:t>
            </a:r>
            <a:r>
              <a:rPr sz="3200" dirty="0" err="1"/>
              <a:t>mevsim</a:t>
            </a:r>
            <a:r>
              <a:rPr sz="3200" dirty="0"/>
              <a:t> </a:t>
            </a:r>
            <a:r>
              <a:rPr sz="3200" dirty="0" err="1"/>
              <a:t>öncesi</a:t>
            </a:r>
            <a:r>
              <a:rPr sz="3200" dirty="0"/>
              <a:t> </a:t>
            </a:r>
            <a:r>
              <a:rPr sz="3200" dirty="0" err="1"/>
              <a:t>tek</a:t>
            </a:r>
            <a:r>
              <a:rPr sz="3200" dirty="0"/>
              <a:t> doz.</a:t>
            </a:r>
          </a:p>
          <a:p>
            <a:pPr>
              <a:lnSpc>
                <a:spcPct val="110000"/>
              </a:lnSpc>
              <a:spcBef>
                <a:spcPts val="1200"/>
              </a:spcBef>
              <a:spcAft>
                <a:spcPts val="1200"/>
              </a:spcAft>
            </a:pPr>
            <a:endParaRPr lang="tr-TR" sz="3200" dirty="0"/>
          </a:p>
          <a:p>
            <a:pPr marL="0" indent="0">
              <a:lnSpc>
                <a:spcPct val="110000"/>
              </a:lnSpc>
              <a:spcBef>
                <a:spcPts val="1200"/>
              </a:spcBef>
              <a:spcAft>
                <a:spcPts val="1200"/>
              </a:spcAft>
              <a:buNone/>
            </a:pPr>
            <a:r>
              <a:rPr sz="1400" dirty="0"/>
              <a:t>ACIP 2025</a:t>
            </a:r>
          </a:p>
        </p:txBody>
      </p:sp>
      <p:pic>
        <p:nvPicPr>
          <p:cNvPr id="6" name="Picture 5" descr="A yellow and blue logo&#10;&#10;Description automatically generated">
            <a:extLst>
              <a:ext uri="{FF2B5EF4-FFF2-40B4-BE49-F238E27FC236}">
                <a16:creationId xmlns:a16="http://schemas.microsoft.com/office/drawing/2014/main" id="{297075CE-6E06-C747-FDB8-027F8B0708D6}"/>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7" name="Picture 6" descr="A black and blue logo&#10;&#10;AI-generated content may be incorrect.">
            <a:extLst>
              <a:ext uri="{FF2B5EF4-FFF2-40B4-BE49-F238E27FC236}">
                <a16:creationId xmlns:a16="http://schemas.microsoft.com/office/drawing/2014/main" id="{A59D6773-C35D-012F-7E74-04DDCBC4366B}"/>
              </a:ext>
            </a:extLst>
          </p:cNvPr>
          <p:cNvPicPr>
            <a:picLocks noChangeAspect="1"/>
          </p:cNvPicPr>
          <p:nvPr/>
        </p:nvPicPr>
        <p:blipFill>
          <a:blip r:embed="rId3"/>
          <a:stretch>
            <a:fillRect/>
          </a:stretch>
        </p:blipFill>
        <p:spPr>
          <a:xfrm>
            <a:off x="9513903" y="6494969"/>
            <a:ext cx="981021" cy="204067"/>
          </a:xfrm>
          <a:prstGeom prst="rect">
            <a:avLst/>
          </a:prstGeom>
        </p:spPr>
      </p:pic>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t>Klinik Uygulama ve Halk Sağlığı Etkisi</a:t>
            </a:r>
          </a:p>
        </p:txBody>
      </p:sp>
      <p:sp>
        <p:nvSpPr>
          <p:cNvPr id="3" name="Content Placeholder 2"/>
          <p:cNvSpPr>
            <a:spLocks noGrp="1"/>
          </p:cNvSpPr>
          <p:nvPr>
            <p:ph idx="4294967295"/>
          </p:nvPr>
        </p:nvSpPr>
        <p:spPr>
          <a:xfrm>
            <a:off x="613152" y="1344613"/>
            <a:ext cx="9902448" cy="4351337"/>
          </a:xfrm>
        </p:spPr>
        <p:txBody>
          <a:bodyPr vert="horz" lIns="91440" tIns="45720" rIns="91440" bIns="45720" rtlCol="0" anchor="ctr">
            <a:normAutofit/>
          </a:bodyPr>
          <a:lstStyle/>
          <a:p>
            <a:pPr>
              <a:lnSpc>
                <a:spcPct val="100000"/>
              </a:lnSpc>
              <a:spcBef>
                <a:spcPts val="1200"/>
              </a:spcBef>
              <a:spcAft>
                <a:spcPts val="1200"/>
              </a:spcAft>
            </a:pPr>
            <a:r>
              <a:rPr sz="3200" dirty="0"/>
              <a:t>PCV20 </a:t>
            </a:r>
            <a:r>
              <a:rPr sz="3200" dirty="0" err="1"/>
              <a:t>ile</a:t>
            </a:r>
            <a:r>
              <a:rPr sz="3200" dirty="0"/>
              <a:t> </a:t>
            </a:r>
            <a:r>
              <a:rPr sz="3200" dirty="0" err="1"/>
              <a:t>tek</a:t>
            </a:r>
            <a:r>
              <a:rPr sz="3200" dirty="0"/>
              <a:t> </a:t>
            </a:r>
            <a:r>
              <a:rPr sz="3200" dirty="0" err="1"/>
              <a:t>doz</a:t>
            </a:r>
            <a:r>
              <a:rPr sz="3200" dirty="0"/>
              <a:t> </a:t>
            </a:r>
            <a:r>
              <a:rPr sz="3200" dirty="0" err="1"/>
              <a:t>uygulama</a:t>
            </a:r>
            <a:r>
              <a:rPr sz="3200" dirty="0"/>
              <a:t>, </a:t>
            </a:r>
            <a:r>
              <a:rPr sz="3200" dirty="0" err="1"/>
              <a:t>erişkin</a:t>
            </a:r>
            <a:r>
              <a:rPr sz="3200" dirty="0"/>
              <a:t> </a:t>
            </a:r>
            <a:r>
              <a:rPr sz="3200" dirty="0" err="1"/>
              <a:t>aşı</a:t>
            </a:r>
            <a:r>
              <a:rPr sz="3200" dirty="0"/>
              <a:t> </a:t>
            </a:r>
            <a:r>
              <a:rPr sz="3200" dirty="0" err="1"/>
              <a:t>oranını</a:t>
            </a:r>
            <a:r>
              <a:rPr sz="3200" dirty="0"/>
              <a:t> %</a:t>
            </a:r>
            <a:r>
              <a:rPr lang="tr-TR" sz="3200" dirty="0"/>
              <a:t> </a:t>
            </a:r>
            <a:r>
              <a:rPr sz="3200" dirty="0"/>
              <a:t>25 </a:t>
            </a:r>
            <a:r>
              <a:rPr sz="3200" dirty="0" err="1"/>
              <a:t>artırabilir</a:t>
            </a:r>
            <a:r>
              <a:rPr sz="3200" dirty="0"/>
              <a:t>.</a:t>
            </a:r>
          </a:p>
          <a:p>
            <a:pPr>
              <a:lnSpc>
                <a:spcPct val="100000"/>
              </a:lnSpc>
              <a:spcBef>
                <a:spcPts val="1200"/>
              </a:spcBef>
              <a:spcAft>
                <a:spcPts val="1200"/>
              </a:spcAft>
            </a:pPr>
            <a:r>
              <a:rPr sz="3200" dirty="0"/>
              <a:t>RSV </a:t>
            </a:r>
            <a:r>
              <a:rPr sz="3200" dirty="0" err="1"/>
              <a:t>aşıları</a:t>
            </a:r>
            <a:r>
              <a:rPr sz="3200" dirty="0"/>
              <a:t>, </a:t>
            </a:r>
            <a:endParaRPr lang="tr-TR" sz="3200" dirty="0"/>
          </a:p>
          <a:p>
            <a:pPr lvl="1">
              <a:lnSpc>
                <a:spcPct val="100000"/>
              </a:lnSpc>
              <a:spcBef>
                <a:spcPts val="1200"/>
              </a:spcBef>
              <a:spcAft>
                <a:spcPts val="1200"/>
              </a:spcAft>
            </a:pPr>
            <a:r>
              <a:rPr lang="tr-TR" sz="3200" dirty="0"/>
              <a:t>Y</a:t>
            </a:r>
            <a:r>
              <a:rPr sz="3200" dirty="0" err="1"/>
              <a:t>astane</a:t>
            </a:r>
            <a:r>
              <a:rPr sz="3200" dirty="0"/>
              <a:t> </a:t>
            </a:r>
            <a:r>
              <a:rPr sz="3200" dirty="0" err="1"/>
              <a:t>yatışlarını</a:t>
            </a:r>
            <a:r>
              <a:rPr sz="3200" dirty="0"/>
              <a:t> %60 </a:t>
            </a:r>
            <a:r>
              <a:rPr sz="3200" dirty="0" err="1"/>
              <a:t>azaltabilir</a:t>
            </a:r>
            <a:r>
              <a:rPr sz="3200" dirty="0"/>
              <a:t>.</a:t>
            </a:r>
          </a:p>
          <a:p>
            <a:pPr lvl="1">
              <a:lnSpc>
                <a:spcPct val="100000"/>
              </a:lnSpc>
              <a:spcBef>
                <a:spcPts val="1200"/>
              </a:spcBef>
              <a:spcAft>
                <a:spcPts val="1200"/>
              </a:spcAft>
            </a:pPr>
            <a:r>
              <a:rPr lang="tr-TR" sz="3200" dirty="0"/>
              <a:t>Y</a:t>
            </a:r>
            <a:r>
              <a:rPr sz="3200" dirty="0" err="1"/>
              <a:t>aşlı</a:t>
            </a:r>
            <a:r>
              <a:rPr sz="3200" dirty="0"/>
              <a:t> </a:t>
            </a:r>
            <a:r>
              <a:rPr sz="3200" dirty="0" err="1"/>
              <a:t>popülasyonda</a:t>
            </a:r>
            <a:r>
              <a:rPr sz="3200" dirty="0"/>
              <a:t> </a:t>
            </a:r>
            <a:r>
              <a:rPr sz="3200" dirty="0" err="1"/>
              <a:t>mortaliteyi</a:t>
            </a:r>
            <a:r>
              <a:rPr sz="3200" dirty="0"/>
              <a:t> </a:t>
            </a:r>
            <a:r>
              <a:rPr sz="3200" dirty="0" err="1"/>
              <a:t>düşürme</a:t>
            </a:r>
            <a:r>
              <a:rPr sz="3200" dirty="0"/>
              <a:t> </a:t>
            </a:r>
            <a:r>
              <a:rPr sz="3200" dirty="0" err="1"/>
              <a:t>potansiyeli</a:t>
            </a:r>
            <a:r>
              <a:rPr sz="3200" dirty="0"/>
              <a:t> </a:t>
            </a:r>
            <a:r>
              <a:rPr sz="3200" dirty="0" err="1"/>
              <a:t>yüksektir</a:t>
            </a:r>
            <a:r>
              <a:rPr sz="3200" dirty="0"/>
              <a:t>.</a:t>
            </a:r>
          </a:p>
        </p:txBody>
      </p:sp>
      <p:pic>
        <p:nvPicPr>
          <p:cNvPr id="4" name="Picture 3" descr="A yellow and blue logo&#10;&#10;Description automatically generated">
            <a:extLst>
              <a:ext uri="{FF2B5EF4-FFF2-40B4-BE49-F238E27FC236}">
                <a16:creationId xmlns:a16="http://schemas.microsoft.com/office/drawing/2014/main" id="{7A74DD2E-4C58-D1B2-470D-3A6318000FF7}"/>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5" name="Picture 4" descr="A black and blue logo&#10;&#10;AI-generated content may be incorrect.">
            <a:extLst>
              <a:ext uri="{FF2B5EF4-FFF2-40B4-BE49-F238E27FC236}">
                <a16:creationId xmlns:a16="http://schemas.microsoft.com/office/drawing/2014/main" id="{C0B3F9D8-A2B8-6564-80B3-CF8A9598DB78}"/>
              </a:ext>
            </a:extLst>
          </p:cNvPr>
          <p:cNvPicPr>
            <a:picLocks noChangeAspect="1"/>
          </p:cNvPicPr>
          <p:nvPr/>
        </p:nvPicPr>
        <p:blipFill>
          <a:blip r:embed="rId3"/>
          <a:stretch>
            <a:fillRect/>
          </a:stretch>
        </p:blipFill>
        <p:spPr>
          <a:xfrm>
            <a:off x="9513903" y="6494969"/>
            <a:ext cx="981021" cy="204067"/>
          </a:xfrm>
          <a:prstGeom prst="rect">
            <a:avLst/>
          </a:prstGeom>
        </p:spPr>
      </p:pic>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E02F4-EA9A-7859-4FB6-4D9CFC17E469}"/>
              </a:ext>
            </a:extLst>
          </p:cNvPr>
          <p:cNvSpPr>
            <a:spLocks noGrp="1"/>
          </p:cNvSpPr>
          <p:nvPr>
            <p:ph type="title"/>
          </p:nvPr>
        </p:nvSpPr>
        <p:spPr/>
        <p:txBody>
          <a:bodyPr>
            <a:normAutofit/>
          </a:bodyPr>
          <a:lstStyle/>
          <a:p>
            <a:r>
              <a:rPr lang="tr-TR" sz="2800">
                <a:solidFill>
                  <a:schemeClr val="bg1"/>
                </a:solidFill>
              </a:rPr>
              <a:t>Tek doz KPA'nin uygulanması daha kolay olabilir ve sıralı aşılama ile ilgili sorunları önleyebilir</a:t>
            </a:r>
            <a:r>
              <a:rPr lang="tr-TR" sz="2800"/>
              <a:t>.</a:t>
            </a:r>
            <a:endParaRPr lang="tr-TR" sz="2800">
              <a:ea typeface="Calibri"/>
              <a:cs typeface="Calibri"/>
            </a:endParaRPr>
          </a:p>
        </p:txBody>
      </p:sp>
      <p:sp>
        <p:nvSpPr>
          <p:cNvPr id="3" name="Slide Number Placeholder 2">
            <a:extLst>
              <a:ext uri="{FF2B5EF4-FFF2-40B4-BE49-F238E27FC236}">
                <a16:creationId xmlns:a16="http://schemas.microsoft.com/office/drawing/2014/main" id="{B2F21804-3869-C4D5-CC60-BC180FF90211}"/>
              </a:ext>
            </a:extLst>
          </p:cNvPr>
          <p:cNvSpPr>
            <a:spLocks noGrp="1"/>
          </p:cNvSpPr>
          <p:nvPr>
            <p:ph type="sldNum" sz="quarter" idx="4"/>
          </p:nvPr>
        </p:nvSpPr>
        <p:spPr/>
        <p:txBody>
          <a:bodyPr/>
          <a:lstStyle/>
          <a:p>
            <a:pPr defTabSz="685800">
              <a:defRPr/>
            </a:pPr>
            <a:fld id="{03074DEF-F175-4420-8EE3-137377F9872B}" type="slidenum">
              <a:rPr lang="en-US" sz="750" b="0">
                <a:solidFill>
                  <a:srgbClr val="A1AAB1">
                    <a:lumMod val="75000"/>
                  </a:srgbClr>
                </a:solidFill>
                <a:latin typeface="Arial" panose="020B0604020202020204"/>
              </a:rPr>
              <a:pPr defTabSz="685800">
                <a:defRPr/>
              </a:pPr>
              <a:t>94</a:t>
            </a:fld>
            <a:endParaRPr lang="en-US" sz="750" b="0">
              <a:solidFill>
                <a:srgbClr val="A1AAB1">
                  <a:lumMod val="75000"/>
                </a:srgbClr>
              </a:solidFill>
              <a:latin typeface="Arial" panose="020B0604020202020204"/>
            </a:endParaRPr>
          </a:p>
        </p:txBody>
      </p:sp>
      <p:grpSp>
        <p:nvGrpSpPr>
          <p:cNvPr id="5" name="Group 4">
            <a:extLst>
              <a:ext uri="{FF2B5EF4-FFF2-40B4-BE49-F238E27FC236}">
                <a16:creationId xmlns:a16="http://schemas.microsoft.com/office/drawing/2014/main" id="{769CA94E-49F4-AFC2-86AF-A8D89F62E30C}"/>
              </a:ext>
            </a:extLst>
          </p:cNvPr>
          <p:cNvGrpSpPr/>
          <p:nvPr/>
        </p:nvGrpSpPr>
        <p:grpSpPr>
          <a:xfrm>
            <a:off x="1922853" y="1943490"/>
            <a:ext cx="8344013" cy="3153859"/>
            <a:chOff x="574722" y="1447798"/>
            <a:chExt cx="11128248" cy="4206240"/>
          </a:xfrm>
        </p:grpSpPr>
        <p:sp>
          <p:nvSpPr>
            <p:cNvPr id="6" name="Rounded Rectangle 20">
              <a:extLst>
                <a:ext uri="{FF2B5EF4-FFF2-40B4-BE49-F238E27FC236}">
                  <a16:creationId xmlns:a16="http://schemas.microsoft.com/office/drawing/2014/main" id="{607378CB-BB09-B9F0-464B-7D0F7B555A5D}"/>
                </a:ext>
              </a:extLst>
            </p:cNvPr>
            <p:cNvSpPr/>
            <p:nvPr/>
          </p:nvSpPr>
          <p:spPr bwMode="gray">
            <a:xfrm>
              <a:off x="574722" y="1447798"/>
              <a:ext cx="11128248" cy="4206240"/>
            </a:xfrm>
            <a:prstGeom prst="roundRect">
              <a:avLst>
                <a:gd name="adj" fmla="val 3439"/>
              </a:avLst>
            </a:prstGeom>
            <a:solidFill>
              <a:srgbClr val="FFFFFF">
                <a:lumMod val="95000"/>
              </a:srgbClr>
            </a:solidFill>
            <a:ln w="9525" cap="flat" cmpd="sng" algn="ctr">
              <a:solidFill>
                <a:srgbClr val="FFFFFF">
                  <a:lumMod val="75000"/>
                </a:srgbClr>
              </a:solidFill>
              <a:prstDash val="solid"/>
              <a:headEnd type="none" w="med" len="med"/>
              <a:tailEnd type="none" w="med" len="med"/>
            </a:ln>
            <a:effectLst/>
          </p:spPr>
          <p:txBody>
            <a:bodyPr vert="horz" wrap="square" lIns="68554" tIns="34277" rIns="68554" bIns="34277" numCol="1" rtlCol="0" anchor="t" anchorCtr="0" compatLnSpc="1">
              <a:prstTxWarp prst="textNoShape">
                <a:avLst/>
              </a:prstTxWarp>
              <a:noAutofit/>
            </a:bodyPr>
            <a:lstStyle/>
            <a:p>
              <a:pPr marL="171398" indent="-171398" defTabSz="685800">
                <a:spcBef>
                  <a:spcPts val="450"/>
                </a:spcBef>
                <a:spcAft>
                  <a:spcPts val="450"/>
                </a:spcAft>
                <a:buFont typeface="Arial" panose="020B0604020202020204" pitchFamily="34" charset="0"/>
                <a:buChar char="•"/>
                <a:defRPr/>
              </a:pPr>
              <a:endParaRPr lang="en-US" sz="1200" kern="0">
                <a:solidFill>
                  <a:srgbClr val="000000"/>
                </a:solidFill>
                <a:latin typeface="Arial" panose="020B0604020202020204"/>
              </a:endParaRPr>
            </a:p>
          </p:txBody>
        </p:sp>
        <p:sp>
          <p:nvSpPr>
            <p:cNvPr id="7" name="Rounded Rectangle 23">
              <a:extLst>
                <a:ext uri="{FF2B5EF4-FFF2-40B4-BE49-F238E27FC236}">
                  <a16:creationId xmlns:a16="http://schemas.microsoft.com/office/drawing/2014/main" id="{FBE20E0D-217D-CE3E-C334-D748806C1781}"/>
                </a:ext>
              </a:extLst>
            </p:cNvPr>
            <p:cNvSpPr/>
            <p:nvPr/>
          </p:nvSpPr>
          <p:spPr bwMode="gray">
            <a:xfrm>
              <a:off x="698166" y="1584958"/>
              <a:ext cx="10881360" cy="3931920"/>
            </a:xfrm>
            <a:prstGeom prst="roundRect">
              <a:avLst>
                <a:gd name="adj" fmla="val 3439"/>
              </a:avLst>
            </a:prstGeom>
            <a:solidFill>
              <a:srgbClr val="FFFFFF"/>
            </a:solidFill>
            <a:ln w="9525" cap="flat" cmpd="sng" algn="ctr">
              <a:noFill/>
              <a:prstDash val="solid"/>
              <a:headEnd type="none" w="med" len="med"/>
              <a:tailEnd type="none" w="med" len="med"/>
            </a:ln>
            <a:effectLst/>
          </p:spPr>
          <p:txBody>
            <a:bodyPr vert="horz" wrap="square" lIns="68554" tIns="34277" rIns="68554" bIns="34277" numCol="1" rtlCol="0" anchor="t" anchorCtr="0" compatLnSpc="1">
              <a:prstTxWarp prst="textNoShape">
                <a:avLst/>
              </a:prstTxWarp>
              <a:noAutofit/>
            </a:bodyPr>
            <a:lstStyle/>
            <a:p>
              <a:pPr marL="171398" indent="-171398" defTabSz="685800">
                <a:spcBef>
                  <a:spcPts val="450"/>
                </a:spcBef>
                <a:spcAft>
                  <a:spcPts val="450"/>
                </a:spcAft>
                <a:buFont typeface="Arial" panose="020B0604020202020204" pitchFamily="34" charset="0"/>
                <a:buChar char="•"/>
                <a:defRPr/>
              </a:pPr>
              <a:endParaRPr lang="en-US" sz="1200" kern="0">
                <a:solidFill>
                  <a:srgbClr val="000000"/>
                </a:solidFill>
                <a:latin typeface="Arial" panose="020B0604020202020204"/>
              </a:endParaRPr>
            </a:p>
          </p:txBody>
        </p:sp>
      </p:grpSp>
      <p:sp>
        <p:nvSpPr>
          <p:cNvPr id="8" name="Text Placeholder 4">
            <a:extLst>
              <a:ext uri="{FF2B5EF4-FFF2-40B4-BE49-F238E27FC236}">
                <a16:creationId xmlns:a16="http://schemas.microsoft.com/office/drawing/2014/main" id="{826E9CAE-DB9E-5389-0A40-F4ADEC28E9CD}"/>
              </a:ext>
            </a:extLst>
          </p:cNvPr>
          <p:cNvSpPr txBox="1">
            <a:spLocks/>
          </p:cNvSpPr>
          <p:nvPr/>
        </p:nvSpPr>
        <p:spPr>
          <a:xfrm>
            <a:off x="1922852" y="5428231"/>
            <a:ext cx="7783856" cy="553887"/>
          </a:xfrm>
          <a:prstGeom prst="rect">
            <a:avLst/>
          </a:prstGeom>
          <a:noFill/>
          <a:ln>
            <a:noFill/>
          </a:ln>
        </p:spPr>
        <p:txBody>
          <a:bodyPr spcFirstLastPara="1" wrap="square" lIns="91385" tIns="91385" rIns="91385" bIns="91385" anchor="b" anchorCtr="0">
            <a:spAutoFit/>
          </a:bodyPr>
          <a:lstStyle>
            <a:defPPr marR="0" lvl="0" algn="l" rtl="0">
              <a:lnSpc>
                <a:spcPct val="100000"/>
              </a:lnSpc>
              <a:spcBef>
                <a:spcPts val="0"/>
              </a:spcBef>
              <a:spcAft>
                <a:spcPts val="0"/>
              </a:spcAft>
            </a:defPPr>
            <a:lvl1pPr marL="457200" marR="0" lvl="0" indent="-311150" algn="l" rtl="0" eaLnBrk="1" hangingPunct="1">
              <a:lnSpc>
                <a:spcPct val="115000"/>
              </a:lnSpc>
              <a:spcBef>
                <a:spcPts val="0"/>
              </a:spcBef>
              <a:spcAft>
                <a:spcPts val="0"/>
              </a:spcAft>
              <a:buClr>
                <a:schemeClr val="accent1"/>
              </a:buClr>
              <a:buSzPts val="1300"/>
              <a:buFont typeface="Lato"/>
              <a:buNone/>
              <a:defRPr sz="700" b="0" i="0" u="none" strike="noStrike" cap="none">
                <a:solidFill>
                  <a:schemeClr val="accent1"/>
                </a:solidFill>
                <a:latin typeface="+mn-lt"/>
                <a:ea typeface="Lato"/>
                <a:cs typeface="Lato"/>
                <a:sym typeface="Lato"/>
              </a:defRPr>
            </a:lvl1pPr>
            <a:lvl2pPr marL="914400" marR="0" lvl="1" indent="-298450" algn="l" rtl="0" eaLnBrk="1" hangingPunct="1">
              <a:lnSpc>
                <a:spcPct val="115000"/>
              </a:lnSpc>
              <a:spcBef>
                <a:spcPts val="1600"/>
              </a:spcBef>
              <a:spcAft>
                <a:spcPts val="0"/>
              </a:spcAft>
              <a:buClr>
                <a:schemeClr val="accent1"/>
              </a:buClr>
              <a:buSzPts val="1100"/>
              <a:buFont typeface="Lato"/>
              <a:buNone/>
              <a:defRPr sz="800" b="0" i="0" u="none" strike="noStrike" cap="none">
                <a:solidFill>
                  <a:schemeClr val="accent1"/>
                </a:solidFill>
                <a:latin typeface="+mn-lt"/>
                <a:ea typeface="Lato"/>
                <a:cs typeface="Lato"/>
                <a:sym typeface="Lato"/>
              </a:defRPr>
            </a:lvl2pPr>
            <a:lvl3pPr marL="1371600" marR="0" lvl="2" indent="-298450" algn="l" rtl="0" eaLnBrk="1" hangingPunct="1">
              <a:lnSpc>
                <a:spcPct val="115000"/>
              </a:lnSpc>
              <a:spcBef>
                <a:spcPts val="1600"/>
              </a:spcBef>
              <a:spcAft>
                <a:spcPts val="0"/>
              </a:spcAft>
              <a:buClr>
                <a:schemeClr val="accent1"/>
              </a:buClr>
              <a:buSzPts val="1100"/>
              <a:buFont typeface="Lato"/>
              <a:buNone/>
              <a:defRPr sz="800" b="0" i="0" u="none" strike="noStrike" cap="none">
                <a:solidFill>
                  <a:schemeClr val="accent1"/>
                </a:solidFill>
                <a:latin typeface="+mn-lt"/>
                <a:ea typeface="Lato"/>
                <a:cs typeface="Lato"/>
                <a:sym typeface="Lato"/>
              </a:defRPr>
            </a:lvl3pPr>
            <a:lvl4pPr marL="1828800" marR="0" lvl="3" indent="-298450" algn="l" rtl="0" eaLnBrk="1" hangingPunct="1">
              <a:lnSpc>
                <a:spcPct val="115000"/>
              </a:lnSpc>
              <a:spcBef>
                <a:spcPts val="1600"/>
              </a:spcBef>
              <a:spcAft>
                <a:spcPts val="0"/>
              </a:spcAft>
              <a:buClr>
                <a:schemeClr val="accent1"/>
              </a:buClr>
              <a:buSzPts val="1100"/>
              <a:buFont typeface="Lato"/>
              <a:buNone/>
              <a:defRPr sz="800" b="0" i="0" u="none" strike="noStrike" cap="none">
                <a:solidFill>
                  <a:schemeClr val="accent1"/>
                </a:solidFill>
                <a:latin typeface="+mn-lt"/>
                <a:ea typeface="Lato"/>
                <a:cs typeface="Lato"/>
                <a:sym typeface="Lato"/>
              </a:defRPr>
            </a:lvl4pPr>
            <a:lvl5pPr marL="2286000" marR="0" lvl="4" indent="-298450" algn="l" rtl="0" eaLnBrk="1" hangingPunct="1">
              <a:lnSpc>
                <a:spcPct val="115000"/>
              </a:lnSpc>
              <a:spcBef>
                <a:spcPts val="1600"/>
              </a:spcBef>
              <a:spcAft>
                <a:spcPts val="0"/>
              </a:spcAft>
              <a:buClr>
                <a:schemeClr val="accent1"/>
              </a:buClr>
              <a:buSzPts val="1100"/>
              <a:buFont typeface="Lato"/>
              <a:buNone/>
              <a:defRPr sz="800" b="0" i="0" u="none" strike="noStrike" cap="none">
                <a:solidFill>
                  <a:schemeClr val="accent1"/>
                </a:solidFill>
                <a:latin typeface="+mn-lt"/>
                <a:ea typeface="Lato"/>
                <a:cs typeface="Lato"/>
                <a:sym typeface="Lato"/>
              </a:defRPr>
            </a:lvl5pPr>
            <a:lvl6pPr marL="2743200" marR="0" lvl="5" indent="-298450" algn="l" rtl="0" eaLnBrk="1" hangingPunct="1">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6pPr>
            <a:lvl7pPr marL="3200400" marR="0" lvl="6" indent="-298450" algn="l" rtl="0" eaLnBrk="1" hangingPunct="1">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7pPr>
            <a:lvl8pPr marL="3657600" marR="0" lvl="7" indent="-298450" algn="l" rtl="0" eaLnBrk="1" hangingPunct="1">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8pPr>
            <a:lvl9pPr marL="4114800" marR="0" lvl="8" indent="-298450" algn="l" rtl="0" eaLnBrk="1" hangingPunct="1">
              <a:lnSpc>
                <a:spcPct val="115000"/>
              </a:lnSpc>
              <a:spcBef>
                <a:spcPts val="1600"/>
              </a:spcBef>
              <a:spcAft>
                <a:spcPts val="1600"/>
              </a:spcAft>
              <a:buClr>
                <a:schemeClr val="accent1"/>
              </a:buClr>
              <a:buSzPts val="1100"/>
              <a:buFont typeface="Lato"/>
              <a:buChar char="■"/>
              <a:defRPr sz="1100" b="0" i="0" u="none" strike="noStrike" cap="none">
                <a:solidFill>
                  <a:schemeClr val="accent1"/>
                </a:solidFill>
                <a:latin typeface="Lato"/>
                <a:ea typeface="Lato"/>
                <a:cs typeface="Lato"/>
                <a:sym typeface="Lato"/>
              </a:defRPr>
            </a:lvl9pPr>
          </a:lstStyle>
          <a:p>
            <a:pPr marL="0" indent="0" defTabSz="685800">
              <a:lnSpc>
                <a:spcPct val="100000"/>
              </a:lnSpc>
              <a:buClr>
                <a:srgbClr val="0000C9"/>
              </a:buClr>
              <a:defRPr/>
            </a:pPr>
            <a:r>
              <a:rPr lang="en-US" altLang="en-US" sz="600">
                <a:solidFill>
                  <a:srgbClr val="A1AAB1"/>
                </a:solidFill>
                <a:latin typeface="Arial" panose="020B0604020202020204"/>
                <a:cs typeface="Arial" pitchFamily="34" charset="0"/>
              </a:rPr>
              <a:t>*</a:t>
            </a:r>
            <a:r>
              <a:rPr lang="en-US" altLang="en-US" sz="600" err="1">
                <a:solidFill>
                  <a:srgbClr val="A1AAB1"/>
                </a:solidFill>
                <a:latin typeface="Arial" panose="020B0604020202020204"/>
                <a:cs typeface="Arial" pitchFamily="34" charset="0"/>
              </a:rPr>
              <a:t>Pnömokok</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aşılamasını</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tamamlayan</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yetişkinlerin</a:t>
            </a:r>
            <a:r>
              <a:rPr lang="en-US" altLang="en-US" sz="600">
                <a:solidFill>
                  <a:srgbClr val="A1AAB1"/>
                </a:solidFill>
                <a:latin typeface="Arial" panose="020B0604020202020204"/>
                <a:cs typeface="Arial" pitchFamily="34" charset="0"/>
              </a:rPr>
              <a:t> %0,2’si PCV13 </a:t>
            </a:r>
            <a:r>
              <a:rPr lang="en-US" altLang="en-US" sz="600" err="1">
                <a:solidFill>
                  <a:srgbClr val="A1AAB1"/>
                </a:solidFill>
                <a:latin typeface="Arial" panose="020B0604020202020204"/>
                <a:cs typeface="Arial" pitchFamily="34" charset="0"/>
              </a:rPr>
              <a:t>ve</a:t>
            </a:r>
            <a:r>
              <a:rPr lang="en-US" altLang="en-US" sz="600">
                <a:solidFill>
                  <a:srgbClr val="A1AAB1"/>
                </a:solidFill>
                <a:latin typeface="Arial" panose="020B0604020202020204"/>
                <a:cs typeface="Arial" pitchFamily="34" charset="0"/>
              </a:rPr>
              <a:t> PPSA23 </a:t>
            </a:r>
            <a:r>
              <a:rPr lang="en-US" altLang="en-US" sz="600" err="1">
                <a:solidFill>
                  <a:srgbClr val="A1AAB1"/>
                </a:solidFill>
                <a:latin typeface="Arial" panose="020B0604020202020204"/>
                <a:cs typeface="Arial" pitchFamily="34" charset="0"/>
              </a:rPr>
              <a:t>aşılarını</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aynı</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gün</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aldı</a:t>
            </a:r>
            <a:r>
              <a:rPr lang="en-US" altLang="en-US" sz="600">
                <a:solidFill>
                  <a:srgbClr val="A1AAB1"/>
                </a:solidFill>
                <a:latin typeface="Arial" panose="020B0604020202020204"/>
                <a:cs typeface="Arial" pitchFamily="34" charset="0"/>
              </a:rPr>
              <a:t>.</a:t>
            </a:r>
            <a:endParaRPr lang="tr-TR" altLang="en-US" sz="600">
              <a:solidFill>
                <a:srgbClr val="A1AAB1"/>
              </a:solidFill>
              <a:latin typeface="Arial" panose="020B0604020202020204"/>
              <a:cs typeface="Arial" pitchFamily="34" charset="0"/>
            </a:endParaRPr>
          </a:p>
          <a:p>
            <a:pPr marL="0" indent="0" defTabSz="685800">
              <a:lnSpc>
                <a:spcPct val="100000"/>
              </a:lnSpc>
              <a:buClr>
                <a:srgbClr val="0000C9"/>
              </a:buClr>
              <a:defRPr/>
            </a:pPr>
            <a:r>
              <a:rPr lang="en-US" altLang="en-US" sz="600" baseline="30000">
                <a:solidFill>
                  <a:srgbClr val="A1AAB1"/>
                </a:solidFill>
                <a:latin typeface="Arial" panose="020B0604020202020204"/>
                <a:cs typeface="Arial" pitchFamily="34" charset="0"/>
              </a:rPr>
              <a:t>†</a:t>
            </a:r>
            <a:r>
              <a:rPr lang="es-ES" altLang="en-US" sz="600">
                <a:solidFill>
                  <a:srgbClr val="A1AAB1"/>
                </a:solidFill>
                <a:latin typeface="Arial" panose="020B0604020202020204"/>
                <a:cs typeface="Arial" pitchFamily="34" charset="0"/>
              </a:rPr>
              <a:t>224.132 </a:t>
            </a:r>
            <a:r>
              <a:rPr lang="es-ES" altLang="en-US" sz="600" err="1">
                <a:solidFill>
                  <a:srgbClr val="A1AAB1"/>
                </a:solidFill>
                <a:latin typeface="Arial" panose="020B0604020202020204"/>
                <a:cs typeface="Arial" pitchFamily="34" charset="0"/>
              </a:rPr>
              <a:t>hastadan</a:t>
            </a:r>
            <a:r>
              <a:rPr lang="es-ES" altLang="en-US" sz="600">
                <a:solidFill>
                  <a:srgbClr val="A1AAB1"/>
                </a:solidFill>
                <a:latin typeface="Arial" panose="020B0604020202020204"/>
                <a:cs typeface="Arial" pitchFamily="34" charset="0"/>
              </a:rPr>
              <a:t> </a:t>
            </a:r>
            <a:r>
              <a:rPr lang="es-ES" altLang="en-US" sz="600" err="1">
                <a:solidFill>
                  <a:srgbClr val="A1AAB1"/>
                </a:solidFill>
                <a:latin typeface="Arial" panose="020B0604020202020204"/>
                <a:cs typeface="Arial" pitchFamily="34" charset="0"/>
              </a:rPr>
              <a:t>oluşan</a:t>
            </a:r>
            <a:r>
              <a:rPr lang="es-ES" altLang="en-US" sz="600">
                <a:solidFill>
                  <a:srgbClr val="A1AAB1"/>
                </a:solidFill>
                <a:latin typeface="Arial" panose="020B0604020202020204"/>
                <a:cs typeface="Arial" pitchFamily="34" charset="0"/>
              </a:rPr>
              <a:t> bu </a:t>
            </a:r>
            <a:r>
              <a:rPr lang="es-ES" altLang="en-US" sz="600" err="1">
                <a:solidFill>
                  <a:srgbClr val="A1AAB1"/>
                </a:solidFill>
                <a:latin typeface="Arial" panose="020B0604020202020204"/>
                <a:cs typeface="Arial" pitchFamily="34" charset="0"/>
              </a:rPr>
              <a:t>kohortta</a:t>
            </a:r>
            <a:r>
              <a:rPr lang="es-ES" altLang="en-US" sz="600">
                <a:solidFill>
                  <a:srgbClr val="A1AAB1"/>
                </a:solidFill>
                <a:latin typeface="Arial" panose="020B0604020202020204"/>
                <a:cs typeface="Arial" pitchFamily="34" charset="0"/>
              </a:rPr>
              <a:t>, </a:t>
            </a:r>
            <a:r>
              <a:rPr lang="es-ES" altLang="en-US" sz="600" err="1">
                <a:solidFill>
                  <a:srgbClr val="A1AAB1"/>
                </a:solidFill>
                <a:latin typeface="Arial" panose="020B0604020202020204"/>
                <a:cs typeface="Arial" pitchFamily="34" charset="0"/>
              </a:rPr>
              <a:t>hastaların</a:t>
            </a:r>
            <a:r>
              <a:rPr lang="es-ES" altLang="en-US" sz="600">
                <a:solidFill>
                  <a:srgbClr val="A1AAB1"/>
                </a:solidFill>
                <a:latin typeface="Arial" panose="020B0604020202020204"/>
                <a:cs typeface="Arial" pitchFamily="34" charset="0"/>
              </a:rPr>
              <a:t> %51’i </a:t>
            </a:r>
            <a:r>
              <a:rPr lang="es-ES" altLang="en-US" sz="600" err="1">
                <a:solidFill>
                  <a:srgbClr val="A1AAB1"/>
                </a:solidFill>
                <a:latin typeface="Arial" panose="020B0604020202020204"/>
                <a:cs typeface="Arial" pitchFamily="34" charset="0"/>
              </a:rPr>
              <a:t>aşılandı</a:t>
            </a:r>
            <a:r>
              <a:rPr lang="es-ES" altLang="en-US" sz="600">
                <a:solidFill>
                  <a:srgbClr val="A1AAB1"/>
                </a:solidFill>
                <a:latin typeface="Arial" panose="020B0604020202020204"/>
                <a:cs typeface="Arial" pitchFamily="34" charset="0"/>
              </a:rPr>
              <a:t> ve %49’u </a:t>
            </a:r>
            <a:r>
              <a:rPr lang="es-ES" altLang="en-US" sz="600" err="1">
                <a:solidFill>
                  <a:srgbClr val="A1AAB1"/>
                </a:solidFill>
                <a:latin typeface="Arial" panose="020B0604020202020204"/>
                <a:cs typeface="Arial" pitchFamily="34" charset="0"/>
              </a:rPr>
              <a:t>aşılanmadı</a:t>
            </a:r>
            <a:r>
              <a:rPr lang="tr-TR" altLang="en-US" sz="600">
                <a:solidFill>
                  <a:srgbClr val="A1AAB1"/>
                </a:solidFill>
                <a:latin typeface="Arial" panose="020B0604020202020204"/>
                <a:cs typeface="Arial" pitchFamily="34" charset="0"/>
              </a:rPr>
              <a:t>.</a:t>
            </a:r>
          </a:p>
          <a:p>
            <a:pPr marL="0" indent="0" defTabSz="685800">
              <a:lnSpc>
                <a:spcPct val="100000"/>
              </a:lnSpc>
              <a:buClr>
                <a:srgbClr val="0000C9"/>
              </a:buClr>
              <a:defRPr/>
            </a:pPr>
            <a:r>
              <a:rPr lang="en-US" altLang="en-US" sz="600" baseline="30000">
                <a:solidFill>
                  <a:srgbClr val="A1AAB1"/>
                </a:solidFill>
                <a:latin typeface="Arial" panose="020B0604020202020204"/>
                <a:cs typeface="Arial" pitchFamily="34" charset="0"/>
              </a:rPr>
              <a:t>‡</a:t>
            </a:r>
            <a:r>
              <a:rPr lang="en-US" altLang="en-US" sz="600" err="1">
                <a:solidFill>
                  <a:srgbClr val="A1AAB1"/>
                </a:solidFill>
                <a:latin typeface="Arial" panose="020B0604020202020204"/>
                <a:cs typeface="Arial" pitchFamily="34" charset="0"/>
              </a:rPr>
              <a:t>Yalnızca</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bir</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tür</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aşı</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alan</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yetişkinler</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arasında</a:t>
            </a:r>
            <a:r>
              <a:rPr lang="en-US" altLang="en-US" sz="600">
                <a:solidFill>
                  <a:srgbClr val="A1AAB1"/>
                </a:solidFill>
                <a:latin typeface="Arial" panose="020B0604020202020204"/>
                <a:cs typeface="Arial" pitchFamily="34" charset="0"/>
              </a:rPr>
              <a:t>, ilk </a:t>
            </a:r>
            <a:r>
              <a:rPr lang="en-US" altLang="en-US" sz="600" err="1">
                <a:solidFill>
                  <a:srgbClr val="A1AAB1"/>
                </a:solidFill>
                <a:latin typeface="Arial" panose="020B0604020202020204"/>
                <a:cs typeface="Arial" pitchFamily="34" charset="0"/>
              </a:rPr>
              <a:t>dozdan</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itibaren</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en</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az</a:t>
            </a:r>
            <a:r>
              <a:rPr lang="en-US" altLang="en-US" sz="600">
                <a:solidFill>
                  <a:srgbClr val="A1AAB1"/>
                </a:solidFill>
                <a:latin typeface="Arial" panose="020B0604020202020204"/>
                <a:cs typeface="Arial" pitchFamily="34" charset="0"/>
              </a:rPr>
              <a:t> 12 </a:t>
            </a:r>
            <a:r>
              <a:rPr lang="en-US" altLang="en-US" sz="600" err="1">
                <a:solidFill>
                  <a:srgbClr val="A1AAB1"/>
                </a:solidFill>
                <a:latin typeface="Arial" panose="020B0604020202020204"/>
                <a:cs typeface="Arial" pitchFamily="34" charset="0"/>
              </a:rPr>
              <a:t>aylık</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takip</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süresi</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şu</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şekilde</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kaydedilmiştir</a:t>
            </a:r>
            <a:r>
              <a:rPr lang="en-US" altLang="en-US" sz="600">
                <a:solidFill>
                  <a:srgbClr val="A1AAB1"/>
                </a:solidFill>
                <a:latin typeface="Arial" panose="020B0604020202020204"/>
                <a:cs typeface="Arial" pitchFamily="34" charset="0"/>
              </a:rPr>
              <a:t>: PPSA23 </a:t>
            </a:r>
            <a:r>
              <a:rPr lang="en-US" altLang="en-US" sz="600" err="1">
                <a:solidFill>
                  <a:srgbClr val="A1AAB1"/>
                </a:solidFill>
                <a:latin typeface="Arial" panose="020B0604020202020204"/>
                <a:cs typeface="Arial" pitchFamily="34" charset="0"/>
              </a:rPr>
              <a:t>alan</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yetişkinlerin</a:t>
            </a:r>
            <a:r>
              <a:rPr lang="en-US" altLang="en-US" sz="600">
                <a:solidFill>
                  <a:srgbClr val="A1AAB1"/>
                </a:solidFill>
                <a:latin typeface="Arial" panose="020B0604020202020204"/>
                <a:cs typeface="Arial" pitchFamily="34" charset="0"/>
              </a:rPr>
              <a:t> %72,8’inde </a:t>
            </a:r>
            <a:r>
              <a:rPr lang="en-US" altLang="en-US" sz="600" err="1">
                <a:solidFill>
                  <a:srgbClr val="A1AAB1"/>
                </a:solidFill>
                <a:latin typeface="Arial" panose="020B0604020202020204"/>
                <a:cs typeface="Arial" pitchFamily="34" charset="0"/>
              </a:rPr>
              <a:t>ve</a:t>
            </a:r>
            <a:r>
              <a:rPr lang="en-US" altLang="en-US" sz="600">
                <a:solidFill>
                  <a:srgbClr val="A1AAB1"/>
                </a:solidFill>
                <a:latin typeface="Arial" panose="020B0604020202020204"/>
                <a:cs typeface="Arial" pitchFamily="34" charset="0"/>
              </a:rPr>
              <a:t> PCV13 </a:t>
            </a:r>
            <a:r>
              <a:rPr lang="en-US" altLang="en-US" sz="600" err="1">
                <a:solidFill>
                  <a:srgbClr val="A1AAB1"/>
                </a:solidFill>
                <a:latin typeface="Arial" panose="020B0604020202020204"/>
                <a:cs typeface="Arial" pitchFamily="34" charset="0"/>
              </a:rPr>
              <a:t>alan</a:t>
            </a:r>
            <a:r>
              <a:rPr lang="en-US" altLang="en-US" sz="600">
                <a:solidFill>
                  <a:srgbClr val="A1AAB1"/>
                </a:solidFill>
                <a:latin typeface="Arial" panose="020B0604020202020204"/>
                <a:cs typeface="Arial" pitchFamily="34" charset="0"/>
              </a:rPr>
              <a:t> </a:t>
            </a:r>
            <a:r>
              <a:rPr lang="en-US" altLang="en-US" sz="600" err="1">
                <a:solidFill>
                  <a:srgbClr val="A1AAB1"/>
                </a:solidFill>
                <a:latin typeface="Arial" panose="020B0604020202020204"/>
                <a:cs typeface="Arial" pitchFamily="34" charset="0"/>
              </a:rPr>
              <a:t>yetişkinlerin</a:t>
            </a:r>
            <a:r>
              <a:rPr lang="en-US" altLang="en-US" sz="600">
                <a:solidFill>
                  <a:srgbClr val="A1AAB1"/>
                </a:solidFill>
                <a:latin typeface="Arial" panose="020B0604020202020204"/>
                <a:cs typeface="Arial" pitchFamily="34" charset="0"/>
              </a:rPr>
              <a:t> %53,4’ünde.</a:t>
            </a:r>
            <a:endParaRPr lang="tr-TR" altLang="en-US" sz="600">
              <a:solidFill>
                <a:srgbClr val="A1AAB1"/>
              </a:solidFill>
              <a:latin typeface="Arial" panose="020B0604020202020204"/>
              <a:cs typeface="Arial" pitchFamily="34" charset="0"/>
            </a:endParaRPr>
          </a:p>
          <a:p>
            <a:pPr marL="0" indent="0" defTabSz="685800">
              <a:lnSpc>
                <a:spcPct val="100000"/>
              </a:lnSpc>
              <a:buClr>
                <a:srgbClr val="0000C9"/>
              </a:buClr>
              <a:defRPr/>
            </a:pPr>
            <a:r>
              <a:rPr lang="en-US" sz="600">
                <a:solidFill>
                  <a:srgbClr val="A1AAB1"/>
                </a:solidFill>
                <a:latin typeface="Arial" panose="020B0604020202020204"/>
                <a:cs typeface="Arial" pitchFamily="34" charset="0"/>
              </a:rPr>
              <a:t>Yang X, et al. </a:t>
            </a:r>
            <a:r>
              <a:rPr lang="en-US" sz="600" i="1">
                <a:solidFill>
                  <a:srgbClr val="A1AAB1"/>
                </a:solidFill>
                <a:latin typeface="Arial" panose="020B0604020202020204"/>
                <a:cs typeface="Arial" pitchFamily="34" charset="0"/>
              </a:rPr>
              <a:t>Vaccine</a:t>
            </a:r>
            <a:r>
              <a:rPr lang="en-US" sz="600">
                <a:solidFill>
                  <a:srgbClr val="A1AAB1"/>
                </a:solidFill>
                <a:latin typeface="Arial" panose="020B0604020202020204"/>
                <a:cs typeface="Arial" pitchFamily="34" charset="0"/>
              </a:rPr>
              <a:t>. 2018;36:7574-7579</a:t>
            </a:r>
            <a:endParaRPr lang="en-US" altLang="en-US" sz="600">
              <a:solidFill>
                <a:srgbClr val="A1AAB1"/>
              </a:solidFill>
              <a:latin typeface="Arial" panose="020B0604020202020204"/>
              <a:cs typeface="Arial" pitchFamily="34" charset="0"/>
            </a:endParaRPr>
          </a:p>
        </p:txBody>
      </p:sp>
      <p:sp>
        <p:nvSpPr>
          <p:cNvPr id="10" name="Title 2">
            <a:extLst>
              <a:ext uri="{FF2B5EF4-FFF2-40B4-BE49-F238E27FC236}">
                <a16:creationId xmlns:a16="http://schemas.microsoft.com/office/drawing/2014/main" id="{4B487B57-BCFF-6DDE-F565-BE8588D1955F}"/>
              </a:ext>
            </a:extLst>
          </p:cNvPr>
          <p:cNvSpPr txBox="1">
            <a:spLocks/>
          </p:cNvSpPr>
          <p:nvPr/>
        </p:nvSpPr>
        <p:spPr>
          <a:xfrm>
            <a:off x="2126769" y="2184539"/>
            <a:ext cx="4113261" cy="782444"/>
          </a:xfrm>
          <a:prstGeom prst="rect">
            <a:avLst/>
          </a:prstGeom>
          <a:noFill/>
          <a:ln>
            <a:noFill/>
          </a:ln>
        </p:spPr>
        <p:txBody>
          <a:bodyPr spcFirstLastPara="1" wrap="square" lIns="91385" tIns="91385" rIns="91385" bIns="91385" anchor="ctr" anchorCtr="0">
            <a:noAutofit/>
          </a:bodyPr>
          <a:lstStyle>
            <a:defPPr marR="0" lvl="0" algn="l" rtl="0">
              <a:lnSpc>
                <a:spcPct val="100000"/>
              </a:lnSpc>
              <a:spcBef>
                <a:spcPts val="0"/>
              </a:spcBef>
              <a:spcAft>
                <a:spcPts val="0"/>
              </a:spcAft>
            </a:defPPr>
            <a:lvl1pPr marR="0" lvl="0" algn="l" rtl="0" eaLnBrk="1" hangingPunct="1">
              <a:lnSpc>
                <a:spcPct val="80000"/>
              </a:lnSpc>
              <a:spcBef>
                <a:spcPts val="0"/>
              </a:spcBef>
              <a:spcAft>
                <a:spcPts val="0"/>
              </a:spcAft>
              <a:buClr>
                <a:schemeClr val="dk2"/>
              </a:buClr>
              <a:buSzPts val="2400"/>
              <a:buFont typeface="Arial"/>
              <a:buNone/>
              <a:defRPr sz="2800" b="1" i="0" u="none" strike="noStrike" cap="none" spc="-100" baseline="0">
                <a:solidFill>
                  <a:schemeClr val="tx1"/>
                </a:solidFill>
                <a:latin typeface="+mn-lt"/>
                <a:ea typeface="Arial"/>
                <a:cs typeface="Arial"/>
                <a:sym typeface="Arial"/>
              </a:defRPr>
            </a:lvl1pPr>
            <a:lvl2pPr marR="0" lvl="1"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2pPr>
            <a:lvl3pPr marR="0" lvl="2"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3pPr>
            <a:lvl4pPr marR="0" lvl="3"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4pPr>
            <a:lvl5pPr marR="0" lvl="4"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5pPr>
            <a:lvl6pPr marR="0" lvl="5"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6pPr>
            <a:lvl7pPr marR="0" lvl="6"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7pPr>
            <a:lvl8pPr marR="0" lvl="7"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8pPr>
            <a:lvl9pPr marR="0" lvl="8"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9pPr>
          </a:lstStyle>
          <a:p>
            <a:pPr defTabSz="685800">
              <a:lnSpc>
                <a:spcPct val="100000"/>
              </a:lnSpc>
              <a:spcAft>
                <a:spcPts val="450"/>
              </a:spcAft>
              <a:buClr>
                <a:srgbClr val="00004E"/>
              </a:buClr>
              <a:defRPr/>
            </a:pPr>
            <a:r>
              <a:rPr lang="en-US" sz="1349" kern="0" spc="-75">
                <a:solidFill>
                  <a:srgbClr val="000000"/>
                </a:solidFill>
                <a:latin typeface="Arial" panose="020B0604020202020204"/>
              </a:rPr>
              <a:t>En Az 1 </a:t>
            </a:r>
            <a:r>
              <a:rPr lang="en-US" sz="1349" kern="0" spc="-75" err="1">
                <a:solidFill>
                  <a:srgbClr val="000000"/>
                </a:solidFill>
                <a:latin typeface="Arial" panose="020B0604020202020204"/>
              </a:rPr>
              <a:t>Doz</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Aşı</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Almış</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ABD'li</a:t>
            </a:r>
            <a:r>
              <a:rPr lang="en-US" sz="1349" kern="0" spc="-75">
                <a:solidFill>
                  <a:srgbClr val="000000"/>
                </a:solidFill>
                <a:latin typeface="Arial" panose="020B0604020202020204"/>
              </a:rPr>
              <a:t> ≥</a:t>
            </a:r>
            <a:r>
              <a:rPr lang="tr-TR" sz="1349" kern="0" spc="-75">
                <a:solidFill>
                  <a:srgbClr val="000000"/>
                </a:solidFill>
                <a:latin typeface="Arial" panose="020B0604020202020204"/>
              </a:rPr>
              <a:t> </a:t>
            </a:r>
            <a:r>
              <a:rPr lang="en-US" sz="1349" kern="0" spc="-75">
                <a:solidFill>
                  <a:srgbClr val="000000"/>
                </a:solidFill>
                <a:latin typeface="Arial" panose="020B0604020202020204"/>
              </a:rPr>
              <a:t>65 </a:t>
            </a:r>
            <a:r>
              <a:rPr lang="en-US" sz="1349" kern="0" spc="-75" err="1">
                <a:solidFill>
                  <a:srgbClr val="000000"/>
                </a:solidFill>
                <a:latin typeface="Arial" panose="020B0604020202020204"/>
              </a:rPr>
              <a:t>Yaş</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erişkinler</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Arasında</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Pnömokok</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Aşısı</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Önerilerine</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Uyum</a:t>
            </a:r>
            <a:r>
              <a:rPr lang="en-US" sz="1349" kern="0" spc="-75">
                <a:solidFill>
                  <a:srgbClr val="000000"/>
                </a:solidFill>
                <a:latin typeface="Arial" panose="020B0604020202020204"/>
              </a:rPr>
              <a:t> *</a:t>
            </a:r>
            <a:r>
              <a:rPr lang="en-US" sz="1349" kern="0" spc="-75" baseline="30000">
                <a:solidFill>
                  <a:srgbClr val="000000"/>
                </a:solidFill>
                <a:latin typeface="Arial" panose="020B0604020202020204"/>
              </a:rPr>
              <a:t>†</a:t>
            </a:r>
          </a:p>
          <a:p>
            <a:pPr defTabSz="685800">
              <a:lnSpc>
                <a:spcPct val="100000"/>
              </a:lnSpc>
              <a:spcAft>
                <a:spcPts val="450"/>
              </a:spcAft>
              <a:buClr>
                <a:srgbClr val="00004E"/>
              </a:buClr>
              <a:defRPr/>
            </a:pPr>
            <a:r>
              <a:rPr lang="en-US" sz="1050" b="0" kern="0" spc="-75">
                <a:solidFill>
                  <a:srgbClr val="000000"/>
                </a:solidFill>
                <a:latin typeface="Arial" panose="020B0604020202020204"/>
              </a:rPr>
              <a:t>N=114,359</a:t>
            </a:r>
            <a:endParaRPr lang="en-US" sz="1349" kern="0" spc="-75">
              <a:solidFill>
                <a:srgbClr val="000000"/>
              </a:solidFill>
              <a:latin typeface="Arial" panose="020B0604020202020204"/>
            </a:endParaRPr>
          </a:p>
        </p:txBody>
      </p:sp>
      <p:graphicFrame>
        <p:nvGraphicFramePr>
          <p:cNvPr id="11" name="Chart 10">
            <a:extLst>
              <a:ext uri="{FF2B5EF4-FFF2-40B4-BE49-F238E27FC236}">
                <a16:creationId xmlns:a16="http://schemas.microsoft.com/office/drawing/2014/main" id="{47261AFF-7EF3-B4F7-A71D-3177156C69DA}"/>
              </a:ext>
            </a:extLst>
          </p:cNvPr>
          <p:cNvGraphicFramePr/>
          <p:nvPr/>
        </p:nvGraphicFramePr>
        <p:xfrm>
          <a:off x="5699362" y="1943490"/>
          <a:ext cx="4567504" cy="3239773"/>
        </p:xfrm>
        <a:graphic>
          <a:graphicData uri="http://schemas.openxmlformats.org/drawingml/2006/chart">
            <c:chart xmlns:c="http://schemas.openxmlformats.org/drawingml/2006/chart" xmlns:r="http://schemas.openxmlformats.org/officeDocument/2006/relationships" r:id="rId2"/>
          </a:graphicData>
        </a:graphic>
      </p:graphicFrame>
      <p:sp>
        <p:nvSpPr>
          <p:cNvPr id="12" name="Title 2">
            <a:extLst>
              <a:ext uri="{FF2B5EF4-FFF2-40B4-BE49-F238E27FC236}">
                <a16:creationId xmlns:a16="http://schemas.microsoft.com/office/drawing/2014/main" id="{45FB11AA-2934-FE38-3F4D-03F6B66C3374}"/>
              </a:ext>
            </a:extLst>
          </p:cNvPr>
          <p:cNvSpPr txBox="1">
            <a:spLocks/>
          </p:cNvSpPr>
          <p:nvPr/>
        </p:nvSpPr>
        <p:spPr>
          <a:xfrm>
            <a:off x="8922986" y="2273786"/>
            <a:ext cx="1142247" cy="535061"/>
          </a:xfrm>
          <a:prstGeom prst="rect">
            <a:avLst/>
          </a:prstGeom>
          <a:noFill/>
          <a:ln>
            <a:noFill/>
          </a:ln>
        </p:spPr>
        <p:txBody>
          <a:bodyPr spcFirstLastPara="1" wrap="square" lIns="91385" tIns="91385" rIns="91385" bIns="91385" anchor="t" anchorCtr="0">
            <a:noAutofit/>
          </a:bodyPr>
          <a:lstStyle>
            <a:defPPr marR="0" lvl="0" algn="l" rtl="0">
              <a:lnSpc>
                <a:spcPct val="100000"/>
              </a:lnSpc>
              <a:spcBef>
                <a:spcPts val="0"/>
              </a:spcBef>
              <a:spcAft>
                <a:spcPts val="0"/>
              </a:spcAft>
            </a:defPPr>
            <a:lvl1pPr marR="0" lvl="0" algn="l" rtl="0" eaLnBrk="1" hangingPunct="1">
              <a:lnSpc>
                <a:spcPct val="80000"/>
              </a:lnSpc>
              <a:spcBef>
                <a:spcPts val="0"/>
              </a:spcBef>
              <a:spcAft>
                <a:spcPts val="0"/>
              </a:spcAft>
              <a:buClr>
                <a:schemeClr val="dk2"/>
              </a:buClr>
              <a:buSzPts val="2400"/>
              <a:buFont typeface="Arial"/>
              <a:buNone/>
              <a:defRPr sz="2800" b="1" i="0" u="none" strike="noStrike" cap="none" spc="-100" baseline="0">
                <a:solidFill>
                  <a:schemeClr val="tx1"/>
                </a:solidFill>
                <a:latin typeface="+mn-lt"/>
                <a:ea typeface="Arial"/>
                <a:cs typeface="Arial"/>
                <a:sym typeface="Arial"/>
              </a:defRPr>
            </a:lvl1pPr>
            <a:lvl2pPr marR="0" lvl="1"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2pPr>
            <a:lvl3pPr marR="0" lvl="2"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3pPr>
            <a:lvl4pPr marR="0" lvl="3"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4pPr>
            <a:lvl5pPr marR="0" lvl="4"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5pPr>
            <a:lvl6pPr marR="0" lvl="5"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6pPr>
            <a:lvl7pPr marR="0" lvl="6"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7pPr>
            <a:lvl8pPr marR="0" lvl="7"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8pPr>
            <a:lvl9pPr marR="0" lvl="8"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9pPr>
          </a:lstStyle>
          <a:p>
            <a:pPr algn="ctr" defTabSz="685800">
              <a:lnSpc>
                <a:spcPct val="100000"/>
              </a:lnSpc>
              <a:buClr>
                <a:srgbClr val="00004E"/>
              </a:buClr>
              <a:defRPr/>
            </a:pPr>
            <a:endParaRPr lang="en-US" sz="900" kern="0" spc="0">
              <a:solidFill>
                <a:srgbClr val="C00000"/>
              </a:solidFill>
              <a:latin typeface="Arial" panose="020B0604020202020204"/>
            </a:endParaRPr>
          </a:p>
          <a:p>
            <a:pPr algn="ctr" defTabSz="685800">
              <a:lnSpc>
                <a:spcPct val="100000"/>
              </a:lnSpc>
              <a:buClr>
                <a:srgbClr val="00004E"/>
              </a:buClr>
              <a:defRPr/>
            </a:pPr>
            <a:r>
              <a:rPr lang="tr-TR" sz="900" kern="0" spc="0">
                <a:solidFill>
                  <a:srgbClr val="C00000"/>
                </a:solidFill>
                <a:latin typeface="Arial" panose="020B0604020202020204"/>
              </a:rPr>
              <a:t>Sadece </a:t>
            </a:r>
            <a:r>
              <a:rPr lang="en-US" sz="900" kern="0" spc="0">
                <a:solidFill>
                  <a:srgbClr val="C00000"/>
                </a:solidFill>
                <a:latin typeface="Arial" panose="020B0604020202020204"/>
              </a:rPr>
              <a:t>PPSA23 </a:t>
            </a:r>
            <a:r>
              <a:rPr lang="en-US" sz="900" kern="0" spc="0" baseline="30000">
                <a:solidFill>
                  <a:srgbClr val="C00000"/>
                </a:solidFill>
                <a:latin typeface="Arial" panose="020B0604020202020204"/>
              </a:rPr>
              <a:t>‡</a:t>
            </a:r>
          </a:p>
        </p:txBody>
      </p:sp>
      <p:sp>
        <p:nvSpPr>
          <p:cNvPr id="13" name="Title 2">
            <a:extLst>
              <a:ext uri="{FF2B5EF4-FFF2-40B4-BE49-F238E27FC236}">
                <a16:creationId xmlns:a16="http://schemas.microsoft.com/office/drawing/2014/main" id="{2A2967E8-E16F-193E-D780-ECD3D5E3C887}"/>
              </a:ext>
            </a:extLst>
          </p:cNvPr>
          <p:cNvSpPr txBox="1">
            <a:spLocks/>
          </p:cNvSpPr>
          <p:nvPr/>
        </p:nvSpPr>
        <p:spPr>
          <a:xfrm>
            <a:off x="8749321" y="4362209"/>
            <a:ext cx="1252104" cy="580874"/>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80000"/>
              </a:lnSpc>
              <a:spcBef>
                <a:spcPts val="0"/>
              </a:spcBef>
              <a:spcAft>
                <a:spcPts val="0"/>
              </a:spcAft>
              <a:buClr>
                <a:schemeClr val="dk2"/>
              </a:buClr>
              <a:buSzPts val="2400"/>
              <a:buFont typeface="Arial"/>
              <a:buNone/>
              <a:defRPr sz="2800" b="1" i="0" u="none" strike="noStrike" cap="none" spc="-100" baseline="0">
                <a:solidFill>
                  <a:schemeClr val="tx1"/>
                </a:solidFill>
                <a:latin typeface="+mn-lt"/>
                <a:ea typeface="Arial"/>
                <a:cs typeface="Arial"/>
                <a:sym typeface="Arial"/>
              </a:defRPr>
            </a:lvl1pPr>
            <a:lvl2pPr marR="0" lvl="1"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2pPr>
            <a:lvl3pPr marR="0" lvl="2"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3pPr>
            <a:lvl4pPr marR="0" lvl="3"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4pPr>
            <a:lvl5pPr marR="0" lvl="4"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5pPr>
            <a:lvl6pPr marR="0" lvl="5"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6pPr>
            <a:lvl7pPr marR="0" lvl="6"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7pPr>
            <a:lvl8pPr marR="0" lvl="7"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8pPr>
            <a:lvl9pPr marR="0" lvl="8"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9pPr>
          </a:lstStyle>
          <a:p>
            <a:pPr algn="ctr" defTabSz="685800">
              <a:lnSpc>
                <a:spcPct val="100000"/>
              </a:lnSpc>
              <a:buClr>
                <a:srgbClr val="00004E"/>
              </a:buClr>
              <a:defRPr/>
            </a:pPr>
            <a:r>
              <a:rPr lang="tr-TR" sz="900" kern="0" spc="0">
                <a:solidFill>
                  <a:srgbClr val="C00000"/>
                </a:solidFill>
                <a:latin typeface="Arial" panose="020B0604020202020204"/>
              </a:rPr>
              <a:t>Sadece </a:t>
            </a:r>
            <a:r>
              <a:rPr lang="en-US" sz="900" kern="0" spc="0">
                <a:solidFill>
                  <a:srgbClr val="C00000"/>
                </a:solidFill>
                <a:latin typeface="Arial" panose="020B0604020202020204"/>
              </a:rPr>
              <a:t>KPA13 </a:t>
            </a:r>
            <a:r>
              <a:rPr lang="en-US" sz="900" kern="0" spc="0" baseline="30000">
                <a:solidFill>
                  <a:srgbClr val="C00000"/>
                </a:solidFill>
                <a:latin typeface="Arial" panose="020B0604020202020204"/>
              </a:rPr>
              <a:t>‡</a:t>
            </a:r>
          </a:p>
        </p:txBody>
      </p:sp>
      <p:sp>
        <p:nvSpPr>
          <p:cNvPr id="14" name="Title 2">
            <a:extLst>
              <a:ext uri="{FF2B5EF4-FFF2-40B4-BE49-F238E27FC236}">
                <a16:creationId xmlns:a16="http://schemas.microsoft.com/office/drawing/2014/main" id="{4174F702-474D-BC2A-2591-F954FEA801C1}"/>
              </a:ext>
            </a:extLst>
          </p:cNvPr>
          <p:cNvSpPr txBox="1">
            <a:spLocks/>
          </p:cNvSpPr>
          <p:nvPr/>
        </p:nvSpPr>
        <p:spPr>
          <a:xfrm>
            <a:off x="6280347" y="2057141"/>
            <a:ext cx="1224662" cy="535061"/>
          </a:xfrm>
          <a:prstGeom prst="rect">
            <a:avLst/>
          </a:prstGeom>
          <a:noFill/>
          <a:ln>
            <a:noFill/>
          </a:ln>
        </p:spPr>
        <p:txBody>
          <a:bodyPr spcFirstLastPara="1" wrap="square" lIns="91385" tIns="91385" rIns="91385" bIns="91385" anchor="t" anchorCtr="0">
            <a:noAutofit/>
          </a:bodyPr>
          <a:lstStyle>
            <a:defPPr marR="0" lvl="0" algn="l" rtl="0">
              <a:lnSpc>
                <a:spcPct val="100000"/>
              </a:lnSpc>
              <a:spcBef>
                <a:spcPts val="0"/>
              </a:spcBef>
              <a:spcAft>
                <a:spcPts val="0"/>
              </a:spcAft>
            </a:defPPr>
            <a:lvl1pPr marR="0" lvl="0" algn="l" rtl="0" eaLnBrk="1" hangingPunct="1">
              <a:lnSpc>
                <a:spcPct val="80000"/>
              </a:lnSpc>
              <a:spcBef>
                <a:spcPts val="0"/>
              </a:spcBef>
              <a:spcAft>
                <a:spcPts val="0"/>
              </a:spcAft>
              <a:buClr>
                <a:schemeClr val="dk2"/>
              </a:buClr>
              <a:buSzPts val="2400"/>
              <a:buFont typeface="Arial"/>
              <a:buNone/>
              <a:defRPr sz="2800" b="1" i="0" u="none" strike="noStrike" cap="none" spc="-100" baseline="0">
                <a:solidFill>
                  <a:schemeClr val="tx1"/>
                </a:solidFill>
                <a:latin typeface="+mn-lt"/>
                <a:ea typeface="Arial"/>
                <a:cs typeface="Arial"/>
                <a:sym typeface="Arial"/>
              </a:defRPr>
            </a:lvl1pPr>
            <a:lvl2pPr marR="0" lvl="1"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2pPr>
            <a:lvl3pPr marR="0" lvl="2"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3pPr>
            <a:lvl4pPr marR="0" lvl="3"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4pPr>
            <a:lvl5pPr marR="0" lvl="4"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5pPr>
            <a:lvl6pPr marR="0" lvl="5"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6pPr>
            <a:lvl7pPr marR="0" lvl="6"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7pPr>
            <a:lvl8pPr marR="0" lvl="7"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8pPr>
            <a:lvl9pPr marR="0" lvl="8"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9pPr>
          </a:lstStyle>
          <a:p>
            <a:pPr algn="ctr" defTabSz="685800">
              <a:lnSpc>
                <a:spcPct val="100000"/>
              </a:lnSpc>
              <a:buClr>
                <a:srgbClr val="00004E"/>
              </a:buClr>
              <a:defRPr/>
            </a:pPr>
            <a:r>
              <a:rPr lang="en-US" sz="900" kern="0" spc="0">
                <a:solidFill>
                  <a:srgbClr val="C00000"/>
                </a:solidFill>
                <a:latin typeface="Arial" panose="020B0604020202020204"/>
              </a:rPr>
              <a:t>PPSA23</a:t>
            </a:r>
            <a:r>
              <a:rPr lang="en-US" sz="900" kern="0" spc="0">
                <a:solidFill>
                  <a:srgbClr val="C00000"/>
                </a:solidFill>
                <a:latin typeface="Arial" panose="020B0604020202020204"/>
                <a:sym typeface="Wingdings" pitchFamily="2" charset="2"/>
              </a:rPr>
              <a:t></a:t>
            </a:r>
            <a:r>
              <a:rPr lang="en-US" sz="900" kern="0" spc="0">
                <a:solidFill>
                  <a:srgbClr val="C00000"/>
                </a:solidFill>
                <a:latin typeface="Arial" panose="020B0604020202020204"/>
              </a:rPr>
              <a:t>KPA13</a:t>
            </a:r>
            <a:br>
              <a:rPr lang="en-US" sz="900" kern="0" spc="0">
                <a:solidFill>
                  <a:srgbClr val="C00000"/>
                </a:solidFill>
                <a:latin typeface="Arial" panose="020B0604020202020204"/>
              </a:rPr>
            </a:br>
            <a:r>
              <a:rPr lang="tr-TR" sz="900" kern="0" spc="0">
                <a:solidFill>
                  <a:srgbClr val="C00000"/>
                </a:solidFill>
                <a:latin typeface="Arial" panose="020B0604020202020204"/>
              </a:rPr>
              <a:t>Ters sırayla olanlar</a:t>
            </a:r>
            <a:r>
              <a:rPr lang="en-US" sz="900" kern="0" spc="0">
                <a:solidFill>
                  <a:srgbClr val="C00000"/>
                </a:solidFill>
                <a:latin typeface="Arial" panose="020B0604020202020204"/>
              </a:rPr>
              <a:t>*</a:t>
            </a:r>
          </a:p>
        </p:txBody>
      </p:sp>
      <p:sp>
        <p:nvSpPr>
          <p:cNvPr id="15" name="Rounded Rectangular Callout 19">
            <a:extLst>
              <a:ext uri="{FF2B5EF4-FFF2-40B4-BE49-F238E27FC236}">
                <a16:creationId xmlns:a16="http://schemas.microsoft.com/office/drawing/2014/main" id="{6A1944F3-892F-D2EF-A3C4-744A567478D5}"/>
              </a:ext>
            </a:extLst>
          </p:cNvPr>
          <p:cNvSpPr/>
          <p:nvPr/>
        </p:nvSpPr>
        <p:spPr>
          <a:xfrm>
            <a:off x="2385369" y="3088484"/>
            <a:ext cx="3309266" cy="837982"/>
          </a:xfrm>
          <a:prstGeom prst="wedgeRoundRectCallout">
            <a:avLst>
              <a:gd name="adj1" fmla="val 77899"/>
              <a:gd name="adj2" fmla="val -8190"/>
              <a:gd name="adj3" fmla="val 16667"/>
            </a:avLst>
          </a:prstGeom>
          <a:solidFill>
            <a:srgbClr val="0000C9">
              <a:lumMod val="75000"/>
            </a:srgbClr>
          </a:solidFill>
          <a:ln w="25400" cap="flat" cmpd="sng" algn="ctr">
            <a:noFill/>
            <a:prstDash val="solid"/>
          </a:ln>
          <a:effectLst/>
        </p:spPr>
        <p:txBody>
          <a:bodyPr rtlCol="0" anchor="ctr"/>
          <a:lstStyle/>
          <a:p>
            <a:pPr algn="ctr" defTabSz="685800">
              <a:buClr>
                <a:srgbClr val="000000"/>
              </a:buClr>
              <a:defRPr/>
            </a:pPr>
            <a:r>
              <a:rPr lang="en-US" sz="1349" b="1" kern="0" err="1">
                <a:solidFill>
                  <a:srgbClr val="FFFFFF"/>
                </a:solidFill>
                <a:latin typeface="Arial" panose="020B0604020202020204"/>
                <a:sym typeface="Arial"/>
              </a:rPr>
              <a:t>Aşılanan</a:t>
            </a:r>
            <a:r>
              <a:rPr lang="en-US" sz="1349" b="1" kern="0">
                <a:solidFill>
                  <a:srgbClr val="FFFFFF"/>
                </a:solidFill>
                <a:latin typeface="Arial" panose="020B0604020202020204"/>
                <a:sym typeface="Arial"/>
              </a:rPr>
              <a:t> </a:t>
            </a:r>
            <a:r>
              <a:rPr lang="en-US" sz="1349" b="1" kern="0" err="1">
                <a:solidFill>
                  <a:srgbClr val="FFFFFF"/>
                </a:solidFill>
                <a:latin typeface="Arial" panose="020B0604020202020204"/>
                <a:sym typeface="Arial"/>
              </a:rPr>
              <a:t>hastaların</a:t>
            </a:r>
            <a:r>
              <a:rPr lang="en-US" sz="1349" b="1" kern="0">
                <a:solidFill>
                  <a:srgbClr val="FFFFFF"/>
                </a:solidFill>
                <a:latin typeface="Arial" panose="020B0604020202020204"/>
                <a:sym typeface="Arial"/>
              </a:rPr>
              <a:t> </a:t>
            </a:r>
            <a:r>
              <a:rPr lang="en-US" sz="1349" b="1" kern="0" err="1">
                <a:solidFill>
                  <a:srgbClr val="FFFFFF"/>
                </a:solidFill>
                <a:latin typeface="Arial" panose="020B0604020202020204"/>
                <a:sym typeface="Arial"/>
              </a:rPr>
              <a:t>sadece</a:t>
            </a:r>
            <a:r>
              <a:rPr lang="en-US" sz="1349" b="1" kern="0">
                <a:solidFill>
                  <a:srgbClr val="FFFFFF"/>
                </a:solidFill>
                <a:latin typeface="Arial" panose="020B0604020202020204"/>
                <a:sym typeface="Arial"/>
              </a:rPr>
              <a:t> %15'i KPA13-PPSA23 </a:t>
            </a:r>
            <a:r>
              <a:rPr lang="tr-TR" sz="1349" b="1" kern="0">
                <a:solidFill>
                  <a:srgbClr val="FFFFFF"/>
                </a:solidFill>
                <a:latin typeface="Arial" panose="020B0604020202020204"/>
                <a:sym typeface="Arial"/>
              </a:rPr>
              <a:t>sırasını</a:t>
            </a:r>
            <a:r>
              <a:rPr lang="en-US" sz="1349" b="1" kern="0">
                <a:solidFill>
                  <a:srgbClr val="FFFFFF"/>
                </a:solidFill>
                <a:latin typeface="Arial" panose="020B0604020202020204"/>
                <a:sym typeface="Arial"/>
              </a:rPr>
              <a:t> </a:t>
            </a:r>
            <a:r>
              <a:rPr lang="en-US" sz="1349" b="1" kern="0" err="1">
                <a:solidFill>
                  <a:srgbClr val="FFFFFF"/>
                </a:solidFill>
                <a:latin typeface="Arial" panose="020B0604020202020204"/>
                <a:sym typeface="Arial"/>
              </a:rPr>
              <a:t>doğru</a:t>
            </a:r>
            <a:r>
              <a:rPr lang="en-US" sz="1349" b="1" kern="0">
                <a:solidFill>
                  <a:srgbClr val="FFFFFF"/>
                </a:solidFill>
                <a:latin typeface="Arial" panose="020B0604020202020204"/>
                <a:sym typeface="Arial"/>
              </a:rPr>
              <a:t> </a:t>
            </a:r>
            <a:r>
              <a:rPr lang="en-US" sz="1349" b="1" kern="0" err="1">
                <a:solidFill>
                  <a:srgbClr val="FFFFFF"/>
                </a:solidFill>
                <a:latin typeface="Arial" panose="020B0604020202020204"/>
                <a:sym typeface="Arial"/>
              </a:rPr>
              <a:t>bir</a:t>
            </a:r>
            <a:r>
              <a:rPr lang="en-US" sz="1349" b="1" kern="0">
                <a:solidFill>
                  <a:srgbClr val="FFFFFF"/>
                </a:solidFill>
                <a:latin typeface="Arial" panose="020B0604020202020204"/>
                <a:sym typeface="Arial"/>
              </a:rPr>
              <a:t> </a:t>
            </a:r>
            <a:r>
              <a:rPr lang="en-US" sz="1349" b="1" kern="0" err="1">
                <a:solidFill>
                  <a:srgbClr val="FFFFFF"/>
                </a:solidFill>
                <a:latin typeface="Arial" panose="020B0604020202020204"/>
                <a:sym typeface="Arial"/>
              </a:rPr>
              <a:t>şekilde</a:t>
            </a:r>
            <a:r>
              <a:rPr lang="en-US" sz="1349" b="1" kern="0">
                <a:solidFill>
                  <a:srgbClr val="FFFFFF"/>
                </a:solidFill>
                <a:latin typeface="Arial" panose="020B0604020202020204"/>
                <a:sym typeface="Arial"/>
              </a:rPr>
              <a:t> </a:t>
            </a:r>
            <a:r>
              <a:rPr lang="en-US" sz="1349" b="1" kern="0" err="1">
                <a:solidFill>
                  <a:srgbClr val="FFFFFF"/>
                </a:solidFill>
                <a:latin typeface="Arial" panose="020B0604020202020204"/>
                <a:sym typeface="Arial"/>
              </a:rPr>
              <a:t>tamamladı</a:t>
            </a:r>
            <a:r>
              <a:rPr lang="tr-TR" sz="1349" b="1" kern="0">
                <a:solidFill>
                  <a:srgbClr val="FFFFFF"/>
                </a:solidFill>
                <a:latin typeface="Arial" panose="020B0604020202020204"/>
                <a:sym typeface="Arial"/>
              </a:rPr>
              <a:t>.</a:t>
            </a:r>
            <a:r>
              <a:rPr lang="en-US" sz="1349" b="1" kern="0" baseline="30000">
                <a:solidFill>
                  <a:srgbClr val="FFFFFF"/>
                </a:solidFill>
                <a:latin typeface="Arial" panose="020B0604020202020204"/>
                <a:sym typeface="Arial"/>
              </a:rPr>
              <a:t>‡</a:t>
            </a:r>
          </a:p>
        </p:txBody>
      </p:sp>
      <p:sp>
        <p:nvSpPr>
          <p:cNvPr id="16" name="TextBox 15">
            <a:extLst>
              <a:ext uri="{FF2B5EF4-FFF2-40B4-BE49-F238E27FC236}">
                <a16:creationId xmlns:a16="http://schemas.microsoft.com/office/drawing/2014/main" id="{8BB58DF3-FC53-47D7-91AF-DAC795152FDB}"/>
              </a:ext>
            </a:extLst>
          </p:cNvPr>
          <p:cNvSpPr txBox="1"/>
          <p:nvPr/>
        </p:nvSpPr>
        <p:spPr>
          <a:xfrm>
            <a:off x="9227796" y="5735583"/>
            <a:ext cx="1279072" cy="230832"/>
          </a:xfrm>
          <a:prstGeom prst="rect">
            <a:avLst/>
          </a:prstGeom>
          <a:noFill/>
        </p:spPr>
        <p:txBody>
          <a:bodyPr wrap="square">
            <a:spAutoFit/>
          </a:bodyPr>
          <a:lstStyle/>
          <a:p>
            <a:pPr defTabSz="685800">
              <a:defRPr/>
            </a:pPr>
            <a:r>
              <a:rPr lang="en-US" b="1">
                <a:solidFill>
                  <a:srgbClr val="353B3E"/>
                </a:solidFill>
                <a:latin typeface="Calibri" panose="020F0502020204030204"/>
              </a:rPr>
              <a:t>EM-TUR-PCV-0012 (V4)</a:t>
            </a:r>
          </a:p>
        </p:txBody>
      </p:sp>
      <p:sp>
        <p:nvSpPr>
          <p:cNvPr id="9" name="TextBox 8">
            <a:extLst>
              <a:ext uri="{FF2B5EF4-FFF2-40B4-BE49-F238E27FC236}">
                <a16:creationId xmlns:a16="http://schemas.microsoft.com/office/drawing/2014/main" id="{3F0F9580-B799-9471-9EAB-BCB64D1DBE0C}"/>
              </a:ext>
            </a:extLst>
          </p:cNvPr>
          <p:cNvSpPr txBox="1"/>
          <p:nvPr/>
        </p:nvSpPr>
        <p:spPr bwMode="gray">
          <a:xfrm>
            <a:off x="2015411" y="5353919"/>
            <a:ext cx="6023690" cy="173051"/>
          </a:xfrm>
          <a:prstGeom prst="rect">
            <a:avLst/>
          </a:prstGeom>
        </p:spPr>
        <p:txBody>
          <a:bodyPr wrap="square" lIns="34290" tIns="34290" rIns="34290" bIns="34290" rtlCol="0">
            <a:noAutofit/>
          </a:bodyPr>
          <a:lstStyle/>
          <a:p>
            <a:pPr defTabSz="685800">
              <a:lnSpc>
                <a:spcPct val="90000"/>
              </a:lnSpc>
              <a:spcBef>
                <a:spcPts val="750"/>
              </a:spcBef>
              <a:defRPr/>
            </a:pPr>
            <a:r>
              <a:rPr lang="tr-TR" sz="788">
                <a:solidFill>
                  <a:srgbClr val="1D1D1D"/>
                </a:solidFill>
                <a:latin typeface="Arial" panose="020B0604020202020204" pitchFamily="34" charset="0"/>
              </a:rPr>
              <a:t>ABD=Amerika Birleşik Devletleri; </a:t>
            </a:r>
            <a:r>
              <a:rPr lang="en-US" sz="788">
                <a:solidFill>
                  <a:srgbClr val="1D1D1D"/>
                </a:solidFill>
                <a:latin typeface="Arial" panose="020B0604020202020204" pitchFamily="34" charset="0"/>
              </a:rPr>
              <a:t>KPA</a:t>
            </a:r>
            <a:r>
              <a:rPr lang="tr-TR" sz="788">
                <a:solidFill>
                  <a:srgbClr val="1D1D1D"/>
                </a:solidFill>
                <a:latin typeface="Arial" panose="020B0604020202020204" pitchFamily="34" charset="0"/>
              </a:rPr>
              <a:t>=</a:t>
            </a:r>
            <a:r>
              <a:rPr lang="en-US" sz="788" err="1">
                <a:solidFill>
                  <a:srgbClr val="1D1D1D"/>
                </a:solidFill>
                <a:latin typeface="Arial" panose="020B0604020202020204" pitchFamily="34" charset="0"/>
              </a:rPr>
              <a:t>Konjüge</a:t>
            </a:r>
            <a:r>
              <a:rPr lang="en-US" sz="788">
                <a:solidFill>
                  <a:srgbClr val="1D1D1D"/>
                </a:solidFill>
                <a:latin typeface="Arial" panose="020B0604020202020204" pitchFamily="34" charset="0"/>
              </a:rPr>
              <a:t> </a:t>
            </a:r>
            <a:r>
              <a:rPr lang="en-US" sz="788" err="1">
                <a:solidFill>
                  <a:srgbClr val="1D1D1D"/>
                </a:solidFill>
                <a:latin typeface="Arial" panose="020B0604020202020204" pitchFamily="34" charset="0"/>
              </a:rPr>
              <a:t>Pnömok</a:t>
            </a:r>
            <a:r>
              <a:rPr lang="en-US" sz="788">
                <a:solidFill>
                  <a:srgbClr val="1D1D1D"/>
                </a:solidFill>
                <a:latin typeface="Arial" panose="020B0604020202020204" pitchFamily="34" charset="0"/>
              </a:rPr>
              <a:t> </a:t>
            </a:r>
            <a:r>
              <a:rPr lang="en-US" sz="788" err="1">
                <a:solidFill>
                  <a:srgbClr val="1D1D1D"/>
                </a:solidFill>
                <a:latin typeface="Arial" panose="020B0604020202020204" pitchFamily="34" charset="0"/>
              </a:rPr>
              <a:t>aşısı</a:t>
            </a:r>
            <a:r>
              <a:rPr lang="en-US" sz="788">
                <a:solidFill>
                  <a:srgbClr val="1D1D1D"/>
                </a:solidFill>
                <a:latin typeface="Arial" panose="020B0604020202020204" pitchFamily="34" charset="0"/>
              </a:rPr>
              <a:t>, PPSA</a:t>
            </a:r>
            <a:r>
              <a:rPr lang="tr-TR" sz="788">
                <a:solidFill>
                  <a:srgbClr val="1D1D1D"/>
                </a:solidFill>
                <a:latin typeface="Arial" panose="020B0604020202020204" pitchFamily="34" charset="0"/>
              </a:rPr>
              <a:t>=</a:t>
            </a:r>
            <a:r>
              <a:rPr lang="en-US" sz="788" err="1">
                <a:solidFill>
                  <a:srgbClr val="1D1D1D"/>
                </a:solidFill>
                <a:latin typeface="Arial" panose="020B0604020202020204" pitchFamily="34" charset="0"/>
              </a:rPr>
              <a:t>Pnömokokal</a:t>
            </a:r>
            <a:r>
              <a:rPr lang="en-US" sz="788">
                <a:solidFill>
                  <a:srgbClr val="1D1D1D"/>
                </a:solidFill>
                <a:latin typeface="Arial" panose="020B0604020202020204" pitchFamily="34" charset="0"/>
              </a:rPr>
              <a:t> </a:t>
            </a:r>
            <a:r>
              <a:rPr lang="en-US" sz="788" err="1">
                <a:solidFill>
                  <a:srgbClr val="1D1D1D"/>
                </a:solidFill>
                <a:latin typeface="Arial" panose="020B0604020202020204" pitchFamily="34" charset="0"/>
              </a:rPr>
              <a:t>Polisakkarit</a:t>
            </a:r>
            <a:r>
              <a:rPr lang="en-US" sz="788">
                <a:solidFill>
                  <a:srgbClr val="1D1D1D"/>
                </a:solidFill>
                <a:latin typeface="Arial" panose="020B0604020202020204" pitchFamily="34" charset="0"/>
              </a:rPr>
              <a:t> </a:t>
            </a:r>
            <a:r>
              <a:rPr lang="en-US" sz="788" err="1">
                <a:solidFill>
                  <a:srgbClr val="1D1D1D"/>
                </a:solidFill>
                <a:latin typeface="Arial" panose="020B0604020202020204" pitchFamily="34" charset="0"/>
              </a:rPr>
              <a:t>Aşı</a:t>
            </a:r>
            <a:endParaRPr lang="en-US" sz="788">
              <a:solidFill>
                <a:srgbClr val="353B3E"/>
              </a:solidFill>
              <a:latin typeface="Arial" panose="020B0604020202020204"/>
            </a:endParaRPr>
          </a:p>
        </p:txBody>
      </p:sp>
      <p:pic>
        <p:nvPicPr>
          <p:cNvPr id="4" name="Picture 3" descr="A yellow and blue logo&#10;&#10;Description automatically generated">
            <a:extLst>
              <a:ext uri="{FF2B5EF4-FFF2-40B4-BE49-F238E27FC236}">
                <a16:creationId xmlns:a16="http://schemas.microsoft.com/office/drawing/2014/main" id="{1A015EAF-226B-AA9C-2E4D-C251C9D02845}"/>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426540527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0CCAA-6726-7F65-7E9F-7BD635D9EC4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9C10D93-D31C-A958-11E9-25A3808E389A}"/>
              </a:ext>
            </a:extLst>
          </p:cNvPr>
          <p:cNvSpPr>
            <a:spLocks noGrp="1"/>
          </p:cNvSpPr>
          <p:nvPr>
            <p:ph type="title"/>
          </p:nvPr>
        </p:nvSpPr>
        <p:spPr>
          <a:xfrm>
            <a:off x="613152" y="632386"/>
            <a:ext cx="3154776" cy="405454"/>
          </a:xfrm>
        </p:spPr>
        <p:txBody>
          <a:bodyPr anchor="t">
            <a:normAutofit fontScale="90000"/>
          </a:bodyPr>
          <a:lstStyle/>
          <a:p>
            <a:r>
              <a:rPr lang="en-US" sz="4000" dirty="0" err="1"/>
              <a:t>Eşzamanlı</a:t>
            </a:r>
            <a:r>
              <a:rPr lang="en-US" sz="4000" dirty="0"/>
              <a:t> </a:t>
            </a:r>
            <a:r>
              <a:rPr lang="en-US" sz="4000" dirty="0" err="1"/>
              <a:t>Uygulama</a:t>
            </a:r>
            <a:r>
              <a:rPr lang="en-US" sz="4000" dirty="0"/>
              <a:t> </a:t>
            </a:r>
            <a:br>
              <a:rPr lang="en-US" sz="4000" dirty="0"/>
            </a:br>
            <a:br>
              <a:rPr lang="en-US" sz="4000" dirty="0"/>
            </a:br>
            <a:endParaRPr lang="en-US" dirty="0"/>
          </a:p>
        </p:txBody>
      </p:sp>
      <p:sp>
        <p:nvSpPr>
          <p:cNvPr id="2" name="Slide Number Placeholder 1">
            <a:extLst>
              <a:ext uri="{FF2B5EF4-FFF2-40B4-BE49-F238E27FC236}">
                <a16:creationId xmlns:a16="http://schemas.microsoft.com/office/drawing/2014/main" id="{6CB09A53-FFBD-18B4-17A8-6D2E2021EEBF}"/>
              </a:ext>
            </a:extLst>
          </p:cNvPr>
          <p:cNvSpPr>
            <a:spLocks noGrp="1"/>
          </p:cNvSpPr>
          <p:nvPr>
            <p:ph type="sldNum" sz="quarter" idx="4"/>
          </p:nvPr>
        </p:nvSpPr>
        <p:spPr>
          <a:xfrm>
            <a:off x="10438834" y="6508427"/>
            <a:ext cx="1143536" cy="153889"/>
          </a:xfrm>
        </p:spPr>
        <p:txBody>
          <a:bodyPr/>
          <a:lstStyle/>
          <a:p>
            <a:fld id="{2B39012A-6F33-204B-8224-A57BEFB0AAD0}" type="slidenum">
              <a:rPr lang="en-US"/>
              <a:pPr/>
              <a:t>95</a:t>
            </a:fld>
            <a:endParaRPr lang="en-US"/>
          </a:p>
        </p:txBody>
      </p:sp>
      <p:sp>
        <p:nvSpPr>
          <p:cNvPr id="4" name="TextBox 3">
            <a:extLst>
              <a:ext uri="{FF2B5EF4-FFF2-40B4-BE49-F238E27FC236}">
                <a16:creationId xmlns:a16="http://schemas.microsoft.com/office/drawing/2014/main" id="{70021338-38DD-4129-7726-6D1EA2C50B06}"/>
              </a:ext>
            </a:extLst>
          </p:cNvPr>
          <p:cNvSpPr txBox="1"/>
          <p:nvPr/>
        </p:nvSpPr>
        <p:spPr>
          <a:xfrm>
            <a:off x="3936542" y="6203075"/>
            <a:ext cx="4946697" cy="461665"/>
          </a:xfrm>
          <a:prstGeom prst="rect">
            <a:avLst/>
          </a:prstGeom>
          <a:noFill/>
        </p:spPr>
        <p:txBody>
          <a:bodyPr wrap="square" lIns="0" tIns="0" rIns="0" bIns="0" rtlCol="0" anchor="b">
            <a:spAutoFit/>
          </a:bodyPr>
          <a:lstStyle/>
          <a:p>
            <a:pPr>
              <a:defRPr/>
            </a:pPr>
            <a:r>
              <a:rPr lang="en-GB" sz="600" dirty="0">
                <a:solidFill>
                  <a:srgbClr val="FFFFFF">
                    <a:lumMod val="50000"/>
                  </a:srgbClr>
                </a:solidFill>
                <a:latin typeface="Pfizer Diatype Office"/>
              </a:rPr>
              <a:t>KPA, </a:t>
            </a:r>
            <a:r>
              <a:rPr lang="en-GB" sz="600" dirty="0" err="1">
                <a:solidFill>
                  <a:srgbClr val="FFFFFF">
                    <a:lumMod val="50000"/>
                  </a:srgbClr>
                </a:solidFill>
                <a:latin typeface="Pfizer Diatype Office"/>
              </a:rPr>
              <a:t>Konjüge</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Pnömokok</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Aşısı</a:t>
            </a:r>
            <a:r>
              <a:rPr lang="en-GB" sz="600" dirty="0">
                <a:solidFill>
                  <a:srgbClr val="FFFFFF">
                    <a:lumMod val="50000"/>
                  </a:srgbClr>
                </a:solidFill>
                <a:latin typeface="Pfizer Diatype Office"/>
              </a:rPr>
              <a:t>; mRNA, </a:t>
            </a:r>
            <a:r>
              <a:rPr lang="en-GB" sz="600" dirty="0" err="1">
                <a:solidFill>
                  <a:srgbClr val="FFFFFF">
                    <a:lumMod val="50000"/>
                  </a:srgbClr>
                </a:solidFill>
                <a:latin typeface="Pfizer Diatype Office"/>
              </a:rPr>
              <a:t>haberci</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ribonükleik</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asit</a:t>
            </a:r>
            <a:r>
              <a:rPr lang="en-GB" sz="600" dirty="0">
                <a:solidFill>
                  <a:srgbClr val="FFFFFF">
                    <a:lumMod val="50000"/>
                  </a:srgbClr>
                </a:solidFill>
                <a:latin typeface="Pfizer Diatype Office"/>
              </a:rPr>
              <a:t>; RSV, </a:t>
            </a:r>
            <a:r>
              <a:rPr lang="en-GB" sz="600" dirty="0" err="1">
                <a:solidFill>
                  <a:srgbClr val="FFFFFF">
                    <a:lumMod val="50000"/>
                  </a:srgbClr>
                </a:solidFill>
                <a:latin typeface="Pfizer Diatype Office"/>
              </a:rPr>
              <a:t>solunum</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sinsityal</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virüsü</a:t>
            </a:r>
            <a:r>
              <a:rPr lang="en-GB" sz="600" dirty="0">
                <a:solidFill>
                  <a:srgbClr val="FFFFFF">
                    <a:lumMod val="50000"/>
                  </a:srgbClr>
                </a:solidFill>
                <a:latin typeface="Pfizer Diatype Office"/>
              </a:rPr>
              <a:t>.</a:t>
            </a:r>
            <a:endParaRPr lang="en-US" sz="1350" dirty="0"/>
          </a:p>
          <a:p>
            <a:pPr defTabSz="171390">
              <a:defRPr/>
            </a:pPr>
            <a:r>
              <a:rPr lang="en-GB" sz="600" dirty="0">
                <a:solidFill>
                  <a:srgbClr val="FFFFFF">
                    <a:lumMod val="50000"/>
                  </a:srgbClr>
                </a:solidFill>
                <a:latin typeface="Pfizer Diatype Office"/>
              </a:rPr>
              <a:t>1. </a:t>
            </a:r>
            <a:r>
              <a:rPr lang="en-GB" sz="600" dirty="0" err="1">
                <a:solidFill>
                  <a:srgbClr val="FFFFFF">
                    <a:lumMod val="50000"/>
                  </a:srgbClr>
                </a:solidFill>
                <a:latin typeface="Pfizer Diatype Office"/>
              </a:rPr>
              <a:t>Bonani</a:t>
            </a:r>
            <a:r>
              <a:rPr lang="en-GB" sz="600" dirty="0">
                <a:solidFill>
                  <a:srgbClr val="FFFFFF">
                    <a:lumMod val="50000"/>
                  </a:srgbClr>
                </a:solidFill>
                <a:latin typeface="Pfizer Diatype Office"/>
              </a:rPr>
              <a:t>, P </a:t>
            </a:r>
            <a:r>
              <a:rPr lang="en-GB" sz="600" dirty="0" err="1">
                <a:solidFill>
                  <a:srgbClr val="FFFFFF">
                    <a:lumMod val="50000"/>
                  </a:srgbClr>
                </a:solidFill>
                <a:latin typeface="Pfizer Diatype Office"/>
              </a:rPr>
              <a:t>ve</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diğ</a:t>
            </a:r>
            <a:r>
              <a:rPr lang="en-GB" sz="600" dirty="0">
                <a:solidFill>
                  <a:srgbClr val="FFFFFF">
                    <a:lumMod val="50000"/>
                  </a:srgbClr>
                </a:solidFill>
                <a:latin typeface="Pfizer Diatype Office"/>
              </a:rPr>
              <a:t>. </a:t>
            </a:r>
            <a:r>
              <a:rPr lang="en-GB" sz="600" i="1" dirty="0">
                <a:solidFill>
                  <a:srgbClr val="FFFFFF">
                    <a:lumMod val="50000"/>
                  </a:srgbClr>
                </a:solidFill>
                <a:latin typeface="Pfizer Diatype Office"/>
              </a:rPr>
              <a:t>Mide </a:t>
            </a:r>
            <a:r>
              <a:rPr lang="en-GB" sz="600" i="1" dirty="0" err="1">
                <a:solidFill>
                  <a:srgbClr val="FFFFFF">
                    <a:lumMod val="50000"/>
                  </a:srgbClr>
                </a:solidFill>
                <a:latin typeface="Pfizer Diatype Office"/>
              </a:rPr>
              <a:t>Aşılama</a:t>
            </a:r>
            <a:r>
              <a:rPr lang="en-GB" sz="600" i="1" dirty="0">
                <a:solidFill>
                  <a:srgbClr val="FFFFFF">
                    <a:lumMod val="50000"/>
                  </a:srgbClr>
                </a:solidFill>
                <a:latin typeface="Pfizer Diatype Office"/>
              </a:rPr>
              <a:t> </a:t>
            </a:r>
            <a:r>
              <a:rPr lang="en-GB" sz="600" i="1" dirty="0" err="1">
                <a:solidFill>
                  <a:srgbClr val="FFFFFF">
                    <a:lumMod val="50000"/>
                  </a:srgbClr>
                </a:solidFill>
                <a:latin typeface="Pfizer Diatype Office"/>
              </a:rPr>
              <a:t>İmmünotezi</a:t>
            </a:r>
            <a:r>
              <a:rPr lang="en-GB" sz="600" i="1" dirty="0">
                <a:solidFill>
                  <a:srgbClr val="FFFFFF">
                    <a:lumMod val="50000"/>
                  </a:srgbClr>
                </a:solidFill>
                <a:latin typeface="Pfizer Diatype Office"/>
              </a:rPr>
              <a:t>. </a:t>
            </a:r>
            <a:r>
              <a:rPr lang="en-GB" sz="600" dirty="0">
                <a:solidFill>
                  <a:srgbClr val="FFFFFF">
                    <a:lumMod val="50000"/>
                  </a:srgbClr>
                </a:solidFill>
                <a:latin typeface="Pfizer Diatype Office"/>
              </a:rPr>
              <a:t>[11, 13]:2195786.2.Pnömokokal </a:t>
            </a:r>
            <a:r>
              <a:rPr lang="en-GB" sz="600" dirty="0" err="1">
                <a:solidFill>
                  <a:srgbClr val="FFFFFF">
                    <a:lumMod val="50000"/>
                  </a:srgbClr>
                </a:solidFill>
                <a:latin typeface="Pfizer Diatype Office"/>
              </a:rPr>
              <a:t>Konjüge</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Polisakkarid</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Aşı</a:t>
            </a:r>
            <a:r>
              <a:rPr lang="en-GB" sz="600" dirty="0">
                <a:solidFill>
                  <a:srgbClr val="FFFFFF">
                    <a:lumMod val="50000"/>
                  </a:srgbClr>
                </a:solidFill>
                <a:latin typeface="Pfizer Diatype Office"/>
              </a:rPr>
              <a:t> (20 </a:t>
            </a:r>
            <a:r>
              <a:rPr lang="en-GB" sz="600" dirty="0" err="1">
                <a:solidFill>
                  <a:srgbClr val="FFFFFF">
                    <a:lumMod val="50000"/>
                  </a:srgbClr>
                </a:solidFill>
                <a:latin typeface="Pfizer Diatype Office"/>
              </a:rPr>
              <a:t>Valan,Adsorbe</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Kısa</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Ürün</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Bilgisi</a:t>
            </a:r>
            <a:r>
              <a:rPr lang="en-GB" sz="600" dirty="0">
                <a:solidFill>
                  <a:srgbClr val="FFFFFF">
                    <a:lumMod val="50000"/>
                  </a:srgbClr>
                </a:solidFill>
                <a:latin typeface="Pfizer Diatype Office"/>
              </a:rPr>
              <a:t>, 27.11.2024.</a:t>
            </a:r>
            <a:r>
              <a:rPr lang="en-US" sz="600" dirty="0">
                <a:solidFill>
                  <a:srgbClr val="FFFFFF">
                    <a:lumMod val="50000"/>
                  </a:srgbClr>
                </a:solidFill>
                <a:latin typeface="Pfizer Diatype Office"/>
              </a:rPr>
              <a:t> ; 3. </a:t>
            </a:r>
            <a:r>
              <a:rPr lang="en-US" sz="600" dirty="0"/>
              <a:t>ABRYSVO </a:t>
            </a:r>
            <a:r>
              <a:rPr lang="en-US" sz="600" dirty="0" err="1"/>
              <a:t>Kısa</a:t>
            </a:r>
            <a:r>
              <a:rPr lang="en-US" sz="600" dirty="0"/>
              <a:t> </a:t>
            </a:r>
            <a:r>
              <a:rPr lang="en-US" sz="600" dirty="0" err="1"/>
              <a:t>Ürün</a:t>
            </a:r>
            <a:r>
              <a:rPr lang="en-US" sz="600" dirty="0"/>
              <a:t> </a:t>
            </a:r>
            <a:r>
              <a:rPr lang="en-US" sz="600" dirty="0" err="1"/>
              <a:t>Bilgisi</a:t>
            </a:r>
            <a:r>
              <a:rPr lang="en-US" sz="600" dirty="0"/>
              <a:t> </a:t>
            </a:r>
            <a:r>
              <a:rPr lang="en-US" sz="600" dirty="0">
                <a:solidFill>
                  <a:srgbClr val="FFFFFF">
                    <a:lumMod val="50000"/>
                  </a:srgbClr>
                </a:solidFill>
                <a:latin typeface="Pfizer Diatype Office"/>
              </a:rPr>
              <a:t>4. CDC. Getting a Flu Vaccine and other Recommended Vaccines at the Same Time. 17 September 2024. https://www.cdc.gov/flu/vaccines/coadministration.html. Accessed 14 March 2025; 5. CDC. Administering Pneumococcal Vaccines. 21 September 2023. https://www.cdc.gov/vaccines/vpd/pneumo/hcp/administering-vaccine.html#administration. Accessed 17 March 2025.</a:t>
            </a:r>
            <a:endParaRPr lang="en-GB" sz="600" dirty="0">
              <a:solidFill>
                <a:srgbClr val="FFFFFF">
                  <a:lumMod val="50000"/>
                </a:srgbClr>
              </a:solidFill>
              <a:latin typeface="Pfizer Diatype Office"/>
            </a:endParaRPr>
          </a:p>
        </p:txBody>
      </p:sp>
      <p:sp>
        <p:nvSpPr>
          <p:cNvPr id="37" name="TextBox 36">
            <a:extLst>
              <a:ext uri="{FF2B5EF4-FFF2-40B4-BE49-F238E27FC236}">
                <a16:creationId xmlns:a16="http://schemas.microsoft.com/office/drawing/2014/main" id="{F0E6B366-6098-444C-F9FD-8E90E2AAC723}"/>
              </a:ext>
            </a:extLst>
          </p:cNvPr>
          <p:cNvSpPr txBox="1"/>
          <p:nvPr/>
        </p:nvSpPr>
        <p:spPr>
          <a:xfrm>
            <a:off x="536575" y="2078996"/>
            <a:ext cx="2737668" cy="3639458"/>
          </a:xfrm>
          <a:prstGeom prst="rect">
            <a:avLst/>
          </a:prstGeom>
          <a:noFill/>
        </p:spPr>
        <p:txBody>
          <a:bodyPr wrap="square" rtlCol="0">
            <a:spAutoFit/>
          </a:bodyPr>
          <a:lstStyle/>
          <a:p>
            <a:pPr>
              <a:spcAft>
                <a:spcPts val="900"/>
              </a:spcAft>
              <a:defRPr/>
            </a:pPr>
            <a:r>
              <a:rPr lang="en-US" sz="1600" b="1" dirty="0" err="1">
                <a:solidFill>
                  <a:srgbClr val="FFFFFF"/>
                </a:solidFill>
              </a:rPr>
              <a:t>Eşzamanlı</a:t>
            </a:r>
            <a:r>
              <a:rPr lang="en-US" sz="1600" b="1" dirty="0">
                <a:solidFill>
                  <a:srgbClr val="FFFFFF"/>
                </a:solidFill>
              </a:rPr>
              <a:t> </a:t>
            </a:r>
            <a:r>
              <a:rPr lang="en-US" sz="1600" b="1" dirty="0" err="1">
                <a:solidFill>
                  <a:srgbClr val="FFFFFF"/>
                </a:solidFill>
              </a:rPr>
              <a:t>uygulama</a:t>
            </a:r>
            <a:r>
              <a:rPr lang="en-US" sz="1600" b="1" dirty="0">
                <a:solidFill>
                  <a:srgbClr val="FFFFFF"/>
                </a:solidFill>
              </a:rPr>
              <a:t>, </a:t>
            </a:r>
            <a:r>
              <a:rPr lang="en-US" sz="1600" b="1" dirty="0" err="1">
                <a:solidFill>
                  <a:srgbClr val="FFFFFF"/>
                </a:solidFill>
              </a:rPr>
              <a:t>aşı</a:t>
            </a:r>
            <a:r>
              <a:rPr lang="en-US" sz="1600" b="1" dirty="0">
                <a:solidFill>
                  <a:srgbClr val="FFFFFF"/>
                </a:solidFill>
              </a:rPr>
              <a:t> </a:t>
            </a:r>
            <a:r>
              <a:rPr lang="en-US" sz="1600" b="1" dirty="0" err="1">
                <a:solidFill>
                  <a:srgbClr val="FFFFFF"/>
                </a:solidFill>
              </a:rPr>
              <a:t>kapsam</a:t>
            </a:r>
            <a:r>
              <a:rPr lang="en-US" sz="1600" b="1" dirty="0">
                <a:solidFill>
                  <a:srgbClr val="FFFFFF"/>
                </a:solidFill>
              </a:rPr>
              <a:t> </a:t>
            </a:r>
            <a:r>
              <a:rPr lang="en-US" sz="1600" b="1" dirty="0" err="1">
                <a:solidFill>
                  <a:srgbClr val="FFFFFF"/>
                </a:solidFill>
              </a:rPr>
              <a:t>oranını</a:t>
            </a:r>
            <a:r>
              <a:rPr lang="en-US" sz="1600" b="1" dirty="0">
                <a:solidFill>
                  <a:srgbClr val="FFFFFF"/>
                </a:solidFill>
              </a:rPr>
              <a:t> </a:t>
            </a:r>
            <a:r>
              <a:rPr lang="en-US" sz="1600" b="1" dirty="0" err="1">
                <a:solidFill>
                  <a:srgbClr val="FFFFFF"/>
                </a:solidFill>
              </a:rPr>
              <a:t>artırmak</a:t>
            </a:r>
            <a:r>
              <a:rPr lang="en-US" sz="1600" b="1" dirty="0">
                <a:solidFill>
                  <a:srgbClr val="FFFFFF"/>
                </a:solidFill>
              </a:rPr>
              <a:t> </a:t>
            </a:r>
            <a:r>
              <a:rPr lang="en-US" sz="1600" b="1" dirty="0" err="1">
                <a:solidFill>
                  <a:srgbClr val="FFFFFF"/>
                </a:solidFill>
              </a:rPr>
              <a:t>için</a:t>
            </a:r>
            <a:r>
              <a:rPr lang="en-US" sz="1600" b="1" dirty="0">
                <a:solidFill>
                  <a:srgbClr val="FFFFFF"/>
                </a:solidFill>
              </a:rPr>
              <a:t> </a:t>
            </a:r>
            <a:r>
              <a:rPr lang="en-US" sz="1600" b="1" dirty="0" err="1">
                <a:solidFill>
                  <a:srgbClr val="FFFFFF"/>
                </a:solidFill>
              </a:rPr>
              <a:t>en</a:t>
            </a:r>
            <a:r>
              <a:rPr lang="en-US" sz="1600" b="1" dirty="0">
                <a:solidFill>
                  <a:srgbClr val="FFFFFF"/>
                </a:solidFill>
              </a:rPr>
              <a:t> </a:t>
            </a:r>
            <a:r>
              <a:rPr lang="en-US" sz="1600" b="1" dirty="0" err="1">
                <a:solidFill>
                  <a:srgbClr val="FFFFFF"/>
                </a:solidFill>
              </a:rPr>
              <a:t>etkili</a:t>
            </a:r>
            <a:r>
              <a:rPr lang="en-US" sz="1600" b="1" dirty="0">
                <a:solidFill>
                  <a:srgbClr val="FFFFFF"/>
                </a:solidFill>
              </a:rPr>
              <a:t> </a:t>
            </a:r>
            <a:r>
              <a:rPr lang="en-US" sz="1600" b="1" dirty="0" err="1">
                <a:solidFill>
                  <a:srgbClr val="FFFFFF"/>
                </a:solidFill>
              </a:rPr>
              <a:t>yaklaşımlardan</a:t>
            </a:r>
            <a:r>
              <a:rPr lang="en-US" sz="1600" b="1" dirty="0">
                <a:solidFill>
                  <a:srgbClr val="FFFFFF"/>
                </a:solidFill>
              </a:rPr>
              <a:t> biridir</a:t>
            </a:r>
            <a:r>
              <a:rPr lang="en-US" sz="1600" b="1" baseline="30000" dirty="0">
                <a:solidFill>
                  <a:srgbClr val="FFFFFF"/>
                </a:solidFill>
              </a:rPr>
              <a:t>1</a:t>
            </a:r>
          </a:p>
          <a:p>
            <a:pPr marL="130302" indent="-130302">
              <a:spcAft>
                <a:spcPts val="900"/>
              </a:spcAft>
              <a:buFont typeface="Arial" panose="020B0604020202020204" pitchFamily="34" charset="0"/>
              <a:buChar char="•"/>
              <a:defRPr/>
            </a:pPr>
            <a:r>
              <a:rPr lang="en-US" sz="1600" b="1" dirty="0" err="1">
                <a:solidFill>
                  <a:srgbClr val="FFFFFF"/>
                </a:solidFill>
              </a:rPr>
              <a:t>Aşı</a:t>
            </a:r>
            <a:r>
              <a:rPr lang="en-US" sz="1600" b="1" dirty="0">
                <a:solidFill>
                  <a:srgbClr val="FFFFFF"/>
                </a:solidFill>
              </a:rPr>
              <a:t> </a:t>
            </a:r>
            <a:r>
              <a:rPr lang="en-US" sz="1600" b="1" dirty="0" err="1">
                <a:solidFill>
                  <a:srgbClr val="FFFFFF"/>
                </a:solidFill>
              </a:rPr>
              <a:t>konsültasyonlarının</a:t>
            </a:r>
            <a:r>
              <a:rPr lang="en-US" sz="1600" b="1" dirty="0">
                <a:solidFill>
                  <a:srgbClr val="FFFFFF"/>
                </a:solidFill>
              </a:rPr>
              <a:t> </a:t>
            </a:r>
            <a:r>
              <a:rPr lang="en-US" sz="1600" b="1" dirty="0" err="1">
                <a:solidFill>
                  <a:srgbClr val="FFFFFF"/>
                </a:solidFill>
              </a:rPr>
              <a:t>sayısını</a:t>
            </a:r>
            <a:r>
              <a:rPr lang="en-US" sz="1600" b="1" dirty="0">
                <a:solidFill>
                  <a:srgbClr val="FFFFFF"/>
                </a:solidFill>
              </a:rPr>
              <a:t> </a:t>
            </a:r>
            <a:r>
              <a:rPr lang="en-US" sz="1600" b="1" dirty="0" err="1">
                <a:solidFill>
                  <a:srgbClr val="FFFFFF"/>
                </a:solidFill>
              </a:rPr>
              <a:t>ve</a:t>
            </a:r>
            <a:r>
              <a:rPr lang="en-US" sz="1600" b="1" dirty="0">
                <a:solidFill>
                  <a:srgbClr val="FFFFFF"/>
                </a:solidFill>
              </a:rPr>
              <a:t> </a:t>
            </a:r>
            <a:r>
              <a:rPr lang="en-US" sz="1600" b="1" dirty="0" err="1">
                <a:solidFill>
                  <a:srgbClr val="FFFFFF"/>
                </a:solidFill>
              </a:rPr>
              <a:t>maliyetlerinş</a:t>
            </a:r>
            <a:r>
              <a:rPr lang="en-US" sz="1600" b="1" dirty="0">
                <a:solidFill>
                  <a:srgbClr val="FFFFFF"/>
                </a:solidFill>
              </a:rPr>
              <a:t> azaltabilir</a:t>
            </a:r>
            <a:r>
              <a:rPr lang="en-US" sz="1600" b="1" baseline="30000" dirty="0">
                <a:solidFill>
                  <a:srgbClr val="FFFFFF"/>
                </a:solidFill>
              </a:rPr>
              <a:t>1</a:t>
            </a:r>
            <a:endParaRPr lang="en-US" sz="1600" b="1" dirty="0">
              <a:solidFill>
                <a:srgbClr val="FFFFFF"/>
              </a:solidFill>
            </a:endParaRPr>
          </a:p>
          <a:p>
            <a:pPr marL="130302" indent="-130302">
              <a:spcAft>
                <a:spcPts val="900"/>
              </a:spcAft>
              <a:buFont typeface="Arial" panose="020B0604020202020204" pitchFamily="34" charset="0"/>
              <a:buChar char="•"/>
              <a:defRPr/>
            </a:pPr>
            <a:r>
              <a:rPr lang="en-US" sz="1600" b="1" dirty="0" err="1">
                <a:solidFill>
                  <a:srgbClr val="FFFFFF"/>
                </a:solidFill>
              </a:rPr>
              <a:t>Önerilere</a:t>
            </a:r>
            <a:r>
              <a:rPr lang="en-US" sz="1600" b="1" dirty="0">
                <a:solidFill>
                  <a:srgbClr val="FFFFFF"/>
                </a:solidFill>
              </a:rPr>
              <a:t> </a:t>
            </a:r>
            <a:r>
              <a:rPr lang="en-US" sz="1600" b="1" dirty="0" err="1">
                <a:solidFill>
                  <a:srgbClr val="FFFFFF"/>
                </a:solidFill>
              </a:rPr>
              <a:t>uyumu</a:t>
            </a:r>
            <a:r>
              <a:rPr lang="en-US" sz="1600" b="1" dirty="0">
                <a:solidFill>
                  <a:srgbClr val="FFFFFF"/>
                </a:solidFill>
              </a:rPr>
              <a:t> artırabilir</a:t>
            </a:r>
            <a:r>
              <a:rPr lang="en-US" sz="1600" b="1" baseline="30000" dirty="0">
                <a:solidFill>
                  <a:srgbClr val="FFFFFF"/>
                </a:solidFill>
              </a:rPr>
              <a:t>1</a:t>
            </a:r>
            <a:endParaRPr lang="en-US" sz="1600" b="1" dirty="0">
              <a:solidFill>
                <a:srgbClr val="FFFFFF"/>
              </a:solidFill>
            </a:endParaRPr>
          </a:p>
          <a:p>
            <a:pPr marL="130302" indent="-130302">
              <a:spcAft>
                <a:spcPts val="900"/>
              </a:spcAft>
              <a:buFont typeface="Arial" panose="020B0604020202020204" pitchFamily="34" charset="0"/>
              <a:buChar char="•"/>
              <a:defRPr/>
            </a:pPr>
            <a:r>
              <a:rPr lang="en-US" sz="1600" b="1" dirty="0" err="1">
                <a:solidFill>
                  <a:srgbClr val="FFFFFF"/>
                </a:solidFill>
              </a:rPr>
              <a:t>Aşıların</a:t>
            </a:r>
            <a:r>
              <a:rPr lang="en-US" sz="1600" b="1" dirty="0">
                <a:solidFill>
                  <a:srgbClr val="FFFFFF"/>
                </a:solidFill>
              </a:rPr>
              <a:t> </a:t>
            </a:r>
            <a:r>
              <a:rPr lang="en-US" sz="1600" b="1" dirty="0" err="1">
                <a:solidFill>
                  <a:srgbClr val="FFFFFF"/>
                </a:solidFill>
              </a:rPr>
              <a:t>önerilen</a:t>
            </a:r>
            <a:r>
              <a:rPr lang="en-US" sz="1600" b="1" dirty="0">
                <a:solidFill>
                  <a:srgbClr val="FFFFFF"/>
                </a:solidFill>
              </a:rPr>
              <a:t> </a:t>
            </a:r>
            <a:r>
              <a:rPr lang="en-US" sz="1600" b="1" dirty="0" err="1">
                <a:solidFill>
                  <a:srgbClr val="FFFFFF"/>
                </a:solidFill>
              </a:rPr>
              <a:t>yaş</a:t>
            </a:r>
            <a:r>
              <a:rPr lang="en-US" sz="1600" b="1" dirty="0">
                <a:solidFill>
                  <a:srgbClr val="FFFFFF"/>
                </a:solidFill>
              </a:rPr>
              <a:t> </a:t>
            </a:r>
            <a:r>
              <a:rPr lang="en-US" sz="1600" b="1" dirty="0" err="1">
                <a:solidFill>
                  <a:srgbClr val="FFFFFF"/>
                </a:solidFill>
              </a:rPr>
              <a:t>veya</a:t>
            </a:r>
            <a:r>
              <a:rPr lang="en-US" sz="1600" b="1" dirty="0">
                <a:solidFill>
                  <a:srgbClr val="FFFFFF"/>
                </a:solidFill>
              </a:rPr>
              <a:t> </a:t>
            </a:r>
            <a:r>
              <a:rPr lang="en-US" sz="1600" b="1" dirty="0" err="1">
                <a:solidFill>
                  <a:srgbClr val="FFFFFF"/>
                </a:solidFill>
              </a:rPr>
              <a:t>ihtiyaçlara</a:t>
            </a:r>
            <a:r>
              <a:rPr lang="en-US" sz="1600" b="1" dirty="0">
                <a:solidFill>
                  <a:srgbClr val="FFFFFF"/>
                </a:solidFill>
              </a:rPr>
              <a:t> </a:t>
            </a:r>
            <a:r>
              <a:rPr lang="en-US" sz="1600" b="1" dirty="0" err="1">
                <a:solidFill>
                  <a:srgbClr val="FFFFFF"/>
                </a:solidFill>
              </a:rPr>
              <a:t>göre</a:t>
            </a:r>
            <a:r>
              <a:rPr lang="en-US" sz="1600" b="1" dirty="0">
                <a:solidFill>
                  <a:srgbClr val="FFFFFF"/>
                </a:solidFill>
              </a:rPr>
              <a:t> </a:t>
            </a:r>
            <a:r>
              <a:rPr lang="en-US" sz="1600" b="1" dirty="0" err="1">
                <a:solidFill>
                  <a:srgbClr val="FFFFFF"/>
                </a:solidFill>
              </a:rPr>
              <a:t>zamanında</a:t>
            </a:r>
            <a:r>
              <a:rPr lang="en-US" sz="1600" b="1" dirty="0">
                <a:solidFill>
                  <a:srgbClr val="FFFFFF"/>
                </a:solidFill>
              </a:rPr>
              <a:t> </a:t>
            </a:r>
            <a:r>
              <a:rPr lang="en-US" sz="1600" b="1" dirty="0" err="1">
                <a:solidFill>
                  <a:srgbClr val="FFFFFF"/>
                </a:solidFill>
              </a:rPr>
              <a:t>uygulanmasını</a:t>
            </a:r>
            <a:r>
              <a:rPr lang="en-US" sz="1600" b="1" dirty="0">
                <a:solidFill>
                  <a:srgbClr val="FFFFFF"/>
                </a:solidFill>
              </a:rPr>
              <a:t> </a:t>
            </a:r>
            <a:r>
              <a:rPr lang="en-US" sz="1600" b="1" dirty="0" err="1">
                <a:solidFill>
                  <a:srgbClr val="FFFFFF"/>
                </a:solidFill>
              </a:rPr>
              <a:t>sağlamaya</a:t>
            </a:r>
            <a:r>
              <a:rPr lang="en-US" sz="1600" b="1" dirty="0">
                <a:solidFill>
                  <a:srgbClr val="FFFFFF"/>
                </a:solidFill>
              </a:rPr>
              <a:t> </a:t>
            </a:r>
            <a:r>
              <a:rPr lang="en-US" sz="1600" b="1" dirty="0" err="1">
                <a:solidFill>
                  <a:srgbClr val="FFFFFF"/>
                </a:solidFill>
              </a:rPr>
              <a:t>yardımcı</a:t>
            </a:r>
            <a:r>
              <a:rPr lang="en-US" sz="1600" b="1" dirty="0">
                <a:solidFill>
                  <a:srgbClr val="FFFFFF"/>
                </a:solidFill>
              </a:rPr>
              <a:t> olur</a:t>
            </a:r>
            <a:r>
              <a:rPr lang="en-US" sz="1600" b="1" baseline="30000" dirty="0">
                <a:solidFill>
                  <a:srgbClr val="FFFFFF"/>
                </a:solidFill>
              </a:rPr>
              <a:t>1</a:t>
            </a:r>
            <a:endParaRPr lang="en-US" sz="1600" b="1" dirty="0">
              <a:solidFill>
                <a:srgbClr val="FFFFFF"/>
              </a:solidFill>
            </a:endParaRPr>
          </a:p>
        </p:txBody>
      </p:sp>
      <p:sp>
        <p:nvSpPr>
          <p:cNvPr id="10" name="Rectangle 9">
            <a:extLst>
              <a:ext uri="{FF2B5EF4-FFF2-40B4-BE49-F238E27FC236}">
                <a16:creationId xmlns:a16="http://schemas.microsoft.com/office/drawing/2014/main" id="{CCB21698-2B27-740C-DDDA-048209485942}"/>
              </a:ext>
            </a:extLst>
          </p:cNvPr>
          <p:cNvSpPr/>
          <p:nvPr/>
        </p:nvSpPr>
        <p:spPr>
          <a:xfrm>
            <a:off x="4945022" y="631825"/>
            <a:ext cx="5865947" cy="505943"/>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defRPr/>
            </a:pPr>
            <a:r>
              <a:rPr lang="en-US" sz="1400" b="1">
                <a:solidFill>
                  <a:srgbClr val="000000"/>
                </a:solidFill>
                <a:ea typeface="+mn-lt"/>
                <a:cs typeface="+mn-lt"/>
              </a:rPr>
              <a:t>Farklı enjektabl aşılar her zaman farklı yerlere enjekte edilmelidir.</a:t>
            </a:r>
            <a:endParaRPr lang="en-US" sz="1800" b="1">
              <a:ea typeface="+mn-lt"/>
              <a:cs typeface="+mn-lt"/>
            </a:endParaRPr>
          </a:p>
        </p:txBody>
      </p:sp>
      <p:sp>
        <p:nvSpPr>
          <p:cNvPr id="41" name="Rectangle 40">
            <a:extLst>
              <a:ext uri="{FF2B5EF4-FFF2-40B4-BE49-F238E27FC236}">
                <a16:creationId xmlns:a16="http://schemas.microsoft.com/office/drawing/2014/main" id="{60D892F7-9CEF-CF5B-3E46-2B24469D3087}"/>
              </a:ext>
            </a:extLst>
          </p:cNvPr>
          <p:cNvSpPr/>
          <p:nvPr/>
        </p:nvSpPr>
        <p:spPr>
          <a:xfrm>
            <a:off x="4945021" y="1304206"/>
            <a:ext cx="5999203" cy="253192"/>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defTabSz="171390">
              <a:spcAft>
                <a:spcPts val="450"/>
              </a:spcAft>
              <a:defRPr/>
            </a:pPr>
            <a:r>
              <a:rPr lang="en-US" sz="1800" b="1" dirty="0">
                <a:solidFill>
                  <a:srgbClr val="0000C9"/>
                </a:solidFill>
                <a:latin typeface="Pfizer Tomorrow"/>
              </a:rPr>
              <a:t>Uygun </a:t>
            </a:r>
            <a:r>
              <a:rPr lang="en-US" sz="1800" b="1" dirty="0" err="1">
                <a:solidFill>
                  <a:srgbClr val="0000C9"/>
                </a:solidFill>
                <a:latin typeface="Pfizer Tomorrow"/>
              </a:rPr>
              <a:t>olduğunda</a:t>
            </a:r>
            <a:r>
              <a:rPr lang="en-US" sz="1800" b="1" dirty="0">
                <a:solidFill>
                  <a:srgbClr val="0000C9"/>
                </a:solidFill>
                <a:latin typeface="Pfizer Tomorrow"/>
              </a:rPr>
              <a:t>, </a:t>
            </a:r>
            <a:r>
              <a:rPr lang="en-US" sz="1800" b="1" dirty="0" err="1">
                <a:solidFill>
                  <a:srgbClr val="0000C9"/>
                </a:solidFill>
                <a:latin typeface="Pfizer Tomorrow"/>
              </a:rPr>
              <a:t>aşağıdaki</a:t>
            </a:r>
            <a:r>
              <a:rPr lang="en-US" sz="1800" b="1" dirty="0">
                <a:solidFill>
                  <a:srgbClr val="0000C9"/>
                </a:solidFill>
                <a:latin typeface="Pfizer Tomorrow"/>
              </a:rPr>
              <a:t> </a:t>
            </a:r>
            <a:r>
              <a:rPr lang="en-US" sz="1800" b="1" dirty="0" err="1">
                <a:solidFill>
                  <a:srgbClr val="0000C9"/>
                </a:solidFill>
                <a:latin typeface="Pfizer Tomorrow"/>
              </a:rPr>
              <a:t>aşılar</a:t>
            </a:r>
            <a:r>
              <a:rPr lang="en-US" sz="1800" b="1" dirty="0">
                <a:solidFill>
                  <a:srgbClr val="0000C9"/>
                </a:solidFill>
                <a:latin typeface="Pfizer Tomorrow"/>
              </a:rPr>
              <a:t> </a:t>
            </a:r>
            <a:r>
              <a:rPr lang="en-US" sz="1800" b="1" dirty="0" err="1">
                <a:solidFill>
                  <a:srgbClr val="0000C9"/>
                </a:solidFill>
                <a:latin typeface="Pfizer Tomorrow"/>
              </a:rPr>
              <a:t>aynı</a:t>
            </a:r>
            <a:r>
              <a:rPr lang="en-US" sz="1800" b="1" dirty="0">
                <a:solidFill>
                  <a:srgbClr val="0000C9"/>
                </a:solidFill>
                <a:latin typeface="Pfizer Tomorrow"/>
              </a:rPr>
              <a:t> </a:t>
            </a:r>
            <a:r>
              <a:rPr lang="en-US" sz="1800" b="1" dirty="0" err="1">
                <a:solidFill>
                  <a:srgbClr val="0000C9"/>
                </a:solidFill>
                <a:latin typeface="Pfizer Tomorrow"/>
              </a:rPr>
              <a:t>anda</a:t>
            </a:r>
            <a:r>
              <a:rPr lang="en-US" sz="1800" b="1" dirty="0">
                <a:solidFill>
                  <a:srgbClr val="0000C9"/>
                </a:solidFill>
                <a:latin typeface="Pfizer Tomorrow"/>
              </a:rPr>
              <a:t> </a:t>
            </a:r>
            <a:r>
              <a:rPr lang="en-US" sz="1800" b="1" dirty="0" err="1">
                <a:solidFill>
                  <a:srgbClr val="0000C9"/>
                </a:solidFill>
                <a:latin typeface="Pfizer Tomorrow"/>
              </a:rPr>
              <a:t>verilebilir</a:t>
            </a:r>
            <a:r>
              <a:rPr lang="en-US" sz="1800" b="1" dirty="0">
                <a:solidFill>
                  <a:srgbClr val="0000C9"/>
                </a:solidFill>
                <a:latin typeface="Pfizer Tomorrow"/>
              </a:rPr>
              <a:t>:</a:t>
            </a:r>
          </a:p>
        </p:txBody>
      </p:sp>
      <p:sp>
        <p:nvSpPr>
          <p:cNvPr id="12" name="Rectangle: Rounded Corners 11">
            <a:extLst>
              <a:ext uri="{FF2B5EF4-FFF2-40B4-BE49-F238E27FC236}">
                <a16:creationId xmlns:a16="http://schemas.microsoft.com/office/drawing/2014/main" id="{1217132F-D76E-9828-B43A-0FBAF9232893}"/>
              </a:ext>
            </a:extLst>
          </p:cNvPr>
          <p:cNvSpPr/>
          <p:nvPr/>
        </p:nvSpPr>
        <p:spPr>
          <a:xfrm>
            <a:off x="4945023" y="1723837"/>
            <a:ext cx="5846802" cy="2250922"/>
          </a:xfrm>
          <a:prstGeom prst="roundRect">
            <a:avLst>
              <a:gd name="adj" fmla="val 12973"/>
            </a:avLst>
          </a:prstGeom>
          <a:solidFill>
            <a:srgbClr val="BDE7FF"/>
          </a:solidFill>
          <a:ln>
            <a:noFill/>
          </a:ln>
        </p:spPr>
        <p:style>
          <a:lnRef idx="0">
            <a:scrgbClr r="0" g="0" b="0"/>
          </a:lnRef>
          <a:fillRef idx="0">
            <a:scrgbClr r="0" g="0" b="0"/>
          </a:fillRef>
          <a:effectRef idx="0">
            <a:scrgbClr r="0" g="0" b="0"/>
          </a:effectRef>
          <a:fontRef idx="minor">
            <a:schemeClr val="lt1"/>
          </a:fontRef>
        </p:style>
        <p:txBody>
          <a:bodyPr lIns="548640" tIns="34290" rIns="891540" bIns="34290" rtlCol="0" anchor="b"/>
          <a:lstStyle/>
          <a:p>
            <a:pPr marL="128588" indent="-128588" defTabSz="171390">
              <a:spcAft>
                <a:spcPts val="450"/>
              </a:spcAft>
              <a:buFont typeface="Arial" panose="020B0604020202020204" pitchFamily="34" charset="0"/>
              <a:buChar char="•"/>
              <a:defRPr/>
            </a:pPr>
            <a:endParaRPr lang="en-US" sz="1200" b="1">
              <a:solidFill>
                <a:srgbClr val="000000"/>
              </a:solidFill>
              <a:highlight>
                <a:srgbClr val="FFFF00"/>
              </a:highlight>
              <a:latin typeface="Pfizer Diatype Office"/>
            </a:endParaRPr>
          </a:p>
        </p:txBody>
      </p:sp>
      <p:sp>
        <p:nvSpPr>
          <p:cNvPr id="13" name="TextBox 12">
            <a:extLst>
              <a:ext uri="{FF2B5EF4-FFF2-40B4-BE49-F238E27FC236}">
                <a16:creationId xmlns:a16="http://schemas.microsoft.com/office/drawing/2014/main" id="{41F270D5-B680-0EAA-D5B6-FFAF03BEE886}"/>
              </a:ext>
            </a:extLst>
          </p:cNvPr>
          <p:cNvSpPr txBox="1"/>
          <p:nvPr/>
        </p:nvSpPr>
        <p:spPr>
          <a:xfrm>
            <a:off x="5219877" y="1723837"/>
            <a:ext cx="5171319" cy="2250922"/>
          </a:xfrm>
          <a:prstGeom prst="rect">
            <a:avLst/>
          </a:prstGeom>
        </p:spPr>
        <p:txBody>
          <a:bodyPr lIns="68580" tIns="34290" rIns="68580" bIns="34290" anchor="ctr" anchorCtr="0"/>
          <a:lstStyle>
            <a:defPPr>
              <a:defRPr lang="en-US"/>
            </a:defPPr>
            <a:lvl1pPr indent="0" algn="ctr" defTabSz="914171">
              <a:lnSpc>
                <a:spcPct val="90000"/>
              </a:lnSpc>
              <a:spcBef>
                <a:spcPts val="1000"/>
              </a:spcBef>
              <a:buFont typeface="Arial" panose="020B0604020202020204" pitchFamily="34" charset="0"/>
              <a:buNone/>
              <a:defRPr sz="1600" b="1">
                <a:solidFill>
                  <a:schemeClr val="accent1"/>
                </a:solidFill>
                <a:latin typeface="+mj-lt"/>
              </a:defRPr>
            </a:lvl1pPr>
            <a:lvl2pPr marL="685629" indent="-228543" defTabSz="914171">
              <a:lnSpc>
                <a:spcPct val="90000"/>
              </a:lnSpc>
              <a:spcBef>
                <a:spcPts val="500"/>
              </a:spcBef>
              <a:buFont typeface="Arial" panose="020B0604020202020204" pitchFamily="34" charset="0"/>
              <a:buChar char="•"/>
              <a:defRPr sz="2400"/>
            </a:lvl2pPr>
            <a:lvl3pPr marL="1142714" indent="-228543" defTabSz="914171">
              <a:lnSpc>
                <a:spcPct val="90000"/>
              </a:lnSpc>
              <a:spcBef>
                <a:spcPts val="500"/>
              </a:spcBef>
              <a:buFont typeface="Arial" panose="020B0604020202020204" pitchFamily="34" charset="0"/>
              <a:buChar char="•"/>
              <a:defRPr sz="2000"/>
            </a:lvl3pPr>
            <a:lvl4pPr marL="1599800" indent="-228543" defTabSz="914171">
              <a:lnSpc>
                <a:spcPct val="90000"/>
              </a:lnSpc>
              <a:spcBef>
                <a:spcPts val="500"/>
              </a:spcBef>
              <a:buFont typeface="Arial" panose="020B0604020202020204" pitchFamily="34" charset="0"/>
              <a:buChar char="•"/>
              <a:defRPr sz="1800"/>
            </a:lvl4pPr>
            <a:lvl5pPr marL="2056886" indent="-228543" defTabSz="914171">
              <a:lnSpc>
                <a:spcPct val="90000"/>
              </a:lnSpc>
              <a:spcBef>
                <a:spcPts val="500"/>
              </a:spcBef>
              <a:buFont typeface="Arial" panose="020B0604020202020204" pitchFamily="34" charset="0"/>
              <a:buChar char="•"/>
              <a:defRPr sz="1800"/>
            </a:lvl5pPr>
            <a:lvl6pPr marL="2513971" indent="-228543" defTabSz="914171">
              <a:lnSpc>
                <a:spcPct val="90000"/>
              </a:lnSpc>
              <a:spcBef>
                <a:spcPts val="500"/>
              </a:spcBef>
              <a:buFont typeface="Arial" panose="020B0604020202020204" pitchFamily="34" charset="0"/>
              <a:buChar char="•"/>
              <a:defRPr sz="1800"/>
            </a:lvl6pPr>
            <a:lvl7pPr marL="2971057" indent="-228543" defTabSz="914171">
              <a:lnSpc>
                <a:spcPct val="90000"/>
              </a:lnSpc>
              <a:spcBef>
                <a:spcPts val="500"/>
              </a:spcBef>
              <a:buFont typeface="Arial" panose="020B0604020202020204" pitchFamily="34" charset="0"/>
              <a:buChar char="•"/>
              <a:defRPr sz="1800"/>
            </a:lvl7pPr>
            <a:lvl8pPr marL="3428142" indent="-228543" defTabSz="914171">
              <a:lnSpc>
                <a:spcPct val="90000"/>
              </a:lnSpc>
              <a:spcBef>
                <a:spcPts val="500"/>
              </a:spcBef>
              <a:buFont typeface="Arial" panose="020B0604020202020204" pitchFamily="34" charset="0"/>
              <a:buChar char="•"/>
              <a:defRPr sz="1800"/>
            </a:lvl8pPr>
            <a:lvl9pPr marL="3885229" indent="-228543" defTabSz="914171">
              <a:lnSpc>
                <a:spcPct val="90000"/>
              </a:lnSpc>
              <a:spcBef>
                <a:spcPts val="500"/>
              </a:spcBef>
              <a:buFont typeface="Arial" panose="020B0604020202020204" pitchFamily="34" charset="0"/>
              <a:buChar char="•"/>
              <a:defRPr sz="1800"/>
            </a:lvl9pPr>
          </a:lstStyle>
          <a:p>
            <a:pPr algn="l">
              <a:defRPr/>
            </a:pPr>
            <a:r>
              <a:rPr lang="en-US" sz="1800" dirty="0">
                <a:solidFill>
                  <a:srgbClr val="0000C9"/>
                </a:solidFill>
                <a:ea typeface="+mj-lt"/>
                <a:cs typeface="+mj-lt"/>
              </a:rPr>
              <a:t>KPA 20:</a:t>
            </a:r>
          </a:p>
          <a:p>
            <a:pPr marL="171450" indent="-171450" algn="l">
              <a:buFont typeface="Arial" panose="020B0604020202020204" pitchFamily="34" charset="0"/>
              <a:buChar char="•"/>
              <a:defRPr/>
            </a:pPr>
            <a:r>
              <a:rPr lang="en-US" dirty="0" err="1">
                <a:solidFill>
                  <a:schemeClr val="tx1"/>
                </a:solidFill>
                <a:ea typeface="+mj-lt"/>
                <a:cs typeface="+mj-lt"/>
              </a:rPr>
              <a:t>Mevsimsel</a:t>
            </a:r>
            <a:r>
              <a:rPr lang="en-US" dirty="0">
                <a:solidFill>
                  <a:schemeClr val="tx1"/>
                </a:solidFill>
                <a:ea typeface="+mj-lt"/>
                <a:cs typeface="+mj-lt"/>
              </a:rPr>
              <a:t> influenza </a:t>
            </a:r>
            <a:r>
              <a:rPr lang="en-US" dirty="0" err="1">
                <a:solidFill>
                  <a:schemeClr val="tx1"/>
                </a:solidFill>
                <a:ea typeface="+mj-lt"/>
                <a:cs typeface="+mj-lt"/>
              </a:rPr>
              <a:t>aşısı</a:t>
            </a:r>
            <a:r>
              <a:rPr lang="en-US" dirty="0">
                <a:solidFill>
                  <a:schemeClr val="tx1"/>
                </a:solidFill>
                <a:ea typeface="+mj-lt"/>
                <a:cs typeface="+mj-lt"/>
              </a:rPr>
              <a:t> </a:t>
            </a:r>
            <a:br>
              <a:rPr lang="en-US" dirty="0">
                <a:solidFill>
                  <a:schemeClr val="tx1"/>
                </a:solidFill>
                <a:ea typeface="+mj-lt"/>
                <a:cs typeface="+mj-lt"/>
              </a:rPr>
            </a:br>
            <a:r>
              <a:rPr lang="en-US" sz="1050" b="0" i="1" dirty="0">
                <a:solidFill>
                  <a:schemeClr val="tx1"/>
                </a:solidFill>
                <a:ea typeface="+mj-lt"/>
                <a:cs typeface="+mj-lt"/>
              </a:rPr>
              <a:t>(</a:t>
            </a:r>
            <a:r>
              <a:rPr lang="en-US" sz="1050" b="0" i="1" dirty="0" err="1">
                <a:solidFill>
                  <a:schemeClr val="tx1"/>
                </a:solidFill>
                <a:ea typeface="+mj-lt"/>
                <a:cs typeface="+mj-lt"/>
              </a:rPr>
              <a:t>dört</a:t>
            </a:r>
            <a:r>
              <a:rPr lang="en-US" sz="1050" b="0" i="1" dirty="0">
                <a:solidFill>
                  <a:schemeClr val="tx1"/>
                </a:solidFill>
                <a:ea typeface="+mj-lt"/>
                <a:cs typeface="+mj-lt"/>
              </a:rPr>
              <a:t> </a:t>
            </a:r>
            <a:r>
              <a:rPr lang="en-US" sz="1050" b="0" i="1" dirty="0" err="1">
                <a:solidFill>
                  <a:schemeClr val="tx1"/>
                </a:solidFill>
                <a:ea typeface="+mj-lt"/>
                <a:cs typeface="+mj-lt"/>
              </a:rPr>
              <a:t>valanlı</a:t>
            </a:r>
            <a:r>
              <a:rPr lang="en-US" sz="1050" b="0" i="1" dirty="0">
                <a:solidFill>
                  <a:schemeClr val="tx1"/>
                </a:solidFill>
                <a:ea typeface="+mj-lt"/>
                <a:cs typeface="+mj-lt"/>
              </a:rPr>
              <a:t> influenza </a:t>
            </a:r>
            <a:r>
              <a:rPr lang="en-US" sz="1050" b="0" i="1" dirty="0" err="1">
                <a:solidFill>
                  <a:schemeClr val="tx1"/>
                </a:solidFill>
                <a:ea typeface="+mj-lt"/>
                <a:cs typeface="+mj-lt"/>
              </a:rPr>
              <a:t>aşısı</a:t>
            </a:r>
            <a:r>
              <a:rPr lang="en-US" sz="1050" b="0" i="1" dirty="0">
                <a:solidFill>
                  <a:schemeClr val="tx1"/>
                </a:solidFill>
                <a:ea typeface="+mj-lt"/>
                <a:cs typeface="+mj-lt"/>
              </a:rPr>
              <a:t> ; </a:t>
            </a:r>
            <a:r>
              <a:rPr lang="en-US" sz="1050" b="0" i="1" dirty="0" err="1">
                <a:solidFill>
                  <a:schemeClr val="tx1"/>
                </a:solidFill>
                <a:ea typeface="+mj-lt"/>
                <a:cs typeface="+mj-lt"/>
              </a:rPr>
              <a:t>yüzey</a:t>
            </a:r>
            <a:r>
              <a:rPr lang="en-US" sz="1050" b="0" i="1" dirty="0">
                <a:solidFill>
                  <a:schemeClr val="tx1"/>
                </a:solidFill>
                <a:ea typeface="+mj-lt"/>
                <a:cs typeface="+mj-lt"/>
              </a:rPr>
              <a:t> </a:t>
            </a:r>
            <a:r>
              <a:rPr lang="en-US" sz="1050" b="0" i="1" dirty="0" err="1">
                <a:solidFill>
                  <a:schemeClr val="tx1"/>
                </a:solidFill>
                <a:ea typeface="+mj-lt"/>
                <a:cs typeface="+mj-lt"/>
              </a:rPr>
              <a:t>antijeni</a:t>
            </a:r>
            <a:r>
              <a:rPr lang="en-US" sz="1050" b="0" i="1" dirty="0">
                <a:solidFill>
                  <a:schemeClr val="tx1"/>
                </a:solidFill>
                <a:ea typeface="+mj-lt"/>
                <a:cs typeface="+mj-lt"/>
              </a:rPr>
              <a:t>, </a:t>
            </a:r>
            <a:r>
              <a:rPr lang="en-US" sz="1050" b="0" i="1" dirty="0" err="1">
                <a:solidFill>
                  <a:schemeClr val="tx1"/>
                </a:solidFill>
                <a:ea typeface="+mj-lt"/>
                <a:cs typeface="+mj-lt"/>
              </a:rPr>
              <a:t>inaktive</a:t>
            </a:r>
            <a:r>
              <a:rPr lang="en-US" sz="1050" b="0" i="1" dirty="0">
                <a:solidFill>
                  <a:schemeClr val="tx1"/>
                </a:solidFill>
                <a:ea typeface="+mj-lt"/>
                <a:cs typeface="+mj-lt"/>
              </a:rPr>
              <a:t> </a:t>
            </a:r>
            <a:r>
              <a:rPr lang="en-US" sz="1050" b="0" i="1" dirty="0" err="1">
                <a:solidFill>
                  <a:schemeClr val="tx1"/>
                </a:solidFill>
                <a:ea typeface="+mj-lt"/>
                <a:cs typeface="+mj-lt"/>
              </a:rPr>
              <a:t>edilmiş</a:t>
            </a:r>
            <a:r>
              <a:rPr lang="en-US" sz="1050" b="0" i="1" dirty="0">
                <a:solidFill>
                  <a:schemeClr val="tx1"/>
                </a:solidFill>
                <a:ea typeface="+mj-lt"/>
                <a:cs typeface="+mj-lt"/>
              </a:rPr>
              <a:t>, </a:t>
            </a:r>
            <a:r>
              <a:rPr lang="en-US" sz="1050" b="0" i="1" dirty="0" err="1">
                <a:solidFill>
                  <a:schemeClr val="tx1"/>
                </a:solidFill>
                <a:ea typeface="+mj-lt"/>
                <a:cs typeface="+mj-lt"/>
              </a:rPr>
              <a:t>adjuvanlanmış</a:t>
            </a:r>
            <a:r>
              <a:rPr lang="en-US" sz="1050" b="0" i="1" dirty="0">
                <a:solidFill>
                  <a:schemeClr val="tx1"/>
                </a:solidFill>
                <a:ea typeface="+mj-lt"/>
                <a:cs typeface="+mj-lt"/>
              </a:rPr>
              <a:t>) </a:t>
            </a:r>
            <a:r>
              <a:rPr lang="en-US" sz="1050" b="0" i="1" dirty="0" err="1">
                <a:solidFill>
                  <a:schemeClr val="tx1"/>
                </a:solidFill>
                <a:ea typeface="+mj-lt"/>
                <a:cs typeface="+mj-lt"/>
              </a:rPr>
              <a:t>ile</a:t>
            </a:r>
            <a:r>
              <a:rPr lang="en-US" sz="1050" b="0" i="1" dirty="0">
                <a:solidFill>
                  <a:schemeClr val="tx1"/>
                </a:solidFill>
                <a:ea typeface="+mj-lt"/>
                <a:cs typeface="+mj-lt"/>
              </a:rPr>
              <a:t> </a:t>
            </a:r>
            <a:r>
              <a:rPr lang="en-US" sz="1050" b="0" i="1" dirty="0" err="1">
                <a:solidFill>
                  <a:schemeClr val="tx1"/>
                </a:solidFill>
                <a:ea typeface="+mj-lt"/>
                <a:cs typeface="+mj-lt"/>
              </a:rPr>
              <a:t>birlikte</a:t>
            </a:r>
            <a:r>
              <a:rPr lang="en-US" sz="1050" b="0" i="1" dirty="0">
                <a:solidFill>
                  <a:schemeClr val="tx1"/>
                </a:solidFill>
                <a:ea typeface="+mj-lt"/>
                <a:cs typeface="+mj-lt"/>
              </a:rPr>
              <a:t> </a:t>
            </a:r>
            <a:r>
              <a:rPr lang="en-US" sz="1050" b="0" i="1" dirty="0" err="1">
                <a:solidFill>
                  <a:schemeClr val="tx1"/>
                </a:solidFill>
                <a:ea typeface="+mj-lt"/>
                <a:cs typeface="+mj-lt"/>
              </a:rPr>
              <a:t>uygulanabilir</a:t>
            </a:r>
            <a:r>
              <a:rPr lang="en-US" sz="1050" b="0" i="1" dirty="0">
                <a:solidFill>
                  <a:schemeClr val="tx1"/>
                </a:solidFill>
                <a:ea typeface="+mj-lt"/>
                <a:cs typeface="+mj-lt"/>
              </a:rPr>
              <a:t>. </a:t>
            </a:r>
            <a:r>
              <a:rPr lang="en-US" sz="1050" b="0" baseline="30000" dirty="0">
                <a:solidFill>
                  <a:schemeClr val="tx1"/>
                </a:solidFill>
                <a:ea typeface="+mj-lt"/>
                <a:cs typeface="+mj-lt"/>
              </a:rPr>
              <a:t>2</a:t>
            </a:r>
            <a:endParaRPr lang="en-US" sz="1200" b="0" dirty="0">
              <a:solidFill>
                <a:schemeClr val="tx1"/>
              </a:solidFill>
              <a:ea typeface="+mj-lt"/>
              <a:cs typeface="+mj-lt"/>
            </a:endParaRPr>
          </a:p>
          <a:p>
            <a:pPr algn="l">
              <a:defRPr/>
            </a:pPr>
            <a:r>
              <a:rPr lang="en-US" dirty="0" err="1">
                <a:solidFill>
                  <a:srgbClr val="0000C9"/>
                </a:solidFill>
                <a:ea typeface="+mj-lt"/>
                <a:cs typeface="+mj-lt"/>
              </a:rPr>
              <a:t>RSVpreF</a:t>
            </a:r>
            <a:r>
              <a:rPr lang="en-US" dirty="0">
                <a:solidFill>
                  <a:srgbClr val="0000C9"/>
                </a:solidFill>
                <a:ea typeface="+mj-lt"/>
                <a:cs typeface="+mj-lt"/>
              </a:rPr>
              <a:t> </a:t>
            </a:r>
            <a:r>
              <a:rPr lang="en-US" dirty="0" err="1">
                <a:solidFill>
                  <a:srgbClr val="0000C9"/>
                </a:solidFill>
                <a:ea typeface="+mj-lt"/>
                <a:cs typeface="+mj-lt"/>
              </a:rPr>
              <a:t>aşısı</a:t>
            </a:r>
            <a:r>
              <a:rPr lang="en-US" dirty="0">
                <a:solidFill>
                  <a:srgbClr val="0000C9"/>
                </a:solidFill>
                <a:ea typeface="+mj-lt"/>
                <a:cs typeface="+mj-lt"/>
              </a:rPr>
              <a:t>:</a:t>
            </a:r>
          </a:p>
          <a:p>
            <a:pPr marL="171450" indent="-171450" algn="l">
              <a:buFont typeface="Arial" panose="020B0604020202020204" pitchFamily="34" charset="0"/>
              <a:buChar char="•"/>
              <a:defRPr/>
            </a:pPr>
            <a:r>
              <a:rPr lang="en-US" dirty="0" err="1">
                <a:solidFill>
                  <a:schemeClr val="tx1"/>
                </a:solidFill>
                <a:ea typeface="+mj-lt"/>
                <a:cs typeface="+mj-lt"/>
              </a:rPr>
              <a:t>Mevsimsel</a:t>
            </a:r>
            <a:r>
              <a:rPr lang="en-US" dirty="0">
                <a:solidFill>
                  <a:schemeClr val="tx1"/>
                </a:solidFill>
                <a:ea typeface="+mj-lt"/>
                <a:cs typeface="+mj-lt"/>
              </a:rPr>
              <a:t> influenza </a:t>
            </a:r>
            <a:r>
              <a:rPr lang="en-US" dirty="0" err="1">
                <a:solidFill>
                  <a:schemeClr val="tx1"/>
                </a:solidFill>
                <a:ea typeface="+mj-lt"/>
                <a:cs typeface="+mj-lt"/>
              </a:rPr>
              <a:t>aşıları</a:t>
            </a:r>
            <a:br>
              <a:rPr lang="en-US" sz="1050" b="0" dirty="0">
                <a:solidFill>
                  <a:srgbClr val="0000C9"/>
                </a:solidFill>
                <a:ea typeface="+mj-lt"/>
                <a:cs typeface="+mj-lt"/>
              </a:rPr>
            </a:br>
            <a:r>
              <a:rPr lang="en-US" sz="1050" b="0" i="1" dirty="0" err="1">
                <a:solidFill>
                  <a:schemeClr val="tx1"/>
                </a:solidFill>
                <a:ea typeface="+mj-lt"/>
                <a:cs typeface="+mj-lt"/>
              </a:rPr>
              <a:t>Standart</a:t>
            </a:r>
            <a:r>
              <a:rPr lang="en-US" sz="1050" b="0" i="1" dirty="0">
                <a:solidFill>
                  <a:schemeClr val="tx1"/>
                </a:solidFill>
                <a:ea typeface="+mj-lt"/>
                <a:cs typeface="+mj-lt"/>
              </a:rPr>
              <a:t> </a:t>
            </a:r>
            <a:r>
              <a:rPr lang="en-US" sz="1050" b="0" i="1" dirty="0" err="1">
                <a:solidFill>
                  <a:schemeClr val="tx1"/>
                </a:solidFill>
                <a:ea typeface="+mj-lt"/>
                <a:cs typeface="+mj-lt"/>
              </a:rPr>
              <a:t>doz</a:t>
            </a:r>
            <a:r>
              <a:rPr lang="en-US" sz="1050" b="0" i="1" dirty="0">
                <a:solidFill>
                  <a:schemeClr val="tx1"/>
                </a:solidFill>
                <a:ea typeface="+mj-lt"/>
                <a:cs typeface="+mj-lt"/>
              </a:rPr>
              <a:t> </a:t>
            </a:r>
            <a:r>
              <a:rPr lang="en-US" sz="1050" b="0" i="1" dirty="0" err="1">
                <a:solidFill>
                  <a:schemeClr val="tx1"/>
                </a:solidFill>
                <a:ea typeface="+mj-lt"/>
                <a:cs typeface="+mj-lt"/>
              </a:rPr>
              <a:t>adjuvanlı</a:t>
            </a:r>
            <a:r>
              <a:rPr lang="en-US" sz="1050" b="0" i="1" dirty="0">
                <a:solidFill>
                  <a:schemeClr val="tx1"/>
                </a:solidFill>
                <a:ea typeface="+mj-lt"/>
                <a:cs typeface="+mj-lt"/>
              </a:rPr>
              <a:t> </a:t>
            </a:r>
            <a:r>
              <a:rPr lang="en-US" sz="1050" b="0" i="1" dirty="0" err="1">
                <a:solidFill>
                  <a:schemeClr val="tx1"/>
                </a:solidFill>
                <a:ea typeface="+mj-lt"/>
                <a:cs typeface="+mj-lt"/>
              </a:rPr>
              <a:t>veya</a:t>
            </a:r>
            <a:r>
              <a:rPr lang="en-US" sz="1050" b="0" i="1" dirty="0">
                <a:solidFill>
                  <a:schemeClr val="tx1"/>
                </a:solidFill>
                <a:ea typeface="+mj-lt"/>
                <a:cs typeface="+mj-lt"/>
              </a:rPr>
              <a:t> </a:t>
            </a:r>
            <a:r>
              <a:rPr lang="en-US" sz="1050" b="0" i="1" dirty="0" err="1">
                <a:solidFill>
                  <a:schemeClr val="tx1"/>
                </a:solidFill>
                <a:ea typeface="+mj-lt"/>
                <a:cs typeface="+mj-lt"/>
              </a:rPr>
              <a:t>yüksek</a:t>
            </a:r>
            <a:r>
              <a:rPr lang="en-US" sz="1050" b="0" i="1" dirty="0">
                <a:solidFill>
                  <a:schemeClr val="tx1"/>
                </a:solidFill>
                <a:ea typeface="+mj-lt"/>
                <a:cs typeface="+mj-lt"/>
              </a:rPr>
              <a:t> </a:t>
            </a:r>
            <a:r>
              <a:rPr lang="en-US" sz="1050" b="0" i="1" dirty="0" err="1">
                <a:solidFill>
                  <a:schemeClr val="tx1"/>
                </a:solidFill>
                <a:ea typeface="+mj-lt"/>
                <a:cs typeface="+mj-lt"/>
              </a:rPr>
              <a:t>doz</a:t>
            </a:r>
            <a:r>
              <a:rPr lang="en-US" sz="1050" b="0" i="1" dirty="0">
                <a:solidFill>
                  <a:schemeClr val="tx1"/>
                </a:solidFill>
                <a:ea typeface="+mj-lt"/>
                <a:cs typeface="+mj-lt"/>
              </a:rPr>
              <a:t> </a:t>
            </a:r>
            <a:r>
              <a:rPr lang="en-US" sz="1050" b="0" i="1" dirty="0" err="1">
                <a:solidFill>
                  <a:schemeClr val="tx1"/>
                </a:solidFill>
                <a:ea typeface="+mj-lt"/>
                <a:cs typeface="+mj-lt"/>
              </a:rPr>
              <a:t>adjuvansız</a:t>
            </a:r>
            <a:r>
              <a:rPr lang="en-US" sz="1050" b="0" i="1" dirty="0">
                <a:solidFill>
                  <a:schemeClr val="tx1"/>
                </a:solidFill>
                <a:ea typeface="+mj-lt"/>
                <a:cs typeface="+mj-lt"/>
              </a:rPr>
              <a:t> </a:t>
            </a:r>
            <a:r>
              <a:rPr lang="en-US" sz="1050" b="0" i="1" dirty="0" err="1">
                <a:solidFill>
                  <a:schemeClr val="tx1"/>
                </a:solidFill>
                <a:ea typeface="+mj-lt"/>
                <a:cs typeface="+mj-lt"/>
              </a:rPr>
              <a:t>mevsimsel</a:t>
            </a:r>
            <a:r>
              <a:rPr lang="en-US" sz="1050" b="0" i="1" dirty="0">
                <a:solidFill>
                  <a:schemeClr val="tx1"/>
                </a:solidFill>
                <a:ea typeface="+mj-lt"/>
                <a:cs typeface="+mj-lt"/>
              </a:rPr>
              <a:t> influenza </a:t>
            </a:r>
            <a:r>
              <a:rPr lang="en-US" sz="1050" b="0" i="1" dirty="0" err="1">
                <a:solidFill>
                  <a:schemeClr val="tx1"/>
                </a:solidFill>
                <a:ea typeface="+mj-lt"/>
                <a:cs typeface="+mj-lt"/>
              </a:rPr>
              <a:t>aşıları</a:t>
            </a:r>
            <a:r>
              <a:rPr lang="en-US" sz="1050" b="0" i="1" dirty="0">
                <a:solidFill>
                  <a:schemeClr val="tx1"/>
                </a:solidFill>
                <a:ea typeface="+mj-lt"/>
                <a:cs typeface="+mj-lt"/>
              </a:rPr>
              <a:t> </a:t>
            </a:r>
            <a:r>
              <a:rPr lang="en-US" sz="1050" b="0" i="1" dirty="0" err="1">
                <a:solidFill>
                  <a:schemeClr val="tx1"/>
                </a:solidFill>
                <a:ea typeface="+mj-lt"/>
                <a:cs typeface="+mj-lt"/>
              </a:rPr>
              <a:t>ile</a:t>
            </a:r>
            <a:r>
              <a:rPr lang="en-US" sz="1050" b="0" i="1" dirty="0">
                <a:solidFill>
                  <a:schemeClr val="tx1"/>
                </a:solidFill>
                <a:ea typeface="+mj-lt"/>
                <a:cs typeface="+mj-lt"/>
              </a:rPr>
              <a:t> </a:t>
            </a:r>
            <a:r>
              <a:rPr lang="en-US" sz="1050" b="0" i="1" dirty="0" err="1">
                <a:solidFill>
                  <a:schemeClr val="tx1"/>
                </a:solidFill>
                <a:ea typeface="+mj-lt"/>
                <a:cs typeface="+mj-lt"/>
              </a:rPr>
              <a:t>birlikte</a:t>
            </a:r>
            <a:r>
              <a:rPr lang="en-US" sz="1050" b="0" i="1" dirty="0">
                <a:solidFill>
                  <a:schemeClr val="tx1"/>
                </a:solidFill>
                <a:ea typeface="+mj-lt"/>
                <a:cs typeface="+mj-lt"/>
              </a:rPr>
              <a:t> </a:t>
            </a:r>
            <a:r>
              <a:rPr lang="en-US" sz="1050" b="0" i="1" dirty="0" err="1">
                <a:solidFill>
                  <a:schemeClr val="tx1"/>
                </a:solidFill>
                <a:ea typeface="+mj-lt"/>
                <a:cs typeface="+mj-lt"/>
              </a:rPr>
              <a:t>uygulanabilir</a:t>
            </a:r>
            <a:r>
              <a:rPr lang="en-US" sz="1050" b="0" i="1" dirty="0">
                <a:solidFill>
                  <a:schemeClr val="tx1"/>
                </a:solidFill>
                <a:ea typeface="+mj-lt"/>
                <a:cs typeface="+mj-lt"/>
              </a:rPr>
              <a:t>. </a:t>
            </a:r>
            <a:r>
              <a:rPr lang="en-US" sz="1050" b="0" i="1" baseline="30000" dirty="0">
                <a:solidFill>
                  <a:schemeClr val="tx1"/>
                </a:solidFill>
                <a:ea typeface="+mj-lt"/>
                <a:cs typeface="+mj-lt"/>
              </a:rPr>
              <a:t>3</a:t>
            </a:r>
            <a:endParaRPr lang="en-US" sz="1050" b="0" i="1" dirty="0">
              <a:solidFill>
                <a:schemeClr val="tx1"/>
              </a:solidFill>
              <a:ea typeface="+mj-lt"/>
              <a:cs typeface="+mj-lt"/>
            </a:endParaRPr>
          </a:p>
        </p:txBody>
      </p:sp>
      <p:grpSp>
        <p:nvGrpSpPr>
          <p:cNvPr id="6" name="Group 5">
            <a:extLst>
              <a:ext uri="{FF2B5EF4-FFF2-40B4-BE49-F238E27FC236}">
                <a16:creationId xmlns:a16="http://schemas.microsoft.com/office/drawing/2014/main" id="{8154908D-65FB-1A0E-2F90-3A6E5D455E0C}"/>
              </a:ext>
            </a:extLst>
          </p:cNvPr>
          <p:cNvGrpSpPr/>
          <p:nvPr/>
        </p:nvGrpSpPr>
        <p:grpSpPr>
          <a:xfrm>
            <a:off x="4945022" y="4147883"/>
            <a:ext cx="5846802" cy="1585511"/>
            <a:chOff x="4561364" y="1883738"/>
            <a:chExt cx="7795736" cy="1312914"/>
          </a:xfrm>
        </p:grpSpPr>
        <p:sp>
          <p:nvSpPr>
            <p:cNvPr id="7" name="Rectangle: Rounded Corners 6">
              <a:extLst>
                <a:ext uri="{FF2B5EF4-FFF2-40B4-BE49-F238E27FC236}">
                  <a16:creationId xmlns:a16="http://schemas.microsoft.com/office/drawing/2014/main" id="{EF7FD24D-36F6-7024-03A3-41441B2B3657}"/>
                </a:ext>
              </a:extLst>
            </p:cNvPr>
            <p:cNvSpPr/>
            <p:nvPr/>
          </p:nvSpPr>
          <p:spPr>
            <a:xfrm>
              <a:off x="4561364" y="1883738"/>
              <a:ext cx="7795736" cy="1312914"/>
            </a:xfrm>
            <a:prstGeom prst="roundRect">
              <a:avLst>
                <a:gd name="adj" fmla="val 12973"/>
              </a:avLst>
            </a:prstGeom>
            <a:solidFill>
              <a:srgbClr val="BDE7FF"/>
            </a:solidFill>
            <a:ln>
              <a:noFill/>
            </a:ln>
          </p:spPr>
          <p:style>
            <a:lnRef idx="0">
              <a:scrgbClr r="0" g="0" b="0"/>
            </a:lnRef>
            <a:fillRef idx="0">
              <a:scrgbClr r="0" g="0" b="0"/>
            </a:fillRef>
            <a:effectRef idx="0">
              <a:scrgbClr r="0" g="0" b="0"/>
            </a:effectRef>
            <a:fontRef idx="minor">
              <a:schemeClr val="lt1"/>
            </a:fontRef>
          </p:style>
          <p:txBody>
            <a:bodyPr lIns="548640" rIns="891540" rtlCol="0" anchor="b"/>
            <a:lstStyle/>
            <a:p>
              <a:pPr marL="128588" indent="-128588" defTabSz="171390">
                <a:spcAft>
                  <a:spcPts val="450"/>
                </a:spcAft>
                <a:buFont typeface="Arial" panose="020B0604020202020204" pitchFamily="34" charset="0"/>
                <a:buChar char="•"/>
                <a:defRPr/>
              </a:pPr>
              <a:r>
                <a:rPr lang="en-US" sz="1600" b="1" dirty="0">
                  <a:solidFill>
                    <a:srgbClr val="000000"/>
                  </a:solidFill>
                  <a:latin typeface="Pfizer Diatype Office"/>
                </a:rPr>
                <a:t>Influenza - COVID-19 - RSV </a:t>
              </a:r>
              <a:r>
                <a:rPr lang="en-US" sz="1600" dirty="0" err="1">
                  <a:solidFill>
                    <a:srgbClr val="000000"/>
                  </a:solidFill>
                  <a:latin typeface="Pfizer Diatype Office"/>
                </a:rPr>
                <a:t>aşıları</a:t>
              </a:r>
              <a:r>
                <a:rPr lang="en-US" sz="1600" dirty="0">
                  <a:solidFill>
                    <a:srgbClr val="000000"/>
                  </a:solidFill>
                  <a:latin typeface="Pfizer Diatype Office"/>
                </a:rPr>
                <a:t> </a:t>
              </a:r>
              <a:br>
                <a:rPr lang="en-US" sz="1200" dirty="0">
                  <a:solidFill>
                    <a:srgbClr val="000000"/>
                  </a:solidFill>
                  <a:latin typeface="Pfizer Diatype Office"/>
                </a:rPr>
              </a:br>
              <a:r>
                <a:rPr lang="en-US" sz="1200" dirty="0">
                  <a:solidFill>
                    <a:srgbClr val="000000"/>
                  </a:solidFill>
                  <a:latin typeface="Pfizer Diatype Office"/>
                </a:rPr>
                <a:t>(</a:t>
              </a:r>
              <a:r>
                <a:rPr lang="en-US" sz="1200" dirty="0" err="1">
                  <a:solidFill>
                    <a:srgbClr val="000000"/>
                  </a:solidFill>
                  <a:latin typeface="Pfizer Diatype Office"/>
                </a:rPr>
                <a:t>veya</a:t>
              </a:r>
              <a:r>
                <a:rPr lang="en-US" sz="1200" dirty="0">
                  <a:solidFill>
                    <a:srgbClr val="000000"/>
                  </a:solidFill>
                  <a:latin typeface="Pfizer Diatype Office"/>
                </a:rPr>
                <a:t> </a:t>
              </a:r>
              <a:r>
                <a:rPr lang="en-US" sz="1200" dirty="0" err="1">
                  <a:solidFill>
                    <a:srgbClr val="000000"/>
                  </a:solidFill>
                  <a:latin typeface="Pfizer Diatype Office"/>
                </a:rPr>
                <a:t>bu</a:t>
              </a:r>
              <a:r>
                <a:rPr lang="en-US" sz="1200" dirty="0">
                  <a:solidFill>
                    <a:srgbClr val="000000"/>
                  </a:solidFill>
                  <a:latin typeface="Pfizer Diatype Office"/>
                </a:rPr>
                <a:t> </a:t>
              </a:r>
              <a:r>
                <a:rPr lang="en-US" sz="1200" dirty="0" err="1">
                  <a:solidFill>
                    <a:srgbClr val="000000"/>
                  </a:solidFill>
                  <a:latin typeface="Pfizer Diatype Office"/>
                </a:rPr>
                <a:t>aşıların</a:t>
              </a:r>
              <a:r>
                <a:rPr lang="en-US" sz="1200" dirty="0">
                  <a:solidFill>
                    <a:srgbClr val="000000"/>
                  </a:solidFill>
                  <a:latin typeface="Pfizer Diatype Office"/>
                </a:rPr>
                <a:t> </a:t>
              </a:r>
              <a:r>
                <a:rPr lang="en-US" sz="1200" dirty="0" err="1">
                  <a:solidFill>
                    <a:srgbClr val="000000"/>
                  </a:solidFill>
                  <a:latin typeface="Pfizer Diatype Office"/>
                </a:rPr>
                <a:t>herhangi</a:t>
              </a:r>
              <a:r>
                <a:rPr lang="en-US" sz="1200" dirty="0">
                  <a:solidFill>
                    <a:srgbClr val="000000"/>
                  </a:solidFill>
                  <a:latin typeface="Pfizer Diatype Office"/>
                </a:rPr>
                <a:t> 2'sinin kombinasyonu</a:t>
              </a:r>
              <a:r>
                <a:rPr lang="en-US" sz="1200" baseline="30000" dirty="0">
                  <a:solidFill>
                    <a:srgbClr val="000000"/>
                  </a:solidFill>
                  <a:latin typeface="Pfizer Diatype Office"/>
                </a:rPr>
                <a:t>4</a:t>
              </a:r>
              <a:r>
                <a:rPr lang="en-US" sz="1200" dirty="0">
                  <a:solidFill>
                    <a:srgbClr val="000000"/>
                  </a:solidFill>
                </a:rPr>
                <a:t>)</a:t>
              </a:r>
              <a:endParaRPr lang="en-US" sz="1200" dirty="0">
                <a:solidFill>
                  <a:srgbClr val="000000"/>
                </a:solidFill>
                <a:latin typeface="Pfizer Diatype Office"/>
              </a:endParaRPr>
            </a:p>
            <a:p>
              <a:pPr marL="128588" indent="-128588" defTabSz="171390">
                <a:spcAft>
                  <a:spcPts val="450"/>
                </a:spcAft>
                <a:buFont typeface="Arial" panose="020B0604020202020204" pitchFamily="34" charset="0"/>
                <a:buChar char="•"/>
                <a:defRPr/>
              </a:pPr>
              <a:r>
                <a:rPr lang="en-US" sz="1600" b="1" dirty="0" err="1">
                  <a:solidFill>
                    <a:srgbClr val="000000"/>
                  </a:solidFill>
                  <a:latin typeface="Pfizer Diatype Office"/>
                </a:rPr>
                <a:t>Pnömokok</a:t>
              </a:r>
              <a:r>
                <a:rPr lang="en-US" sz="1600" b="1" dirty="0">
                  <a:solidFill>
                    <a:srgbClr val="000000"/>
                  </a:solidFill>
                  <a:latin typeface="Pfizer Diatype Office"/>
                </a:rPr>
                <a:t> </a:t>
              </a:r>
              <a:r>
                <a:rPr lang="en-US" sz="1600" b="1" dirty="0" err="1">
                  <a:solidFill>
                    <a:srgbClr val="000000"/>
                  </a:solidFill>
                  <a:latin typeface="Pfizer Diatype Office"/>
                </a:rPr>
                <a:t>aşısı</a:t>
              </a:r>
              <a:r>
                <a:rPr lang="en-US" sz="1600" dirty="0">
                  <a:solidFill>
                    <a:srgbClr val="000000"/>
                  </a:solidFill>
                  <a:latin typeface="Pfizer Diatype Office"/>
                </a:rPr>
                <a:t> </a:t>
              </a:r>
              <a:r>
                <a:rPr lang="en-US" sz="1600" dirty="0" err="1">
                  <a:solidFill>
                    <a:srgbClr val="000000"/>
                  </a:solidFill>
                  <a:latin typeface="Pfizer Diatype Office"/>
                </a:rPr>
                <a:t>ile</a:t>
              </a:r>
              <a:r>
                <a:rPr lang="en-US" sz="1600" dirty="0">
                  <a:solidFill>
                    <a:srgbClr val="000000"/>
                  </a:solidFill>
                  <a:latin typeface="Pfizer Diatype Office"/>
                </a:rPr>
                <a:t> </a:t>
              </a:r>
              <a:r>
                <a:rPr lang="en-US" sz="1600" b="1" dirty="0">
                  <a:solidFill>
                    <a:srgbClr val="000000"/>
                  </a:solidFill>
                  <a:latin typeface="Pfizer Diatype Office"/>
                </a:rPr>
                <a:t>influenza </a:t>
              </a:r>
              <a:r>
                <a:rPr lang="en-US" sz="1600" b="1" dirty="0" err="1">
                  <a:solidFill>
                    <a:srgbClr val="000000"/>
                  </a:solidFill>
                  <a:latin typeface="Pfizer Diatype Office"/>
                </a:rPr>
                <a:t>aşısı</a:t>
              </a:r>
              <a:r>
                <a:rPr lang="en-US" sz="1600" b="1" dirty="0">
                  <a:solidFill>
                    <a:srgbClr val="000000"/>
                  </a:solidFill>
                  <a:latin typeface="Pfizer Diatype Office"/>
                </a:rPr>
                <a:t> </a:t>
              </a:r>
              <a:br>
                <a:rPr lang="en-US" sz="1600" b="1" dirty="0">
                  <a:solidFill>
                    <a:srgbClr val="000000"/>
                  </a:solidFill>
                  <a:latin typeface="Pfizer Diatype Office"/>
                </a:rPr>
              </a:br>
              <a:r>
                <a:rPr lang="en-US" sz="1200" dirty="0" err="1">
                  <a:solidFill>
                    <a:srgbClr val="000000"/>
                  </a:solidFill>
                  <a:latin typeface="Pfizer Diatype Office"/>
                </a:rPr>
                <a:t>veya</a:t>
              </a:r>
              <a:r>
                <a:rPr lang="en-US" sz="1200" dirty="0">
                  <a:solidFill>
                    <a:srgbClr val="000000"/>
                  </a:solidFill>
                  <a:latin typeface="Pfizer Diatype Office"/>
                </a:rPr>
                <a:t> </a:t>
              </a:r>
              <a:r>
                <a:rPr lang="en-US" sz="1200" dirty="0" err="1">
                  <a:solidFill>
                    <a:srgbClr val="000000"/>
                  </a:solidFill>
                  <a:latin typeface="Pfizer Diatype Office"/>
                </a:rPr>
                <a:t>diğer</a:t>
              </a:r>
              <a:r>
                <a:rPr lang="en-US" sz="1200" dirty="0">
                  <a:solidFill>
                    <a:srgbClr val="000000"/>
                  </a:solidFill>
                  <a:latin typeface="Pfizer Diatype Office"/>
                </a:rPr>
                <a:t> </a:t>
              </a:r>
              <a:r>
                <a:rPr lang="en-US" sz="1200" dirty="0" err="1">
                  <a:solidFill>
                    <a:srgbClr val="000000"/>
                  </a:solidFill>
                  <a:latin typeface="Pfizer Diatype Office"/>
                </a:rPr>
                <a:t>önerilen</a:t>
              </a:r>
              <a:r>
                <a:rPr lang="en-US" sz="1200" dirty="0">
                  <a:solidFill>
                    <a:srgbClr val="000000"/>
                  </a:solidFill>
                  <a:latin typeface="Pfizer Diatype Office"/>
                </a:rPr>
                <a:t> aşılar</a:t>
              </a:r>
              <a:r>
                <a:rPr lang="en-US" sz="1200" baseline="30000" dirty="0">
                  <a:solidFill>
                    <a:srgbClr val="000000"/>
                  </a:solidFill>
                  <a:latin typeface="Pfizer Diatype Office"/>
                </a:rPr>
                <a:t>5</a:t>
              </a:r>
              <a:endParaRPr lang="en-US" sz="1200" dirty="0">
                <a:solidFill>
                  <a:srgbClr val="000000"/>
                </a:solidFill>
                <a:latin typeface="Pfizer Diatype Office"/>
              </a:endParaRPr>
            </a:p>
          </p:txBody>
        </p:sp>
        <p:sp>
          <p:nvSpPr>
            <p:cNvPr id="8" name="TextBox 7">
              <a:extLst>
                <a:ext uri="{FF2B5EF4-FFF2-40B4-BE49-F238E27FC236}">
                  <a16:creationId xmlns:a16="http://schemas.microsoft.com/office/drawing/2014/main" id="{211DB327-6BBB-5DDC-4314-ED4916681D2C}"/>
                </a:ext>
              </a:extLst>
            </p:cNvPr>
            <p:cNvSpPr txBox="1"/>
            <p:nvPr/>
          </p:nvSpPr>
          <p:spPr>
            <a:xfrm>
              <a:off x="5277479" y="2013221"/>
              <a:ext cx="2144427" cy="259246"/>
            </a:xfrm>
            <a:prstGeom prst="rect">
              <a:avLst/>
            </a:prstGeom>
          </p:spPr>
          <p:txBody>
            <a:bodyPr anchor="ctr" anchorCtr="0"/>
            <a:lstStyle>
              <a:defPPr>
                <a:defRPr lang="en-US"/>
              </a:defPPr>
              <a:lvl1pPr indent="0" algn="ctr" defTabSz="914171">
                <a:lnSpc>
                  <a:spcPct val="90000"/>
                </a:lnSpc>
                <a:spcBef>
                  <a:spcPts val="1000"/>
                </a:spcBef>
                <a:buFont typeface="Arial" panose="020B0604020202020204" pitchFamily="34" charset="0"/>
                <a:buNone/>
                <a:defRPr sz="1600" b="1">
                  <a:solidFill>
                    <a:schemeClr val="accent1"/>
                  </a:solidFill>
                  <a:latin typeface="+mj-lt"/>
                </a:defRPr>
              </a:lvl1pPr>
              <a:lvl2pPr marL="685629" indent="-228543" defTabSz="914171">
                <a:lnSpc>
                  <a:spcPct val="90000"/>
                </a:lnSpc>
                <a:spcBef>
                  <a:spcPts val="500"/>
                </a:spcBef>
                <a:buFont typeface="Arial" panose="020B0604020202020204" pitchFamily="34" charset="0"/>
                <a:buChar char="•"/>
                <a:defRPr sz="2400"/>
              </a:lvl2pPr>
              <a:lvl3pPr marL="1142714" indent="-228543" defTabSz="914171">
                <a:lnSpc>
                  <a:spcPct val="90000"/>
                </a:lnSpc>
                <a:spcBef>
                  <a:spcPts val="500"/>
                </a:spcBef>
                <a:buFont typeface="Arial" panose="020B0604020202020204" pitchFamily="34" charset="0"/>
                <a:buChar char="•"/>
                <a:defRPr sz="2000"/>
              </a:lvl3pPr>
              <a:lvl4pPr marL="1599800" indent="-228543" defTabSz="914171">
                <a:lnSpc>
                  <a:spcPct val="90000"/>
                </a:lnSpc>
                <a:spcBef>
                  <a:spcPts val="500"/>
                </a:spcBef>
                <a:buFont typeface="Arial" panose="020B0604020202020204" pitchFamily="34" charset="0"/>
                <a:buChar char="•"/>
                <a:defRPr sz="1800"/>
              </a:lvl4pPr>
              <a:lvl5pPr marL="2056886" indent="-228543" defTabSz="914171">
                <a:lnSpc>
                  <a:spcPct val="90000"/>
                </a:lnSpc>
                <a:spcBef>
                  <a:spcPts val="500"/>
                </a:spcBef>
                <a:buFont typeface="Arial" panose="020B0604020202020204" pitchFamily="34" charset="0"/>
                <a:buChar char="•"/>
                <a:defRPr sz="1800"/>
              </a:lvl5pPr>
              <a:lvl6pPr marL="2513971" indent="-228543" defTabSz="914171">
                <a:lnSpc>
                  <a:spcPct val="90000"/>
                </a:lnSpc>
                <a:spcBef>
                  <a:spcPts val="500"/>
                </a:spcBef>
                <a:buFont typeface="Arial" panose="020B0604020202020204" pitchFamily="34" charset="0"/>
                <a:buChar char="•"/>
                <a:defRPr sz="1800"/>
              </a:lvl6pPr>
              <a:lvl7pPr marL="2971057" indent="-228543" defTabSz="914171">
                <a:lnSpc>
                  <a:spcPct val="90000"/>
                </a:lnSpc>
                <a:spcBef>
                  <a:spcPts val="500"/>
                </a:spcBef>
                <a:buFont typeface="Arial" panose="020B0604020202020204" pitchFamily="34" charset="0"/>
                <a:buChar char="•"/>
                <a:defRPr sz="1800"/>
              </a:lvl7pPr>
              <a:lvl8pPr marL="3428142" indent="-228543" defTabSz="914171">
                <a:lnSpc>
                  <a:spcPct val="90000"/>
                </a:lnSpc>
                <a:spcBef>
                  <a:spcPts val="500"/>
                </a:spcBef>
                <a:buFont typeface="Arial" panose="020B0604020202020204" pitchFamily="34" charset="0"/>
                <a:buChar char="•"/>
                <a:defRPr sz="1800"/>
              </a:lvl8pPr>
              <a:lvl9pPr marL="3885229" indent="-228543" defTabSz="914171">
                <a:lnSpc>
                  <a:spcPct val="90000"/>
                </a:lnSpc>
                <a:spcBef>
                  <a:spcPts val="500"/>
                </a:spcBef>
                <a:buFont typeface="Arial" panose="020B0604020202020204" pitchFamily="34" charset="0"/>
                <a:buChar char="•"/>
                <a:defRPr sz="1800"/>
              </a:lvl9pPr>
            </a:lstStyle>
            <a:p>
              <a:pPr algn="l" defTabSz="685628">
                <a:spcBef>
                  <a:spcPts val="750"/>
                </a:spcBef>
                <a:defRPr/>
              </a:pPr>
              <a:r>
                <a:rPr lang="en-US" sz="1800" dirty="0">
                  <a:solidFill>
                    <a:srgbClr val="0000C9"/>
                  </a:solidFill>
                  <a:latin typeface="Pfizer Tomorrow"/>
                </a:rPr>
                <a:t>CDC </a:t>
              </a:r>
              <a:r>
                <a:rPr lang="en-US" sz="1800" dirty="0" err="1">
                  <a:solidFill>
                    <a:srgbClr val="0000C9"/>
                  </a:solidFill>
                  <a:latin typeface="Pfizer Tomorrow"/>
                </a:rPr>
                <a:t>Önerisi</a:t>
              </a:r>
              <a:endParaRPr lang="en-US" sz="1800" baseline="30000" dirty="0">
                <a:solidFill>
                  <a:srgbClr val="0000C9"/>
                </a:solidFill>
                <a:latin typeface="Pfizer Tomorrow"/>
              </a:endParaRPr>
            </a:p>
          </p:txBody>
        </p:sp>
      </p:grpSp>
      <p:sp>
        <p:nvSpPr>
          <p:cNvPr id="9" name="TextBox 8">
            <a:extLst>
              <a:ext uri="{FF2B5EF4-FFF2-40B4-BE49-F238E27FC236}">
                <a16:creationId xmlns:a16="http://schemas.microsoft.com/office/drawing/2014/main" id="{E3354DF0-5D79-17B7-15BB-3C236D5562CB}"/>
              </a:ext>
            </a:extLst>
          </p:cNvPr>
          <p:cNvSpPr txBox="1"/>
          <p:nvPr/>
        </p:nvSpPr>
        <p:spPr>
          <a:xfrm>
            <a:off x="3835725" y="6029951"/>
            <a:ext cx="984020" cy="173124"/>
          </a:xfrm>
          <a:prstGeom prst="rect">
            <a:avLst/>
          </a:prstGeom>
          <a:noFill/>
        </p:spPr>
        <p:txBody>
          <a:bodyPr wrap="square">
            <a:spAutoFit/>
          </a:bodyPr>
          <a:lstStyle/>
          <a:p>
            <a:pPr defTabSz="342900">
              <a:defRPr/>
            </a:pPr>
            <a:r>
              <a:rPr lang="en-US" sz="525" dirty="0">
                <a:solidFill>
                  <a:srgbClr val="1D1D1D"/>
                </a:solidFill>
                <a:latin typeface="Arial" panose="020B0604020202020204" pitchFamily="34" charset="0"/>
              </a:rPr>
              <a:t>EM-TUR-PND-0005(v3.0)</a:t>
            </a:r>
            <a:endParaRPr lang="en-US" sz="525" dirty="0">
              <a:solidFill>
                <a:prstClr val="black"/>
              </a:solidFill>
            </a:endParaRPr>
          </a:p>
        </p:txBody>
      </p:sp>
      <p:cxnSp>
        <p:nvCxnSpPr>
          <p:cNvPr id="17" name="Straight Connector 16">
            <a:extLst>
              <a:ext uri="{FF2B5EF4-FFF2-40B4-BE49-F238E27FC236}">
                <a16:creationId xmlns:a16="http://schemas.microsoft.com/office/drawing/2014/main" id="{B20B577B-D50C-EBC9-296B-6D38491FCBC1}"/>
              </a:ext>
            </a:extLst>
          </p:cNvPr>
          <p:cNvCxnSpPr/>
          <p:nvPr/>
        </p:nvCxnSpPr>
        <p:spPr>
          <a:xfrm>
            <a:off x="612775" y="1809750"/>
            <a:ext cx="2625725"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pic>
        <p:nvPicPr>
          <p:cNvPr id="18" name="Picture 17" descr="A yellow and blue logo&#10;&#10;Description automatically generated">
            <a:extLst>
              <a:ext uri="{FF2B5EF4-FFF2-40B4-BE49-F238E27FC236}">
                <a16:creationId xmlns:a16="http://schemas.microsoft.com/office/drawing/2014/main" id="{F38F16C8-97D2-4479-7C0D-C7C3346D1F34}"/>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19" name="Picture 18" descr="A black and blue logo&#10;&#10;AI-generated content may be incorrect.">
            <a:extLst>
              <a:ext uri="{FF2B5EF4-FFF2-40B4-BE49-F238E27FC236}">
                <a16:creationId xmlns:a16="http://schemas.microsoft.com/office/drawing/2014/main" id="{495E5032-628E-A589-5A44-4D7105951663}"/>
              </a:ext>
            </a:extLst>
          </p:cNvPr>
          <p:cNvPicPr>
            <a:picLocks noChangeAspect="1"/>
          </p:cNvPicPr>
          <p:nvPr/>
        </p:nvPicPr>
        <p:blipFill>
          <a:blip r:embed="rId4"/>
          <a:stretch>
            <a:fillRect/>
          </a:stretch>
        </p:blipFill>
        <p:spPr>
          <a:xfrm>
            <a:off x="9513903" y="6494969"/>
            <a:ext cx="981021" cy="204067"/>
          </a:xfrm>
          <a:prstGeom prst="rect">
            <a:avLst/>
          </a:prstGeom>
        </p:spPr>
      </p:pic>
    </p:spTree>
    <p:extLst>
      <p:ext uri="{BB962C8B-B14F-4D97-AF65-F5344CB8AC3E}">
        <p14:creationId xmlns:p14="http://schemas.microsoft.com/office/powerpoint/2010/main" val="39555215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Aşı Kararsızlığı ve Eğitim</a:t>
            </a:r>
          </a:p>
        </p:txBody>
      </p:sp>
      <p:sp>
        <p:nvSpPr>
          <p:cNvPr id="3" name="Content Placeholder 2"/>
          <p:cNvSpPr>
            <a:spLocks noGrp="1"/>
          </p:cNvSpPr>
          <p:nvPr>
            <p:ph idx="4294967295"/>
          </p:nvPr>
        </p:nvSpPr>
        <p:spPr>
          <a:xfrm>
            <a:off x="613152" y="1344613"/>
            <a:ext cx="9902448" cy="4351337"/>
          </a:xfrm>
        </p:spPr>
        <p:txBody>
          <a:bodyPr vert="horz" lIns="91440" tIns="45720" rIns="91440" bIns="45720" rtlCol="0" anchor="ctr">
            <a:normAutofit/>
          </a:bodyPr>
          <a:lstStyle/>
          <a:p>
            <a:pPr>
              <a:lnSpc>
                <a:spcPct val="100000"/>
              </a:lnSpc>
              <a:spcBef>
                <a:spcPts val="1200"/>
              </a:spcBef>
              <a:spcAft>
                <a:spcPts val="1200"/>
              </a:spcAft>
            </a:pPr>
            <a:r>
              <a:rPr lang="tr-TR" sz="3200" dirty="0"/>
              <a:t>Bilgi eksikliği ve yan etki korkusu temel sebepler.</a:t>
            </a:r>
          </a:p>
          <a:p>
            <a:pPr>
              <a:lnSpc>
                <a:spcPct val="100000"/>
              </a:lnSpc>
              <a:spcBef>
                <a:spcPts val="1200"/>
              </a:spcBef>
              <a:spcAft>
                <a:spcPts val="1200"/>
              </a:spcAft>
            </a:pPr>
            <a:r>
              <a:rPr lang="tr-TR" sz="3200" dirty="0"/>
              <a:t>Sağlık çalışanı iletişimi kritik önemde.</a:t>
            </a:r>
          </a:p>
          <a:p>
            <a:pPr>
              <a:lnSpc>
                <a:spcPct val="100000"/>
              </a:lnSpc>
              <a:spcBef>
                <a:spcPts val="1200"/>
              </a:spcBef>
              <a:spcAft>
                <a:spcPts val="1200"/>
              </a:spcAft>
            </a:pPr>
            <a:r>
              <a:rPr lang="tr-TR" sz="3200" dirty="0"/>
              <a:t>Bilimsel toplantılar kararsızlığı azaltır.</a:t>
            </a:r>
          </a:p>
        </p:txBody>
      </p:sp>
      <p:pic>
        <p:nvPicPr>
          <p:cNvPr id="6" name="Picture 5" descr="A yellow and blue logo&#10;&#10;Description automatically generated">
            <a:extLst>
              <a:ext uri="{FF2B5EF4-FFF2-40B4-BE49-F238E27FC236}">
                <a16:creationId xmlns:a16="http://schemas.microsoft.com/office/drawing/2014/main" id="{0974AEDC-53A6-6661-C626-16477A1A53BD}"/>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7" name="Picture 6" descr="A black and blue logo&#10;&#10;AI-generated content may be incorrect.">
            <a:extLst>
              <a:ext uri="{FF2B5EF4-FFF2-40B4-BE49-F238E27FC236}">
                <a16:creationId xmlns:a16="http://schemas.microsoft.com/office/drawing/2014/main" id="{9B11B665-8382-AA43-63A3-23FC25BE20E2}"/>
              </a:ext>
            </a:extLst>
          </p:cNvPr>
          <p:cNvPicPr>
            <a:picLocks noChangeAspect="1"/>
          </p:cNvPicPr>
          <p:nvPr/>
        </p:nvPicPr>
        <p:blipFill>
          <a:blip r:embed="rId3"/>
          <a:stretch>
            <a:fillRect/>
          </a:stretch>
        </p:blipFill>
        <p:spPr>
          <a:xfrm>
            <a:off x="9513903" y="6494969"/>
            <a:ext cx="981021" cy="204067"/>
          </a:xfrm>
          <a:prstGeom prst="rect">
            <a:avLst/>
          </a:prstGeom>
        </p:spPr>
      </p:pic>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Geleceğe Bakış</a:t>
            </a:r>
            <a:endParaRPr lang="tr-TR" dirty="0"/>
          </a:p>
        </p:txBody>
      </p:sp>
      <p:sp>
        <p:nvSpPr>
          <p:cNvPr id="3" name="Content Placeholder 2"/>
          <p:cNvSpPr>
            <a:spLocks noGrp="1"/>
          </p:cNvSpPr>
          <p:nvPr>
            <p:ph idx="4294967295"/>
          </p:nvPr>
        </p:nvSpPr>
        <p:spPr>
          <a:xfrm>
            <a:off x="613152" y="1344613"/>
            <a:ext cx="9902448" cy="4351337"/>
          </a:xfrm>
        </p:spPr>
        <p:txBody>
          <a:bodyPr vert="horz" lIns="91440" tIns="45720" rIns="91440" bIns="45720" rtlCol="0" anchor="ctr">
            <a:normAutofit/>
          </a:bodyPr>
          <a:lstStyle/>
          <a:p>
            <a:pPr>
              <a:lnSpc>
                <a:spcPct val="100000"/>
              </a:lnSpc>
              <a:spcBef>
                <a:spcPts val="1200"/>
              </a:spcBef>
              <a:spcAft>
                <a:spcPts val="1200"/>
              </a:spcAft>
            </a:pPr>
            <a:r>
              <a:rPr lang="tr-TR" sz="3200" dirty="0"/>
              <a:t>Yeni daha yüksek valanlı konjüge aşılar.</a:t>
            </a:r>
          </a:p>
          <a:p>
            <a:pPr>
              <a:lnSpc>
                <a:spcPct val="100000"/>
              </a:lnSpc>
              <a:spcBef>
                <a:spcPts val="1200"/>
              </a:spcBef>
              <a:spcAft>
                <a:spcPts val="1200"/>
              </a:spcAft>
            </a:pPr>
            <a:r>
              <a:rPr lang="tr-TR" sz="3200" dirty="0"/>
              <a:t>Kombine RSV + grip aşıları geliştiriliyor.</a:t>
            </a:r>
          </a:p>
          <a:p>
            <a:pPr>
              <a:lnSpc>
                <a:spcPct val="100000"/>
              </a:lnSpc>
              <a:spcBef>
                <a:spcPts val="1200"/>
              </a:spcBef>
              <a:spcAft>
                <a:spcPts val="1200"/>
              </a:spcAft>
            </a:pPr>
            <a:r>
              <a:rPr lang="tr-TR" sz="3200" dirty="0"/>
              <a:t>mRNA platformları ileri yaşta yeni bir dönem başlatıyor.</a:t>
            </a:r>
          </a:p>
        </p:txBody>
      </p:sp>
      <p:pic>
        <p:nvPicPr>
          <p:cNvPr id="6" name="Picture 5" descr="A yellow and blue logo&#10;&#10;Description automatically generated">
            <a:extLst>
              <a:ext uri="{FF2B5EF4-FFF2-40B4-BE49-F238E27FC236}">
                <a16:creationId xmlns:a16="http://schemas.microsoft.com/office/drawing/2014/main" id="{E6A76EE0-A754-4838-1FBB-58E4C67CC649}"/>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7" name="Picture 6" descr="A black and blue logo&#10;&#10;AI-generated content may be incorrect.">
            <a:extLst>
              <a:ext uri="{FF2B5EF4-FFF2-40B4-BE49-F238E27FC236}">
                <a16:creationId xmlns:a16="http://schemas.microsoft.com/office/drawing/2014/main" id="{FAC59B51-817D-086B-449F-E761B8C41EA1}"/>
              </a:ext>
            </a:extLst>
          </p:cNvPr>
          <p:cNvPicPr>
            <a:picLocks noChangeAspect="1"/>
          </p:cNvPicPr>
          <p:nvPr/>
        </p:nvPicPr>
        <p:blipFill>
          <a:blip r:embed="rId3"/>
          <a:stretch>
            <a:fillRect/>
          </a:stretch>
        </p:blipFill>
        <p:spPr>
          <a:xfrm>
            <a:off x="9513903" y="6494969"/>
            <a:ext cx="981021" cy="204067"/>
          </a:xfrm>
          <a:prstGeom prst="rect">
            <a:avLst/>
          </a:prstGeom>
        </p:spPr>
      </p:pic>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Sonuç</a:t>
            </a:r>
          </a:p>
        </p:txBody>
      </p:sp>
      <p:sp>
        <p:nvSpPr>
          <p:cNvPr id="3" name="Content Placeholder 2"/>
          <p:cNvSpPr>
            <a:spLocks noGrp="1"/>
          </p:cNvSpPr>
          <p:nvPr>
            <p:ph idx="4294967295"/>
          </p:nvPr>
        </p:nvSpPr>
        <p:spPr>
          <a:xfrm>
            <a:off x="613152" y="1344613"/>
            <a:ext cx="9902448" cy="4351337"/>
          </a:xfrm>
        </p:spPr>
        <p:txBody>
          <a:bodyPr anchor="ctr">
            <a:normAutofit/>
          </a:bodyPr>
          <a:lstStyle/>
          <a:p>
            <a:r>
              <a:rPr lang="tr-TR" sz="2800" dirty="0"/>
              <a:t>PCV20 ve RSV aşıları, yaşlı erişkinlerde ciddi hastalık yükünü azaltma potansiyeline sahiptir.</a:t>
            </a:r>
          </a:p>
          <a:p>
            <a:r>
              <a:rPr lang="tr-TR" sz="2800" dirty="0"/>
              <a:t>Tek doz stratejileri uyumu artırır.</a:t>
            </a:r>
          </a:p>
          <a:p>
            <a:r>
              <a:rPr lang="tr-TR" sz="2800" dirty="0"/>
              <a:t>Halk sağlığı açısından öncelikli aşılardır.</a:t>
            </a:r>
          </a:p>
        </p:txBody>
      </p:sp>
      <p:pic>
        <p:nvPicPr>
          <p:cNvPr id="6" name="Picture 5" descr="A yellow and blue logo&#10;&#10;Description automatically generated">
            <a:extLst>
              <a:ext uri="{FF2B5EF4-FFF2-40B4-BE49-F238E27FC236}">
                <a16:creationId xmlns:a16="http://schemas.microsoft.com/office/drawing/2014/main" id="{B80CEA19-895E-65B6-60B8-E95E09CC1C1F}"/>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7" name="Picture 6" descr="A black and blue logo&#10;&#10;AI-generated content may be incorrect.">
            <a:extLst>
              <a:ext uri="{FF2B5EF4-FFF2-40B4-BE49-F238E27FC236}">
                <a16:creationId xmlns:a16="http://schemas.microsoft.com/office/drawing/2014/main" id="{7703A97E-D5D7-BD01-4422-88551E7DE669}"/>
              </a:ext>
            </a:extLst>
          </p:cNvPr>
          <p:cNvPicPr>
            <a:picLocks noChangeAspect="1"/>
          </p:cNvPicPr>
          <p:nvPr/>
        </p:nvPicPr>
        <p:blipFill>
          <a:blip r:embed="rId3"/>
          <a:stretch>
            <a:fillRect/>
          </a:stretch>
        </p:blipFill>
        <p:spPr>
          <a:xfrm>
            <a:off x="9513903" y="6494969"/>
            <a:ext cx="981021" cy="204067"/>
          </a:xfrm>
          <a:prstGeom prst="rect">
            <a:avLst/>
          </a:prstGeom>
        </p:spPr>
      </p:pic>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Kaynaklar</a:t>
            </a:r>
          </a:p>
        </p:txBody>
      </p:sp>
      <p:sp>
        <p:nvSpPr>
          <p:cNvPr id="3" name="Content Placeholder 2"/>
          <p:cNvSpPr>
            <a:spLocks noGrp="1"/>
          </p:cNvSpPr>
          <p:nvPr>
            <p:ph idx="4294967295"/>
          </p:nvPr>
        </p:nvSpPr>
        <p:spPr>
          <a:xfrm>
            <a:off x="613152" y="1344613"/>
            <a:ext cx="9902448" cy="4351337"/>
          </a:xfrm>
        </p:spPr>
        <p:txBody>
          <a:bodyPr anchor="ctr"/>
          <a:lstStyle/>
          <a:p>
            <a:r>
              <a:rPr lang="tr-TR" dirty="0"/>
              <a:t>Essink B et al. Vaccine. 2021;39(41):6087–6096.</a:t>
            </a:r>
          </a:p>
          <a:p>
            <a:r>
              <a:rPr lang="tr-TR" dirty="0"/>
              <a:t>Walsh EE et al. NEJM. 2023;388:1461–1473.</a:t>
            </a:r>
          </a:p>
          <a:p>
            <a:r>
              <a:rPr lang="tr-TR" dirty="0"/>
              <a:t>GSK Arexvy Phase 3, Lancet 2024.</a:t>
            </a:r>
          </a:p>
          <a:p>
            <a:r>
              <a:rPr lang="tr-TR" dirty="0"/>
              <a:t>CDC ACIP Guidelines 2025.</a:t>
            </a:r>
          </a:p>
          <a:p>
            <a:r>
              <a:rPr lang="tr-TR" dirty="0"/>
              <a:t>Moderna Press Release 2024.</a:t>
            </a:r>
          </a:p>
        </p:txBody>
      </p:sp>
      <p:pic>
        <p:nvPicPr>
          <p:cNvPr id="6" name="Picture 5" descr="A yellow and blue logo&#10;&#10;Description automatically generated">
            <a:extLst>
              <a:ext uri="{FF2B5EF4-FFF2-40B4-BE49-F238E27FC236}">
                <a16:creationId xmlns:a16="http://schemas.microsoft.com/office/drawing/2014/main" id="{6B0D7D41-3E0A-97E8-5667-7399C40E049A}"/>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7" name="Picture 6" descr="A black and blue logo&#10;&#10;AI-generated content may be incorrect.">
            <a:extLst>
              <a:ext uri="{FF2B5EF4-FFF2-40B4-BE49-F238E27FC236}">
                <a16:creationId xmlns:a16="http://schemas.microsoft.com/office/drawing/2014/main" id="{E0B2D2D5-4B03-CBC8-2575-3125FA910BC8}"/>
              </a:ext>
            </a:extLst>
          </p:cNvPr>
          <p:cNvPicPr>
            <a:picLocks noChangeAspect="1"/>
          </p:cNvPicPr>
          <p:nvPr/>
        </p:nvPicPr>
        <p:blipFill>
          <a:blip r:embed="rId3"/>
          <a:stretch>
            <a:fillRect/>
          </a:stretch>
        </p:blipFill>
        <p:spPr>
          <a:xfrm>
            <a:off x="9513903" y="6494969"/>
            <a:ext cx="981021" cy="204067"/>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qCYlVLdm0l_BSZtCGVi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TITLE">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SECTION BREAKERS">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QUOTES">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TEXT">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AGENDA">
  <a:themeElements>
    <a:clrScheme name="Pfizer Brand">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7EDB71"/>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TEXT WITH IMAGES">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CHARTS AND OVERVIEWS">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BLANK">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THANK YOU">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GSK - RSV">
    <a:dk1>
      <a:srgbClr val="000000"/>
    </a:dk1>
    <a:lt1>
      <a:srgbClr val="FFFFFF"/>
    </a:lt1>
    <a:dk2>
      <a:srgbClr val="003D5D"/>
    </a:dk2>
    <a:lt2>
      <a:srgbClr val="FFFFCC"/>
    </a:lt2>
    <a:accent1>
      <a:srgbClr val="FFA652"/>
    </a:accent1>
    <a:accent2>
      <a:srgbClr val="FF6925"/>
    </a:accent2>
    <a:accent3>
      <a:srgbClr val="868586"/>
    </a:accent3>
    <a:accent4>
      <a:srgbClr val="008F46"/>
    </a:accent4>
    <a:accent5>
      <a:srgbClr val="D3687C"/>
    </a:accent5>
    <a:accent6>
      <a:srgbClr val="004B70"/>
    </a:accent6>
    <a:hlink>
      <a:srgbClr val="9B2100"/>
    </a:hlink>
    <a:folHlink>
      <a:srgbClr val="CFE8FD"/>
    </a:folHlink>
  </a:clrScheme>
  <a:fontScheme name="NVF 009 style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Pfizer ">
    <a:dk1>
      <a:srgbClr val="000000"/>
    </a:dk1>
    <a:lt1>
      <a:srgbClr val="FFFFFF"/>
    </a:lt1>
    <a:dk2>
      <a:srgbClr val="00004E"/>
    </a:dk2>
    <a:lt2>
      <a:srgbClr val="0095FF"/>
    </a:lt2>
    <a:accent1>
      <a:srgbClr val="0000C9"/>
    </a:accent1>
    <a:accent2>
      <a:srgbClr val="000483"/>
    </a:accent2>
    <a:accent3>
      <a:srgbClr val="0DBDBA"/>
    </a:accent3>
    <a:accent4>
      <a:srgbClr val="67BB6E"/>
    </a:accent4>
    <a:accent5>
      <a:srgbClr val="9D73F7"/>
    </a:accent5>
    <a:accent6>
      <a:srgbClr val="D95776"/>
    </a:accent6>
    <a:hlink>
      <a:srgbClr val="F39C34"/>
    </a:hlink>
    <a:folHlink>
      <a:srgbClr val="F8DF5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Pfizer ">
    <a:dk1>
      <a:srgbClr val="000000"/>
    </a:dk1>
    <a:lt1>
      <a:srgbClr val="FFFFFF"/>
    </a:lt1>
    <a:dk2>
      <a:srgbClr val="00004E"/>
    </a:dk2>
    <a:lt2>
      <a:srgbClr val="0095FF"/>
    </a:lt2>
    <a:accent1>
      <a:srgbClr val="0000C9"/>
    </a:accent1>
    <a:accent2>
      <a:srgbClr val="000483"/>
    </a:accent2>
    <a:accent3>
      <a:srgbClr val="0DBDBA"/>
    </a:accent3>
    <a:accent4>
      <a:srgbClr val="67BB6E"/>
    </a:accent4>
    <a:accent5>
      <a:srgbClr val="9D73F7"/>
    </a:accent5>
    <a:accent6>
      <a:srgbClr val="D95776"/>
    </a:accent6>
    <a:hlink>
      <a:srgbClr val="F39C34"/>
    </a:hlink>
    <a:folHlink>
      <a:srgbClr val="F8DF5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Pfizer ">
    <a:dk1>
      <a:srgbClr val="000000"/>
    </a:dk1>
    <a:lt1>
      <a:srgbClr val="FFFFFF"/>
    </a:lt1>
    <a:dk2>
      <a:srgbClr val="00004E"/>
    </a:dk2>
    <a:lt2>
      <a:srgbClr val="0095FF"/>
    </a:lt2>
    <a:accent1>
      <a:srgbClr val="0000C9"/>
    </a:accent1>
    <a:accent2>
      <a:srgbClr val="000483"/>
    </a:accent2>
    <a:accent3>
      <a:srgbClr val="0DBDBA"/>
    </a:accent3>
    <a:accent4>
      <a:srgbClr val="67BB6E"/>
    </a:accent4>
    <a:accent5>
      <a:srgbClr val="9D73F7"/>
    </a:accent5>
    <a:accent6>
      <a:srgbClr val="D95776"/>
    </a:accent6>
    <a:hlink>
      <a:srgbClr val="F39C34"/>
    </a:hlink>
    <a:folHlink>
      <a:srgbClr val="F8DF5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Pfizer ">
    <a:dk1>
      <a:srgbClr val="000000"/>
    </a:dk1>
    <a:lt1>
      <a:srgbClr val="FFFFFF"/>
    </a:lt1>
    <a:dk2>
      <a:srgbClr val="00004E"/>
    </a:dk2>
    <a:lt2>
      <a:srgbClr val="0095FF"/>
    </a:lt2>
    <a:accent1>
      <a:srgbClr val="0000C9"/>
    </a:accent1>
    <a:accent2>
      <a:srgbClr val="000483"/>
    </a:accent2>
    <a:accent3>
      <a:srgbClr val="0DBDBA"/>
    </a:accent3>
    <a:accent4>
      <a:srgbClr val="67BB6E"/>
    </a:accent4>
    <a:accent5>
      <a:srgbClr val="9D73F7"/>
    </a:accent5>
    <a:accent6>
      <a:srgbClr val="D95776"/>
    </a:accent6>
    <a:hlink>
      <a:srgbClr val="F39C34"/>
    </a:hlink>
    <a:folHlink>
      <a:srgbClr val="F8DF5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Pfizer ">
    <a:dk1>
      <a:srgbClr val="000000"/>
    </a:dk1>
    <a:lt1>
      <a:srgbClr val="FFFFFF"/>
    </a:lt1>
    <a:dk2>
      <a:srgbClr val="00004E"/>
    </a:dk2>
    <a:lt2>
      <a:srgbClr val="0095FF"/>
    </a:lt2>
    <a:accent1>
      <a:srgbClr val="0000C9"/>
    </a:accent1>
    <a:accent2>
      <a:srgbClr val="000483"/>
    </a:accent2>
    <a:accent3>
      <a:srgbClr val="0DBDBA"/>
    </a:accent3>
    <a:accent4>
      <a:srgbClr val="67BB6E"/>
    </a:accent4>
    <a:accent5>
      <a:srgbClr val="9D73F7"/>
    </a:accent5>
    <a:accent6>
      <a:srgbClr val="D95776"/>
    </a:accent6>
    <a:hlink>
      <a:srgbClr val="F39C34"/>
    </a:hlink>
    <a:folHlink>
      <a:srgbClr val="F8DF5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Pfizer ">
    <a:dk1>
      <a:srgbClr val="000000"/>
    </a:dk1>
    <a:lt1>
      <a:srgbClr val="FFFFFF"/>
    </a:lt1>
    <a:dk2>
      <a:srgbClr val="00004E"/>
    </a:dk2>
    <a:lt2>
      <a:srgbClr val="0095FF"/>
    </a:lt2>
    <a:accent1>
      <a:srgbClr val="0000C9"/>
    </a:accent1>
    <a:accent2>
      <a:srgbClr val="000483"/>
    </a:accent2>
    <a:accent3>
      <a:srgbClr val="0DBDBA"/>
    </a:accent3>
    <a:accent4>
      <a:srgbClr val="67BB6E"/>
    </a:accent4>
    <a:accent5>
      <a:srgbClr val="9D73F7"/>
    </a:accent5>
    <a:accent6>
      <a:srgbClr val="D95776"/>
    </a:accent6>
    <a:hlink>
      <a:srgbClr val="F39C34"/>
    </a:hlink>
    <a:folHlink>
      <a:srgbClr val="F8DF5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2078768-e010-496c-be91-13abd3bf1d00" xsi:nil="true"/>
    <lcf76f155ced4ddcb4097134ff3c332f xmlns="b636c289-89ec-4aac-a5a7-fae3efcce21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Belge" ma:contentTypeID="0x0101008EB410E7384FD544926ED72B5900EAF6" ma:contentTypeVersion="14" ma:contentTypeDescription="Yeni belge oluşturun." ma:contentTypeScope="" ma:versionID="ee3b467df7de9d1b498d84e13587d71a">
  <xsd:schema xmlns:xsd="http://www.w3.org/2001/XMLSchema" xmlns:xs="http://www.w3.org/2001/XMLSchema" xmlns:p="http://schemas.microsoft.com/office/2006/metadata/properties" xmlns:ns2="b636c289-89ec-4aac-a5a7-fae3efcce21f" xmlns:ns3="12078768-e010-496c-be91-13abd3bf1d00" targetNamespace="http://schemas.microsoft.com/office/2006/metadata/properties" ma:root="true" ma:fieldsID="1445dff4ae24a478bb1b27fd6f0ffa69" ns2:_="" ns3:_="">
    <xsd:import namespace="b636c289-89ec-4aac-a5a7-fae3efcce21f"/>
    <xsd:import namespace="12078768-e010-496c-be91-13abd3bf1d0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36c289-89ec-4aac-a5a7-fae3efcce21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Resim Etiketleri" ma:readOnly="false" ma:fieldId="{5cf76f15-5ced-4ddc-b409-7134ff3c332f}" ma:taxonomyMulti="true" ma:sspId="f08ca68a-84f9-4e39-b925-9c0f4131acbf"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2078768-e010-496c-be91-13abd3bf1d0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a2bcbba-ecaf-438c-8d17-d96268f593a6}" ma:internalName="TaxCatchAll" ma:showField="CatchAllData" ma:web="12078768-e010-496c-be91-13abd3bf1d0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çerik Türü"/>
        <xsd:element ref="dc:title" minOccurs="0" maxOccurs="1" ma:index="4" ma:displayName="Başlı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BAF75C0-5102-4070-A026-E23CAC59105A}">
  <ds:schemaRefs>
    <ds:schemaRef ds:uri="7a1af199-fb35-42da-bd81-c1a192cbf1c8"/>
    <ds:schemaRef ds:uri="http://schemas.microsoft.com/office/2006/metadata/properties"/>
    <ds:schemaRef ds:uri="http://www.w3.org/XML/1998/namespace"/>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953a2bde-318d-4fb7-8ab5-7c681ea549aa"/>
    <ds:schemaRef ds:uri="http://purl.org/dc/dcmitype/"/>
    <ds:schemaRef ds:uri="http://purl.org/dc/elements/1.1/"/>
  </ds:schemaRefs>
</ds:datastoreItem>
</file>

<file path=customXml/itemProps2.xml><?xml version="1.0" encoding="utf-8"?>
<ds:datastoreItem xmlns:ds="http://schemas.openxmlformats.org/officeDocument/2006/customXml" ds:itemID="{5D7C206D-D4FF-42B1-BB48-D90C27584D44}">
  <ds:schemaRefs>
    <ds:schemaRef ds:uri="http://schemas.microsoft.com/sharepoint/v3/contenttype/forms"/>
  </ds:schemaRefs>
</ds:datastoreItem>
</file>

<file path=customXml/itemProps3.xml><?xml version="1.0" encoding="utf-8"?>
<ds:datastoreItem xmlns:ds="http://schemas.openxmlformats.org/officeDocument/2006/customXml" ds:itemID="{294574F7-F069-43CC-A3FB-0F32CBBDCC58}"/>
</file>

<file path=docProps/app.xml><?xml version="1.0" encoding="utf-8"?>
<Properties xmlns="http://schemas.openxmlformats.org/officeDocument/2006/extended-properties" xmlns:vt="http://schemas.openxmlformats.org/officeDocument/2006/docPropsVTypes">
  <TotalTime>430</TotalTime>
  <Words>20362</Words>
  <Application>Microsoft Office PowerPoint</Application>
  <PresentationFormat>Geniş ekran</PresentationFormat>
  <Paragraphs>2328</Paragraphs>
  <Slides>100</Slides>
  <Notes>55</Notes>
  <HiddenSlides>6</HiddenSlides>
  <MMClips>0</MMClips>
  <ScaleCrop>false</ScaleCrop>
  <HeadingPairs>
    <vt:vector size="8" baseType="variant">
      <vt:variant>
        <vt:lpstr>Kullanılan Yazı Tipleri</vt:lpstr>
      </vt:variant>
      <vt:variant>
        <vt:i4>20</vt:i4>
      </vt:variant>
      <vt:variant>
        <vt:lpstr>Tema</vt:lpstr>
      </vt:variant>
      <vt:variant>
        <vt:i4>9</vt:i4>
      </vt:variant>
      <vt:variant>
        <vt:lpstr>Eklenmiş OLE Hizmet Programları</vt:lpstr>
      </vt:variant>
      <vt:variant>
        <vt:i4>1</vt:i4>
      </vt:variant>
      <vt:variant>
        <vt:lpstr>Slayt Başlıkları</vt:lpstr>
      </vt:variant>
      <vt:variant>
        <vt:i4>100</vt:i4>
      </vt:variant>
    </vt:vector>
  </HeadingPairs>
  <TitlesOfParts>
    <vt:vector size="130" baseType="lpstr">
      <vt:lpstr>Calibri</vt:lpstr>
      <vt:lpstr>Courier New</vt:lpstr>
      <vt:lpstr>Arial</vt:lpstr>
      <vt:lpstr>Times New Roman</vt:lpstr>
      <vt:lpstr>Nunito</vt:lpstr>
      <vt:lpstr>Wingdings</vt:lpstr>
      <vt:lpstr>Century Gothic</vt:lpstr>
      <vt:lpstr>Avenir</vt:lpstr>
      <vt:lpstr>Helvetica Neue Light</vt:lpstr>
      <vt:lpstr>Calibri Light</vt:lpstr>
      <vt:lpstr>Pfizer Diatype Office</vt:lpstr>
      <vt:lpstr>Source Sans Pro</vt:lpstr>
      <vt:lpstr>Arial Nova</vt:lpstr>
      <vt:lpstr>Wingdings 2</vt:lpstr>
      <vt:lpstr>Aptos</vt:lpstr>
      <vt:lpstr>Pfizer Tomorrow</vt:lpstr>
      <vt:lpstr>Pfizer Diatype</vt:lpstr>
      <vt:lpstr>Segoe UI</vt:lpstr>
      <vt:lpstr>Helvetica</vt:lpstr>
      <vt:lpstr>Symbol</vt:lpstr>
      <vt:lpstr>PRESENTATION TITLE</vt:lpstr>
      <vt:lpstr>SECTION BREAKERS</vt:lpstr>
      <vt:lpstr>QUOTES</vt:lpstr>
      <vt:lpstr>TEXT</vt:lpstr>
      <vt:lpstr>AGENDA</vt:lpstr>
      <vt:lpstr>TEXT WITH IMAGES</vt:lpstr>
      <vt:lpstr>CHARTS AND OVERVIEWS</vt:lpstr>
      <vt:lpstr>BLANK</vt:lpstr>
      <vt:lpstr>THANK YOU</vt:lpstr>
      <vt:lpstr>think-cell Slide</vt:lpstr>
      <vt:lpstr>Yaygın Solunum Yolu Patojenlerine Karşı Pfizer         Aşıları </vt:lpstr>
      <vt:lpstr>RSV ve Pnömokok Hastalık Yükü</vt:lpstr>
      <vt:lpstr>AJANDA</vt:lpstr>
      <vt:lpstr>Küresel çapta viral ve bakteriyel patojenlerin neden olduğu alt solunum yolu enfeksiyonları*, önde gelen ölüm nedenlerinden biridir. </vt:lpstr>
      <vt:lpstr>Dünyanın yaşlı nüfusu benzeri görülmemiş oranlarda artmaktadır</vt:lpstr>
      <vt:lpstr>Dünyanın yaşlı nüfusu benzeri görülmemiş oranlarda artmaktadır</vt:lpstr>
      <vt:lpstr>Yetişkinlerde ASYE’lerin tahmini görülme sıklığı yaşla birlikte artar*,†</vt:lpstr>
      <vt:lpstr>İmmünosenesans ve yaşlanma ASYE’lerde artışa yol açabilir</vt:lpstr>
      <vt:lpstr>Solunum yolu hastalıklarından ölüm riski yaşla birlikte artar</vt:lpstr>
      <vt:lpstr>Altta yatan kronik hastalıklar, solunum yolu enfeksiyonları ile kötüleşebilir.</vt:lpstr>
      <vt:lpstr>Özet: İleri yaştaki bireyler, alt solunum yolu enfeksiyonları (LRTI) açısından en yüksek risk grubundadır.</vt:lpstr>
      <vt:lpstr>AJANDA</vt:lpstr>
      <vt:lpstr>Respiratuvar Sinsityal Virüs, yaygın olarak üst ve alt solunum yolu enfeksiyonlarına neden olan tek sarmallı, negatif iplikli bir RNA virüsüdür.</vt:lpstr>
      <vt:lpstr>RSV Çeşitli Temas Şekilleriyle Bulaşabilir ve Belirtiler ≥10 Gün Sürebilir</vt:lpstr>
      <vt:lpstr>Ülkemizde RSV Ekim ayında yükselişe geçer ve Ocak-Mart aylarında zirve yapar.1</vt:lpstr>
      <vt:lpstr>RSV hastalığında yaş önemli bir faktördür 1</vt:lpstr>
      <vt:lpstr>İleri Yaşlı Yetişkinlerde  RSV'nin Klinik Belirtileri</vt:lpstr>
      <vt:lpstr>İleri yaşlı yetişkinler arasında RSV'nin klinik belirtileri diğer solunum yolu virüsleriyle benzerdir</vt:lpstr>
      <vt:lpstr>RSV'li hastalarda ateş ve ani başlayan semptomlara sahip olma olasılığı daha düşüktür</vt:lpstr>
      <vt:lpstr>Erişkin bireylerde RSV hastalığı için şu anda destekleyici bakım dışında herhangi bir tedavi seçeneği* bulunmamaktadır.</vt:lpstr>
      <vt:lpstr>RSV Morbiditesinin Akut  Hastalığın Ötesindeki Etkisi</vt:lpstr>
      <vt:lpstr>Yaşlı yetişkinler, altta yatan hastalıkların kötüleşmesi ve sağlık durumunun bozulması da dahil olmak üzere RSV ile ilişkili komplikasyonlar riski altındadır</vt:lpstr>
      <vt:lpstr>Tıbbi gözetim altında RSV enfeksiyonu geçiren hastaların neredeyse yarısı, tanı konulduktan sonraki 1 ay içinde RSV ile ilişkili komplikasyonlar yaşamıştır</vt:lpstr>
      <vt:lpstr>KOAH'lı hastalarda RSV, KOAH'ı şiddetlendirebilir ve mortalite riskini artırabilir</vt:lpstr>
      <vt:lpstr>Kardiyovasküler hastalık, RSV'ye yatkınlığı artırabilir ve RSV, kardiyovasküler olay riskini yükseltebilir</vt:lpstr>
      <vt:lpstr>RSV ile hastaneye yatırılan yaşlı bireylerin neredeyse dörtte biri akut kardiyak olay yaşamaktadır; bu bireylerin on ikide birinin altta yatan bilinen kardiyovasküler hastalığı yoktur</vt:lpstr>
      <vt:lpstr>RSV ile hastaneye yatırılan yaşlı yetişkinler akut fonksiyonel düşüş gösterir ve uzun süreli kayıplar yaşayabilir</vt:lpstr>
      <vt:lpstr>Yaşlı Erişkinlerde RSV Hastalık Yükü</vt:lpstr>
      <vt:lpstr>RSV, tüm dünyada yetişkinlerde giderek daha önemli bir patojen olarak kabul edilmektedir</vt:lpstr>
      <vt:lpstr>RSV hastaneye yatış oranları yaşla birlikte artmaktadır, 75 yaş ve üzerinde belirgin bir artış söz konusudur</vt:lpstr>
      <vt:lpstr>RSV nedeniyle hastaneye yatırılan yetişkinlerde obezite, kalp ve akciğer hastalığı, diyabet ve bağışıklık sistemi zayıflığı gibi altta yatan kronik hastalıklar yaygındır </vt:lpstr>
      <vt:lpstr>Birden fazla kronik rahatsızlığa sahip olmak, yaşlı yetişkinlerde RSV ile ilişkili hastaneye yatış riskini artırmaktadır</vt:lpstr>
      <vt:lpstr>Diğer Solunum Yolu Hastalıkları ile Karşılaştırmalı RSV Hastalık Yükü</vt:lpstr>
      <vt:lpstr>Yaşlı yetişkinlerde RSV, influenza ve COVID-19 kaynaklı ciddi sonuç oranları benzerdir</vt:lpstr>
      <vt:lpstr>RSV'li hastaların, influenza hastalarına kıyasla hastaneye yatış gereksinimi  ve daha kötü klinik sonuçlar yaşama olasılığı daha yüksektir</vt:lpstr>
      <vt:lpstr>AJANDA</vt:lpstr>
      <vt:lpstr>Alt solunum yolu enfeksiyonları, dünyada başlıca ölüm nedenlerinden biridir 1</vt:lpstr>
      <vt:lpstr>Pnömoni, Türkiye’de en önemli ölüm nedenlerinden biridir.1</vt:lpstr>
      <vt:lpstr>Toplumda Gelişen Pnömoni ciddi sonuçlara yol açabilir.</vt:lpstr>
      <vt:lpstr>Streptococcus pneumoniae, toplumda gelişen pnömonide (TGP) en sık izole edilen patojendir.1,2 </vt:lpstr>
      <vt:lpstr>Türkiye’de de TGP’nin en sık etkeni S. pneumoniae’dır.1</vt:lpstr>
      <vt:lpstr>Tüm yaş gruplarında küresel ölüm sayısına göre sıralanmış alt solunum enfeksiyonu etiyolojileri </vt:lpstr>
      <vt:lpstr>S pneumoniae, dünya çapında solunum yolu enfeksiyonlarının önde gelen bir nedenidir1</vt:lpstr>
      <vt:lpstr>Yaşlı yetişkinler ve altta yatan tıbbi rahatsızlıkları olan kişiler, pnömokok hastalığı vakalarının büyük bir kısmını temsil etmektedir.</vt:lpstr>
      <vt:lpstr>Non-invaziv pnömoni, erişkinler arasında pnömokok hastalığının en sık görülen prezentasyonudur1,2</vt:lpstr>
      <vt:lpstr>PowerPoint Sunusu</vt:lpstr>
      <vt:lpstr>PowerPoint Sunusu</vt:lpstr>
      <vt:lpstr>Yaşa ek olarak, bazı ek hastalıkları yetişkinlerde pnömokok pnömonisi riskini artırabilir</vt:lpstr>
      <vt:lpstr>TGP için Hastaneye Yatış Önemli Sonuçlara Yol Açabilir</vt:lpstr>
      <vt:lpstr>Özetle…</vt:lpstr>
      <vt:lpstr>AJANDA</vt:lpstr>
      <vt:lpstr>Pfizer Prevenar 20  ve ABRYSVO Aşıları  Geriatrik Popülasyonda Güncel Klinik Veriler ve Halk Sağlığı Perspektifi</vt:lpstr>
      <vt:lpstr>Giriş</vt:lpstr>
      <vt:lpstr>Küresel çapta viral ve bakteriyel patojenlerin neden olduğu alt solunum yolu enfeksiyonları*, önde gelen ölüm nedenlerinden biridir</vt:lpstr>
      <vt:lpstr>İmmünosenesans ve yaşlanma ASYE’lerde artışa yol açabilir</vt:lpstr>
      <vt:lpstr>Kronik komorbiditeler ve bazı durumlar, şiddetli solunum yolu enfeksiyonları geliştirme riskini artırır1</vt:lpstr>
      <vt:lpstr>Altta yatan kronik hastalıklar, solunum yolu enfeksiyonları ile kötüleşebilir.</vt:lpstr>
      <vt:lpstr>AMD ile ilişkili maliyetlerin ve sağlık yüklerinin artması beklenmektedir1</vt:lpstr>
      <vt:lpstr>Aşılama, AMD ile mücadeleye doğrudan ve dolaylı olarak katkı sağlayabilir</vt:lpstr>
      <vt:lpstr>Pnömokok Hastalık Yükü</vt:lpstr>
      <vt:lpstr>RSV Hastalık Yükü</vt:lpstr>
      <vt:lpstr>Pnömoni ve RSV Tanısı</vt:lpstr>
      <vt:lpstr>Aşı Geliştirme Süreci</vt:lpstr>
      <vt:lpstr>PowerPoint Sunusu</vt:lpstr>
      <vt:lpstr>Konjuge aşılar, B, T ve bellek B hücrelerini aktive ederek polisakkarit aşılardan daha güçlü bir bağışıklık tepkisi sağlar</vt:lpstr>
      <vt:lpstr>Pfizer Prevenar 20 (PCV20)</vt:lpstr>
      <vt:lpstr>Pnömokok aşıları tipik olarak mevcut olanlara yeni serotipler eklenerek evrimleşmiştir</vt:lpstr>
      <vt:lpstr>Onaylı Erişkin Pnömokok Aşıları</vt:lpstr>
      <vt:lpstr>KPA20’ye dahil edilen ek serotipler;</vt:lpstr>
      <vt:lpstr>Türkiye’de pnömokokal hastalıkları olan erişkinlerde Streptococcus pneumoniae'nin serotip dağılımı: 2015-2018</vt:lpstr>
      <vt:lpstr>KPA20 Klinik Geliştirme Programının Özeti</vt:lpstr>
      <vt:lpstr>PCV20 Klinik Verileri</vt:lpstr>
      <vt:lpstr>KPA20, KPA13 ve PPSA23 ile İmmünolojik Karşılaştırmalara Dayalı Olarak Ruhsat almıştır1-3</vt:lpstr>
      <vt:lpstr>B7471007: Daha önce Pnömokok Aşısı Olmayan erişkinlerde Bildirilen Advers Reaksiyonlar</vt:lpstr>
      <vt:lpstr>KPA20 Uygulama Şeması (ACIP) ‡ </vt:lpstr>
      <vt:lpstr>PowerPoint Sunusu</vt:lpstr>
      <vt:lpstr>RSV Aşıları - Genel Bakış</vt:lpstr>
      <vt:lpstr>RSV F proteini, viral giriş sırasında virüsün konak hücreye füzyonuna aracılık eder ve enfeksiyon için çok önemlidir</vt:lpstr>
      <vt:lpstr>RSV, A ve B olmak üzere 2 alt gruptan oluşur ve bir mevsim içinde coğrafi değişkenlik gösterir.</vt:lpstr>
      <vt:lpstr>Bivalan RSV Aşısı | Karşılanan İhtiyaç</vt:lpstr>
      <vt:lpstr>Maternal ve Erişkin Endikasyonları için Klinik Geliştirme Programı </vt:lpstr>
      <vt:lpstr>Etkinliğin değerlendirilmesi: Temel çalışma tanımları1,2</vt:lpstr>
      <vt:lpstr>RSVpreF aşısı ≥60 yaş yetişkinlerde RSV-ASYH’ye karşı istatistiki anlamlı etkinlik göstermiştir</vt:lpstr>
      <vt:lpstr>ABRYSVO Etkinlik Verileri</vt:lpstr>
      <vt:lpstr>RSV genelinde ve A ve B alt gruplarında tutarlı aşı etkinliği gözlenmiştir</vt:lpstr>
      <vt:lpstr>Yaş grupları arasında tutarlı aşı etkinliği gözlenmiştir</vt:lpstr>
      <vt:lpstr>Lokal ve sistemik olaylar çoğunlukla hafif ile orta şiddetli olup 1 -2 gün içinde düzelmiştir</vt:lpstr>
      <vt:lpstr>İskoçya ve İngiltere'de RSV Aşılama Programı (Birleşik Krallık)</vt:lpstr>
      <vt:lpstr>Sonuçlar: İskoçya'da Yaşa Göre RSV ile ilgili Hastaneye Yatışlar</vt:lpstr>
      <vt:lpstr>Sonuçlar: İngiltere'de Yaşa göre RSV ile ilişkili Hastaneye Yatışlar</vt:lpstr>
      <vt:lpstr>RSV Bivalan Prefüzyon Aşısı (RSV-PreF)</vt:lpstr>
      <vt:lpstr>Kılavuzlar ve Rehberler</vt:lpstr>
      <vt:lpstr>Klinik Uygulama ve Halk Sağlığı Etkisi</vt:lpstr>
      <vt:lpstr>Tek doz KPA'nin uygulanması daha kolay olabilir ve sıralı aşılama ile ilgili sorunları önleyebilir.</vt:lpstr>
      <vt:lpstr>Eşzamanlı Uygulama   </vt:lpstr>
      <vt:lpstr>Aşı Kararsızlığı ve Eğitim</vt:lpstr>
      <vt:lpstr>Geleceğe Bakış</vt:lpstr>
      <vt:lpstr>Sonuç</vt:lpstr>
      <vt:lpstr>Kaynaklar</vt:lpstr>
      <vt:lpstr>Teşekkürl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Here</dc:title>
  <dc:creator>Steinkamp, Theodore</dc:creator>
  <cp:lastModifiedBy>loq4</cp:lastModifiedBy>
  <cp:revision>4</cp:revision>
  <dcterms:modified xsi:type="dcterms:W3CDTF">2025-10-18T07:4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8EB410E7384FD544926ED72B5900EAF6</vt:lpwstr>
  </property>
  <property fmtid="{D5CDD505-2E9C-101B-9397-08002B2CF9AE}" pid="4" name="MSIP_Label_68f72598-90ab-4748-9618-88402b5e95d2_Enabled">
    <vt:lpwstr>true</vt:lpwstr>
  </property>
  <property fmtid="{D5CDD505-2E9C-101B-9397-08002B2CF9AE}" pid="5" name="MSIP_Label_68f72598-90ab-4748-9618-88402b5e95d2_SetDate">
    <vt:lpwstr>2025-09-18T13:51:55Z</vt:lpwstr>
  </property>
  <property fmtid="{D5CDD505-2E9C-101B-9397-08002B2CF9AE}" pid="6" name="MSIP_Label_68f72598-90ab-4748-9618-88402b5e95d2_Method">
    <vt:lpwstr>Privileged</vt:lpwstr>
  </property>
  <property fmtid="{D5CDD505-2E9C-101B-9397-08002B2CF9AE}" pid="7" name="MSIP_Label_68f72598-90ab-4748-9618-88402b5e95d2_Name">
    <vt:lpwstr>68f72598-90ab-4748-9618-88402b5e95d2</vt:lpwstr>
  </property>
  <property fmtid="{D5CDD505-2E9C-101B-9397-08002B2CF9AE}" pid="8" name="MSIP_Label_68f72598-90ab-4748-9618-88402b5e95d2_SiteId">
    <vt:lpwstr>7a916015-20ae-4ad1-9170-eefd915e9272</vt:lpwstr>
  </property>
  <property fmtid="{D5CDD505-2E9C-101B-9397-08002B2CF9AE}" pid="9" name="MSIP_Label_68f72598-90ab-4748-9618-88402b5e95d2_ActionId">
    <vt:lpwstr>a0da7c04-2dc5-4ca7-9353-9e51e0063459</vt:lpwstr>
  </property>
  <property fmtid="{D5CDD505-2E9C-101B-9397-08002B2CF9AE}" pid="10" name="MSIP_Label_68f72598-90ab-4748-9618-88402b5e95d2_ContentBits">
    <vt:lpwstr>0</vt:lpwstr>
  </property>
  <property fmtid="{D5CDD505-2E9C-101B-9397-08002B2CF9AE}" pid="11" name="MSIP_Label_68f72598-90ab-4748-9618-88402b5e95d2_Tag">
    <vt:lpwstr>10, 0, 1, 1</vt:lpwstr>
  </property>
</Properties>
</file>